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modernComment_2A4_E18715B1.xml" ContentType="application/vnd.ms-powerpoint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2" r:id="rId4"/>
  </p:sldMasterIdLst>
  <p:notesMasterIdLst>
    <p:notesMasterId r:id="rId89"/>
  </p:notesMasterIdLst>
  <p:handoutMasterIdLst>
    <p:handoutMasterId r:id="rId90"/>
  </p:handoutMasterIdLst>
  <p:sldIdLst>
    <p:sldId id="878" r:id="rId5"/>
    <p:sldId id="855" r:id="rId6"/>
    <p:sldId id="727" r:id="rId7"/>
    <p:sldId id="301" r:id="rId8"/>
    <p:sldId id="758" r:id="rId9"/>
    <p:sldId id="737" r:id="rId10"/>
    <p:sldId id="760" r:id="rId11"/>
    <p:sldId id="659" r:id="rId12"/>
    <p:sldId id="687" r:id="rId13"/>
    <p:sldId id="656" r:id="rId14"/>
    <p:sldId id="724" r:id="rId15"/>
    <p:sldId id="755" r:id="rId16"/>
    <p:sldId id="688" r:id="rId17"/>
    <p:sldId id="859" r:id="rId18"/>
    <p:sldId id="860" r:id="rId19"/>
    <p:sldId id="861" r:id="rId20"/>
    <p:sldId id="862" r:id="rId21"/>
    <p:sldId id="658" r:id="rId22"/>
    <p:sldId id="695" r:id="rId23"/>
    <p:sldId id="757" r:id="rId24"/>
    <p:sldId id="759" r:id="rId25"/>
    <p:sldId id="763" r:id="rId26"/>
    <p:sldId id="690" r:id="rId27"/>
    <p:sldId id="676" r:id="rId28"/>
    <p:sldId id="764" r:id="rId29"/>
    <p:sldId id="765" r:id="rId30"/>
    <p:sldId id="770" r:id="rId31"/>
    <p:sldId id="771" r:id="rId32"/>
    <p:sldId id="675" r:id="rId33"/>
    <p:sldId id="772" r:id="rId34"/>
    <p:sldId id="751" r:id="rId35"/>
    <p:sldId id="773" r:id="rId36"/>
    <p:sldId id="722" r:id="rId37"/>
    <p:sldId id="701" r:id="rId38"/>
    <p:sldId id="703" r:id="rId39"/>
    <p:sldId id="692" r:id="rId40"/>
    <p:sldId id="698" r:id="rId41"/>
    <p:sldId id="689" r:id="rId42"/>
    <p:sldId id="694" r:id="rId43"/>
    <p:sldId id="704" r:id="rId44"/>
    <p:sldId id="693" r:id="rId45"/>
    <p:sldId id="769" r:id="rId46"/>
    <p:sldId id="767" r:id="rId47"/>
    <p:sldId id="674" r:id="rId48"/>
    <p:sldId id="711" r:id="rId49"/>
    <p:sldId id="731" r:id="rId50"/>
    <p:sldId id="721" r:id="rId51"/>
    <p:sldId id="869" r:id="rId52"/>
    <p:sldId id="874" r:id="rId53"/>
    <p:sldId id="875" r:id="rId54"/>
    <p:sldId id="667" r:id="rId55"/>
    <p:sldId id="697" r:id="rId56"/>
    <p:sldId id="666" r:id="rId57"/>
    <p:sldId id="719" r:id="rId58"/>
    <p:sldId id="718" r:id="rId59"/>
    <p:sldId id="754" r:id="rId60"/>
    <p:sldId id="876" r:id="rId61"/>
    <p:sldId id="877" r:id="rId62"/>
    <p:sldId id="866" r:id="rId63"/>
    <p:sldId id="673" r:id="rId64"/>
    <p:sldId id="729" r:id="rId65"/>
    <p:sldId id="873" r:id="rId66"/>
    <p:sldId id="867" r:id="rId67"/>
    <p:sldId id="677" r:id="rId68"/>
    <p:sldId id="712" r:id="rId69"/>
    <p:sldId id="863" r:id="rId70"/>
    <p:sldId id="713" r:id="rId71"/>
    <p:sldId id="715" r:id="rId72"/>
    <p:sldId id="716" r:id="rId73"/>
    <p:sldId id="865" r:id="rId74"/>
    <p:sldId id="864" r:id="rId75"/>
    <p:sldId id="670" r:id="rId76"/>
    <p:sldId id="871" r:id="rId77"/>
    <p:sldId id="872" r:id="rId78"/>
    <p:sldId id="720" r:id="rId79"/>
    <p:sldId id="734" r:id="rId80"/>
    <p:sldId id="870" r:id="rId81"/>
    <p:sldId id="684" r:id="rId82"/>
    <p:sldId id="671" r:id="rId83"/>
    <p:sldId id="705" r:id="rId84"/>
    <p:sldId id="749" r:id="rId85"/>
    <p:sldId id="750" r:id="rId86"/>
    <p:sldId id="879" r:id="rId87"/>
    <p:sldId id="858" r:id="rId88"/>
  </p:sldIdLst>
  <p:sldSz cx="12192000" cy="6858000"/>
  <p:notesSz cx="6858000" cy="9144000"/>
  <p:custDataLst>
    <p:tags r:id="rId9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5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977" userDrawn="1">
          <p15:clr>
            <a:srgbClr val="A4A3A4"/>
          </p15:clr>
        </p15:guide>
        <p15:guide id="4" orient="horz" pos="1751" userDrawn="1">
          <p15:clr>
            <a:srgbClr val="A4A3A4"/>
          </p15:clr>
        </p15:guide>
        <p15:guide id="5" orient="horz" pos="1661" userDrawn="1">
          <p15:clr>
            <a:srgbClr val="A4A3A4"/>
          </p15:clr>
        </p15:guide>
        <p15:guide id="6" pos="6623" userDrawn="1">
          <p15:clr>
            <a:srgbClr val="A4A3A4"/>
          </p15:clr>
        </p15:guide>
        <p15:guide id="7" pos="876" userDrawn="1">
          <p15:clr>
            <a:srgbClr val="A4A3A4"/>
          </p15:clr>
        </p15:guide>
        <p15:guide id="8" pos="2025" userDrawn="1">
          <p15:clr>
            <a:srgbClr val="A4A3A4"/>
          </p15:clr>
        </p15:guide>
        <p15:guide id="9" pos="3175" userDrawn="1">
          <p15:clr>
            <a:srgbClr val="A4A3A4"/>
          </p15:clr>
        </p15:guide>
        <p15:guide id="10" pos="4324" userDrawn="1">
          <p15:clr>
            <a:srgbClr val="A4A3A4"/>
          </p15:clr>
        </p15:guide>
        <p15:guide id="11" pos="54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BA9D4A-8F78-B9D2-C5E1-140B26002542}" name="Noll, Christian" initials="CN" userId="S::C00632@uniper.energy::783ecba8-50d2-4f92-9ec5-fa6df240504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ladimir Daskalov" initials="VD" lastIdx="1" clrIdx="0">
    <p:extLst>
      <p:ext uri="{19B8F6BF-5375-455C-9EA6-DF929625EA0E}">
        <p15:presenceInfo xmlns:p15="http://schemas.microsoft.com/office/powerpoint/2012/main" userId="S::vdaskalov@it-economics.de::31f6cf8a-c15f-4f2b-b37c-59f8baa9362d" providerId="AD"/>
      </p:ext>
    </p:extLst>
  </p:cmAuthor>
  <p:cmAuthor id="2" name="Vladimir Daskalov" initials="VD [2]" lastIdx="1" clrIdx="1">
    <p:extLst>
      <p:ext uri="{19B8F6BF-5375-455C-9EA6-DF929625EA0E}">
        <p15:presenceInfo xmlns:p15="http://schemas.microsoft.com/office/powerpoint/2012/main" userId="53b769c101bc515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63057"/>
    <a:srgbClr val="44B84A"/>
    <a:srgbClr val="11BD5F"/>
    <a:srgbClr val="00FA7E"/>
    <a:srgbClr val="282C32"/>
    <a:srgbClr val="7A8890"/>
    <a:srgbClr val="BAC5C8"/>
    <a:srgbClr val="FF0000"/>
    <a:srgbClr val="FFDA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33" autoAdjust="0"/>
    <p:restoredTop sz="86548" autoAdjust="0"/>
  </p:normalViewPr>
  <p:slideViewPr>
    <p:cSldViewPr>
      <p:cViewPr varScale="1">
        <p:scale>
          <a:sx n="158" d="100"/>
          <a:sy n="158" d="100"/>
        </p:scale>
        <p:origin x="520" y="192"/>
      </p:cViewPr>
      <p:guideLst>
        <p:guide orient="horz" pos="3657"/>
        <p:guide pos="3840"/>
        <p:guide orient="horz" pos="2977"/>
        <p:guide orient="horz" pos="1751"/>
        <p:guide orient="horz" pos="1661"/>
        <p:guide pos="6623"/>
        <p:guide pos="876"/>
        <p:guide pos="2025"/>
        <p:guide pos="3175"/>
        <p:guide pos="4324"/>
        <p:guide pos="54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63" d="100"/>
          <a:sy n="163" d="100"/>
        </p:scale>
        <p:origin x="671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notesMaster" Target="notesMasters/notesMaster1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5" Type="http://schemas.openxmlformats.org/officeDocument/2006/relationships/slide" Target="slides/slide1.xml"/><Relationship Id="rId90" Type="http://schemas.openxmlformats.org/officeDocument/2006/relationships/handoutMaster" Target="handoutMasters/handoutMaster1.xml"/><Relationship Id="rId95" Type="http://schemas.openxmlformats.org/officeDocument/2006/relationships/theme" Target="theme/theme1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91" Type="http://schemas.openxmlformats.org/officeDocument/2006/relationships/tags" Target="tags/tag1.xml"/><Relationship Id="rId9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microsoft.com/office/2018/10/relationships/authors" Target="authors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presProps" Target="presProps.xml"/></Relationships>
</file>

<file path=ppt/comments/modernComment_2A4_E18715B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4C79887-1813-674C-9395-696EA61ECE60}" authorId="{BFBA9D4A-8F78-B9D2-C5E1-140B26002542}" created="2025-03-25T10:27:36.833">
    <pc:sldMkLst xmlns:pc="http://schemas.microsoft.com/office/powerpoint/2013/main/command">
      <pc:docMk/>
      <pc:sldMk cId="3783726513" sldId="676"/>
    </pc:sldMkLst>
    <p188:txBody>
      <a:bodyPr/>
      <a:lstStyle/>
      <a:p>
        <a:r>
          <a:rPr lang="de-DE"/>
          <a:t>Hier evtl. useEffect zeigen?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AD0EF2-C8D0-4B8C-A956-D1C0479E0667}" type="datetimeFigureOut">
              <a:rPr lang="en-US" smtClean="0"/>
              <a:t>4/1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2953F3-2E1D-4E5F-BDCF-D3145FB7E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0778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FFCA88-3532-4672-AC16-195F8C173D0D}" type="datetimeFigureOut">
              <a:rPr lang="en-US" smtClean="0"/>
              <a:t>4/1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4311BC-E19A-401D-8823-B21CC1F1A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5852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8976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47036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3805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1590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28900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87040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4379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60348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9543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67591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269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pixabay.com</a:t>
            </a:r>
            <a:r>
              <a:rPr lang="en-GB" dirty="0"/>
              <a:t>/images/id-4241785/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076449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40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5097114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cessing non existing properties or functions</a:t>
            </a:r>
          </a:p>
        </p:txBody>
      </p:sp>
    </p:spTree>
    <p:extLst>
      <p:ext uri="{BB962C8B-B14F-4D97-AF65-F5344CB8AC3E}">
        <p14:creationId xmlns:p14="http://schemas.microsoft.com/office/powerpoint/2010/main" val="37686432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183110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pixabay.com</a:t>
            </a:r>
            <a:r>
              <a:rPr lang="en-GB" dirty="0"/>
              <a:t>/images/id-3410807/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797320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2298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9047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31.sv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4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ua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2F2CD2B1-D19B-102C-65F3-B7702F0BB4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7A8A949-4F0C-E5E7-468A-683A249B6F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414" y="0"/>
            <a:ext cx="12181172" cy="6857999"/>
          </a:xfrm>
          <a:prstGeom prst="rect">
            <a:avLst/>
          </a:prstGeom>
        </p:spPr>
      </p:pic>
      <p:pic>
        <p:nvPicPr>
          <p:cNvPr id="4" name="Grafik 3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76047C67-7543-A202-CAE2-0DF3FF5EDD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27605" y="182353"/>
            <a:ext cx="1751891" cy="5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924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0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">
            <a:extLst>
              <a:ext uri="{FF2B5EF4-FFF2-40B4-BE49-F238E27FC236}">
                <a16:creationId xmlns:a16="http://schemas.microsoft.com/office/drawing/2014/main" id="{91347879-2DDB-35E1-4507-70A11EDF6F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372" y="0"/>
            <a:ext cx="12193372" cy="583650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3B89846-109F-6846-926B-860C6957F6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6051687" y="-260185"/>
            <a:ext cx="90000" cy="12193374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4FECB32B-D734-38E4-E954-1C7BEDF41E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3469" y="3298785"/>
            <a:ext cx="5517669" cy="1107996"/>
          </a:xfrm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noProof="0"/>
              <a:t>Click to edit presentation’s title 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8C588CD-BDA6-6A60-8E8E-2486D5BD54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129949" y="4580925"/>
            <a:ext cx="5511189" cy="0"/>
          </a:xfrm>
          <a:prstGeom prst="line">
            <a:avLst/>
          </a:prstGeom>
          <a:ln w="254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ous-titre 2">
            <a:extLst>
              <a:ext uri="{FF2B5EF4-FFF2-40B4-BE49-F238E27FC236}">
                <a16:creationId xmlns:a16="http://schemas.microsoft.com/office/drawing/2014/main" id="{6890AE2F-0967-D44C-0FFD-6A9C68C772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9949" y="4761404"/>
            <a:ext cx="5511189" cy="27597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800" b="0" cap="none" baseline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Click to edit presentation subtitle</a:t>
            </a:r>
          </a:p>
        </p:txBody>
      </p:sp>
      <p:pic>
        <p:nvPicPr>
          <p:cNvPr id="5" name="Image 13" descr="The world is how we shape it&#10;traduction: le monde est tel que nous le façonons">
            <a:extLst>
              <a:ext uri="{FF2B5EF4-FFF2-40B4-BE49-F238E27FC236}">
                <a16:creationId xmlns:a16="http://schemas.microsoft.com/office/drawing/2014/main" id="{75ABDE77-0536-4275-89A0-58187EAD95D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4923" b="-6662"/>
          <a:stretch/>
        </p:blipFill>
        <p:spPr>
          <a:xfrm>
            <a:off x="550863" y="6332930"/>
            <a:ext cx="2636837" cy="257697"/>
          </a:xfrm>
          <a:prstGeom prst="rect">
            <a:avLst/>
          </a:prstGeom>
        </p:spPr>
      </p:pic>
      <p:pic>
        <p:nvPicPr>
          <p:cNvPr id="6" name="Grafik 5" descr="Ein Bild, das Grafiken, Screenshot, Schrift, Grafikdesign enthält.&#10;&#10;Automatisch generierte Beschreibung">
            <a:extLst>
              <a:ext uri="{FF2B5EF4-FFF2-40B4-BE49-F238E27FC236}">
                <a16:creationId xmlns:a16="http://schemas.microsoft.com/office/drawing/2014/main" id="{53286D3A-FBD1-3C39-3111-D6A840AAC19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6050" y="6151629"/>
            <a:ext cx="1761016" cy="52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553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>
            <a:extLst>
              <a:ext uri="{FF2B5EF4-FFF2-40B4-BE49-F238E27FC236}">
                <a16:creationId xmlns:a16="http://schemas.microsoft.com/office/drawing/2014/main" id="{C52DF0EA-6D3E-A43D-8DC8-4B0474DDC49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9732" y="0"/>
            <a:ext cx="12193372" cy="6932692"/>
          </a:xfrm>
          <a:prstGeom prst="rect">
            <a:avLst/>
          </a:prstGeom>
          <a:solidFill>
            <a:schemeClr val="bg1"/>
          </a:solidFill>
        </p:spPr>
        <p:txBody>
          <a:bodyPr lIns="360000" tIns="3240000" rIns="360000"/>
          <a:lstStyle>
            <a:lvl1pPr algn="ctr">
              <a:buNone/>
              <a:defRPr sz="1400"/>
            </a:lvl1pPr>
          </a:lstStyle>
          <a:p>
            <a:r>
              <a:rPr lang="fr-FR"/>
              <a:t> z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B89846-109F-6846-926B-860C6957F6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6041547" y="772506"/>
            <a:ext cx="126999" cy="12193374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429BCF3E-818E-5B05-A160-79C131A780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5727" y="3762410"/>
            <a:ext cx="5364161" cy="1107996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presentation’s title </a:t>
            </a:r>
            <a:endParaRPr lang="fr-FR" noProof="0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3EEF34DA-5FB5-27D4-44A6-63F24D518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5999" y="5038125"/>
            <a:ext cx="5545139" cy="0"/>
          </a:xfrm>
          <a:prstGeom prst="line">
            <a:avLst/>
          </a:prstGeom>
          <a:ln w="25400" cap="rnd">
            <a:solidFill>
              <a:schemeClr val="bg2"/>
            </a:solidFill>
          </a:ln>
          <a:effectLst>
            <a:outerShdw blurRad="76200" dist="38100" dir="2700000" algn="tl" rotWithShape="0">
              <a:srgbClr val="4C1F82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ous-titre 2">
            <a:extLst>
              <a:ext uri="{FF2B5EF4-FFF2-40B4-BE49-F238E27FC236}">
                <a16:creationId xmlns:a16="http://schemas.microsoft.com/office/drawing/2014/main" id="{F4A50020-2840-6AD5-EAEC-05F8CF137DB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99" y="5205845"/>
            <a:ext cx="5364162" cy="3683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800" b="0" cap="none" baseline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presentation subtitle</a:t>
            </a:r>
          </a:p>
        </p:txBody>
      </p:sp>
      <p:pic>
        <p:nvPicPr>
          <p:cNvPr id="3" name="Image 13">
            <a:extLst>
              <a:ext uri="{FF2B5EF4-FFF2-40B4-BE49-F238E27FC236}">
                <a16:creationId xmlns:a16="http://schemas.microsoft.com/office/drawing/2014/main" id="{F86EC993-6306-A531-C169-647087E330F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64764" y="418076"/>
            <a:ext cx="2345559" cy="241603"/>
          </a:xfrm>
          <a:prstGeom prst="rect">
            <a:avLst/>
          </a:prstGeom>
        </p:spPr>
      </p:pic>
      <p:pic>
        <p:nvPicPr>
          <p:cNvPr id="5" name="Grafik 4" descr="Ein Bild, das Grafiken, Screenshot, Schrift, Grafikdesign enthält.&#10;&#10;Automatisch generierte Beschreibung">
            <a:extLst>
              <a:ext uri="{FF2B5EF4-FFF2-40B4-BE49-F238E27FC236}">
                <a16:creationId xmlns:a16="http://schemas.microsoft.com/office/drawing/2014/main" id="{31BABEED-F659-CB1E-69BF-FAED4C8D7B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20332" y="201523"/>
            <a:ext cx="1761016" cy="52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310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Caractère coloré, orange, Ambré, Magenta&#10;&#10;Description générée automatiquement">
            <a:extLst>
              <a:ext uri="{FF2B5EF4-FFF2-40B4-BE49-F238E27FC236}">
                <a16:creationId xmlns:a16="http://schemas.microsoft.com/office/drawing/2014/main" id="{B8C673FE-BB8F-6FAA-D2C5-6044101C62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Image 27" descr="The world is how we shape it&#10;traduction: le monde est tel que nous le façonons">
            <a:extLst>
              <a:ext uri="{FF2B5EF4-FFF2-40B4-BE49-F238E27FC236}">
                <a16:creationId xmlns:a16="http://schemas.microsoft.com/office/drawing/2014/main" id="{18E24780-E738-E905-B1BC-8382A25D79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579" b="10603"/>
          <a:stretch/>
        </p:blipFill>
        <p:spPr>
          <a:xfrm>
            <a:off x="550864" y="311063"/>
            <a:ext cx="2646362" cy="215987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3B89846-109F-6846-926B-860C6957F6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6023453" y="697814"/>
            <a:ext cx="126999" cy="12193374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79984163-A662-7C4C-0448-F0B80E2A2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3469" y="3939155"/>
            <a:ext cx="5517669" cy="1107996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presentation’s title </a:t>
            </a:r>
            <a:endParaRPr lang="fr-FR" noProof="0"/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650F2601-6D3F-4020-B499-45ECD3499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129949" y="5221295"/>
            <a:ext cx="5511189" cy="0"/>
          </a:xfrm>
          <a:prstGeom prst="line">
            <a:avLst/>
          </a:prstGeom>
          <a:ln w="254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ous-titre 2">
            <a:extLst>
              <a:ext uri="{FF2B5EF4-FFF2-40B4-BE49-F238E27FC236}">
                <a16:creationId xmlns:a16="http://schemas.microsoft.com/office/drawing/2014/main" id="{E818C06D-0678-D4EE-2137-25BB7B8C83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9949" y="5401774"/>
            <a:ext cx="5511189" cy="27597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800" b="0" cap="none" baseline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presentation subtitle</a:t>
            </a:r>
          </a:p>
        </p:txBody>
      </p:sp>
      <p:pic>
        <p:nvPicPr>
          <p:cNvPr id="2" name="Grafik 1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567DE43-33F7-A461-58A2-CFC6BE80E35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27086" y="193823"/>
            <a:ext cx="1751891" cy="5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541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12">
            <a:extLst>
              <a:ext uri="{FF2B5EF4-FFF2-40B4-BE49-F238E27FC236}">
                <a16:creationId xmlns:a16="http://schemas.microsoft.com/office/drawing/2014/main" id="{FB35BC57-1AD6-A858-0E62-E9A8A31304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1919288" y="404813"/>
            <a:ext cx="8353424" cy="5688012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1B895A2-E7E0-35B8-B9C8-3B56553A72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0515" y="944563"/>
            <a:ext cx="6850967" cy="47089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C00513C-AB73-EE7D-507B-E16849024B1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0516" y="1955211"/>
            <a:ext cx="6850967" cy="3704227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2F2CD2B1-D19B-102C-65F3-B7702F0BB4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339267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0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8">
            <a:extLst>
              <a:ext uri="{FF2B5EF4-FFF2-40B4-BE49-F238E27FC236}">
                <a16:creationId xmlns:a16="http://schemas.microsoft.com/office/drawing/2014/main" id="{0E31CEDF-C839-833E-C16C-4C799CC33C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Espace réservé du texte 25">
            <a:extLst>
              <a:ext uri="{FF2B5EF4-FFF2-40B4-BE49-F238E27FC236}">
                <a16:creationId xmlns:a16="http://schemas.microsoft.com/office/drawing/2014/main" id="{CADCBB8D-39AE-516A-75A2-65C9BD804E73}"/>
              </a:ext>
            </a:extLst>
          </p:cNvPr>
          <p:cNvSpPr txBox="1">
            <a:spLocks noGrp="1"/>
          </p:cNvSpPr>
          <p:nvPr>
            <p:ph type="title" idx="4294967295" hasCustomPrompt="1"/>
          </p:nvPr>
        </p:nvSpPr>
        <p:spPr>
          <a:xfrm>
            <a:off x="1938744" y="1166056"/>
            <a:ext cx="8297456" cy="52322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fr-FR" sz="3200" b="0" i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2pPr>
            <a:lvl3pPr marL="72000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fr-FR" sz="1400" b="0" i="0" kern="1200" dirty="0" smtClean="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3pPr>
            <a:lvl4pPr marL="1008000" indent="-285750" algn="l" defTabSz="261938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2601913" algn="l"/>
              </a:tabLst>
              <a:defRPr lang="fr-FR" sz="1200" b="0" i="0" kern="1200" dirty="0" smtClean="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4pPr>
            <a:lvl5pPr marL="711450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fr-FR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CF022B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3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presentation </a:t>
            </a:r>
            <a:r>
              <a:rPr kumimoji="0" lang="en-GB" sz="3400" b="0" i="0" u="none" strike="noStrike" kern="1200" cap="none" spc="0" normalizeH="0" baseline="0" noProof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e</a:t>
            </a:r>
            <a:endParaRPr kumimoji="0" lang="en-GB" sz="34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D0B464FF-EB57-39A9-7378-0E0D691E03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38744" y="1891861"/>
            <a:ext cx="8297456" cy="21544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/>
              <a:t>Click to edit presentation’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28485F-E8E7-9D61-CDC3-9531B6CAAB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8744" y="4248882"/>
            <a:ext cx="8297456" cy="1635125"/>
          </a:xfrm>
        </p:spPr>
        <p:txBody>
          <a:bodyPr/>
          <a:lstStyle>
            <a:lvl1pPr>
              <a:buClr>
                <a:schemeClr val="bg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1918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09">
          <p15:clr>
            <a:srgbClr val="FBAE40"/>
          </p15:clr>
        </p15:guide>
        <p15:guide id="2" pos="644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734A784-EE7F-AA25-0AA9-D5C3159DF1B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60591" y="2853686"/>
            <a:ext cx="2122763" cy="1252431"/>
          </a:xfrm>
        </p:spPr>
        <p:txBody>
          <a:bodyPr>
            <a:noAutofit/>
          </a:bodyPr>
          <a:lstStyle>
            <a:lvl1pPr marL="0" indent="0">
              <a:buNone/>
              <a:defRPr lang="en-GB" sz="8000" kern="1200" dirty="0">
                <a:solidFill>
                  <a:srgbClr val="2A1449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9E6FC5E-6014-5106-4FEB-F78C191A5C0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333953" y="2853685"/>
            <a:ext cx="2519984" cy="1252425"/>
          </a:xfrm>
        </p:spPr>
        <p:txBody>
          <a:bodyPr>
            <a:noAutofit/>
          </a:bodyPr>
          <a:lstStyle>
            <a:lvl1pPr marL="0" indent="0">
              <a:buNone/>
              <a:defRPr lang="en-GB" sz="8000" kern="1200" dirty="0">
                <a:solidFill>
                  <a:srgbClr val="2A1449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66B0C6E-E812-6C13-08A3-BE222A1A420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04141" y="2853686"/>
            <a:ext cx="2055674" cy="1252417"/>
          </a:xfrm>
        </p:spPr>
        <p:txBody>
          <a:bodyPr>
            <a:noAutofit/>
          </a:bodyPr>
          <a:lstStyle>
            <a:lvl1pPr marL="0" indent="0">
              <a:buNone/>
              <a:defRPr lang="en-GB" sz="8000" kern="1200" dirty="0">
                <a:solidFill>
                  <a:srgbClr val="2A1449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60FDA35-4714-5CB8-7E0A-C6D0E844955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77503" y="2853685"/>
            <a:ext cx="2317750" cy="1252416"/>
          </a:xfrm>
        </p:spPr>
        <p:txBody>
          <a:bodyPr>
            <a:noAutofit/>
          </a:bodyPr>
          <a:lstStyle>
            <a:lvl1pPr marL="0" indent="0">
              <a:buNone/>
              <a:defRPr lang="en-GB" sz="8000" kern="1200" dirty="0">
                <a:solidFill>
                  <a:srgbClr val="2A1449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62A28F4F-F2E8-679C-269C-A8CE9703A1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1030781"/>
            <a:ext cx="5543550" cy="747897"/>
          </a:xfrm>
        </p:spPr>
        <p:txBody>
          <a:bodyPr/>
          <a:lstStyle>
            <a:lvl1pPr>
              <a:defRPr sz="5400"/>
            </a:lvl1pPr>
          </a:lstStyle>
          <a:p>
            <a:r>
              <a:rPr lang="en-GB" noProof="0"/>
              <a:t>Summary</a:t>
            </a:r>
          </a:p>
        </p:txBody>
      </p:sp>
      <p:cxnSp>
        <p:nvCxnSpPr>
          <p:cNvPr id="5" name="Connecteur droit 5">
            <a:extLst>
              <a:ext uri="{FF2B5EF4-FFF2-40B4-BE49-F238E27FC236}">
                <a16:creationId xmlns:a16="http://schemas.microsoft.com/office/drawing/2014/main" id="{9811B6C5-7AC6-F7C2-A8D7-BC00AA11D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50863" y="1778678"/>
            <a:ext cx="11090275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rgbClr val="4D1D82"/>
                </a:gs>
                <a:gs pos="10000">
                  <a:srgbClr val="8B1D82"/>
                </a:gs>
                <a:gs pos="62000">
                  <a:srgbClr val="CF022B"/>
                </a:gs>
                <a:gs pos="100000">
                  <a:srgbClr val="EF7D0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33">
            <a:extLst>
              <a:ext uri="{FF2B5EF4-FFF2-40B4-BE49-F238E27FC236}">
                <a16:creationId xmlns:a16="http://schemas.microsoft.com/office/drawing/2014/main" id="{79DDA95E-44A9-2AA3-E39F-D471069E341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0591" y="1905028"/>
            <a:ext cx="10274097" cy="3693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SzPct val="100000"/>
              <a:buNone/>
              <a:defRPr sz="2000" b="1">
                <a:ln>
                  <a:noFill/>
                </a:ln>
                <a:solidFill>
                  <a:schemeClr val="tx1"/>
                </a:solidFill>
                <a:latin typeface="+mn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GB" noProof="0"/>
              <a:t>Click to edit master title</a:t>
            </a:r>
          </a:p>
        </p:txBody>
      </p:sp>
      <p:cxnSp>
        <p:nvCxnSpPr>
          <p:cNvPr id="7" name="Connecteur droit 13">
            <a:extLst>
              <a:ext uri="{FF2B5EF4-FFF2-40B4-BE49-F238E27FC236}">
                <a16:creationId xmlns:a16="http://schemas.microsoft.com/office/drawing/2014/main" id="{898D7756-6D53-23A1-8981-773CD300B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838863" y="3756988"/>
            <a:ext cx="0" cy="576000"/>
          </a:xfrm>
          <a:prstGeom prst="line">
            <a:avLst/>
          </a:prstGeom>
          <a:ln w="25400" cap="rnd">
            <a:gradFill flip="none" rotWithShape="1">
              <a:gsLst>
                <a:gs pos="0">
                  <a:schemeClr val="accent6"/>
                </a:gs>
                <a:gs pos="15000">
                  <a:schemeClr val="accent5"/>
                </a:gs>
                <a:gs pos="60000">
                  <a:schemeClr val="accent3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texte 33">
            <a:extLst>
              <a:ext uri="{FF2B5EF4-FFF2-40B4-BE49-F238E27FC236}">
                <a16:creationId xmlns:a16="http://schemas.microsoft.com/office/drawing/2014/main" id="{C525A4A7-3E8C-92D0-D09C-99BACFCDA1A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35043" y="4228551"/>
            <a:ext cx="2340410" cy="8309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modify the mask text styles</a:t>
            </a:r>
            <a:endParaRPr lang="fr-FR"/>
          </a:p>
        </p:txBody>
      </p:sp>
      <p:cxnSp>
        <p:nvCxnSpPr>
          <p:cNvPr id="9" name="Connecteur droit 14">
            <a:extLst>
              <a:ext uri="{FF2B5EF4-FFF2-40B4-BE49-F238E27FC236}">
                <a16:creationId xmlns:a16="http://schemas.microsoft.com/office/drawing/2014/main" id="{B46B22EB-E293-B57D-63BC-C7B7A7FB7C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612225" y="3756989"/>
            <a:ext cx="0" cy="576000"/>
          </a:xfrm>
          <a:prstGeom prst="line">
            <a:avLst/>
          </a:prstGeom>
          <a:ln w="25400" cap="rnd">
            <a:gradFill flip="none" rotWithShape="1">
              <a:gsLst>
                <a:gs pos="0">
                  <a:schemeClr val="accent6"/>
                </a:gs>
                <a:gs pos="15000">
                  <a:schemeClr val="accent5"/>
                </a:gs>
                <a:gs pos="60000">
                  <a:schemeClr val="accent3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33">
            <a:extLst>
              <a:ext uri="{FF2B5EF4-FFF2-40B4-BE49-F238E27FC236}">
                <a16:creationId xmlns:a16="http://schemas.microsoft.com/office/drawing/2014/main" id="{17247039-9056-9AD2-6FD1-3E654D46620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09521" y="4228551"/>
            <a:ext cx="2317750" cy="8309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modify the mask text styles</a:t>
            </a:r>
            <a:endParaRPr lang="fr-FR"/>
          </a:p>
        </p:txBody>
      </p:sp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C57CC033-A841-143C-6E9C-7A41B34D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6384000" y="3756988"/>
            <a:ext cx="0" cy="576000"/>
          </a:xfrm>
          <a:prstGeom prst="line">
            <a:avLst/>
          </a:prstGeom>
          <a:ln w="25400" cap="rnd">
            <a:gradFill flip="none" rotWithShape="1">
              <a:gsLst>
                <a:gs pos="0">
                  <a:schemeClr val="accent6"/>
                </a:gs>
                <a:gs pos="15000">
                  <a:schemeClr val="accent5"/>
                </a:gs>
                <a:gs pos="60000">
                  <a:schemeClr val="accent3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33">
            <a:extLst>
              <a:ext uri="{FF2B5EF4-FFF2-40B4-BE49-F238E27FC236}">
                <a16:creationId xmlns:a16="http://schemas.microsoft.com/office/drawing/2014/main" id="{70A1432F-CC9D-6215-1242-9C07089090B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03956" y="4228551"/>
            <a:ext cx="2317750" cy="8309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modify the mask text styles</a:t>
            </a:r>
            <a:endParaRPr lang="fr-FR"/>
          </a:p>
        </p:txBody>
      </p:sp>
      <p:cxnSp>
        <p:nvCxnSpPr>
          <p:cNvPr id="13" name="Connecteur droit 18">
            <a:extLst>
              <a:ext uri="{FF2B5EF4-FFF2-40B4-BE49-F238E27FC236}">
                <a16:creationId xmlns:a16="http://schemas.microsoft.com/office/drawing/2014/main" id="{96EFC163-1168-DB61-74E8-96B6202BD9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155775" y="3756988"/>
            <a:ext cx="0" cy="576000"/>
          </a:xfrm>
          <a:prstGeom prst="line">
            <a:avLst/>
          </a:prstGeom>
          <a:ln w="25400" cap="rnd">
            <a:gradFill flip="none" rotWithShape="1">
              <a:gsLst>
                <a:gs pos="0">
                  <a:schemeClr val="accent6"/>
                </a:gs>
                <a:gs pos="15000">
                  <a:schemeClr val="accent5"/>
                </a:gs>
                <a:gs pos="60000">
                  <a:schemeClr val="accent3"/>
                </a:gs>
                <a:gs pos="100000">
                  <a:schemeClr val="accent2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33">
            <a:extLst>
              <a:ext uri="{FF2B5EF4-FFF2-40B4-BE49-F238E27FC236}">
                <a16:creationId xmlns:a16="http://schemas.microsoft.com/office/drawing/2014/main" id="{080FC564-2C8F-F361-EAFE-69BAF7E1466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55774" y="4248325"/>
            <a:ext cx="2317750" cy="8309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modify the mask text styles</a:t>
            </a:r>
            <a:endParaRPr lang="fr-FR"/>
          </a:p>
        </p:txBody>
      </p:sp>
      <p:sp>
        <p:nvSpPr>
          <p:cNvPr id="19" name="Footer Placeholder 6">
            <a:extLst>
              <a:ext uri="{FF2B5EF4-FFF2-40B4-BE49-F238E27FC236}">
                <a16:creationId xmlns:a16="http://schemas.microsoft.com/office/drawing/2014/main" id="{C037133A-075F-70CA-80FC-105C1F7D21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4839569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33">
            <a:extLst>
              <a:ext uri="{FF2B5EF4-FFF2-40B4-BE49-F238E27FC236}">
                <a16:creationId xmlns:a16="http://schemas.microsoft.com/office/drawing/2014/main" id="{87DE46C0-7F1A-1F10-69E2-E18BA13D39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0591" y="2742811"/>
            <a:ext cx="1586050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XX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4173F48-E7FD-577B-D31D-B48E0CC7A0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838863" y="3285809"/>
            <a:ext cx="0" cy="576000"/>
          </a:xfrm>
          <a:prstGeom prst="line">
            <a:avLst/>
          </a:prstGeom>
          <a:ln w="25400" cap="rnd">
            <a:gradFill flip="none" rotWithShape="1">
              <a:gsLst>
                <a:gs pos="0">
                  <a:schemeClr val="accent6"/>
                </a:gs>
                <a:gs pos="15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space réservé du texte 33">
            <a:extLst>
              <a:ext uri="{FF2B5EF4-FFF2-40B4-BE49-F238E27FC236}">
                <a16:creationId xmlns:a16="http://schemas.microsoft.com/office/drawing/2014/main" id="{70F3E954-EA7E-3D54-5989-771C624C14F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60591" y="3879836"/>
            <a:ext cx="1620000" cy="144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noProof="0"/>
              <a:t>Click to modify the mask text styles</a:t>
            </a:r>
          </a:p>
        </p:txBody>
      </p:sp>
      <p:sp>
        <p:nvSpPr>
          <p:cNvPr id="12" name="Espace réservé du texte 33">
            <a:extLst>
              <a:ext uri="{FF2B5EF4-FFF2-40B4-BE49-F238E27FC236}">
                <a16:creationId xmlns:a16="http://schemas.microsoft.com/office/drawing/2014/main" id="{712119D1-D165-724A-0C5A-2C5D392744B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497658" y="2742812"/>
            <a:ext cx="1586051" cy="923328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XX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273EF112-FC59-E01E-64ED-E1EAD735E4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2775930" y="3284111"/>
            <a:ext cx="0" cy="576000"/>
          </a:xfrm>
          <a:prstGeom prst="line">
            <a:avLst/>
          </a:prstGeom>
          <a:ln w="25400" cap="rnd">
            <a:gradFill flip="none" rotWithShape="1">
              <a:gsLst>
                <a:gs pos="0">
                  <a:schemeClr val="accent6"/>
                </a:gs>
                <a:gs pos="15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space réservé du texte 33">
            <a:extLst>
              <a:ext uri="{FF2B5EF4-FFF2-40B4-BE49-F238E27FC236}">
                <a16:creationId xmlns:a16="http://schemas.microsoft.com/office/drawing/2014/main" id="{84AA0B31-F9AA-B02F-7BE9-48D1C33CCE9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497657" y="3879836"/>
            <a:ext cx="1620000" cy="144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noProof="0"/>
              <a:t>Click to modify the mask text styles</a:t>
            </a:r>
          </a:p>
        </p:txBody>
      </p:sp>
      <p:sp>
        <p:nvSpPr>
          <p:cNvPr id="13" name="Espace réservé du texte 33">
            <a:extLst>
              <a:ext uri="{FF2B5EF4-FFF2-40B4-BE49-F238E27FC236}">
                <a16:creationId xmlns:a16="http://schemas.microsoft.com/office/drawing/2014/main" id="{1EAA6C72-CF75-DD44-7954-B7647471BDA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4725" y="2742812"/>
            <a:ext cx="1508664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XX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D58291D-D65D-9F10-F8F6-3ED8E962DD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4712997" y="3284111"/>
            <a:ext cx="0" cy="576000"/>
          </a:xfrm>
          <a:prstGeom prst="line">
            <a:avLst/>
          </a:prstGeom>
          <a:ln w="25400" cap="rnd">
            <a:gradFill flip="none" rotWithShape="1">
              <a:gsLst>
                <a:gs pos="0">
                  <a:schemeClr val="accent6"/>
                </a:gs>
                <a:gs pos="15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space réservé du texte 33">
            <a:extLst>
              <a:ext uri="{FF2B5EF4-FFF2-40B4-BE49-F238E27FC236}">
                <a16:creationId xmlns:a16="http://schemas.microsoft.com/office/drawing/2014/main" id="{841370E1-0073-00F5-567C-45D0C07CAF6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34724" y="3879836"/>
            <a:ext cx="1620000" cy="144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noProof="0"/>
              <a:t>Click to modify the mask text styles</a:t>
            </a:r>
          </a:p>
        </p:txBody>
      </p:sp>
      <p:sp>
        <p:nvSpPr>
          <p:cNvPr id="17" name="Espace réservé du texte 33">
            <a:extLst>
              <a:ext uri="{FF2B5EF4-FFF2-40B4-BE49-F238E27FC236}">
                <a16:creationId xmlns:a16="http://schemas.microsoft.com/office/drawing/2014/main" id="{2023A0C1-8C1F-D599-D681-A006D431E73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71792" y="2742812"/>
            <a:ext cx="1508664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XX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E6B5D84C-608F-1F10-58DB-85A6820B51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6650064" y="3284111"/>
            <a:ext cx="0" cy="576000"/>
          </a:xfrm>
          <a:prstGeom prst="line">
            <a:avLst/>
          </a:prstGeom>
          <a:ln w="25400" cap="rnd">
            <a:gradFill flip="none" rotWithShape="1">
              <a:gsLst>
                <a:gs pos="0">
                  <a:schemeClr val="accent6"/>
                </a:gs>
                <a:gs pos="15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space réservé du texte 33">
            <a:extLst>
              <a:ext uri="{FF2B5EF4-FFF2-40B4-BE49-F238E27FC236}">
                <a16:creationId xmlns:a16="http://schemas.microsoft.com/office/drawing/2014/main" id="{F8FCCF26-683D-5F69-C977-837A1CDF2B4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371791" y="3879836"/>
            <a:ext cx="1620000" cy="144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noProof="0"/>
              <a:t>Click to modify the mask text styles</a:t>
            </a:r>
          </a:p>
        </p:txBody>
      </p:sp>
      <p:sp>
        <p:nvSpPr>
          <p:cNvPr id="18" name="Espace réservé du texte 33">
            <a:extLst>
              <a:ext uri="{FF2B5EF4-FFF2-40B4-BE49-F238E27FC236}">
                <a16:creationId xmlns:a16="http://schemas.microsoft.com/office/drawing/2014/main" id="{7A79553A-64FD-4F3B-F645-C835603B92E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308859" y="2742812"/>
            <a:ext cx="1404939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XX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9853B756-593B-BA5C-0240-24F5AD00F7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8587133" y="3300222"/>
            <a:ext cx="0" cy="576000"/>
          </a:xfrm>
          <a:prstGeom prst="line">
            <a:avLst/>
          </a:prstGeom>
          <a:ln w="25400" cap="rnd">
            <a:gradFill flip="none" rotWithShape="1">
              <a:gsLst>
                <a:gs pos="0">
                  <a:schemeClr val="accent6"/>
                </a:gs>
                <a:gs pos="15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Espace réservé du texte 33">
            <a:extLst>
              <a:ext uri="{FF2B5EF4-FFF2-40B4-BE49-F238E27FC236}">
                <a16:creationId xmlns:a16="http://schemas.microsoft.com/office/drawing/2014/main" id="{B56E9174-79E8-43D4-3169-EB5316B4430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08858" y="3879836"/>
            <a:ext cx="1620000" cy="144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noProof="0"/>
              <a:t>Click to modify the mask text styles</a:t>
            </a:r>
          </a:p>
        </p:txBody>
      </p:sp>
      <p:sp>
        <p:nvSpPr>
          <p:cNvPr id="20" name="Espace réservé du texte 33">
            <a:extLst>
              <a:ext uri="{FF2B5EF4-FFF2-40B4-BE49-F238E27FC236}">
                <a16:creationId xmlns:a16="http://schemas.microsoft.com/office/drawing/2014/main" id="{97A48803-C994-CC05-A835-1682EF0768F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245928" y="2742812"/>
            <a:ext cx="1491974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XX</a:t>
            </a: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4D552E41-2A5F-FC72-6B9E-80A377DD3A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0524200" y="3300222"/>
            <a:ext cx="0" cy="576000"/>
          </a:xfrm>
          <a:prstGeom prst="line">
            <a:avLst/>
          </a:prstGeom>
          <a:ln w="25400" cap="rnd">
            <a:gradFill flip="none" rotWithShape="1">
              <a:gsLst>
                <a:gs pos="0">
                  <a:schemeClr val="accent6"/>
                </a:gs>
                <a:gs pos="15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33">
            <a:extLst>
              <a:ext uri="{FF2B5EF4-FFF2-40B4-BE49-F238E27FC236}">
                <a16:creationId xmlns:a16="http://schemas.microsoft.com/office/drawing/2014/main" id="{F9745AE9-DB13-7692-BB54-F20D22ACAE3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245925" y="3879836"/>
            <a:ext cx="1620000" cy="144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noProof="0"/>
              <a:t>Click to modify the mask text styles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0E9E7255-282A-5AB7-FB07-1F570FA58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B20140C1-9851-A9F0-4D2E-CE29BBABBA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0" y="1030781"/>
            <a:ext cx="6940347" cy="747897"/>
          </a:xfrm>
        </p:spPr>
        <p:txBody>
          <a:bodyPr/>
          <a:lstStyle>
            <a:lvl1pPr>
              <a:defRPr sz="5400"/>
            </a:lvl1pPr>
          </a:lstStyle>
          <a:p>
            <a:r>
              <a:rPr lang="en-GB" noProof="0"/>
              <a:t>Summary</a:t>
            </a:r>
          </a:p>
        </p:txBody>
      </p:sp>
      <p:cxnSp>
        <p:nvCxnSpPr>
          <p:cNvPr id="7" name="Connecteur droit 5">
            <a:extLst>
              <a:ext uri="{FF2B5EF4-FFF2-40B4-BE49-F238E27FC236}">
                <a16:creationId xmlns:a16="http://schemas.microsoft.com/office/drawing/2014/main" id="{1F74CD69-8C55-E051-B5DB-908174A5C5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60591" y="1778678"/>
            <a:ext cx="11090275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rgbClr val="4D1D82"/>
                </a:gs>
                <a:gs pos="10000">
                  <a:srgbClr val="8B1D82"/>
                </a:gs>
                <a:gs pos="62000">
                  <a:srgbClr val="CF022B"/>
                </a:gs>
                <a:gs pos="100000">
                  <a:srgbClr val="EF7D0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texte 33">
            <a:extLst>
              <a:ext uri="{FF2B5EF4-FFF2-40B4-BE49-F238E27FC236}">
                <a16:creationId xmlns:a16="http://schemas.microsoft.com/office/drawing/2014/main" id="{55DFFD91-2EEB-FA17-A618-9FDB862D98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0591" y="1905028"/>
            <a:ext cx="10274097" cy="3693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SzPct val="100000"/>
              <a:buNone/>
              <a:defRPr sz="2000" b="1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GB" noProof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16170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209">
          <p15:clr>
            <a:srgbClr val="FBAE40"/>
          </p15:clr>
        </p15:guide>
        <p15:guide id="3" pos="2955">
          <p15:clr>
            <a:srgbClr val="FBAE40"/>
          </p15:clr>
        </p15:guide>
        <p15:guide id="4" pos="4725">
          <p15:clr>
            <a:srgbClr val="FBAE40"/>
          </p15:clr>
        </p15:guide>
        <p15:guide id="5" pos="644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33">
            <a:extLst>
              <a:ext uri="{FF2B5EF4-FFF2-40B4-BE49-F238E27FC236}">
                <a16:creationId xmlns:a16="http://schemas.microsoft.com/office/drawing/2014/main" id="{B0D7BF67-0CF3-AFBF-8E65-961FB8C6C7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4238" y="2421968"/>
            <a:ext cx="1152000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8" name="Espace réservé du texte 13">
            <a:extLst>
              <a:ext uri="{FF2B5EF4-FFF2-40B4-BE49-F238E27FC236}">
                <a16:creationId xmlns:a16="http://schemas.microsoft.com/office/drawing/2014/main" id="{82A7E014-DDEC-3409-C7D1-CE100AFF7D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029986" y="2623549"/>
            <a:ext cx="3324187" cy="52322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noProof="0"/>
              <a:t>Click to modify the mask text styles</a:t>
            </a:r>
          </a:p>
        </p:txBody>
      </p:sp>
      <p:sp>
        <p:nvSpPr>
          <p:cNvPr id="9" name="Espace réservé du texte 33">
            <a:extLst>
              <a:ext uri="{FF2B5EF4-FFF2-40B4-BE49-F238E27FC236}">
                <a16:creationId xmlns:a16="http://schemas.microsoft.com/office/drawing/2014/main" id="{95F4F3BC-C291-9AE6-E2BE-FAF77CAC966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4237" y="3322868"/>
            <a:ext cx="1152000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F56CEF40-9F20-7277-2B57-263B02A56C4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029986" y="3520868"/>
            <a:ext cx="3324187" cy="52322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noProof="0"/>
              <a:t>Click to modify the mask text styles</a:t>
            </a:r>
          </a:p>
        </p:txBody>
      </p:sp>
      <p:sp>
        <p:nvSpPr>
          <p:cNvPr id="11" name="Espace réservé du texte 33">
            <a:extLst>
              <a:ext uri="{FF2B5EF4-FFF2-40B4-BE49-F238E27FC236}">
                <a16:creationId xmlns:a16="http://schemas.microsoft.com/office/drawing/2014/main" id="{7BA3E59D-4AD7-4CE4-1A86-EE757964F21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64237" y="4223768"/>
            <a:ext cx="1152000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12" name="Espace réservé du texte 13">
            <a:extLst>
              <a:ext uri="{FF2B5EF4-FFF2-40B4-BE49-F238E27FC236}">
                <a16:creationId xmlns:a16="http://schemas.microsoft.com/office/drawing/2014/main" id="{830DD1C7-08F2-DBCB-D406-AA2D2ACC5AE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029986" y="4425350"/>
            <a:ext cx="3324187" cy="52322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noProof="0"/>
              <a:t>Click to modify the mask text styles</a:t>
            </a:r>
          </a:p>
        </p:txBody>
      </p:sp>
      <p:sp>
        <p:nvSpPr>
          <p:cNvPr id="13" name="Espace réservé du texte 33">
            <a:extLst>
              <a:ext uri="{FF2B5EF4-FFF2-40B4-BE49-F238E27FC236}">
                <a16:creationId xmlns:a16="http://schemas.microsoft.com/office/drawing/2014/main" id="{45872198-8C5C-81CC-B9B5-B466218A5F5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64237" y="5124669"/>
            <a:ext cx="1152000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2AE1DC32-5652-73AA-9044-4AEC58DEEA5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029986" y="5322669"/>
            <a:ext cx="3324187" cy="52322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noProof="0"/>
              <a:t>Click to modify the mask text styles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461E5782-2CE1-8D6E-EA38-621CC538DE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23" name="Titre 1">
            <a:extLst>
              <a:ext uri="{FF2B5EF4-FFF2-40B4-BE49-F238E27FC236}">
                <a16:creationId xmlns:a16="http://schemas.microsoft.com/office/drawing/2014/main" id="{2FE19140-E9C3-74D0-9743-743DBFEC77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1030781"/>
            <a:ext cx="3159746" cy="747897"/>
          </a:xfrm>
        </p:spPr>
        <p:txBody>
          <a:bodyPr/>
          <a:lstStyle>
            <a:lvl1pPr>
              <a:defRPr sz="5400"/>
            </a:lvl1pPr>
          </a:lstStyle>
          <a:p>
            <a:r>
              <a:rPr lang="en-GB" noProof="0"/>
              <a:t>Summary</a:t>
            </a:r>
          </a:p>
        </p:txBody>
      </p:sp>
      <p:cxnSp>
        <p:nvCxnSpPr>
          <p:cNvPr id="24" name="Connecteur droit 5">
            <a:extLst>
              <a:ext uri="{FF2B5EF4-FFF2-40B4-BE49-F238E27FC236}">
                <a16:creationId xmlns:a16="http://schemas.microsoft.com/office/drawing/2014/main" id="{F519EDA4-BC7E-3D24-5B9C-BE7FC4F764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60591" y="1778678"/>
            <a:ext cx="11090275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rgbClr val="4D1D82"/>
                </a:gs>
                <a:gs pos="10000">
                  <a:srgbClr val="8B1D82"/>
                </a:gs>
                <a:gs pos="62000">
                  <a:srgbClr val="CF022B"/>
                </a:gs>
                <a:gs pos="100000">
                  <a:srgbClr val="EF7D0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space réservé du texte 33">
            <a:extLst>
              <a:ext uri="{FF2B5EF4-FFF2-40B4-BE49-F238E27FC236}">
                <a16:creationId xmlns:a16="http://schemas.microsoft.com/office/drawing/2014/main" id="{551DF5D2-88E2-D2FE-3F2B-B605082786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0591" y="1905028"/>
            <a:ext cx="10274097" cy="3693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SzPct val="100000"/>
              <a:buNone/>
              <a:defRPr sz="2000" b="1">
                <a:ln>
                  <a:noFill/>
                </a:ln>
                <a:solidFill>
                  <a:schemeClr val="tx1"/>
                </a:solidFill>
                <a:latin typeface="+mn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GB" noProof="0"/>
              <a:t>Click to edit master title</a:t>
            </a:r>
          </a:p>
        </p:txBody>
      </p:sp>
      <p:sp>
        <p:nvSpPr>
          <p:cNvPr id="27" name="Espace réservé du texte 33">
            <a:extLst>
              <a:ext uri="{FF2B5EF4-FFF2-40B4-BE49-F238E27FC236}">
                <a16:creationId xmlns:a16="http://schemas.microsoft.com/office/drawing/2014/main" id="{19FBE9BD-7A83-2411-2285-A0B25BE1B2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14842" y="2415988"/>
            <a:ext cx="1152000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28" name="Espace réservé du texte 13">
            <a:extLst>
              <a:ext uri="{FF2B5EF4-FFF2-40B4-BE49-F238E27FC236}">
                <a16:creationId xmlns:a16="http://schemas.microsoft.com/office/drawing/2014/main" id="{9D0EE544-FFC5-5257-E628-2435D337E74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80590" y="2617569"/>
            <a:ext cx="3324187" cy="52322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noProof="0"/>
              <a:t>Click to modify the mask text styles</a:t>
            </a:r>
          </a:p>
        </p:txBody>
      </p:sp>
      <p:sp>
        <p:nvSpPr>
          <p:cNvPr id="29" name="Espace réservé du texte 33">
            <a:extLst>
              <a:ext uri="{FF2B5EF4-FFF2-40B4-BE49-F238E27FC236}">
                <a16:creationId xmlns:a16="http://schemas.microsoft.com/office/drawing/2014/main" id="{45715C51-F582-1D57-7E0A-A34ADC9A55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14841" y="3316888"/>
            <a:ext cx="1152000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30" name="Espace réservé du texte 13">
            <a:extLst>
              <a:ext uri="{FF2B5EF4-FFF2-40B4-BE49-F238E27FC236}">
                <a16:creationId xmlns:a16="http://schemas.microsoft.com/office/drawing/2014/main" id="{317E1E02-B654-5ED3-EA7D-2B4A3F37E71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80590" y="3514888"/>
            <a:ext cx="3324187" cy="52322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noProof="0"/>
              <a:t>Click to modify the mask text styles</a:t>
            </a:r>
          </a:p>
        </p:txBody>
      </p:sp>
      <p:sp>
        <p:nvSpPr>
          <p:cNvPr id="31" name="Espace réservé du texte 33">
            <a:extLst>
              <a:ext uri="{FF2B5EF4-FFF2-40B4-BE49-F238E27FC236}">
                <a16:creationId xmlns:a16="http://schemas.microsoft.com/office/drawing/2014/main" id="{0EA549A3-D3D7-FED8-1FC8-26A55CA3A6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14841" y="4217788"/>
            <a:ext cx="1152000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32" name="Espace réservé du texte 13">
            <a:extLst>
              <a:ext uri="{FF2B5EF4-FFF2-40B4-BE49-F238E27FC236}">
                <a16:creationId xmlns:a16="http://schemas.microsoft.com/office/drawing/2014/main" id="{0A15CA8D-B64A-7E6E-6ED0-1FD75B3EC2F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80590" y="4419370"/>
            <a:ext cx="3324187" cy="52322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noProof="0"/>
              <a:t>Click to modify the mask text styles</a:t>
            </a:r>
          </a:p>
        </p:txBody>
      </p:sp>
      <p:sp>
        <p:nvSpPr>
          <p:cNvPr id="33" name="Espace réservé du texte 33">
            <a:extLst>
              <a:ext uri="{FF2B5EF4-FFF2-40B4-BE49-F238E27FC236}">
                <a16:creationId xmlns:a16="http://schemas.microsoft.com/office/drawing/2014/main" id="{30CBB2DB-0E9A-3163-5293-C7FC560CE6D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14841" y="5118689"/>
            <a:ext cx="1152000" cy="92333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  <a:defRPr sz="5400" b="0">
                <a:ln>
                  <a:noFill/>
                </a:ln>
                <a:solidFill>
                  <a:srgbClr val="2A1449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34" name="Espace réservé du texte 13">
            <a:extLst>
              <a:ext uri="{FF2B5EF4-FFF2-40B4-BE49-F238E27FC236}">
                <a16:creationId xmlns:a16="http://schemas.microsoft.com/office/drawing/2014/main" id="{018D2C25-2CB9-55D9-502D-2A8EB9CD0DB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80590" y="5316689"/>
            <a:ext cx="3324187" cy="52322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noProof="0"/>
              <a:t>Click to modify the mask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55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1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8">
            <a:extLst>
              <a:ext uri="{FF2B5EF4-FFF2-40B4-BE49-F238E27FC236}">
                <a16:creationId xmlns:a16="http://schemas.microsoft.com/office/drawing/2014/main" id="{0E31CEDF-C839-833E-C16C-4C799CC33C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Groupe 2">
            <a:extLst>
              <a:ext uri="{FF2B5EF4-FFF2-40B4-BE49-F238E27FC236}">
                <a16:creationId xmlns:a16="http://schemas.microsoft.com/office/drawing/2014/main" id="{770C5ACB-4638-5C43-1942-A3CE7F8F4C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012915" y="1914013"/>
            <a:ext cx="8166170" cy="3433264"/>
            <a:chOff x="1941663" y="1234085"/>
            <a:chExt cx="8166170" cy="3433264"/>
          </a:xfrm>
        </p:grpSpPr>
        <p:cxnSp>
          <p:nvCxnSpPr>
            <p:cNvPr id="7" name="Straight Connector 9">
              <a:extLst>
                <a:ext uri="{FF2B5EF4-FFF2-40B4-BE49-F238E27FC236}">
                  <a16:creationId xmlns:a16="http://schemas.microsoft.com/office/drawing/2014/main" id="{B76B2936-3F03-D7D3-07DC-DEF16784C773}"/>
                </a:ext>
              </a:extLst>
            </p:cNvPr>
            <p:cNvCxnSpPr>
              <a:cxnSpLocks/>
            </p:cNvCxnSpPr>
            <p:nvPr/>
          </p:nvCxnSpPr>
          <p:spPr>
            <a:xfrm>
              <a:off x="1941663" y="2939767"/>
              <a:ext cx="8166170" cy="0"/>
            </a:xfrm>
            <a:prstGeom prst="line">
              <a:avLst/>
            </a:prstGeom>
            <a:ln w="15875">
              <a:solidFill>
                <a:schemeClr val="bg2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8" name="Straight Connector 10">
              <a:extLst>
                <a:ext uri="{FF2B5EF4-FFF2-40B4-BE49-F238E27FC236}">
                  <a16:creationId xmlns:a16="http://schemas.microsoft.com/office/drawing/2014/main" id="{6A14EA99-21F4-51D7-95D8-4221D45BB897}"/>
                </a:ext>
              </a:extLst>
            </p:cNvPr>
            <p:cNvCxnSpPr>
              <a:cxnSpLocks/>
            </p:cNvCxnSpPr>
            <p:nvPr/>
          </p:nvCxnSpPr>
          <p:spPr>
            <a:xfrm>
              <a:off x="4554744" y="1234085"/>
              <a:ext cx="0" cy="3433264"/>
            </a:xfrm>
            <a:prstGeom prst="line">
              <a:avLst/>
            </a:prstGeom>
            <a:ln w="15875">
              <a:solidFill>
                <a:schemeClr val="bg2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44ADBFF2-BA45-B649-E4C9-5619B06F5B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91834" y="1510723"/>
            <a:ext cx="2834162" cy="21544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XX.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F9D870C7-904D-D610-6215-14D0176627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05149" y="3860800"/>
            <a:ext cx="5505450" cy="10156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5976112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D9A94846-1DE2-FA76-1D4A-8E207C765C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096000" cy="6774943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11" name="Espace réservé du texte 12">
            <a:extLst>
              <a:ext uri="{FF2B5EF4-FFF2-40B4-BE49-F238E27FC236}">
                <a16:creationId xmlns:a16="http://schemas.microsoft.com/office/drawing/2014/main" id="{46DC0F3B-67A2-9DFC-102E-561BF82AAA7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481679" y="1050188"/>
            <a:ext cx="2834162" cy="21544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0">
                <a:solidFill>
                  <a:srgbClr val="2A1449"/>
                </a:solidFill>
              </a:defRPr>
            </a:lvl1pPr>
          </a:lstStyle>
          <a:p>
            <a:pPr lvl="0"/>
            <a:r>
              <a:rPr lang="en-GB" noProof="0"/>
              <a:t>XX.</a:t>
            </a:r>
          </a:p>
        </p:txBody>
      </p:sp>
      <p:sp>
        <p:nvSpPr>
          <p:cNvPr id="12" name="Espace réservé du texte 14">
            <a:extLst>
              <a:ext uri="{FF2B5EF4-FFF2-40B4-BE49-F238E27FC236}">
                <a16:creationId xmlns:a16="http://schemas.microsoft.com/office/drawing/2014/main" id="{19CB8035-71E0-DAAC-9284-7A8F0197BAF8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1679" y="3666149"/>
            <a:ext cx="5159458" cy="10156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rgbClr val="2A1449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itle</a:t>
            </a:r>
          </a:p>
        </p:txBody>
      </p:sp>
      <p:grpSp>
        <p:nvGrpSpPr>
          <p:cNvPr id="20" name="Groupe 2">
            <a:extLst>
              <a:ext uri="{FF2B5EF4-FFF2-40B4-BE49-F238E27FC236}">
                <a16:creationId xmlns:a16="http://schemas.microsoft.com/office/drawing/2014/main" id="{FB2BBB05-6F75-379B-9E33-6B7C344BF0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260322" y="1718755"/>
            <a:ext cx="5380816" cy="3433264"/>
            <a:chOff x="4554744" y="1234085"/>
            <a:chExt cx="5380816" cy="3433264"/>
          </a:xfrm>
        </p:grpSpPr>
        <p:cxnSp>
          <p:nvCxnSpPr>
            <p:cNvPr id="21" name="Straight Connector 9">
              <a:extLst>
                <a:ext uri="{FF2B5EF4-FFF2-40B4-BE49-F238E27FC236}">
                  <a16:creationId xmlns:a16="http://schemas.microsoft.com/office/drawing/2014/main" id="{786250F4-22CC-F05A-D1B0-81F2AF988E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54744" y="2944330"/>
              <a:ext cx="5380816" cy="6387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accent6"/>
                  </a:gs>
                  <a:gs pos="15000">
                    <a:schemeClr val="accent5"/>
                  </a:gs>
                  <a:gs pos="83000">
                    <a:schemeClr val="accent3"/>
                  </a:gs>
                  <a:gs pos="100000">
                    <a:schemeClr val="accent4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2" name="Straight Connector 10">
              <a:extLst>
                <a:ext uri="{FF2B5EF4-FFF2-40B4-BE49-F238E27FC236}">
                  <a16:creationId xmlns:a16="http://schemas.microsoft.com/office/drawing/2014/main" id="{6D4F2BB3-75AA-CD54-19C6-3ED7BD630D1F}"/>
                </a:ext>
              </a:extLst>
            </p:cNvPr>
            <p:cNvCxnSpPr>
              <a:cxnSpLocks/>
            </p:cNvCxnSpPr>
            <p:nvPr/>
          </p:nvCxnSpPr>
          <p:spPr>
            <a:xfrm>
              <a:off x="4554744" y="1234085"/>
              <a:ext cx="0" cy="3433264"/>
            </a:xfrm>
            <a:prstGeom prst="line">
              <a:avLst/>
            </a:prstGeom>
            <a:ln w="1587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83000">
                    <a:schemeClr val="accent3"/>
                  </a:gs>
                  <a:gs pos="100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195EDECC-2983-2881-261A-F6D169D987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2000" y="6774943"/>
            <a:ext cx="12204000" cy="108000"/>
          </a:xfrm>
          <a:prstGeom prst="rect">
            <a:avLst/>
          </a:prstGeom>
          <a:gradFill>
            <a:gsLst>
              <a:gs pos="12000">
                <a:srgbClr val="8B1D82"/>
              </a:gs>
              <a:gs pos="0">
                <a:srgbClr val="4D1D82"/>
              </a:gs>
              <a:gs pos="29000">
                <a:srgbClr val="CF022B"/>
              </a:gs>
              <a:gs pos="100000">
                <a:srgbClr val="F07D00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b="1" i="0"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218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u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77305E0-8E22-84C4-A248-DBADC84FF3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fik 3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32D498AA-D8CF-01BE-263E-15CC74DE1D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27605" y="182353"/>
            <a:ext cx="1751891" cy="5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505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BDAB702-4309-B876-BC2B-CBA81FCB14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827024"/>
            <a:ext cx="12204000" cy="43200"/>
          </a:xfrm>
          <a:prstGeom prst="rect">
            <a:avLst/>
          </a:prstGeom>
          <a:gradFill>
            <a:gsLst>
              <a:gs pos="12000">
                <a:srgbClr val="8B1D82"/>
              </a:gs>
              <a:gs pos="0">
                <a:srgbClr val="4D1D82"/>
              </a:gs>
              <a:gs pos="29000">
                <a:srgbClr val="CF022B"/>
              </a:gs>
              <a:gs pos="100000">
                <a:srgbClr val="F07D00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b="1" i="0">
              <a:latin typeface="Tahoma" panose="020B0604030504040204" pitchFamily="34" charset="0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68158F0D-14CE-146C-BF1F-84FFE6EC8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5" name="Espace réservé du texte 13">
            <a:extLst>
              <a:ext uri="{FF2B5EF4-FFF2-40B4-BE49-F238E27FC236}">
                <a16:creationId xmlns:a16="http://schemas.microsoft.com/office/drawing/2014/main" id="{413FEC71-5C4D-AFFA-02EB-D7EA3AC088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59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94903F18-9227-36CF-2A44-FD6ECFA1F7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D33D49-F545-21A4-394B-E605B8AA2AE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60591" y="1628775"/>
            <a:ext cx="11090275" cy="4464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0506758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2">
            <a:extLst>
              <a:ext uri="{FF2B5EF4-FFF2-40B4-BE49-F238E27FC236}">
                <a16:creationId xmlns:a16="http://schemas.microsoft.com/office/drawing/2014/main" id="{8E2BE25E-2D35-24E9-4DF6-82CF22FE93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0024" y="2130578"/>
            <a:ext cx="10571952" cy="3348038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8C60FE96-F92F-1442-E1D0-A46FB179DA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19225" y="2481250"/>
            <a:ext cx="9367838" cy="27590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600" b="1"/>
            </a:lvl1pPr>
          </a:lstStyle>
          <a:p>
            <a:pPr lvl="0"/>
            <a:r>
              <a:rPr lang="en-GB" noProof="0"/>
              <a:t>Click to modify the mask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noProof="0"/>
              <a:t>Click to modify the mask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noProof="0"/>
              <a:t>Click to modify the mask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noProof="0"/>
              <a:t>Click to modify the mask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noProof="0"/>
              <a:t>Click to modify the mask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noProof="0"/>
              <a:t>Click to modify the mask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noProof="0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BEB15A07-D502-6461-2A56-0B66056ADF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8D0F188C-1104-43C5-A7C0-44D84A33CB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9" name="Espace réservé du texte 13">
            <a:extLst>
              <a:ext uri="{FF2B5EF4-FFF2-40B4-BE49-F238E27FC236}">
                <a16:creationId xmlns:a16="http://schemas.microsoft.com/office/drawing/2014/main" id="{D5FE8363-7F58-5C2C-965E-7B11387CD3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59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808815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78403FC-147B-3E15-536C-60B5002E85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5727" y="403557"/>
            <a:ext cx="5545139" cy="470898"/>
          </a:xfrm>
        </p:spPr>
        <p:txBody>
          <a:bodyPr/>
          <a:lstStyle/>
          <a:p>
            <a:r>
              <a:rPr lang="en-GB" noProof="0"/>
              <a:t>Click to edit master title</a:t>
            </a:r>
            <a:endParaRPr lang="fr-FR"/>
          </a:p>
        </p:txBody>
      </p:sp>
      <p:sp>
        <p:nvSpPr>
          <p:cNvPr id="4" name="Espace réservé du texte 13">
            <a:extLst>
              <a:ext uri="{FF2B5EF4-FFF2-40B4-BE49-F238E27FC236}">
                <a16:creationId xmlns:a16="http://schemas.microsoft.com/office/drawing/2014/main" id="{20452A67-A537-2B8B-3057-409824D4A7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05729" y="955852"/>
            <a:ext cx="5545137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F0A5436F-0C99-BF47-79EA-3960376264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0590" y="404813"/>
            <a:ext cx="5160620" cy="5689268"/>
          </a:xfrm>
          <a:custGeom>
            <a:avLst/>
            <a:gdLst>
              <a:gd name="connsiteX0" fmla="*/ 244871 w 5160620"/>
              <a:gd name="connsiteY0" fmla="*/ 0 h 5689268"/>
              <a:gd name="connsiteX1" fmla="*/ 4915749 w 5160620"/>
              <a:gd name="connsiteY1" fmla="*/ 0 h 5689268"/>
              <a:gd name="connsiteX2" fmla="*/ 5160620 w 5160620"/>
              <a:gd name="connsiteY2" fmla="*/ 244871 h 5689268"/>
              <a:gd name="connsiteX3" fmla="*/ 5160620 w 5160620"/>
              <a:gd name="connsiteY3" fmla="*/ 5444397 h 5689268"/>
              <a:gd name="connsiteX4" fmla="*/ 4915749 w 5160620"/>
              <a:gd name="connsiteY4" fmla="*/ 5689268 h 5689268"/>
              <a:gd name="connsiteX5" fmla="*/ 244871 w 5160620"/>
              <a:gd name="connsiteY5" fmla="*/ 5689268 h 5689268"/>
              <a:gd name="connsiteX6" fmla="*/ 0 w 5160620"/>
              <a:gd name="connsiteY6" fmla="*/ 5444397 h 5689268"/>
              <a:gd name="connsiteX7" fmla="*/ 0 w 5160620"/>
              <a:gd name="connsiteY7" fmla="*/ 244871 h 5689268"/>
              <a:gd name="connsiteX8" fmla="*/ 244871 w 5160620"/>
              <a:gd name="connsiteY8" fmla="*/ 0 h 5689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60620" h="5689268">
                <a:moveTo>
                  <a:pt x="244871" y="0"/>
                </a:moveTo>
                <a:lnTo>
                  <a:pt x="4915749" y="0"/>
                </a:lnTo>
                <a:cubicBezTo>
                  <a:pt x="5050988" y="0"/>
                  <a:pt x="5160620" y="109632"/>
                  <a:pt x="5160620" y="244871"/>
                </a:cubicBezTo>
                <a:lnTo>
                  <a:pt x="5160620" y="5444397"/>
                </a:lnTo>
                <a:cubicBezTo>
                  <a:pt x="5160620" y="5579636"/>
                  <a:pt x="5050988" y="5689268"/>
                  <a:pt x="4915749" y="5689268"/>
                </a:cubicBezTo>
                <a:lnTo>
                  <a:pt x="244871" y="5689268"/>
                </a:lnTo>
                <a:cubicBezTo>
                  <a:pt x="109632" y="5689268"/>
                  <a:pt x="0" y="5579636"/>
                  <a:pt x="0" y="5444397"/>
                </a:cubicBezTo>
                <a:lnTo>
                  <a:pt x="0" y="244871"/>
                </a:lnTo>
                <a:cubicBezTo>
                  <a:pt x="0" y="109632"/>
                  <a:pt x="109632" y="0"/>
                  <a:pt x="24487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F29F0AD6-77C8-BBFC-F207-729F95753C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7EE48C-EB77-05ED-6BE1-1495EFB5A2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05728" y="1628775"/>
            <a:ext cx="5545138" cy="44656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267428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Colum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Espace réservé pour une image  38">
            <a:extLst>
              <a:ext uri="{FF2B5EF4-FFF2-40B4-BE49-F238E27FC236}">
                <a16:creationId xmlns:a16="http://schemas.microsoft.com/office/drawing/2014/main" id="{9147728A-6EC8-3796-58C7-6343778168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80517" y="404813"/>
            <a:ext cx="5160620" cy="5689268"/>
          </a:xfrm>
          <a:custGeom>
            <a:avLst/>
            <a:gdLst>
              <a:gd name="connsiteX0" fmla="*/ 244871 w 5160620"/>
              <a:gd name="connsiteY0" fmla="*/ 0 h 5689268"/>
              <a:gd name="connsiteX1" fmla="*/ 4915749 w 5160620"/>
              <a:gd name="connsiteY1" fmla="*/ 0 h 5689268"/>
              <a:gd name="connsiteX2" fmla="*/ 5160620 w 5160620"/>
              <a:gd name="connsiteY2" fmla="*/ 244871 h 5689268"/>
              <a:gd name="connsiteX3" fmla="*/ 5160620 w 5160620"/>
              <a:gd name="connsiteY3" fmla="*/ 5444397 h 5689268"/>
              <a:gd name="connsiteX4" fmla="*/ 4915749 w 5160620"/>
              <a:gd name="connsiteY4" fmla="*/ 5689268 h 5689268"/>
              <a:gd name="connsiteX5" fmla="*/ 244871 w 5160620"/>
              <a:gd name="connsiteY5" fmla="*/ 5689268 h 5689268"/>
              <a:gd name="connsiteX6" fmla="*/ 0 w 5160620"/>
              <a:gd name="connsiteY6" fmla="*/ 5444397 h 5689268"/>
              <a:gd name="connsiteX7" fmla="*/ 0 w 5160620"/>
              <a:gd name="connsiteY7" fmla="*/ 244871 h 5689268"/>
              <a:gd name="connsiteX8" fmla="*/ 244871 w 5160620"/>
              <a:gd name="connsiteY8" fmla="*/ 0 h 5689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60620" h="5689268">
                <a:moveTo>
                  <a:pt x="244871" y="0"/>
                </a:moveTo>
                <a:lnTo>
                  <a:pt x="4915749" y="0"/>
                </a:lnTo>
                <a:cubicBezTo>
                  <a:pt x="5050988" y="0"/>
                  <a:pt x="5160620" y="109632"/>
                  <a:pt x="5160620" y="244871"/>
                </a:cubicBezTo>
                <a:lnTo>
                  <a:pt x="5160620" y="5444397"/>
                </a:lnTo>
                <a:cubicBezTo>
                  <a:pt x="5160620" y="5579636"/>
                  <a:pt x="5050988" y="5689268"/>
                  <a:pt x="4915749" y="5689268"/>
                </a:cubicBezTo>
                <a:lnTo>
                  <a:pt x="244871" y="5689268"/>
                </a:lnTo>
                <a:cubicBezTo>
                  <a:pt x="109632" y="5689268"/>
                  <a:pt x="0" y="5579636"/>
                  <a:pt x="0" y="5444397"/>
                </a:cubicBezTo>
                <a:lnTo>
                  <a:pt x="0" y="244871"/>
                </a:lnTo>
                <a:cubicBezTo>
                  <a:pt x="0" y="109632"/>
                  <a:pt x="109632" y="0"/>
                  <a:pt x="24487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94ECE769-6145-D978-7521-0F51FA6BC7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9BBFE692-20F3-4D96-65E0-89B24A787B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89" y="404813"/>
            <a:ext cx="5545139" cy="470898"/>
          </a:xfrm>
        </p:spPr>
        <p:txBody>
          <a:bodyPr/>
          <a:lstStyle/>
          <a:p>
            <a:r>
              <a:rPr lang="en-GB" noProof="0"/>
              <a:t>Click to edit master title</a:t>
            </a:r>
            <a:endParaRPr lang="fr-FR"/>
          </a:p>
        </p:txBody>
      </p:sp>
      <p:sp>
        <p:nvSpPr>
          <p:cNvPr id="7" name="Espace réservé du texte 13">
            <a:extLst>
              <a:ext uri="{FF2B5EF4-FFF2-40B4-BE49-F238E27FC236}">
                <a16:creationId xmlns:a16="http://schemas.microsoft.com/office/drawing/2014/main" id="{F582641C-8D04-A293-3D45-D2F25ACDFD8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589" y="957659"/>
            <a:ext cx="5545137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8B6741-958E-326E-F689-D1397EE1E39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60589" y="1630031"/>
            <a:ext cx="5545138" cy="446563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5579339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2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FB4B66F6-FAED-10F2-2993-FD970BFDE7F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05727" y="1630701"/>
            <a:ext cx="2771775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86652A8C-EB06-311A-204F-B36822CF5088}"/>
              </a:ext>
            </a:extLst>
          </p:cNvPr>
          <p:cNvCxnSpPr>
            <a:cxnSpLocks/>
          </p:cNvCxnSpPr>
          <p:nvPr userDrawn="1"/>
        </p:nvCxnSpPr>
        <p:spPr>
          <a:xfrm>
            <a:off x="6176513" y="1989793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F0A5436F-0C99-BF47-79EA-3960376264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0590" y="404813"/>
            <a:ext cx="5160620" cy="5689268"/>
          </a:xfrm>
          <a:custGeom>
            <a:avLst/>
            <a:gdLst>
              <a:gd name="connsiteX0" fmla="*/ 244871 w 5160620"/>
              <a:gd name="connsiteY0" fmla="*/ 0 h 5689268"/>
              <a:gd name="connsiteX1" fmla="*/ 4915749 w 5160620"/>
              <a:gd name="connsiteY1" fmla="*/ 0 h 5689268"/>
              <a:gd name="connsiteX2" fmla="*/ 5160620 w 5160620"/>
              <a:gd name="connsiteY2" fmla="*/ 244871 h 5689268"/>
              <a:gd name="connsiteX3" fmla="*/ 5160620 w 5160620"/>
              <a:gd name="connsiteY3" fmla="*/ 5444397 h 5689268"/>
              <a:gd name="connsiteX4" fmla="*/ 4915749 w 5160620"/>
              <a:gd name="connsiteY4" fmla="*/ 5689268 h 5689268"/>
              <a:gd name="connsiteX5" fmla="*/ 244871 w 5160620"/>
              <a:gd name="connsiteY5" fmla="*/ 5689268 h 5689268"/>
              <a:gd name="connsiteX6" fmla="*/ 0 w 5160620"/>
              <a:gd name="connsiteY6" fmla="*/ 5444397 h 5689268"/>
              <a:gd name="connsiteX7" fmla="*/ 0 w 5160620"/>
              <a:gd name="connsiteY7" fmla="*/ 244871 h 5689268"/>
              <a:gd name="connsiteX8" fmla="*/ 244871 w 5160620"/>
              <a:gd name="connsiteY8" fmla="*/ 0 h 5689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60620" h="5689268">
                <a:moveTo>
                  <a:pt x="244871" y="0"/>
                </a:moveTo>
                <a:lnTo>
                  <a:pt x="4915749" y="0"/>
                </a:lnTo>
                <a:cubicBezTo>
                  <a:pt x="5050988" y="0"/>
                  <a:pt x="5160620" y="109632"/>
                  <a:pt x="5160620" y="244871"/>
                </a:cubicBezTo>
                <a:lnTo>
                  <a:pt x="5160620" y="5444397"/>
                </a:lnTo>
                <a:cubicBezTo>
                  <a:pt x="5160620" y="5579636"/>
                  <a:pt x="5050988" y="5689268"/>
                  <a:pt x="4915749" y="5689268"/>
                </a:cubicBezTo>
                <a:lnTo>
                  <a:pt x="244871" y="5689268"/>
                </a:lnTo>
                <a:cubicBezTo>
                  <a:pt x="109632" y="5689268"/>
                  <a:pt x="0" y="5579636"/>
                  <a:pt x="0" y="5444397"/>
                </a:cubicBezTo>
                <a:lnTo>
                  <a:pt x="0" y="244871"/>
                </a:lnTo>
                <a:cubicBezTo>
                  <a:pt x="0" y="109632"/>
                  <a:pt x="109632" y="0"/>
                  <a:pt x="24487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8D397FF2-7061-CD88-5249-E6EEA9FDD6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EAAA95FF-6267-8EB3-4903-EB0544F9E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5727" y="403557"/>
            <a:ext cx="5545139" cy="470898"/>
          </a:xfrm>
        </p:spPr>
        <p:txBody>
          <a:bodyPr/>
          <a:lstStyle/>
          <a:p>
            <a:r>
              <a:rPr lang="en-GB" noProof="0"/>
              <a:t>Click to edit master title</a:t>
            </a:r>
            <a:endParaRPr lang="fr-FR"/>
          </a:p>
        </p:txBody>
      </p:sp>
      <p:sp>
        <p:nvSpPr>
          <p:cNvPr id="12" name="Espace réservé du texte 13">
            <a:extLst>
              <a:ext uri="{FF2B5EF4-FFF2-40B4-BE49-F238E27FC236}">
                <a16:creationId xmlns:a16="http://schemas.microsoft.com/office/drawing/2014/main" id="{F103E7C6-226C-A09C-6A7F-4CD75EF738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05727" y="955852"/>
            <a:ext cx="5545137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D11C1DEA-30B0-2740-FB1D-3379933BC29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07151" y="2099724"/>
            <a:ext cx="2520000" cy="3989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. Morbi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Maecenas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convallis eros, i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onec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1400" kern="100" noProof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E255F61A-629C-5146-48CF-4A3804813EB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891664" y="2104821"/>
            <a:ext cx="2520000" cy="3989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. Morbi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Maecenas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convallis eros, i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onec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endParaRPr lang="en-GB" sz="1400" kern="100" noProof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3609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2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4A0AF1E3-E4C4-1E72-2C81-850367B05A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60591" y="2098468"/>
            <a:ext cx="2520000" cy="3989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. Morbi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Maecenas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convallis eros, i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onec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1400" kern="100" noProof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Espace réservé du texte 14">
            <a:extLst>
              <a:ext uri="{FF2B5EF4-FFF2-40B4-BE49-F238E27FC236}">
                <a16:creationId xmlns:a16="http://schemas.microsoft.com/office/drawing/2014/main" id="{BF3AAAA7-C246-37DC-B48D-5330148F24F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35376" y="2103565"/>
            <a:ext cx="2520000" cy="3989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. Morbi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Maecenas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convallis eros, i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onec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endParaRPr lang="en-GB" sz="1400" kern="100" noProof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Espace réservé pour une image  38">
            <a:extLst>
              <a:ext uri="{FF2B5EF4-FFF2-40B4-BE49-F238E27FC236}">
                <a16:creationId xmlns:a16="http://schemas.microsoft.com/office/drawing/2014/main" id="{9147728A-6EC8-3796-58C7-6343778168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80517" y="404812"/>
            <a:ext cx="5160620" cy="5682915"/>
          </a:xfrm>
          <a:custGeom>
            <a:avLst/>
            <a:gdLst>
              <a:gd name="connsiteX0" fmla="*/ 244871 w 5160620"/>
              <a:gd name="connsiteY0" fmla="*/ 0 h 5689268"/>
              <a:gd name="connsiteX1" fmla="*/ 4915749 w 5160620"/>
              <a:gd name="connsiteY1" fmla="*/ 0 h 5689268"/>
              <a:gd name="connsiteX2" fmla="*/ 5160620 w 5160620"/>
              <a:gd name="connsiteY2" fmla="*/ 244871 h 5689268"/>
              <a:gd name="connsiteX3" fmla="*/ 5160620 w 5160620"/>
              <a:gd name="connsiteY3" fmla="*/ 5444397 h 5689268"/>
              <a:gd name="connsiteX4" fmla="*/ 4915749 w 5160620"/>
              <a:gd name="connsiteY4" fmla="*/ 5689268 h 5689268"/>
              <a:gd name="connsiteX5" fmla="*/ 244871 w 5160620"/>
              <a:gd name="connsiteY5" fmla="*/ 5689268 h 5689268"/>
              <a:gd name="connsiteX6" fmla="*/ 0 w 5160620"/>
              <a:gd name="connsiteY6" fmla="*/ 5444397 h 5689268"/>
              <a:gd name="connsiteX7" fmla="*/ 0 w 5160620"/>
              <a:gd name="connsiteY7" fmla="*/ 244871 h 5689268"/>
              <a:gd name="connsiteX8" fmla="*/ 244871 w 5160620"/>
              <a:gd name="connsiteY8" fmla="*/ 0 h 5689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60620" h="5689268">
                <a:moveTo>
                  <a:pt x="244871" y="0"/>
                </a:moveTo>
                <a:lnTo>
                  <a:pt x="4915749" y="0"/>
                </a:lnTo>
                <a:cubicBezTo>
                  <a:pt x="5050988" y="0"/>
                  <a:pt x="5160620" y="109632"/>
                  <a:pt x="5160620" y="244871"/>
                </a:cubicBezTo>
                <a:lnTo>
                  <a:pt x="5160620" y="5444397"/>
                </a:lnTo>
                <a:cubicBezTo>
                  <a:pt x="5160620" y="5579636"/>
                  <a:pt x="5050988" y="5689268"/>
                  <a:pt x="4915749" y="5689268"/>
                </a:cubicBezTo>
                <a:lnTo>
                  <a:pt x="244871" y="5689268"/>
                </a:lnTo>
                <a:cubicBezTo>
                  <a:pt x="109632" y="5689268"/>
                  <a:pt x="0" y="5579636"/>
                  <a:pt x="0" y="5444397"/>
                </a:cubicBezTo>
                <a:lnTo>
                  <a:pt x="0" y="244871"/>
                </a:lnTo>
                <a:cubicBezTo>
                  <a:pt x="0" y="109632"/>
                  <a:pt x="109632" y="0"/>
                  <a:pt x="24487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FB54C764-492E-433E-4CD6-25094AD58D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10" name="Espace réservé du texte 14">
            <a:extLst>
              <a:ext uri="{FF2B5EF4-FFF2-40B4-BE49-F238E27FC236}">
                <a16:creationId xmlns:a16="http://schemas.microsoft.com/office/drawing/2014/main" id="{63C8334B-30B3-3F14-F314-EB3A8305A17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0590" y="1630701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11" name="Straight Connector 2">
            <a:extLst>
              <a:ext uri="{FF2B5EF4-FFF2-40B4-BE49-F238E27FC236}">
                <a16:creationId xmlns:a16="http://schemas.microsoft.com/office/drawing/2014/main" id="{0C3CEC2F-2343-EF8D-70D6-EDA970304F6D}"/>
              </a:ext>
            </a:extLst>
          </p:cNvPr>
          <p:cNvCxnSpPr>
            <a:cxnSpLocks/>
          </p:cNvCxnSpPr>
          <p:nvPr userDrawn="1"/>
        </p:nvCxnSpPr>
        <p:spPr>
          <a:xfrm>
            <a:off x="631376" y="1989793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re 1">
            <a:extLst>
              <a:ext uri="{FF2B5EF4-FFF2-40B4-BE49-F238E27FC236}">
                <a16:creationId xmlns:a16="http://schemas.microsoft.com/office/drawing/2014/main" id="{9DF52F20-F956-AC7F-A299-6D7350A3A8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83" y="404812"/>
            <a:ext cx="5545139" cy="470898"/>
          </a:xfrm>
        </p:spPr>
        <p:txBody>
          <a:bodyPr/>
          <a:lstStyle/>
          <a:p>
            <a:r>
              <a:rPr lang="en-GB" noProof="0"/>
              <a:t>Click to edit master title</a:t>
            </a:r>
            <a:endParaRPr lang="fr-FR"/>
          </a:p>
        </p:txBody>
      </p:sp>
      <p:sp>
        <p:nvSpPr>
          <p:cNvPr id="13" name="Espace réservé du texte 13">
            <a:extLst>
              <a:ext uri="{FF2B5EF4-FFF2-40B4-BE49-F238E27FC236}">
                <a16:creationId xmlns:a16="http://schemas.microsoft.com/office/drawing/2014/main" id="{8EEB2952-EDB3-77EF-C818-2BE3DF2745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1385" y="957107"/>
            <a:ext cx="5545137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770317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2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2">
            <a:extLst>
              <a:ext uri="{FF2B5EF4-FFF2-40B4-BE49-F238E27FC236}">
                <a16:creationId xmlns:a16="http://schemas.microsoft.com/office/drawing/2014/main" id="{59F676A1-9CD9-E665-3983-B71C142C7A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50862" y="1628775"/>
            <a:ext cx="5400000" cy="410476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5" name="Rounded Rectangle 15">
            <a:extLst>
              <a:ext uri="{FF2B5EF4-FFF2-40B4-BE49-F238E27FC236}">
                <a16:creationId xmlns:a16="http://schemas.microsoft.com/office/drawing/2014/main" id="{EB97A634-DF21-3751-A25A-BF8A6145BF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249283" y="1629535"/>
            <a:ext cx="5400000" cy="410400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4EF6A171-08BE-0116-7C7D-DA10716937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5F362019-AEBF-0B76-B3BC-DBE10E80E6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7" name="Espace réservé du texte 13">
            <a:extLst>
              <a:ext uri="{FF2B5EF4-FFF2-40B4-BE49-F238E27FC236}">
                <a16:creationId xmlns:a16="http://schemas.microsoft.com/office/drawing/2014/main" id="{F93F0B66-50BF-BB07-602C-1AA58B68D5E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59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11" name="Espace réservé du texte 14">
            <a:extLst>
              <a:ext uri="{FF2B5EF4-FFF2-40B4-BE49-F238E27FC236}">
                <a16:creationId xmlns:a16="http://schemas.microsoft.com/office/drawing/2014/main" id="{6A6832AF-00DB-9B70-5832-D5565AD66F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713" y="2101066"/>
            <a:ext cx="2730500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14" name="Straight Connector 2">
            <a:extLst>
              <a:ext uri="{FF2B5EF4-FFF2-40B4-BE49-F238E27FC236}">
                <a16:creationId xmlns:a16="http://schemas.microsoft.com/office/drawing/2014/main" id="{8A2C36E1-015E-CB87-4881-089800AD7353}"/>
              </a:ext>
            </a:extLst>
          </p:cNvPr>
          <p:cNvCxnSpPr>
            <a:cxnSpLocks/>
          </p:cNvCxnSpPr>
          <p:nvPr userDrawn="1"/>
        </p:nvCxnSpPr>
        <p:spPr>
          <a:xfrm>
            <a:off x="955226" y="2460158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4">
            <a:extLst>
              <a:ext uri="{FF2B5EF4-FFF2-40B4-BE49-F238E27FC236}">
                <a16:creationId xmlns:a16="http://schemas.microsoft.com/office/drawing/2014/main" id="{EEF9B928-9ADC-4D31-AC1E-2F7032E029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90829" y="2103617"/>
            <a:ext cx="2730500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23" name="Straight Connector 2">
            <a:extLst>
              <a:ext uri="{FF2B5EF4-FFF2-40B4-BE49-F238E27FC236}">
                <a16:creationId xmlns:a16="http://schemas.microsoft.com/office/drawing/2014/main" id="{6A1B0086-9A72-CE28-3680-7DD45B904B68}"/>
              </a:ext>
            </a:extLst>
          </p:cNvPr>
          <p:cNvCxnSpPr>
            <a:cxnSpLocks/>
          </p:cNvCxnSpPr>
          <p:nvPr userDrawn="1"/>
        </p:nvCxnSpPr>
        <p:spPr>
          <a:xfrm>
            <a:off x="6671342" y="2462709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6D84B27-AB2F-16C0-A137-F15A8D3314E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4713" y="2744788"/>
            <a:ext cx="4722812" cy="2232025"/>
          </a:xfrm>
        </p:spPr>
        <p:txBody>
          <a:bodyPr/>
          <a:lstStyle>
            <a:lvl1pPr>
              <a:defRPr sz="1600" b="1"/>
            </a:lvl1pPr>
            <a:lvl2pPr>
              <a:defRPr sz="1400" b="1"/>
            </a:lvl2pPr>
            <a:lvl3pPr>
              <a:defRPr sz="1200" b="1"/>
            </a:lvl3pPr>
            <a:lvl4pPr>
              <a:defRPr sz="1100" b="1"/>
            </a:lvl4pPr>
            <a:lvl5pPr>
              <a:defRPr b="1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3" name="Text Placeholder 24">
            <a:extLst>
              <a:ext uri="{FF2B5EF4-FFF2-40B4-BE49-F238E27FC236}">
                <a16:creationId xmlns:a16="http://schemas.microsoft.com/office/drawing/2014/main" id="{8A374185-3F51-B627-CB79-FDA14F9588E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587877" y="2752586"/>
            <a:ext cx="4722812" cy="2232025"/>
          </a:xfrm>
        </p:spPr>
        <p:txBody>
          <a:bodyPr/>
          <a:lstStyle>
            <a:lvl1pPr>
              <a:defRPr sz="1600" b="1"/>
            </a:lvl1pPr>
            <a:lvl2pPr>
              <a:defRPr sz="1400" b="1"/>
            </a:lvl2pPr>
            <a:lvl3pPr>
              <a:defRPr sz="1200" b="1"/>
            </a:lvl3pPr>
            <a:lvl4pPr>
              <a:defRPr sz="1100" b="1"/>
            </a:lvl4pPr>
            <a:lvl5pPr>
              <a:defRPr b="1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8102313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2Colum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A8BFF9CB-7B2A-CA6B-4EBC-7DD5FD6AD5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67826" y="0"/>
            <a:ext cx="11073312" cy="1628776"/>
          </a:xfrm>
          <a:custGeom>
            <a:avLst/>
            <a:gdLst>
              <a:gd name="connsiteX0" fmla="*/ 0 w 11090275"/>
              <a:gd name="connsiteY0" fmla="*/ 0 h 1628776"/>
              <a:gd name="connsiteX1" fmla="*/ 11090275 w 11090275"/>
              <a:gd name="connsiteY1" fmla="*/ 0 h 1628776"/>
              <a:gd name="connsiteX2" fmla="*/ 11090275 w 11090275"/>
              <a:gd name="connsiteY2" fmla="*/ 1357308 h 1628776"/>
              <a:gd name="connsiteX3" fmla="*/ 10818807 w 11090275"/>
              <a:gd name="connsiteY3" fmla="*/ 1628776 h 1628776"/>
              <a:gd name="connsiteX4" fmla="*/ 271468 w 11090275"/>
              <a:gd name="connsiteY4" fmla="*/ 1628776 h 1628776"/>
              <a:gd name="connsiteX5" fmla="*/ 0 w 11090275"/>
              <a:gd name="connsiteY5" fmla="*/ 1357308 h 162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090275" h="1628776">
                <a:moveTo>
                  <a:pt x="0" y="0"/>
                </a:moveTo>
                <a:lnTo>
                  <a:pt x="11090275" y="0"/>
                </a:lnTo>
                <a:lnTo>
                  <a:pt x="11090275" y="1357308"/>
                </a:lnTo>
                <a:cubicBezTo>
                  <a:pt x="11090275" y="1507236"/>
                  <a:pt x="10968735" y="1628776"/>
                  <a:pt x="10818807" y="1628776"/>
                </a:cubicBezTo>
                <a:lnTo>
                  <a:pt x="271468" y="1628776"/>
                </a:lnTo>
                <a:cubicBezTo>
                  <a:pt x="121540" y="1628776"/>
                  <a:pt x="0" y="1507236"/>
                  <a:pt x="0" y="1357308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16" name="Rounded Rectangle 12">
            <a:extLst>
              <a:ext uri="{FF2B5EF4-FFF2-40B4-BE49-F238E27FC236}">
                <a16:creationId xmlns:a16="http://schemas.microsoft.com/office/drawing/2014/main" id="{47C02147-4B51-3510-853C-70F4C5048D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550863" y="3067291"/>
            <a:ext cx="5400000" cy="3025534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id="{3856C347-1C5C-CFD7-430F-A5F0C0D2B4E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74714" y="3882476"/>
            <a:ext cx="4748212" cy="1910779"/>
          </a:xfrm>
          <a:prstGeom prst="rect">
            <a:avLst/>
          </a:prstGeom>
        </p:spPr>
        <p:txBody>
          <a:bodyPr/>
          <a:lstStyle>
            <a:lvl1pPr>
              <a:defRPr b="1">
                <a:latin typeface="+mn-lt"/>
              </a:defRPr>
            </a:lvl1pPr>
            <a:lvl2pPr>
              <a:defRPr b="1"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 b="1">
                <a:latin typeface="+mn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4" name="Rounded Rectangle 12">
            <a:extLst>
              <a:ext uri="{FF2B5EF4-FFF2-40B4-BE49-F238E27FC236}">
                <a16:creationId xmlns:a16="http://schemas.microsoft.com/office/drawing/2014/main" id="{466120B3-E38F-CF54-499F-E19D9A9CC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6241139" y="3062798"/>
            <a:ext cx="5400000" cy="3025534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28" name="Espace réservé du texte 16">
            <a:extLst>
              <a:ext uri="{FF2B5EF4-FFF2-40B4-BE49-F238E27FC236}">
                <a16:creationId xmlns:a16="http://schemas.microsoft.com/office/drawing/2014/main" id="{4D825C83-A499-2C9B-9626-18A1C04A5A6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564990" y="3882477"/>
            <a:ext cx="4748212" cy="1910779"/>
          </a:xfrm>
          <a:prstGeom prst="rect">
            <a:avLst/>
          </a:prstGeom>
        </p:spPr>
        <p:txBody>
          <a:bodyPr/>
          <a:lstStyle>
            <a:lvl1pPr>
              <a:defRPr b="1">
                <a:latin typeface="+mn-lt"/>
              </a:defRPr>
            </a:lvl1pPr>
            <a:lvl2pPr>
              <a:defRPr b="1">
                <a:latin typeface="+mn-lt"/>
              </a:defRPr>
            </a:lvl2pPr>
            <a:lvl3pPr>
              <a:defRPr b="1">
                <a:latin typeface="+mn-lt"/>
              </a:defRPr>
            </a:lvl3pPr>
            <a:lvl4pPr>
              <a:defRPr b="1">
                <a:latin typeface="+mn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207B1A6D-A0BC-60EE-EBAA-CE4341AE2D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5" name="Espace réservé du texte 13">
            <a:extLst>
              <a:ext uri="{FF2B5EF4-FFF2-40B4-BE49-F238E27FC236}">
                <a16:creationId xmlns:a16="http://schemas.microsoft.com/office/drawing/2014/main" id="{E30F145D-AB6E-C714-5613-0FD08FF0F94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7826" y="2369459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B62B33AD-458F-EDA6-F61E-DDC767A1EC1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74980" y="3285942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8" name="Straight Connector 2">
            <a:extLst>
              <a:ext uri="{FF2B5EF4-FFF2-40B4-BE49-F238E27FC236}">
                <a16:creationId xmlns:a16="http://schemas.microsoft.com/office/drawing/2014/main" id="{DB82B10C-2504-94F6-8B4D-80F8DBBE4E83}"/>
              </a:ext>
            </a:extLst>
          </p:cNvPr>
          <p:cNvCxnSpPr>
            <a:cxnSpLocks/>
          </p:cNvCxnSpPr>
          <p:nvPr userDrawn="1"/>
        </p:nvCxnSpPr>
        <p:spPr>
          <a:xfrm>
            <a:off x="855494" y="3645034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4">
            <a:extLst>
              <a:ext uri="{FF2B5EF4-FFF2-40B4-BE49-F238E27FC236}">
                <a16:creationId xmlns:a16="http://schemas.microsoft.com/office/drawing/2014/main" id="{44CC4298-7594-4641-3331-6FBDF0A18E5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61171" y="3285942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12" name="Straight Connector 2">
            <a:extLst>
              <a:ext uri="{FF2B5EF4-FFF2-40B4-BE49-F238E27FC236}">
                <a16:creationId xmlns:a16="http://schemas.microsoft.com/office/drawing/2014/main" id="{B2512AD2-3EB0-7EA6-6671-94E1CAE05188}"/>
              </a:ext>
            </a:extLst>
          </p:cNvPr>
          <p:cNvCxnSpPr>
            <a:cxnSpLocks/>
          </p:cNvCxnSpPr>
          <p:nvPr userDrawn="1"/>
        </p:nvCxnSpPr>
        <p:spPr>
          <a:xfrm>
            <a:off x="6541685" y="3645034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re 1">
            <a:extLst>
              <a:ext uri="{FF2B5EF4-FFF2-40B4-BE49-F238E27FC236}">
                <a16:creationId xmlns:a16="http://schemas.microsoft.com/office/drawing/2014/main" id="{B739C919-4EB6-121C-F1E4-183BBD383E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82" y="1798879"/>
            <a:ext cx="10601621" cy="470898"/>
          </a:xfrm>
        </p:spPr>
        <p:txBody>
          <a:bodyPr/>
          <a:lstStyle/>
          <a:p>
            <a:r>
              <a:rPr lang="en-GB" noProof="0"/>
              <a:t>Click to edit master 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30175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2Column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ABDD8D08-FA4F-73DA-22A4-5A70775861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B6979EAF-E6B9-4F4F-2843-69FFC7526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7" name="Espace réservé du texte 13">
            <a:extLst>
              <a:ext uri="{FF2B5EF4-FFF2-40B4-BE49-F238E27FC236}">
                <a16:creationId xmlns:a16="http://schemas.microsoft.com/office/drawing/2014/main" id="{7EFF0332-3E9C-0D24-FA93-D1B89A8EAC7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59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4" name="Espace réservé du texte 14">
            <a:extLst>
              <a:ext uri="{FF2B5EF4-FFF2-40B4-BE49-F238E27FC236}">
                <a16:creationId xmlns:a16="http://schemas.microsoft.com/office/drawing/2014/main" id="{EE3AFD28-65C0-215B-49C7-F97BB5032D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59828" y="1637740"/>
            <a:ext cx="2775548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8" name="Straight Connector 2">
            <a:extLst>
              <a:ext uri="{FF2B5EF4-FFF2-40B4-BE49-F238E27FC236}">
                <a16:creationId xmlns:a16="http://schemas.microsoft.com/office/drawing/2014/main" id="{3069D2FE-E416-786E-9153-D14F51A91A6F}"/>
              </a:ext>
            </a:extLst>
          </p:cNvPr>
          <p:cNvCxnSpPr>
            <a:cxnSpLocks/>
          </p:cNvCxnSpPr>
          <p:nvPr userDrawn="1"/>
        </p:nvCxnSpPr>
        <p:spPr>
          <a:xfrm>
            <a:off x="631377" y="1996832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88E00D85-8368-57F6-803D-B6BD9B85195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60591" y="2124076"/>
            <a:ext cx="4748212" cy="1483022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Espace réservé du texte 14">
            <a:extLst>
              <a:ext uri="{FF2B5EF4-FFF2-40B4-BE49-F238E27FC236}">
                <a16:creationId xmlns:a16="http://schemas.microsoft.com/office/drawing/2014/main" id="{C4FA29C1-1F33-038D-8E3C-32D8083B737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04965" y="1637740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13" name="Straight Connector 2">
            <a:extLst>
              <a:ext uri="{FF2B5EF4-FFF2-40B4-BE49-F238E27FC236}">
                <a16:creationId xmlns:a16="http://schemas.microsoft.com/office/drawing/2014/main" id="{BF7B523D-87DB-5481-12F0-8D31000D90C3}"/>
              </a:ext>
            </a:extLst>
          </p:cNvPr>
          <p:cNvCxnSpPr>
            <a:cxnSpLocks/>
          </p:cNvCxnSpPr>
          <p:nvPr userDrawn="1"/>
        </p:nvCxnSpPr>
        <p:spPr>
          <a:xfrm>
            <a:off x="6185479" y="1996832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id="{642217EA-54B3-9C0A-6D41-90D743A010B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104965" y="2124076"/>
            <a:ext cx="4748212" cy="1483022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3354B6DE-1270-3471-53F9-5BAEF33188E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9828" y="3876696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16" name="Straight Connector 2">
            <a:extLst>
              <a:ext uri="{FF2B5EF4-FFF2-40B4-BE49-F238E27FC236}">
                <a16:creationId xmlns:a16="http://schemas.microsoft.com/office/drawing/2014/main" id="{D240124A-C6DD-1741-6D08-5E88C4EFE68C}"/>
              </a:ext>
            </a:extLst>
          </p:cNvPr>
          <p:cNvCxnSpPr>
            <a:cxnSpLocks/>
          </p:cNvCxnSpPr>
          <p:nvPr userDrawn="1"/>
        </p:nvCxnSpPr>
        <p:spPr>
          <a:xfrm>
            <a:off x="640342" y="4235788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2779212C-E53D-F1AC-239F-135648C4192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59828" y="4363032"/>
            <a:ext cx="4748212" cy="1483022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0332786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3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BDAB702-4309-B876-BC2B-CBA81FCB14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827024"/>
            <a:ext cx="12204000" cy="43200"/>
          </a:xfrm>
          <a:prstGeom prst="rect">
            <a:avLst/>
          </a:prstGeom>
          <a:gradFill>
            <a:gsLst>
              <a:gs pos="12000">
                <a:srgbClr val="8B1D82"/>
              </a:gs>
              <a:gs pos="0">
                <a:srgbClr val="4D1D82"/>
              </a:gs>
              <a:gs pos="29000">
                <a:srgbClr val="CF022B"/>
              </a:gs>
              <a:gs pos="100000">
                <a:srgbClr val="F07D00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b="1" i="0">
              <a:latin typeface="Tahoma" panose="020B0604030504040204" pitchFamily="34" charset="0"/>
            </a:endParaRPr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2FA25F1C-E796-1077-7E66-EBBEB3C4A92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60591" y="2098468"/>
            <a:ext cx="3528000" cy="3989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. Morbi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Maecenas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convallis eros, i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onec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1400" kern="100" noProof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6F14D85C-D01A-088E-16D7-EB06FD6C3D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32001" y="2098468"/>
            <a:ext cx="3528000" cy="3989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. Morbi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Maecenas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convallis eros, i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onec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1400" kern="100" noProof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Espace réservé du texte 14">
            <a:extLst>
              <a:ext uri="{FF2B5EF4-FFF2-40B4-BE49-F238E27FC236}">
                <a16:creationId xmlns:a16="http://schemas.microsoft.com/office/drawing/2014/main" id="{BD2F9299-5E23-7978-4F15-52EB5427DA3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13139" y="2098468"/>
            <a:ext cx="3528000" cy="3989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. Morbi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Maecenas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convallis eros, i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onec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1400" kern="100" noProof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148DD4B9-3883-D15C-6A11-B8CCA002CE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D2171FF1-D662-128A-D3FA-5A9753E1B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7" name="Espace réservé du texte 13">
            <a:extLst>
              <a:ext uri="{FF2B5EF4-FFF2-40B4-BE49-F238E27FC236}">
                <a16:creationId xmlns:a16="http://schemas.microsoft.com/office/drawing/2014/main" id="{2250A7F1-67A7-8A6F-EB8F-40B60D21CC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59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2" name="Espace réservé du texte 14">
            <a:extLst>
              <a:ext uri="{FF2B5EF4-FFF2-40B4-BE49-F238E27FC236}">
                <a16:creationId xmlns:a16="http://schemas.microsoft.com/office/drawing/2014/main" id="{412D3E57-11D4-AD36-48BA-EF3B653CC3F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60591" y="1637740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0790E42-5C55-A19D-EB23-DFCA8F353504}"/>
              </a:ext>
            </a:extLst>
          </p:cNvPr>
          <p:cNvCxnSpPr>
            <a:cxnSpLocks/>
          </p:cNvCxnSpPr>
          <p:nvPr userDrawn="1"/>
        </p:nvCxnSpPr>
        <p:spPr>
          <a:xfrm>
            <a:off x="631377" y="1996832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501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ual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5B92A2B-B4A0-79A3-4954-C15220BB1E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fik 3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7EDBCC8-9CF2-845C-612B-E33FED979C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27605" y="182353"/>
            <a:ext cx="1751891" cy="5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21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3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8">
            <a:extLst>
              <a:ext uri="{FF2B5EF4-FFF2-40B4-BE49-F238E27FC236}">
                <a16:creationId xmlns:a16="http://schemas.microsoft.com/office/drawing/2014/main" id="{68577B89-000C-039D-8761-6E787397D4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76235"/>
            <a:ext cx="12192000" cy="6858000"/>
          </a:xfrm>
          <a:prstGeom prst="rect">
            <a:avLst/>
          </a:prstGeom>
        </p:spPr>
      </p:pic>
      <p:sp>
        <p:nvSpPr>
          <p:cNvPr id="18" name="Espace réservé du texte 14">
            <a:extLst>
              <a:ext uri="{FF2B5EF4-FFF2-40B4-BE49-F238E27FC236}">
                <a16:creationId xmlns:a16="http://schemas.microsoft.com/office/drawing/2014/main" id="{EE7D93A1-FF03-FCBB-935C-855EB0B36DD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70318" y="1651923"/>
            <a:ext cx="3217948" cy="13054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. 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</a:t>
            </a:r>
            <a:endParaRPr lang="fr-FR"/>
          </a:p>
        </p:txBody>
      </p:sp>
      <p:sp>
        <p:nvSpPr>
          <p:cNvPr id="2" name="Espace réservé du texte 10">
            <a:extLst>
              <a:ext uri="{FF2B5EF4-FFF2-40B4-BE49-F238E27FC236}">
                <a16:creationId xmlns:a16="http://schemas.microsoft.com/office/drawing/2014/main" id="{26114B02-4952-8D77-C34F-E0E7E52127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0318" y="3188062"/>
            <a:ext cx="11090275" cy="2806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600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/>
              <a:t>Our              Mission</a:t>
            </a:r>
          </a:p>
        </p:txBody>
      </p:sp>
      <p:sp>
        <p:nvSpPr>
          <p:cNvPr id="3" name="Espace réservé du texte 14">
            <a:extLst>
              <a:ext uri="{FF2B5EF4-FFF2-40B4-BE49-F238E27FC236}">
                <a16:creationId xmlns:a16="http://schemas.microsoft.com/office/drawing/2014/main" id="{E2C9563D-60C4-4B29-088B-F04CDA84F5E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70318" y="955873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58370F1-4A9F-67E8-301E-6C8D5AB1B2F8}"/>
              </a:ext>
            </a:extLst>
          </p:cNvPr>
          <p:cNvCxnSpPr>
            <a:cxnSpLocks/>
          </p:cNvCxnSpPr>
          <p:nvPr userDrawn="1"/>
        </p:nvCxnSpPr>
        <p:spPr>
          <a:xfrm>
            <a:off x="631377" y="1314965"/>
            <a:ext cx="28956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14">
            <a:extLst>
              <a:ext uri="{FF2B5EF4-FFF2-40B4-BE49-F238E27FC236}">
                <a16:creationId xmlns:a16="http://schemas.microsoft.com/office/drawing/2014/main" id="{B54A4306-61F7-E74F-D401-3B1B716A82E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87026" y="965345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6C7366F-A37C-9043-54FA-18D12F9C781B}"/>
              </a:ext>
            </a:extLst>
          </p:cNvPr>
          <p:cNvCxnSpPr>
            <a:cxnSpLocks/>
          </p:cNvCxnSpPr>
          <p:nvPr userDrawn="1"/>
        </p:nvCxnSpPr>
        <p:spPr>
          <a:xfrm>
            <a:off x="4567540" y="1324437"/>
            <a:ext cx="28956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55762D88-7D57-AEA6-93A6-7505A8A646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423189" y="965345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3DA198D-E79E-41ED-231F-442EFBFC78C4}"/>
              </a:ext>
            </a:extLst>
          </p:cNvPr>
          <p:cNvCxnSpPr>
            <a:cxnSpLocks/>
          </p:cNvCxnSpPr>
          <p:nvPr userDrawn="1"/>
        </p:nvCxnSpPr>
        <p:spPr>
          <a:xfrm>
            <a:off x="8503703" y="1324437"/>
            <a:ext cx="28956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4">
            <a:extLst>
              <a:ext uri="{FF2B5EF4-FFF2-40B4-BE49-F238E27FC236}">
                <a16:creationId xmlns:a16="http://schemas.microsoft.com/office/drawing/2014/main" id="{C087B89A-DBFD-2057-6448-5998BB801D0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87025" y="1651923"/>
            <a:ext cx="3217948" cy="13054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. 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</a:t>
            </a:r>
            <a:endParaRPr lang="fr-FR"/>
          </a:p>
        </p:txBody>
      </p:sp>
      <p:sp>
        <p:nvSpPr>
          <p:cNvPr id="23" name="Espace réservé du texte 14">
            <a:extLst>
              <a:ext uri="{FF2B5EF4-FFF2-40B4-BE49-F238E27FC236}">
                <a16:creationId xmlns:a16="http://schemas.microsoft.com/office/drawing/2014/main" id="{4E251F80-1A87-C0BB-4A33-8B307FFE54B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423190" y="1651923"/>
            <a:ext cx="3217948" cy="13054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. 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8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8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76143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3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2">
            <a:extLst>
              <a:ext uri="{FF2B5EF4-FFF2-40B4-BE49-F238E27FC236}">
                <a16:creationId xmlns:a16="http://schemas.microsoft.com/office/drawing/2014/main" id="{43082CF2-F706-1639-1D64-3090CBADCA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551280" y="2975301"/>
            <a:ext cx="3528000" cy="311752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2D7B6AEE-F7A1-7D7F-EBE4-FC067787D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5080" y="3127537"/>
            <a:ext cx="3200400" cy="2813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6" name="Rounded Rectangle 12">
            <a:extLst>
              <a:ext uri="{FF2B5EF4-FFF2-40B4-BE49-F238E27FC236}">
                <a16:creationId xmlns:a16="http://schemas.microsoft.com/office/drawing/2014/main" id="{E3452FF7-33E9-CE41-AA01-6300D37BE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4332001" y="2975301"/>
            <a:ext cx="3528000" cy="311752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27" name="Espace réservé du texte 25">
            <a:extLst>
              <a:ext uri="{FF2B5EF4-FFF2-40B4-BE49-F238E27FC236}">
                <a16:creationId xmlns:a16="http://schemas.microsoft.com/office/drawing/2014/main" id="{6A84203A-07AB-0E7E-A4A2-C73FBF49C8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5800" y="3127537"/>
            <a:ext cx="3200400" cy="2813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7" name="Rounded Rectangle 12">
            <a:extLst>
              <a:ext uri="{FF2B5EF4-FFF2-40B4-BE49-F238E27FC236}">
                <a16:creationId xmlns:a16="http://schemas.microsoft.com/office/drawing/2014/main" id="{A1885AF5-8CCB-5AFD-CC89-E9457933E1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13140" y="2975301"/>
            <a:ext cx="3528000" cy="311752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28" name="Espace réservé du texte 25">
            <a:extLst>
              <a:ext uri="{FF2B5EF4-FFF2-40B4-BE49-F238E27FC236}">
                <a16:creationId xmlns:a16="http://schemas.microsoft.com/office/drawing/2014/main" id="{0A19D11F-4EA1-C136-BE88-443BF0682E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6940" y="3127537"/>
            <a:ext cx="3200400" cy="2813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0C5BB83C-B0E3-9048-A8E6-8D04CA871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9698BF77-A566-634A-CF0A-58EE11ED2D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7961EEE8-7062-2DD0-3F4E-CB19786F0B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59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2" name="Espace réservé pour une image  21" descr="Colonne 1">
            <a:extLst>
              <a:ext uri="{FF2B5EF4-FFF2-40B4-BE49-F238E27FC236}">
                <a16:creationId xmlns:a16="http://schemas.microsoft.com/office/drawing/2014/main" id="{84EA2504-C569-3AD6-7173-916F4AE21D8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56330" y="1641131"/>
            <a:ext cx="3517900" cy="1103655"/>
          </a:xfrm>
          <a:custGeom>
            <a:avLst/>
            <a:gdLst>
              <a:gd name="connsiteX0" fmla="*/ 215997 w 3517900"/>
              <a:gd name="connsiteY0" fmla="*/ 0 h 1422400"/>
              <a:gd name="connsiteX1" fmla="*/ 3283149 w 3517900"/>
              <a:gd name="connsiteY1" fmla="*/ 0 h 1422400"/>
              <a:gd name="connsiteX2" fmla="*/ 3328542 w 3517900"/>
              <a:gd name="connsiteY2" fmla="*/ 4576 h 1422400"/>
              <a:gd name="connsiteX3" fmla="*/ 3517900 w 3517900"/>
              <a:gd name="connsiteY3" fmla="*/ 236910 h 1422400"/>
              <a:gd name="connsiteX4" fmla="*/ 3517900 w 3517900"/>
              <a:gd name="connsiteY4" fmla="*/ 1185490 h 1422400"/>
              <a:gd name="connsiteX5" fmla="*/ 3328542 w 3517900"/>
              <a:gd name="connsiteY5" fmla="*/ 1417824 h 1422400"/>
              <a:gd name="connsiteX6" fmla="*/ 3283149 w 3517900"/>
              <a:gd name="connsiteY6" fmla="*/ 1422400 h 1422400"/>
              <a:gd name="connsiteX7" fmla="*/ 215997 w 3517900"/>
              <a:gd name="connsiteY7" fmla="*/ 1422400 h 1422400"/>
              <a:gd name="connsiteX8" fmla="*/ 170604 w 3517900"/>
              <a:gd name="connsiteY8" fmla="*/ 1417824 h 1422400"/>
              <a:gd name="connsiteX9" fmla="*/ 50706 w 3517900"/>
              <a:gd name="connsiteY9" fmla="*/ 1353182 h 1422400"/>
              <a:gd name="connsiteX10" fmla="*/ 0 w 3517900"/>
              <a:gd name="connsiteY10" fmla="*/ 1277974 h 1422400"/>
              <a:gd name="connsiteX11" fmla="*/ 0 w 3517900"/>
              <a:gd name="connsiteY11" fmla="*/ 144426 h 1422400"/>
              <a:gd name="connsiteX12" fmla="*/ 50706 w 3517900"/>
              <a:gd name="connsiteY12" fmla="*/ 69218 h 1422400"/>
              <a:gd name="connsiteX13" fmla="*/ 170604 w 3517900"/>
              <a:gd name="connsiteY13" fmla="*/ 4576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17900" h="1422400">
                <a:moveTo>
                  <a:pt x="215997" y="0"/>
                </a:moveTo>
                <a:lnTo>
                  <a:pt x="3283149" y="0"/>
                </a:lnTo>
                <a:lnTo>
                  <a:pt x="3328542" y="4576"/>
                </a:lnTo>
                <a:cubicBezTo>
                  <a:pt x="3436608" y="26690"/>
                  <a:pt x="3517900" y="122307"/>
                  <a:pt x="3517900" y="236910"/>
                </a:cubicBezTo>
                <a:lnTo>
                  <a:pt x="3517900" y="1185490"/>
                </a:lnTo>
                <a:cubicBezTo>
                  <a:pt x="3517900" y="1300093"/>
                  <a:pt x="3436608" y="1395710"/>
                  <a:pt x="3328542" y="1417824"/>
                </a:cubicBezTo>
                <a:lnTo>
                  <a:pt x="3283149" y="1422400"/>
                </a:lnTo>
                <a:lnTo>
                  <a:pt x="215997" y="1422400"/>
                </a:lnTo>
                <a:lnTo>
                  <a:pt x="170604" y="1417824"/>
                </a:lnTo>
                <a:cubicBezTo>
                  <a:pt x="124290" y="1408347"/>
                  <a:pt x="82894" y="1385369"/>
                  <a:pt x="50706" y="1353182"/>
                </a:cubicBezTo>
                <a:lnTo>
                  <a:pt x="0" y="1277974"/>
                </a:lnTo>
                <a:lnTo>
                  <a:pt x="0" y="144426"/>
                </a:lnTo>
                <a:lnTo>
                  <a:pt x="50706" y="69218"/>
                </a:lnTo>
                <a:cubicBezTo>
                  <a:pt x="82894" y="37031"/>
                  <a:pt x="124290" y="14053"/>
                  <a:pt x="170604" y="457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3" name="Espace réservé pour une image  22" descr="Colonne 2">
            <a:extLst>
              <a:ext uri="{FF2B5EF4-FFF2-40B4-BE49-F238E27FC236}">
                <a16:creationId xmlns:a16="http://schemas.microsoft.com/office/drawing/2014/main" id="{539D8B99-4B02-5C0B-F088-D6F2D80BDE5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37051" y="1628774"/>
            <a:ext cx="3517900" cy="1116013"/>
          </a:xfrm>
          <a:custGeom>
            <a:avLst/>
            <a:gdLst>
              <a:gd name="connsiteX0" fmla="*/ 215997 w 3517900"/>
              <a:gd name="connsiteY0" fmla="*/ 0 h 1422400"/>
              <a:gd name="connsiteX1" fmla="*/ 3283149 w 3517900"/>
              <a:gd name="connsiteY1" fmla="*/ 0 h 1422400"/>
              <a:gd name="connsiteX2" fmla="*/ 3328542 w 3517900"/>
              <a:gd name="connsiteY2" fmla="*/ 4576 h 1422400"/>
              <a:gd name="connsiteX3" fmla="*/ 3517900 w 3517900"/>
              <a:gd name="connsiteY3" fmla="*/ 236910 h 1422400"/>
              <a:gd name="connsiteX4" fmla="*/ 3517900 w 3517900"/>
              <a:gd name="connsiteY4" fmla="*/ 1185490 h 1422400"/>
              <a:gd name="connsiteX5" fmla="*/ 3328542 w 3517900"/>
              <a:gd name="connsiteY5" fmla="*/ 1417824 h 1422400"/>
              <a:gd name="connsiteX6" fmla="*/ 3283149 w 3517900"/>
              <a:gd name="connsiteY6" fmla="*/ 1422400 h 1422400"/>
              <a:gd name="connsiteX7" fmla="*/ 215997 w 3517900"/>
              <a:gd name="connsiteY7" fmla="*/ 1422400 h 1422400"/>
              <a:gd name="connsiteX8" fmla="*/ 170604 w 3517900"/>
              <a:gd name="connsiteY8" fmla="*/ 1417824 h 1422400"/>
              <a:gd name="connsiteX9" fmla="*/ 50706 w 3517900"/>
              <a:gd name="connsiteY9" fmla="*/ 1353182 h 1422400"/>
              <a:gd name="connsiteX10" fmla="*/ 0 w 3517900"/>
              <a:gd name="connsiteY10" fmla="*/ 1277974 h 1422400"/>
              <a:gd name="connsiteX11" fmla="*/ 0 w 3517900"/>
              <a:gd name="connsiteY11" fmla="*/ 144426 h 1422400"/>
              <a:gd name="connsiteX12" fmla="*/ 50706 w 3517900"/>
              <a:gd name="connsiteY12" fmla="*/ 69218 h 1422400"/>
              <a:gd name="connsiteX13" fmla="*/ 170604 w 3517900"/>
              <a:gd name="connsiteY13" fmla="*/ 4576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17900" h="1422400">
                <a:moveTo>
                  <a:pt x="215997" y="0"/>
                </a:moveTo>
                <a:lnTo>
                  <a:pt x="3283149" y="0"/>
                </a:lnTo>
                <a:lnTo>
                  <a:pt x="3328542" y="4576"/>
                </a:lnTo>
                <a:cubicBezTo>
                  <a:pt x="3436608" y="26690"/>
                  <a:pt x="3517900" y="122307"/>
                  <a:pt x="3517900" y="236910"/>
                </a:cubicBezTo>
                <a:lnTo>
                  <a:pt x="3517900" y="1185490"/>
                </a:lnTo>
                <a:cubicBezTo>
                  <a:pt x="3517900" y="1300093"/>
                  <a:pt x="3436608" y="1395710"/>
                  <a:pt x="3328542" y="1417824"/>
                </a:cubicBezTo>
                <a:lnTo>
                  <a:pt x="3283149" y="1422400"/>
                </a:lnTo>
                <a:lnTo>
                  <a:pt x="215997" y="1422400"/>
                </a:lnTo>
                <a:lnTo>
                  <a:pt x="170604" y="1417824"/>
                </a:lnTo>
                <a:cubicBezTo>
                  <a:pt x="124290" y="1408347"/>
                  <a:pt x="82894" y="1385369"/>
                  <a:pt x="50706" y="1353182"/>
                </a:cubicBezTo>
                <a:lnTo>
                  <a:pt x="0" y="1277974"/>
                </a:lnTo>
                <a:lnTo>
                  <a:pt x="0" y="144426"/>
                </a:lnTo>
                <a:lnTo>
                  <a:pt x="50706" y="69218"/>
                </a:lnTo>
                <a:cubicBezTo>
                  <a:pt x="82894" y="37031"/>
                  <a:pt x="124290" y="14053"/>
                  <a:pt x="170604" y="457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2" name="Espace réservé pour une image  23" descr="Colonne 3">
            <a:extLst>
              <a:ext uri="{FF2B5EF4-FFF2-40B4-BE49-F238E27FC236}">
                <a16:creationId xmlns:a16="http://schemas.microsoft.com/office/drawing/2014/main" id="{0B44C933-4856-4138-BAA8-AAEC334846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18190" y="1628774"/>
            <a:ext cx="3517900" cy="1116013"/>
          </a:xfrm>
          <a:custGeom>
            <a:avLst/>
            <a:gdLst>
              <a:gd name="connsiteX0" fmla="*/ 215997 w 3517900"/>
              <a:gd name="connsiteY0" fmla="*/ 0 h 1422400"/>
              <a:gd name="connsiteX1" fmla="*/ 3283149 w 3517900"/>
              <a:gd name="connsiteY1" fmla="*/ 0 h 1422400"/>
              <a:gd name="connsiteX2" fmla="*/ 3328542 w 3517900"/>
              <a:gd name="connsiteY2" fmla="*/ 4576 h 1422400"/>
              <a:gd name="connsiteX3" fmla="*/ 3517900 w 3517900"/>
              <a:gd name="connsiteY3" fmla="*/ 236910 h 1422400"/>
              <a:gd name="connsiteX4" fmla="*/ 3517900 w 3517900"/>
              <a:gd name="connsiteY4" fmla="*/ 1185490 h 1422400"/>
              <a:gd name="connsiteX5" fmla="*/ 3328542 w 3517900"/>
              <a:gd name="connsiteY5" fmla="*/ 1417824 h 1422400"/>
              <a:gd name="connsiteX6" fmla="*/ 3283149 w 3517900"/>
              <a:gd name="connsiteY6" fmla="*/ 1422400 h 1422400"/>
              <a:gd name="connsiteX7" fmla="*/ 215997 w 3517900"/>
              <a:gd name="connsiteY7" fmla="*/ 1422400 h 1422400"/>
              <a:gd name="connsiteX8" fmla="*/ 170604 w 3517900"/>
              <a:gd name="connsiteY8" fmla="*/ 1417824 h 1422400"/>
              <a:gd name="connsiteX9" fmla="*/ 50706 w 3517900"/>
              <a:gd name="connsiteY9" fmla="*/ 1353182 h 1422400"/>
              <a:gd name="connsiteX10" fmla="*/ 0 w 3517900"/>
              <a:gd name="connsiteY10" fmla="*/ 1277974 h 1422400"/>
              <a:gd name="connsiteX11" fmla="*/ 0 w 3517900"/>
              <a:gd name="connsiteY11" fmla="*/ 144426 h 1422400"/>
              <a:gd name="connsiteX12" fmla="*/ 50706 w 3517900"/>
              <a:gd name="connsiteY12" fmla="*/ 69218 h 1422400"/>
              <a:gd name="connsiteX13" fmla="*/ 170604 w 3517900"/>
              <a:gd name="connsiteY13" fmla="*/ 4576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17900" h="1422400">
                <a:moveTo>
                  <a:pt x="215997" y="0"/>
                </a:moveTo>
                <a:lnTo>
                  <a:pt x="3283149" y="0"/>
                </a:lnTo>
                <a:lnTo>
                  <a:pt x="3328542" y="4576"/>
                </a:lnTo>
                <a:cubicBezTo>
                  <a:pt x="3436608" y="26690"/>
                  <a:pt x="3517900" y="122307"/>
                  <a:pt x="3517900" y="236910"/>
                </a:cubicBezTo>
                <a:lnTo>
                  <a:pt x="3517900" y="1185490"/>
                </a:lnTo>
                <a:cubicBezTo>
                  <a:pt x="3517900" y="1300093"/>
                  <a:pt x="3436608" y="1395710"/>
                  <a:pt x="3328542" y="1417824"/>
                </a:cubicBezTo>
                <a:lnTo>
                  <a:pt x="3283149" y="1422400"/>
                </a:lnTo>
                <a:lnTo>
                  <a:pt x="215997" y="1422400"/>
                </a:lnTo>
                <a:lnTo>
                  <a:pt x="170604" y="1417824"/>
                </a:lnTo>
                <a:cubicBezTo>
                  <a:pt x="124290" y="1408347"/>
                  <a:pt x="82894" y="1385369"/>
                  <a:pt x="50706" y="1353182"/>
                </a:cubicBezTo>
                <a:lnTo>
                  <a:pt x="0" y="1277974"/>
                </a:lnTo>
                <a:lnTo>
                  <a:pt x="0" y="144426"/>
                </a:lnTo>
                <a:lnTo>
                  <a:pt x="50706" y="69218"/>
                </a:lnTo>
                <a:cubicBezTo>
                  <a:pt x="82894" y="37031"/>
                  <a:pt x="124290" y="14053"/>
                  <a:pt x="170604" y="457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4" name="Rectangle : coins arrondis 10">
            <a:extLst>
              <a:ext uri="{FF2B5EF4-FFF2-40B4-BE49-F238E27FC236}">
                <a16:creationId xmlns:a16="http://schemas.microsoft.com/office/drawing/2014/main" id="{25F5AA0B-FA7C-2C0C-5D52-AB9E07E631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2101" y="2301874"/>
            <a:ext cx="3522663" cy="442913"/>
          </a:xfrm>
          <a:prstGeom prst="roundRect">
            <a:avLst>
              <a:gd name="adj" fmla="val 33871"/>
            </a:avLst>
          </a:prstGeom>
          <a:gradFill flip="none" rotWithShape="1">
            <a:gsLst>
              <a:gs pos="0">
                <a:srgbClr val="2A1449">
                  <a:alpha val="59000"/>
                </a:srgbClr>
              </a:gs>
              <a:gs pos="72000">
                <a:schemeClr val="bg2">
                  <a:alpha val="0"/>
                </a:schemeClr>
              </a:gs>
            </a:gsLst>
            <a:lin ang="162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/>
            </a:lvl1pPr>
          </a:lstStyle>
          <a:p>
            <a:pPr algn="ctr"/>
            <a:r>
              <a:rPr lang="en-GB" noProof="0"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</a:rPr>
              <a:t>CLICK TO EDIT TITLE</a:t>
            </a:r>
          </a:p>
        </p:txBody>
      </p:sp>
      <p:sp>
        <p:nvSpPr>
          <p:cNvPr id="19" name="Rectangle : coins arrondis 10">
            <a:extLst>
              <a:ext uri="{FF2B5EF4-FFF2-40B4-BE49-F238E27FC236}">
                <a16:creationId xmlns:a16="http://schemas.microsoft.com/office/drawing/2014/main" id="{A422467D-0793-1DC1-2EF8-C8561A500B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15808" y="2301874"/>
            <a:ext cx="3522663" cy="442913"/>
          </a:xfrm>
          <a:prstGeom prst="roundRect">
            <a:avLst>
              <a:gd name="adj" fmla="val 33871"/>
            </a:avLst>
          </a:prstGeom>
          <a:gradFill flip="none" rotWithShape="1">
            <a:gsLst>
              <a:gs pos="0">
                <a:srgbClr val="2A1449">
                  <a:alpha val="59000"/>
                </a:srgbClr>
              </a:gs>
              <a:gs pos="72000">
                <a:schemeClr val="bg2">
                  <a:alpha val="0"/>
                </a:schemeClr>
              </a:gs>
            </a:gsLst>
            <a:lin ang="162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/>
            </a:lvl1pPr>
          </a:lstStyle>
          <a:p>
            <a:pPr algn="ctr"/>
            <a:r>
              <a:rPr lang="en-GB" noProof="0"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</a:rPr>
              <a:t>CLICK TO EDIT TITLE</a:t>
            </a:r>
          </a:p>
        </p:txBody>
      </p:sp>
      <p:sp>
        <p:nvSpPr>
          <p:cNvPr id="20" name="Rectangle : coins arrondis 10">
            <a:extLst>
              <a:ext uri="{FF2B5EF4-FFF2-40B4-BE49-F238E27FC236}">
                <a16:creationId xmlns:a16="http://schemas.microsoft.com/office/drawing/2014/main" id="{AB5626EA-7C5A-01D4-E832-88D13A275E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6617" y="2301873"/>
            <a:ext cx="3522663" cy="442913"/>
          </a:xfrm>
          <a:prstGeom prst="roundRect">
            <a:avLst>
              <a:gd name="adj" fmla="val 33871"/>
            </a:avLst>
          </a:prstGeom>
          <a:gradFill flip="none" rotWithShape="1">
            <a:gsLst>
              <a:gs pos="0">
                <a:srgbClr val="2A1449">
                  <a:alpha val="59000"/>
                </a:srgbClr>
              </a:gs>
              <a:gs pos="72000">
                <a:schemeClr val="bg2">
                  <a:alpha val="0"/>
                </a:schemeClr>
              </a:gs>
            </a:gsLst>
            <a:lin ang="162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b="0"/>
            </a:lvl1pPr>
          </a:lstStyle>
          <a:p>
            <a:pPr algn="ctr"/>
            <a:r>
              <a:rPr lang="en-GB" noProof="0"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</a:rPr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009490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3Colum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coins arrondis 3" descr="Colonne 1">
            <a:extLst>
              <a:ext uri="{FF2B5EF4-FFF2-40B4-BE49-F238E27FC236}">
                <a16:creationId xmlns:a16="http://schemas.microsoft.com/office/drawing/2014/main" id="{D12F1825-F6D1-E9B4-0EF9-47D76CDD493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550863" y="1628774"/>
            <a:ext cx="3528001" cy="1133613"/>
          </a:xfrm>
          <a:prstGeom prst="roundRect">
            <a:avLst/>
          </a:prstGeom>
          <a:solidFill>
            <a:schemeClr val="bg1"/>
          </a:soli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775BF2F-BA61-2E81-6173-50D4C2655C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501" y="2057080"/>
            <a:ext cx="3510361" cy="2993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/>
            </a:lvl1pPr>
            <a:lvl2pPr marL="216000" indent="0">
              <a:buNone/>
              <a:defRPr/>
            </a:lvl2pPr>
            <a:lvl3pPr marL="434250" indent="0">
              <a:buNone/>
              <a:defRPr sz="1800">
                <a:latin typeface="+mn-lt"/>
              </a:defRPr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b="0">
                <a:solidFill>
                  <a:srgbClr val="2A1449"/>
                </a:solidFill>
                <a:effectLst/>
                <a:latin typeface="+mj-lt"/>
              </a:rPr>
              <a:t>Click to edit title</a:t>
            </a:r>
          </a:p>
        </p:txBody>
      </p:sp>
      <p:sp>
        <p:nvSpPr>
          <p:cNvPr id="15" name="Rounded Rectangle 12">
            <a:extLst>
              <a:ext uri="{FF2B5EF4-FFF2-40B4-BE49-F238E27FC236}">
                <a16:creationId xmlns:a16="http://schemas.microsoft.com/office/drawing/2014/main" id="{43082CF2-F706-1639-1D64-3090CBADCA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551280" y="2975301"/>
            <a:ext cx="3528000" cy="311752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2D7B6AEE-F7A1-7D7F-EBE4-FC067787D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5080" y="3127537"/>
            <a:ext cx="3200400" cy="2813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Rectangle : coins arrondis 24" descr="Colonne 2">
            <a:extLst>
              <a:ext uri="{FF2B5EF4-FFF2-40B4-BE49-F238E27FC236}">
                <a16:creationId xmlns:a16="http://schemas.microsoft.com/office/drawing/2014/main" id="{7B7950B0-2793-E173-03C6-8DB395A6B0D2}"/>
              </a:ext>
            </a:extLst>
          </p:cNvPr>
          <p:cNvSpPr/>
          <p:nvPr userDrawn="1"/>
        </p:nvSpPr>
        <p:spPr>
          <a:xfrm>
            <a:off x="4331999" y="1628775"/>
            <a:ext cx="3528001" cy="1133613"/>
          </a:xfrm>
          <a:prstGeom prst="roundRect">
            <a:avLst/>
          </a:prstGeom>
          <a:solidFill>
            <a:schemeClr val="bg1"/>
          </a:soli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7" name="Espace réservé du texte 5">
            <a:extLst>
              <a:ext uri="{FF2B5EF4-FFF2-40B4-BE49-F238E27FC236}">
                <a16:creationId xmlns:a16="http://schemas.microsoft.com/office/drawing/2014/main" id="{943B0072-05CF-D762-CCA2-1D09798953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0818" y="2045928"/>
            <a:ext cx="3510361" cy="2993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16000" indent="0">
              <a:buNone/>
              <a:defRPr/>
            </a:lvl2pPr>
            <a:lvl3pPr marL="434250" indent="0">
              <a:buNone/>
              <a:defRPr sz="1800">
                <a:latin typeface="+mn-lt"/>
              </a:defRPr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b="0">
                <a:solidFill>
                  <a:srgbClr val="2A1449"/>
                </a:solidFill>
                <a:effectLst/>
                <a:latin typeface="+mj-lt"/>
              </a:rPr>
              <a:t>Click to edit title</a:t>
            </a:r>
          </a:p>
        </p:txBody>
      </p:sp>
      <p:sp>
        <p:nvSpPr>
          <p:cNvPr id="16" name="Rounded Rectangle 12">
            <a:extLst>
              <a:ext uri="{FF2B5EF4-FFF2-40B4-BE49-F238E27FC236}">
                <a16:creationId xmlns:a16="http://schemas.microsoft.com/office/drawing/2014/main" id="{E3452FF7-33E9-CE41-AA01-6300D37BE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4332001" y="2975301"/>
            <a:ext cx="3528000" cy="311752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27" name="Espace réservé du texte 25">
            <a:extLst>
              <a:ext uri="{FF2B5EF4-FFF2-40B4-BE49-F238E27FC236}">
                <a16:creationId xmlns:a16="http://schemas.microsoft.com/office/drawing/2014/main" id="{6A84203A-07AB-0E7E-A4A2-C73FBF49C8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5800" y="3127537"/>
            <a:ext cx="3200400" cy="281305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30" name="Rectangle : coins arrondis 29" descr="Colonne 3">
            <a:extLst>
              <a:ext uri="{FF2B5EF4-FFF2-40B4-BE49-F238E27FC236}">
                <a16:creationId xmlns:a16="http://schemas.microsoft.com/office/drawing/2014/main" id="{4C9EB42B-B4E5-09C7-C74B-71255182FBC4}"/>
              </a:ext>
            </a:extLst>
          </p:cNvPr>
          <p:cNvSpPr/>
          <p:nvPr userDrawn="1"/>
        </p:nvSpPr>
        <p:spPr>
          <a:xfrm>
            <a:off x="8113137" y="1634272"/>
            <a:ext cx="3528001" cy="1133613"/>
          </a:xfrm>
          <a:prstGeom prst="roundRect">
            <a:avLst/>
          </a:prstGeom>
          <a:solidFill>
            <a:schemeClr val="bg1"/>
          </a:soli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8" name="Espace réservé du texte 5">
            <a:extLst>
              <a:ext uri="{FF2B5EF4-FFF2-40B4-BE49-F238E27FC236}">
                <a16:creationId xmlns:a16="http://schemas.microsoft.com/office/drawing/2014/main" id="{32CD33AB-0965-A7D1-4185-1B0EB41B7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1790" y="2057080"/>
            <a:ext cx="3510361" cy="2993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16000" indent="0">
              <a:buNone/>
              <a:defRPr/>
            </a:lvl2pPr>
            <a:lvl3pPr marL="434250" indent="0">
              <a:buNone/>
              <a:defRPr sz="1800">
                <a:latin typeface="+mn-lt"/>
              </a:defRPr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b="0">
                <a:solidFill>
                  <a:srgbClr val="2A1449"/>
                </a:solidFill>
                <a:effectLst/>
                <a:latin typeface="+mj-lt"/>
              </a:rPr>
              <a:t>Click to edit title</a:t>
            </a:r>
          </a:p>
        </p:txBody>
      </p:sp>
      <p:sp>
        <p:nvSpPr>
          <p:cNvPr id="17" name="Rounded Rectangle 12">
            <a:extLst>
              <a:ext uri="{FF2B5EF4-FFF2-40B4-BE49-F238E27FC236}">
                <a16:creationId xmlns:a16="http://schemas.microsoft.com/office/drawing/2014/main" id="{A1885AF5-8CCB-5AFD-CC89-E9457933E1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13140" y="2975301"/>
            <a:ext cx="3528000" cy="311752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28" name="Espace réservé du texte 25">
            <a:extLst>
              <a:ext uri="{FF2B5EF4-FFF2-40B4-BE49-F238E27FC236}">
                <a16:creationId xmlns:a16="http://schemas.microsoft.com/office/drawing/2014/main" id="{0A19D11F-4EA1-C136-BE88-443BF0682E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6940" y="3127537"/>
            <a:ext cx="3200400" cy="2813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F41D3577-544F-30DA-2D68-63C15C4C8B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04EBEAD4-BAA6-7BF8-E119-A55C5C216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6EFB48E6-D536-874D-3E94-B137CDB94D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59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822506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4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BDAB702-4309-B876-BC2B-CBA81FCB14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827024"/>
            <a:ext cx="12204000" cy="43200"/>
          </a:xfrm>
          <a:prstGeom prst="rect">
            <a:avLst/>
          </a:prstGeom>
          <a:gradFill>
            <a:gsLst>
              <a:gs pos="12000">
                <a:srgbClr val="8B1D82"/>
              </a:gs>
              <a:gs pos="0">
                <a:srgbClr val="4D1D82"/>
              </a:gs>
              <a:gs pos="29000">
                <a:srgbClr val="CF022B"/>
              </a:gs>
              <a:gs pos="100000">
                <a:srgbClr val="F07D00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b="1" i="0">
              <a:latin typeface="Tahoma" panose="020B0604030504040204" pitchFamily="34" charset="0"/>
            </a:endParaRPr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2FA25F1C-E796-1077-7E66-EBBEB3C4A92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60591" y="2098468"/>
            <a:ext cx="2520000" cy="3989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. Morbi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Maecenas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convallis eros, i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onec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1400" kern="100" noProof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6F14D85C-D01A-088E-16D7-EB06FD6C3D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07621" y="2098468"/>
            <a:ext cx="2520000" cy="3989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. Morbi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Maecenas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convallis eros, i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onec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1400" kern="100" noProof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34D7301C-D95B-A928-BC0B-D68A61E51BF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64379" y="2098468"/>
            <a:ext cx="2520000" cy="3989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. Morbi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Maecenas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convallis eros, i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onec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1400" kern="100" noProof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Espace réservé du texte 14">
            <a:extLst>
              <a:ext uri="{FF2B5EF4-FFF2-40B4-BE49-F238E27FC236}">
                <a16:creationId xmlns:a16="http://schemas.microsoft.com/office/drawing/2014/main" id="{BD2F9299-5E23-7978-4F15-52EB5427DA3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21137" y="2098468"/>
            <a:ext cx="2520000" cy="3989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/>
              <a:t>Click to modify the mask text styles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c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i. Morbi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Maecenas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convallis eros, in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onec sit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GB" sz="14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GB" sz="14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1400" kern="100" noProof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1E802F74-1CC5-441B-ECBE-5FFFA7E48C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53A45BBE-39DC-E2C1-4EE5-329C0D5C73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7" name="Espace réservé du texte 13">
            <a:extLst>
              <a:ext uri="{FF2B5EF4-FFF2-40B4-BE49-F238E27FC236}">
                <a16:creationId xmlns:a16="http://schemas.microsoft.com/office/drawing/2014/main" id="{6B2DE333-DCA1-906B-39C6-A05F5EFB2D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59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2" name="Espace réservé du texte 14">
            <a:extLst>
              <a:ext uri="{FF2B5EF4-FFF2-40B4-BE49-F238E27FC236}">
                <a16:creationId xmlns:a16="http://schemas.microsoft.com/office/drawing/2014/main" id="{59486E75-866F-E2C2-099B-58364A9E3B7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60591" y="1637740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63597A3-60A4-49AD-9566-49B5A105C7A8}"/>
              </a:ext>
            </a:extLst>
          </p:cNvPr>
          <p:cNvCxnSpPr>
            <a:cxnSpLocks/>
          </p:cNvCxnSpPr>
          <p:nvPr userDrawn="1"/>
        </p:nvCxnSpPr>
        <p:spPr>
          <a:xfrm>
            <a:off x="631377" y="1996832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6119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5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 descr="Colonne 1">
            <a:extLst>
              <a:ext uri="{FF2B5EF4-FFF2-40B4-BE49-F238E27FC236}">
                <a16:creationId xmlns:a16="http://schemas.microsoft.com/office/drawing/2014/main" id="{D50B299E-833C-4D2A-2C87-C662407AE6D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40337" y="1636797"/>
            <a:ext cx="2286258" cy="946122"/>
          </a:xfrm>
          <a:custGeom>
            <a:avLst/>
            <a:gdLst>
              <a:gd name="connsiteX0" fmla="*/ 215997 w 3517900"/>
              <a:gd name="connsiteY0" fmla="*/ 0 h 1422400"/>
              <a:gd name="connsiteX1" fmla="*/ 3283149 w 3517900"/>
              <a:gd name="connsiteY1" fmla="*/ 0 h 1422400"/>
              <a:gd name="connsiteX2" fmla="*/ 3328542 w 3517900"/>
              <a:gd name="connsiteY2" fmla="*/ 4576 h 1422400"/>
              <a:gd name="connsiteX3" fmla="*/ 3517900 w 3517900"/>
              <a:gd name="connsiteY3" fmla="*/ 236910 h 1422400"/>
              <a:gd name="connsiteX4" fmla="*/ 3517900 w 3517900"/>
              <a:gd name="connsiteY4" fmla="*/ 1185490 h 1422400"/>
              <a:gd name="connsiteX5" fmla="*/ 3328542 w 3517900"/>
              <a:gd name="connsiteY5" fmla="*/ 1417824 h 1422400"/>
              <a:gd name="connsiteX6" fmla="*/ 3283149 w 3517900"/>
              <a:gd name="connsiteY6" fmla="*/ 1422400 h 1422400"/>
              <a:gd name="connsiteX7" fmla="*/ 215997 w 3517900"/>
              <a:gd name="connsiteY7" fmla="*/ 1422400 h 1422400"/>
              <a:gd name="connsiteX8" fmla="*/ 170604 w 3517900"/>
              <a:gd name="connsiteY8" fmla="*/ 1417824 h 1422400"/>
              <a:gd name="connsiteX9" fmla="*/ 50706 w 3517900"/>
              <a:gd name="connsiteY9" fmla="*/ 1353182 h 1422400"/>
              <a:gd name="connsiteX10" fmla="*/ 0 w 3517900"/>
              <a:gd name="connsiteY10" fmla="*/ 1277974 h 1422400"/>
              <a:gd name="connsiteX11" fmla="*/ 0 w 3517900"/>
              <a:gd name="connsiteY11" fmla="*/ 144426 h 1422400"/>
              <a:gd name="connsiteX12" fmla="*/ 50706 w 3517900"/>
              <a:gd name="connsiteY12" fmla="*/ 69218 h 1422400"/>
              <a:gd name="connsiteX13" fmla="*/ 170604 w 3517900"/>
              <a:gd name="connsiteY13" fmla="*/ 4576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17900" h="1422400">
                <a:moveTo>
                  <a:pt x="215997" y="0"/>
                </a:moveTo>
                <a:lnTo>
                  <a:pt x="3283149" y="0"/>
                </a:lnTo>
                <a:lnTo>
                  <a:pt x="3328542" y="4576"/>
                </a:lnTo>
                <a:cubicBezTo>
                  <a:pt x="3436608" y="26690"/>
                  <a:pt x="3517900" y="122307"/>
                  <a:pt x="3517900" y="236910"/>
                </a:cubicBezTo>
                <a:lnTo>
                  <a:pt x="3517900" y="1185490"/>
                </a:lnTo>
                <a:cubicBezTo>
                  <a:pt x="3517900" y="1300093"/>
                  <a:pt x="3436608" y="1395710"/>
                  <a:pt x="3328542" y="1417824"/>
                </a:cubicBezTo>
                <a:lnTo>
                  <a:pt x="3283149" y="1422400"/>
                </a:lnTo>
                <a:lnTo>
                  <a:pt x="215997" y="1422400"/>
                </a:lnTo>
                <a:lnTo>
                  <a:pt x="170604" y="1417824"/>
                </a:lnTo>
                <a:cubicBezTo>
                  <a:pt x="124290" y="1408347"/>
                  <a:pt x="82894" y="1385369"/>
                  <a:pt x="50706" y="1353182"/>
                </a:cubicBezTo>
                <a:lnTo>
                  <a:pt x="0" y="1277974"/>
                </a:lnTo>
                <a:lnTo>
                  <a:pt x="0" y="144426"/>
                </a:lnTo>
                <a:lnTo>
                  <a:pt x="50706" y="69218"/>
                </a:lnTo>
                <a:cubicBezTo>
                  <a:pt x="82894" y="37031"/>
                  <a:pt x="124290" y="14053"/>
                  <a:pt x="170604" y="457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22" name="Espace réservé pour une image  21" descr="Colonne 2">
            <a:extLst>
              <a:ext uri="{FF2B5EF4-FFF2-40B4-BE49-F238E27FC236}">
                <a16:creationId xmlns:a16="http://schemas.microsoft.com/office/drawing/2014/main" id="{01761F19-9696-564C-9F69-D3DB3EF113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593261" y="1636797"/>
            <a:ext cx="2286258" cy="946122"/>
          </a:xfrm>
          <a:custGeom>
            <a:avLst/>
            <a:gdLst>
              <a:gd name="connsiteX0" fmla="*/ 215997 w 3517900"/>
              <a:gd name="connsiteY0" fmla="*/ 0 h 1422400"/>
              <a:gd name="connsiteX1" fmla="*/ 3283149 w 3517900"/>
              <a:gd name="connsiteY1" fmla="*/ 0 h 1422400"/>
              <a:gd name="connsiteX2" fmla="*/ 3328542 w 3517900"/>
              <a:gd name="connsiteY2" fmla="*/ 4576 h 1422400"/>
              <a:gd name="connsiteX3" fmla="*/ 3517900 w 3517900"/>
              <a:gd name="connsiteY3" fmla="*/ 236910 h 1422400"/>
              <a:gd name="connsiteX4" fmla="*/ 3517900 w 3517900"/>
              <a:gd name="connsiteY4" fmla="*/ 1185490 h 1422400"/>
              <a:gd name="connsiteX5" fmla="*/ 3328542 w 3517900"/>
              <a:gd name="connsiteY5" fmla="*/ 1417824 h 1422400"/>
              <a:gd name="connsiteX6" fmla="*/ 3283149 w 3517900"/>
              <a:gd name="connsiteY6" fmla="*/ 1422400 h 1422400"/>
              <a:gd name="connsiteX7" fmla="*/ 215997 w 3517900"/>
              <a:gd name="connsiteY7" fmla="*/ 1422400 h 1422400"/>
              <a:gd name="connsiteX8" fmla="*/ 170604 w 3517900"/>
              <a:gd name="connsiteY8" fmla="*/ 1417824 h 1422400"/>
              <a:gd name="connsiteX9" fmla="*/ 50706 w 3517900"/>
              <a:gd name="connsiteY9" fmla="*/ 1353182 h 1422400"/>
              <a:gd name="connsiteX10" fmla="*/ 0 w 3517900"/>
              <a:gd name="connsiteY10" fmla="*/ 1277974 h 1422400"/>
              <a:gd name="connsiteX11" fmla="*/ 0 w 3517900"/>
              <a:gd name="connsiteY11" fmla="*/ 144426 h 1422400"/>
              <a:gd name="connsiteX12" fmla="*/ 50706 w 3517900"/>
              <a:gd name="connsiteY12" fmla="*/ 69218 h 1422400"/>
              <a:gd name="connsiteX13" fmla="*/ 170604 w 3517900"/>
              <a:gd name="connsiteY13" fmla="*/ 4576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17900" h="1422400">
                <a:moveTo>
                  <a:pt x="215997" y="0"/>
                </a:moveTo>
                <a:lnTo>
                  <a:pt x="3283149" y="0"/>
                </a:lnTo>
                <a:lnTo>
                  <a:pt x="3328542" y="4576"/>
                </a:lnTo>
                <a:cubicBezTo>
                  <a:pt x="3436608" y="26690"/>
                  <a:pt x="3517900" y="122307"/>
                  <a:pt x="3517900" y="236910"/>
                </a:cubicBezTo>
                <a:lnTo>
                  <a:pt x="3517900" y="1185490"/>
                </a:lnTo>
                <a:cubicBezTo>
                  <a:pt x="3517900" y="1300093"/>
                  <a:pt x="3436608" y="1395710"/>
                  <a:pt x="3328542" y="1417824"/>
                </a:cubicBezTo>
                <a:lnTo>
                  <a:pt x="3283149" y="1422400"/>
                </a:lnTo>
                <a:lnTo>
                  <a:pt x="215997" y="1422400"/>
                </a:lnTo>
                <a:lnTo>
                  <a:pt x="170604" y="1417824"/>
                </a:lnTo>
                <a:cubicBezTo>
                  <a:pt x="124290" y="1408347"/>
                  <a:pt x="82894" y="1385369"/>
                  <a:pt x="50706" y="1353182"/>
                </a:cubicBezTo>
                <a:lnTo>
                  <a:pt x="0" y="1277974"/>
                </a:lnTo>
                <a:lnTo>
                  <a:pt x="0" y="144426"/>
                </a:lnTo>
                <a:lnTo>
                  <a:pt x="50706" y="69218"/>
                </a:lnTo>
                <a:cubicBezTo>
                  <a:pt x="82894" y="37031"/>
                  <a:pt x="124290" y="14053"/>
                  <a:pt x="170604" y="457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25" name="Espace réservé pour une image  24" descr="Colonne 3">
            <a:extLst>
              <a:ext uri="{FF2B5EF4-FFF2-40B4-BE49-F238E27FC236}">
                <a16:creationId xmlns:a16="http://schemas.microsoft.com/office/drawing/2014/main" id="{DEDE6A59-5156-DF3C-C133-A71EBAA5E57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48007" y="1636797"/>
            <a:ext cx="2286258" cy="946122"/>
          </a:xfrm>
          <a:custGeom>
            <a:avLst/>
            <a:gdLst>
              <a:gd name="connsiteX0" fmla="*/ 215997 w 3517900"/>
              <a:gd name="connsiteY0" fmla="*/ 0 h 1422400"/>
              <a:gd name="connsiteX1" fmla="*/ 3283149 w 3517900"/>
              <a:gd name="connsiteY1" fmla="*/ 0 h 1422400"/>
              <a:gd name="connsiteX2" fmla="*/ 3328542 w 3517900"/>
              <a:gd name="connsiteY2" fmla="*/ 4576 h 1422400"/>
              <a:gd name="connsiteX3" fmla="*/ 3517900 w 3517900"/>
              <a:gd name="connsiteY3" fmla="*/ 236910 h 1422400"/>
              <a:gd name="connsiteX4" fmla="*/ 3517900 w 3517900"/>
              <a:gd name="connsiteY4" fmla="*/ 1185490 h 1422400"/>
              <a:gd name="connsiteX5" fmla="*/ 3328542 w 3517900"/>
              <a:gd name="connsiteY5" fmla="*/ 1417824 h 1422400"/>
              <a:gd name="connsiteX6" fmla="*/ 3283149 w 3517900"/>
              <a:gd name="connsiteY6" fmla="*/ 1422400 h 1422400"/>
              <a:gd name="connsiteX7" fmla="*/ 215997 w 3517900"/>
              <a:gd name="connsiteY7" fmla="*/ 1422400 h 1422400"/>
              <a:gd name="connsiteX8" fmla="*/ 170604 w 3517900"/>
              <a:gd name="connsiteY8" fmla="*/ 1417824 h 1422400"/>
              <a:gd name="connsiteX9" fmla="*/ 50706 w 3517900"/>
              <a:gd name="connsiteY9" fmla="*/ 1353182 h 1422400"/>
              <a:gd name="connsiteX10" fmla="*/ 0 w 3517900"/>
              <a:gd name="connsiteY10" fmla="*/ 1277974 h 1422400"/>
              <a:gd name="connsiteX11" fmla="*/ 0 w 3517900"/>
              <a:gd name="connsiteY11" fmla="*/ 144426 h 1422400"/>
              <a:gd name="connsiteX12" fmla="*/ 50706 w 3517900"/>
              <a:gd name="connsiteY12" fmla="*/ 69218 h 1422400"/>
              <a:gd name="connsiteX13" fmla="*/ 170604 w 3517900"/>
              <a:gd name="connsiteY13" fmla="*/ 4576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17900" h="1422400">
                <a:moveTo>
                  <a:pt x="215997" y="0"/>
                </a:moveTo>
                <a:lnTo>
                  <a:pt x="3283149" y="0"/>
                </a:lnTo>
                <a:lnTo>
                  <a:pt x="3328542" y="4576"/>
                </a:lnTo>
                <a:cubicBezTo>
                  <a:pt x="3436608" y="26690"/>
                  <a:pt x="3517900" y="122307"/>
                  <a:pt x="3517900" y="236910"/>
                </a:cubicBezTo>
                <a:lnTo>
                  <a:pt x="3517900" y="1185490"/>
                </a:lnTo>
                <a:cubicBezTo>
                  <a:pt x="3517900" y="1300093"/>
                  <a:pt x="3436608" y="1395710"/>
                  <a:pt x="3328542" y="1417824"/>
                </a:cubicBezTo>
                <a:lnTo>
                  <a:pt x="3283149" y="1422400"/>
                </a:lnTo>
                <a:lnTo>
                  <a:pt x="215997" y="1422400"/>
                </a:lnTo>
                <a:lnTo>
                  <a:pt x="170604" y="1417824"/>
                </a:lnTo>
                <a:cubicBezTo>
                  <a:pt x="124290" y="1408347"/>
                  <a:pt x="82894" y="1385369"/>
                  <a:pt x="50706" y="1353182"/>
                </a:cubicBezTo>
                <a:lnTo>
                  <a:pt x="0" y="1277974"/>
                </a:lnTo>
                <a:lnTo>
                  <a:pt x="0" y="144426"/>
                </a:lnTo>
                <a:lnTo>
                  <a:pt x="50706" y="69218"/>
                </a:lnTo>
                <a:cubicBezTo>
                  <a:pt x="82894" y="37031"/>
                  <a:pt x="124290" y="14053"/>
                  <a:pt x="170604" y="457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28" name="Espace réservé pour une image  27" descr="Colonne 4">
            <a:extLst>
              <a:ext uri="{FF2B5EF4-FFF2-40B4-BE49-F238E27FC236}">
                <a16:creationId xmlns:a16="http://schemas.microsoft.com/office/drawing/2014/main" id="{A58F2997-4EE2-C892-3569-C3BDCB27F9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304741" y="1636797"/>
            <a:ext cx="2286258" cy="946122"/>
          </a:xfrm>
          <a:custGeom>
            <a:avLst/>
            <a:gdLst>
              <a:gd name="connsiteX0" fmla="*/ 215997 w 3517900"/>
              <a:gd name="connsiteY0" fmla="*/ 0 h 1422400"/>
              <a:gd name="connsiteX1" fmla="*/ 3283149 w 3517900"/>
              <a:gd name="connsiteY1" fmla="*/ 0 h 1422400"/>
              <a:gd name="connsiteX2" fmla="*/ 3328542 w 3517900"/>
              <a:gd name="connsiteY2" fmla="*/ 4576 h 1422400"/>
              <a:gd name="connsiteX3" fmla="*/ 3517900 w 3517900"/>
              <a:gd name="connsiteY3" fmla="*/ 236910 h 1422400"/>
              <a:gd name="connsiteX4" fmla="*/ 3517900 w 3517900"/>
              <a:gd name="connsiteY4" fmla="*/ 1185490 h 1422400"/>
              <a:gd name="connsiteX5" fmla="*/ 3328542 w 3517900"/>
              <a:gd name="connsiteY5" fmla="*/ 1417824 h 1422400"/>
              <a:gd name="connsiteX6" fmla="*/ 3283149 w 3517900"/>
              <a:gd name="connsiteY6" fmla="*/ 1422400 h 1422400"/>
              <a:gd name="connsiteX7" fmla="*/ 215997 w 3517900"/>
              <a:gd name="connsiteY7" fmla="*/ 1422400 h 1422400"/>
              <a:gd name="connsiteX8" fmla="*/ 170604 w 3517900"/>
              <a:gd name="connsiteY8" fmla="*/ 1417824 h 1422400"/>
              <a:gd name="connsiteX9" fmla="*/ 50706 w 3517900"/>
              <a:gd name="connsiteY9" fmla="*/ 1353182 h 1422400"/>
              <a:gd name="connsiteX10" fmla="*/ 0 w 3517900"/>
              <a:gd name="connsiteY10" fmla="*/ 1277974 h 1422400"/>
              <a:gd name="connsiteX11" fmla="*/ 0 w 3517900"/>
              <a:gd name="connsiteY11" fmla="*/ 144426 h 1422400"/>
              <a:gd name="connsiteX12" fmla="*/ 50706 w 3517900"/>
              <a:gd name="connsiteY12" fmla="*/ 69218 h 1422400"/>
              <a:gd name="connsiteX13" fmla="*/ 170604 w 3517900"/>
              <a:gd name="connsiteY13" fmla="*/ 4576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17900" h="1422400">
                <a:moveTo>
                  <a:pt x="215997" y="0"/>
                </a:moveTo>
                <a:lnTo>
                  <a:pt x="3283149" y="0"/>
                </a:lnTo>
                <a:lnTo>
                  <a:pt x="3328542" y="4576"/>
                </a:lnTo>
                <a:cubicBezTo>
                  <a:pt x="3436608" y="26690"/>
                  <a:pt x="3517900" y="122307"/>
                  <a:pt x="3517900" y="236910"/>
                </a:cubicBezTo>
                <a:lnTo>
                  <a:pt x="3517900" y="1185490"/>
                </a:lnTo>
                <a:cubicBezTo>
                  <a:pt x="3517900" y="1300093"/>
                  <a:pt x="3436608" y="1395710"/>
                  <a:pt x="3328542" y="1417824"/>
                </a:cubicBezTo>
                <a:lnTo>
                  <a:pt x="3283149" y="1422400"/>
                </a:lnTo>
                <a:lnTo>
                  <a:pt x="215997" y="1422400"/>
                </a:lnTo>
                <a:lnTo>
                  <a:pt x="170604" y="1417824"/>
                </a:lnTo>
                <a:cubicBezTo>
                  <a:pt x="124290" y="1408347"/>
                  <a:pt x="82894" y="1385369"/>
                  <a:pt x="50706" y="1353182"/>
                </a:cubicBezTo>
                <a:lnTo>
                  <a:pt x="0" y="1277974"/>
                </a:lnTo>
                <a:lnTo>
                  <a:pt x="0" y="144426"/>
                </a:lnTo>
                <a:lnTo>
                  <a:pt x="50706" y="69218"/>
                </a:lnTo>
                <a:cubicBezTo>
                  <a:pt x="82894" y="37031"/>
                  <a:pt x="124290" y="14053"/>
                  <a:pt x="170604" y="457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31" name="Espace réservé pour une image  30" descr="Colonne 5&#10;">
            <a:extLst>
              <a:ext uri="{FF2B5EF4-FFF2-40B4-BE49-F238E27FC236}">
                <a16:creationId xmlns:a16="http://schemas.microsoft.com/office/drawing/2014/main" id="{E1F0A4D1-A355-29FA-ABD7-2BA9A29130B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664809" y="1636797"/>
            <a:ext cx="2286258" cy="946122"/>
          </a:xfrm>
          <a:custGeom>
            <a:avLst/>
            <a:gdLst>
              <a:gd name="connsiteX0" fmla="*/ 215997 w 3517900"/>
              <a:gd name="connsiteY0" fmla="*/ 0 h 1422400"/>
              <a:gd name="connsiteX1" fmla="*/ 3283149 w 3517900"/>
              <a:gd name="connsiteY1" fmla="*/ 0 h 1422400"/>
              <a:gd name="connsiteX2" fmla="*/ 3328542 w 3517900"/>
              <a:gd name="connsiteY2" fmla="*/ 4576 h 1422400"/>
              <a:gd name="connsiteX3" fmla="*/ 3517900 w 3517900"/>
              <a:gd name="connsiteY3" fmla="*/ 236910 h 1422400"/>
              <a:gd name="connsiteX4" fmla="*/ 3517900 w 3517900"/>
              <a:gd name="connsiteY4" fmla="*/ 1185490 h 1422400"/>
              <a:gd name="connsiteX5" fmla="*/ 3328542 w 3517900"/>
              <a:gd name="connsiteY5" fmla="*/ 1417824 h 1422400"/>
              <a:gd name="connsiteX6" fmla="*/ 3283149 w 3517900"/>
              <a:gd name="connsiteY6" fmla="*/ 1422400 h 1422400"/>
              <a:gd name="connsiteX7" fmla="*/ 215997 w 3517900"/>
              <a:gd name="connsiteY7" fmla="*/ 1422400 h 1422400"/>
              <a:gd name="connsiteX8" fmla="*/ 170604 w 3517900"/>
              <a:gd name="connsiteY8" fmla="*/ 1417824 h 1422400"/>
              <a:gd name="connsiteX9" fmla="*/ 50706 w 3517900"/>
              <a:gd name="connsiteY9" fmla="*/ 1353182 h 1422400"/>
              <a:gd name="connsiteX10" fmla="*/ 0 w 3517900"/>
              <a:gd name="connsiteY10" fmla="*/ 1277974 h 1422400"/>
              <a:gd name="connsiteX11" fmla="*/ 0 w 3517900"/>
              <a:gd name="connsiteY11" fmla="*/ 144426 h 1422400"/>
              <a:gd name="connsiteX12" fmla="*/ 50706 w 3517900"/>
              <a:gd name="connsiteY12" fmla="*/ 69218 h 1422400"/>
              <a:gd name="connsiteX13" fmla="*/ 170604 w 3517900"/>
              <a:gd name="connsiteY13" fmla="*/ 4576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17900" h="1422400">
                <a:moveTo>
                  <a:pt x="215997" y="0"/>
                </a:moveTo>
                <a:lnTo>
                  <a:pt x="3283149" y="0"/>
                </a:lnTo>
                <a:lnTo>
                  <a:pt x="3328542" y="4576"/>
                </a:lnTo>
                <a:cubicBezTo>
                  <a:pt x="3436608" y="26690"/>
                  <a:pt x="3517900" y="122307"/>
                  <a:pt x="3517900" y="236910"/>
                </a:cubicBezTo>
                <a:lnTo>
                  <a:pt x="3517900" y="1185490"/>
                </a:lnTo>
                <a:cubicBezTo>
                  <a:pt x="3517900" y="1300093"/>
                  <a:pt x="3436608" y="1395710"/>
                  <a:pt x="3328542" y="1417824"/>
                </a:cubicBezTo>
                <a:lnTo>
                  <a:pt x="3283149" y="1422400"/>
                </a:lnTo>
                <a:lnTo>
                  <a:pt x="215997" y="1422400"/>
                </a:lnTo>
                <a:lnTo>
                  <a:pt x="170604" y="1417824"/>
                </a:lnTo>
                <a:cubicBezTo>
                  <a:pt x="124290" y="1408347"/>
                  <a:pt x="82894" y="1385369"/>
                  <a:pt x="50706" y="1353182"/>
                </a:cubicBezTo>
                <a:lnTo>
                  <a:pt x="0" y="1277974"/>
                </a:lnTo>
                <a:lnTo>
                  <a:pt x="0" y="144426"/>
                </a:lnTo>
                <a:lnTo>
                  <a:pt x="50706" y="69218"/>
                </a:lnTo>
                <a:cubicBezTo>
                  <a:pt x="82894" y="37031"/>
                  <a:pt x="124290" y="14053"/>
                  <a:pt x="170604" y="457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13" name="Rounded Rectangle 14">
            <a:extLst>
              <a:ext uri="{FF2B5EF4-FFF2-40B4-BE49-F238E27FC236}">
                <a16:creationId xmlns:a16="http://schemas.microsoft.com/office/drawing/2014/main" id="{B34AC6D0-2F1E-8FA2-FC79-370188EB41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31466" y="2625123"/>
            <a:ext cx="2304000" cy="348025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5" name="Espace réservé du texte 34">
            <a:extLst>
              <a:ext uri="{FF2B5EF4-FFF2-40B4-BE49-F238E27FC236}">
                <a16:creationId xmlns:a16="http://schemas.microsoft.com/office/drawing/2014/main" id="{7DAE7E0A-7B65-BC3D-2A87-8DEA6DE916B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650" y="2817813"/>
            <a:ext cx="2024063" cy="186204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Rounded Rectangle 13">
            <a:extLst>
              <a:ext uri="{FF2B5EF4-FFF2-40B4-BE49-F238E27FC236}">
                <a16:creationId xmlns:a16="http://schemas.microsoft.com/office/drawing/2014/main" id="{BC358F3E-5B20-8A11-C9AD-25B92A1790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584390" y="2625123"/>
            <a:ext cx="2304000" cy="348025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6" name="Espace réservé du texte 34">
            <a:extLst>
              <a:ext uri="{FF2B5EF4-FFF2-40B4-BE49-F238E27FC236}">
                <a16:creationId xmlns:a16="http://schemas.microsoft.com/office/drawing/2014/main" id="{05361AAF-45DB-A5EA-0F8C-5EA36723FA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23724" y="2817813"/>
            <a:ext cx="2024063" cy="186204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Rounded Rectangle 12">
            <a:extLst>
              <a:ext uri="{FF2B5EF4-FFF2-40B4-BE49-F238E27FC236}">
                <a16:creationId xmlns:a16="http://schemas.microsoft.com/office/drawing/2014/main" id="{57A2EB18-A2E7-52A5-2AFC-EC1BE9546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939136" y="2625123"/>
            <a:ext cx="2304000" cy="348025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7" name="Espace réservé du texte 34">
            <a:extLst>
              <a:ext uri="{FF2B5EF4-FFF2-40B4-BE49-F238E27FC236}">
                <a16:creationId xmlns:a16="http://schemas.microsoft.com/office/drawing/2014/main" id="{A0528C2A-77EC-521F-D845-553191992CC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1268" y="2817813"/>
            <a:ext cx="2024063" cy="186204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Rounded Rectangle 11">
            <a:extLst>
              <a:ext uri="{FF2B5EF4-FFF2-40B4-BE49-F238E27FC236}">
                <a16:creationId xmlns:a16="http://schemas.microsoft.com/office/drawing/2014/main" id="{90ADBBF7-C63B-D82D-3424-7A9D69BEEF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295870" y="2625123"/>
            <a:ext cx="2304000" cy="348025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8" name="Espace réservé du texte 34">
            <a:extLst>
              <a:ext uri="{FF2B5EF4-FFF2-40B4-BE49-F238E27FC236}">
                <a16:creationId xmlns:a16="http://schemas.microsoft.com/office/drawing/2014/main" id="{CDAB5095-AAD4-BDA5-3502-278D0ED8C6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30342" y="2817813"/>
            <a:ext cx="2024063" cy="186204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id="{BB7F2243-40D7-F355-D483-E091CBE9CD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655938" y="2625123"/>
            <a:ext cx="2304000" cy="348025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9" name="Espace réservé du texte 34">
            <a:extLst>
              <a:ext uri="{FF2B5EF4-FFF2-40B4-BE49-F238E27FC236}">
                <a16:creationId xmlns:a16="http://schemas.microsoft.com/office/drawing/2014/main" id="{D96C811C-E12D-E65C-4A0C-3C51823E157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95906" y="2817813"/>
            <a:ext cx="2024063" cy="186204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33C1F71B-77E5-B5D4-6CD8-79C906DBE1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B3E52325-563B-9A97-97CD-A70F99B86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17" name="Espace réservé du texte 13">
            <a:extLst>
              <a:ext uri="{FF2B5EF4-FFF2-40B4-BE49-F238E27FC236}">
                <a16:creationId xmlns:a16="http://schemas.microsoft.com/office/drawing/2014/main" id="{A52913B5-94CD-6E4D-C29E-E0E4914A7F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059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2" name="Rectangle : coins arrondis 10">
            <a:extLst>
              <a:ext uri="{FF2B5EF4-FFF2-40B4-BE49-F238E27FC236}">
                <a16:creationId xmlns:a16="http://schemas.microsoft.com/office/drawing/2014/main" id="{F553CD51-9D5D-1D3D-3A76-229EA52172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44267" y="2158644"/>
            <a:ext cx="2279872" cy="424275"/>
          </a:xfrm>
          <a:prstGeom prst="roundRect">
            <a:avLst>
              <a:gd name="adj" fmla="val 30337"/>
            </a:avLst>
          </a:prstGeom>
          <a:gradFill flip="none" rotWithShape="1">
            <a:gsLst>
              <a:gs pos="0">
                <a:srgbClr val="2A1449">
                  <a:alpha val="59000"/>
                </a:srgbClr>
              </a:gs>
              <a:gs pos="72000">
                <a:schemeClr val="bg2">
                  <a:alpha val="0"/>
                </a:schemeClr>
              </a:gs>
            </a:gsLst>
            <a:lin ang="162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b="0"/>
            </a:lvl1pPr>
          </a:lstStyle>
          <a:p>
            <a:pPr algn="ctr"/>
            <a:r>
              <a:rPr lang="en-GB" noProof="0"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</a:rPr>
              <a:t>MODIFY TITLE</a:t>
            </a:r>
          </a:p>
        </p:txBody>
      </p:sp>
      <p:sp>
        <p:nvSpPr>
          <p:cNvPr id="3" name="Rectangle : coins arrondis 10">
            <a:extLst>
              <a:ext uri="{FF2B5EF4-FFF2-40B4-BE49-F238E27FC236}">
                <a16:creationId xmlns:a16="http://schemas.microsoft.com/office/drawing/2014/main" id="{E7835757-1D3E-084B-6A86-E41484802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592627" y="2158644"/>
            <a:ext cx="2286892" cy="424275"/>
          </a:xfrm>
          <a:prstGeom prst="roundRect">
            <a:avLst>
              <a:gd name="adj" fmla="val 30337"/>
            </a:avLst>
          </a:prstGeom>
          <a:gradFill flip="none" rotWithShape="1">
            <a:gsLst>
              <a:gs pos="0">
                <a:srgbClr val="2A1449">
                  <a:alpha val="59000"/>
                </a:srgbClr>
              </a:gs>
              <a:gs pos="72000">
                <a:schemeClr val="bg2">
                  <a:alpha val="0"/>
                </a:schemeClr>
              </a:gs>
            </a:gsLst>
            <a:lin ang="162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b="0"/>
            </a:lvl1pPr>
          </a:lstStyle>
          <a:p>
            <a:pPr algn="ctr"/>
            <a:r>
              <a:rPr lang="en-GB" noProof="0"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</a:rPr>
              <a:t>MODIFY TITLE</a:t>
            </a:r>
          </a:p>
        </p:txBody>
      </p:sp>
      <p:sp>
        <p:nvSpPr>
          <p:cNvPr id="16" name="Rectangle : coins arrondis 10">
            <a:extLst>
              <a:ext uri="{FF2B5EF4-FFF2-40B4-BE49-F238E27FC236}">
                <a16:creationId xmlns:a16="http://schemas.microsoft.com/office/drawing/2014/main" id="{ED4F3F25-4C10-86EA-18C5-6204400FA0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53329" y="2158644"/>
            <a:ext cx="2280936" cy="424275"/>
          </a:xfrm>
          <a:prstGeom prst="roundRect">
            <a:avLst>
              <a:gd name="adj" fmla="val 30337"/>
            </a:avLst>
          </a:prstGeom>
          <a:gradFill flip="none" rotWithShape="1">
            <a:gsLst>
              <a:gs pos="0">
                <a:srgbClr val="2A1449">
                  <a:alpha val="59000"/>
                </a:srgbClr>
              </a:gs>
              <a:gs pos="72000">
                <a:schemeClr val="bg2">
                  <a:alpha val="0"/>
                </a:schemeClr>
              </a:gs>
            </a:gsLst>
            <a:lin ang="162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b="0"/>
            </a:lvl1pPr>
          </a:lstStyle>
          <a:p>
            <a:pPr algn="ctr"/>
            <a:r>
              <a:rPr lang="en-GB" noProof="0"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</a:rPr>
              <a:t>MODIFY TITLE</a:t>
            </a:r>
          </a:p>
        </p:txBody>
      </p:sp>
      <p:sp>
        <p:nvSpPr>
          <p:cNvPr id="18" name="Rectangle : coins arrondis 10">
            <a:extLst>
              <a:ext uri="{FF2B5EF4-FFF2-40B4-BE49-F238E27FC236}">
                <a16:creationId xmlns:a16="http://schemas.microsoft.com/office/drawing/2014/main" id="{2FC14144-91ED-2152-2014-1F83DADCF1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04107" y="2158644"/>
            <a:ext cx="2286892" cy="424275"/>
          </a:xfrm>
          <a:prstGeom prst="roundRect">
            <a:avLst>
              <a:gd name="adj" fmla="val 30337"/>
            </a:avLst>
          </a:prstGeom>
          <a:gradFill flip="none" rotWithShape="1">
            <a:gsLst>
              <a:gs pos="0">
                <a:srgbClr val="2A1449">
                  <a:alpha val="59000"/>
                </a:srgbClr>
              </a:gs>
              <a:gs pos="72000">
                <a:schemeClr val="bg2">
                  <a:alpha val="0"/>
                </a:schemeClr>
              </a:gs>
            </a:gsLst>
            <a:lin ang="162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b="0"/>
            </a:lvl1pPr>
          </a:lstStyle>
          <a:p>
            <a:pPr algn="ctr"/>
            <a:r>
              <a:rPr lang="en-GB" noProof="0"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</a:rPr>
              <a:t>MODIFY TITLE</a:t>
            </a:r>
          </a:p>
        </p:txBody>
      </p:sp>
      <p:sp>
        <p:nvSpPr>
          <p:cNvPr id="23" name="Rectangle : coins arrondis 10">
            <a:extLst>
              <a:ext uri="{FF2B5EF4-FFF2-40B4-BE49-F238E27FC236}">
                <a16:creationId xmlns:a16="http://schemas.microsoft.com/office/drawing/2014/main" id="{4ACFF685-4D5C-AD7D-68F0-04274778A0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664491" y="2158644"/>
            <a:ext cx="2286892" cy="424275"/>
          </a:xfrm>
          <a:prstGeom prst="roundRect">
            <a:avLst>
              <a:gd name="adj" fmla="val 30337"/>
            </a:avLst>
          </a:prstGeom>
          <a:gradFill flip="none" rotWithShape="1">
            <a:gsLst>
              <a:gs pos="0">
                <a:srgbClr val="2A1449">
                  <a:alpha val="59000"/>
                </a:srgbClr>
              </a:gs>
              <a:gs pos="72000">
                <a:schemeClr val="bg2">
                  <a:alpha val="0"/>
                </a:schemeClr>
              </a:gs>
            </a:gsLst>
            <a:lin ang="162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b="0"/>
            </a:lvl1pPr>
          </a:lstStyle>
          <a:p>
            <a:pPr algn="ctr"/>
            <a:r>
              <a:rPr lang="en-GB" noProof="0"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</a:rPr>
              <a:t>MODIFY TITLE</a:t>
            </a:r>
          </a:p>
        </p:txBody>
      </p:sp>
    </p:spTree>
    <p:extLst>
      <p:ext uri="{BB962C8B-B14F-4D97-AF65-F5344CB8AC3E}">
        <p14:creationId xmlns:p14="http://schemas.microsoft.com/office/powerpoint/2010/main" val="30825421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5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coins arrondis 3" descr="Colonne 1">
            <a:extLst>
              <a:ext uri="{FF2B5EF4-FFF2-40B4-BE49-F238E27FC236}">
                <a16:creationId xmlns:a16="http://schemas.microsoft.com/office/drawing/2014/main" id="{2DDCF276-2973-6E72-476F-C69A1C832063}"/>
              </a:ext>
            </a:extLst>
          </p:cNvPr>
          <p:cNvSpPr/>
          <p:nvPr userDrawn="1"/>
        </p:nvSpPr>
        <p:spPr>
          <a:xfrm>
            <a:off x="213702" y="1636797"/>
            <a:ext cx="2268000" cy="926025"/>
          </a:xfrm>
          <a:prstGeom prst="roundRect">
            <a:avLst/>
          </a:prstGeom>
          <a:solidFill>
            <a:schemeClr val="bg1"/>
          </a:soli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9" name="Espace réservé du texte 34">
            <a:extLst>
              <a:ext uri="{FF2B5EF4-FFF2-40B4-BE49-F238E27FC236}">
                <a16:creationId xmlns:a16="http://schemas.microsoft.com/office/drawing/2014/main" id="{AE017A1A-A9D5-6237-0D97-A64C9238C51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1497" y="1835595"/>
            <a:ext cx="2228341" cy="4924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>
                <a:latin typeface="+mn-lt"/>
              </a:defRPr>
            </a:lvl3pPr>
            <a:lvl4pPr>
              <a:defRPr sz="1100"/>
            </a:lvl4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sz="1600" b="0">
                <a:solidFill>
                  <a:schemeClr val="accent6"/>
                </a:solidFill>
                <a:effectLst/>
                <a:latin typeface="+mj-lt"/>
              </a:rPr>
              <a:t>MODIFY TITLE</a:t>
            </a:r>
          </a:p>
        </p:txBody>
      </p:sp>
      <p:sp>
        <p:nvSpPr>
          <p:cNvPr id="13" name="Rounded Rectangle 14">
            <a:extLst>
              <a:ext uri="{FF2B5EF4-FFF2-40B4-BE49-F238E27FC236}">
                <a16:creationId xmlns:a16="http://schemas.microsoft.com/office/drawing/2014/main" id="{B34AC6D0-2F1E-8FA2-FC79-370188EB41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13702" y="2625123"/>
            <a:ext cx="2268000" cy="348025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4" name="Espace réservé du texte 34">
            <a:extLst>
              <a:ext uri="{FF2B5EF4-FFF2-40B4-BE49-F238E27FC236}">
                <a16:creationId xmlns:a16="http://schemas.microsoft.com/office/drawing/2014/main" id="{9F1F54A8-AE0A-156D-5A4D-BF74BE3932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650" y="2817813"/>
            <a:ext cx="2024063" cy="186204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Rectangle : coins arrondis 5" descr="Colonne 2">
            <a:extLst>
              <a:ext uri="{FF2B5EF4-FFF2-40B4-BE49-F238E27FC236}">
                <a16:creationId xmlns:a16="http://schemas.microsoft.com/office/drawing/2014/main" id="{B9BECF57-EC95-D42D-72B4-6B995218E7F4}"/>
              </a:ext>
            </a:extLst>
          </p:cNvPr>
          <p:cNvSpPr/>
          <p:nvPr userDrawn="1"/>
        </p:nvSpPr>
        <p:spPr>
          <a:xfrm>
            <a:off x="2573318" y="1637180"/>
            <a:ext cx="2268000" cy="926025"/>
          </a:xfrm>
          <a:prstGeom prst="roundRect">
            <a:avLst/>
          </a:prstGeom>
          <a:solidFill>
            <a:schemeClr val="bg1"/>
          </a:soli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20" name="Espace réservé du texte 34">
            <a:extLst>
              <a:ext uri="{FF2B5EF4-FFF2-40B4-BE49-F238E27FC236}">
                <a16:creationId xmlns:a16="http://schemas.microsoft.com/office/drawing/2014/main" id="{69FBED51-0585-8A01-0301-92B2A10FDF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616382" y="1836746"/>
            <a:ext cx="2182708" cy="4924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>
                <a:latin typeface="+mn-lt"/>
              </a:defRPr>
            </a:lvl3pPr>
            <a:lvl4pPr>
              <a:defRPr sz="1100"/>
            </a:lvl4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sz="1600" b="0">
                <a:solidFill>
                  <a:schemeClr val="accent6"/>
                </a:solidFill>
                <a:effectLst/>
                <a:latin typeface="+mj-lt"/>
              </a:rPr>
              <a:t>MODIFY TITLE</a:t>
            </a:r>
          </a:p>
        </p:txBody>
      </p:sp>
      <p:sp>
        <p:nvSpPr>
          <p:cNvPr id="12" name="Rounded Rectangle 13">
            <a:extLst>
              <a:ext uri="{FF2B5EF4-FFF2-40B4-BE49-F238E27FC236}">
                <a16:creationId xmlns:a16="http://schemas.microsoft.com/office/drawing/2014/main" id="{BC358F3E-5B20-8A11-C9AD-25B92A1790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573318" y="2625123"/>
            <a:ext cx="2268000" cy="348025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5" name="Espace réservé du texte 34">
            <a:extLst>
              <a:ext uri="{FF2B5EF4-FFF2-40B4-BE49-F238E27FC236}">
                <a16:creationId xmlns:a16="http://schemas.microsoft.com/office/drawing/2014/main" id="{C4618667-39B3-C877-583D-90A84D4C39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23724" y="2817813"/>
            <a:ext cx="2024063" cy="186204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Rectangle : coins arrondis 7" descr="Colonne 3">
            <a:extLst>
              <a:ext uri="{FF2B5EF4-FFF2-40B4-BE49-F238E27FC236}">
                <a16:creationId xmlns:a16="http://schemas.microsoft.com/office/drawing/2014/main" id="{31FE8222-76B6-89BB-0A8E-655B3B74E737}"/>
              </a:ext>
            </a:extLst>
          </p:cNvPr>
          <p:cNvSpPr/>
          <p:nvPr userDrawn="1"/>
        </p:nvSpPr>
        <p:spPr>
          <a:xfrm>
            <a:off x="4932934" y="1632786"/>
            <a:ext cx="2268000" cy="926025"/>
          </a:xfrm>
          <a:prstGeom prst="roundRect">
            <a:avLst/>
          </a:prstGeom>
          <a:solidFill>
            <a:schemeClr val="bg1"/>
          </a:soli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21" name="Espace réservé du texte 34">
            <a:extLst>
              <a:ext uri="{FF2B5EF4-FFF2-40B4-BE49-F238E27FC236}">
                <a16:creationId xmlns:a16="http://schemas.microsoft.com/office/drawing/2014/main" id="{EDC2851A-6ABD-A5E9-5389-38901DCA8FB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91071" y="1834444"/>
            <a:ext cx="2296345" cy="4924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>
                <a:latin typeface="+mn-lt"/>
              </a:defRPr>
            </a:lvl3pPr>
            <a:lvl4pPr>
              <a:defRPr sz="1100"/>
            </a:lvl4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sz="1600" b="0">
                <a:solidFill>
                  <a:schemeClr val="accent6"/>
                </a:solidFill>
                <a:effectLst/>
                <a:latin typeface="+mj-lt"/>
              </a:rPr>
              <a:t>MODIFY TITLE</a:t>
            </a:r>
          </a:p>
        </p:txBody>
      </p:sp>
      <p:sp>
        <p:nvSpPr>
          <p:cNvPr id="11" name="Rounded Rectangle 12">
            <a:extLst>
              <a:ext uri="{FF2B5EF4-FFF2-40B4-BE49-F238E27FC236}">
                <a16:creationId xmlns:a16="http://schemas.microsoft.com/office/drawing/2014/main" id="{57A2EB18-A2E7-52A5-2AFC-EC1BE9546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932934" y="2625123"/>
            <a:ext cx="2268000" cy="348025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6" name="Espace réservé du texte 34">
            <a:extLst>
              <a:ext uri="{FF2B5EF4-FFF2-40B4-BE49-F238E27FC236}">
                <a16:creationId xmlns:a16="http://schemas.microsoft.com/office/drawing/2014/main" id="{F8A248A7-5AF0-DC87-B093-2C69F2568C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1268" y="2817813"/>
            <a:ext cx="2024063" cy="186204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Rectangle : coins arrondis 14" descr="Colonne 4">
            <a:extLst>
              <a:ext uri="{FF2B5EF4-FFF2-40B4-BE49-F238E27FC236}">
                <a16:creationId xmlns:a16="http://schemas.microsoft.com/office/drawing/2014/main" id="{1F119CA3-22D2-4449-5D7A-38DF12A6B708}"/>
              </a:ext>
            </a:extLst>
          </p:cNvPr>
          <p:cNvSpPr/>
          <p:nvPr userDrawn="1"/>
        </p:nvSpPr>
        <p:spPr>
          <a:xfrm>
            <a:off x="7292550" y="1636797"/>
            <a:ext cx="2268000" cy="926025"/>
          </a:xfrm>
          <a:prstGeom prst="roundRect">
            <a:avLst/>
          </a:prstGeom>
          <a:solidFill>
            <a:schemeClr val="bg1"/>
          </a:soli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22" name="Espace réservé du texte 34">
            <a:extLst>
              <a:ext uri="{FF2B5EF4-FFF2-40B4-BE49-F238E27FC236}">
                <a16:creationId xmlns:a16="http://schemas.microsoft.com/office/drawing/2014/main" id="{817CAE60-A7C4-7903-0237-CC6166DC5A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95956" y="1835595"/>
            <a:ext cx="2264594" cy="4924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>
                <a:latin typeface="+mn-lt"/>
              </a:defRPr>
            </a:lvl3pPr>
            <a:lvl4pPr>
              <a:defRPr sz="1100"/>
            </a:lvl4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sz="1600" b="0">
                <a:solidFill>
                  <a:schemeClr val="accent6"/>
                </a:solidFill>
                <a:effectLst/>
                <a:latin typeface="+mj-lt"/>
              </a:rPr>
              <a:t>MODIFY TITLE</a:t>
            </a:r>
          </a:p>
        </p:txBody>
      </p:sp>
      <p:sp>
        <p:nvSpPr>
          <p:cNvPr id="10" name="Rounded Rectangle 11">
            <a:extLst>
              <a:ext uri="{FF2B5EF4-FFF2-40B4-BE49-F238E27FC236}">
                <a16:creationId xmlns:a16="http://schemas.microsoft.com/office/drawing/2014/main" id="{90ADBBF7-C63B-D82D-3424-7A9D69BEEF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292550" y="2625123"/>
            <a:ext cx="2268000" cy="348025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7" name="Espace réservé du texte 34">
            <a:extLst>
              <a:ext uri="{FF2B5EF4-FFF2-40B4-BE49-F238E27FC236}">
                <a16:creationId xmlns:a16="http://schemas.microsoft.com/office/drawing/2014/main" id="{0F9361D9-64CF-3D96-8B65-424CA605A1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30342" y="2817813"/>
            <a:ext cx="2024063" cy="186204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7" name="Rectangle : coins arrondis 16" descr="Colonne 5">
            <a:extLst>
              <a:ext uri="{FF2B5EF4-FFF2-40B4-BE49-F238E27FC236}">
                <a16:creationId xmlns:a16="http://schemas.microsoft.com/office/drawing/2014/main" id="{9C7F016B-9694-2743-50B5-30585F9B82A5}"/>
              </a:ext>
            </a:extLst>
          </p:cNvPr>
          <p:cNvSpPr/>
          <p:nvPr userDrawn="1"/>
        </p:nvSpPr>
        <p:spPr>
          <a:xfrm>
            <a:off x="9652167" y="1636797"/>
            <a:ext cx="2268000" cy="926025"/>
          </a:xfrm>
          <a:prstGeom prst="roundRect">
            <a:avLst/>
          </a:prstGeom>
          <a:solidFill>
            <a:schemeClr val="bg1"/>
          </a:soli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23" name="Espace réservé du texte 34">
            <a:extLst>
              <a:ext uri="{FF2B5EF4-FFF2-40B4-BE49-F238E27FC236}">
                <a16:creationId xmlns:a16="http://schemas.microsoft.com/office/drawing/2014/main" id="{5F49990E-C4D6-20C7-AAD7-9BDA607FDF7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638648" y="1834443"/>
            <a:ext cx="2281519" cy="4924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>
                <a:latin typeface="+mn-lt"/>
              </a:defRPr>
            </a:lvl3pPr>
            <a:lvl4pPr>
              <a:defRPr sz="1100"/>
            </a:lvl4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sz="1600" b="0">
                <a:solidFill>
                  <a:schemeClr val="accent6"/>
                </a:solidFill>
                <a:effectLst/>
                <a:latin typeface="+mj-lt"/>
              </a:rPr>
              <a:t>MODIFY TITLE</a:t>
            </a:r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id="{BB7F2243-40D7-F355-D483-E091CBE9CD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652167" y="2625123"/>
            <a:ext cx="2268000" cy="348025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8" name="Espace réservé du texte 34">
            <a:extLst>
              <a:ext uri="{FF2B5EF4-FFF2-40B4-BE49-F238E27FC236}">
                <a16:creationId xmlns:a16="http://schemas.microsoft.com/office/drawing/2014/main" id="{031035CF-ACB4-0EF3-615C-E4167B8B28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95906" y="2817813"/>
            <a:ext cx="2024063" cy="186204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8FF0D249-F6DF-F41D-AFAA-1DAF9340F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7DDE27F-1BCF-F808-AF7B-64DFE0E6DB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F65479-62E2-8939-82CA-777168CD371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59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880058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5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 : coins arrondis 63" descr="Colonne 1">
            <a:extLst>
              <a:ext uri="{FF2B5EF4-FFF2-40B4-BE49-F238E27FC236}">
                <a16:creationId xmlns:a16="http://schemas.microsoft.com/office/drawing/2014/main" id="{DF737EBC-D8A1-F138-34FA-F1880FDE73DD}"/>
              </a:ext>
            </a:extLst>
          </p:cNvPr>
          <p:cNvSpPr/>
          <p:nvPr userDrawn="1"/>
        </p:nvSpPr>
        <p:spPr>
          <a:xfrm>
            <a:off x="231466" y="1629815"/>
            <a:ext cx="2268000" cy="1118083"/>
          </a:xfrm>
          <a:prstGeom prst="round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3" name="Rounded Rectangle 14">
            <a:extLst>
              <a:ext uri="{FF2B5EF4-FFF2-40B4-BE49-F238E27FC236}">
                <a16:creationId xmlns:a16="http://schemas.microsoft.com/office/drawing/2014/main" id="{B34AC6D0-2F1E-8FA2-FC79-370188EB41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31466" y="2817813"/>
            <a:ext cx="2304000" cy="3275012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9" name="Espace réservé du texte 34">
            <a:extLst>
              <a:ext uri="{FF2B5EF4-FFF2-40B4-BE49-F238E27FC236}">
                <a16:creationId xmlns:a16="http://schemas.microsoft.com/office/drawing/2014/main" id="{D0574C5B-D8C9-5C6A-5FEE-DD1CAD99AC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650" y="3144384"/>
            <a:ext cx="2024063" cy="19929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1" name="Rectangle : coins arrondis 60" descr="Colonne 2">
            <a:extLst>
              <a:ext uri="{FF2B5EF4-FFF2-40B4-BE49-F238E27FC236}">
                <a16:creationId xmlns:a16="http://schemas.microsoft.com/office/drawing/2014/main" id="{5AF6408C-D05D-6EA3-348F-AED98F4D2A83}"/>
              </a:ext>
            </a:extLst>
          </p:cNvPr>
          <p:cNvSpPr/>
          <p:nvPr userDrawn="1"/>
        </p:nvSpPr>
        <p:spPr>
          <a:xfrm>
            <a:off x="2596733" y="1629815"/>
            <a:ext cx="2268000" cy="1118083"/>
          </a:xfrm>
          <a:prstGeom prst="round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2" name="Rounded Rectangle 13">
            <a:extLst>
              <a:ext uri="{FF2B5EF4-FFF2-40B4-BE49-F238E27FC236}">
                <a16:creationId xmlns:a16="http://schemas.microsoft.com/office/drawing/2014/main" id="{BC358F3E-5B20-8A11-C9AD-25B92A1790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588846" y="2817813"/>
            <a:ext cx="2304000" cy="3275012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0" name="Espace réservé du texte 34">
            <a:extLst>
              <a:ext uri="{FF2B5EF4-FFF2-40B4-BE49-F238E27FC236}">
                <a16:creationId xmlns:a16="http://schemas.microsoft.com/office/drawing/2014/main" id="{0290DA99-9551-3E32-24CD-25F6AC8EA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23724" y="3144384"/>
            <a:ext cx="2024063" cy="19929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3" name="Rectangle : coins arrondis 62" descr="Colonne 3">
            <a:extLst>
              <a:ext uri="{FF2B5EF4-FFF2-40B4-BE49-F238E27FC236}">
                <a16:creationId xmlns:a16="http://schemas.microsoft.com/office/drawing/2014/main" id="{11B32AD5-F7AC-12ED-BC15-2F29C0977A9C}"/>
              </a:ext>
            </a:extLst>
          </p:cNvPr>
          <p:cNvSpPr/>
          <p:nvPr userDrawn="1"/>
        </p:nvSpPr>
        <p:spPr>
          <a:xfrm>
            <a:off x="4962000" y="1629815"/>
            <a:ext cx="2268000" cy="1118083"/>
          </a:xfrm>
          <a:prstGeom prst="round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1" name="Rounded Rectangle 12">
            <a:extLst>
              <a:ext uri="{FF2B5EF4-FFF2-40B4-BE49-F238E27FC236}">
                <a16:creationId xmlns:a16="http://schemas.microsoft.com/office/drawing/2014/main" id="{57A2EB18-A2E7-52A5-2AFC-EC1BE9546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946226" y="2817813"/>
            <a:ext cx="2304000" cy="3275012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1" name="Espace réservé du texte 34">
            <a:extLst>
              <a:ext uri="{FF2B5EF4-FFF2-40B4-BE49-F238E27FC236}">
                <a16:creationId xmlns:a16="http://schemas.microsoft.com/office/drawing/2014/main" id="{475A1788-E9B9-7FBE-F8B6-0FDD4E221D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1268" y="3144384"/>
            <a:ext cx="2024063" cy="19929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5" name="Rectangle : coins arrondis 64" descr="Colonne 4">
            <a:extLst>
              <a:ext uri="{FF2B5EF4-FFF2-40B4-BE49-F238E27FC236}">
                <a16:creationId xmlns:a16="http://schemas.microsoft.com/office/drawing/2014/main" id="{19257D5E-8C96-7C76-00E1-F70DA33DEEE2}"/>
              </a:ext>
            </a:extLst>
          </p:cNvPr>
          <p:cNvSpPr/>
          <p:nvPr userDrawn="1"/>
        </p:nvSpPr>
        <p:spPr>
          <a:xfrm>
            <a:off x="7327267" y="1629815"/>
            <a:ext cx="2268000" cy="1118083"/>
          </a:xfrm>
          <a:prstGeom prst="round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0" name="Rounded Rectangle 11">
            <a:extLst>
              <a:ext uri="{FF2B5EF4-FFF2-40B4-BE49-F238E27FC236}">
                <a16:creationId xmlns:a16="http://schemas.microsoft.com/office/drawing/2014/main" id="{90ADBBF7-C63B-D82D-3424-7A9D69BEEF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303606" y="2817813"/>
            <a:ext cx="2304000" cy="3275012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2" name="Espace réservé du texte 34">
            <a:extLst>
              <a:ext uri="{FF2B5EF4-FFF2-40B4-BE49-F238E27FC236}">
                <a16:creationId xmlns:a16="http://schemas.microsoft.com/office/drawing/2014/main" id="{C032B2BA-3085-D160-DC19-C48E81A1DEA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30342" y="3144384"/>
            <a:ext cx="2024063" cy="19929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6" name="Rectangle : coins arrondis 65" descr="Colonne 5">
            <a:extLst>
              <a:ext uri="{FF2B5EF4-FFF2-40B4-BE49-F238E27FC236}">
                <a16:creationId xmlns:a16="http://schemas.microsoft.com/office/drawing/2014/main" id="{80BEFF03-BEDB-4740-4DD8-E8C43ABCEB53}"/>
              </a:ext>
            </a:extLst>
          </p:cNvPr>
          <p:cNvSpPr/>
          <p:nvPr userDrawn="1"/>
        </p:nvSpPr>
        <p:spPr>
          <a:xfrm>
            <a:off x="9692534" y="1629815"/>
            <a:ext cx="2268000" cy="1118083"/>
          </a:xfrm>
          <a:prstGeom prst="round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id="{BB7F2243-40D7-F355-D483-E091CBE9CD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660987" y="2817813"/>
            <a:ext cx="2304000" cy="3275012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Espace réservé du texte 34">
            <a:extLst>
              <a:ext uri="{FF2B5EF4-FFF2-40B4-BE49-F238E27FC236}">
                <a16:creationId xmlns:a16="http://schemas.microsoft.com/office/drawing/2014/main" id="{4D1019D2-B25B-D3E0-41DF-5795B3250F0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95906" y="3144384"/>
            <a:ext cx="2024063" cy="19929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7566D6D5-5DE8-C44C-8B66-70439511CB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7C696D77-BD4C-4D6E-DF6F-3C49F2A01F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59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6" name="Espace réservé du texte 13">
            <a:extLst>
              <a:ext uri="{FF2B5EF4-FFF2-40B4-BE49-F238E27FC236}">
                <a16:creationId xmlns:a16="http://schemas.microsoft.com/office/drawing/2014/main" id="{B0AAF9DB-4935-F838-70D7-5B131E09150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59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1pPr>
          </a:lstStyle>
          <a:p>
            <a:r>
              <a:rPr lang="en-GB" noProof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031423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5Colum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A7A415C-E802-8374-6D01-F85DF5608DAD}"/>
              </a:ext>
            </a:extLst>
          </p:cNvPr>
          <p:cNvSpPr/>
          <p:nvPr userDrawn="1"/>
        </p:nvSpPr>
        <p:spPr>
          <a:xfrm>
            <a:off x="224075" y="1626705"/>
            <a:ext cx="2268000" cy="1118083"/>
          </a:xfrm>
          <a:prstGeom prst="round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CECC96-5730-9FEB-3D92-4D568E8D6607}"/>
              </a:ext>
            </a:extLst>
          </p:cNvPr>
          <p:cNvSpPr/>
          <p:nvPr userDrawn="1"/>
        </p:nvSpPr>
        <p:spPr>
          <a:xfrm>
            <a:off x="2596733" y="1620341"/>
            <a:ext cx="2268000" cy="1118083"/>
          </a:xfrm>
          <a:prstGeom prst="round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B6DBA20D-EB1D-A27D-D3B1-0048D81E2EC4}"/>
              </a:ext>
            </a:extLst>
          </p:cNvPr>
          <p:cNvSpPr/>
          <p:nvPr userDrawn="1"/>
        </p:nvSpPr>
        <p:spPr>
          <a:xfrm>
            <a:off x="4962000" y="1620341"/>
            <a:ext cx="2268000" cy="1118083"/>
          </a:xfrm>
          <a:prstGeom prst="round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DD04C8BB-E460-740D-F336-0D0A6A97DA66}"/>
              </a:ext>
            </a:extLst>
          </p:cNvPr>
          <p:cNvSpPr/>
          <p:nvPr userDrawn="1"/>
        </p:nvSpPr>
        <p:spPr>
          <a:xfrm>
            <a:off x="7327267" y="1620341"/>
            <a:ext cx="2268000" cy="1118083"/>
          </a:xfrm>
          <a:prstGeom prst="round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A2770FBC-8F15-7710-AC23-1C6A714DF69B}"/>
              </a:ext>
            </a:extLst>
          </p:cNvPr>
          <p:cNvSpPr/>
          <p:nvPr userDrawn="1"/>
        </p:nvSpPr>
        <p:spPr>
          <a:xfrm>
            <a:off x="9692534" y="1620341"/>
            <a:ext cx="2268000" cy="1118083"/>
          </a:xfrm>
          <a:prstGeom prst="round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A457F6E0-4C8E-D56F-0F8C-FA64580A1C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E684DBFB-D60A-6F85-AE4B-C97952F8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6" name="Espace réservé du texte 13">
            <a:extLst>
              <a:ext uri="{FF2B5EF4-FFF2-40B4-BE49-F238E27FC236}">
                <a16:creationId xmlns:a16="http://schemas.microsoft.com/office/drawing/2014/main" id="{83341078-85FD-3B17-2EB5-F06BD85CE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0863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2" name="Rounded Rectangle 14">
            <a:extLst>
              <a:ext uri="{FF2B5EF4-FFF2-40B4-BE49-F238E27FC236}">
                <a16:creationId xmlns:a16="http://schemas.microsoft.com/office/drawing/2014/main" id="{5F70EBC3-6CA2-38F2-2ADF-D6CDB02955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31466" y="2817813"/>
            <a:ext cx="2304000" cy="3275012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" name="Espace réservé du texte 34">
            <a:extLst>
              <a:ext uri="{FF2B5EF4-FFF2-40B4-BE49-F238E27FC236}">
                <a16:creationId xmlns:a16="http://schemas.microsoft.com/office/drawing/2014/main" id="{5F150C83-952D-556B-698C-379D9DC2EB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650" y="3144384"/>
            <a:ext cx="2024063" cy="19929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Rounded Rectangle 13">
            <a:extLst>
              <a:ext uri="{FF2B5EF4-FFF2-40B4-BE49-F238E27FC236}">
                <a16:creationId xmlns:a16="http://schemas.microsoft.com/office/drawing/2014/main" id="{E0351E70-D989-F244-8947-08E605DF36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588846" y="2817813"/>
            <a:ext cx="2304000" cy="3275012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8" name="Espace réservé du texte 34">
            <a:extLst>
              <a:ext uri="{FF2B5EF4-FFF2-40B4-BE49-F238E27FC236}">
                <a16:creationId xmlns:a16="http://schemas.microsoft.com/office/drawing/2014/main" id="{18F8F1A3-71B3-1EB9-C260-7580C56252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23724" y="3144384"/>
            <a:ext cx="2024063" cy="19929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9" name="Rounded Rectangle 12">
            <a:extLst>
              <a:ext uri="{FF2B5EF4-FFF2-40B4-BE49-F238E27FC236}">
                <a16:creationId xmlns:a16="http://schemas.microsoft.com/office/drawing/2014/main" id="{1DB856ED-1022-6228-8E4F-7BDC86291A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946226" y="2817813"/>
            <a:ext cx="2304000" cy="3275012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0" name="Espace réservé du texte 34">
            <a:extLst>
              <a:ext uri="{FF2B5EF4-FFF2-40B4-BE49-F238E27FC236}">
                <a16:creationId xmlns:a16="http://schemas.microsoft.com/office/drawing/2014/main" id="{BFB89BD1-8E7C-0829-0DF5-A319A42C02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1268" y="3144384"/>
            <a:ext cx="2024063" cy="19929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31" name="Rounded Rectangle 11">
            <a:extLst>
              <a:ext uri="{FF2B5EF4-FFF2-40B4-BE49-F238E27FC236}">
                <a16:creationId xmlns:a16="http://schemas.microsoft.com/office/drawing/2014/main" id="{CC0FE724-C36D-C122-83A1-074D3AE8D9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303606" y="2817813"/>
            <a:ext cx="2304000" cy="3275012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2" name="Espace réservé du texte 34">
            <a:extLst>
              <a:ext uri="{FF2B5EF4-FFF2-40B4-BE49-F238E27FC236}">
                <a16:creationId xmlns:a16="http://schemas.microsoft.com/office/drawing/2014/main" id="{BDB14DD4-0D7F-198C-83FE-5393612851E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30342" y="3144384"/>
            <a:ext cx="2024063" cy="19929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33" name="Rounded Rectangle 5">
            <a:extLst>
              <a:ext uri="{FF2B5EF4-FFF2-40B4-BE49-F238E27FC236}">
                <a16:creationId xmlns:a16="http://schemas.microsoft.com/office/drawing/2014/main" id="{EF50FA3E-064F-1FC9-D4CE-6A1144E4F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660987" y="2817813"/>
            <a:ext cx="2304000" cy="3275012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4" name="Espace réservé du texte 34">
            <a:extLst>
              <a:ext uri="{FF2B5EF4-FFF2-40B4-BE49-F238E27FC236}">
                <a16:creationId xmlns:a16="http://schemas.microsoft.com/office/drawing/2014/main" id="{B42F0CF1-8633-DEF3-E8CB-4B226B0287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95906" y="3144384"/>
            <a:ext cx="2024063" cy="199291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7083278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AB7B3976-6537-8F1D-A936-D69D80871C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399864FF-EC7E-E2A8-0526-89540E90DB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496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465D935C-43B0-A351-C2E2-1CF4004CEE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1496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685191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ooter Placeholder 6">
            <a:extLst>
              <a:ext uri="{FF2B5EF4-FFF2-40B4-BE49-F238E27FC236}">
                <a16:creationId xmlns:a16="http://schemas.microsoft.com/office/drawing/2014/main" id="{85B22273-6F72-3F7D-1AC3-FB60A8C940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22" name="Titre 1">
            <a:extLst>
              <a:ext uri="{FF2B5EF4-FFF2-40B4-BE49-F238E27FC236}">
                <a16:creationId xmlns:a16="http://schemas.microsoft.com/office/drawing/2014/main" id="{5514FCC0-5DF2-F9E9-8FEA-39EAB53FAC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496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23" name="Espace réservé du texte 13">
            <a:extLst>
              <a:ext uri="{FF2B5EF4-FFF2-40B4-BE49-F238E27FC236}">
                <a16:creationId xmlns:a16="http://schemas.microsoft.com/office/drawing/2014/main" id="{6B1C9783-E8CD-BB95-EC4F-426115C144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1496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2" name="Espace réservé du texte 14">
            <a:extLst>
              <a:ext uri="{FF2B5EF4-FFF2-40B4-BE49-F238E27FC236}">
                <a16:creationId xmlns:a16="http://schemas.microsoft.com/office/drawing/2014/main" id="{897F5263-6A8A-86E0-6D45-E6A7880990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61496" y="1637740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88AC863-7DF4-B63C-2B31-6D7A15894C2C}"/>
              </a:ext>
            </a:extLst>
          </p:cNvPr>
          <p:cNvCxnSpPr>
            <a:cxnSpLocks/>
          </p:cNvCxnSpPr>
          <p:nvPr userDrawn="1"/>
        </p:nvCxnSpPr>
        <p:spPr>
          <a:xfrm>
            <a:off x="631377" y="1996832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id="{F6F11DD8-2632-D791-A9A4-EC9A78F7ED8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61496" y="2124076"/>
            <a:ext cx="4748212" cy="1483022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4" name="Espace réservé du texte 14">
            <a:extLst>
              <a:ext uri="{FF2B5EF4-FFF2-40B4-BE49-F238E27FC236}">
                <a16:creationId xmlns:a16="http://schemas.microsoft.com/office/drawing/2014/main" id="{9CD04149-179E-9AB7-48AB-23369A706FE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06886" y="1639661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25" name="Straight Connector 2">
            <a:extLst>
              <a:ext uri="{FF2B5EF4-FFF2-40B4-BE49-F238E27FC236}">
                <a16:creationId xmlns:a16="http://schemas.microsoft.com/office/drawing/2014/main" id="{C4663763-09BD-090D-90F6-68F849E66044}"/>
              </a:ext>
            </a:extLst>
          </p:cNvPr>
          <p:cNvCxnSpPr>
            <a:cxnSpLocks/>
          </p:cNvCxnSpPr>
          <p:nvPr userDrawn="1"/>
        </p:nvCxnSpPr>
        <p:spPr>
          <a:xfrm>
            <a:off x="6187400" y="1998753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space réservé du texte 16">
            <a:extLst>
              <a:ext uri="{FF2B5EF4-FFF2-40B4-BE49-F238E27FC236}">
                <a16:creationId xmlns:a16="http://schemas.microsoft.com/office/drawing/2014/main" id="{08E18F64-8711-6918-4432-710C79F43DE2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106886" y="2125997"/>
            <a:ext cx="4748212" cy="1483022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FCC2B0EB-98E0-9F83-5FD6-C37FE960416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61496" y="3870160"/>
            <a:ext cx="2784513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0DC4251-4DBE-CAA5-6B9D-0151C7CF74A7}"/>
              </a:ext>
            </a:extLst>
          </p:cNvPr>
          <p:cNvCxnSpPr>
            <a:cxnSpLocks/>
          </p:cNvCxnSpPr>
          <p:nvPr userDrawn="1"/>
        </p:nvCxnSpPr>
        <p:spPr>
          <a:xfrm>
            <a:off x="631377" y="4229252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61076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ua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433197A-083E-F3D2-0FE7-2B2F21E11A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5400"/>
            <a:ext cx="12192000" cy="6858000"/>
          </a:xfrm>
          <a:prstGeom prst="rect">
            <a:avLst/>
          </a:prstGeom>
        </p:spPr>
      </p:pic>
      <p:pic>
        <p:nvPicPr>
          <p:cNvPr id="4" name="Grafik 3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EC305155-B225-DEF8-D671-AC542607B9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27605" y="182353"/>
            <a:ext cx="1751891" cy="5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858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0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4" descr="Ligne 1">
            <a:extLst>
              <a:ext uri="{FF2B5EF4-FFF2-40B4-BE49-F238E27FC236}">
                <a16:creationId xmlns:a16="http://schemas.microsoft.com/office/drawing/2014/main" id="{261DBDD7-FEBE-4B41-524B-85781E7EAED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192304" y="1935295"/>
            <a:ext cx="1226921" cy="1926797"/>
          </a:xfrm>
          <a:prstGeom prst="roundRect">
            <a:avLst>
              <a:gd name="adj" fmla="val 7353"/>
            </a:avLst>
          </a:prstGeom>
          <a:solidFill>
            <a:schemeClr val="bg1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cxnSp>
        <p:nvCxnSpPr>
          <p:cNvPr id="83" name="Connecteur droit 82">
            <a:extLst>
              <a:ext uri="{FF2B5EF4-FFF2-40B4-BE49-F238E27FC236}">
                <a16:creationId xmlns:a16="http://schemas.microsoft.com/office/drawing/2014/main" id="{E340CD83-286B-9BE3-C64F-41A402CB08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1688728" y="1775558"/>
            <a:ext cx="10078178" cy="0"/>
          </a:xfrm>
          <a:prstGeom prst="line">
            <a:avLst/>
          </a:prstGeom>
          <a:ln w="31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texte 34">
            <a:extLst>
              <a:ext uri="{FF2B5EF4-FFF2-40B4-BE49-F238E27FC236}">
                <a16:creationId xmlns:a16="http://schemas.microsoft.com/office/drawing/2014/main" id="{280A25A0-1142-F06F-DAB9-8BD954D218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2061" y="2248351"/>
            <a:ext cx="1088327" cy="12926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en-US"/>
              <a:t>Click to modify the mask title</a:t>
            </a:r>
            <a:endParaRPr lang="fr-FR"/>
          </a:p>
        </p:txBody>
      </p:sp>
      <p:sp>
        <p:nvSpPr>
          <p:cNvPr id="13" name="Rounded Rectangle 14" descr="Ligne 2">
            <a:extLst>
              <a:ext uri="{FF2B5EF4-FFF2-40B4-BE49-F238E27FC236}">
                <a16:creationId xmlns:a16="http://schemas.microsoft.com/office/drawing/2014/main" id="{B34AC6D0-2F1E-8FA2-FC79-370188EB413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192304" y="4178579"/>
            <a:ext cx="1226921" cy="1926797"/>
          </a:xfrm>
          <a:prstGeom prst="roundRect">
            <a:avLst>
              <a:gd name="adj" fmla="val 7353"/>
            </a:avLst>
          </a:prstGeom>
          <a:solidFill>
            <a:schemeClr val="bg1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5" name="Espace réservé du texte 34">
            <a:extLst>
              <a:ext uri="{FF2B5EF4-FFF2-40B4-BE49-F238E27FC236}">
                <a16:creationId xmlns:a16="http://schemas.microsoft.com/office/drawing/2014/main" id="{7DAE7E0A-7B65-BC3D-2A87-8DEA6DE91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2062" y="4309504"/>
            <a:ext cx="1088327" cy="12926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en-US"/>
              <a:t>Click to modify the mask title</a:t>
            </a:r>
            <a:endParaRPr lang="fr-FR"/>
          </a:p>
        </p:txBody>
      </p:sp>
      <p:sp>
        <p:nvSpPr>
          <p:cNvPr id="14" name="Rectangle : coins arrondis 13" descr="Colonne 1">
            <a:extLst>
              <a:ext uri="{FF2B5EF4-FFF2-40B4-BE49-F238E27FC236}">
                <a16:creationId xmlns:a16="http://schemas.microsoft.com/office/drawing/2014/main" id="{EB8918D7-EFDC-AF1E-D733-E6A396A2018D}"/>
              </a:ext>
            </a:extLst>
          </p:cNvPr>
          <p:cNvSpPr/>
          <p:nvPr userDrawn="1"/>
        </p:nvSpPr>
        <p:spPr>
          <a:xfrm>
            <a:off x="1625857" y="944563"/>
            <a:ext cx="2412000" cy="268608"/>
          </a:xfrm>
          <a:prstGeom prst="roundRect">
            <a:avLst/>
          </a:prstGeom>
          <a:gradFill flip="none" rotWithShape="1">
            <a:gsLst>
              <a:gs pos="0">
                <a:schemeClr val="accent6"/>
              </a:gs>
              <a:gs pos="15000">
                <a:schemeClr val="accent5"/>
              </a:gs>
              <a:gs pos="60000">
                <a:schemeClr val="accent3"/>
              </a:gs>
              <a:gs pos="100000">
                <a:schemeClr val="accent4"/>
              </a:gs>
            </a:gsLst>
            <a:lin ang="18900000" scaled="1"/>
            <a:tileRect/>
          </a:gra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21" name="Espace réservé du texte 34">
            <a:extLst>
              <a:ext uri="{FF2B5EF4-FFF2-40B4-BE49-F238E27FC236}">
                <a16:creationId xmlns:a16="http://schemas.microsoft.com/office/drawing/2014/main" id="{D85082A7-BFD3-AC8F-E8F2-95F1818FEC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19770" y="1366413"/>
            <a:ext cx="2023975" cy="2861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>
                <a:latin typeface="+mn-lt"/>
              </a:defRPr>
            </a:lvl3pPr>
            <a:lvl4pPr>
              <a:defRPr sz="1100"/>
            </a:lvl4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sz="1600" b="0">
                <a:solidFill>
                  <a:schemeClr val="accent6"/>
                </a:solidFill>
                <a:effectLst/>
                <a:latin typeface="+mj-lt"/>
              </a:rPr>
              <a:t>MODIFY TITLE</a:t>
            </a:r>
          </a:p>
        </p:txBody>
      </p:sp>
      <p:grpSp>
        <p:nvGrpSpPr>
          <p:cNvPr id="68" name="Groupe 67">
            <a:extLst>
              <a:ext uri="{FF2B5EF4-FFF2-40B4-BE49-F238E27FC236}">
                <a16:creationId xmlns:a16="http://schemas.microsoft.com/office/drawing/2014/main" id="{D7D0B61B-6A5E-1884-3D3E-0362B04B59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5400000">
            <a:off x="2626493" y="3549979"/>
            <a:ext cx="410620" cy="762954"/>
            <a:chOff x="8867774" y="5431971"/>
            <a:chExt cx="210912" cy="391886"/>
          </a:xfrm>
        </p:grpSpPr>
        <p:cxnSp>
          <p:nvCxnSpPr>
            <p:cNvPr id="69" name="Connecteur droit 68">
              <a:extLst>
                <a:ext uri="{FF2B5EF4-FFF2-40B4-BE49-F238E27FC236}">
                  <a16:creationId xmlns:a16="http://schemas.microsoft.com/office/drawing/2014/main" id="{72EF4D6D-B869-3D36-C08D-784E96AC0BEA}"/>
                </a:ext>
              </a:extLst>
            </p:cNvPr>
            <p:cNvCxnSpPr/>
            <p:nvPr/>
          </p:nvCxnSpPr>
          <p:spPr>
            <a:xfrm flipH="1" flipV="1">
              <a:off x="8867775" y="5431971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necteur droit 69">
              <a:extLst>
                <a:ext uri="{FF2B5EF4-FFF2-40B4-BE49-F238E27FC236}">
                  <a16:creationId xmlns:a16="http://schemas.microsoft.com/office/drawing/2014/main" id="{255B9672-350A-7397-2359-AAF9C6E28C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67774" y="5627914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ounded Rectangle 13" descr="Colonne 1, Ligne 1">
            <a:extLst>
              <a:ext uri="{FF2B5EF4-FFF2-40B4-BE49-F238E27FC236}">
                <a16:creationId xmlns:a16="http://schemas.microsoft.com/office/drawing/2014/main" id="{BC358F3E-5B20-8A11-C9AD-25B92A1790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1625857" y="1927272"/>
            <a:ext cx="2412000" cy="193482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36" name="Espace réservé du texte 34">
            <a:extLst>
              <a:ext uri="{FF2B5EF4-FFF2-40B4-BE49-F238E27FC236}">
                <a16:creationId xmlns:a16="http://schemas.microsoft.com/office/drawing/2014/main" id="{05361AAF-45DB-A5EA-0F8C-5EA36723FA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19826" y="2062151"/>
            <a:ext cx="2024063" cy="1664421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100">
                <a:latin typeface="+mn-lt"/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Rounded Rectangle 13" descr="Colonne 1, Ligne 2">
            <a:extLst>
              <a:ext uri="{FF2B5EF4-FFF2-40B4-BE49-F238E27FC236}">
                <a16:creationId xmlns:a16="http://schemas.microsoft.com/office/drawing/2014/main" id="{02CF47CF-E3D2-F517-1615-601C07204B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1625857" y="4165209"/>
            <a:ext cx="2412000" cy="193482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42" name="Espace réservé du texte 34">
            <a:extLst>
              <a:ext uri="{FF2B5EF4-FFF2-40B4-BE49-F238E27FC236}">
                <a16:creationId xmlns:a16="http://schemas.microsoft.com/office/drawing/2014/main" id="{8F16FEE6-0D19-6071-9A1B-0B559E0AA87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19826" y="4325663"/>
            <a:ext cx="2024063" cy="159114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grpSp>
        <p:nvGrpSpPr>
          <p:cNvPr id="71" name="Groupe 70">
            <a:extLst>
              <a:ext uri="{FF2B5EF4-FFF2-40B4-BE49-F238E27FC236}">
                <a16:creationId xmlns:a16="http://schemas.microsoft.com/office/drawing/2014/main" id="{08FBB309-BC53-9595-99B4-9A7B48D574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5400000">
            <a:off x="2626495" y="3704918"/>
            <a:ext cx="410620" cy="762954"/>
            <a:chOff x="8867774" y="5431971"/>
            <a:chExt cx="210912" cy="391886"/>
          </a:xfrm>
        </p:grpSpPr>
        <p:cxnSp>
          <p:nvCxnSpPr>
            <p:cNvPr id="72" name="Connecteur droit 71">
              <a:extLst>
                <a:ext uri="{FF2B5EF4-FFF2-40B4-BE49-F238E27FC236}">
                  <a16:creationId xmlns:a16="http://schemas.microsoft.com/office/drawing/2014/main" id="{EC70E8E5-DC12-EFB1-7CC3-E2B0E26C7F84}"/>
                </a:ext>
              </a:extLst>
            </p:cNvPr>
            <p:cNvCxnSpPr/>
            <p:nvPr/>
          </p:nvCxnSpPr>
          <p:spPr>
            <a:xfrm flipH="1" flipV="1">
              <a:off x="8867775" y="5431971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necteur droit 72">
              <a:extLst>
                <a:ext uri="{FF2B5EF4-FFF2-40B4-BE49-F238E27FC236}">
                  <a16:creationId xmlns:a16="http://schemas.microsoft.com/office/drawing/2014/main" id="{27BA19C8-3482-AF0F-6B4C-BE81B37F16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67774" y="5627914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tangle : coins arrondis 15" descr="Colonne 2">
            <a:extLst>
              <a:ext uri="{FF2B5EF4-FFF2-40B4-BE49-F238E27FC236}">
                <a16:creationId xmlns:a16="http://schemas.microsoft.com/office/drawing/2014/main" id="{AD833023-DEAD-12E0-7B33-4C82BFFCAC75}"/>
              </a:ext>
            </a:extLst>
          </p:cNvPr>
          <p:cNvSpPr/>
          <p:nvPr userDrawn="1"/>
        </p:nvSpPr>
        <p:spPr>
          <a:xfrm>
            <a:off x="4195323" y="940412"/>
            <a:ext cx="2412000" cy="268608"/>
          </a:xfrm>
          <a:prstGeom prst="roundRect">
            <a:avLst/>
          </a:prstGeom>
          <a:gradFill flip="none" rotWithShape="1">
            <a:gsLst>
              <a:gs pos="0">
                <a:schemeClr val="accent6"/>
              </a:gs>
              <a:gs pos="15000">
                <a:schemeClr val="accent5"/>
              </a:gs>
              <a:gs pos="60000">
                <a:schemeClr val="accent3"/>
              </a:gs>
              <a:gs pos="100000">
                <a:schemeClr val="accent4"/>
              </a:gs>
            </a:gsLst>
            <a:lin ang="18900000" scaled="1"/>
            <a:tileRect/>
          </a:gra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22" name="Espace réservé du texte 34">
            <a:extLst>
              <a:ext uri="{FF2B5EF4-FFF2-40B4-BE49-F238E27FC236}">
                <a16:creationId xmlns:a16="http://schemas.microsoft.com/office/drawing/2014/main" id="{47E50CA5-BDE9-986A-F70C-DECDD1185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38366" y="1377701"/>
            <a:ext cx="2024063" cy="2861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>
                <a:latin typeface="+mn-lt"/>
              </a:defRPr>
            </a:lvl3pPr>
            <a:lvl4pPr>
              <a:defRPr sz="1100"/>
            </a:lvl4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sz="1600" b="0">
                <a:solidFill>
                  <a:schemeClr val="accent6"/>
                </a:solidFill>
                <a:effectLst/>
                <a:latin typeface="+mj-lt"/>
              </a:rPr>
              <a:t>MODIFY TITLE</a:t>
            </a:r>
          </a:p>
        </p:txBody>
      </p:sp>
      <p:grpSp>
        <p:nvGrpSpPr>
          <p:cNvPr id="62" name="Groupe 61">
            <a:extLst>
              <a:ext uri="{FF2B5EF4-FFF2-40B4-BE49-F238E27FC236}">
                <a16:creationId xmlns:a16="http://schemas.microsoft.com/office/drawing/2014/main" id="{91C61B90-B566-07E6-D596-EB9D1BA526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5400000">
            <a:off x="5245128" y="3516824"/>
            <a:ext cx="410620" cy="762954"/>
            <a:chOff x="8867774" y="5431971"/>
            <a:chExt cx="210912" cy="391886"/>
          </a:xfrm>
        </p:grpSpPr>
        <p:cxnSp>
          <p:nvCxnSpPr>
            <p:cNvPr id="63" name="Connecteur droit 62">
              <a:extLst>
                <a:ext uri="{FF2B5EF4-FFF2-40B4-BE49-F238E27FC236}">
                  <a16:creationId xmlns:a16="http://schemas.microsoft.com/office/drawing/2014/main" id="{13969C5E-3595-1117-4114-1C0281142C6D}"/>
                </a:ext>
              </a:extLst>
            </p:cNvPr>
            <p:cNvCxnSpPr/>
            <p:nvPr/>
          </p:nvCxnSpPr>
          <p:spPr>
            <a:xfrm flipH="1" flipV="1">
              <a:off x="8867775" y="5431971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necteur droit 63">
              <a:extLst>
                <a:ext uri="{FF2B5EF4-FFF2-40B4-BE49-F238E27FC236}">
                  <a16:creationId xmlns:a16="http://schemas.microsoft.com/office/drawing/2014/main" id="{3A0E25E4-821C-F4B7-805B-5FF7970E069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67774" y="5627914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ounded Rectangle 12" descr="Colonne 2, Ligne 1">
            <a:extLst>
              <a:ext uri="{FF2B5EF4-FFF2-40B4-BE49-F238E27FC236}">
                <a16:creationId xmlns:a16="http://schemas.microsoft.com/office/drawing/2014/main" id="{57A2EB18-A2E7-52A5-2AFC-EC1BE954601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4244465" y="1927272"/>
            <a:ext cx="2412000" cy="193482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43" name="Espace réservé du texte 34">
            <a:extLst>
              <a:ext uri="{FF2B5EF4-FFF2-40B4-BE49-F238E27FC236}">
                <a16:creationId xmlns:a16="http://schemas.microsoft.com/office/drawing/2014/main" id="{B99AA374-FBBB-DD9F-C14B-0C9CBEAF7C1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38422" y="2062152"/>
            <a:ext cx="2024063" cy="166442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Rounded Rectangle 12" descr="Colonne 2, Ligne 2">
            <a:extLst>
              <a:ext uri="{FF2B5EF4-FFF2-40B4-BE49-F238E27FC236}">
                <a16:creationId xmlns:a16="http://schemas.microsoft.com/office/drawing/2014/main" id="{E7E6B8EC-B688-48FE-E19F-6896AA80B44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4244465" y="4165209"/>
            <a:ext cx="2412000" cy="193482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44" name="Espace réservé du texte 34">
            <a:extLst>
              <a:ext uri="{FF2B5EF4-FFF2-40B4-BE49-F238E27FC236}">
                <a16:creationId xmlns:a16="http://schemas.microsoft.com/office/drawing/2014/main" id="{D9165439-0595-5B12-6948-971BA5C32ED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38422" y="4325663"/>
            <a:ext cx="2024063" cy="159114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grpSp>
        <p:nvGrpSpPr>
          <p:cNvPr id="65" name="Groupe 64">
            <a:extLst>
              <a:ext uri="{FF2B5EF4-FFF2-40B4-BE49-F238E27FC236}">
                <a16:creationId xmlns:a16="http://schemas.microsoft.com/office/drawing/2014/main" id="{F9F37246-39AB-0E51-C006-98724BAD7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5400000">
            <a:off x="5245130" y="3671763"/>
            <a:ext cx="410620" cy="762954"/>
            <a:chOff x="8867774" y="5431971"/>
            <a:chExt cx="210912" cy="391886"/>
          </a:xfrm>
        </p:grpSpPr>
        <p:cxnSp>
          <p:nvCxnSpPr>
            <p:cNvPr id="66" name="Connecteur droit 65">
              <a:extLst>
                <a:ext uri="{FF2B5EF4-FFF2-40B4-BE49-F238E27FC236}">
                  <a16:creationId xmlns:a16="http://schemas.microsoft.com/office/drawing/2014/main" id="{9ED9FA89-D00D-D113-627B-182D0A042B32}"/>
                </a:ext>
              </a:extLst>
            </p:cNvPr>
            <p:cNvCxnSpPr/>
            <p:nvPr/>
          </p:nvCxnSpPr>
          <p:spPr>
            <a:xfrm flipH="1" flipV="1">
              <a:off x="8867775" y="5431971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necteur droit 66">
              <a:extLst>
                <a:ext uri="{FF2B5EF4-FFF2-40B4-BE49-F238E27FC236}">
                  <a16:creationId xmlns:a16="http://schemas.microsoft.com/office/drawing/2014/main" id="{A3601ACC-2BB2-F523-2AFC-A72F79A9239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67774" y="5627914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 : coins arrondis 17" descr="Colonne 3">
            <a:extLst>
              <a:ext uri="{FF2B5EF4-FFF2-40B4-BE49-F238E27FC236}">
                <a16:creationId xmlns:a16="http://schemas.microsoft.com/office/drawing/2014/main" id="{B57F32E8-358A-0D9A-9EFE-C2B31089B925}"/>
              </a:ext>
            </a:extLst>
          </p:cNvPr>
          <p:cNvSpPr/>
          <p:nvPr userDrawn="1"/>
        </p:nvSpPr>
        <p:spPr>
          <a:xfrm>
            <a:off x="6801646" y="941069"/>
            <a:ext cx="2412000" cy="268608"/>
          </a:xfrm>
          <a:prstGeom prst="roundRect">
            <a:avLst/>
          </a:prstGeom>
          <a:gradFill flip="none" rotWithShape="1">
            <a:gsLst>
              <a:gs pos="0">
                <a:schemeClr val="accent6"/>
              </a:gs>
              <a:gs pos="15000">
                <a:schemeClr val="accent5"/>
              </a:gs>
              <a:gs pos="60000">
                <a:schemeClr val="accent3"/>
              </a:gs>
              <a:gs pos="100000">
                <a:schemeClr val="accent4"/>
              </a:gs>
            </a:gsLst>
            <a:lin ang="18900000" scaled="1"/>
            <a:tileRect/>
          </a:gra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grpSp>
        <p:nvGrpSpPr>
          <p:cNvPr id="52" name="Groupe 51">
            <a:extLst>
              <a:ext uri="{FF2B5EF4-FFF2-40B4-BE49-F238E27FC236}">
                <a16:creationId xmlns:a16="http://schemas.microsoft.com/office/drawing/2014/main" id="{C6723EBA-A7CB-31C0-BB4E-95DEB3968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5400000">
            <a:off x="7863763" y="3519367"/>
            <a:ext cx="410620" cy="762954"/>
            <a:chOff x="8867774" y="5431971"/>
            <a:chExt cx="210912" cy="391886"/>
          </a:xfrm>
        </p:grpSpPr>
        <p:cxnSp>
          <p:nvCxnSpPr>
            <p:cNvPr id="53" name="Connecteur droit 52">
              <a:extLst>
                <a:ext uri="{FF2B5EF4-FFF2-40B4-BE49-F238E27FC236}">
                  <a16:creationId xmlns:a16="http://schemas.microsoft.com/office/drawing/2014/main" id="{32D328C6-EBA7-63C3-75C1-E5670179D595}"/>
                </a:ext>
              </a:extLst>
            </p:cNvPr>
            <p:cNvCxnSpPr/>
            <p:nvPr/>
          </p:nvCxnSpPr>
          <p:spPr>
            <a:xfrm flipH="1" flipV="1">
              <a:off x="8867775" y="5431971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eur droit 53">
              <a:extLst>
                <a:ext uri="{FF2B5EF4-FFF2-40B4-BE49-F238E27FC236}">
                  <a16:creationId xmlns:a16="http://schemas.microsoft.com/office/drawing/2014/main" id="{AF4B34E1-0ED4-BA06-356E-5605C4E80A1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67774" y="5627914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Espace réservé du texte 34">
            <a:extLst>
              <a:ext uri="{FF2B5EF4-FFF2-40B4-BE49-F238E27FC236}">
                <a16:creationId xmlns:a16="http://schemas.microsoft.com/office/drawing/2014/main" id="{9E1DFD37-9842-7775-F5C0-AF2614ECB4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057050" y="1378693"/>
            <a:ext cx="2024063" cy="285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>
                <a:latin typeface="+mn-lt"/>
              </a:defRPr>
            </a:lvl3pPr>
            <a:lvl4pPr>
              <a:defRPr sz="1100"/>
            </a:lvl4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sz="1600" b="0">
                <a:solidFill>
                  <a:schemeClr val="accent6"/>
                </a:solidFill>
                <a:effectLst/>
                <a:latin typeface="+mj-lt"/>
              </a:rPr>
              <a:t>MODIFY TITLE</a:t>
            </a:r>
          </a:p>
        </p:txBody>
      </p:sp>
      <p:sp>
        <p:nvSpPr>
          <p:cNvPr id="10" name="Rounded Rectangle 11" descr="Colonne 3, Ligne 1">
            <a:extLst>
              <a:ext uri="{FF2B5EF4-FFF2-40B4-BE49-F238E27FC236}">
                <a16:creationId xmlns:a16="http://schemas.microsoft.com/office/drawing/2014/main" id="{90ADBBF7-C63B-D82D-3424-7A9D69BEEF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6863073" y="1927272"/>
            <a:ext cx="2412000" cy="193482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45" name="Espace réservé du texte 34">
            <a:extLst>
              <a:ext uri="{FF2B5EF4-FFF2-40B4-BE49-F238E27FC236}">
                <a16:creationId xmlns:a16="http://schemas.microsoft.com/office/drawing/2014/main" id="{C30C88D7-D993-B4F2-70F7-A49D0BF11A6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57050" y="2084878"/>
            <a:ext cx="2024063" cy="164169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Rounded Rectangle 11" descr="Colonne 3, Ligne 2">
            <a:extLst>
              <a:ext uri="{FF2B5EF4-FFF2-40B4-BE49-F238E27FC236}">
                <a16:creationId xmlns:a16="http://schemas.microsoft.com/office/drawing/2014/main" id="{3E1A82BF-250A-5237-AE81-804E0045E02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6863073" y="4165209"/>
            <a:ext cx="2412000" cy="193482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46" name="Espace réservé du texte 34">
            <a:extLst>
              <a:ext uri="{FF2B5EF4-FFF2-40B4-BE49-F238E27FC236}">
                <a16:creationId xmlns:a16="http://schemas.microsoft.com/office/drawing/2014/main" id="{CF7AF1EC-68C2-5111-78BF-5740B601E7A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57050" y="4348389"/>
            <a:ext cx="2024063" cy="156854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grpSp>
        <p:nvGrpSpPr>
          <p:cNvPr id="49" name="Groupe 48">
            <a:extLst>
              <a:ext uri="{FF2B5EF4-FFF2-40B4-BE49-F238E27FC236}">
                <a16:creationId xmlns:a16="http://schemas.microsoft.com/office/drawing/2014/main" id="{F80EB52A-9761-37C4-DF49-325C04145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5400000">
            <a:off x="7863765" y="3674306"/>
            <a:ext cx="410620" cy="762954"/>
            <a:chOff x="8867774" y="5431971"/>
            <a:chExt cx="210912" cy="391886"/>
          </a:xfrm>
        </p:grpSpPr>
        <p:cxnSp>
          <p:nvCxnSpPr>
            <p:cNvPr id="50" name="Connecteur droit 49">
              <a:extLst>
                <a:ext uri="{FF2B5EF4-FFF2-40B4-BE49-F238E27FC236}">
                  <a16:creationId xmlns:a16="http://schemas.microsoft.com/office/drawing/2014/main" id="{0DA33627-E363-E7E2-505D-FDCC4380BA0B}"/>
                </a:ext>
              </a:extLst>
            </p:cNvPr>
            <p:cNvCxnSpPr/>
            <p:nvPr/>
          </p:nvCxnSpPr>
          <p:spPr>
            <a:xfrm flipH="1" flipV="1">
              <a:off x="8867775" y="5431971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eur droit 50">
              <a:extLst>
                <a:ext uri="{FF2B5EF4-FFF2-40B4-BE49-F238E27FC236}">
                  <a16:creationId xmlns:a16="http://schemas.microsoft.com/office/drawing/2014/main" id="{4D97C198-EAE5-5CF2-8A09-6657B196EA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67774" y="5627914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Rectangle : coins arrondis 39" descr="Colonne 4">
            <a:extLst>
              <a:ext uri="{FF2B5EF4-FFF2-40B4-BE49-F238E27FC236}">
                <a16:creationId xmlns:a16="http://schemas.microsoft.com/office/drawing/2014/main" id="{3A814ECD-7CCE-0791-CE3F-DFEB4AD7897C}"/>
              </a:ext>
            </a:extLst>
          </p:cNvPr>
          <p:cNvSpPr/>
          <p:nvPr userDrawn="1"/>
        </p:nvSpPr>
        <p:spPr>
          <a:xfrm>
            <a:off x="9407969" y="936918"/>
            <a:ext cx="2412000" cy="268608"/>
          </a:xfrm>
          <a:prstGeom prst="roundRect">
            <a:avLst/>
          </a:prstGeom>
          <a:gradFill flip="none" rotWithShape="1">
            <a:gsLst>
              <a:gs pos="0">
                <a:schemeClr val="accent6"/>
              </a:gs>
              <a:gs pos="15000">
                <a:schemeClr val="accent5"/>
              </a:gs>
              <a:gs pos="60000">
                <a:schemeClr val="accent3"/>
              </a:gs>
              <a:gs pos="100000">
                <a:schemeClr val="accent4"/>
              </a:gs>
            </a:gsLst>
            <a:lin ang="18900000" scaled="1"/>
            <a:tileRect/>
          </a:gra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25" name="Espace réservé du texte 34">
            <a:extLst>
              <a:ext uri="{FF2B5EF4-FFF2-40B4-BE49-F238E27FC236}">
                <a16:creationId xmlns:a16="http://schemas.microsoft.com/office/drawing/2014/main" id="{A7EC8EC8-AA0A-C2E5-2748-1B519C06C0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675646" y="1376121"/>
            <a:ext cx="2024063" cy="3082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>
                <a:latin typeface="+mn-lt"/>
              </a:defRPr>
            </a:lvl3pPr>
            <a:lvl4pPr>
              <a:defRPr sz="1100"/>
            </a:lvl4pPr>
          </a:lstStyle>
          <a:p>
            <a:pPr marL="0" lvl="2" indent="0" algn="ctr" rtl="0">
              <a:buClr>
                <a:schemeClr val="accent3"/>
              </a:buClr>
              <a:buNone/>
            </a:pPr>
            <a:r>
              <a:rPr lang="en-GB" sz="1600" b="0">
                <a:solidFill>
                  <a:schemeClr val="accent6"/>
                </a:solidFill>
                <a:effectLst/>
                <a:latin typeface="+mj-lt"/>
              </a:rPr>
              <a:t>MODIFY TITLE</a:t>
            </a:r>
          </a:p>
        </p:txBody>
      </p:sp>
      <p:grpSp>
        <p:nvGrpSpPr>
          <p:cNvPr id="56" name="Groupe 55">
            <a:extLst>
              <a:ext uri="{FF2B5EF4-FFF2-40B4-BE49-F238E27FC236}">
                <a16:creationId xmlns:a16="http://schemas.microsoft.com/office/drawing/2014/main" id="{30FCBFA4-1FF7-3D27-8A61-7E37ABFBBD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5400000">
            <a:off x="10482371" y="3518212"/>
            <a:ext cx="410620" cy="762954"/>
            <a:chOff x="8867774" y="5431971"/>
            <a:chExt cx="210912" cy="391886"/>
          </a:xfrm>
        </p:grpSpPr>
        <p:cxnSp>
          <p:nvCxnSpPr>
            <p:cNvPr id="57" name="Connecteur droit 56">
              <a:extLst>
                <a:ext uri="{FF2B5EF4-FFF2-40B4-BE49-F238E27FC236}">
                  <a16:creationId xmlns:a16="http://schemas.microsoft.com/office/drawing/2014/main" id="{BC4F3332-9F86-7FD9-BDC8-0036BB2A894C}"/>
                </a:ext>
              </a:extLst>
            </p:cNvPr>
            <p:cNvCxnSpPr/>
            <p:nvPr/>
          </p:nvCxnSpPr>
          <p:spPr>
            <a:xfrm flipH="1" flipV="1">
              <a:off x="8867775" y="5431971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eur droit 57">
              <a:extLst>
                <a:ext uri="{FF2B5EF4-FFF2-40B4-BE49-F238E27FC236}">
                  <a16:creationId xmlns:a16="http://schemas.microsoft.com/office/drawing/2014/main" id="{91CB528A-417A-C5DA-63A4-44DE2FA8F4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67774" y="5627914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ounded Rectangle 5" descr="Colonne 4, Ligne 1">
            <a:extLst>
              <a:ext uri="{FF2B5EF4-FFF2-40B4-BE49-F238E27FC236}">
                <a16:creationId xmlns:a16="http://schemas.microsoft.com/office/drawing/2014/main" id="{BB7F2243-40D7-F355-D483-E091CBE9CD6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9481683" y="1927272"/>
            <a:ext cx="2412000" cy="193482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47" name="Espace réservé du texte 34">
            <a:extLst>
              <a:ext uri="{FF2B5EF4-FFF2-40B4-BE49-F238E27FC236}">
                <a16:creationId xmlns:a16="http://schemas.microsoft.com/office/drawing/2014/main" id="{42108DEC-36F4-A365-6473-A3740BBE264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675646" y="2084878"/>
            <a:ext cx="2024063" cy="160992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Rounded Rectangle 5" descr="Colonne 4, Ligne 2">
            <a:extLst>
              <a:ext uri="{FF2B5EF4-FFF2-40B4-BE49-F238E27FC236}">
                <a16:creationId xmlns:a16="http://schemas.microsoft.com/office/drawing/2014/main" id="{A0743C4D-421F-4774-EA7F-F1DB620C8F9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9481683" y="4165209"/>
            <a:ext cx="2412000" cy="193482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48" name="Espace réservé du texte 34">
            <a:extLst>
              <a:ext uri="{FF2B5EF4-FFF2-40B4-BE49-F238E27FC236}">
                <a16:creationId xmlns:a16="http://schemas.microsoft.com/office/drawing/2014/main" id="{D89694BF-E3FE-CF57-38A0-8FBD065796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675646" y="4348389"/>
            <a:ext cx="2024063" cy="156854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grpSp>
        <p:nvGrpSpPr>
          <p:cNvPr id="59" name="Groupe 58">
            <a:extLst>
              <a:ext uri="{FF2B5EF4-FFF2-40B4-BE49-F238E27FC236}">
                <a16:creationId xmlns:a16="http://schemas.microsoft.com/office/drawing/2014/main" id="{22225F00-FCC1-84AF-0730-0A61F68C91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5400000">
            <a:off x="10482373" y="3673151"/>
            <a:ext cx="410620" cy="762954"/>
            <a:chOff x="8867774" y="5431971"/>
            <a:chExt cx="210912" cy="391886"/>
          </a:xfrm>
        </p:grpSpPr>
        <p:cxnSp>
          <p:nvCxnSpPr>
            <p:cNvPr id="60" name="Connecteur droit 59">
              <a:extLst>
                <a:ext uri="{FF2B5EF4-FFF2-40B4-BE49-F238E27FC236}">
                  <a16:creationId xmlns:a16="http://schemas.microsoft.com/office/drawing/2014/main" id="{F4B54100-9412-1327-FCAC-73D1D56B85B1}"/>
                </a:ext>
              </a:extLst>
            </p:cNvPr>
            <p:cNvCxnSpPr/>
            <p:nvPr/>
          </p:nvCxnSpPr>
          <p:spPr>
            <a:xfrm flipH="1" flipV="1">
              <a:off x="8867775" y="5431971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cteur droit 60">
              <a:extLst>
                <a:ext uri="{FF2B5EF4-FFF2-40B4-BE49-F238E27FC236}">
                  <a16:creationId xmlns:a16="http://schemas.microsoft.com/office/drawing/2014/main" id="{335A697C-DD41-05B1-E7F0-E845EB885A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67774" y="5627914"/>
              <a:ext cx="210911" cy="195943"/>
            </a:xfrm>
            <a:prstGeom prst="line">
              <a:avLst/>
            </a:prstGeom>
            <a:ln w="22225">
              <a:gradFill>
                <a:gsLst>
                  <a:gs pos="0">
                    <a:schemeClr val="accent6"/>
                  </a:gs>
                  <a:gs pos="15000">
                    <a:schemeClr val="accent5"/>
                  </a:gs>
                  <a:gs pos="60000">
                    <a:schemeClr val="accent3"/>
                  </a:gs>
                  <a:gs pos="99000">
                    <a:schemeClr val="accent4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5" name="Connecteur droit 74">
            <a:extLst>
              <a:ext uri="{FF2B5EF4-FFF2-40B4-BE49-F238E27FC236}">
                <a16:creationId xmlns:a16="http://schemas.microsoft.com/office/drawing/2014/main" id="{268E7DF1-C7D9-7514-6E14-7704A96E43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141161" y="1935295"/>
            <a:ext cx="0" cy="192679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eur droit 76">
            <a:extLst>
              <a:ext uri="{FF2B5EF4-FFF2-40B4-BE49-F238E27FC236}">
                <a16:creationId xmlns:a16="http://schemas.microsoft.com/office/drawing/2014/main" id="{ADA41F8C-48FA-4E0F-EFEC-99FC403FA8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141161" y="4173232"/>
            <a:ext cx="0" cy="192679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eur droit 77">
            <a:extLst>
              <a:ext uri="{FF2B5EF4-FFF2-40B4-BE49-F238E27FC236}">
                <a16:creationId xmlns:a16="http://schemas.microsoft.com/office/drawing/2014/main" id="{E3BCBB8B-E01E-581A-8D43-CDD83C67D9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759769" y="1954288"/>
            <a:ext cx="0" cy="192679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eur droit 78">
            <a:extLst>
              <a:ext uri="{FF2B5EF4-FFF2-40B4-BE49-F238E27FC236}">
                <a16:creationId xmlns:a16="http://schemas.microsoft.com/office/drawing/2014/main" id="{F202F2FA-E176-3E99-5266-B26C389EA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759769" y="4192225"/>
            <a:ext cx="0" cy="192679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eur droit 79">
            <a:extLst>
              <a:ext uri="{FF2B5EF4-FFF2-40B4-BE49-F238E27FC236}">
                <a16:creationId xmlns:a16="http://schemas.microsoft.com/office/drawing/2014/main" id="{4572148E-344C-8519-A2C6-6974C0C7EC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9378377" y="1968513"/>
            <a:ext cx="0" cy="192679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eur droit 80">
            <a:extLst>
              <a:ext uri="{FF2B5EF4-FFF2-40B4-BE49-F238E27FC236}">
                <a16:creationId xmlns:a16="http://schemas.microsoft.com/office/drawing/2014/main" id="{4FF1B48D-1396-EC9D-CB44-8B9828AEBF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9378377" y="4206450"/>
            <a:ext cx="0" cy="192679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92FC7001-16A3-49F4-D39A-5F8685B77D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id="{DCECFD8B-4479-E34C-9BA3-EEA9322847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881622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8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6" name="Espace réservé pour une image  10">
            <a:extLst>
              <a:ext uri="{FF2B5EF4-FFF2-40B4-BE49-F238E27FC236}">
                <a16:creationId xmlns:a16="http://schemas.microsoft.com/office/drawing/2014/main" id="{B2CE3FFB-EDD1-0365-D57B-F5DB0CDCA3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>
            <a:off x="6190611" y="241033"/>
            <a:ext cx="5745079" cy="5748263"/>
          </a:xfrm>
          <a:custGeom>
            <a:avLst/>
            <a:gdLst>
              <a:gd name="connsiteX0" fmla="*/ 1292225 w 2584450"/>
              <a:gd name="connsiteY0" fmla="*/ 0 h 2584450"/>
              <a:gd name="connsiteX1" fmla="*/ 2584450 w 2584450"/>
              <a:gd name="connsiteY1" fmla="*/ 1292225 h 2584450"/>
              <a:gd name="connsiteX2" fmla="*/ 1292225 w 2584450"/>
              <a:gd name="connsiteY2" fmla="*/ 2584450 h 2584450"/>
              <a:gd name="connsiteX3" fmla="*/ 0 w 2584450"/>
              <a:gd name="connsiteY3" fmla="*/ 1292225 h 2584450"/>
              <a:gd name="connsiteX4" fmla="*/ 1292225 w 2584450"/>
              <a:gd name="connsiteY4" fmla="*/ 0 h 258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4450" h="2584450">
                <a:moveTo>
                  <a:pt x="1292225" y="0"/>
                </a:moveTo>
                <a:cubicBezTo>
                  <a:pt x="2005901" y="0"/>
                  <a:pt x="2584450" y="578549"/>
                  <a:pt x="2584450" y="1292225"/>
                </a:cubicBezTo>
                <a:cubicBezTo>
                  <a:pt x="2584450" y="2005901"/>
                  <a:pt x="2005901" y="2584450"/>
                  <a:pt x="1292225" y="2584450"/>
                </a:cubicBezTo>
                <a:cubicBezTo>
                  <a:pt x="578549" y="2584450"/>
                  <a:pt x="0" y="2005901"/>
                  <a:pt x="0" y="1292225"/>
                </a:cubicBezTo>
                <a:cubicBezTo>
                  <a:pt x="0" y="578549"/>
                  <a:pt x="578549" y="0"/>
                  <a:pt x="1292225" y="0"/>
                </a:cubicBezTo>
                <a:close/>
              </a:path>
            </a:pathLst>
          </a:custGeom>
          <a:solidFill>
            <a:srgbClr val="EEEEED"/>
          </a:solidFill>
          <a:ln w="12700">
            <a:gradFill>
              <a:gsLst>
                <a:gs pos="0">
                  <a:schemeClr val="accent6"/>
                </a:gs>
                <a:gs pos="15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</a:ln>
        </p:spPr>
      </p:pic>
      <p:sp>
        <p:nvSpPr>
          <p:cNvPr id="241" name="Rectangle 240">
            <a:extLst>
              <a:ext uri="{FF2B5EF4-FFF2-40B4-BE49-F238E27FC236}">
                <a16:creationId xmlns:a16="http://schemas.microsoft.com/office/drawing/2014/main" id="{84208A10-C7A3-998F-F8D3-56EC847945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6039925" y="701059"/>
            <a:ext cx="112151" cy="12201734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sp>
        <p:nvSpPr>
          <p:cNvPr id="5" name="Espace réservé du texte 59">
            <a:extLst>
              <a:ext uri="{FF2B5EF4-FFF2-40B4-BE49-F238E27FC236}">
                <a16:creationId xmlns:a16="http://schemas.microsoft.com/office/drawing/2014/main" id="{21FFDE27-9F4F-BA0C-075D-E18C1B0E7B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1621" y="1399941"/>
            <a:ext cx="4794548" cy="492443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Click to modify the mask text styles:</a:t>
            </a:r>
          </a:p>
        </p:txBody>
      </p:sp>
      <p:sp>
        <p:nvSpPr>
          <p:cNvPr id="6" name="Espace réservé du texte 59">
            <a:extLst>
              <a:ext uri="{FF2B5EF4-FFF2-40B4-BE49-F238E27FC236}">
                <a16:creationId xmlns:a16="http://schemas.microsoft.com/office/drawing/2014/main" id="{3485E3B1-F725-6CE7-3D00-036AD9DECD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8087" y="2020401"/>
            <a:ext cx="4357906" cy="801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err="1"/>
              <a:t>Longos</a:t>
            </a:r>
            <a:r>
              <a:rPr lang="fr-FR"/>
              <a:t> de est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Antiochum</a:t>
            </a:r>
            <a:r>
              <a:rPr lang="fr-FR"/>
              <a:t> </a:t>
            </a:r>
            <a:r>
              <a:rPr lang="fr-FR" err="1"/>
              <a:t>gloriae</a:t>
            </a:r>
            <a:r>
              <a:rPr lang="fr-FR"/>
              <a:t> </a:t>
            </a:r>
            <a:r>
              <a:rPr lang="fr-FR" err="1"/>
              <a:t>ambigere</a:t>
            </a:r>
            <a:r>
              <a:rPr lang="fr-FR"/>
              <a:t> quasi </a:t>
            </a:r>
            <a:r>
              <a:rPr lang="fr-FR" err="1"/>
              <a:t>figmentis</a:t>
            </a:r>
            <a:r>
              <a:rPr lang="fr-FR"/>
              <a:t> </a:t>
            </a:r>
            <a:r>
              <a:rPr lang="fr-FR" err="1"/>
              <a:t>multos</a:t>
            </a:r>
            <a:r>
              <a:rPr lang="fr-FR"/>
              <a:t>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Censorius</a:t>
            </a:r>
            <a:r>
              <a:rPr lang="fr-FR"/>
              <a:t> </a:t>
            </a:r>
            <a:r>
              <a:rPr lang="fr-FR" err="1"/>
              <a:t>easque</a:t>
            </a:r>
            <a:r>
              <a:rPr lang="fr-FR"/>
              <a:t> </a:t>
            </a:r>
            <a:r>
              <a:rPr lang="fr-FR" err="1"/>
              <a:t>aeterniati</a:t>
            </a:r>
            <a:r>
              <a:rPr lang="fr-FR"/>
              <a:t> </a:t>
            </a:r>
            <a:r>
              <a:rPr lang="fr-FR" err="1"/>
              <a:t>malo</a:t>
            </a:r>
            <a:r>
              <a:rPr lang="fr-FR"/>
              <a:t>.</a:t>
            </a:r>
          </a:p>
        </p:txBody>
      </p:sp>
      <p:sp>
        <p:nvSpPr>
          <p:cNvPr id="7" name="Espace réservé du texte 59">
            <a:extLst>
              <a:ext uri="{FF2B5EF4-FFF2-40B4-BE49-F238E27FC236}">
                <a16:creationId xmlns:a16="http://schemas.microsoft.com/office/drawing/2014/main" id="{8A21E64E-3325-6E80-C721-D09EB1921D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1621" y="3028530"/>
            <a:ext cx="4794548" cy="492443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Click to modify the mask text styles:</a:t>
            </a:r>
          </a:p>
        </p:txBody>
      </p:sp>
      <p:sp>
        <p:nvSpPr>
          <p:cNvPr id="8" name="Espace réservé du texte 59">
            <a:extLst>
              <a:ext uri="{FF2B5EF4-FFF2-40B4-BE49-F238E27FC236}">
                <a16:creationId xmlns:a16="http://schemas.microsoft.com/office/drawing/2014/main" id="{364FC090-2B94-34B4-291B-A1A3A94D29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98087" y="3623050"/>
            <a:ext cx="4357898" cy="8279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err="1"/>
              <a:t>Longos</a:t>
            </a:r>
            <a:r>
              <a:rPr lang="fr-FR"/>
              <a:t> de est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Antiochum</a:t>
            </a:r>
            <a:r>
              <a:rPr lang="fr-FR"/>
              <a:t> </a:t>
            </a:r>
            <a:r>
              <a:rPr lang="fr-FR" err="1"/>
              <a:t>gloriae</a:t>
            </a:r>
            <a:r>
              <a:rPr lang="fr-FR"/>
              <a:t> </a:t>
            </a:r>
            <a:r>
              <a:rPr lang="fr-FR" err="1"/>
              <a:t>ambigere</a:t>
            </a:r>
            <a:r>
              <a:rPr lang="fr-FR"/>
              <a:t> quasi </a:t>
            </a:r>
            <a:r>
              <a:rPr lang="fr-FR" err="1"/>
              <a:t>figmentis</a:t>
            </a:r>
            <a:r>
              <a:rPr lang="fr-FR"/>
              <a:t> </a:t>
            </a:r>
            <a:r>
              <a:rPr lang="fr-FR" err="1"/>
              <a:t>multos</a:t>
            </a:r>
            <a:r>
              <a:rPr lang="fr-FR"/>
              <a:t>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Censorius</a:t>
            </a:r>
            <a:r>
              <a:rPr lang="fr-FR"/>
              <a:t> </a:t>
            </a:r>
            <a:r>
              <a:rPr lang="fr-FR" err="1"/>
              <a:t>easque</a:t>
            </a:r>
            <a:r>
              <a:rPr lang="fr-FR"/>
              <a:t> </a:t>
            </a:r>
            <a:r>
              <a:rPr lang="fr-FR" err="1"/>
              <a:t>aeterniati</a:t>
            </a:r>
            <a:r>
              <a:rPr lang="fr-FR"/>
              <a:t> </a:t>
            </a:r>
            <a:r>
              <a:rPr lang="fr-FR" err="1"/>
              <a:t>malo</a:t>
            </a:r>
            <a:r>
              <a:rPr lang="fr-FR"/>
              <a:t>.</a:t>
            </a:r>
          </a:p>
        </p:txBody>
      </p:sp>
      <p:sp>
        <p:nvSpPr>
          <p:cNvPr id="9" name="Espace réservé du texte 59">
            <a:extLst>
              <a:ext uri="{FF2B5EF4-FFF2-40B4-BE49-F238E27FC236}">
                <a16:creationId xmlns:a16="http://schemas.microsoft.com/office/drawing/2014/main" id="{CEC73564-0346-D725-DCB8-E1D7840CBF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621" y="4662037"/>
            <a:ext cx="4796343" cy="492443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Click to modify the mask text styles:</a:t>
            </a:r>
          </a:p>
        </p:txBody>
      </p:sp>
      <p:sp>
        <p:nvSpPr>
          <p:cNvPr id="10" name="Espace réservé du texte 59">
            <a:extLst>
              <a:ext uri="{FF2B5EF4-FFF2-40B4-BE49-F238E27FC236}">
                <a16:creationId xmlns:a16="http://schemas.microsoft.com/office/drawing/2014/main" id="{6EADC2E8-E242-8FF6-49BB-E90555DAF4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8087" y="5256557"/>
            <a:ext cx="4359701" cy="801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err="1"/>
              <a:t>Longos</a:t>
            </a:r>
            <a:r>
              <a:rPr lang="fr-FR"/>
              <a:t> de est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Antiochum</a:t>
            </a:r>
            <a:r>
              <a:rPr lang="fr-FR"/>
              <a:t> </a:t>
            </a:r>
            <a:r>
              <a:rPr lang="fr-FR" err="1"/>
              <a:t>gloriae</a:t>
            </a:r>
            <a:r>
              <a:rPr lang="fr-FR"/>
              <a:t> </a:t>
            </a:r>
            <a:r>
              <a:rPr lang="fr-FR" err="1"/>
              <a:t>ambigere</a:t>
            </a:r>
            <a:r>
              <a:rPr lang="fr-FR"/>
              <a:t> quasi </a:t>
            </a:r>
            <a:r>
              <a:rPr lang="fr-FR" err="1"/>
              <a:t>figmentis</a:t>
            </a:r>
            <a:r>
              <a:rPr lang="fr-FR"/>
              <a:t> </a:t>
            </a:r>
            <a:r>
              <a:rPr lang="fr-FR" err="1"/>
              <a:t>multos</a:t>
            </a:r>
            <a:r>
              <a:rPr lang="fr-FR"/>
              <a:t>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Censorius</a:t>
            </a:r>
            <a:r>
              <a:rPr lang="fr-FR"/>
              <a:t> </a:t>
            </a:r>
            <a:r>
              <a:rPr lang="fr-FR" err="1"/>
              <a:t>easque</a:t>
            </a:r>
            <a:r>
              <a:rPr lang="fr-FR"/>
              <a:t> </a:t>
            </a:r>
            <a:r>
              <a:rPr lang="fr-FR" err="1"/>
              <a:t>aeterniati</a:t>
            </a:r>
            <a:r>
              <a:rPr lang="fr-FR"/>
              <a:t> </a:t>
            </a:r>
            <a:r>
              <a:rPr lang="fr-FR" err="1"/>
              <a:t>malo</a:t>
            </a:r>
            <a:r>
              <a:rPr lang="fr-FR"/>
              <a:t>.</a:t>
            </a:r>
          </a:p>
        </p:txBody>
      </p:sp>
      <p:grpSp>
        <p:nvGrpSpPr>
          <p:cNvPr id="4" name="Groupe 3" descr="Carte du monde">
            <a:extLst>
              <a:ext uri="{FF2B5EF4-FFF2-40B4-BE49-F238E27FC236}">
                <a16:creationId xmlns:a16="http://schemas.microsoft.com/office/drawing/2014/main" id="{DF497852-1FC3-D086-344B-F865B9A1D62F}"/>
              </a:ext>
            </a:extLst>
          </p:cNvPr>
          <p:cNvGrpSpPr/>
          <p:nvPr userDrawn="1"/>
        </p:nvGrpSpPr>
        <p:grpSpPr>
          <a:xfrm>
            <a:off x="6001390" y="1483155"/>
            <a:ext cx="6036949" cy="3897441"/>
            <a:chOff x="1294114" y="328912"/>
            <a:chExt cx="9603771" cy="6200174"/>
          </a:xfrm>
          <a:solidFill>
            <a:schemeClr val="bg2"/>
          </a:solidFill>
          <a:effectLst>
            <a:outerShdw blurRad="50800" dist="38100" dir="2700000" algn="tl" rotWithShape="0">
              <a:schemeClr val="accent6">
                <a:alpha val="40000"/>
              </a:schemeClr>
            </a:outerShdw>
          </a:effectLst>
        </p:grpSpPr>
        <p:sp>
          <p:nvSpPr>
            <p:cNvPr id="11" name="Forme libre : forme 5652">
              <a:extLst>
                <a:ext uri="{FF2B5EF4-FFF2-40B4-BE49-F238E27FC236}">
                  <a16:creationId xmlns:a16="http://schemas.microsoft.com/office/drawing/2014/main" id="{E9F3F095-B34A-0DB6-4AA7-155DADC7FD7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198414" y="4026002"/>
              <a:ext cx="128663" cy="103689"/>
            </a:xfrm>
            <a:custGeom>
              <a:avLst/>
              <a:gdLst>
                <a:gd name="connsiteX0" fmla="*/ 0 w 128663"/>
                <a:gd name="connsiteY0" fmla="*/ 53111 h 103689"/>
                <a:gd name="connsiteX1" fmla="*/ 4753 w 128663"/>
                <a:gd name="connsiteY1" fmla="*/ 51692 h 103689"/>
                <a:gd name="connsiteX2" fmla="*/ 5743 w 128663"/>
                <a:gd name="connsiteY2" fmla="*/ 59674 h 103689"/>
                <a:gd name="connsiteX3" fmla="*/ 26641 w 128663"/>
                <a:gd name="connsiteY3" fmla="*/ 55093 h 103689"/>
                <a:gd name="connsiteX4" fmla="*/ 48730 w 128663"/>
                <a:gd name="connsiteY4" fmla="*/ 55845 h 103689"/>
                <a:gd name="connsiteX5" fmla="*/ 64865 w 128663"/>
                <a:gd name="connsiteY5" fmla="*/ 56712 h 103689"/>
                <a:gd name="connsiteX6" fmla="*/ 83153 w 128663"/>
                <a:gd name="connsiteY6" fmla="*/ 36976 h 103689"/>
                <a:gd name="connsiteX7" fmla="*/ 103070 w 128663"/>
                <a:gd name="connsiteY7" fmla="*/ 18174 h 103689"/>
                <a:gd name="connsiteX8" fmla="*/ 119948 w 128663"/>
                <a:gd name="connsiteY8" fmla="*/ 0 h 103689"/>
                <a:gd name="connsiteX9" fmla="*/ 125034 w 128663"/>
                <a:gd name="connsiteY9" fmla="*/ 10058 h 103689"/>
                <a:gd name="connsiteX10" fmla="*/ 128664 w 128663"/>
                <a:gd name="connsiteY10" fmla="*/ 33271 h 103689"/>
                <a:gd name="connsiteX11" fmla="*/ 115014 w 128663"/>
                <a:gd name="connsiteY11" fmla="*/ 33385 h 103689"/>
                <a:gd name="connsiteX12" fmla="*/ 112833 w 128663"/>
                <a:gd name="connsiteY12" fmla="*/ 52407 h 103689"/>
                <a:gd name="connsiteX13" fmla="*/ 117557 w 128663"/>
                <a:gd name="connsiteY13" fmla="*/ 56455 h 103689"/>
                <a:gd name="connsiteX14" fmla="*/ 105470 w 128663"/>
                <a:gd name="connsiteY14" fmla="*/ 62179 h 103689"/>
                <a:gd name="connsiteX15" fmla="*/ 105394 w 128663"/>
                <a:gd name="connsiteY15" fmla="*/ 74038 h 103689"/>
                <a:gd name="connsiteX16" fmla="*/ 97612 w 128663"/>
                <a:gd name="connsiteY16" fmla="*/ 86001 h 103689"/>
                <a:gd name="connsiteX17" fmla="*/ 96917 w 128663"/>
                <a:gd name="connsiteY17" fmla="*/ 97612 h 103689"/>
                <a:gd name="connsiteX18" fmla="*/ 91535 w 128663"/>
                <a:gd name="connsiteY18" fmla="*/ 103689 h 103689"/>
                <a:gd name="connsiteX19" fmla="*/ 11259 w 128663"/>
                <a:gd name="connsiteY19" fmla="*/ 89173 h 103689"/>
                <a:gd name="connsiteX20" fmla="*/ 1019 w 128663"/>
                <a:gd name="connsiteY20" fmla="*/ 59836 h 103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8663" h="103689">
                  <a:moveTo>
                    <a:pt x="0" y="53111"/>
                  </a:moveTo>
                  <a:lnTo>
                    <a:pt x="4753" y="51692"/>
                  </a:lnTo>
                  <a:lnTo>
                    <a:pt x="5743" y="59674"/>
                  </a:lnTo>
                  <a:lnTo>
                    <a:pt x="26641" y="55093"/>
                  </a:lnTo>
                  <a:lnTo>
                    <a:pt x="48730" y="55845"/>
                  </a:lnTo>
                  <a:lnTo>
                    <a:pt x="64865" y="56712"/>
                  </a:lnTo>
                  <a:lnTo>
                    <a:pt x="83153" y="36976"/>
                  </a:lnTo>
                  <a:lnTo>
                    <a:pt x="103070" y="18174"/>
                  </a:lnTo>
                  <a:lnTo>
                    <a:pt x="119948" y="0"/>
                  </a:lnTo>
                  <a:lnTo>
                    <a:pt x="125034" y="10058"/>
                  </a:lnTo>
                  <a:lnTo>
                    <a:pt x="128664" y="33271"/>
                  </a:lnTo>
                  <a:lnTo>
                    <a:pt x="115014" y="33385"/>
                  </a:lnTo>
                  <a:lnTo>
                    <a:pt x="112833" y="52407"/>
                  </a:lnTo>
                  <a:lnTo>
                    <a:pt x="117557" y="56455"/>
                  </a:lnTo>
                  <a:lnTo>
                    <a:pt x="105470" y="62179"/>
                  </a:lnTo>
                  <a:lnTo>
                    <a:pt x="105394" y="74038"/>
                  </a:lnTo>
                  <a:lnTo>
                    <a:pt x="97612" y="86001"/>
                  </a:lnTo>
                  <a:lnTo>
                    <a:pt x="96917" y="97612"/>
                  </a:lnTo>
                  <a:lnTo>
                    <a:pt x="91535" y="103689"/>
                  </a:lnTo>
                  <a:lnTo>
                    <a:pt x="11259" y="89173"/>
                  </a:lnTo>
                  <a:lnTo>
                    <a:pt x="1019" y="59836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orme libre : forme 5653">
              <a:extLst>
                <a:ext uri="{FF2B5EF4-FFF2-40B4-BE49-F238E27FC236}">
                  <a16:creationId xmlns:a16="http://schemas.microsoft.com/office/drawing/2014/main" id="{A7B2ED8F-127B-B5A9-089B-D871BF7734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437415" y="3633848"/>
              <a:ext cx="390705" cy="294227"/>
            </a:xfrm>
            <a:custGeom>
              <a:avLst/>
              <a:gdLst>
                <a:gd name="connsiteX0" fmla="*/ 18222 w 390705"/>
                <a:gd name="connsiteY0" fmla="*/ 94545 h 294227"/>
                <a:gd name="connsiteX1" fmla="*/ 45453 w 390705"/>
                <a:gd name="connsiteY1" fmla="*/ 106927 h 294227"/>
                <a:gd name="connsiteX2" fmla="*/ 65599 w 390705"/>
                <a:gd name="connsiteY2" fmla="*/ 102584 h 294227"/>
                <a:gd name="connsiteX3" fmla="*/ 71171 w 390705"/>
                <a:gd name="connsiteY3" fmla="*/ 87754 h 294227"/>
                <a:gd name="connsiteX4" fmla="*/ 92250 w 390705"/>
                <a:gd name="connsiteY4" fmla="*/ 82810 h 294227"/>
                <a:gd name="connsiteX5" fmla="*/ 107299 w 390705"/>
                <a:gd name="connsiteY5" fmla="*/ 72790 h 294227"/>
                <a:gd name="connsiteX6" fmla="*/ 112633 w 390705"/>
                <a:gd name="connsiteY6" fmla="*/ 46263 h 294227"/>
                <a:gd name="connsiteX7" fmla="*/ 135141 w 390705"/>
                <a:gd name="connsiteY7" fmla="*/ 39805 h 294227"/>
                <a:gd name="connsiteX8" fmla="*/ 139332 w 390705"/>
                <a:gd name="connsiteY8" fmla="*/ 27880 h 294227"/>
                <a:gd name="connsiteX9" fmla="*/ 151933 w 390705"/>
                <a:gd name="connsiteY9" fmla="*/ 36843 h 294227"/>
                <a:gd name="connsiteX10" fmla="*/ 159982 w 390705"/>
                <a:gd name="connsiteY10" fmla="*/ 37881 h 294227"/>
                <a:gd name="connsiteX11" fmla="*/ 174850 w 390705"/>
                <a:gd name="connsiteY11" fmla="*/ 38100 h 294227"/>
                <a:gd name="connsiteX12" fmla="*/ 194996 w 390705"/>
                <a:gd name="connsiteY12" fmla="*/ 45158 h 294227"/>
                <a:gd name="connsiteX13" fmla="*/ 203159 w 390705"/>
                <a:gd name="connsiteY13" fmla="*/ 49225 h 294227"/>
                <a:gd name="connsiteX14" fmla="*/ 222485 w 390705"/>
                <a:gd name="connsiteY14" fmla="*/ 38500 h 294227"/>
                <a:gd name="connsiteX15" fmla="*/ 231496 w 390705"/>
                <a:gd name="connsiteY15" fmla="*/ 44948 h 294227"/>
                <a:gd name="connsiteX16" fmla="*/ 240106 w 390705"/>
                <a:gd name="connsiteY16" fmla="*/ 29623 h 294227"/>
                <a:gd name="connsiteX17" fmla="*/ 256070 w 390705"/>
                <a:gd name="connsiteY17" fmla="*/ 30328 h 294227"/>
                <a:gd name="connsiteX18" fmla="*/ 260175 w 390705"/>
                <a:gd name="connsiteY18" fmla="*/ 25394 h 294227"/>
                <a:gd name="connsiteX19" fmla="*/ 263004 w 390705"/>
                <a:gd name="connsiteY19" fmla="*/ 11792 h 294227"/>
                <a:gd name="connsiteX20" fmla="*/ 274501 w 390705"/>
                <a:gd name="connsiteY20" fmla="*/ 0 h 294227"/>
                <a:gd name="connsiteX21" fmla="*/ 288960 w 390705"/>
                <a:gd name="connsiteY21" fmla="*/ 7715 h 294227"/>
                <a:gd name="connsiteX22" fmla="*/ 286055 w 390705"/>
                <a:gd name="connsiteY22" fmla="*/ 18040 h 294227"/>
                <a:gd name="connsiteX23" fmla="*/ 294132 w 390705"/>
                <a:gd name="connsiteY23" fmla="*/ 19650 h 294227"/>
                <a:gd name="connsiteX24" fmla="*/ 291646 w 390705"/>
                <a:gd name="connsiteY24" fmla="*/ 47806 h 294227"/>
                <a:gd name="connsiteX25" fmla="*/ 302209 w 390705"/>
                <a:gd name="connsiteY25" fmla="*/ 58693 h 294227"/>
                <a:gd name="connsiteX26" fmla="*/ 311525 w 390705"/>
                <a:gd name="connsiteY26" fmla="*/ 51711 h 294227"/>
                <a:gd name="connsiteX27" fmla="*/ 323374 w 390705"/>
                <a:gd name="connsiteY27" fmla="*/ 48406 h 294227"/>
                <a:gd name="connsiteX28" fmla="*/ 340014 w 390705"/>
                <a:gd name="connsiteY28" fmla="*/ 33442 h 294227"/>
                <a:gd name="connsiteX29" fmla="*/ 358407 w 390705"/>
                <a:gd name="connsiteY29" fmla="*/ 35909 h 294227"/>
                <a:gd name="connsiteX30" fmla="*/ 385953 w 390705"/>
                <a:gd name="connsiteY30" fmla="*/ 35966 h 294227"/>
                <a:gd name="connsiteX31" fmla="*/ 390706 w 390705"/>
                <a:gd name="connsiteY31" fmla="*/ 45558 h 294227"/>
                <a:gd name="connsiteX32" fmla="*/ 375161 w 390705"/>
                <a:gd name="connsiteY32" fmla="*/ 49292 h 294227"/>
                <a:gd name="connsiteX33" fmla="*/ 361588 w 390705"/>
                <a:gd name="connsiteY33" fmla="*/ 55436 h 294227"/>
                <a:gd name="connsiteX34" fmla="*/ 330937 w 390705"/>
                <a:gd name="connsiteY34" fmla="*/ 59293 h 294227"/>
                <a:gd name="connsiteX35" fmla="*/ 302257 w 390705"/>
                <a:gd name="connsiteY35" fmla="*/ 66256 h 294227"/>
                <a:gd name="connsiteX36" fmla="*/ 286674 w 390705"/>
                <a:gd name="connsiteY36" fmla="*/ 80620 h 294227"/>
                <a:gd name="connsiteX37" fmla="*/ 292979 w 390705"/>
                <a:gd name="connsiteY37" fmla="*/ 94526 h 294227"/>
                <a:gd name="connsiteX38" fmla="*/ 296037 w 390705"/>
                <a:gd name="connsiteY38" fmla="*/ 110757 h 294227"/>
                <a:gd name="connsiteX39" fmla="*/ 282730 w 390705"/>
                <a:gd name="connsiteY39" fmla="*/ 124377 h 294227"/>
                <a:gd name="connsiteX40" fmla="*/ 283845 w 390705"/>
                <a:gd name="connsiteY40" fmla="*/ 136779 h 294227"/>
                <a:gd name="connsiteX41" fmla="*/ 276501 w 390705"/>
                <a:gd name="connsiteY41" fmla="*/ 148342 h 294227"/>
                <a:gd name="connsiteX42" fmla="*/ 251098 w 390705"/>
                <a:gd name="connsiteY42" fmla="*/ 147342 h 294227"/>
                <a:gd name="connsiteX43" fmla="*/ 261595 w 390705"/>
                <a:gd name="connsiteY43" fmla="*/ 168478 h 294227"/>
                <a:gd name="connsiteX44" fmla="*/ 244602 w 390705"/>
                <a:gd name="connsiteY44" fmla="*/ 176517 h 294227"/>
                <a:gd name="connsiteX45" fmla="*/ 233258 w 390705"/>
                <a:gd name="connsiteY45" fmla="*/ 195605 h 294227"/>
                <a:gd name="connsiteX46" fmla="*/ 234725 w 390705"/>
                <a:gd name="connsiteY46" fmla="*/ 214465 h 294227"/>
                <a:gd name="connsiteX47" fmla="*/ 224294 w 390705"/>
                <a:gd name="connsiteY47" fmla="*/ 223266 h 294227"/>
                <a:gd name="connsiteX48" fmla="*/ 214417 w 390705"/>
                <a:gd name="connsiteY48" fmla="*/ 220351 h 294227"/>
                <a:gd name="connsiteX49" fmla="*/ 194005 w 390705"/>
                <a:gd name="connsiteY49" fmla="*/ 224428 h 294227"/>
                <a:gd name="connsiteX50" fmla="*/ 191081 w 390705"/>
                <a:gd name="connsiteY50" fmla="*/ 233134 h 294227"/>
                <a:gd name="connsiteX51" fmla="*/ 171193 w 390705"/>
                <a:gd name="connsiteY51" fmla="*/ 233086 h 294227"/>
                <a:gd name="connsiteX52" fmla="*/ 156315 w 390705"/>
                <a:gd name="connsiteY52" fmla="*/ 250641 h 294227"/>
                <a:gd name="connsiteX53" fmla="*/ 155372 w 390705"/>
                <a:gd name="connsiteY53" fmla="*/ 276835 h 294227"/>
                <a:gd name="connsiteX54" fmla="*/ 120672 w 390705"/>
                <a:gd name="connsiteY54" fmla="*/ 289550 h 294227"/>
                <a:gd name="connsiteX55" fmla="*/ 102070 w 390705"/>
                <a:gd name="connsiteY55" fmla="*/ 286864 h 294227"/>
                <a:gd name="connsiteX56" fmla="*/ 96660 w 390705"/>
                <a:gd name="connsiteY56" fmla="*/ 293551 h 294227"/>
                <a:gd name="connsiteX57" fmla="*/ 80696 w 390705"/>
                <a:gd name="connsiteY57" fmla="*/ 289665 h 294227"/>
                <a:gd name="connsiteX58" fmla="*/ 53987 w 390705"/>
                <a:gd name="connsiteY58" fmla="*/ 294227 h 294227"/>
                <a:gd name="connsiteX59" fmla="*/ 9239 w 390705"/>
                <a:gd name="connsiteY59" fmla="*/ 278635 h 294227"/>
                <a:gd name="connsiteX60" fmla="*/ 33461 w 390705"/>
                <a:gd name="connsiteY60" fmla="*/ 250727 h 294227"/>
                <a:gd name="connsiteX61" fmla="*/ 31271 w 390705"/>
                <a:gd name="connsiteY61" fmla="*/ 230762 h 294227"/>
                <a:gd name="connsiteX62" fmla="*/ 11039 w 390705"/>
                <a:gd name="connsiteY62" fmla="*/ 225504 h 294227"/>
                <a:gd name="connsiteX63" fmla="*/ 8944 w 390705"/>
                <a:gd name="connsiteY63" fmla="*/ 205645 h 294227"/>
                <a:gd name="connsiteX64" fmla="*/ 200 w 390705"/>
                <a:gd name="connsiteY64" fmla="*/ 180461 h 294227"/>
                <a:gd name="connsiteX65" fmla="*/ 11630 w 390705"/>
                <a:gd name="connsiteY65" fmla="*/ 163058 h 294227"/>
                <a:gd name="connsiteX66" fmla="*/ 0 w 390705"/>
                <a:gd name="connsiteY66" fmla="*/ 158344 h 294227"/>
                <a:gd name="connsiteX67" fmla="*/ 7334 w 390705"/>
                <a:gd name="connsiteY67" fmla="*/ 134998 h 29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90705" h="294227">
                  <a:moveTo>
                    <a:pt x="18222" y="94545"/>
                  </a:moveTo>
                  <a:lnTo>
                    <a:pt x="45453" y="106927"/>
                  </a:lnTo>
                  <a:lnTo>
                    <a:pt x="65599" y="102584"/>
                  </a:lnTo>
                  <a:lnTo>
                    <a:pt x="71171" y="87754"/>
                  </a:lnTo>
                  <a:lnTo>
                    <a:pt x="92250" y="82810"/>
                  </a:lnTo>
                  <a:lnTo>
                    <a:pt x="107299" y="72790"/>
                  </a:lnTo>
                  <a:lnTo>
                    <a:pt x="112633" y="46263"/>
                  </a:lnTo>
                  <a:lnTo>
                    <a:pt x="135141" y="39805"/>
                  </a:lnTo>
                  <a:lnTo>
                    <a:pt x="139332" y="27880"/>
                  </a:lnTo>
                  <a:lnTo>
                    <a:pt x="151933" y="36843"/>
                  </a:lnTo>
                  <a:lnTo>
                    <a:pt x="159982" y="37881"/>
                  </a:lnTo>
                  <a:lnTo>
                    <a:pt x="174850" y="38100"/>
                  </a:lnTo>
                  <a:lnTo>
                    <a:pt x="194996" y="45158"/>
                  </a:lnTo>
                  <a:lnTo>
                    <a:pt x="203159" y="49225"/>
                  </a:lnTo>
                  <a:lnTo>
                    <a:pt x="222485" y="38500"/>
                  </a:lnTo>
                  <a:lnTo>
                    <a:pt x="231496" y="44948"/>
                  </a:lnTo>
                  <a:lnTo>
                    <a:pt x="240106" y="29623"/>
                  </a:lnTo>
                  <a:lnTo>
                    <a:pt x="256070" y="30328"/>
                  </a:lnTo>
                  <a:lnTo>
                    <a:pt x="260175" y="25394"/>
                  </a:lnTo>
                  <a:lnTo>
                    <a:pt x="263004" y="11792"/>
                  </a:lnTo>
                  <a:lnTo>
                    <a:pt x="274501" y="0"/>
                  </a:lnTo>
                  <a:lnTo>
                    <a:pt x="288960" y="7715"/>
                  </a:lnTo>
                  <a:lnTo>
                    <a:pt x="286055" y="18040"/>
                  </a:lnTo>
                  <a:lnTo>
                    <a:pt x="294132" y="19650"/>
                  </a:lnTo>
                  <a:lnTo>
                    <a:pt x="291646" y="47806"/>
                  </a:lnTo>
                  <a:lnTo>
                    <a:pt x="302209" y="58693"/>
                  </a:lnTo>
                  <a:lnTo>
                    <a:pt x="311525" y="51711"/>
                  </a:lnTo>
                  <a:lnTo>
                    <a:pt x="323374" y="48406"/>
                  </a:lnTo>
                  <a:lnTo>
                    <a:pt x="340014" y="33442"/>
                  </a:lnTo>
                  <a:lnTo>
                    <a:pt x="358407" y="35909"/>
                  </a:lnTo>
                  <a:lnTo>
                    <a:pt x="385953" y="35966"/>
                  </a:lnTo>
                  <a:lnTo>
                    <a:pt x="390706" y="45558"/>
                  </a:lnTo>
                  <a:lnTo>
                    <a:pt x="375161" y="49292"/>
                  </a:lnTo>
                  <a:lnTo>
                    <a:pt x="361588" y="55436"/>
                  </a:lnTo>
                  <a:lnTo>
                    <a:pt x="330937" y="59293"/>
                  </a:lnTo>
                  <a:lnTo>
                    <a:pt x="302257" y="66256"/>
                  </a:lnTo>
                  <a:lnTo>
                    <a:pt x="286674" y="80620"/>
                  </a:lnTo>
                  <a:lnTo>
                    <a:pt x="292979" y="94526"/>
                  </a:lnTo>
                  <a:lnTo>
                    <a:pt x="296037" y="110757"/>
                  </a:lnTo>
                  <a:lnTo>
                    <a:pt x="282730" y="124377"/>
                  </a:lnTo>
                  <a:lnTo>
                    <a:pt x="283845" y="136779"/>
                  </a:lnTo>
                  <a:lnTo>
                    <a:pt x="276501" y="148342"/>
                  </a:lnTo>
                  <a:lnTo>
                    <a:pt x="251098" y="147342"/>
                  </a:lnTo>
                  <a:lnTo>
                    <a:pt x="261595" y="168478"/>
                  </a:lnTo>
                  <a:lnTo>
                    <a:pt x="244602" y="176517"/>
                  </a:lnTo>
                  <a:lnTo>
                    <a:pt x="233258" y="195605"/>
                  </a:lnTo>
                  <a:lnTo>
                    <a:pt x="234725" y="214465"/>
                  </a:lnTo>
                  <a:lnTo>
                    <a:pt x="224294" y="223266"/>
                  </a:lnTo>
                  <a:lnTo>
                    <a:pt x="214417" y="220351"/>
                  </a:lnTo>
                  <a:lnTo>
                    <a:pt x="194005" y="224428"/>
                  </a:lnTo>
                  <a:lnTo>
                    <a:pt x="191081" y="233134"/>
                  </a:lnTo>
                  <a:lnTo>
                    <a:pt x="171193" y="233086"/>
                  </a:lnTo>
                  <a:lnTo>
                    <a:pt x="156315" y="250641"/>
                  </a:lnTo>
                  <a:lnTo>
                    <a:pt x="155372" y="276835"/>
                  </a:lnTo>
                  <a:lnTo>
                    <a:pt x="120672" y="289550"/>
                  </a:lnTo>
                  <a:lnTo>
                    <a:pt x="102070" y="286864"/>
                  </a:lnTo>
                  <a:lnTo>
                    <a:pt x="96660" y="293551"/>
                  </a:lnTo>
                  <a:lnTo>
                    <a:pt x="80696" y="289665"/>
                  </a:lnTo>
                  <a:lnTo>
                    <a:pt x="53987" y="294227"/>
                  </a:lnTo>
                  <a:lnTo>
                    <a:pt x="9239" y="278635"/>
                  </a:lnTo>
                  <a:lnTo>
                    <a:pt x="33461" y="250727"/>
                  </a:lnTo>
                  <a:lnTo>
                    <a:pt x="31271" y="230762"/>
                  </a:lnTo>
                  <a:lnTo>
                    <a:pt x="11039" y="225504"/>
                  </a:lnTo>
                  <a:lnTo>
                    <a:pt x="8944" y="205645"/>
                  </a:lnTo>
                  <a:lnTo>
                    <a:pt x="200" y="180461"/>
                  </a:lnTo>
                  <a:lnTo>
                    <a:pt x="11630" y="163058"/>
                  </a:lnTo>
                  <a:lnTo>
                    <a:pt x="0" y="158344"/>
                  </a:lnTo>
                  <a:lnTo>
                    <a:pt x="7334" y="13499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orme libre : forme 5654">
              <a:extLst>
                <a:ext uri="{FF2B5EF4-FFF2-40B4-BE49-F238E27FC236}">
                  <a16:creationId xmlns:a16="http://schemas.microsoft.com/office/drawing/2014/main" id="{79FEB711-9DBC-8A4B-2756-1FDDD67E59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36458" y="3486563"/>
              <a:ext cx="45815" cy="108280"/>
            </a:xfrm>
            <a:custGeom>
              <a:avLst/>
              <a:gdLst>
                <a:gd name="connsiteX0" fmla="*/ 34337 w 45815"/>
                <a:gd name="connsiteY0" fmla="*/ 29956 h 108280"/>
                <a:gd name="connsiteX1" fmla="*/ 30947 w 45815"/>
                <a:gd name="connsiteY1" fmla="*/ 42081 h 108280"/>
                <a:gd name="connsiteX2" fmla="*/ 34737 w 45815"/>
                <a:gd name="connsiteY2" fmla="*/ 57264 h 108280"/>
                <a:gd name="connsiteX3" fmla="*/ 45815 w 45815"/>
                <a:gd name="connsiteY3" fmla="*/ 65846 h 108280"/>
                <a:gd name="connsiteX4" fmla="*/ 45282 w 45815"/>
                <a:gd name="connsiteY4" fmla="*/ 75067 h 108280"/>
                <a:gd name="connsiteX5" fmla="*/ 36605 w 45815"/>
                <a:gd name="connsiteY5" fmla="*/ 80134 h 108280"/>
                <a:gd name="connsiteX6" fmla="*/ 34995 w 45815"/>
                <a:gd name="connsiteY6" fmla="*/ 91469 h 108280"/>
                <a:gd name="connsiteX7" fmla="*/ 22574 w 45815"/>
                <a:gd name="connsiteY7" fmla="*/ 108280 h 108280"/>
                <a:gd name="connsiteX8" fmla="*/ 18040 w 45815"/>
                <a:gd name="connsiteY8" fmla="*/ 105861 h 108280"/>
                <a:gd name="connsiteX9" fmla="*/ 17507 w 45815"/>
                <a:gd name="connsiteY9" fmla="*/ 98241 h 108280"/>
                <a:gd name="connsiteX10" fmla="*/ 2714 w 45815"/>
                <a:gd name="connsiteY10" fmla="*/ 86573 h 108280"/>
                <a:gd name="connsiteX11" fmla="*/ 391 w 45815"/>
                <a:gd name="connsiteY11" fmla="*/ 69904 h 108280"/>
                <a:gd name="connsiteX12" fmla="*/ 2648 w 45815"/>
                <a:gd name="connsiteY12" fmla="*/ 45825 h 108280"/>
                <a:gd name="connsiteX13" fmla="*/ 6296 w 45815"/>
                <a:gd name="connsiteY13" fmla="*/ 34785 h 108280"/>
                <a:gd name="connsiteX14" fmla="*/ 1791 w 45815"/>
                <a:gd name="connsiteY14" fmla="*/ 29156 h 108280"/>
                <a:gd name="connsiteX15" fmla="*/ 0 w 45815"/>
                <a:gd name="connsiteY15" fmla="*/ 17764 h 108280"/>
                <a:gd name="connsiteX16" fmla="*/ 11582 w 45815"/>
                <a:gd name="connsiteY16" fmla="*/ 0 h 108280"/>
                <a:gd name="connsiteX17" fmla="*/ 13278 w 45815"/>
                <a:gd name="connsiteY17" fmla="*/ 6810 h 108280"/>
                <a:gd name="connsiteX18" fmla="*/ 20460 w 45815"/>
                <a:gd name="connsiteY18" fmla="*/ 3610 h 108280"/>
                <a:gd name="connsiteX19" fmla="*/ 26146 w 45815"/>
                <a:gd name="connsiteY19" fmla="*/ 13288 h 108280"/>
                <a:gd name="connsiteX20" fmla="*/ 32538 w 45815"/>
                <a:gd name="connsiteY20" fmla="*/ 16964 h 108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5815" h="108280">
                  <a:moveTo>
                    <a:pt x="34337" y="29956"/>
                  </a:moveTo>
                  <a:lnTo>
                    <a:pt x="30947" y="42081"/>
                  </a:lnTo>
                  <a:lnTo>
                    <a:pt x="34737" y="57264"/>
                  </a:lnTo>
                  <a:lnTo>
                    <a:pt x="45815" y="65846"/>
                  </a:lnTo>
                  <a:lnTo>
                    <a:pt x="45282" y="75067"/>
                  </a:lnTo>
                  <a:lnTo>
                    <a:pt x="36605" y="80134"/>
                  </a:lnTo>
                  <a:lnTo>
                    <a:pt x="34995" y="91469"/>
                  </a:lnTo>
                  <a:lnTo>
                    <a:pt x="22574" y="108280"/>
                  </a:lnTo>
                  <a:lnTo>
                    <a:pt x="18040" y="105861"/>
                  </a:lnTo>
                  <a:lnTo>
                    <a:pt x="17507" y="98241"/>
                  </a:lnTo>
                  <a:lnTo>
                    <a:pt x="2714" y="86573"/>
                  </a:lnTo>
                  <a:lnTo>
                    <a:pt x="391" y="69904"/>
                  </a:lnTo>
                  <a:lnTo>
                    <a:pt x="2648" y="45825"/>
                  </a:lnTo>
                  <a:lnTo>
                    <a:pt x="6296" y="34785"/>
                  </a:lnTo>
                  <a:lnTo>
                    <a:pt x="1791" y="29156"/>
                  </a:lnTo>
                  <a:lnTo>
                    <a:pt x="0" y="17764"/>
                  </a:lnTo>
                  <a:lnTo>
                    <a:pt x="11582" y="0"/>
                  </a:lnTo>
                  <a:lnTo>
                    <a:pt x="13278" y="6810"/>
                  </a:lnTo>
                  <a:lnTo>
                    <a:pt x="20460" y="3610"/>
                  </a:lnTo>
                  <a:lnTo>
                    <a:pt x="26146" y="13288"/>
                  </a:lnTo>
                  <a:lnTo>
                    <a:pt x="32538" y="169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orme libre : forme 5655">
              <a:extLst>
                <a:ext uri="{FF2B5EF4-FFF2-40B4-BE49-F238E27FC236}">
                  <a16:creationId xmlns:a16="http://schemas.microsoft.com/office/drawing/2014/main" id="{597700CB-00B6-647E-D82C-E7E24A5CDA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984853" y="3538103"/>
              <a:ext cx="78057" cy="87067"/>
            </a:xfrm>
            <a:custGeom>
              <a:avLst/>
              <a:gdLst>
                <a:gd name="connsiteX0" fmla="*/ 0 w 78057"/>
                <a:gd name="connsiteY0" fmla="*/ 5515 h 87067"/>
                <a:gd name="connsiteX1" fmla="*/ 37109 w 78057"/>
                <a:gd name="connsiteY1" fmla="*/ 0 h 87067"/>
                <a:gd name="connsiteX2" fmla="*/ 42643 w 78057"/>
                <a:gd name="connsiteY2" fmla="*/ 9277 h 87067"/>
                <a:gd name="connsiteX3" fmla="*/ 52816 w 78057"/>
                <a:gd name="connsiteY3" fmla="*/ 15373 h 87067"/>
                <a:gd name="connsiteX4" fmla="*/ 47444 w 78057"/>
                <a:gd name="connsiteY4" fmla="*/ 24174 h 87067"/>
                <a:gd name="connsiteX5" fmla="*/ 61665 w 78057"/>
                <a:gd name="connsiteY5" fmla="*/ 36157 h 87067"/>
                <a:gd name="connsiteX6" fmla="*/ 54140 w 78057"/>
                <a:gd name="connsiteY6" fmla="*/ 47225 h 87067"/>
                <a:gd name="connsiteX7" fmla="*/ 65475 w 78057"/>
                <a:gd name="connsiteY7" fmla="*/ 56635 h 87067"/>
                <a:gd name="connsiteX8" fmla="*/ 77467 w 78057"/>
                <a:gd name="connsiteY8" fmla="*/ 62284 h 87067"/>
                <a:gd name="connsiteX9" fmla="*/ 78057 w 78057"/>
                <a:gd name="connsiteY9" fmla="*/ 86058 h 87067"/>
                <a:gd name="connsiteX10" fmla="*/ 68389 w 78057"/>
                <a:gd name="connsiteY10" fmla="*/ 87068 h 87067"/>
                <a:gd name="connsiteX11" fmla="*/ 57483 w 78057"/>
                <a:gd name="connsiteY11" fmla="*/ 67256 h 87067"/>
                <a:gd name="connsiteX12" fmla="*/ 57607 w 78057"/>
                <a:gd name="connsiteY12" fmla="*/ 61951 h 87067"/>
                <a:gd name="connsiteX13" fmla="*/ 45806 w 78057"/>
                <a:gd name="connsiteY13" fmla="*/ 62027 h 87067"/>
                <a:gd name="connsiteX14" fmla="*/ 37900 w 78057"/>
                <a:gd name="connsiteY14" fmla="*/ 52759 h 87067"/>
                <a:gd name="connsiteX15" fmla="*/ 32347 w 78057"/>
                <a:gd name="connsiteY15" fmla="*/ 53702 h 87067"/>
                <a:gd name="connsiteX16" fmla="*/ 21822 w 78057"/>
                <a:gd name="connsiteY16" fmla="*/ 43577 h 87067"/>
                <a:gd name="connsiteX17" fmla="*/ 1962 w 78057"/>
                <a:gd name="connsiteY17" fmla="*/ 34928 h 87067"/>
                <a:gd name="connsiteX18" fmla="*/ 4534 w 78057"/>
                <a:gd name="connsiteY18" fmla="*/ 17907 h 87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057" h="87067">
                  <a:moveTo>
                    <a:pt x="0" y="5515"/>
                  </a:moveTo>
                  <a:lnTo>
                    <a:pt x="37109" y="0"/>
                  </a:lnTo>
                  <a:lnTo>
                    <a:pt x="42643" y="9277"/>
                  </a:lnTo>
                  <a:lnTo>
                    <a:pt x="52816" y="15373"/>
                  </a:lnTo>
                  <a:lnTo>
                    <a:pt x="47444" y="24174"/>
                  </a:lnTo>
                  <a:lnTo>
                    <a:pt x="61665" y="36157"/>
                  </a:lnTo>
                  <a:lnTo>
                    <a:pt x="54140" y="47225"/>
                  </a:lnTo>
                  <a:lnTo>
                    <a:pt x="65475" y="56635"/>
                  </a:lnTo>
                  <a:lnTo>
                    <a:pt x="77467" y="62284"/>
                  </a:lnTo>
                  <a:lnTo>
                    <a:pt x="78057" y="86058"/>
                  </a:lnTo>
                  <a:lnTo>
                    <a:pt x="68389" y="87068"/>
                  </a:lnTo>
                  <a:lnTo>
                    <a:pt x="57483" y="67256"/>
                  </a:lnTo>
                  <a:lnTo>
                    <a:pt x="57607" y="61951"/>
                  </a:lnTo>
                  <a:lnTo>
                    <a:pt x="45806" y="62027"/>
                  </a:lnTo>
                  <a:lnTo>
                    <a:pt x="37900" y="52759"/>
                  </a:lnTo>
                  <a:lnTo>
                    <a:pt x="32347" y="53702"/>
                  </a:lnTo>
                  <a:lnTo>
                    <a:pt x="21822" y="43577"/>
                  </a:lnTo>
                  <a:lnTo>
                    <a:pt x="1962" y="34928"/>
                  </a:lnTo>
                  <a:lnTo>
                    <a:pt x="4534" y="1790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orme libre : forme 5656">
              <a:extLst>
                <a:ext uri="{FF2B5EF4-FFF2-40B4-BE49-F238E27FC236}">
                  <a16:creationId xmlns:a16="http://schemas.microsoft.com/office/drawing/2014/main" id="{A2203CD5-6A45-9863-7BCD-4CC171230D3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131766" y="4860506"/>
              <a:ext cx="332232" cy="365864"/>
            </a:xfrm>
            <a:custGeom>
              <a:avLst/>
              <a:gdLst>
                <a:gd name="connsiteX0" fmla="*/ 125159 w 332232"/>
                <a:gd name="connsiteY0" fmla="*/ 38348 h 365864"/>
                <a:gd name="connsiteX1" fmla="*/ 131740 w 332232"/>
                <a:gd name="connsiteY1" fmla="*/ 58236 h 365864"/>
                <a:gd name="connsiteX2" fmla="*/ 139408 w 332232"/>
                <a:gd name="connsiteY2" fmla="*/ 74266 h 365864"/>
                <a:gd name="connsiteX3" fmla="*/ 145552 w 332232"/>
                <a:gd name="connsiteY3" fmla="*/ 82915 h 365864"/>
                <a:gd name="connsiteX4" fmla="*/ 155781 w 332232"/>
                <a:gd name="connsiteY4" fmla="*/ 96917 h 365864"/>
                <a:gd name="connsiteX5" fmla="*/ 173441 w 332232"/>
                <a:gd name="connsiteY5" fmla="*/ 94745 h 365864"/>
                <a:gd name="connsiteX6" fmla="*/ 182251 w 332232"/>
                <a:gd name="connsiteY6" fmla="*/ 90973 h 365864"/>
                <a:gd name="connsiteX7" fmla="*/ 197005 w 332232"/>
                <a:gd name="connsiteY7" fmla="*/ 94755 h 365864"/>
                <a:gd name="connsiteX8" fmla="*/ 201006 w 332232"/>
                <a:gd name="connsiteY8" fmla="*/ 88059 h 365864"/>
                <a:gd name="connsiteX9" fmla="*/ 207712 w 332232"/>
                <a:gd name="connsiteY9" fmla="*/ 72466 h 365864"/>
                <a:gd name="connsiteX10" fmla="*/ 224275 w 332232"/>
                <a:gd name="connsiteY10" fmla="*/ 71428 h 365864"/>
                <a:gd name="connsiteX11" fmla="*/ 225714 w 332232"/>
                <a:gd name="connsiteY11" fmla="*/ 66799 h 365864"/>
                <a:gd name="connsiteX12" fmla="*/ 239344 w 332232"/>
                <a:gd name="connsiteY12" fmla="*/ 66694 h 365864"/>
                <a:gd name="connsiteX13" fmla="*/ 237020 w 332232"/>
                <a:gd name="connsiteY13" fmla="*/ 76324 h 365864"/>
                <a:gd name="connsiteX14" fmla="*/ 269424 w 332232"/>
                <a:gd name="connsiteY14" fmla="*/ 76095 h 365864"/>
                <a:gd name="connsiteX15" fmla="*/ 269910 w 332232"/>
                <a:gd name="connsiteY15" fmla="*/ 92936 h 365864"/>
                <a:gd name="connsiteX16" fmla="*/ 275320 w 332232"/>
                <a:gd name="connsiteY16" fmla="*/ 103280 h 365864"/>
                <a:gd name="connsiteX17" fmla="*/ 271386 w 332232"/>
                <a:gd name="connsiteY17" fmla="*/ 119453 h 365864"/>
                <a:gd name="connsiteX18" fmla="*/ 273348 w 332232"/>
                <a:gd name="connsiteY18" fmla="*/ 135979 h 365864"/>
                <a:gd name="connsiteX19" fmla="*/ 282254 w 332232"/>
                <a:gd name="connsiteY19" fmla="*/ 145971 h 365864"/>
                <a:gd name="connsiteX20" fmla="*/ 280825 w 332232"/>
                <a:gd name="connsiteY20" fmla="*/ 178080 h 365864"/>
                <a:gd name="connsiteX21" fmla="*/ 287436 w 332232"/>
                <a:gd name="connsiteY21" fmla="*/ 175603 h 365864"/>
                <a:gd name="connsiteX22" fmla="*/ 299047 w 332232"/>
                <a:gd name="connsiteY22" fmla="*/ 176270 h 365864"/>
                <a:gd name="connsiteX23" fmla="*/ 315592 w 332232"/>
                <a:gd name="connsiteY23" fmla="*/ 172221 h 365864"/>
                <a:gd name="connsiteX24" fmla="*/ 327755 w 332232"/>
                <a:gd name="connsiteY24" fmla="*/ 173812 h 365864"/>
                <a:gd name="connsiteX25" fmla="*/ 330575 w 332232"/>
                <a:gd name="connsiteY25" fmla="*/ 182204 h 365864"/>
                <a:gd name="connsiteX26" fmla="*/ 327536 w 332232"/>
                <a:gd name="connsiteY26" fmla="*/ 195339 h 365864"/>
                <a:gd name="connsiteX27" fmla="*/ 332232 w 332232"/>
                <a:gd name="connsiteY27" fmla="*/ 208055 h 365864"/>
                <a:gd name="connsiteX28" fmla="*/ 328250 w 332232"/>
                <a:gd name="connsiteY28" fmla="*/ 218227 h 365864"/>
                <a:gd name="connsiteX29" fmla="*/ 330527 w 332232"/>
                <a:gd name="connsiteY29" fmla="*/ 227619 h 365864"/>
                <a:gd name="connsiteX30" fmla="*/ 274920 w 332232"/>
                <a:gd name="connsiteY30" fmla="*/ 227276 h 365864"/>
                <a:gd name="connsiteX31" fmla="*/ 273691 w 332232"/>
                <a:gd name="connsiteY31" fmla="*/ 314506 h 365864"/>
                <a:gd name="connsiteX32" fmla="*/ 291712 w 332232"/>
                <a:gd name="connsiteY32" fmla="*/ 337147 h 365864"/>
                <a:gd name="connsiteX33" fmla="*/ 309143 w 332232"/>
                <a:gd name="connsiteY33" fmla="*/ 354511 h 365864"/>
                <a:gd name="connsiteX34" fmla="*/ 260061 w 332232"/>
                <a:gd name="connsiteY34" fmla="*/ 365865 h 365864"/>
                <a:gd name="connsiteX35" fmla="*/ 195406 w 332232"/>
                <a:gd name="connsiteY35" fmla="*/ 361922 h 365864"/>
                <a:gd name="connsiteX36" fmla="*/ 176898 w 332232"/>
                <a:gd name="connsiteY36" fmla="*/ 348586 h 365864"/>
                <a:gd name="connsiteX37" fmla="*/ 68637 w 332232"/>
                <a:gd name="connsiteY37" fmla="*/ 349787 h 365864"/>
                <a:gd name="connsiteX38" fmla="*/ 64598 w 332232"/>
                <a:gd name="connsiteY38" fmla="*/ 351739 h 365864"/>
                <a:gd name="connsiteX39" fmla="*/ 48673 w 332232"/>
                <a:gd name="connsiteY39" fmla="*/ 339176 h 365864"/>
                <a:gd name="connsiteX40" fmla="*/ 31356 w 332232"/>
                <a:gd name="connsiteY40" fmla="*/ 338347 h 365864"/>
                <a:gd name="connsiteX41" fmla="*/ 15373 w 332232"/>
                <a:gd name="connsiteY41" fmla="*/ 343081 h 365864"/>
                <a:gd name="connsiteX42" fmla="*/ 2514 w 332232"/>
                <a:gd name="connsiteY42" fmla="*/ 348367 h 365864"/>
                <a:gd name="connsiteX43" fmla="*/ 0 w 332232"/>
                <a:gd name="connsiteY43" fmla="*/ 330908 h 365864"/>
                <a:gd name="connsiteX44" fmla="*/ 3696 w 332232"/>
                <a:gd name="connsiteY44" fmla="*/ 306600 h 365864"/>
                <a:gd name="connsiteX45" fmla="*/ 12906 w 332232"/>
                <a:gd name="connsiteY45" fmla="*/ 281407 h 365864"/>
                <a:gd name="connsiteX46" fmla="*/ 14297 w 332232"/>
                <a:gd name="connsiteY46" fmla="*/ 269634 h 365864"/>
                <a:gd name="connsiteX47" fmla="*/ 22965 w 332232"/>
                <a:gd name="connsiteY47" fmla="*/ 244983 h 365864"/>
                <a:gd name="connsiteX48" fmla="*/ 29327 w 332232"/>
                <a:gd name="connsiteY48" fmla="*/ 233810 h 365864"/>
                <a:gd name="connsiteX49" fmla="*/ 44672 w 332232"/>
                <a:gd name="connsiteY49" fmla="*/ 215998 h 365864"/>
                <a:gd name="connsiteX50" fmla="*/ 53235 w 332232"/>
                <a:gd name="connsiteY50" fmla="*/ 203911 h 365864"/>
                <a:gd name="connsiteX51" fmla="*/ 56036 w 332232"/>
                <a:gd name="connsiteY51" fmla="*/ 183842 h 365864"/>
                <a:gd name="connsiteX52" fmla="*/ 54635 w 332232"/>
                <a:gd name="connsiteY52" fmla="*/ 168516 h 365864"/>
                <a:gd name="connsiteX53" fmla="*/ 46654 w 332232"/>
                <a:gd name="connsiteY53" fmla="*/ 158868 h 365864"/>
                <a:gd name="connsiteX54" fmla="*/ 39538 w 332232"/>
                <a:gd name="connsiteY54" fmla="*/ 142523 h 365864"/>
                <a:gd name="connsiteX55" fmla="*/ 32975 w 332232"/>
                <a:gd name="connsiteY55" fmla="*/ 126387 h 365864"/>
                <a:gd name="connsiteX56" fmla="*/ 34404 w 332232"/>
                <a:gd name="connsiteY56" fmla="*/ 120806 h 365864"/>
                <a:gd name="connsiteX57" fmla="*/ 42615 w 332232"/>
                <a:gd name="connsiteY57" fmla="*/ 110166 h 365864"/>
                <a:gd name="connsiteX58" fmla="*/ 34509 w 332232"/>
                <a:gd name="connsiteY58" fmla="*/ 84277 h 365864"/>
                <a:gd name="connsiteX59" fmla="*/ 29042 w 332232"/>
                <a:gd name="connsiteY59" fmla="*/ 66370 h 365864"/>
                <a:gd name="connsiteX60" fmla="*/ 15659 w 332232"/>
                <a:gd name="connsiteY60" fmla="*/ 49473 h 365864"/>
                <a:gd name="connsiteX61" fmla="*/ 18202 w 332232"/>
                <a:gd name="connsiteY61" fmla="*/ 44291 h 365864"/>
                <a:gd name="connsiteX62" fmla="*/ 29223 w 332232"/>
                <a:gd name="connsiteY62" fmla="*/ 40710 h 365864"/>
                <a:gd name="connsiteX63" fmla="*/ 36966 w 332232"/>
                <a:gd name="connsiteY63" fmla="*/ 41205 h 365864"/>
                <a:gd name="connsiteX64" fmla="*/ 46330 w 332232"/>
                <a:gd name="connsiteY64" fmla="*/ 38005 h 365864"/>
                <a:gd name="connsiteX65" fmla="*/ 125159 w 332232"/>
                <a:gd name="connsiteY65" fmla="*/ 38348 h 365864"/>
                <a:gd name="connsiteX66" fmla="*/ 21279 w 332232"/>
                <a:gd name="connsiteY66" fmla="*/ 33195 h 365864"/>
                <a:gd name="connsiteX67" fmla="*/ 14487 w 332232"/>
                <a:gd name="connsiteY67" fmla="*/ 36014 h 365864"/>
                <a:gd name="connsiteX68" fmla="*/ 7344 w 332232"/>
                <a:gd name="connsiteY68" fmla="*/ 15973 h 365864"/>
                <a:gd name="connsiteX69" fmla="*/ 18126 w 332232"/>
                <a:gd name="connsiteY69" fmla="*/ 4477 h 365864"/>
                <a:gd name="connsiteX70" fmla="*/ 26194 w 332232"/>
                <a:gd name="connsiteY70" fmla="*/ 0 h 365864"/>
                <a:gd name="connsiteX71" fmla="*/ 36204 w 332232"/>
                <a:gd name="connsiteY71" fmla="*/ 9135 h 365864"/>
                <a:gd name="connsiteX72" fmla="*/ 26479 w 332232"/>
                <a:gd name="connsiteY72" fmla="*/ 14726 h 365864"/>
                <a:gd name="connsiteX73" fmla="*/ 22117 w 332232"/>
                <a:gd name="connsiteY73" fmla="*/ 21574 h 365864"/>
                <a:gd name="connsiteX74" fmla="*/ 21279 w 332232"/>
                <a:gd name="connsiteY74" fmla="*/ 33195 h 36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32232" h="365864">
                  <a:moveTo>
                    <a:pt x="125159" y="38348"/>
                  </a:moveTo>
                  <a:lnTo>
                    <a:pt x="131740" y="58236"/>
                  </a:lnTo>
                  <a:lnTo>
                    <a:pt x="139408" y="74266"/>
                  </a:lnTo>
                  <a:lnTo>
                    <a:pt x="145552" y="82915"/>
                  </a:lnTo>
                  <a:lnTo>
                    <a:pt x="155781" y="96917"/>
                  </a:lnTo>
                  <a:lnTo>
                    <a:pt x="173441" y="94745"/>
                  </a:lnTo>
                  <a:lnTo>
                    <a:pt x="182251" y="90973"/>
                  </a:lnTo>
                  <a:lnTo>
                    <a:pt x="197005" y="94755"/>
                  </a:lnTo>
                  <a:lnTo>
                    <a:pt x="201006" y="88059"/>
                  </a:lnTo>
                  <a:lnTo>
                    <a:pt x="207712" y="72466"/>
                  </a:lnTo>
                  <a:lnTo>
                    <a:pt x="224275" y="71428"/>
                  </a:lnTo>
                  <a:lnTo>
                    <a:pt x="225714" y="66799"/>
                  </a:lnTo>
                  <a:lnTo>
                    <a:pt x="239344" y="66694"/>
                  </a:lnTo>
                  <a:lnTo>
                    <a:pt x="237020" y="76324"/>
                  </a:lnTo>
                  <a:lnTo>
                    <a:pt x="269424" y="76095"/>
                  </a:lnTo>
                  <a:lnTo>
                    <a:pt x="269910" y="92936"/>
                  </a:lnTo>
                  <a:lnTo>
                    <a:pt x="275320" y="103280"/>
                  </a:lnTo>
                  <a:lnTo>
                    <a:pt x="271386" y="119453"/>
                  </a:lnTo>
                  <a:lnTo>
                    <a:pt x="273348" y="135979"/>
                  </a:lnTo>
                  <a:lnTo>
                    <a:pt x="282254" y="145971"/>
                  </a:lnTo>
                  <a:lnTo>
                    <a:pt x="280825" y="178080"/>
                  </a:lnTo>
                  <a:lnTo>
                    <a:pt x="287436" y="175603"/>
                  </a:lnTo>
                  <a:lnTo>
                    <a:pt x="299047" y="176270"/>
                  </a:lnTo>
                  <a:lnTo>
                    <a:pt x="315592" y="172221"/>
                  </a:lnTo>
                  <a:lnTo>
                    <a:pt x="327755" y="173812"/>
                  </a:lnTo>
                  <a:lnTo>
                    <a:pt x="330575" y="182204"/>
                  </a:lnTo>
                  <a:lnTo>
                    <a:pt x="327536" y="195339"/>
                  </a:lnTo>
                  <a:lnTo>
                    <a:pt x="332232" y="208055"/>
                  </a:lnTo>
                  <a:lnTo>
                    <a:pt x="328250" y="218227"/>
                  </a:lnTo>
                  <a:lnTo>
                    <a:pt x="330527" y="227619"/>
                  </a:lnTo>
                  <a:lnTo>
                    <a:pt x="274920" y="227276"/>
                  </a:lnTo>
                  <a:lnTo>
                    <a:pt x="273691" y="314506"/>
                  </a:lnTo>
                  <a:lnTo>
                    <a:pt x="291712" y="337147"/>
                  </a:lnTo>
                  <a:lnTo>
                    <a:pt x="309143" y="354511"/>
                  </a:lnTo>
                  <a:lnTo>
                    <a:pt x="260061" y="365865"/>
                  </a:lnTo>
                  <a:lnTo>
                    <a:pt x="195406" y="361922"/>
                  </a:lnTo>
                  <a:lnTo>
                    <a:pt x="176898" y="348586"/>
                  </a:lnTo>
                  <a:lnTo>
                    <a:pt x="68637" y="349787"/>
                  </a:lnTo>
                  <a:lnTo>
                    <a:pt x="64598" y="351739"/>
                  </a:lnTo>
                  <a:lnTo>
                    <a:pt x="48673" y="339176"/>
                  </a:lnTo>
                  <a:lnTo>
                    <a:pt x="31356" y="338347"/>
                  </a:lnTo>
                  <a:lnTo>
                    <a:pt x="15373" y="343081"/>
                  </a:lnTo>
                  <a:lnTo>
                    <a:pt x="2514" y="348367"/>
                  </a:lnTo>
                  <a:lnTo>
                    <a:pt x="0" y="330908"/>
                  </a:lnTo>
                  <a:lnTo>
                    <a:pt x="3696" y="306600"/>
                  </a:lnTo>
                  <a:lnTo>
                    <a:pt x="12906" y="281407"/>
                  </a:lnTo>
                  <a:lnTo>
                    <a:pt x="14297" y="269634"/>
                  </a:lnTo>
                  <a:lnTo>
                    <a:pt x="22965" y="244983"/>
                  </a:lnTo>
                  <a:lnTo>
                    <a:pt x="29327" y="233810"/>
                  </a:lnTo>
                  <a:lnTo>
                    <a:pt x="44672" y="215998"/>
                  </a:lnTo>
                  <a:lnTo>
                    <a:pt x="53235" y="203911"/>
                  </a:lnTo>
                  <a:lnTo>
                    <a:pt x="56036" y="183842"/>
                  </a:lnTo>
                  <a:lnTo>
                    <a:pt x="54635" y="168516"/>
                  </a:lnTo>
                  <a:lnTo>
                    <a:pt x="46654" y="158868"/>
                  </a:lnTo>
                  <a:lnTo>
                    <a:pt x="39538" y="142523"/>
                  </a:lnTo>
                  <a:lnTo>
                    <a:pt x="32975" y="126387"/>
                  </a:lnTo>
                  <a:lnTo>
                    <a:pt x="34404" y="120806"/>
                  </a:lnTo>
                  <a:lnTo>
                    <a:pt x="42615" y="110166"/>
                  </a:lnTo>
                  <a:lnTo>
                    <a:pt x="34509" y="84277"/>
                  </a:lnTo>
                  <a:lnTo>
                    <a:pt x="29042" y="66370"/>
                  </a:lnTo>
                  <a:lnTo>
                    <a:pt x="15659" y="49473"/>
                  </a:lnTo>
                  <a:lnTo>
                    <a:pt x="18202" y="44291"/>
                  </a:lnTo>
                  <a:lnTo>
                    <a:pt x="29223" y="40710"/>
                  </a:lnTo>
                  <a:lnTo>
                    <a:pt x="36966" y="41205"/>
                  </a:lnTo>
                  <a:lnTo>
                    <a:pt x="46330" y="38005"/>
                  </a:lnTo>
                  <a:lnTo>
                    <a:pt x="125159" y="38348"/>
                  </a:lnTo>
                  <a:close/>
                  <a:moveTo>
                    <a:pt x="21279" y="33195"/>
                  </a:moveTo>
                  <a:lnTo>
                    <a:pt x="14487" y="36014"/>
                  </a:lnTo>
                  <a:lnTo>
                    <a:pt x="7344" y="15973"/>
                  </a:lnTo>
                  <a:lnTo>
                    <a:pt x="18126" y="4477"/>
                  </a:lnTo>
                  <a:lnTo>
                    <a:pt x="26194" y="0"/>
                  </a:lnTo>
                  <a:lnTo>
                    <a:pt x="36204" y="9135"/>
                  </a:lnTo>
                  <a:lnTo>
                    <a:pt x="26479" y="14726"/>
                  </a:lnTo>
                  <a:lnTo>
                    <a:pt x="22117" y="21574"/>
                  </a:lnTo>
                  <a:lnTo>
                    <a:pt x="21279" y="331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orme libre : forme 5657">
              <a:extLst>
                <a:ext uri="{FF2B5EF4-FFF2-40B4-BE49-F238E27FC236}">
                  <a16:creationId xmlns:a16="http://schemas.microsoft.com/office/drawing/2014/main" id="{678990EB-40E3-AC0C-456E-885E179A27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860177" y="5336547"/>
              <a:ext cx="528475" cy="1175536"/>
            </a:xfrm>
            <a:custGeom>
              <a:avLst/>
              <a:gdLst>
                <a:gd name="connsiteX0" fmla="*/ 211436 w 528475"/>
                <a:gd name="connsiteY0" fmla="*/ 1173203 h 1175536"/>
                <a:gd name="connsiteX1" fmla="*/ 186061 w 528475"/>
                <a:gd name="connsiteY1" fmla="*/ 1175537 h 1175536"/>
                <a:gd name="connsiteX2" fmla="*/ 172440 w 528475"/>
                <a:gd name="connsiteY2" fmla="*/ 1159097 h 1175536"/>
                <a:gd name="connsiteX3" fmla="*/ 156353 w 528475"/>
                <a:gd name="connsiteY3" fmla="*/ 1157859 h 1175536"/>
                <a:gd name="connsiteX4" fmla="*/ 127759 w 528475"/>
                <a:gd name="connsiteY4" fmla="*/ 1157831 h 1175536"/>
                <a:gd name="connsiteX5" fmla="*/ 127740 w 528475"/>
                <a:gd name="connsiteY5" fmla="*/ 1057170 h 1175536"/>
                <a:gd name="connsiteX6" fmla="*/ 137998 w 528475"/>
                <a:gd name="connsiteY6" fmla="*/ 1077630 h 1175536"/>
                <a:gd name="connsiteX7" fmla="*/ 151352 w 528475"/>
                <a:gd name="connsiteY7" fmla="*/ 1111205 h 1175536"/>
                <a:gd name="connsiteX8" fmla="*/ 186071 w 528475"/>
                <a:gd name="connsiteY8" fmla="*/ 1138495 h 1175536"/>
                <a:gd name="connsiteX9" fmla="*/ 223456 w 528475"/>
                <a:gd name="connsiteY9" fmla="*/ 1149991 h 1175536"/>
                <a:gd name="connsiteX10" fmla="*/ 211436 w 528475"/>
                <a:gd name="connsiteY10" fmla="*/ 1173203 h 1175536"/>
                <a:gd name="connsiteX11" fmla="*/ 225723 w 528475"/>
                <a:gd name="connsiteY11" fmla="*/ 6982 h 1175536"/>
                <a:gd name="connsiteX12" fmla="*/ 241420 w 528475"/>
                <a:gd name="connsiteY12" fmla="*/ 27727 h 1175536"/>
                <a:gd name="connsiteX13" fmla="*/ 251841 w 528475"/>
                <a:gd name="connsiteY13" fmla="*/ 4619 h 1175536"/>
                <a:gd name="connsiteX14" fmla="*/ 282292 w 528475"/>
                <a:gd name="connsiteY14" fmla="*/ 5810 h 1175536"/>
                <a:gd name="connsiteX15" fmla="*/ 286607 w 528475"/>
                <a:gd name="connsiteY15" fmla="*/ 11944 h 1175536"/>
                <a:gd name="connsiteX16" fmla="*/ 335709 w 528475"/>
                <a:gd name="connsiteY16" fmla="*/ 59045 h 1175536"/>
                <a:gd name="connsiteX17" fmla="*/ 357540 w 528475"/>
                <a:gd name="connsiteY17" fmla="*/ 63465 h 1175536"/>
                <a:gd name="connsiteX18" fmla="*/ 390172 w 528475"/>
                <a:gd name="connsiteY18" fmla="*/ 85011 h 1175536"/>
                <a:gd name="connsiteX19" fmla="*/ 417681 w 528475"/>
                <a:gd name="connsiteY19" fmla="*/ 96459 h 1175536"/>
                <a:gd name="connsiteX20" fmla="*/ 421510 w 528475"/>
                <a:gd name="connsiteY20" fmla="*/ 109432 h 1175536"/>
                <a:gd name="connsiteX21" fmla="*/ 395221 w 528475"/>
                <a:gd name="connsiteY21" fmla="*/ 154495 h 1175536"/>
                <a:gd name="connsiteX22" fmla="*/ 422148 w 528475"/>
                <a:gd name="connsiteY22" fmla="*/ 162630 h 1175536"/>
                <a:gd name="connsiteX23" fmla="*/ 452142 w 528475"/>
                <a:gd name="connsiteY23" fmla="*/ 167192 h 1175536"/>
                <a:gd name="connsiteX24" fmla="*/ 473259 w 528475"/>
                <a:gd name="connsiteY24" fmla="*/ 162382 h 1175536"/>
                <a:gd name="connsiteX25" fmla="*/ 497481 w 528475"/>
                <a:gd name="connsiteY25" fmla="*/ 139541 h 1175536"/>
                <a:gd name="connsiteX26" fmla="*/ 501844 w 528475"/>
                <a:gd name="connsiteY26" fmla="*/ 113414 h 1175536"/>
                <a:gd name="connsiteX27" fmla="*/ 515074 w 528475"/>
                <a:gd name="connsiteY27" fmla="*/ 107766 h 1175536"/>
                <a:gd name="connsiteX28" fmla="*/ 528475 w 528475"/>
                <a:gd name="connsiteY28" fmla="*/ 124806 h 1175536"/>
                <a:gd name="connsiteX29" fmla="*/ 527933 w 528475"/>
                <a:gd name="connsiteY29" fmla="*/ 148514 h 1175536"/>
                <a:gd name="connsiteX30" fmla="*/ 505444 w 528475"/>
                <a:gd name="connsiteY30" fmla="*/ 164982 h 1175536"/>
                <a:gd name="connsiteX31" fmla="*/ 487508 w 528475"/>
                <a:gd name="connsiteY31" fmla="*/ 177193 h 1175536"/>
                <a:gd name="connsiteX32" fmla="*/ 457362 w 528475"/>
                <a:gd name="connsiteY32" fmla="*/ 206511 h 1175536"/>
                <a:gd name="connsiteX33" fmla="*/ 421729 w 528475"/>
                <a:gd name="connsiteY33" fmla="*/ 248155 h 1175536"/>
                <a:gd name="connsiteX34" fmla="*/ 415052 w 528475"/>
                <a:gd name="connsiteY34" fmla="*/ 272862 h 1175536"/>
                <a:gd name="connsiteX35" fmla="*/ 407908 w 528475"/>
                <a:gd name="connsiteY35" fmla="*/ 304914 h 1175536"/>
                <a:gd name="connsiteX36" fmla="*/ 408175 w 528475"/>
                <a:gd name="connsiteY36" fmla="*/ 336318 h 1175536"/>
                <a:gd name="connsiteX37" fmla="*/ 402384 w 528475"/>
                <a:gd name="connsiteY37" fmla="*/ 343385 h 1175536"/>
                <a:gd name="connsiteX38" fmla="*/ 400317 w 528475"/>
                <a:gd name="connsiteY38" fmla="*/ 364007 h 1175536"/>
                <a:gd name="connsiteX39" fmla="*/ 398488 w 528475"/>
                <a:gd name="connsiteY39" fmla="*/ 380781 h 1175536"/>
                <a:gd name="connsiteX40" fmla="*/ 432397 w 528475"/>
                <a:gd name="connsiteY40" fmla="*/ 408537 h 1175536"/>
                <a:gd name="connsiteX41" fmla="*/ 428749 w 528475"/>
                <a:gd name="connsiteY41" fmla="*/ 431092 h 1175536"/>
                <a:gd name="connsiteX42" fmla="*/ 445436 w 528475"/>
                <a:gd name="connsiteY42" fmla="*/ 445446 h 1175536"/>
                <a:gd name="connsiteX43" fmla="*/ 444074 w 528475"/>
                <a:gd name="connsiteY43" fmla="*/ 461639 h 1175536"/>
                <a:gd name="connsiteX44" fmla="*/ 418414 w 528475"/>
                <a:gd name="connsiteY44" fmla="*/ 504654 h 1175536"/>
                <a:gd name="connsiteX45" fmla="*/ 378819 w 528475"/>
                <a:gd name="connsiteY45" fmla="*/ 522874 h 1175536"/>
                <a:gd name="connsiteX46" fmla="*/ 325250 w 528475"/>
                <a:gd name="connsiteY46" fmla="*/ 529980 h 1175536"/>
                <a:gd name="connsiteX47" fmla="*/ 295913 w 528475"/>
                <a:gd name="connsiteY47" fmla="*/ 526542 h 1175536"/>
                <a:gd name="connsiteX48" fmla="*/ 301523 w 528475"/>
                <a:gd name="connsiteY48" fmla="*/ 546992 h 1175536"/>
                <a:gd name="connsiteX49" fmla="*/ 296056 w 528475"/>
                <a:gd name="connsiteY49" fmla="*/ 572909 h 1175536"/>
                <a:gd name="connsiteX50" fmla="*/ 300990 w 528475"/>
                <a:gd name="connsiteY50" fmla="*/ 590540 h 1175536"/>
                <a:gd name="connsiteX51" fmla="*/ 284969 w 528475"/>
                <a:gd name="connsiteY51" fmla="*/ 602913 h 1175536"/>
                <a:gd name="connsiteX52" fmla="*/ 257594 w 528475"/>
                <a:gd name="connsiteY52" fmla="*/ 607790 h 1175536"/>
                <a:gd name="connsiteX53" fmla="*/ 231915 w 528475"/>
                <a:gd name="connsiteY53" fmla="*/ 594960 h 1175536"/>
                <a:gd name="connsiteX54" fmla="*/ 221599 w 528475"/>
                <a:gd name="connsiteY54" fmla="*/ 604171 h 1175536"/>
                <a:gd name="connsiteX55" fmla="*/ 225323 w 528475"/>
                <a:gd name="connsiteY55" fmla="*/ 639508 h 1175536"/>
                <a:gd name="connsiteX56" fmla="*/ 243354 w 528475"/>
                <a:gd name="connsiteY56" fmla="*/ 650319 h 1175536"/>
                <a:gd name="connsiteX57" fmla="*/ 257975 w 528475"/>
                <a:gd name="connsiteY57" fmla="*/ 638994 h 1175536"/>
                <a:gd name="connsiteX58" fmla="*/ 265928 w 528475"/>
                <a:gd name="connsiteY58" fmla="*/ 657682 h 1175536"/>
                <a:gd name="connsiteX59" fmla="*/ 241335 w 528475"/>
                <a:gd name="connsiteY59" fmla="*/ 668921 h 1175536"/>
                <a:gd name="connsiteX60" fmla="*/ 219894 w 528475"/>
                <a:gd name="connsiteY60" fmla="*/ 691619 h 1175536"/>
                <a:gd name="connsiteX61" fmla="*/ 215970 w 528475"/>
                <a:gd name="connsiteY61" fmla="*/ 728834 h 1175536"/>
                <a:gd name="connsiteX62" fmla="*/ 209655 w 528475"/>
                <a:gd name="connsiteY62" fmla="*/ 748903 h 1175536"/>
                <a:gd name="connsiteX63" fmla="*/ 184432 w 528475"/>
                <a:gd name="connsiteY63" fmla="*/ 749008 h 1175536"/>
                <a:gd name="connsiteX64" fmla="*/ 163496 w 528475"/>
                <a:gd name="connsiteY64" fmla="*/ 768391 h 1175536"/>
                <a:gd name="connsiteX65" fmla="*/ 155838 w 528475"/>
                <a:gd name="connsiteY65" fmla="*/ 797090 h 1175536"/>
                <a:gd name="connsiteX66" fmla="*/ 182099 w 528475"/>
                <a:gd name="connsiteY66" fmla="*/ 825493 h 1175536"/>
                <a:gd name="connsiteX67" fmla="*/ 207635 w 528475"/>
                <a:gd name="connsiteY67" fmla="*/ 833408 h 1175536"/>
                <a:gd name="connsiteX68" fmla="*/ 198453 w 528475"/>
                <a:gd name="connsiteY68" fmla="*/ 868899 h 1175536"/>
                <a:gd name="connsiteX69" fmla="*/ 166906 w 528475"/>
                <a:gd name="connsiteY69" fmla="*/ 891521 h 1175536"/>
                <a:gd name="connsiteX70" fmla="*/ 149552 w 528475"/>
                <a:gd name="connsiteY70" fmla="*/ 939384 h 1175536"/>
                <a:gd name="connsiteX71" fmla="*/ 125178 w 528475"/>
                <a:gd name="connsiteY71" fmla="*/ 955757 h 1175536"/>
                <a:gd name="connsiteX72" fmla="*/ 114233 w 528475"/>
                <a:gd name="connsiteY72" fmla="*/ 975370 h 1175536"/>
                <a:gd name="connsiteX73" fmla="*/ 122853 w 528475"/>
                <a:gd name="connsiteY73" fmla="*/ 1019575 h 1175536"/>
                <a:gd name="connsiteX74" fmla="*/ 140627 w 528475"/>
                <a:gd name="connsiteY74" fmla="*/ 1044654 h 1175536"/>
                <a:gd name="connsiteX75" fmla="*/ 129368 w 528475"/>
                <a:gd name="connsiteY75" fmla="*/ 1042454 h 1175536"/>
                <a:gd name="connsiteX76" fmla="*/ 104613 w 528475"/>
                <a:gd name="connsiteY76" fmla="*/ 1035644 h 1175536"/>
                <a:gd name="connsiteX77" fmla="*/ 40081 w 528475"/>
                <a:gd name="connsiteY77" fmla="*/ 1029852 h 1175536"/>
                <a:gd name="connsiteX78" fmla="*/ 29013 w 528475"/>
                <a:gd name="connsiteY78" fmla="*/ 1004782 h 1175536"/>
                <a:gd name="connsiteX79" fmla="*/ 29527 w 528475"/>
                <a:gd name="connsiteY79" fmla="*/ 973045 h 1175536"/>
                <a:gd name="connsiteX80" fmla="*/ 11744 w 528475"/>
                <a:gd name="connsiteY80" fmla="*/ 975750 h 1175536"/>
                <a:gd name="connsiteX81" fmla="*/ 2334 w 528475"/>
                <a:gd name="connsiteY81" fmla="*/ 960548 h 1175536"/>
                <a:gd name="connsiteX82" fmla="*/ 0 w 528475"/>
                <a:gd name="connsiteY82" fmla="*/ 916743 h 1175536"/>
                <a:gd name="connsiteX83" fmla="*/ 20488 w 528475"/>
                <a:gd name="connsiteY83" fmla="*/ 898855 h 1175536"/>
                <a:gd name="connsiteX84" fmla="*/ 28956 w 528475"/>
                <a:gd name="connsiteY84" fmla="*/ 873328 h 1175536"/>
                <a:gd name="connsiteX85" fmla="*/ 25851 w 528475"/>
                <a:gd name="connsiteY85" fmla="*/ 853211 h 1175536"/>
                <a:gd name="connsiteX86" fmla="*/ 40005 w 528475"/>
                <a:gd name="connsiteY86" fmla="*/ 819683 h 1175536"/>
                <a:gd name="connsiteX87" fmla="*/ 49759 w 528475"/>
                <a:gd name="connsiteY87" fmla="*/ 768725 h 1175536"/>
                <a:gd name="connsiteX88" fmla="*/ 46891 w 528475"/>
                <a:gd name="connsiteY88" fmla="*/ 746522 h 1175536"/>
                <a:gd name="connsiteX89" fmla="*/ 58550 w 528475"/>
                <a:gd name="connsiteY89" fmla="*/ 739397 h 1175536"/>
                <a:gd name="connsiteX90" fmla="*/ 55693 w 528475"/>
                <a:gd name="connsiteY90" fmla="*/ 725319 h 1175536"/>
                <a:gd name="connsiteX91" fmla="*/ 43301 w 528475"/>
                <a:gd name="connsiteY91" fmla="*/ 717871 h 1175536"/>
                <a:gd name="connsiteX92" fmla="*/ 52101 w 528475"/>
                <a:gd name="connsiteY92" fmla="*/ 702345 h 1175536"/>
                <a:gd name="connsiteX93" fmla="*/ 40043 w 528475"/>
                <a:gd name="connsiteY93" fmla="*/ 688419 h 1175536"/>
                <a:gd name="connsiteX94" fmla="*/ 33804 w 528475"/>
                <a:gd name="connsiteY94" fmla="*/ 646557 h 1175536"/>
                <a:gd name="connsiteX95" fmla="*/ 44539 w 528475"/>
                <a:gd name="connsiteY95" fmla="*/ 639251 h 1175536"/>
                <a:gd name="connsiteX96" fmla="*/ 40024 w 528475"/>
                <a:gd name="connsiteY96" fmla="*/ 595979 h 1175536"/>
                <a:gd name="connsiteX97" fmla="*/ 46301 w 528475"/>
                <a:gd name="connsiteY97" fmla="*/ 560251 h 1175536"/>
                <a:gd name="connsiteX98" fmla="*/ 53445 w 528475"/>
                <a:gd name="connsiteY98" fmla="*/ 529551 h 1175536"/>
                <a:gd name="connsiteX99" fmla="*/ 69437 w 528475"/>
                <a:gd name="connsiteY99" fmla="*/ 517169 h 1175536"/>
                <a:gd name="connsiteX100" fmla="*/ 61312 w 528475"/>
                <a:gd name="connsiteY100" fmla="*/ 484194 h 1175536"/>
                <a:gd name="connsiteX101" fmla="*/ 61226 w 528475"/>
                <a:gd name="connsiteY101" fmla="*/ 453552 h 1175536"/>
                <a:gd name="connsiteX102" fmla="*/ 81448 w 528475"/>
                <a:gd name="connsiteY102" fmla="*/ 431997 h 1175536"/>
                <a:gd name="connsiteX103" fmla="*/ 80829 w 528475"/>
                <a:gd name="connsiteY103" fmla="*/ 404679 h 1175536"/>
                <a:gd name="connsiteX104" fmla="*/ 96069 w 528475"/>
                <a:gd name="connsiteY104" fmla="*/ 373123 h 1175536"/>
                <a:gd name="connsiteX105" fmla="*/ 96136 w 528475"/>
                <a:gd name="connsiteY105" fmla="*/ 343728 h 1175536"/>
                <a:gd name="connsiteX106" fmla="*/ 89202 w 528475"/>
                <a:gd name="connsiteY106" fmla="*/ 337928 h 1175536"/>
                <a:gd name="connsiteX107" fmla="*/ 76895 w 528475"/>
                <a:gd name="connsiteY107" fmla="*/ 283693 h 1175536"/>
                <a:gd name="connsiteX108" fmla="*/ 93354 w 528475"/>
                <a:gd name="connsiteY108" fmla="*/ 251850 h 1175536"/>
                <a:gd name="connsiteX109" fmla="*/ 90830 w 528475"/>
                <a:gd name="connsiteY109" fmla="*/ 222180 h 1175536"/>
                <a:gd name="connsiteX110" fmla="*/ 100374 w 528475"/>
                <a:gd name="connsiteY110" fmla="*/ 194596 h 1175536"/>
                <a:gd name="connsiteX111" fmla="*/ 117862 w 528475"/>
                <a:gd name="connsiteY111" fmla="*/ 166373 h 1175536"/>
                <a:gd name="connsiteX112" fmla="*/ 136712 w 528475"/>
                <a:gd name="connsiteY112" fmla="*/ 147799 h 1175536"/>
                <a:gd name="connsiteX113" fmla="*/ 128721 w 528475"/>
                <a:gd name="connsiteY113" fmla="*/ 136131 h 1175536"/>
                <a:gd name="connsiteX114" fmla="*/ 134293 w 528475"/>
                <a:gd name="connsiteY114" fmla="*/ 126596 h 1175536"/>
                <a:gd name="connsiteX115" fmla="*/ 133445 w 528475"/>
                <a:gd name="connsiteY115" fmla="*/ 77609 h 1175536"/>
                <a:gd name="connsiteX116" fmla="*/ 162535 w 528475"/>
                <a:gd name="connsiteY116" fmla="*/ 63236 h 1175536"/>
                <a:gd name="connsiteX117" fmla="*/ 171697 w 528475"/>
                <a:gd name="connsiteY117" fmla="*/ 33147 h 1175536"/>
                <a:gd name="connsiteX118" fmla="*/ 168459 w 528475"/>
                <a:gd name="connsiteY118" fmla="*/ 25927 h 1175536"/>
                <a:gd name="connsiteX119" fmla="*/ 190709 w 528475"/>
                <a:gd name="connsiteY119" fmla="*/ 0 h 1175536"/>
                <a:gd name="connsiteX120" fmla="*/ 225723 w 528475"/>
                <a:gd name="connsiteY120" fmla="*/ 6982 h 117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528475" h="1175536">
                  <a:moveTo>
                    <a:pt x="211436" y="1173203"/>
                  </a:moveTo>
                  <a:lnTo>
                    <a:pt x="186061" y="1175537"/>
                  </a:lnTo>
                  <a:lnTo>
                    <a:pt x="172440" y="1159097"/>
                  </a:lnTo>
                  <a:lnTo>
                    <a:pt x="156353" y="1157859"/>
                  </a:lnTo>
                  <a:lnTo>
                    <a:pt x="127759" y="1157831"/>
                  </a:lnTo>
                  <a:lnTo>
                    <a:pt x="127740" y="1057170"/>
                  </a:lnTo>
                  <a:lnTo>
                    <a:pt x="137998" y="1077630"/>
                  </a:lnTo>
                  <a:lnTo>
                    <a:pt x="151352" y="1111205"/>
                  </a:lnTo>
                  <a:lnTo>
                    <a:pt x="186071" y="1138495"/>
                  </a:lnTo>
                  <a:lnTo>
                    <a:pt x="223456" y="1149991"/>
                  </a:lnTo>
                  <a:lnTo>
                    <a:pt x="211436" y="1173203"/>
                  </a:lnTo>
                  <a:close/>
                  <a:moveTo>
                    <a:pt x="225723" y="6982"/>
                  </a:moveTo>
                  <a:lnTo>
                    <a:pt x="241420" y="27727"/>
                  </a:lnTo>
                  <a:lnTo>
                    <a:pt x="251841" y="4619"/>
                  </a:lnTo>
                  <a:lnTo>
                    <a:pt x="282292" y="5810"/>
                  </a:lnTo>
                  <a:lnTo>
                    <a:pt x="286607" y="11944"/>
                  </a:lnTo>
                  <a:lnTo>
                    <a:pt x="335709" y="59045"/>
                  </a:lnTo>
                  <a:lnTo>
                    <a:pt x="357540" y="63465"/>
                  </a:lnTo>
                  <a:lnTo>
                    <a:pt x="390172" y="85011"/>
                  </a:lnTo>
                  <a:lnTo>
                    <a:pt x="417681" y="96459"/>
                  </a:lnTo>
                  <a:lnTo>
                    <a:pt x="421510" y="109432"/>
                  </a:lnTo>
                  <a:lnTo>
                    <a:pt x="395221" y="154495"/>
                  </a:lnTo>
                  <a:lnTo>
                    <a:pt x="422148" y="162630"/>
                  </a:lnTo>
                  <a:lnTo>
                    <a:pt x="452142" y="167192"/>
                  </a:lnTo>
                  <a:lnTo>
                    <a:pt x="473259" y="162382"/>
                  </a:lnTo>
                  <a:lnTo>
                    <a:pt x="497481" y="139541"/>
                  </a:lnTo>
                  <a:lnTo>
                    <a:pt x="501844" y="113414"/>
                  </a:lnTo>
                  <a:lnTo>
                    <a:pt x="515074" y="107766"/>
                  </a:lnTo>
                  <a:lnTo>
                    <a:pt x="528475" y="124806"/>
                  </a:lnTo>
                  <a:lnTo>
                    <a:pt x="527933" y="148514"/>
                  </a:lnTo>
                  <a:lnTo>
                    <a:pt x="505444" y="164982"/>
                  </a:lnTo>
                  <a:lnTo>
                    <a:pt x="487508" y="177193"/>
                  </a:lnTo>
                  <a:lnTo>
                    <a:pt x="457362" y="206511"/>
                  </a:lnTo>
                  <a:lnTo>
                    <a:pt x="421729" y="248155"/>
                  </a:lnTo>
                  <a:lnTo>
                    <a:pt x="415052" y="272862"/>
                  </a:lnTo>
                  <a:lnTo>
                    <a:pt x="407908" y="304914"/>
                  </a:lnTo>
                  <a:lnTo>
                    <a:pt x="408175" y="336318"/>
                  </a:lnTo>
                  <a:lnTo>
                    <a:pt x="402384" y="343385"/>
                  </a:lnTo>
                  <a:lnTo>
                    <a:pt x="400317" y="364007"/>
                  </a:lnTo>
                  <a:lnTo>
                    <a:pt x="398488" y="380781"/>
                  </a:lnTo>
                  <a:lnTo>
                    <a:pt x="432397" y="408537"/>
                  </a:lnTo>
                  <a:lnTo>
                    <a:pt x="428749" y="431092"/>
                  </a:lnTo>
                  <a:lnTo>
                    <a:pt x="445436" y="445446"/>
                  </a:lnTo>
                  <a:lnTo>
                    <a:pt x="444074" y="461639"/>
                  </a:lnTo>
                  <a:lnTo>
                    <a:pt x="418414" y="504654"/>
                  </a:lnTo>
                  <a:lnTo>
                    <a:pt x="378819" y="522874"/>
                  </a:lnTo>
                  <a:lnTo>
                    <a:pt x="325250" y="529980"/>
                  </a:lnTo>
                  <a:lnTo>
                    <a:pt x="295913" y="526542"/>
                  </a:lnTo>
                  <a:lnTo>
                    <a:pt x="301523" y="546992"/>
                  </a:lnTo>
                  <a:lnTo>
                    <a:pt x="296056" y="572909"/>
                  </a:lnTo>
                  <a:lnTo>
                    <a:pt x="300990" y="590540"/>
                  </a:lnTo>
                  <a:lnTo>
                    <a:pt x="284969" y="602913"/>
                  </a:lnTo>
                  <a:lnTo>
                    <a:pt x="257594" y="607790"/>
                  </a:lnTo>
                  <a:lnTo>
                    <a:pt x="231915" y="594960"/>
                  </a:lnTo>
                  <a:lnTo>
                    <a:pt x="221599" y="604171"/>
                  </a:lnTo>
                  <a:lnTo>
                    <a:pt x="225323" y="639508"/>
                  </a:lnTo>
                  <a:lnTo>
                    <a:pt x="243354" y="650319"/>
                  </a:lnTo>
                  <a:lnTo>
                    <a:pt x="257975" y="638994"/>
                  </a:lnTo>
                  <a:lnTo>
                    <a:pt x="265928" y="657682"/>
                  </a:lnTo>
                  <a:lnTo>
                    <a:pt x="241335" y="668921"/>
                  </a:lnTo>
                  <a:lnTo>
                    <a:pt x="219894" y="691619"/>
                  </a:lnTo>
                  <a:lnTo>
                    <a:pt x="215970" y="728834"/>
                  </a:lnTo>
                  <a:lnTo>
                    <a:pt x="209655" y="748903"/>
                  </a:lnTo>
                  <a:lnTo>
                    <a:pt x="184432" y="749008"/>
                  </a:lnTo>
                  <a:lnTo>
                    <a:pt x="163496" y="768391"/>
                  </a:lnTo>
                  <a:lnTo>
                    <a:pt x="155838" y="797090"/>
                  </a:lnTo>
                  <a:lnTo>
                    <a:pt x="182099" y="825493"/>
                  </a:lnTo>
                  <a:lnTo>
                    <a:pt x="207635" y="833408"/>
                  </a:lnTo>
                  <a:lnTo>
                    <a:pt x="198453" y="868899"/>
                  </a:lnTo>
                  <a:lnTo>
                    <a:pt x="166906" y="891521"/>
                  </a:lnTo>
                  <a:lnTo>
                    <a:pt x="149552" y="939384"/>
                  </a:lnTo>
                  <a:lnTo>
                    <a:pt x="125178" y="955757"/>
                  </a:lnTo>
                  <a:lnTo>
                    <a:pt x="114233" y="975370"/>
                  </a:lnTo>
                  <a:lnTo>
                    <a:pt x="122853" y="1019575"/>
                  </a:lnTo>
                  <a:lnTo>
                    <a:pt x="140627" y="1044654"/>
                  </a:lnTo>
                  <a:lnTo>
                    <a:pt x="129368" y="1042454"/>
                  </a:lnTo>
                  <a:lnTo>
                    <a:pt x="104613" y="1035644"/>
                  </a:lnTo>
                  <a:lnTo>
                    <a:pt x="40081" y="1029852"/>
                  </a:lnTo>
                  <a:lnTo>
                    <a:pt x="29013" y="1004782"/>
                  </a:lnTo>
                  <a:lnTo>
                    <a:pt x="29527" y="973045"/>
                  </a:lnTo>
                  <a:lnTo>
                    <a:pt x="11744" y="975750"/>
                  </a:lnTo>
                  <a:lnTo>
                    <a:pt x="2334" y="960548"/>
                  </a:lnTo>
                  <a:lnTo>
                    <a:pt x="0" y="916743"/>
                  </a:lnTo>
                  <a:lnTo>
                    <a:pt x="20488" y="898855"/>
                  </a:lnTo>
                  <a:lnTo>
                    <a:pt x="28956" y="873328"/>
                  </a:lnTo>
                  <a:lnTo>
                    <a:pt x="25851" y="853211"/>
                  </a:lnTo>
                  <a:lnTo>
                    <a:pt x="40005" y="819683"/>
                  </a:lnTo>
                  <a:lnTo>
                    <a:pt x="49759" y="768725"/>
                  </a:lnTo>
                  <a:lnTo>
                    <a:pt x="46891" y="746522"/>
                  </a:lnTo>
                  <a:lnTo>
                    <a:pt x="58550" y="739397"/>
                  </a:lnTo>
                  <a:lnTo>
                    <a:pt x="55693" y="725319"/>
                  </a:lnTo>
                  <a:lnTo>
                    <a:pt x="43301" y="717871"/>
                  </a:lnTo>
                  <a:lnTo>
                    <a:pt x="52101" y="702345"/>
                  </a:lnTo>
                  <a:lnTo>
                    <a:pt x="40043" y="688419"/>
                  </a:lnTo>
                  <a:lnTo>
                    <a:pt x="33804" y="646557"/>
                  </a:lnTo>
                  <a:lnTo>
                    <a:pt x="44539" y="639251"/>
                  </a:lnTo>
                  <a:lnTo>
                    <a:pt x="40024" y="595979"/>
                  </a:lnTo>
                  <a:lnTo>
                    <a:pt x="46301" y="560251"/>
                  </a:lnTo>
                  <a:lnTo>
                    <a:pt x="53445" y="529551"/>
                  </a:lnTo>
                  <a:lnTo>
                    <a:pt x="69437" y="517169"/>
                  </a:lnTo>
                  <a:lnTo>
                    <a:pt x="61312" y="484194"/>
                  </a:lnTo>
                  <a:lnTo>
                    <a:pt x="61226" y="453552"/>
                  </a:lnTo>
                  <a:lnTo>
                    <a:pt x="81448" y="431997"/>
                  </a:lnTo>
                  <a:lnTo>
                    <a:pt x="80829" y="404679"/>
                  </a:lnTo>
                  <a:lnTo>
                    <a:pt x="96069" y="373123"/>
                  </a:lnTo>
                  <a:lnTo>
                    <a:pt x="96136" y="343728"/>
                  </a:lnTo>
                  <a:lnTo>
                    <a:pt x="89202" y="337928"/>
                  </a:lnTo>
                  <a:lnTo>
                    <a:pt x="76895" y="283693"/>
                  </a:lnTo>
                  <a:lnTo>
                    <a:pt x="93354" y="251850"/>
                  </a:lnTo>
                  <a:lnTo>
                    <a:pt x="90830" y="222180"/>
                  </a:lnTo>
                  <a:lnTo>
                    <a:pt x="100374" y="194596"/>
                  </a:lnTo>
                  <a:lnTo>
                    <a:pt x="117862" y="166373"/>
                  </a:lnTo>
                  <a:lnTo>
                    <a:pt x="136712" y="147799"/>
                  </a:lnTo>
                  <a:lnTo>
                    <a:pt x="128721" y="136131"/>
                  </a:lnTo>
                  <a:lnTo>
                    <a:pt x="134293" y="126596"/>
                  </a:lnTo>
                  <a:lnTo>
                    <a:pt x="133445" y="77609"/>
                  </a:lnTo>
                  <a:lnTo>
                    <a:pt x="162535" y="63236"/>
                  </a:lnTo>
                  <a:lnTo>
                    <a:pt x="171697" y="33147"/>
                  </a:lnTo>
                  <a:lnTo>
                    <a:pt x="168459" y="25927"/>
                  </a:lnTo>
                  <a:lnTo>
                    <a:pt x="190709" y="0"/>
                  </a:lnTo>
                  <a:lnTo>
                    <a:pt x="225723" y="69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orme libre : forme 5658">
              <a:extLst>
                <a:ext uri="{FF2B5EF4-FFF2-40B4-BE49-F238E27FC236}">
                  <a16:creationId xmlns:a16="http://schemas.microsoft.com/office/drawing/2014/main" id="{CBE2DC05-C9DA-E0B2-A835-AD5DBA21FD9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074073" y="3243400"/>
              <a:ext cx="200291" cy="103250"/>
            </a:xfrm>
            <a:custGeom>
              <a:avLst/>
              <a:gdLst>
                <a:gd name="connsiteX0" fmla="*/ 200292 w 200291"/>
                <a:gd name="connsiteY0" fmla="*/ 36862 h 103250"/>
                <a:gd name="connsiteX1" fmla="*/ 198263 w 200291"/>
                <a:gd name="connsiteY1" fmla="*/ 53092 h 103250"/>
                <a:gd name="connsiteX2" fmla="*/ 183223 w 200291"/>
                <a:gd name="connsiteY2" fmla="*/ 53169 h 103250"/>
                <a:gd name="connsiteX3" fmla="*/ 188404 w 200291"/>
                <a:gd name="connsiteY3" fmla="*/ 61731 h 103250"/>
                <a:gd name="connsiteX4" fmla="*/ 179537 w 200291"/>
                <a:gd name="connsiteY4" fmla="*/ 86944 h 103250"/>
                <a:gd name="connsiteX5" fmla="*/ 174441 w 200291"/>
                <a:gd name="connsiteY5" fmla="*/ 93507 h 103250"/>
                <a:gd name="connsiteX6" fmla="*/ 151086 w 200291"/>
                <a:gd name="connsiteY6" fmla="*/ 94469 h 103250"/>
                <a:gd name="connsiteX7" fmla="*/ 137608 w 200291"/>
                <a:gd name="connsiteY7" fmla="*/ 103251 h 103250"/>
                <a:gd name="connsiteX8" fmla="*/ 115548 w 200291"/>
                <a:gd name="connsiteY8" fmla="*/ 100260 h 103250"/>
                <a:gd name="connsiteX9" fmla="*/ 77362 w 200291"/>
                <a:gd name="connsiteY9" fmla="*/ 90249 h 103250"/>
                <a:gd name="connsiteX10" fmla="*/ 71399 w 200291"/>
                <a:gd name="connsiteY10" fmla="*/ 76686 h 103250"/>
                <a:gd name="connsiteX11" fmla="*/ 45006 w 200291"/>
                <a:gd name="connsiteY11" fmla="*/ 83468 h 103250"/>
                <a:gd name="connsiteX12" fmla="*/ 41891 w 200291"/>
                <a:gd name="connsiteY12" fmla="*/ 90869 h 103250"/>
                <a:gd name="connsiteX13" fmla="*/ 25717 w 200291"/>
                <a:gd name="connsiteY13" fmla="*/ 85344 h 103250"/>
                <a:gd name="connsiteX14" fmla="*/ 12087 w 200291"/>
                <a:gd name="connsiteY14" fmla="*/ 84287 h 103250"/>
                <a:gd name="connsiteX15" fmla="*/ 0 w 200291"/>
                <a:gd name="connsiteY15" fmla="*/ 77171 h 103250"/>
                <a:gd name="connsiteX16" fmla="*/ 4086 w 200291"/>
                <a:gd name="connsiteY16" fmla="*/ 67580 h 103250"/>
                <a:gd name="connsiteX17" fmla="*/ 3057 w 200291"/>
                <a:gd name="connsiteY17" fmla="*/ 60588 h 103250"/>
                <a:gd name="connsiteX18" fmla="*/ 11116 w 200291"/>
                <a:gd name="connsiteY18" fmla="*/ 58417 h 103250"/>
                <a:gd name="connsiteX19" fmla="*/ 24632 w 200291"/>
                <a:gd name="connsiteY19" fmla="*/ 69352 h 103250"/>
                <a:gd name="connsiteX20" fmla="*/ 28432 w 200291"/>
                <a:gd name="connsiteY20" fmla="*/ 58960 h 103250"/>
                <a:gd name="connsiteX21" fmla="*/ 51987 w 200291"/>
                <a:gd name="connsiteY21" fmla="*/ 60646 h 103250"/>
                <a:gd name="connsiteX22" fmla="*/ 71076 w 200291"/>
                <a:gd name="connsiteY22" fmla="*/ 53559 h 103250"/>
                <a:gd name="connsiteX23" fmla="*/ 83887 w 200291"/>
                <a:gd name="connsiteY23" fmla="*/ 54769 h 103250"/>
                <a:gd name="connsiteX24" fmla="*/ 92212 w 200291"/>
                <a:gd name="connsiteY24" fmla="*/ 62855 h 103250"/>
                <a:gd name="connsiteX25" fmla="*/ 94697 w 200291"/>
                <a:gd name="connsiteY25" fmla="*/ 56150 h 103250"/>
                <a:gd name="connsiteX26" fmla="*/ 90916 w 200291"/>
                <a:gd name="connsiteY26" fmla="*/ 30242 h 103250"/>
                <a:gd name="connsiteX27" fmla="*/ 100508 w 200291"/>
                <a:gd name="connsiteY27" fmla="*/ 25155 h 103250"/>
                <a:gd name="connsiteX28" fmla="*/ 109928 w 200291"/>
                <a:gd name="connsiteY28" fmla="*/ 6572 h 103250"/>
                <a:gd name="connsiteX29" fmla="*/ 129768 w 200291"/>
                <a:gd name="connsiteY29" fmla="*/ 19564 h 103250"/>
                <a:gd name="connsiteX30" fmla="*/ 144789 w 200291"/>
                <a:gd name="connsiteY30" fmla="*/ 3038 h 103250"/>
                <a:gd name="connsiteX31" fmla="*/ 154191 w 200291"/>
                <a:gd name="connsiteY31" fmla="*/ 0 h 103250"/>
                <a:gd name="connsiteX32" fmla="*/ 174927 w 200291"/>
                <a:gd name="connsiteY32" fmla="*/ 12363 h 103250"/>
                <a:gd name="connsiteX33" fmla="*/ 187471 w 200291"/>
                <a:gd name="connsiteY33" fmla="*/ 10268 h 103250"/>
                <a:gd name="connsiteX34" fmla="*/ 199777 w 200291"/>
                <a:gd name="connsiteY34" fmla="*/ 17888 h 103250"/>
                <a:gd name="connsiteX35" fmla="*/ 197634 w 200291"/>
                <a:gd name="connsiteY35" fmla="*/ 22984 h 103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00291" h="103250">
                  <a:moveTo>
                    <a:pt x="200292" y="36862"/>
                  </a:moveTo>
                  <a:lnTo>
                    <a:pt x="198263" y="53092"/>
                  </a:lnTo>
                  <a:lnTo>
                    <a:pt x="183223" y="53169"/>
                  </a:lnTo>
                  <a:lnTo>
                    <a:pt x="188404" y="61731"/>
                  </a:lnTo>
                  <a:lnTo>
                    <a:pt x="179537" y="86944"/>
                  </a:lnTo>
                  <a:lnTo>
                    <a:pt x="174441" y="93507"/>
                  </a:lnTo>
                  <a:lnTo>
                    <a:pt x="151086" y="94469"/>
                  </a:lnTo>
                  <a:lnTo>
                    <a:pt x="137608" y="103251"/>
                  </a:lnTo>
                  <a:lnTo>
                    <a:pt x="115548" y="100260"/>
                  </a:lnTo>
                  <a:lnTo>
                    <a:pt x="77362" y="90249"/>
                  </a:lnTo>
                  <a:lnTo>
                    <a:pt x="71399" y="76686"/>
                  </a:lnTo>
                  <a:lnTo>
                    <a:pt x="45006" y="83468"/>
                  </a:lnTo>
                  <a:lnTo>
                    <a:pt x="41891" y="90869"/>
                  </a:lnTo>
                  <a:lnTo>
                    <a:pt x="25717" y="85344"/>
                  </a:lnTo>
                  <a:lnTo>
                    <a:pt x="12087" y="84287"/>
                  </a:lnTo>
                  <a:lnTo>
                    <a:pt x="0" y="77171"/>
                  </a:lnTo>
                  <a:lnTo>
                    <a:pt x="4086" y="67580"/>
                  </a:lnTo>
                  <a:lnTo>
                    <a:pt x="3057" y="60588"/>
                  </a:lnTo>
                  <a:lnTo>
                    <a:pt x="11116" y="58417"/>
                  </a:lnTo>
                  <a:lnTo>
                    <a:pt x="24632" y="69352"/>
                  </a:lnTo>
                  <a:lnTo>
                    <a:pt x="28432" y="58960"/>
                  </a:lnTo>
                  <a:lnTo>
                    <a:pt x="51987" y="60646"/>
                  </a:lnTo>
                  <a:lnTo>
                    <a:pt x="71076" y="53559"/>
                  </a:lnTo>
                  <a:lnTo>
                    <a:pt x="83887" y="54769"/>
                  </a:lnTo>
                  <a:lnTo>
                    <a:pt x="92212" y="62855"/>
                  </a:lnTo>
                  <a:lnTo>
                    <a:pt x="94697" y="56150"/>
                  </a:lnTo>
                  <a:lnTo>
                    <a:pt x="90916" y="30242"/>
                  </a:lnTo>
                  <a:lnTo>
                    <a:pt x="100508" y="25155"/>
                  </a:lnTo>
                  <a:lnTo>
                    <a:pt x="109928" y="6572"/>
                  </a:lnTo>
                  <a:lnTo>
                    <a:pt x="129768" y="19564"/>
                  </a:lnTo>
                  <a:lnTo>
                    <a:pt x="144789" y="3038"/>
                  </a:lnTo>
                  <a:lnTo>
                    <a:pt x="154191" y="0"/>
                  </a:lnTo>
                  <a:lnTo>
                    <a:pt x="174927" y="12363"/>
                  </a:lnTo>
                  <a:lnTo>
                    <a:pt x="187471" y="10268"/>
                  </a:lnTo>
                  <a:lnTo>
                    <a:pt x="199777" y="17888"/>
                  </a:lnTo>
                  <a:lnTo>
                    <a:pt x="197634" y="22984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orme libre : forme 5659">
              <a:extLst>
                <a:ext uri="{FF2B5EF4-FFF2-40B4-BE49-F238E27FC236}">
                  <a16:creationId xmlns:a16="http://schemas.microsoft.com/office/drawing/2014/main" id="{E0B92A50-C7A2-B39B-6B6B-0D6954702C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847819" y="5027394"/>
              <a:ext cx="1074410" cy="1005887"/>
            </a:xfrm>
            <a:custGeom>
              <a:avLst/>
              <a:gdLst>
                <a:gd name="connsiteX0" fmla="*/ 856183 w 1074410"/>
                <a:gd name="connsiteY0" fmla="*/ 903741 h 1005887"/>
                <a:gd name="connsiteX1" fmla="*/ 881987 w 1074410"/>
                <a:gd name="connsiteY1" fmla="*/ 915905 h 1005887"/>
                <a:gd name="connsiteX2" fmla="*/ 896522 w 1074410"/>
                <a:gd name="connsiteY2" fmla="*/ 911067 h 1005887"/>
                <a:gd name="connsiteX3" fmla="*/ 917363 w 1074410"/>
                <a:gd name="connsiteY3" fmla="*/ 904304 h 1005887"/>
                <a:gd name="connsiteX4" fmla="*/ 933384 w 1074410"/>
                <a:gd name="connsiteY4" fmla="*/ 906666 h 1005887"/>
                <a:gd name="connsiteX5" fmla="*/ 935279 w 1074410"/>
                <a:gd name="connsiteY5" fmla="*/ 948814 h 1005887"/>
                <a:gd name="connsiteX6" fmla="*/ 926125 w 1074410"/>
                <a:gd name="connsiteY6" fmla="*/ 961197 h 1005887"/>
                <a:gd name="connsiteX7" fmla="*/ 923373 w 1074410"/>
                <a:gd name="connsiteY7" fmla="*/ 990381 h 1005887"/>
                <a:gd name="connsiteX8" fmla="*/ 914038 w 1074410"/>
                <a:gd name="connsiteY8" fmla="*/ 980408 h 1005887"/>
                <a:gd name="connsiteX9" fmla="*/ 895503 w 1074410"/>
                <a:gd name="connsiteY9" fmla="*/ 1005887 h 1005887"/>
                <a:gd name="connsiteX10" fmla="*/ 889978 w 1074410"/>
                <a:gd name="connsiteY10" fmla="*/ 1003907 h 1005887"/>
                <a:gd name="connsiteX11" fmla="*/ 873547 w 1074410"/>
                <a:gd name="connsiteY11" fmla="*/ 1002764 h 1005887"/>
                <a:gd name="connsiteX12" fmla="*/ 857079 w 1074410"/>
                <a:gd name="connsiteY12" fmla="*/ 971560 h 1005887"/>
                <a:gd name="connsiteX13" fmla="*/ 853421 w 1074410"/>
                <a:gd name="connsiteY13" fmla="*/ 947785 h 1005887"/>
                <a:gd name="connsiteX14" fmla="*/ 838019 w 1074410"/>
                <a:gd name="connsiteY14" fmla="*/ 916791 h 1005887"/>
                <a:gd name="connsiteX15" fmla="*/ 838695 w 1074410"/>
                <a:gd name="connsiteY15" fmla="*/ 900646 h 1005887"/>
                <a:gd name="connsiteX16" fmla="*/ 856183 w 1074410"/>
                <a:gd name="connsiteY16" fmla="*/ 903741 h 1005887"/>
                <a:gd name="connsiteX17" fmla="*/ 807139 w 1074410"/>
                <a:gd name="connsiteY17" fmla="*/ 83991 h 1005887"/>
                <a:gd name="connsiteX18" fmla="*/ 816759 w 1074410"/>
                <a:gd name="connsiteY18" fmla="*/ 105461 h 1005887"/>
                <a:gd name="connsiteX19" fmla="*/ 833895 w 1074410"/>
                <a:gd name="connsiteY19" fmla="*/ 95136 h 1005887"/>
                <a:gd name="connsiteX20" fmla="*/ 842744 w 1074410"/>
                <a:gd name="connsiteY20" fmla="*/ 106737 h 1005887"/>
                <a:gd name="connsiteX21" fmla="*/ 855564 w 1074410"/>
                <a:gd name="connsiteY21" fmla="*/ 117453 h 1005887"/>
                <a:gd name="connsiteX22" fmla="*/ 852821 w 1074410"/>
                <a:gd name="connsiteY22" fmla="*/ 129645 h 1005887"/>
                <a:gd name="connsiteX23" fmla="*/ 858517 w 1074410"/>
                <a:gd name="connsiteY23" fmla="*/ 153305 h 1005887"/>
                <a:gd name="connsiteX24" fmla="*/ 862575 w 1074410"/>
                <a:gd name="connsiteY24" fmla="*/ 167135 h 1005887"/>
                <a:gd name="connsiteX25" fmla="*/ 869299 w 1074410"/>
                <a:gd name="connsiteY25" fmla="*/ 170517 h 1005887"/>
                <a:gd name="connsiteX26" fmla="*/ 876548 w 1074410"/>
                <a:gd name="connsiteY26" fmla="*/ 194282 h 1005887"/>
                <a:gd name="connsiteX27" fmla="*/ 873966 w 1074410"/>
                <a:gd name="connsiteY27" fmla="*/ 208759 h 1005887"/>
                <a:gd name="connsiteX28" fmla="*/ 882615 w 1074410"/>
                <a:gd name="connsiteY28" fmla="*/ 227762 h 1005887"/>
                <a:gd name="connsiteX29" fmla="*/ 911553 w 1074410"/>
                <a:gd name="connsiteY29" fmla="*/ 242449 h 1005887"/>
                <a:gd name="connsiteX30" fmla="*/ 930412 w 1074410"/>
                <a:gd name="connsiteY30" fmla="*/ 255851 h 1005887"/>
                <a:gd name="connsiteX31" fmla="*/ 948328 w 1074410"/>
                <a:gd name="connsiteY31" fmla="*/ 268157 h 1005887"/>
                <a:gd name="connsiteX32" fmla="*/ 944832 w 1074410"/>
                <a:gd name="connsiteY32" fmla="*/ 275025 h 1005887"/>
                <a:gd name="connsiteX33" fmla="*/ 960111 w 1074410"/>
                <a:gd name="connsiteY33" fmla="*/ 292856 h 1005887"/>
                <a:gd name="connsiteX34" fmla="*/ 970493 w 1074410"/>
                <a:gd name="connsiteY34" fmla="*/ 323802 h 1005887"/>
                <a:gd name="connsiteX35" fmla="*/ 981151 w 1074410"/>
                <a:gd name="connsiteY35" fmla="*/ 317497 h 1005887"/>
                <a:gd name="connsiteX36" fmla="*/ 991981 w 1074410"/>
                <a:gd name="connsiteY36" fmla="*/ 329937 h 1005887"/>
                <a:gd name="connsiteX37" fmla="*/ 998515 w 1074410"/>
                <a:gd name="connsiteY37" fmla="*/ 325517 h 1005887"/>
                <a:gd name="connsiteX38" fmla="*/ 1003116 w 1074410"/>
                <a:gd name="connsiteY38" fmla="*/ 356073 h 1005887"/>
                <a:gd name="connsiteX39" fmla="*/ 1022061 w 1074410"/>
                <a:gd name="connsiteY39" fmla="*/ 373895 h 1005887"/>
                <a:gd name="connsiteX40" fmla="*/ 1034463 w 1074410"/>
                <a:gd name="connsiteY40" fmla="*/ 385010 h 1005887"/>
                <a:gd name="connsiteX41" fmla="*/ 1055332 w 1074410"/>
                <a:gd name="connsiteY41" fmla="*/ 408708 h 1005887"/>
                <a:gd name="connsiteX42" fmla="*/ 1062838 w 1074410"/>
                <a:gd name="connsiteY42" fmla="*/ 432397 h 1005887"/>
                <a:gd name="connsiteX43" fmla="*/ 1063524 w 1074410"/>
                <a:gd name="connsiteY43" fmla="*/ 449294 h 1005887"/>
                <a:gd name="connsiteX44" fmla="*/ 1061685 w 1074410"/>
                <a:gd name="connsiteY44" fmla="*/ 467744 h 1005887"/>
                <a:gd name="connsiteX45" fmla="*/ 1074411 w 1074410"/>
                <a:gd name="connsiteY45" fmla="*/ 493233 h 1005887"/>
                <a:gd name="connsiteX46" fmla="*/ 1072887 w 1074410"/>
                <a:gd name="connsiteY46" fmla="*/ 520008 h 1005887"/>
                <a:gd name="connsiteX47" fmla="*/ 1068267 w 1074410"/>
                <a:gd name="connsiteY47" fmla="*/ 534105 h 1005887"/>
                <a:gd name="connsiteX48" fmla="*/ 1061057 w 1074410"/>
                <a:gd name="connsiteY48" fmla="*/ 561451 h 1005887"/>
                <a:gd name="connsiteX49" fmla="*/ 1061600 w 1074410"/>
                <a:gd name="connsiteY49" fmla="*/ 579158 h 1005887"/>
                <a:gd name="connsiteX50" fmla="*/ 1056313 w 1074410"/>
                <a:gd name="connsiteY50" fmla="*/ 601446 h 1005887"/>
                <a:gd name="connsiteX51" fmla="*/ 1044521 w 1074410"/>
                <a:gd name="connsiteY51" fmla="*/ 629984 h 1005887"/>
                <a:gd name="connsiteX52" fmla="*/ 1024738 w 1074410"/>
                <a:gd name="connsiteY52" fmla="*/ 645519 h 1005887"/>
                <a:gd name="connsiteX53" fmla="*/ 1014994 w 1074410"/>
                <a:gd name="connsiteY53" fmla="*/ 670189 h 1005887"/>
                <a:gd name="connsiteX54" fmla="*/ 1006078 w 1074410"/>
                <a:gd name="connsiteY54" fmla="*/ 686058 h 1005887"/>
                <a:gd name="connsiteX55" fmla="*/ 998163 w 1074410"/>
                <a:gd name="connsiteY55" fmla="*/ 713984 h 1005887"/>
                <a:gd name="connsiteX56" fmla="*/ 987857 w 1074410"/>
                <a:gd name="connsiteY56" fmla="*/ 730244 h 1005887"/>
                <a:gd name="connsiteX57" fmla="*/ 981104 w 1074410"/>
                <a:gd name="connsiteY57" fmla="*/ 754847 h 1005887"/>
                <a:gd name="connsiteX58" fmla="*/ 977656 w 1074410"/>
                <a:gd name="connsiteY58" fmla="*/ 777717 h 1005887"/>
                <a:gd name="connsiteX59" fmla="*/ 979027 w 1074410"/>
                <a:gd name="connsiteY59" fmla="*/ 788280 h 1005887"/>
                <a:gd name="connsiteX60" fmla="*/ 963721 w 1074410"/>
                <a:gd name="connsiteY60" fmla="*/ 799938 h 1005887"/>
                <a:gd name="connsiteX61" fmla="*/ 933822 w 1074410"/>
                <a:gd name="connsiteY61" fmla="*/ 801158 h 1005887"/>
                <a:gd name="connsiteX62" fmla="*/ 909171 w 1074410"/>
                <a:gd name="connsiteY62" fmla="*/ 815007 h 1005887"/>
                <a:gd name="connsiteX63" fmla="*/ 896903 w 1074410"/>
                <a:gd name="connsiteY63" fmla="*/ 828151 h 1005887"/>
                <a:gd name="connsiteX64" fmla="*/ 880767 w 1074410"/>
                <a:gd name="connsiteY64" fmla="*/ 842810 h 1005887"/>
                <a:gd name="connsiteX65" fmla="*/ 858651 w 1074410"/>
                <a:gd name="connsiteY65" fmla="*/ 827723 h 1005887"/>
                <a:gd name="connsiteX66" fmla="*/ 842286 w 1074410"/>
                <a:gd name="connsiteY66" fmla="*/ 821731 h 1005887"/>
                <a:gd name="connsiteX67" fmla="*/ 846440 w 1074410"/>
                <a:gd name="connsiteY67" fmla="*/ 804100 h 1005887"/>
                <a:gd name="connsiteX68" fmla="*/ 831838 w 1074410"/>
                <a:gd name="connsiteY68" fmla="*/ 810483 h 1005887"/>
                <a:gd name="connsiteX69" fmla="*/ 808454 w 1074410"/>
                <a:gd name="connsiteY69" fmla="*/ 835076 h 1005887"/>
                <a:gd name="connsiteX70" fmla="*/ 785365 w 1074410"/>
                <a:gd name="connsiteY70" fmla="*/ 825837 h 1005887"/>
                <a:gd name="connsiteX71" fmla="*/ 770220 w 1074410"/>
                <a:gd name="connsiteY71" fmla="*/ 820464 h 1005887"/>
                <a:gd name="connsiteX72" fmla="*/ 754942 w 1074410"/>
                <a:gd name="connsiteY72" fmla="*/ 818045 h 1005887"/>
                <a:gd name="connsiteX73" fmla="*/ 729092 w 1074410"/>
                <a:gd name="connsiteY73" fmla="*/ 808263 h 1005887"/>
                <a:gd name="connsiteX74" fmla="*/ 711822 w 1074410"/>
                <a:gd name="connsiteY74" fmla="*/ 787546 h 1005887"/>
                <a:gd name="connsiteX75" fmla="*/ 706860 w 1074410"/>
                <a:gd name="connsiteY75" fmla="*/ 762258 h 1005887"/>
                <a:gd name="connsiteX76" fmla="*/ 700659 w 1074410"/>
                <a:gd name="connsiteY76" fmla="*/ 745570 h 1005887"/>
                <a:gd name="connsiteX77" fmla="*/ 687534 w 1074410"/>
                <a:gd name="connsiteY77" fmla="*/ 732254 h 1005887"/>
                <a:gd name="connsiteX78" fmla="*/ 661845 w 1074410"/>
                <a:gd name="connsiteY78" fmla="*/ 728310 h 1005887"/>
                <a:gd name="connsiteX79" fmla="*/ 670627 w 1074410"/>
                <a:gd name="connsiteY79" fmla="*/ 712489 h 1005887"/>
                <a:gd name="connsiteX80" fmla="*/ 664159 w 1074410"/>
                <a:gd name="connsiteY80" fmla="*/ 688467 h 1005887"/>
                <a:gd name="connsiteX81" fmla="*/ 651120 w 1074410"/>
                <a:gd name="connsiteY81" fmla="*/ 710860 h 1005887"/>
                <a:gd name="connsiteX82" fmla="*/ 627355 w 1074410"/>
                <a:gd name="connsiteY82" fmla="*/ 716832 h 1005887"/>
                <a:gd name="connsiteX83" fmla="*/ 641328 w 1074410"/>
                <a:gd name="connsiteY83" fmla="*/ 698878 h 1005887"/>
                <a:gd name="connsiteX84" fmla="*/ 645376 w 1074410"/>
                <a:gd name="connsiteY84" fmla="*/ 680275 h 1005887"/>
                <a:gd name="connsiteX85" fmla="*/ 655692 w 1074410"/>
                <a:gd name="connsiteY85" fmla="*/ 664597 h 1005887"/>
                <a:gd name="connsiteX86" fmla="*/ 653549 w 1074410"/>
                <a:gd name="connsiteY86" fmla="*/ 641052 h 1005887"/>
                <a:gd name="connsiteX87" fmla="*/ 631832 w 1074410"/>
                <a:gd name="connsiteY87" fmla="*/ 668188 h 1005887"/>
                <a:gd name="connsiteX88" fmla="*/ 615144 w 1074410"/>
                <a:gd name="connsiteY88" fmla="*/ 679142 h 1005887"/>
                <a:gd name="connsiteX89" fmla="*/ 604914 w 1074410"/>
                <a:gd name="connsiteY89" fmla="*/ 704793 h 1005887"/>
                <a:gd name="connsiteX90" fmla="*/ 584064 w 1074410"/>
                <a:gd name="connsiteY90" fmla="*/ 691496 h 1005887"/>
                <a:gd name="connsiteX91" fmla="*/ 584892 w 1074410"/>
                <a:gd name="connsiteY91" fmla="*/ 674437 h 1005887"/>
                <a:gd name="connsiteX92" fmla="*/ 568186 w 1074410"/>
                <a:gd name="connsiteY92" fmla="*/ 651291 h 1005887"/>
                <a:gd name="connsiteX93" fmla="*/ 554098 w 1074410"/>
                <a:gd name="connsiteY93" fmla="*/ 639413 h 1005887"/>
                <a:gd name="connsiteX94" fmla="*/ 559118 w 1074410"/>
                <a:gd name="connsiteY94" fmla="*/ 632117 h 1005887"/>
                <a:gd name="connsiteX95" fmla="*/ 524847 w 1074410"/>
                <a:gd name="connsiteY95" fmla="*/ 613058 h 1005887"/>
                <a:gd name="connsiteX96" fmla="*/ 506073 w 1074410"/>
                <a:gd name="connsiteY96" fmla="*/ 612162 h 1005887"/>
                <a:gd name="connsiteX97" fmla="*/ 480393 w 1074410"/>
                <a:gd name="connsiteY97" fmla="*/ 596951 h 1005887"/>
                <a:gd name="connsiteX98" fmla="*/ 432568 w 1074410"/>
                <a:gd name="connsiteY98" fmla="*/ 599904 h 1005887"/>
                <a:gd name="connsiteX99" fmla="*/ 397983 w 1074410"/>
                <a:gd name="connsiteY99" fmla="*/ 611095 h 1005887"/>
                <a:gd name="connsiteX100" fmla="*/ 367599 w 1074410"/>
                <a:gd name="connsiteY100" fmla="*/ 621573 h 1005887"/>
                <a:gd name="connsiteX101" fmla="*/ 342109 w 1074410"/>
                <a:gd name="connsiteY101" fmla="*/ 619487 h 1005887"/>
                <a:gd name="connsiteX102" fmla="*/ 313801 w 1074410"/>
                <a:gd name="connsiteY102" fmla="*/ 635641 h 1005887"/>
                <a:gd name="connsiteX103" fmla="*/ 290636 w 1074410"/>
                <a:gd name="connsiteY103" fmla="*/ 642938 h 1005887"/>
                <a:gd name="connsiteX104" fmla="*/ 285493 w 1074410"/>
                <a:gd name="connsiteY104" fmla="*/ 659606 h 1005887"/>
                <a:gd name="connsiteX105" fmla="*/ 275635 w 1074410"/>
                <a:gd name="connsiteY105" fmla="*/ 672589 h 1005887"/>
                <a:gd name="connsiteX106" fmla="*/ 252965 w 1074410"/>
                <a:gd name="connsiteY106" fmla="*/ 673370 h 1005887"/>
                <a:gd name="connsiteX107" fmla="*/ 236191 w 1074410"/>
                <a:gd name="connsiteY107" fmla="*/ 676218 h 1005887"/>
                <a:gd name="connsiteX108" fmla="*/ 212589 w 1074410"/>
                <a:gd name="connsiteY108" fmla="*/ 670379 h 1005887"/>
                <a:gd name="connsiteX109" fmla="*/ 193377 w 1074410"/>
                <a:gd name="connsiteY109" fmla="*/ 673875 h 1005887"/>
                <a:gd name="connsiteX110" fmla="*/ 175041 w 1074410"/>
                <a:gd name="connsiteY110" fmla="*/ 675342 h 1005887"/>
                <a:gd name="connsiteX111" fmla="*/ 159154 w 1074410"/>
                <a:gd name="connsiteY111" fmla="*/ 692496 h 1005887"/>
                <a:gd name="connsiteX112" fmla="*/ 151372 w 1074410"/>
                <a:gd name="connsiteY112" fmla="*/ 691039 h 1005887"/>
                <a:gd name="connsiteX113" fmla="*/ 137979 w 1074410"/>
                <a:gd name="connsiteY113" fmla="*/ 700174 h 1005887"/>
                <a:gd name="connsiteX114" fmla="*/ 125139 w 1074410"/>
                <a:gd name="connsiteY114" fmla="*/ 710479 h 1005887"/>
                <a:gd name="connsiteX115" fmla="*/ 105652 w 1074410"/>
                <a:gd name="connsiteY115" fmla="*/ 709203 h 1005887"/>
                <a:gd name="connsiteX116" fmla="*/ 87754 w 1074410"/>
                <a:gd name="connsiteY116" fmla="*/ 709193 h 1005887"/>
                <a:gd name="connsiteX117" fmla="*/ 59417 w 1074410"/>
                <a:gd name="connsiteY117" fmla="*/ 688543 h 1005887"/>
                <a:gd name="connsiteX118" fmla="*/ 45063 w 1074410"/>
                <a:gd name="connsiteY118" fmla="*/ 682428 h 1005887"/>
                <a:gd name="connsiteX119" fmla="*/ 45644 w 1074410"/>
                <a:gd name="connsiteY119" fmla="*/ 664073 h 1005887"/>
                <a:gd name="connsiteX120" fmla="*/ 58912 w 1074410"/>
                <a:gd name="connsiteY120" fmla="*/ 659730 h 1005887"/>
                <a:gd name="connsiteX121" fmla="*/ 63446 w 1074410"/>
                <a:gd name="connsiteY121" fmla="*/ 652482 h 1005887"/>
                <a:gd name="connsiteX122" fmla="*/ 62494 w 1074410"/>
                <a:gd name="connsiteY122" fmla="*/ 641090 h 1005887"/>
                <a:gd name="connsiteX123" fmla="*/ 65761 w 1074410"/>
                <a:gd name="connsiteY123" fmla="*/ 619163 h 1005887"/>
                <a:gd name="connsiteX124" fmla="*/ 62779 w 1074410"/>
                <a:gd name="connsiteY124" fmla="*/ 600609 h 1005887"/>
                <a:gd name="connsiteX125" fmla="*/ 48663 w 1074410"/>
                <a:gd name="connsiteY125" fmla="*/ 569233 h 1005887"/>
                <a:gd name="connsiteX126" fmla="*/ 44282 w 1074410"/>
                <a:gd name="connsiteY126" fmla="*/ 551659 h 1005887"/>
                <a:gd name="connsiteX127" fmla="*/ 45434 w 1074410"/>
                <a:gd name="connsiteY127" fmla="*/ 534229 h 1005887"/>
                <a:gd name="connsiteX128" fmla="*/ 34804 w 1074410"/>
                <a:gd name="connsiteY128" fmla="*/ 514426 h 1005887"/>
                <a:gd name="connsiteX129" fmla="*/ 34128 w 1074410"/>
                <a:gd name="connsiteY129" fmla="*/ 505530 h 1005887"/>
                <a:gd name="connsiteX130" fmla="*/ 22298 w 1074410"/>
                <a:gd name="connsiteY130" fmla="*/ 493509 h 1005887"/>
                <a:gd name="connsiteX131" fmla="*/ 18965 w 1074410"/>
                <a:gd name="connsiteY131" fmla="*/ 470002 h 1005887"/>
                <a:gd name="connsiteX132" fmla="*/ 3696 w 1074410"/>
                <a:gd name="connsiteY132" fmla="*/ 446408 h 1005887"/>
                <a:gd name="connsiteX133" fmla="*/ 0 w 1074410"/>
                <a:gd name="connsiteY133" fmla="*/ 433768 h 1005887"/>
                <a:gd name="connsiteX134" fmla="*/ 11725 w 1074410"/>
                <a:gd name="connsiteY134" fmla="*/ 446589 h 1005887"/>
                <a:gd name="connsiteX135" fmla="*/ 2715 w 1074410"/>
                <a:gd name="connsiteY135" fmla="*/ 419148 h 1005887"/>
                <a:gd name="connsiteX136" fmla="*/ 15964 w 1074410"/>
                <a:gd name="connsiteY136" fmla="*/ 427701 h 1005887"/>
                <a:gd name="connsiteX137" fmla="*/ 23870 w 1074410"/>
                <a:gd name="connsiteY137" fmla="*/ 439160 h 1005887"/>
                <a:gd name="connsiteX138" fmla="*/ 23422 w 1074410"/>
                <a:gd name="connsiteY138" fmla="*/ 424015 h 1005887"/>
                <a:gd name="connsiteX139" fmla="*/ 10202 w 1074410"/>
                <a:gd name="connsiteY139" fmla="*/ 400869 h 1005887"/>
                <a:gd name="connsiteX140" fmla="*/ 7639 w 1074410"/>
                <a:gd name="connsiteY140" fmla="*/ 391649 h 1005887"/>
                <a:gd name="connsiteX141" fmla="*/ 1448 w 1074410"/>
                <a:gd name="connsiteY141" fmla="*/ 382914 h 1005887"/>
                <a:gd name="connsiteX142" fmla="*/ 4353 w 1074410"/>
                <a:gd name="connsiteY142" fmla="*/ 366084 h 1005887"/>
                <a:gd name="connsiteX143" fmla="*/ 9820 w 1074410"/>
                <a:gd name="connsiteY143" fmla="*/ 358940 h 1005887"/>
                <a:gd name="connsiteX144" fmla="*/ 13468 w 1074410"/>
                <a:gd name="connsiteY144" fmla="*/ 344471 h 1005887"/>
                <a:gd name="connsiteX145" fmla="*/ 10611 w 1074410"/>
                <a:gd name="connsiteY145" fmla="*/ 327632 h 1005887"/>
                <a:gd name="connsiteX146" fmla="*/ 21650 w 1074410"/>
                <a:gd name="connsiteY146" fmla="*/ 307010 h 1005887"/>
                <a:gd name="connsiteX147" fmla="*/ 23660 w 1074410"/>
                <a:gd name="connsiteY147" fmla="*/ 328841 h 1005887"/>
                <a:gd name="connsiteX148" fmla="*/ 34947 w 1074410"/>
                <a:gd name="connsiteY148" fmla="*/ 309115 h 1005887"/>
                <a:gd name="connsiteX149" fmla="*/ 56645 w 1074410"/>
                <a:gd name="connsiteY149" fmla="*/ 299571 h 1005887"/>
                <a:gd name="connsiteX150" fmla="*/ 69657 w 1074410"/>
                <a:gd name="connsiteY150" fmla="*/ 287417 h 1005887"/>
                <a:gd name="connsiteX151" fmla="*/ 90068 w 1074410"/>
                <a:gd name="connsiteY151" fmla="*/ 276987 h 1005887"/>
                <a:gd name="connsiteX152" fmla="*/ 102204 w 1074410"/>
                <a:gd name="connsiteY152" fmla="*/ 274777 h 1005887"/>
                <a:gd name="connsiteX153" fmla="*/ 109557 w 1074410"/>
                <a:gd name="connsiteY153" fmla="*/ 278273 h 1005887"/>
                <a:gd name="connsiteX154" fmla="*/ 130597 w 1074410"/>
                <a:gd name="connsiteY154" fmla="*/ 267710 h 1005887"/>
                <a:gd name="connsiteX155" fmla="*/ 146800 w 1074410"/>
                <a:gd name="connsiteY155" fmla="*/ 264566 h 1005887"/>
                <a:gd name="connsiteX156" fmla="*/ 150848 w 1074410"/>
                <a:gd name="connsiteY156" fmla="*/ 258376 h 1005887"/>
                <a:gd name="connsiteX157" fmla="*/ 157915 w 1074410"/>
                <a:gd name="connsiteY157" fmla="*/ 255794 h 1005887"/>
                <a:gd name="connsiteX158" fmla="*/ 172679 w 1074410"/>
                <a:gd name="connsiteY158" fmla="*/ 256461 h 1005887"/>
                <a:gd name="connsiteX159" fmla="*/ 200749 w 1074410"/>
                <a:gd name="connsiteY159" fmla="*/ 248202 h 1005887"/>
                <a:gd name="connsiteX160" fmla="*/ 215265 w 1074410"/>
                <a:gd name="connsiteY160" fmla="*/ 235696 h 1005887"/>
                <a:gd name="connsiteX161" fmla="*/ 222085 w 1074410"/>
                <a:gd name="connsiteY161" fmla="*/ 220694 h 1005887"/>
                <a:gd name="connsiteX162" fmla="*/ 237754 w 1074410"/>
                <a:gd name="connsiteY162" fmla="*/ 206493 h 1005887"/>
                <a:gd name="connsiteX163" fmla="*/ 238954 w 1074410"/>
                <a:gd name="connsiteY163" fmla="*/ 195358 h 1005887"/>
                <a:gd name="connsiteX164" fmla="*/ 239649 w 1074410"/>
                <a:gd name="connsiteY164" fmla="*/ 180223 h 1005887"/>
                <a:gd name="connsiteX165" fmla="*/ 258337 w 1074410"/>
                <a:gd name="connsiteY165" fmla="*/ 156658 h 1005887"/>
                <a:gd name="connsiteX166" fmla="*/ 269586 w 1074410"/>
                <a:gd name="connsiteY166" fmla="*/ 180604 h 1005887"/>
                <a:gd name="connsiteX167" fmla="*/ 280950 w 1074410"/>
                <a:gd name="connsiteY167" fmla="*/ 175060 h 1005887"/>
                <a:gd name="connsiteX168" fmla="*/ 271444 w 1074410"/>
                <a:gd name="connsiteY168" fmla="*/ 161963 h 1005887"/>
                <a:gd name="connsiteX169" fmla="*/ 279826 w 1074410"/>
                <a:gd name="connsiteY169" fmla="*/ 148542 h 1005887"/>
                <a:gd name="connsiteX170" fmla="*/ 291608 w 1074410"/>
                <a:gd name="connsiteY170" fmla="*/ 154534 h 1005887"/>
                <a:gd name="connsiteX171" fmla="*/ 294847 w 1074410"/>
                <a:gd name="connsiteY171" fmla="*/ 133531 h 1005887"/>
                <a:gd name="connsiteX172" fmla="*/ 309439 w 1074410"/>
                <a:gd name="connsiteY172" fmla="*/ 119996 h 1005887"/>
                <a:gd name="connsiteX173" fmla="*/ 315878 w 1074410"/>
                <a:gd name="connsiteY173" fmla="*/ 109157 h 1005887"/>
                <a:gd name="connsiteX174" fmla="*/ 329308 w 1074410"/>
                <a:gd name="connsiteY174" fmla="*/ 104480 h 1005887"/>
                <a:gd name="connsiteX175" fmla="*/ 329727 w 1074410"/>
                <a:gd name="connsiteY175" fmla="*/ 96822 h 1005887"/>
                <a:gd name="connsiteX176" fmla="*/ 341462 w 1074410"/>
                <a:gd name="connsiteY176" fmla="*/ 100013 h 1005887"/>
                <a:gd name="connsiteX177" fmla="*/ 341929 w 1074410"/>
                <a:gd name="connsiteY177" fmla="*/ 93136 h 1005887"/>
                <a:gd name="connsiteX178" fmla="*/ 353673 w 1074410"/>
                <a:gd name="connsiteY178" fmla="*/ 89211 h 1005887"/>
                <a:gd name="connsiteX179" fmla="*/ 366579 w 1074410"/>
                <a:gd name="connsiteY179" fmla="*/ 85525 h 1005887"/>
                <a:gd name="connsiteX180" fmla="*/ 386306 w 1074410"/>
                <a:gd name="connsiteY180" fmla="*/ 98079 h 1005887"/>
                <a:gd name="connsiteX181" fmla="*/ 401127 w 1074410"/>
                <a:gd name="connsiteY181" fmla="*/ 114319 h 1005887"/>
                <a:gd name="connsiteX182" fmla="*/ 417843 w 1074410"/>
                <a:gd name="connsiteY182" fmla="*/ 114510 h 1005887"/>
                <a:gd name="connsiteX183" fmla="*/ 434826 w 1074410"/>
                <a:gd name="connsiteY183" fmla="*/ 117091 h 1005887"/>
                <a:gd name="connsiteX184" fmla="*/ 429168 w 1074410"/>
                <a:gd name="connsiteY184" fmla="*/ 102022 h 1005887"/>
                <a:gd name="connsiteX185" fmla="*/ 441960 w 1074410"/>
                <a:gd name="connsiteY185" fmla="*/ 80086 h 1005887"/>
                <a:gd name="connsiteX186" fmla="*/ 454000 w 1074410"/>
                <a:gd name="connsiteY186" fmla="*/ 72952 h 1005887"/>
                <a:gd name="connsiteX187" fmla="*/ 449838 w 1074410"/>
                <a:gd name="connsiteY187" fmla="*/ 66142 h 1005887"/>
                <a:gd name="connsiteX188" fmla="*/ 461439 w 1074410"/>
                <a:gd name="connsiteY188" fmla="*/ 50597 h 1005887"/>
                <a:gd name="connsiteX189" fmla="*/ 477612 w 1074410"/>
                <a:gd name="connsiteY189" fmla="*/ 41015 h 1005887"/>
                <a:gd name="connsiteX190" fmla="*/ 491280 w 1074410"/>
                <a:gd name="connsiteY190" fmla="*/ 44244 h 1005887"/>
                <a:gd name="connsiteX191" fmla="*/ 513712 w 1074410"/>
                <a:gd name="connsiteY191" fmla="*/ 39129 h 1005887"/>
                <a:gd name="connsiteX192" fmla="*/ 513226 w 1074410"/>
                <a:gd name="connsiteY192" fmla="*/ 25270 h 1005887"/>
                <a:gd name="connsiteX193" fmla="*/ 493662 w 1074410"/>
                <a:gd name="connsiteY193" fmla="*/ 16355 h 1005887"/>
                <a:gd name="connsiteX194" fmla="*/ 507883 w 1074410"/>
                <a:gd name="connsiteY194" fmla="*/ 12421 h 1005887"/>
                <a:gd name="connsiteX195" fmla="*/ 525571 w 1074410"/>
                <a:gd name="connsiteY195" fmla="*/ 19126 h 1005887"/>
                <a:gd name="connsiteX196" fmla="*/ 539753 w 1074410"/>
                <a:gd name="connsiteY196" fmla="*/ 30242 h 1005887"/>
                <a:gd name="connsiteX197" fmla="*/ 562242 w 1074410"/>
                <a:gd name="connsiteY197" fmla="*/ 37186 h 1005887"/>
                <a:gd name="connsiteX198" fmla="*/ 569872 w 1074410"/>
                <a:gd name="connsiteY198" fmla="*/ 34442 h 1005887"/>
                <a:gd name="connsiteX199" fmla="*/ 586426 w 1074410"/>
                <a:gd name="connsiteY199" fmla="*/ 42777 h 1005887"/>
                <a:gd name="connsiteX200" fmla="*/ 602028 w 1074410"/>
                <a:gd name="connsiteY200" fmla="*/ 35014 h 1005887"/>
                <a:gd name="connsiteX201" fmla="*/ 612067 w 1074410"/>
                <a:gd name="connsiteY201" fmla="*/ 37376 h 1005887"/>
                <a:gd name="connsiteX202" fmla="*/ 618316 w 1074410"/>
                <a:gd name="connsiteY202" fmla="*/ 32166 h 1005887"/>
                <a:gd name="connsiteX203" fmla="*/ 630574 w 1074410"/>
                <a:gd name="connsiteY203" fmla="*/ 45596 h 1005887"/>
                <a:gd name="connsiteX204" fmla="*/ 623459 w 1074410"/>
                <a:gd name="connsiteY204" fmla="*/ 60150 h 1005887"/>
                <a:gd name="connsiteX205" fmla="*/ 613325 w 1074410"/>
                <a:gd name="connsiteY205" fmla="*/ 71152 h 1005887"/>
                <a:gd name="connsiteX206" fmla="*/ 604142 w 1074410"/>
                <a:gd name="connsiteY206" fmla="*/ 72066 h 1005887"/>
                <a:gd name="connsiteX207" fmla="*/ 607238 w 1074410"/>
                <a:gd name="connsiteY207" fmla="*/ 82982 h 1005887"/>
                <a:gd name="connsiteX208" fmla="*/ 599390 w 1074410"/>
                <a:gd name="connsiteY208" fmla="*/ 96650 h 1005887"/>
                <a:gd name="connsiteX209" fmla="*/ 589902 w 1074410"/>
                <a:gd name="connsiteY209" fmla="*/ 110119 h 1005887"/>
                <a:gd name="connsiteX210" fmla="*/ 591817 w 1074410"/>
                <a:gd name="connsiteY210" fmla="*/ 117872 h 1005887"/>
                <a:gd name="connsiteX211" fmla="*/ 613048 w 1074410"/>
                <a:gd name="connsiteY211" fmla="*/ 133074 h 1005887"/>
                <a:gd name="connsiteX212" fmla="*/ 633622 w 1074410"/>
                <a:gd name="connsiteY212" fmla="*/ 141913 h 1005887"/>
                <a:gd name="connsiteX213" fmla="*/ 647367 w 1074410"/>
                <a:gd name="connsiteY213" fmla="*/ 151429 h 1005887"/>
                <a:gd name="connsiteX214" fmla="*/ 666674 w 1074410"/>
                <a:gd name="connsiteY214" fmla="*/ 167830 h 1005887"/>
                <a:gd name="connsiteX215" fmla="*/ 674199 w 1074410"/>
                <a:gd name="connsiteY215" fmla="*/ 167802 h 1005887"/>
                <a:gd name="connsiteX216" fmla="*/ 688181 w 1074410"/>
                <a:gd name="connsiteY216" fmla="*/ 174908 h 1005887"/>
                <a:gd name="connsiteX217" fmla="*/ 692239 w 1074410"/>
                <a:gd name="connsiteY217" fmla="*/ 183490 h 1005887"/>
                <a:gd name="connsiteX218" fmla="*/ 717738 w 1074410"/>
                <a:gd name="connsiteY218" fmla="*/ 192938 h 1005887"/>
                <a:gd name="connsiteX219" fmla="*/ 735378 w 1074410"/>
                <a:gd name="connsiteY219" fmla="*/ 183423 h 1005887"/>
                <a:gd name="connsiteX220" fmla="*/ 740607 w 1074410"/>
                <a:gd name="connsiteY220" fmla="*/ 168507 h 1005887"/>
                <a:gd name="connsiteX221" fmla="*/ 746017 w 1074410"/>
                <a:gd name="connsiteY221" fmla="*/ 156229 h 1005887"/>
                <a:gd name="connsiteX222" fmla="*/ 749342 w 1074410"/>
                <a:gd name="connsiteY222" fmla="*/ 141084 h 1005887"/>
                <a:gd name="connsiteX223" fmla="*/ 757467 w 1074410"/>
                <a:gd name="connsiteY223" fmla="*/ 119177 h 1005887"/>
                <a:gd name="connsiteX224" fmla="*/ 753752 w 1074410"/>
                <a:gd name="connsiteY224" fmla="*/ 105899 h 1005887"/>
                <a:gd name="connsiteX225" fmla="*/ 755675 w 1074410"/>
                <a:gd name="connsiteY225" fmla="*/ 97927 h 1005887"/>
                <a:gd name="connsiteX226" fmla="*/ 752590 w 1074410"/>
                <a:gd name="connsiteY226" fmla="*/ 82277 h 1005887"/>
                <a:gd name="connsiteX227" fmla="*/ 756085 w 1074410"/>
                <a:gd name="connsiteY227" fmla="*/ 61732 h 1005887"/>
                <a:gd name="connsiteX228" fmla="*/ 761209 w 1074410"/>
                <a:gd name="connsiteY228" fmla="*/ 56197 h 1005887"/>
                <a:gd name="connsiteX229" fmla="*/ 757047 w 1074410"/>
                <a:gd name="connsiteY229" fmla="*/ 47120 h 1005887"/>
                <a:gd name="connsiteX230" fmla="*/ 763505 w 1074410"/>
                <a:gd name="connsiteY230" fmla="*/ 32728 h 1005887"/>
                <a:gd name="connsiteX231" fmla="*/ 768572 w 1074410"/>
                <a:gd name="connsiteY231" fmla="*/ 17840 h 1005887"/>
                <a:gd name="connsiteX232" fmla="*/ 769239 w 1074410"/>
                <a:gd name="connsiteY232" fmla="*/ 10125 h 1005887"/>
                <a:gd name="connsiteX233" fmla="*/ 779164 w 1074410"/>
                <a:gd name="connsiteY233" fmla="*/ 0 h 1005887"/>
                <a:gd name="connsiteX234" fmla="*/ 786699 w 1074410"/>
                <a:gd name="connsiteY234" fmla="*/ 13221 h 1005887"/>
                <a:gd name="connsiteX235" fmla="*/ 788547 w 1074410"/>
                <a:gd name="connsiteY235" fmla="*/ 30204 h 1005887"/>
                <a:gd name="connsiteX236" fmla="*/ 795204 w 1074410"/>
                <a:gd name="connsiteY236" fmla="*/ 33481 h 1005887"/>
                <a:gd name="connsiteX237" fmla="*/ 796338 w 1074410"/>
                <a:gd name="connsiteY237" fmla="*/ 44882 h 1005887"/>
                <a:gd name="connsiteX238" fmla="*/ 806053 w 1074410"/>
                <a:gd name="connsiteY238" fmla="*/ 58712 h 1005887"/>
                <a:gd name="connsiteX239" fmla="*/ 808054 w 1074410"/>
                <a:gd name="connsiteY239" fmla="*/ 74143 h 1005887"/>
                <a:gd name="connsiteX240" fmla="*/ 807139 w 1074410"/>
                <a:gd name="connsiteY240" fmla="*/ 83991 h 100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</a:cxnLst>
              <a:rect l="l" t="t" r="r" b="b"/>
              <a:pathLst>
                <a:path w="1074410" h="1005887">
                  <a:moveTo>
                    <a:pt x="856183" y="903741"/>
                  </a:moveTo>
                  <a:lnTo>
                    <a:pt x="881987" y="915905"/>
                  </a:lnTo>
                  <a:lnTo>
                    <a:pt x="896522" y="911067"/>
                  </a:lnTo>
                  <a:lnTo>
                    <a:pt x="917363" y="904304"/>
                  </a:lnTo>
                  <a:lnTo>
                    <a:pt x="933384" y="906666"/>
                  </a:lnTo>
                  <a:lnTo>
                    <a:pt x="935279" y="948814"/>
                  </a:lnTo>
                  <a:lnTo>
                    <a:pt x="926125" y="961197"/>
                  </a:lnTo>
                  <a:lnTo>
                    <a:pt x="923373" y="990381"/>
                  </a:lnTo>
                  <a:lnTo>
                    <a:pt x="914038" y="980408"/>
                  </a:lnTo>
                  <a:lnTo>
                    <a:pt x="895503" y="1005887"/>
                  </a:lnTo>
                  <a:lnTo>
                    <a:pt x="889978" y="1003907"/>
                  </a:lnTo>
                  <a:lnTo>
                    <a:pt x="873547" y="1002764"/>
                  </a:lnTo>
                  <a:lnTo>
                    <a:pt x="857079" y="971560"/>
                  </a:lnTo>
                  <a:lnTo>
                    <a:pt x="853421" y="947785"/>
                  </a:lnTo>
                  <a:lnTo>
                    <a:pt x="838019" y="916791"/>
                  </a:lnTo>
                  <a:lnTo>
                    <a:pt x="838695" y="900646"/>
                  </a:lnTo>
                  <a:lnTo>
                    <a:pt x="856183" y="903741"/>
                  </a:lnTo>
                  <a:close/>
                  <a:moveTo>
                    <a:pt x="807139" y="83991"/>
                  </a:moveTo>
                  <a:lnTo>
                    <a:pt x="816759" y="105461"/>
                  </a:lnTo>
                  <a:lnTo>
                    <a:pt x="833895" y="95136"/>
                  </a:lnTo>
                  <a:lnTo>
                    <a:pt x="842744" y="106737"/>
                  </a:lnTo>
                  <a:lnTo>
                    <a:pt x="855564" y="117453"/>
                  </a:lnTo>
                  <a:lnTo>
                    <a:pt x="852821" y="129645"/>
                  </a:lnTo>
                  <a:lnTo>
                    <a:pt x="858517" y="153305"/>
                  </a:lnTo>
                  <a:lnTo>
                    <a:pt x="862575" y="167135"/>
                  </a:lnTo>
                  <a:lnTo>
                    <a:pt x="869299" y="170517"/>
                  </a:lnTo>
                  <a:lnTo>
                    <a:pt x="876548" y="194282"/>
                  </a:lnTo>
                  <a:lnTo>
                    <a:pt x="873966" y="208759"/>
                  </a:lnTo>
                  <a:lnTo>
                    <a:pt x="882615" y="227762"/>
                  </a:lnTo>
                  <a:lnTo>
                    <a:pt x="911553" y="242449"/>
                  </a:lnTo>
                  <a:lnTo>
                    <a:pt x="930412" y="255851"/>
                  </a:lnTo>
                  <a:lnTo>
                    <a:pt x="948328" y="268157"/>
                  </a:lnTo>
                  <a:lnTo>
                    <a:pt x="944832" y="275025"/>
                  </a:lnTo>
                  <a:lnTo>
                    <a:pt x="960111" y="292856"/>
                  </a:lnTo>
                  <a:lnTo>
                    <a:pt x="970493" y="323802"/>
                  </a:lnTo>
                  <a:lnTo>
                    <a:pt x="981151" y="317497"/>
                  </a:lnTo>
                  <a:lnTo>
                    <a:pt x="991981" y="329937"/>
                  </a:lnTo>
                  <a:lnTo>
                    <a:pt x="998515" y="325517"/>
                  </a:lnTo>
                  <a:lnTo>
                    <a:pt x="1003116" y="356073"/>
                  </a:lnTo>
                  <a:lnTo>
                    <a:pt x="1022061" y="373895"/>
                  </a:lnTo>
                  <a:lnTo>
                    <a:pt x="1034463" y="385010"/>
                  </a:lnTo>
                  <a:lnTo>
                    <a:pt x="1055332" y="408708"/>
                  </a:lnTo>
                  <a:lnTo>
                    <a:pt x="1062838" y="432397"/>
                  </a:lnTo>
                  <a:lnTo>
                    <a:pt x="1063524" y="449294"/>
                  </a:lnTo>
                  <a:lnTo>
                    <a:pt x="1061685" y="467744"/>
                  </a:lnTo>
                  <a:lnTo>
                    <a:pt x="1074411" y="493233"/>
                  </a:lnTo>
                  <a:lnTo>
                    <a:pt x="1072887" y="520008"/>
                  </a:lnTo>
                  <a:lnTo>
                    <a:pt x="1068267" y="534105"/>
                  </a:lnTo>
                  <a:lnTo>
                    <a:pt x="1061057" y="561451"/>
                  </a:lnTo>
                  <a:lnTo>
                    <a:pt x="1061600" y="579158"/>
                  </a:lnTo>
                  <a:lnTo>
                    <a:pt x="1056313" y="601446"/>
                  </a:lnTo>
                  <a:lnTo>
                    <a:pt x="1044521" y="629984"/>
                  </a:lnTo>
                  <a:lnTo>
                    <a:pt x="1024738" y="645519"/>
                  </a:lnTo>
                  <a:lnTo>
                    <a:pt x="1014994" y="670189"/>
                  </a:lnTo>
                  <a:lnTo>
                    <a:pt x="1006078" y="686058"/>
                  </a:lnTo>
                  <a:lnTo>
                    <a:pt x="998163" y="713984"/>
                  </a:lnTo>
                  <a:lnTo>
                    <a:pt x="987857" y="730244"/>
                  </a:lnTo>
                  <a:lnTo>
                    <a:pt x="981104" y="754847"/>
                  </a:lnTo>
                  <a:lnTo>
                    <a:pt x="977656" y="777717"/>
                  </a:lnTo>
                  <a:lnTo>
                    <a:pt x="979027" y="788280"/>
                  </a:lnTo>
                  <a:lnTo>
                    <a:pt x="963721" y="799938"/>
                  </a:lnTo>
                  <a:lnTo>
                    <a:pt x="933822" y="801158"/>
                  </a:lnTo>
                  <a:lnTo>
                    <a:pt x="909171" y="815007"/>
                  </a:lnTo>
                  <a:lnTo>
                    <a:pt x="896903" y="828151"/>
                  </a:lnTo>
                  <a:lnTo>
                    <a:pt x="880767" y="842810"/>
                  </a:lnTo>
                  <a:lnTo>
                    <a:pt x="858651" y="827723"/>
                  </a:lnTo>
                  <a:lnTo>
                    <a:pt x="842286" y="821731"/>
                  </a:lnTo>
                  <a:lnTo>
                    <a:pt x="846440" y="804100"/>
                  </a:lnTo>
                  <a:lnTo>
                    <a:pt x="831838" y="810483"/>
                  </a:lnTo>
                  <a:lnTo>
                    <a:pt x="808454" y="835076"/>
                  </a:lnTo>
                  <a:lnTo>
                    <a:pt x="785365" y="825837"/>
                  </a:lnTo>
                  <a:lnTo>
                    <a:pt x="770220" y="820464"/>
                  </a:lnTo>
                  <a:lnTo>
                    <a:pt x="754942" y="818045"/>
                  </a:lnTo>
                  <a:lnTo>
                    <a:pt x="729092" y="808263"/>
                  </a:lnTo>
                  <a:lnTo>
                    <a:pt x="711822" y="787546"/>
                  </a:lnTo>
                  <a:lnTo>
                    <a:pt x="706860" y="762258"/>
                  </a:lnTo>
                  <a:lnTo>
                    <a:pt x="700659" y="745570"/>
                  </a:lnTo>
                  <a:lnTo>
                    <a:pt x="687534" y="732254"/>
                  </a:lnTo>
                  <a:lnTo>
                    <a:pt x="661845" y="728310"/>
                  </a:lnTo>
                  <a:lnTo>
                    <a:pt x="670627" y="712489"/>
                  </a:lnTo>
                  <a:lnTo>
                    <a:pt x="664159" y="688467"/>
                  </a:lnTo>
                  <a:lnTo>
                    <a:pt x="651120" y="710860"/>
                  </a:lnTo>
                  <a:lnTo>
                    <a:pt x="627355" y="716832"/>
                  </a:lnTo>
                  <a:lnTo>
                    <a:pt x="641328" y="698878"/>
                  </a:lnTo>
                  <a:lnTo>
                    <a:pt x="645376" y="680275"/>
                  </a:lnTo>
                  <a:lnTo>
                    <a:pt x="655692" y="664597"/>
                  </a:lnTo>
                  <a:lnTo>
                    <a:pt x="653549" y="641052"/>
                  </a:lnTo>
                  <a:lnTo>
                    <a:pt x="631832" y="668188"/>
                  </a:lnTo>
                  <a:lnTo>
                    <a:pt x="615144" y="679142"/>
                  </a:lnTo>
                  <a:lnTo>
                    <a:pt x="604914" y="704793"/>
                  </a:lnTo>
                  <a:lnTo>
                    <a:pt x="584064" y="691496"/>
                  </a:lnTo>
                  <a:lnTo>
                    <a:pt x="584892" y="674437"/>
                  </a:lnTo>
                  <a:lnTo>
                    <a:pt x="568186" y="651291"/>
                  </a:lnTo>
                  <a:lnTo>
                    <a:pt x="554098" y="639413"/>
                  </a:lnTo>
                  <a:lnTo>
                    <a:pt x="559118" y="632117"/>
                  </a:lnTo>
                  <a:lnTo>
                    <a:pt x="524847" y="613058"/>
                  </a:lnTo>
                  <a:lnTo>
                    <a:pt x="506073" y="612162"/>
                  </a:lnTo>
                  <a:lnTo>
                    <a:pt x="480393" y="596951"/>
                  </a:lnTo>
                  <a:lnTo>
                    <a:pt x="432568" y="599904"/>
                  </a:lnTo>
                  <a:lnTo>
                    <a:pt x="397983" y="611095"/>
                  </a:lnTo>
                  <a:lnTo>
                    <a:pt x="367599" y="621573"/>
                  </a:lnTo>
                  <a:lnTo>
                    <a:pt x="342109" y="619487"/>
                  </a:lnTo>
                  <a:lnTo>
                    <a:pt x="313801" y="635641"/>
                  </a:lnTo>
                  <a:lnTo>
                    <a:pt x="290636" y="642938"/>
                  </a:lnTo>
                  <a:lnTo>
                    <a:pt x="285493" y="659606"/>
                  </a:lnTo>
                  <a:lnTo>
                    <a:pt x="275635" y="672589"/>
                  </a:lnTo>
                  <a:lnTo>
                    <a:pt x="252965" y="673370"/>
                  </a:lnTo>
                  <a:lnTo>
                    <a:pt x="236191" y="676218"/>
                  </a:lnTo>
                  <a:lnTo>
                    <a:pt x="212589" y="670379"/>
                  </a:lnTo>
                  <a:lnTo>
                    <a:pt x="193377" y="673875"/>
                  </a:lnTo>
                  <a:lnTo>
                    <a:pt x="175041" y="675342"/>
                  </a:lnTo>
                  <a:lnTo>
                    <a:pt x="159154" y="692496"/>
                  </a:lnTo>
                  <a:lnTo>
                    <a:pt x="151372" y="691039"/>
                  </a:lnTo>
                  <a:lnTo>
                    <a:pt x="137979" y="700174"/>
                  </a:lnTo>
                  <a:lnTo>
                    <a:pt x="125139" y="710479"/>
                  </a:lnTo>
                  <a:lnTo>
                    <a:pt x="105652" y="709203"/>
                  </a:lnTo>
                  <a:lnTo>
                    <a:pt x="87754" y="709193"/>
                  </a:lnTo>
                  <a:lnTo>
                    <a:pt x="59417" y="688543"/>
                  </a:lnTo>
                  <a:lnTo>
                    <a:pt x="45063" y="682428"/>
                  </a:lnTo>
                  <a:lnTo>
                    <a:pt x="45644" y="664073"/>
                  </a:lnTo>
                  <a:lnTo>
                    <a:pt x="58912" y="659730"/>
                  </a:lnTo>
                  <a:lnTo>
                    <a:pt x="63446" y="652482"/>
                  </a:lnTo>
                  <a:lnTo>
                    <a:pt x="62494" y="641090"/>
                  </a:lnTo>
                  <a:lnTo>
                    <a:pt x="65761" y="619163"/>
                  </a:lnTo>
                  <a:lnTo>
                    <a:pt x="62779" y="600609"/>
                  </a:lnTo>
                  <a:lnTo>
                    <a:pt x="48663" y="569233"/>
                  </a:lnTo>
                  <a:lnTo>
                    <a:pt x="44282" y="551659"/>
                  </a:lnTo>
                  <a:lnTo>
                    <a:pt x="45434" y="534229"/>
                  </a:lnTo>
                  <a:lnTo>
                    <a:pt x="34804" y="514426"/>
                  </a:lnTo>
                  <a:lnTo>
                    <a:pt x="34128" y="505530"/>
                  </a:lnTo>
                  <a:lnTo>
                    <a:pt x="22298" y="493509"/>
                  </a:lnTo>
                  <a:lnTo>
                    <a:pt x="18965" y="470002"/>
                  </a:lnTo>
                  <a:lnTo>
                    <a:pt x="3696" y="446408"/>
                  </a:lnTo>
                  <a:lnTo>
                    <a:pt x="0" y="433768"/>
                  </a:lnTo>
                  <a:lnTo>
                    <a:pt x="11725" y="446589"/>
                  </a:lnTo>
                  <a:lnTo>
                    <a:pt x="2715" y="419148"/>
                  </a:lnTo>
                  <a:lnTo>
                    <a:pt x="15964" y="427701"/>
                  </a:lnTo>
                  <a:lnTo>
                    <a:pt x="23870" y="439160"/>
                  </a:lnTo>
                  <a:lnTo>
                    <a:pt x="23422" y="424015"/>
                  </a:lnTo>
                  <a:lnTo>
                    <a:pt x="10202" y="400869"/>
                  </a:lnTo>
                  <a:lnTo>
                    <a:pt x="7639" y="391649"/>
                  </a:lnTo>
                  <a:lnTo>
                    <a:pt x="1448" y="382914"/>
                  </a:lnTo>
                  <a:lnTo>
                    <a:pt x="4353" y="366084"/>
                  </a:lnTo>
                  <a:lnTo>
                    <a:pt x="9820" y="358940"/>
                  </a:lnTo>
                  <a:lnTo>
                    <a:pt x="13468" y="344471"/>
                  </a:lnTo>
                  <a:lnTo>
                    <a:pt x="10611" y="327632"/>
                  </a:lnTo>
                  <a:lnTo>
                    <a:pt x="21650" y="307010"/>
                  </a:lnTo>
                  <a:lnTo>
                    <a:pt x="23660" y="328841"/>
                  </a:lnTo>
                  <a:lnTo>
                    <a:pt x="34947" y="309115"/>
                  </a:lnTo>
                  <a:lnTo>
                    <a:pt x="56645" y="299571"/>
                  </a:lnTo>
                  <a:lnTo>
                    <a:pt x="69657" y="287417"/>
                  </a:lnTo>
                  <a:lnTo>
                    <a:pt x="90068" y="276987"/>
                  </a:lnTo>
                  <a:lnTo>
                    <a:pt x="102204" y="274777"/>
                  </a:lnTo>
                  <a:lnTo>
                    <a:pt x="109557" y="278273"/>
                  </a:lnTo>
                  <a:lnTo>
                    <a:pt x="130597" y="267710"/>
                  </a:lnTo>
                  <a:lnTo>
                    <a:pt x="146800" y="264566"/>
                  </a:lnTo>
                  <a:lnTo>
                    <a:pt x="150848" y="258376"/>
                  </a:lnTo>
                  <a:lnTo>
                    <a:pt x="157915" y="255794"/>
                  </a:lnTo>
                  <a:lnTo>
                    <a:pt x="172679" y="256461"/>
                  </a:lnTo>
                  <a:lnTo>
                    <a:pt x="200749" y="248202"/>
                  </a:lnTo>
                  <a:lnTo>
                    <a:pt x="215265" y="235696"/>
                  </a:lnTo>
                  <a:lnTo>
                    <a:pt x="222085" y="220694"/>
                  </a:lnTo>
                  <a:lnTo>
                    <a:pt x="237754" y="206493"/>
                  </a:lnTo>
                  <a:lnTo>
                    <a:pt x="238954" y="195358"/>
                  </a:lnTo>
                  <a:lnTo>
                    <a:pt x="239649" y="180223"/>
                  </a:lnTo>
                  <a:lnTo>
                    <a:pt x="258337" y="156658"/>
                  </a:lnTo>
                  <a:lnTo>
                    <a:pt x="269586" y="180604"/>
                  </a:lnTo>
                  <a:lnTo>
                    <a:pt x="280950" y="175060"/>
                  </a:lnTo>
                  <a:lnTo>
                    <a:pt x="271444" y="161963"/>
                  </a:lnTo>
                  <a:lnTo>
                    <a:pt x="279826" y="148542"/>
                  </a:lnTo>
                  <a:lnTo>
                    <a:pt x="291608" y="154534"/>
                  </a:lnTo>
                  <a:lnTo>
                    <a:pt x="294847" y="133531"/>
                  </a:lnTo>
                  <a:lnTo>
                    <a:pt x="309439" y="119996"/>
                  </a:lnTo>
                  <a:lnTo>
                    <a:pt x="315878" y="109157"/>
                  </a:lnTo>
                  <a:lnTo>
                    <a:pt x="329308" y="104480"/>
                  </a:lnTo>
                  <a:lnTo>
                    <a:pt x="329727" y="96822"/>
                  </a:lnTo>
                  <a:lnTo>
                    <a:pt x="341462" y="100013"/>
                  </a:lnTo>
                  <a:lnTo>
                    <a:pt x="341929" y="93136"/>
                  </a:lnTo>
                  <a:lnTo>
                    <a:pt x="353673" y="89211"/>
                  </a:lnTo>
                  <a:lnTo>
                    <a:pt x="366579" y="85525"/>
                  </a:lnTo>
                  <a:lnTo>
                    <a:pt x="386306" y="98079"/>
                  </a:lnTo>
                  <a:lnTo>
                    <a:pt x="401127" y="114319"/>
                  </a:lnTo>
                  <a:lnTo>
                    <a:pt x="417843" y="114510"/>
                  </a:lnTo>
                  <a:lnTo>
                    <a:pt x="434826" y="117091"/>
                  </a:lnTo>
                  <a:lnTo>
                    <a:pt x="429168" y="102022"/>
                  </a:lnTo>
                  <a:lnTo>
                    <a:pt x="441960" y="80086"/>
                  </a:lnTo>
                  <a:lnTo>
                    <a:pt x="454000" y="72952"/>
                  </a:lnTo>
                  <a:lnTo>
                    <a:pt x="449838" y="66142"/>
                  </a:lnTo>
                  <a:lnTo>
                    <a:pt x="461439" y="50597"/>
                  </a:lnTo>
                  <a:lnTo>
                    <a:pt x="477612" y="41015"/>
                  </a:lnTo>
                  <a:lnTo>
                    <a:pt x="491280" y="44244"/>
                  </a:lnTo>
                  <a:lnTo>
                    <a:pt x="513712" y="39129"/>
                  </a:lnTo>
                  <a:lnTo>
                    <a:pt x="513226" y="25270"/>
                  </a:lnTo>
                  <a:lnTo>
                    <a:pt x="493662" y="16355"/>
                  </a:lnTo>
                  <a:lnTo>
                    <a:pt x="507883" y="12421"/>
                  </a:lnTo>
                  <a:lnTo>
                    <a:pt x="525571" y="19126"/>
                  </a:lnTo>
                  <a:lnTo>
                    <a:pt x="539753" y="30242"/>
                  </a:lnTo>
                  <a:lnTo>
                    <a:pt x="562242" y="37186"/>
                  </a:lnTo>
                  <a:lnTo>
                    <a:pt x="569872" y="34442"/>
                  </a:lnTo>
                  <a:lnTo>
                    <a:pt x="586426" y="42777"/>
                  </a:lnTo>
                  <a:lnTo>
                    <a:pt x="602028" y="35014"/>
                  </a:lnTo>
                  <a:lnTo>
                    <a:pt x="612067" y="37376"/>
                  </a:lnTo>
                  <a:lnTo>
                    <a:pt x="618316" y="32166"/>
                  </a:lnTo>
                  <a:lnTo>
                    <a:pt x="630574" y="45596"/>
                  </a:lnTo>
                  <a:lnTo>
                    <a:pt x="623459" y="60150"/>
                  </a:lnTo>
                  <a:lnTo>
                    <a:pt x="613325" y="71152"/>
                  </a:lnTo>
                  <a:lnTo>
                    <a:pt x="604142" y="72066"/>
                  </a:lnTo>
                  <a:lnTo>
                    <a:pt x="607238" y="82982"/>
                  </a:lnTo>
                  <a:lnTo>
                    <a:pt x="599390" y="96650"/>
                  </a:lnTo>
                  <a:lnTo>
                    <a:pt x="589902" y="110119"/>
                  </a:lnTo>
                  <a:lnTo>
                    <a:pt x="591817" y="117872"/>
                  </a:lnTo>
                  <a:lnTo>
                    <a:pt x="613048" y="133074"/>
                  </a:lnTo>
                  <a:lnTo>
                    <a:pt x="633622" y="141913"/>
                  </a:lnTo>
                  <a:lnTo>
                    <a:pt x="647367" y="151429"/>
                  </a:lnTo>
                  <a:lnTo>
                    <a:pt x="666674" y="167830"/>
                  </a:lnTo>
                  <a:lnTo>
                    <a:pt x="674199" y="167802"/>
                  </a:lnTo>
                  <a:lnTo>
                    <a:pt x="688181" y="174908"/>
                  </a:lnTo>
                  <a:lnTo>
                    <a:pt x="692239" y="183490"/>
                  </a:lnTo>
                  <a:lnTo>
                    <a:pt x="717738" y="192938"/>
                  </a:lnTo>
                  <a:lnTo>
                    <a:pt x="735378" y="183423"/>
                  </a:lnTo>
                  <a:lnTo>
                    <a:pt x="740607" y="168507"/>
                  </a:lnTo>
                  <a:lnTo>
                    <a:pt x="746017" y="156229"/>
                  </a:lnTo>
                  <a:lnTo>
                    <a:pt x="749342" y="141084"/>
                  </a:lnTo>
                  <a:lnTo>
                    <a:pt x="757467" y="119177"/>
                  </a:lnTo>
                  <a:lnTo>
                    <a:pt x="753752" y="105899"/>
                  </a:lnTo>
                  <a:lnTo>
                    <a:pt x="755675" y="97927"/>
                  </a:lnTo>
                  <a:lnTo>
                    <a:pt x="752590" y="82277"/>
                  </a:lnTo>
                  <a:lnTo>
                    <a:pt x="756085" y="61732"/>
                  </a:lnTo>
                  <a:lnTo>
                    <a:pt x="761209" y="56197"/>
                  </a:lnTo>
                  <a:lnTo>
                    <a:pt x="757047" y="47120"/>
                  </a:lnTo>
                  <a:lnTo>
                    <a:pt x="763505" y="32728"/>
                  </a:lnTo>
                  <a:lnTo>
                    <a:pt x="768572" y="17840"/>
                  </a:lnTo>
                  <a:lnTo>
                    <a:pt x="769239" y="10125"/>
                  </a:lnTo>
                  <a:lnTo>
                    <a:pt x="779164" y="0"/>
                  </a:lnTo>
                  <a:lnTo>
                    <a:pt x="786699" y="13221"/>
                  </a:lnTo>
                  <a:lnTo>
                    <a:pt x="788547" y="30204"/>
                  </a:lnTo>
                  <a:lnTo>
                    <a:pt x="795204" y="33481"/>
                  </a:lnTo>
                  <a:lnTo>
                    <a:pt x="796338" y="44882"/>
                  </a:lnTo>
                  <a:lnTo>
                    <a:pt x="806053" y="58712"/>
                  </a:lnTo>
                  <a:lnTo>
                    <a:pt x="808054" y="74143"/>
                  </a:lnTo>
                  <a:lnTo>
                    <a:pt x="807139" y="839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orme libre : forme 5660">
              <a:extLst>
                <a:ext uri="{FF2B5EF4-FFF2-40B4-BE49-F238E27FC236}">
                  <a16:creationId xmlns:a16="http://schemas.microsoft.com/office/drawing/2014/main" id="{D67D7F96-DB5D-1950-C0C0-75F459BF1D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017200" y="3516319"/>
              <a:ext cx="149523" cy="124863"/>
            </a:xfrm>
            <a:custGeom>
              <a:avLst/>
              <a:gdLst>
                <a:gd name="connsiteX0" fmla="*/ 5553 w 149523"/>
                <a:gd name="connsiteY0" fmla="*/ 74543 h 124863"/>
                <a:gd name="connsiteX1" fmla="*/ 13468 w 149523"/>
                <a:gd name="connsiteY1" fmla="*/ 83811 h 124863"/>
                <a:gd name="connsiteX2" fmla="*/ 25270 w 149523"/>
                <a:gd name="connsiteY2" fmla="*/ 83734 h 124863"/>
                <a:gd name="connsiteX3" fmla="*/ 25146 w 149523"/>
                <a:gd name="connsiteY3" fmla="*/ 89049 h 124863"/>
                <a:gd name="connsiteX4" fmla="*/ 36052 w 149523"/>
                <a:gd name="connsiteY4" fmla="*/ 108861 h 124863"/>
                <a:gd name="connsiteX5" fmla="*/ 17736 w 149523"/>
                <a:gd name="connsiteY5" fmla="*/ 104318 h 124863"/>
                <a:gd name="connsiteX6" fmla="*/ 4239 w 149523"/>
                <a:gd name="connsiteY6" fmla="*/ 88497 h 124863"/>
                <a:gd name="connsiteX7" fmla="*/ 0 w 149523"/>
                <a:gd name="connsiteY7" fmla="*/ 75486 h 124863"/>
                <a:gd name="connsiteX8" fmla="*/ 5553 w 149523"/>
                <a:gd name="connsiteY8" fmla="*/ 74543 h 124863"/>
                <a:gd name="connsiteX9" fmla="*/ 68885 w 149523"/>
                <a:gd name="connsiteY9" fmla="*/ 22793 h 124863"/>
                <a:gd name="connsiteX10" fmla="*/ 80706 w 149523"/>
                <a:gd name="connsiteY10" fmla="*/ 25203 h 124863"/>
                <a:gd name="connsiteX11" fmla="*/ 85287 w 149523"/>
                <a:gd name="connsiteY11" fmla="*/ 16202 h 124863"/>
                <a:gd name="connsiteX12" fmla="*/ 101232 w 149523"/>
                <a:gd name="connsiteY12" fmla="*/ 1857 h 124863"/>
                <a:gd name="connsiteX13" fmla="*/ 115271 w 149523"/>
                <a:gd name="connsiteY13" fmla="*/ 20574 h 124863"/>
                <a:gd name="connsiteX14" fmla="*/ 128854 w 149523"/>
                <a:gd name="connsiteY14" fmla="*/ 45558 h 124863"/>
                <a:gd name="connsiteX15" fmla="*/ 141304 w 149523"/>
                <a:gd name="connsiteY15" fmla="*/ 47197 h 124863"/>
                <a:gd name="connsiteX16" fmla="*/ 149523 w 149523"/>
                <a:gd name="connsiteY16" fmla="*/ 56607 h 124863"/>
                <a:gd name="connsiteX17" fmla="*/ 127521 w 149523"/>
                <a:gd name="connsiteY17" fmla="*/ 59407 h 124863"/>
                <a:gd name="connsiteX18" fmla="*/ 122882 w 149523"/>
                <a:gd name="connsiteY18" fmla="*/ 86297 h 124863"/>
                <a:gd name="connsiteX19" fmla="*/ 118291 w 149523"/>
                <a:gd name="connsiteY19" fmla="*/ 98327 h 124863"/>
                <a:gd name="connsiteX20" fmla="*/ 108499 w 149523"/>
                <a:gd name="connsiteY20" fmla="*/ 106318 h 124863"/>
                <a:gd name="connsiteX21" fmla="*/ 109214 w 149523"/>
                <a:gd name="connsiteY21" fmla="*/ 123168 h 124863"/>
                <a:gd name="connsiteX22" fmla="*/ 102565 w 149523"/>
                <a:gd name="connsiteY22" fmla="*/ 124863 h 124863"/>
                <a:gd name="connsiteX23" fmla="*/ 85906 w 149523"/>
                <a:gd name="connsiteY23" fmla="*/ 107061 h 124863"/>
                <a:gd name="connsiteX24" fmla="*/ 95117 w 149523"/>
                <a:gd name="connsiteY24" fmla="*/ 90116 h 124863"/>
                <a:gd name="connsiteX25" fmla="*/ 87220 w 149523"/>
                <a:gd name="connsiteY25" fmla="*/ 80001 h 124863"/>
                <a:gd name="connsiteX26" fmla="*/ 77210 w 149523"/>
                <a:gd name="connsiteY26" fmla="*/ 82553 h 124863"/>
                <a:gd name="connsiteX27" fmla="*/ 45711 w 149523"/>
                <a:gd name="connsiteY27" fmla="*/ 107852 h 124863"/>
                <a:gd name="connsiteX28" fmla="*/ 45120 w 149523"/>
                <a:gd name="connsiteY28" fmla="*/ 84077 h 124863"/>
                <a:gd name="connsiteX29" fmla="*/ 33128 w 149523"/>
                <a:gd name="connsiteY29" fmla="*/ 78429 h 124863"/>
                <a:gd name="connsiteX30" fmla="*/ 21793 w 149523"/>
                <a:gd name="connsiteY30" fmla="*/ 69018 h 124863"/>
                <a:gd name="connsiteX31" fmla="*/ 29327 w 149523"/>
                <a:gd name="connsiteY31" fmla="*/ 57950 h 124863"/>
                <a:gd name="connsiteX32" fmla="*/ 15097 w 149523"/>
                <a:gd name="connsiteY32" fmla="*/ 45968 h 124863"/>
                <a:gd name="connsiteX33" fmla="*/ 20469 w 149523"/>
                <a:gd name="connsiteY33" fmla="*/ 37167 h 124863"/>
                <a:gd name="connsiteX34" fmla="*/ 10296 w 149523"/>
                <a:gd name="connsiteY34" fmla="*/ 31071 h 124863"/>
                <a:gd name="connsiteX35" fmla="*/ 4763 w 149523"/>
                <a:gd name="connsiteY35" fmla="*/ 21793 h 124863"/>
                <a:gd name="connsiteX36" fmla="*/ 11306 w 149523"/>
                <a:gd name="connsiteY36" fmla="*/ 16012 h 124863"/>
                <a:gd name="connsiteX37" fmla="*/ 31204 w 149523"/>
                <a:gd name="connsiteY37" fmla="*/ 26184 h 124863"/>
                <a:gd name="connsiteX38" fmla="*/ 45596 w 149523"/>
                <a:gd name="connsiteY38" fmla="*/ 28280 h 124863"/>
                <a:gd name="connsiteX39" fmla="*/ 49235 w 149523"/>
                <a:gd name="connsiteY39" fmla="*/ 24137 h 124863"/>
                <a:gd name="connsiteX40" fmla="*/ 36081 w 149523"/>
                <a:gd name="connsiteY40" fmla="*/ 4925 h 124863"/>
                <a:gd name="connsiteX41" fmla="*/ 43015 w 149523"/>
                <a:gd name="connsiteY41" fmla="*/ 0 h 124863"/>
                <a:gd name="connsiteX42" fmla="*/ 50521 w 149523"/>
                <a:gd name="connsiteY42" fmla="*/ 1200 h 124863"/>
                <a:gd name="connsiteX43" fmla="*/ 68885 w 149523"/>
                <a:gd name="connsiteY43" fmla="*/ 22793 h 124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49523" h="124863">
                  <a:moveTo>
                    <a:pt x="5553" y="74543"/>
                  </a:moveTo>
                  <a:lnTo>
                    <a:pt x="13468" y="83811"/>
                  </a:lnTo>
                  <a:lnTo>
                    <a:pt x="25270" y="83734"/>
                  </a:lnTo>
                  <a:lnTo>
                    <a:pt x="25146" y="89049"/>
                  </a:lnTo>
                  <a:lnTo>
                    <a:pt x="36052" y="108861"/>
                  </a:lnTo>
                  <a:lnTo>
                    <a:pt x="17736" y="104318"/>
                  </a:lnTo>
                  <a:lnTo>
                    <a:pt x="4239" y="88497"/>
                  </a:lnTo>
                  <a:lnTo>
                    <a:pt x="0" y="75486"/>
                  </a:lnTo>
                  <a:lnTo>
                    <a:pt x="5553" y="74543"/>
                  </a:lnTo>
                  <a:close/>
                  <a:moveTo>
                    <a:pt x="68885" y="22793"/>
                  </a:moveTo>
                  <a:lnTo>
                    <a:pt x="80706" y="25203"/>
                  </a:lnTo>
                  <a:lnTo>
                    <a:pt x="85287" y="16202"/>
                  </a:lnTo>
                  <a:lnTo>
                    <a:pt x="101232" y="1857"/>
                  </a:lnTo>
                  <a:lnTo>
                    <a:pt x="115271" y="20574"/>
                  </a:lnTo>
                  <a:lnTo>
                    <a:pt x="128854" y="45558"/>
                  </a:lnTo>
                  <a:lnTo>
                    <a:pt x="141304" y="47197"/>
                  </a:lnTo>
                  <a:lnTo>
                    <a:pt x="149523" y="56607"/>
                  </a:lnTo>
                  <a:lnTo>
                    <a:pt x="127521" y="59407"/>
                  </a:lnTo>
                  <a:lnTo>
                    <a:pt x="122882" y="86297"/>
                  </a:lnTo>
                  <a:lnTo>
                    <a:pt x="118291" y="98327"/>
                  </a:lnTo>
                  <a:lnTo>
                    <a:pt x="108499" y="106318"/>
                  </a:lnTo>
                  <a:lnTo>
                    <a:pt x="109214" y="123168"/>
                  </a:lnTo>
                  <a:lnTo>
                    <a:pt x="102565" y="124863"/>
                  </a:lnTo>
                  <a:lnTo>
                    <a:pt x="85906" y="107061"/>
                  </a:lnTo>
                  <a:lnTo>
                    <a:pt x="95117" y="90116"/>
                  </a:lnTo>
                  <a:lnTo>
                    <a:pt x="87220" y="80001"/>
                  </a:lnTo>
                  <a:lnTo>
                    <a:pt x="77210" y="82553"/>
                  </a:lnTo>
                  <a:lnTo>
                    <a:pt x="45711" y="107852"/>
                  </a:lnTo>
                  <a:lnTo>
                    <a:pt x="45120" y="84077"/>
                  </a:lnTo>
                  <a:lnTo>
                    <a:pt x="33128" y="78429"/>
                  </a:lnTo>
                  <a:lnTo>
                    <a:pt x="21793" y="69018"/>
                  </a:lnTo>
                  <a:lnTo>
                    <a:pt x="29327" y="57950"/>
                  </a:lnTo>
                  <a:lnTo>
                    <a:pt x="15097" y="45968"/>
                  </a:lnTo>
                  <a:lnTo>
                    <a:pt x="20469" y="37167"/>
                  </a:lnTo>
                  <a:lnTo>
                    <a:pt x="10296" y="31071"/>
                  </a:lnTo>
                  <a:lnTo>
                    <a:pt x="4763" y="21793"/>
                  </a:lnTo>
                  <a:lnTo>
                    <a:pt x="11306" y="16012"/>
                  </a:lnTo>
                  <a:lnTo>
                    <a:pt x="31204" y="26184"/>
                  </a:lnTo>
                  <a:lnTo>
                    <a:pt x="45596" y="28280"/>
                  </a:lnTo>
                  <a:lnTo>
                    <a:pt x="49235" y="24137"/>
                  </a:lnTo>
                  <a:lnTo>
                    <a:pt x="36081" y="4925"/>
                  </a:lnTo>
                  <a:lnTo>
                    <a:pt x="43015" y="0"/>
                  </a:lnTo>
                  <a:lnTo>
                    <a:pt x="50521" y="1200"/>
                  </a:lnTo>
                  <a:lnTo>
                    <a:pt x="68885" y="227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orme libre : forme 5661">
              <a:extLst>
                <a:ext uri="{FF2B5EF4-FFF2-40B4-BE49-F238E27FC236}">
                  <a16:creationId xmlns:a16="http://schemas.microsoft.com/office/drawing/2014/main" id="{C8B50AF7-571E-7B43-3A42-8A78769485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241532" y="3392428"/>
              <a:ext cx="102812" cy="95526"/>
            </a:xfrm>
            <a:custGeom>
              <a:avLst/>
              <a:gdLst>
                <a:gd name="connsiteX0" fmla="*/ 86944 w 102812"/>
                <a:gd name="connsiteY0" fmla="*/ 14068 h 95526"/>
                <a:gd name="connsiteX1" fmla="*/ 96621 w 102812"/>
                <a:gd name="connsiteY1" fmla="*/ 13973 h 95526"/>
                <a:gd name="connsiteX2" fmla="*/ 89935 w 102812"/>
                <a:gd name="connsiteY2" fmla="*/ 30423 h 95526"/>
                <a:gd name="connsiteX3" fmla="*/ 102813 w 102812"/>
                <a:gd name="connsiteY3" fmla="*/ 44710 h 95526"/>
                <a:gd name="connsiteX4" fmla="*/ 98917 w 102812"/>
                <a:gd name="connsiteY4" fmla="*/ 62056 h 95526"/>
                <a:gd name="connsiteX5" fmla="*/ 92630 w 102812"/>
                <a:gd name="connsiteY5" fmla="*/ 63675 h 95526"/>
                <a:gd name="connsiteX6" fmla="*/ 87639 w 102812"/>
                <a:gd name="connsiteY6" fmla="*/ 67027 h 95526"/>
                <a:gd name="connsiteX7" fmla="*/ 78953 w 102812"/>
                <a:gd name="connsiteY7" fmla="*/ 75533 h 95526"/>
                <a:gd name="connsiteX8" fmla="*/ 75038 w 102812"/>
                <a:gd name="connsiteY8" fmla="*/ 95526 h 95526"/>
                <a:gd name="connsiteX9" fmla="*/ 51406 w 102812"/>
                <a:gd name="connsiteY9" fmla="*/ 81782 h 95526"/>
                <a:gd name="connsiteX10" fmla="*/ 41320 w 102812"/>
                <a:gd name="connsiteY10" fmla="*/ 66523 h 95526"/>
                <a:gd name="connsiteX11" fmla="*/ 31147 w 102812"/>
                <a:gd name="connsiteY11" fmla="*/ 58398 h 95526"/>
                <a:gd name="connsiteX12" fmla="*/ 18869 w 102812"/>
                <a:gd name="connsiteY12" fmla="*/ 44615 h 95526"/>
                <a:gd name="connsiteX13" fmla="*/ 13078 w 102812"/>
                <a:gd name="connsiteY13" fmla="*/ 33099 h 95526"/>
                <a:gd name="connsiteX14" fmla="*/ 0 w 102812"/>
                <a:gd name="connsiteY14" fmla="*/ 15630 h 95526"/>
                <a:gd name="connsiteX15" fmla="*/ 5582 w 102812"/>
                <a:gd name="connsiteY15" fmla="*/ 0 h 95526"/>
                <a:gd name="connsiteX16" fmla="*/ 15173 w 102812"/>
                <a:gd name="connsiteY16" fmla="*/ 8668 h 95526"/>
                <a:gd name="connsiteX17" fmla="*/ 20955 w 102812"/>
                <a:gd name="connsiteY17" fmla="*/ 838 h 95526"/>
                <a:gd name="connsiteX18" fmla="*/ 33433 w 102812"/>
                <a:gd name="connsiteY18" fmla="*/ 0 h 95526"/>
                <a:gd name="connsiteX19" fmla="*/ 56398 w 102812"/>
                <a:gd name="connsiteY19" fmla="*/ 6267 h 95526"/>
                <a:gd name="connsiteX20" fmla="*/ 74857 w 102812"/>
                <a:gd name="connsiteY20" fmla="*/ 5744 h 9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12" h="95526">
                  <a:moveTo>
                    <a:pt x="86944" y="14068"/>
                  </a:moveTo>
                  <a:lnTo>
                    <a:pt x="96621" y="13973"/>
                  </a:lnTo>
                  <a:lnTo>
                    <a:pt x="89935" y="30423"/>
                  </a:lnTo>
                  <a:lnTo>
                    <a:pt x="102813" y="44710"/>
                  </a:lnTo>
                  <a:lnTo>
                    <a:pt x="98917" y="62056"/>
                  </a:lnTo>
                  <a:lnTo>
                    <a:pt x="92630" y="63675"/>
                  </a:lnTo>
                  <a:lnTo>
                    <a:pt x="87639" y="67027"/>
                  </a:lnTo>
                  <a:lnTo>
                    <a:pt x="78953" y="75533"/>
                  </a:lnTo>
                  <a:lnTo>
                    <a:pt x="75038" y="95526"/>
                  </a:lnTo>
                  <a:lnTo>
                    <a:pt x="51406" y="81782"/>
                  </a:lnTo>
                  <a:lnTo>
                    <a:pt x="41320" y="66523"/>
                  </a:lnTo>
                  <a:lnTo>
                    <a:pt x="31147" y="58398"/>
                  </a:lnTo>
                  <a:lnTo>
                    <a:pt x="18869" y="44615"/>
                  </a:lnTo>
                  <a:lnTo>
                    <a:pt x="13078" y="33099"/>
                  </a:lnTo>
                  <a:lnTo>
                    <a:pt x="0" y="15630"/>
                  </a:lnTo>
                  <a:lnTo>
                    <a:pt x="5582" y="0"/>
                  </a:lnTo>
                  <a:lnTo>
                    <a:pt x="15173" y="8668"/>
                  </a:lnTo>
                  <a:lnTo>
                    <a:pt x="20955" y="838"/>
                  </a:lnTo>
                  <a:lnTo>
                    <a:pt x="33433" y="0"/>
                  </a:lnTo>
                  <a:lnTo>
                    <a:pt x="56398" y="6267"/>
                  </a:lnTo>
                  <a:lnTo>
                    <a:pt x="74857" y="57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orme libre : forme 5662">
              <a:extLst>
                <a:ext uri="{FF2B5EF4-FFF2-40B4-BE49-F238E27FC236}">
                  <a16:creationId xmlns:a16="http://schemas.microsoft.com/office/drawing/2014/main" id="{3D5BD6F5-EA61-0E46-834A-77B0D6E757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173345" y="4014420"/>
              <a:ext cx="122539" cy="167420"/>
            </a:xfrm>
            <a:custGeom>
              <a:avLst/>
              <a:gdLst>
                <a:gd name="connsiteX0" fmla="*/ 122539 w 122539"/>
                <a:gd name="connsiteY0" fmla="*/ 128349 h 167420"/>
                <a:gd name="connsiteX1" fmla="*/ 121987 w 122539"/>
                <a:gd name="connsiteY1" fmla="*/ 148847 h 167420"/>
                <a:gd name="connsiteX2" fmla="*/ 112671 w 122539"/>
                <a:gd name="connsiteY2" fmla="*/ 144532 h 167420"/>
                <a:gd name="connsiteX3" fmla="*/ 114415 w 122539"/>
                <a:gd name="connsiteY3" fmla="*/ 167421 h 167420"/>
                <a:gd name="connsiteX4" fmla="*/ 106775 w 122539"/>
                <a:gd name="connsiteY4" fmla="*/ 152600 h 167420"/>
                <a:gd name="connsiteX5" fmla="*/ 105242 w 122539"/>
                <a:gd name="connsiteY5" fmla="*/ 138074 h 167420"/>
                <a:gd name="connsiteX6" fmla="*/ 100156 w 122539"/>
                <a:gd name="connsiteY6" fmla="*/ 124292 h 167420"/>
                <a:gd name="connsiteX7" fmla="*/ 89002 w 122539"/>
                <a:gd name="connsiteY7" fmla="*/ 107566 h 167420"/>
                <a:gd name="connsiteX8" fmla="*/ 64398 w 122539"/>
                <a:gd name="connsiteY8" fmla="*/ 106413 h 167420"/>
                <a:gd name="connsiteX9" fmla="*/ 66827 w 122539"/>
                <a:gd name="connsiteY9" fmla="*/ 118272 h 167420"/>
                <a:gd name="connsiteX10" fmla="*/ 58445 w 122539"/>
                <a:gd name="connsiteY10" fmla="*/ 134217 h 167420"/>
                <a:gd name="connsiteX11" fmla="*/ 47082 w 122539"/>
                <a:gd name="connsiteY11" fmla="*/ 128416 h 167420"/>
                <a:gd name="connsiteX12" fmla="*/ 43206 w 122539"/>
                <a:gd name="connsiteY12" fmla="*/ 133617 h 167420"/>
                <a:gd name="connsiteX13" fmla="*/ 35643 w 122539"/>
                <a:gd name="connsiteY13" fmla="*/ 130502 h 167420"/>
                <a:gd name="connsiteX14" fmla="*/ 25308 w 122539"/>
                <a:gd name="connsiteY14" fmla="*/ 127940 h 167420"/>
                <a:gd name="connsiteX15" fmla="*/ 21145 w 122539"/>
                <a:gd name="connsiteY15" fmla="*/ 104270 h 167420"/>
                <a:gd name="connsiteX16" fmla="*/ 11897 w 122539"/>
                <a:gd name="connsiteY16" fmla="*/ 82544 h 167420"/>
                <a:gd name="connsiteX17" fmla="*/ 16430 w 122539"/>
                <a:gd name="connsiteY17" fmla="*/ 65027 h 167420"/>
                <a:gd name="connsiteX18" fmla="*/ 0 w 122539"/>
                <a:gd name="connsiteY18" fmla="*/ 57226 h 167420"/>
                <a:gd name="connsiteX19" fmla="*/ 5925 w 122539"/>
                <a:gd name="connsiteY19" fmla="*/ 46568 h 167420"/>
                <a:gd name="connsiteX20" fmla="*/ 22622 w 122539"/>
                <a:gd name="connsiteY20" fmla="*/ 35643 h 167420"/>
                <a:gd name="connsiteX21" fmla="*/ 3343 w 122539"/>
                <a:gd name="connsiteY21" fmla="*/ 20069 h 167420"/>
                <a:gd name="connsiteX22" fmla="*/ 12773 w 122539"/>
                <a:gd name="connsiteY22" fmla="*/ 0 h 167420"/>
                <a:gd name="connsiteX23" fmla="*/ 33928 w 122539"/>
                <a:gd name="connsiteY23" fmla="*/ 12792 h 167420"/>
                <a:gd name="connsiteX24" fmla="*/ 46682 w 122539"/>
                <a:gd name="connsiteY24" fmla="*/ 14249 h 167420"/>
                <a:gd name="connsiteX25" fmla="*/ 49035 w 122539"/>
                <a:gd name="connsiteY25" fmla="*/ 34728 h 167420"/>
                <a:gd name="connsiteX26" fmla="*/ 74447 w 122539"/>
                <a:gd name="connsiteY26" fmla="*/ 38757 h 167420"/>
                <a:gd name="connsiteX27" fmla="*/ 99222 w 122539"/>
                <a:gd name="connsiteY27" fmla="*/ 38319 h 167420"/>
                <a:gd name="connsiteX28" fmla="*/ 114615 w 122539"/>
                <a:gd name="connsiteY28" fmla="*/ 43329 h 167420"/>
                <a:gd name="connsiteX29" fmla="*/ 102308 w 122539"/>
                <a:gd name="connsiteY29" fmla="*/ 68037 h 167420"/>
                <a:gd name="connsiteX30" fmla="*/ 90354 w 122539"/>
                <a:gd name="connsiteY30" fmla="*/ 69723 h 167420"/>
                <a:gd name="connsiteX31" fmla="*/ 82115 w 122539"/>
                <a:gd name="connsiteY31" fmla="*/ 86240 h 167420"/>
                <a:gd name="connsiteX32" fmla="*/ 96736 w 122539"/>
                <a:gd name="connsiteY32" fmla="*/ 101213 h 167420"/>
                <a:gd name="connsiteX33" fmla="*/ 101098 w 122539"/>
                <a:gd name="connsiteY33" fmla="*/ 82734 h 167420"/>
                <a:gd name="connsiteX34" fmla="*/ 108471 w 122539"/>
                <a:gd name="connsiteY34" fmla="*/ 82639 h 167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22539" h="167420">
                  <a:moveTo>
                    <a:pt x="122539" y="128349"/>
                  </a:moveTo>
                  <a:lnTo>
                    <a:pt x="121987" y="148847"/>
                  </a:lnTo>
                  <a:lnTo>
                    <a:pt x="112671" y="144532"/>
                  </a:lnTo>
                  <a:lnTo>
                    <a:pt x="114415" y="167421"/>
                  </a:lnTo>
                  <a:lnTo>
                    <a:pt x="106775" y="152600"/>
                  </a:lnTo>
                  <a:lnTo>
                    <a:pt x="105242" y="138074"/>
                  </a:lnTo>
                  <a:lnTo>
                    <a:pt x="100156" y="124292"/>
                  </a:lnTo>
                  <a:lnTo>
                    <a:pt x="89002" y="107566"/>
                  </a:lnTo>
                  <a:lnTo>
                    <a:pt x="64398" y="106413"/>
                  </a:lnTo>
                  <a:lnTo>
                    <a:pt x="66827" y="118272"/>
                  </a:lnTo>
                  <a:lnTo>
                    <a:pt x="58445" y="134217"/>
                  </a:lnTo>
                  <a:lnTo>
                    <a:pt x="47082" y="128416"/>
                  </a:lnTo>
                  <a:lnTo>
                    <a:pt x="43206" y="133617"/>
                  </a:lnTo>
                  <a:lnTo>
                    <a:pt x="35643" y="130502"/>
                  </a:lnTo>
                  <a:lnTo>
                    <a:pt x="25308" y="127940"/>
                  </a:lnTo>
                  <a:lnTo>
                    <a:pt x="21145" y="104270"/>
                  </a:lnTo>
                  <a:lnTo>
                    <a:pt x="11897" y="82544"/>
                  </a:lnTo>
                  <a:lnTo>
                    <a:pt x="16430" y="65027"/>
                  </a:lnTo>
                  <a:lnTo>
                    <a:pt x="0" y="57226"/>
                  </a:lnTo>
                  <a:lnTo>
                    <a:pt x="5925" y="46568"/>
                  </a:lnTo>
                  <a:lnTo>
                    <a:pt x="22622" y="35643"/>
                  </a:lnTo>
                  <a:lnTo>
                    <a:pt x="3343" y="20069"/>
                  </a:lnTo>
                  <a:lnTo>
                    <a:pt x="12773" y="0"/>
                  </a:lnTo>
                  <a:lnTo>
                    <a:pt x="33928" y="12792"/>
                  </a:lnTo>
                  <a:lnTo>
                    <a:pt x="46682" y="14249"/>
                  </a:lnTo>
                  <a:lnTo>
                    <a:pt x="49035" y="34728"/>
                  </a:lnTo>
                  <a:lnTo>
                    <a:pt x="74447" y="38757"/>
                  </a:lnTo>
                  <a:lnTo>
                    <a:pt x="99222" y="38319"/>
                  </a:lnTo>
                  <a:lnTo>
                    <a:pt x="114615" y="43329"/>
                  </a:lnTo>
                  <a:lnTo>
                    <a:pt x="102308" y="68037"/>
                  </a:lnTo>
                  <a:lnTo>
                    <a:pt x="90354" y="69723"/>
                  </a:lnTo>
                  <a:lnTo>
                    <a:pt x="82115" y="86240"/>
                  </a:lnTo>
                  <a:lnTo>
                    <a:pt x="96736" y="101213"/>
                  </a:lnTo>
                  <a:lnTo>
                    <a:pt x="101098" y="82734"/>
                  </a:lnTo>
                  <a:lnTo>
                    <a:pt x="108471" y="826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orme libre : forme 5663">
              <a:extLst>
                <a:ext uri="{FF2B5EF4-FFF2-40B4-BE49-F238E27FC236}">
                  <a16:creationId xmlns:a16="http://schemas.microsoft.com/office/drawing/2014/main" id="{5E017F58-39A6-76EF-2E72-DA086569384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888030" y="3141901"/>
              <a:ext cx="97288" cy="81486"/>
            </a:xfrm>
            <a:custGeom>
              <a:avLst/>
              <a:gdLst>
                <a:gd name="connsiteX0" fmla="*/ 21403 w 97288"/>
                <a:gd name="connsiteY0" fmla="*/ 5515 h 81486"/>
                <a:gd name="connsiteX1" fmla="*/ 40958 w 97288"/>
                <a:gd name="connsiteY1" fmla="*/ 8868 h 81486"/>
                <a:gd name="connsiteX2" fmla="*/ 65704 w 97288"/>
                <a:gd name="connsiteY2" fmla="*/ 0 h 81486"/>
                <a:gd name="connsiteX3" fmla="*/ 82610 w 97288"/>
                <a:gd name="connsiteY3" fmla="*/ 18631 h 81486"/>
                <a:gd name="connsiteX4" fmla="*/ 97289 w 97288"/>
                <a:gd name="connsiteY4" fmla="*/ 28499 h 81486"/>
                <a:gd name="connsiteX5" fmla="*/ 94259 w 97288"/>
                <a:gd name="connsiteY5" fmla="*/ 56769 h 81486"/>
                <a:gd name="connsiteX6" fmla="*/ 87297 w 97288"/>
                <a:gd name="connsiteY6" fmla="*/ 58341 h 81486"/>
                <a:gd name="connsiteX7" fmla="*/ 84401 w 97288"/>
                <a:gd name="connsiteY7" fmla="*/ 81486 h 81486"/>
                <a:gd name="connsiteX8" fmla="*/ 61036 w 97288"/>
                <a:gd name="connsiteY8" fmla="*/ 62694 h 81486"/>
                <a:gd name="connsiteX9" fmla="*/ 47339 w 97288"/>
                <a:gd name="connsiteY9" fmla="*/ 65913 h 81486"/>
                <a:gd name="connsiteX10" fmla="*/ 28689 w 97288"/>
                <a:gd name="connsiteY10" fmla="*/ 46320 h 81486"/>
                <a:gd name="connsiteX11" fmla="*/ 16278 w 97288"/>
                <a:gd name="connsiteY11" fmla="*/ 29480 h 81486"/>
                <a:gd name="connsiteX12" fmla="*/ 3867 w 97288"/>
                <a:gd name="connsiteY12" fmla="*/ 28794 h 81486"/>
                <a:gd name="connsiteX13" fmla="*/ 0 w 97288"/>
                <a:gd name="connsiteY13" fmla="*/ 13916 h 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288" h="81486">
                  <a:moveTo>
                    <a:pt x="21403" y="5515"/>
                  </a:moveTo>
                  <a:lnTo>
                    <a:pt x="40958" y="8868"/>
                  </a:lnTo>
                  <a:lnTo>
                    <a:pt x="65704" y="0"/>
                  </a:lnTo>
                  <a:lnTo>
                    <a:pt x="82610" y="18631"/>
                  </a:lnTo>
                  <a:lnTo>
                    <a:pt x="97289" y="28499"/>
                  </a:lnTo>
                  <a:lnTo>
                    <a:pt x="94259" y="56769"/>
                  </a:lnTo>
                  <a:lnTo>
                    <a:pt x="87297" y="58341"/>
                  </a:lnTo>
                  <a:lnTo>
                    <a:pt x="84401" y="81486"/>
                  </a:lnTo>
                  <a:lnTo>
                    <a:pt x="61036" y="62694"/>
                  </a:lnTo>
                  <a:lnTo>
                    <a:pt x="47339" y="65913"/>
                  </a:lnTo>
                  <a:lnTo>
                    <a:pt x="28689" y="46320"/>
                  </a:lnTo>
                  <a:lnTo>
                    <a:pt x="16278" y="29480"/>
                  </a:lnTo>
                  <a:lnTo>
                    <a:pt x="3867" y="28794"/>
                  </a:lnTo>
                  <a:lnTo>
                    <a:pt x="0" y="13916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orme libre : forme 5664">
              <a:extLst>
                <a:ext uri="{FF2B5EF4-FFF2-40B4-BE49-F238E27FC236}">
                  <a16:creationId xmlns:a16="http://schemas.microsoft.com/office/drawing/2014/main" id="{70F03749-D482-ED2A-BE8B-028783A21C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674794" y="4336860"/>
              <a:ext cx="204244" cy="149618"/>
            </a:xfrm>
            <a:custGeom>
              <a:avLst/>
              <a:gdLst>
                <a:gd name="connsiteX0" fmla="*/ 70590 w 204244"/>
                <a:gd name="connsiteY0" fmla="*/ 148771 h 149618"/>
                <a:gd name="connsiteX1" fmla="*/ 52311 w 204244"/>
                <a:gd name="connsiteY1" fmla="*/ 141827 h 149618"/>
                <a:gd name="connsiteX2" fmla="*/ 39796 w 204244"/>
                <a:gd name="connsiteY2" fmla="*/ 142846 h 149618"/>
                <a:gd name="connsiteX3" fmla="*/ 30461 w 204244"/>
                <a:gd name="connsiteY3" fmla="*/ 149618 h 149618"/>
                <a:gd name="connsiteX4" fmla="*/ 18450 w 204244"/>
                <a:gd name="connsiteY4" fmla="*/ 143942 h 149618"/>
                <a:gd name="connsiteX5" fmla="*/ 13783 w 204244"/>
                <a:gd name="connsiteY5" fmla="*/ 135026 h 149618"/>
                <a:gd name="connsiteX6" fmla="*/ 1772 w 204244"/>
                <a:gd name="connsiteY6" fmla="*/ 129149 h 149618"/>
                <a:gd name="connsiteX7" fmla="*/ 0 w 204244"/>
                <a:gd name="connsiteY7" fmla="*/ 113471 h 149618"/>
                <a:gd name="connsiteX8" fmla="*/ 7286 w 204244"/>
                <a:gd name="connsiteY8" fmla="*/ 102003 h 149618"/>
                <a:gd name="connsiteX9" fmla="*/ 6668 w 204244"/>
                <a:gd name="connsiteY9" fmla="*/ 92831 h 149618"/>
                <a:gd name="connsiteX10" fmla="*/ 27870 w 204244"/>
                <a:gd name="connsiteY10" fmla="*/ 70342 h 149618"/>
                <a:gd name="connsiteX11" fmla="*/ 31785 w 204244"/>
                <a:gd name="connsiteY11" fmla="*/ 51673 h 149618"/>
                <a:gd name="connsiteX12" fmla="*/ 39110 w 204244"/>
                <a:gd name="connsiteY12" fmla="*/ 45015 h 149618"/>
                <a:gd name="connsiteX13" fmla="*/ 52016 w 204244"/>
                <a:gd name="connsiteY13" fmla="*/ 48692 h 149618"/>
                <a:gd name="connsiteX14" fmla="*/ 63217 w 204244"/>
                <a:gd name="connsiteY14" fmla="*/ 43139 h 149618"/>
                <a:gd name="connsiteX15" fmla="*/ 66847 w 204244"/>
                <a:gd name="connsiteY15" fmla="*/ 36119 h 149618"/>
                <a:gd name="connsiteX16" fmla="*/ 87563 w 204244"/>
                <a:gd name="connsiteY16" fmla="*/ 23860 h 149618"/>
                <a:gd name="connsiteX17" fmla="*/ 92669 w 204244"/>
                <a:gd name="connsiteY17" fmla="*/ 15297 h 149618"/>
                <a:gd name="connsiteX18" fmla="*/ 117624 w 204244"/>
                <a:gd name="connsiteY18" fmla="*/ 3905 h 149618"/>
                <a:gd name="connsiteX19" fmla="*/ 132331 w 204244"/>
                <a:gd name="connsiteY19" fmla="*/ 0 h 149618"/>
                <a:gd name="connsiteX20" fmla="*/ 138989 w 204244"/>
                <a:gd name="connsiteY20" fmla="*/ 5267 h 149618"/>
                <a:gd name="connsiteX21" fmla="*/ 156115 w 204244"/>
                <a:gd name="connsiteY21" fmla="*/ 5143 h 149618"/>
                <a:gd name="connsiteX22" fmla="*/ 154000 w 204244"/>
                <a:gd name="connsiteY22" fmla="*/ 18440 h 149618"/>
                <a:gd name="connsiteX23" fmla="*/ 157582 w 204244"/>
                <a:gd name="connsiteY23" fmla="*/ 30909 h 149618"/>
                <a:gd name="connsiteX24" fmla="*/ 172621 w 204244"/>
                <a:gd name="connsiteY24" fmla="*/ 48739 h 149618"/>
                <a:gd name="connsiteX25" fmla="*/ 173460 w 204244"/>
                <a:gd name="connsiteY25" fmla="*/ 61931 h 149618"/>
                <a:gd name="connsiteX26" fmla="*/ 204245 w 204244"/>
                <a:gd name="connsiteY26" fmla="*/ 68104 h 149618"/>
                <a:gd name="connsiteX27" fmla="*/ 203645 w 204244"/>
                <a:gd name="connsiteY27" fmla="*/ 86696 h 149618"/>
                <a:gd name="connsiteX28" fmla="*/ 197806 w 204244"/>
                <a:gd name="connsiteY28" fmla="*/ 94802 h 149618"/>
                <a:gd name="connsiteX29" fmla="*/ 184756 w 204244"/>
                <a:gd name="connsiteY29" fmla="*/ 97336 h 149618"/>
                <a:gd name="connsiteX30" fmla="*/ 179308 w 204244"/>
                <a:gd name="connsiteY30" fmla="*/ 109166 h 149618"/>
                <a:gd name="connsiteX31" fmla="*/ 170126 w 204244"/>
                <a:gd name="connsiteY31" fmla="*/ 112223 h 149618"/>
                <a:gd name="connsiteX32" fmla="*/ 146742 w 204244"/>
                <a:gd name="connsiteY32" fmla="*/ 111652 h 149618"/>
                <a:gd name="connsiteX33" fmla="*/ 134388 w 204244"/>
                <a:gd name="connsiteY33" fmla="*/ 109499 h 149618"/>
                <a:gd name="connsiteX34" fmla="*/ 125768 w 204244"/>
                <a:gd name="connsiteY34" fmla="*/ 113862 h 149618"/>
                <a:gd name="connsiteX35" fmla="*/ 113967 w 204244"/>
                <a:gd name="connsiteY35" fmla="*/ 111890 h 149618"/>
                <a:gd name="connsiteX36" fmla="*/ 67570 w 204244"/>
                <a:gd name="connsiteY36" fmla="*/ 113166 h 149618"/>
                <a:gd name="connsiteX37" fmla="*/ 66942 w 204244"/>
                <a:gd name="connsiteY37" fmla="*/ 128483 h 14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04244" h="149618">
                  <a:moveTo>
                    <a:pt x="70590" y="148771"/>
                  </a:moveTo>
                  <a:lnTo>
                    <a:pt x="52311" y="141827"/>
                  </a:lnTo>
                  <a:lnTo>
                    <a:pt x="39796" y="142846"/>
                  </a:lnTo>
                  <a:lnTo>
                    <a:pt x="30461" y="149618"/>
                  </a:lnTo>
                  <a:lnTo>
                    <a:pt x="18450" y="143942"/>
                  </a:lnTo>
                  <a:lnTo>
                    <a:pt x="13783" y="135026"/>
                  </a:lnTo>
                  <a:lnTo>
                    <a:pt x="1772" y="129149"/>
                  </a:lnTo>
                  <a:lnTo>
                    <a:pt x="0" y="113471"/>
                  </a:lnTo>
                  <a:lnTo>
                    <a:pt x="7286" y="102003"/>
                  </a:lnTo>
                  <a:lnTo>
                    <a:pt x="6668" y="92831"/>
                  </a:lnTo>
                  <a:lnTo>
                    <a:pt x="27870" y="70342"/>
                  </a:lnTo>
                  <a:lnTo>
                    <a:pt x="31785" y="51673"/>
                  </a:lnTo>
                  <a:lnTo>
                    <a:pt x="39110" y="45015"/>
                  </a:lnTo>
                  <a:lnTo>
                    <a:pt x="52016" y="48692"/>
                  </a:lnTo>
                  <a:lnTo>
                    <a:pt x="63217" y="43139"/>
                  </a:lnTo>
                  <a:lnTo>
                    <a:pt x="66847" y="36119"/>
                  </a:lnTo>
                  <a:lnTo>
                    <a:pt x="87563" y="23860"/>
                  </a:lnTo>
                  <a:lnTo>
                    <a:pt x="92669" y="15297"/>
                  </a:lnTo>
                  <a:lnTo>
                    <a:pt x="117624" y="3905"/>
                  </a:lnTo>
                  <a:lnTo>
                    <a:pt x="132331" y="0"/>
                  </a:lnTo>
                  <a:lnTo>
                    <a:pt x="138989" y="5267"/>
                  </a:lnTo>
                  <a:lnTo>
                    <a:pt x="156115" y="5143"/>
                  </a:lnTo>
                  <a:lnTo>
                    <a:pt x="154000" y="18440"/>
                  </a:lnTo>
                  <a:lnTo>
                    <a:pt x="157582" y="30909"/>
                  </a:lnTo>
                  <a:lnTo>
                    <a:pt x="172621" y="48739"/>
                  </a:lnTo>
                  <a:lnTo>
                    <a:pt x="173460" y="61931"/>
                  </a:lnTo>
                  <a:lnTo>
                    <a:pt x="204245" y="68104"/>
                  </a:lnTo>
                  <a:lnTo>
                    <a:pt x="203645" y="86696"/>
                  </a:lnTo>
                  <a:lnTo>
                    <a:pt x="197806" y="94802"/>
                  </a:lnTo>
                  <a:lnTo>
                    <a:pt x="184756" y="97336"/>
                  </a:lnTo>
                  <a:lnTo>
                    <a:pt x="179308" y="109166"/>
                  </a:lnTo>
                  <a:lnTo>
                    <a:pt x="170126" y="112223"/>
                  </a:lnTo>
                  <a:lnTo>
                    <a:pt x="146742" y="111652"/>
                  </a:lnTo>
                  <a:lnTo>
                    <a:pt x="134388" y="109499"/>
                  </a:lnTo>
                  <a:lnTo>
                    <a:pt x="125768" y="113862"/>
                  </a:lnTo>
                  <a:lnTo>
                    <a:pt x="113967" y="111890"/>
                  </a:lnTo>
                  <a:lnTo>
                    <a:pt x="67570" y="113166"/>
                  </a:lnTo>
                  <a:lnTo>
                    <a:pt x="66942" y="1284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orme libre : forme 5665">
              <a:extLst>
                <a:ext uri="{FF2B5EF4-FFF2-40B4-BE49-F238E27FC236}">
                  <a16:creationId xmlns:a16="http://schemas.microsoft.com/office/drawing/2014/main" id="{36DE33A7-A77B-6136-84A8-A3C1B123701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418611" y="3429852"/>
              <a:ext cx="164982" cy="108737"/>
            </a:xfrm>
            <a:custGeom>
              <a:avLst/>
              <a:gdLst>
                <a:gd name="connsiteX0" fmla="*/ 7382 w 164982"/>
                <a:gd name="connsiteY0" fmla="*/ 0 h 108737"/>
                <a:gd name="connsiteX1" fmla="*/ 15068 w 164982"/>
                <a:gd name="connsiteY1" fmla="*/ 15221 h 108737"/>
                <a:gd name="connsiteX2" fmla="*/ 25412 w 164982"/>
                <a:gd name="connsiteY2" fmla="*/ 12516 h 108737"/>
                <a:gd name="connsiteX3" fmla="*/ 45939 w 164982"/>
                <a:gd name="connsiteY3" fmla="*/ 18269 h 108737"/>
                <a:gd name="connsiteX4" fmla="*/ 85154 w 164982"/>
                <a:gd name="connsiteY4" fmla="*/ 20212 h 108737"/>
                <a:gd name="connsiteX5" fmla="*/ 98403 w 164982"/>
                <a:gd name="connsiteY5" fmla="*/ 10801 h 108737"/>
                <a:gd name="connsiteX6" fmla="*/ 129845 w 164982"/>
                <a:gd name="connsiteY6" fmla="*/ 2191 h 108737"/>
                <a:gd name="connsiteX7" fmla="*/ 149276 w 164982"/>
                <a:gd name="connsiteY7" fmla="*/ 15640 h 108737"/>
                <a:gd name="connsiteX8" fmla="*/ 164982 w 164982"/>
                <a:gd name="connsiteY8" fmla="*/ 19507 h 108737"/>
                <a:gd name="connsiteX9" fmla="*/ 151123 w 164982"/>
                <a:gd name="connsiteY9" fmla="*/ 34709 h 108737"/>
                <a:gd name="connsiteX10" fmla="*/ 141370 w 164982"/>
                <a:gd name="connsiteY10" fmla="*/ 60703 h 108737"/>
                <a:gd name="connsiteX11" fmla="*/ 149980 w 164982"/>
                <a:gd name="connsiteY11" fmla="*/ 81229 h 108737"/>
                <a:gd name="connsiteX12" fmla="*/ 126987 w 164982"/>
                <a:gd name="connsiteY12" fmla="*/ 76419 h 108737"/>
                <a:gd name="connsiteX13" fmla="*/ 99784 w 164982"/>
                <a:gd name="connsiteY13" fmla="*/ 87687 h 108737"/>
                <a:gd name="connsiteX14" fmla="*/ 99498 w 164982"/>
                <a:gd name="connsiteY14" fmla="*/ 105394 h 108737"/>
                <a:gd name="connsiteX15" fmla="*/ 75219 w 164982"/>
                <a:gd name="connsiteY15" fmla="*/ 108737 h 108737"/>
                <a:gd name="connsiteX16" fmla="*/ 56407 w 164982"/>
                <a:gd name="connsiteY16" fmla="*/ 96345 h 108737"/>
                <a:gd name="connsiteX17" fmla="*/ 35023 w 164982"/>
                <a:gd name="connsiteY17" fmla="*/ 106099 h 108737"/>
                <a:gd name="connsiteX18" fmla="*/ 15268 w 164982"/>
                <a:gd name="connsiteY18" fmla="*/ 105070 h 108737"/>
                <a:gd name="connsiteX19" fmla="*/ 13373 w 164982"/>
                <a:gd name="connsiteY19" fmla="*/ 81515 h 108737"/>
                <a:gd name="connsiteX20" fmla="*/ 0 w 164982"/>
                <a:gd name="connsiteY20" fmla="*/ 69999 h 108737"/>
                <a:gd name="connsiteX21" fmla="*/ 4391 w 164982"/>
                <a:gd name="connsiteY21" fmla="*/ 64913 h 108737"/>
                <a:gd name="connsiteX22" fmla="*/ 1495 w 164982"/>
                <a:gd name="connsiteY22" fmla="*/ 60617 h 108737"/>
                <a:gd name="connsiteX23" fmla="*/ 5982 w 164982"/>
                <a:gd name="connsiteY23" fmla="*/ 49092 h 108737"/>
                <a:gd name="connsiteX24" fmla="*/ 16164 w 164982"/>
                <a:gd name="connsiteY24" fmla="*/ 37709 h 108737"/>
                <a:gd name="connsiteX25" fmla="*/ 3191 w 164982"/>
                <a:gd name="connsiteY25" fmla="*/ 21888 h 108737"/>
                <a:gd name="connsiteX26" fmla="*/ 791 w 164982"/>
                <a:gd name="connsiteY26" fmla="*/ 8411 h 10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4982" h="108737">
                  <a:moveTo>
                    <a:pt x="7382" y="0"/>
                  </a:moveTo>
                  <a:lnTo>
                    <a:pt x="15068" y="15221"/>
                  </a:lnTo>
                  <a:lnTo>
                    <a:pt x="25412" y="12516"/>
                  </a:lnTo>
                  <a:lnTo>
                    <a:pt x="45939" y="18269"/>
                  </a:lnTo>
                  <a:lnTo>
                    <a:pt x="85154" y="20212"/>
                  </a:lnTo>
                  <a:lnTo>
                    <a:pt x="98403" y="10801"/>
                  </a:lnTo>
                  <a:lnTo>
                    <a:pt x="129845" y="2191"/>
                  </a:lnTo>
                  <a:lnTo>
                    <a:pt x="149276" y="15640"/>
                  </a:lnTo>
                  <a:lnTo>
                    <a:pt x="164982" y="19507"/>
                  </a:lnTo>
                  <a:lnTo>
                    <a:pt x="151123" y="34709"/>
                  </a:lnTo>
                  <a:lnTo>
                    <a:pt x="141370" y="60703"/>
                  </a:lnTo>
                  <a:lnTo>
                    <a:pt x="149980" y="81229"/>
                  </a:lnTo>
                  <a:lnTo>
                    <a:pt x="126987" y="76419"/>
                  </a:lnTo>
                  <a:lnTo>
                    <a:pt x="99784" y="87687"/>
                  </a:lnTo>
                  <a:lnTo>
                    <a:pt x="99498" y="105394"/>
                  </a:lnTo>
                  <a:lnTo>
                    <a:pt x="75219" y="108737"/>
                  </a:lnTo>
                  <a:lnTo>
                    <a:pt x="56407" y="96345"/>
                  </a:lnTo>
                  <a:lnTo>
                    <a:pt x="35023" y="106099"/>
                  </a:lnTo>
                  <a:lnTo>
                    <a:pt x="15268" y="105070"/>
                  </a:lnTo>
                  <a:lnTo>
                    <a:pt x="13373" y="81515"/>
                  </a:lnTo>
                  <a:lnTo>
                    <a:pt x="0" y="69999"/>
                  </a:lnTo>
                  <a:lnTo>
                    <a:pt x="4391" y="64913"/>
                  </a:lnTo>
                  <a:lnTo>
                    <a:pt x="1495" y="60617"/>
                  </a:lnTo>
                  <a:lnTo>
                    <a:pt x="5982" y="49092"/>
                  </a:lnTo>
                  <a:lnTo>
                    <a:pt x="16164" y="37709"/>
                  </a:lnTo>
                  <a:lnTo>
                    <a:pt x="3191" y="21888"/>
                  </a:lnTo>
                  <a:lnTo>
                    <a:pt x="791" y="8411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orme libre : forme 5666">
              <a:extLst>
                <a:ext uri="{FF2B5EF4-FFF2-40B4-BE49-F238E27FC236}">
                  <a16:creationId xmlns:a16="http://schemas.microsoft.com/office/drawing/2014/main" id="{2762119B-ED73-4ADC-2C86-443B37B150B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596062" y="4804976"/>
              <a:ext cx="46129" cy="57178"/>
            </a:xfrm>
            <a:custGeom>
              <a:avLst/>
              <a:gdLst>
                <a:gd name="connsiteX0" fmla="*/ 8411 w 46129"/>
                <a:gd name="connsiteY0" fmla="*/ 57178 h 57178"/>
                <a:gd name="connsiteX1" fmla="*/ 6715 w 46129"/>
                <a:gd name="connsiteY1" fmla="*/ 25108 h 57178"/>
                <a:gd name="connsiteX2" fmla="*/ 0 w 46129"/>
                <a:gd name="connsiteY2" fmla="*/ 13030 h 57178"/>
                <a:gd name="connsiteX3" fmla="*/ 16211 w 46129"/>
                <a:gd name="connsiteY3" fmla="*/ 15116 h 57178"/>
                <a:gd name="connsiteX4" fmla="*/ 24393 w 46129"/>
                <a:gd name="connsiteY4" fmla="*/ 0 h 57178"/>
                <a:gd name="connsiteX5" fmla="*/ 38585 w 46129"/>
                <a:gd name="connsiteY5" fmla="*/ 1733 h 57178"/>
                <a:gd name="connsiteX6" fmla="*/ 40129 w 46129"/>
                <a:gd name="connsiteY6" fmla="*/ 12192 h 57178"/>
                <a:gd name="connsiteX7" fmla="*/ 45882 w 46129"/>
                <a:gd name="connsiteY7" fmla="*/ 18212 h 57178"/>
                <a:gd name="connsiteX8" fmla="*/ 46130 w 46129"/>
                <a:gd name="connsiteY8" fmla="*/ 26851 h 57178"/>
                <a:gd name="connsiteX9" fmla="*/ 39538 w 46129"/>
                <a:gd name="connsiteY9" fmla="*/ 32413 h 57178"/>
                <a:gd name="connsiteX10" fmla="*/ 29146 w 46129"/>
                <a:gd name="connsiteY10" fmla="*/ 46272 h 57178"/>
                <a:gd name="connsiteX11" fmla="*/ 19450 w 46129"/>
                <a:gd name="connsiteY11" fmla="*/ 55912 h 57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129" h="57178">
                  <a:moveTo>
                    <a:pt x="8411" y="57178"/>
                  </a:moveTo>
                  <a:lnTo>
                    <a:pt x="6715" y="25108"/>
                  </a:lnTo>
                  <a:lnTo>
                    <a:pt x="0" y="13030"/>
                  </a:lnTo>
                  <a:lnTo>
                    <a:pt x="16211" y="15116"/>
                  </a:lnTo>
                  <a:lnTo>
                    <a:pt x="24393" y="0"/>
                  </a:lnTo>
                  <a:lnTo>
                    <a:pt x="38585" y="1733"/>
                  </a:lnTo>
                  <a:lnTo>
                    <a:pt x="40129" y="12192"/>
                  </a:lnTo>
                  <a:lnTo>
                    <a:pt x="45882" y="18212"/>
                  </a:lnTo>
                  <a:lnTo>
                    <a:pt x="46130" y="26851"/>
                  </a:lnTo>
                  <a:lnTo>
                    <a:pt x="39538" y="32413"/>
                  </a:lnTo>
                  <a:lnTo>
                    <a:pt x="29146" y="46272"/>
                  </a:lnTo>
                  <a:lnTo>
                    <a:pt x="19450" y="559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5667">
              <a:extLst>
                <a:ext uri="{FF2B5EF4-FFF2-40B4-BE49-F238E27FC236}">
                  <a16:creationId xmlns:a16="http://schemas.microsoft.com/office/drawing/2014/main" id="{A265A700-92CD-0775-39D9-1D2B887728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841520" y="4415536"/>
              <a:ext cx="80781" cy="163868"/>
            </a:xfrm>
            <a:custGeom>
              <a:avLst/>
              <a:gdLst>
                <a:gd name="connsiteX0" fmla="*/ 51263 w 80781"/>
                <a:gd name="connsiteY0" fmla="*/ 160744 h 163868"/>
                <a:gd name="connsiteX1" fmla="*/ 29194 w 80781"/>
                <a:gd name="connsiteY1" fmla="*/ 163868 h 163868"/>
                <a:gd name="connsiteX2" fmla="*/ 22612 w 80781"/>
                <a:gd name="connsiteY2" fmla="*/ 145447 h 163868"/>
                <a:gd name="connsiteX3" fmla="*/ 23832 w 80781"/>
                <a:gd name="connsiteY3" fmla="*/ 83915 h 163868"/>
                <a:gd name="connsiteX4" fmla="*/ 18450 w 80781"/>
                <a:gd name="connsiteY4" fmla="*/ 78372 h 163868"/>
                <a:gd name="connsiteX5" fmla="*/ 17440 w 80781"/>
                <a:gd name="connsiteY5" fmla="*/ 65170 h 163868"/>
                <a:gd name="connsiteX6" fmla="*/ 8163 w 80781"/>
                <a:gd name="connsiteY6" fmla="*/ 55731 h 163868"/>
                <a:gd name="connsiteX7" fmla="*/ 0 w 80781"/>
                <a:gd name="connsiteY7" fmla="*/ 47768 h 163868"/>
                <a:gd name="connsiteX8" fmla="*/ 3400 w 80781"/>
                <a:gd name="connsiteY8" fmla="*/ 33547 h 163868"/>
                <a:gd name="connsiteX9" fmla="*/ 12583 w 80781"/>
                <a:gd name="connsiteY9" fmla="*/ 30490 h 163868"/>
                <a:gd name="connsiteX10" fmla="*/ 18031 w 80781"/>
                <a:gd name="connsiteY10" fmla="*/ 18660 h 163868"/>
                <a:gd name="connsiteX11" fmla="*/ 31080 w 80781"/>
                <a:gd name="connsiteY11" fmla="*/ 16126 h 163868"/>
                <a:gd name="connsiteX12" fmla="*/ 36919 w 80781"/>
                <a:gd name="connsiteY12" fmla="*/ 8020 h 163868"/>
                <a:gd name="connsiteX13" fmla="*/ 45882 w 80781"/>
                <a:gd name="connsiteY13" fmla="*/ 76 h 163868"/>
                <a:gd name="connsiteX14" fmla="*/ 55454 w 80781"/>
                <a:gd name="connsiteY14" fmla="*/ 0 h 163868"/>
                <a:gd name="connsiteX15" fmla="*/ 75819 w 80781"/>
                <a:gd name="connsiteY15" fmla="*/ 15612 h 163868"/>
                <a:gd name="connsiteX16" fmla="*/ 74781 w 80781"/>
                <a:gd name="connsiteY16" fmla="*/ 24603 h 163868"/>
                <a:gd name="connsiteX17" fmla="*/ 80781 w 80781"/>
                <a:gd name="connsiteY17" fmla="*/ 40643 h 163868"/>
                <a:gd name="connsiteX18" fmla="*/ 75524 w 80781"/>
                <a:gd name="connsiteY18" fmla="*/ 51511 h 163868"/>
                <a:gd name="connsiteX19" fmla="*/ 78343 w 80781"/>
                <a:gd name="connsiteY19" fmla="*/ 58760 h 163868"/>
                <a:gd name="connsiteX20" fmla="*/ 65380 w 80781"/>
                <a:gd name="connsiteY20" fmla="*/ 75429 h 163868"/>
                <a:gd name="connsiteX21" fmla="*/ 57150 w 80781"/>
                <a:gd name="connsiteY21" fmla="*/ 83668 h 163868"/>
                <a:gd name="connsiteX22" fmla="*/ 52121 w 80781"/>
                <a:gd name="connsiteY22" fmla="*/ 100603 h 163868"/>
                <a:gd name="connsiteX23" fmla="*/ 52797 w 80781"/>
                <a:gd name="connsiteY23" fmla="*/ 117662 h 16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0781" h="163868">
                  <a:moveTo>
                    <a:pt x="51263" y="160744"/>
                  </a:moveTo>
                  <a:lnTo>
                    <a:pt x="29194" y="163868"/>
                  </a:lnTo>
                  <a:lnTo>
                    <a:pt x="22612" y="145447"/>
                  </a:lnTo>
                  <a:lnTo>
                    <a:pt x="23832" y="83915"/>
                  </a:lnTo>
                  <a:lnTo>
                    <a:pt x="18450" y="78372"/>
                  </a:lnTo>
                  <a:lnTo>
                    <a:pt x="17440" y="65170"/>
                  </a:lnTo>
                  <a:lnTo>
                    <a:pt x="8163" y="55731"/>
                  </a:lnTo>
                  <a:lnTo>
                    <a:pt x="0" y="47768"/>
                  </a:lnTo>
                  <a:lnTo>
                    <a:pt x="3400" y="33547"/>
                  </a:lnTo>
                  <a:lnTo>
                    <a:pt x="12583" y="30490"/>
                  </a:lnTo>
                  <a:lnTo>
                    <a:pt x="18031" y="18660"/>
                  </a:lnTo>
                  <a:lnTo>
                    <a:pt x="31080" y="16126"/>
                  </a:lnTo>
                  <a:lnTo>
                    <a:pt x="36919" y="8020"/>
                  </a:lnTo>
                  <a:lnTo>
                    <a:pt x="45882" y="76"/>
                  </a:lnTo>
                  <a:lnTo>
                    <a:pt x="55454" y="0"/>
                  </a:lnTo>
                  <a:lnTo>
                    <a:pt x="75819" y="15612"/>
                  </a:lnTo>
                  <a:lnTo>
                    <a:pt x="74781" y="24603"/>
                  </a:lnTo>
                  <a:lnTo>
                    <a:pt x="80781" y="40643"/>
                  </a:lnTo>
                  <a:lnTo>
                    <a:pt x="75524" y="51511"/>
                  </a:lnTo>
                  <a:lnTo>
                    <a:pt x="78343" y="58760"/>
                  </a:lnTo>
                  <a:lnTo>
                    <a:pt x="65380" y="75429"/>
                  </a:lnTo>
                  <a:lnTo>
                    <a:pt x="57150" y="83668"/>
                  </a:lnTo>
                  <a:lnTo>
                    <a:pt x="52121" y="100603"/>
                  </a:lnTo>
                  <a:lnTo>
                    <a:pt x="52797" y="1176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orme libre : forme 5668">
              <a:extLst>
                <a:ext uri="{FF2B5EF4-FFF2-40B4-BE49-F238E27FC236}">
                  <a16:creationId xmlns:a16="http://schemas.microsoft.com/office/drawing/2014/main" id="{7ED64602-A39F-FB50-2091-C25B6045EE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870908" y="4597912"/>
              <a:ext cx="33299" cy="38338"/>
            </a:xfrm>
            <a:custGeom>
              <a:avLst/>
              <a:gdLst>
                <a:gd name="connsiteX0" fmla="*/ 0 w 33299"/>
                <a:gd name="connsiteY0" fmla="*/ 24555 h 38338"/>
                <a:gd name="connsiteX1" fmla="*/ 10573 w 33299"/>
                <a:gd name="connsiteY1" fmla="*/ 14592 h 38338"/>
                <a:gd name="connsiteX2" fmla="*/ 33300 w 33299"/>
                <a:gd name="connsiteY2" fmla="*/ 0 h 38338"/>
                <a:gd name="connsiteX3" fmla="*/ 32099 w 33299"/>
                <a:gd name="connsiteY3" fmla="*/ 13125 h 38338"/>
                <a:gd name="connsiteX4" fmla="*/ 30537 w 33299"/>
                <a:gd name="connsiteY4" fmla="*/ 30128 h 38338"/>
                <a:gd name="connsiteX5" fmla="*/ 17774 w 33299"/>
                <a:gd name="connsiteY5" fmla="*/ 29280 h 38338"/>
                <a:gd name="connsiteX6" fmla="*/ 12164 w 33299"/>
                <a:gd name="connsiteY6" fmla="*/ 38338 h 38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99" h="38338">
                  <a:moveTo>
                    <a:pt x="0" y="24555"/>
                  </a:moveTo>
                  <a:lnTo>
                    <a:pt x="10573" y="14592"/>
                  </a:lnTo>
                  <a:lnTo>
                    <a:pt x="33300" y="0"/>
                  </a:lnTo>
                  <a:lnTo>
                    <a:pt x="32099" y="13125"/>
                  </a:lnTo>
                  <a:lnTo>
                    <a:pt x="30537" y="30128"/>
                  </a:lnTo>
                  <a:lnTo>
                    <a:pt x="17774" y="29280"/>
                  </a:lnTo>
                  <a:lnTo>
                    <a:pt x="12164" y="3833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orme libre : forme 5669">
              <a:extLst>
                <a:ext uri="{FF2B5EF4-FFF2-40B4-BE49-F238E27FC236}">
                  <a16:creationId xmlns:a16="http://schemas.microsoft.com/office/drawing/2014/main" id="{98701D8A-0FB7-E22E-7970-2649BA2BCA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962371" y="5002905"/>
              <a:ext cx="322935" cy="363531"/>
            </a:xfrm>
            <a:custGeom>
              <a:avLst/>
              <a:gdLst>
                <a:gd name="connsiteX0" fmla="*/ 180108 w 322935"/>
                <a:gd name="connsiteY0" fmla="*/ 339452 h 363531"/>
                <a:gd name="connsiteX1" fmla="*/ 149647 w 322935"/>
                <a:gd name="connsiteY1" fmla="*/ 338271 h 363531"/>
                <a:gd name="connsiteX2" fmla="*/ 139237 w 322935"/>
                <a:gd name="connsiteY2" fmla="*/ 361369 h 363531"/>
                <a:gd name="connsiteX3" fmla="*/ 123530 w 322935"/>
                <a:gd name="connsiteY3" fmla="*/ 340623 h 363531"/>
                <a:gd name="connsiteX4" fmla="*/ 88583 w 322935"/>
                <a:gd name="connsiteY4" fmla="*/ 333651 h 363531"/>
                <a:gd name="connsiteX5" fmla="*/ 66332 w 322935"/>
                <a:gd name="connsiteY5" fmla="*/ 359578 h 363531"/>
                <a:gd name="connsiteX6" fmla="*/ 47063 w 322935"/>
                <a:gd name="connsiteY6" fmla="*/ 363531 h 363531"/>
                <a:gd name="connsiteX7" fmla="*/ 36605 w 322935"/>
                <a:gd name="connsiteY7" fmla="*/ 324002 h 363531"/>
                <a:gd name="connsiteX8" fmla="*/ 22250 w 322935"/>
                <a:gd name="connsiteY8" fmla="*/ 292112 h 363531"/>
                <a:gd name="connsiteX9" fmla="*/ 30661 w 322935"/>
                <a:gd name="connsiteY9" fmla="*/ 264795 h 363531"/>
                <a:gd name="connsiteX10" fmla="*/ 16650 w 322935"/>
                <a:gd name="connsiteY10" fmla="*/ 252889 h 363531"/>
                <a:gd name="connsiteX11" fmla="*/ 13088 w 322935"/>
                <a:gd name="connsiteY11" fmla="*/ 232677 h 363531"/>
                <a:gd name="connsiteX12" fmla="*/ 0 w 322935"/>
                <a:gd name="connsiteY12" fmla="*/ 213703 h 363531"/>
                <a:gd name="connsiteX13" fmla="*/ 16840 w 322935"/>
                <a:gd name="connsiteY13" fmla="*/ 183737 h 363531"/>
                <a:gd name="connsiteX14" fmla="*/ 5353 w 322935"/>
                <a:gd name="connsiteY14" fmla="*/ 160525 h 363531"/>
                <a:gd name="connsiteX15" fmla="*/ 11478 w 322935"/>
                <a:gd name="connsiteY15" fmla="*/ 151266 h 363531"/>
                <a:gd name="connsiteX16" fmla="*/ 6696 w 322935"/>
                <a:gd name="connsiteY16" fmla="*/ 141075 h 363531"/>
                <a:gd name="connsiteX17" fmla="*/ 17136 w 322935"/>
                <a:gd name="connsiteY17" fmla="*/ 127359 h 363531"/>
                <a:gd name="connsiteX18" fmla="*/ 17650 w 322935"/>
                <a:gd name="connsiteY18" fmla="*/ 104089 h 363531"/>
                <a:gd name="connsiteX19" fmla="*/ 18974 w 322935"/>
                <a:gd name="connsiteY19" fmla="*/ 84925 h 363531"/>
                <a:gd name="connsiteX20" fmla="*/ 24708 w 322935"/>
                <a:gd name="connsiteY20" fmla="*/ 75714 h 363531"/>
                <a:gd name="connsiteX21" fmla="*/ 1619 w 322935"/>
                <a:gd name="connsiteY21" fmla="*/ 32090 h 363531"/>
                <a:gd name="connsiteX22" fmla="*/ 21479 w 322935"/>
                <a:gd name="connsiteY22" fmla="*/ 34376 h 363531"/>
                <a:gd name="connsiteX23" fmla="*/ 35233 w 322935"/>
                <a:gd name="connsiteY23" fmla="*/ 33785 h 363531"/>
                <a:gd name="connsiteX24" fmla="*/ 41186 w 322935"/>
                <a:gd name="connsiteY24" fmla="*/ 25613 h 363531"/>
                <a:gd name="connsiteX25" fmla="*/ 64541 w 322935"/>
                <a:gd name="connsiteY25" fmla="*/ 14678 h 363531"/>
                <a:gd name="connsiteX26" fmla="*/ 78610 w 322935"/>
                <a:gd name="connsiteY26" fmla="*/ 4553 h 363531"/>
                <a:gd name="connsiteX27" fmla="*/ 113557 w 322935"/>
                <a:gd name="connsiteY27" fmla="*/ 0 h 363531"/>
                <a:gd name="connsiteX28" fmla="*/ 110709 w 322935"/>
                <a:gd name="connsiteY28" fmla="*/ 20193 h 363531"/>
                <a:gd name="connsiteX29" fmla="*/ 113995 w 322935"/>
                <a:gd name="connsiteY29" fmla="*/ 30575 h 363531"/>
                <a:gd name="connsiteX30" fmla="*/ 111852 w 322935"/>
                <a:gd name="connsiteY30" fmla="*/ 48711 h 363531"/>
                <a:gd name="connsiteX31" fmla="*/ 140846 w 322935"/>
                <a:gd name="connsiteY31" fmla="*/ 73019 h 363531"/>
                <a:gd name="connsiteX32" fmla="*/ 170755 w 322935"/>
                <a:gd name="connsiteY32" fmla="*/ 77505 h 363531"/>
                <a:gd name="connsiteX33" fmla="*/ 181270 w 322935"/>
                <a:gd name="connsiteY33" fmla="*/ 87668 h 363531"/>
                <a:gd name="connsiteX34" fmla="*/ 199320 w 322935"/>
                <a:gd name="connsiteY34" fmla="*/ 93069 h 363531"/>
                <a:gd name="connsiteX35" fmla="*/ 210369 w 322935"/>
                <a:gd name="connsiteY35" fmla="*/ 100994 h 363531"/>
                <a:gd name="connsiteX36" fmla="*/ 227171 w 322935"/>
                <a:gd name="connsiteY36" fmla="*/ 100717 h 363531"/>
                <a:gd name="connsiteX37" fmla="*/ 242688 w 322935"/>
                <a:gd name="connsiteY37" fmla="*/ 108813 h 363531"/>
                <a:gd name="connsiteX38" fmla="*/ 243859 w 322935"/>
                <a:gd name="connsiteY38" fmla="*/ 124635 h 363531"/>
                <a:gd name="connsiteX39" fmla="*/ 249069 w 322935"/>
                <a:gd name="connsiteY39" fmla="*/ 132636 h 363531"/>
                <a:gd name="connsiteX40" fmla="*/ 249412 w 322935"/>
                <a:gd name="connsiteY40" fmla="*/ 144475 h 363531"/>
                <a:gd name="connsiteX41" fmla="*/ 241630 w 322935"/>
                <a:gd name="connsiteY41" fmla="*/ 144932 h 363531"/>
                <a:gd name="connsiteX42" fmla="*/ 251898 w 322935"/>
                <a:gd name="connsiteY42" fmla="*/ 177032 h 363531"/>
                <a:gd name="connsiteX43" fmla="*/ 303095 w 322935"/>
                <a:gd name="connsiteY43" fmla="*/ 178175 h 363531"/>
                <a:gd name="connsiteX44" fmla="*/ 299180 w 322935"/>
                <a:gd name="connsiteY44" fmla="*/ 194167 h 363531"/>
                <a:gd name="connsiteX45" fmla="*/ 302038 w 322935"/>
                <a:gd name="connsiteY45" fmla="*/ 205131 h 363531"/>
                <a:gd name="connsiteX46" fmla="*/ 316630 w 322935"/>
                <a:gd name="connsiteY46" fmla="*/ 212931 h 363531"/>
                <a:gd name="connsiteX47" fmla="*/ 322936 w 322935"/>
                <a:gd name="connsiteY47" fmla="*/ 230276 h 363531"/>
                <a:gd name="connsiteX48" fmla="*/ 318192 w 322935"/>
                <a:gd name="connsiteY48" fmla="*/ 252336 h 363531"/>
                <a:gd name="connsiteX49" fmla="*/ 310877 w 322935"/>
                <a:gd name="connsiteY49" fmla="*/ 264652 h 363531"/>
                <a:gd name="connsiteX50" fmla="*/ 313449 w 322935"/>
                <a:gd name="connsiteY50" fmla="*/ 280721 h 363531"/>
                <a:gd name="connsiteX51" fmla="*/ 305095 w 322935"/>
                <a:gd name="connsiteY51" fmla="*/ 286560 h 363531"/>
                <a:gd name="connsiteX52" fmla="*/ 304638 w 322935"/>
                <a:gd name="connsiteY52" fmla="*/ 277854 h 363531"/>
                <a:gd name="connsiteX53" fmla="*/ 279759 w 322935"/>
                <a:gd name="connsiteY53" fmla="*/ 263433 h 363531"/>
                <a:gd name="connsiteX54" fmla="*/ 254956 w 322935"/>
                <a:gd name="connsiteY54" fmla="*/ 263042 h 363531"/>
                <a:gd name="connsiteX55" fmla="*/ 208417 w 322935"/>
                <a:gd name="connsiteY55" fmla="*/ 271234 h 363531"/>
                <a:gd name="connsiteX56" fmla="*/ 195606 w 322935"/>
                <a:gd name="connsiteY56" fmla="*/ 296103 h 363531"/>
                <a:gd name="connsiteX57" fmla="*/ 194939 w 322935"/>
                <a:gd name="connsiteY57" fmla="*/ 311382 h 363531"/>
                <a:gd name="connsiteX58" fmla="*/ 184414 w 322935"/>
                <a:gd name="connsiteY58" fmla="*/ 345586 h 36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22935" h="363531">
                  <a:moveTo>
                    <a:pt x="180108" y="339452"/>
                  </a:moveTo>
                  <a:lnTo>
                    <a:pt x="149647" y="338271"/>
                  </a:lnTo>
                  <a:lnTo>
                    <a:pt x="139237" y="361369"/>
                  </a:lnTo>
                  <a:lnTo>
                    <a:pt x="123530" y="340623"/>
                  </a:lnTo>
                  <a:lnTo>
                    <a:pt x="88583" y="333651"/>
                  </a:lnTo>
                  <a:lnTo>
                    <a:pt x="66332" y="359578"/>
                  </a:lnTo>
                  <a:lnTo>
                    <a:pt x="47063" y="363531"/>
                  </a:lnTo>
                  <a:lnTo>
                    <a:pt x="36605" y="324002"/>
                  </a:lnTo>
                  <a:lnTo>
                    <a:pt x="22250" y="292112"/>
                  </a:lnTo>
                  <a:lnTo>
                    <a:pt x="30661" y="264795"/>
                  </a:lnTo>
                  <a:lnTo>
                    <a:pt x="16650" y="252889"/>
                  </a:lnTo>
                  <a:lnTo>
                    <a:pt x="13088" y="232677"/>
                  </a:lnTo>
                  <a:lnTo>
                    <a:pt x="0" y="213703"/>
                  </a:lnTo>
                  <a:lnTo>
                    <a:pt x="16840" y="183737"/>
                  </a:lnTo>
                  <a:lnTo>
                    <a:pt x="5353" y="160525"/>
                  </a:lnTo>
                  <a:lnTo>
                    <a:pt x="11478" y="151266"/>
                  </a:lnTo>
                  <a:lnTo>
                    <a:pt x="6696" y="141075"/>
                  </a:lnTo>
                  <a:lnTo>
                    <a:pt x="17136" y="127359"/>
                  </a:lnTo>
                  <a:lnTo>
                    <a:pt x="17650" y="104089"/>
                  </a:lnTo>
                  <a:lnTo>
                    <a:pt x="18974" y="84925"/>
                  </a:lnTo>
                  <a:lnTo>
                    <a:pt x="24708" y="75714"/>
                  </a:lnTo>
                  <a:lnTo>
                    <a:pt x="1619" y="32090"/>
                  </a:lnTo>
                  <a:lnTo>
                    <a:pt x="21479" y="34376"/>
                  </a:lnTo>
                  <a:lnTo>
                    <a:pt x="35233" y="33785"/>
                  </a:lnTo>
                  <a:lnTo>
                    <a:pt x="41186" y="25613"/>
                  </a:lnTo>
                  <a:lnTo>
                    <a:pt x="64541" y="14678"/>
                  </a:lnTo>
                  <a:lnTo>
                    <a:pt x="78610" y="4553"/>
                  </a:lnTo>
                  <a:lnTo>
                    <a:pt x="113557" y="0"/>
                  </a:lnTo>
                  <a:lnTo>
                    <a:pt x="110709" y="20193"/>
                  </a:lnTo>
                  <a:lnTo>
                    <a:pt x="113995" y="30575"/>
                  </a:lnTo>
                  <a:lnTo>
                    <a:pt x="111852" y="48711"/>
                  </a:lnTo>
                  <a:lnTo>
                    <a:pt x="140846" y="73019"/>
                  </a:lnTo>
                  <a:lnTo>
                    <a:pt x="170755" y="77505"/>
                  </a:lnTo>
                  <a:lnTo>
                    <a:pt x="181270" y="87668"/>
                  </a:lnTo>
                  <a:lnTo>
                    <a:pt x="199320" y="93069"/>
                  </a:lnTo>
                  <a:lnTo>
                    <a:pt x="210369" y="100994"/>
                  </a:lnTo>
                  <a:lnTo>
                    <a:pt x="227171" y="100717"/>
                  </a:lnTo>
                  <a:lnTo>
                    <a:pt x="242688" y="108813"/>
                  </a:lnTo>
                  <a:lnTo>
                    <a:pt x="243859" y="124635"/>
                  </a:lnTo>
                  <a:lnTo>
                    <a:pt x="249069" y="132636"/>
                  </a:lnTo>
                  <a:lnTo>
                    <a:pt x="249412" y="144475"/>
                  </a:lnTo>
                  <a:lnTo>
                    <a:pt x="241630" y="144932"/>
                  </a:lnTo>
                  <a:lnTo>
                    <a:pt x="251898" y="177032"/>
                  </a:lnTo>
                  <a:lnTo>
                    <a:pt x="303095" y="178175"/>
                  </a:lnTo>
                  <a:lnTo>
                    <a:pt x="299180" y="194167"/>
                  </a:lnTo>
                  <a:lnTo>
                    <a:pt x="302038" y="205131"/>
                  </a:lnTo>
                  <a:lnTo>
                    <a:pt x="316630" y="212931"/>
                  </a:lnTo>
                  <a:lnTo>
                    <a:pt x="322936" y="230276"/>
                  </a:lnTo>
                  <a:lnTo>
                    <a:pt x="318192" y="252336"/>
                  </a:lnTo>
                  <a:lnTo>
                    <a:pt x="310877" y="264652"/>
                  </a:lnTo>
                  <a:lnTo>
                    <a:pt x="313449" y="280721"/>
                  </a:lnTo>
                  <a:lnTo>
                    <a:pt x="305095" y="286560"/>
                  </a:lnTo>
                  <a:lnTo>
                    <a:pt x="304638" y="277854"/>
                  </a:lnTo>
                  <a:lnTo>
                    <a:pt x="279759" y="263433"/>
                  </a:lnTo>
                  <a:lnTo>
                    <a:pt x="254956" y="263042"/>
                  </a:lnTo>
                  <a:lnTo>
                    <a:pt x="208417" y="271234"/>
                  </a:lnTo>
                  <a:lnTo>
                    <a:pt x="195606" y="296103"/>
                  </a:lnTo>
                  <a:lnTo>
                    <a:pt x="194939" y="311382"/>
                  </a:lnTo>
                  <a:lnTo>
                    <a:pt x="184414" y="3455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orme libre : forme 5670">
              <a:extLst>
                <a:ext uri="{FF2B5EF4-FFF2-40B4-BE49-F238E27FC236}">
                  <a16:creationId xmlns:a16="http://schemas.microsoft.com/office/drawing/2014/main" id="{A2030FB4-1931-3973-6B93-8704D81F10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844946" y="4603331"/>
              <a:ext cx="1048426" cy="1092726"/>
            </a:xfrm>
            <a:custGeom>
              <a:avLst/>
              <a:gdLst>
                <a:gd name="connsiteX0" fmla="*/ 436979 w 1048426"/>
                <a:gd name="connsiteY0" fmla="*/ 981380 h 1092726"/>
                <a:gd name="connsiteX1" fmla="*/ 472602 w 1048426"/>
                <a:gd name="connsiteY1" fmla="*/ 939737 h 1092726"/>
                <a:gd name="connsiteX2" fmla="*/ 502749 w 1048426"/>
                <a:gd name="connsiteY2" fmla="*/ 910419 h 1092726"/>
                <a:gd name="connsiteX3" fmla="*/ 520684 w 1048426"/>
                <a:gd name="connsiteY3" fmla="*/ 898207 h 1092726"/>
                <a:gd name="connsiteX4" fmla="*/ 543173 w 1048426"/>
                <a:gd name="connsiteY4" fmla="*/ 881749 h 1092726"/>
                <a:gd name="connsiteX5" fmla="*/ 543716 w 1048426"/>
                <a:gd name="connsiteY5" fmla="*/ 858031 h 1092726"/>
                <a:gd name="connsiteX6" fmla="*/ 530314 w 1048426"/>
                <a:gd name="connsiteY6" fmla="*/ 841000 h 1092726"/>
                <a:gd name="connsiteX7" fmla="*/ 517093 w 1048426"/>
                <a:gd name="connsiteY7" fmla="*/ 846649 h 1092726"/>
                <a:gd name="connsiteX8" fmla="*/ 522332 w 1048426"/>
                <a:gd name="connsiteY8" fmla="*/ 829666 h 1092726"/>
                <a:gd name="connsiteX9" fmla="*/ 525952 w 1048426"/>
                <a:gd name="connsiteY9" fmla="*/ 812359 h 1092726"/>
                <a:gd name="connsiteX10" fmla="*/ 525961 w 1048426"/>
                <a:gd name="connsiteY10" fmla="*/ 796337 h 1092726"/>
                <a:gd name="connsiteX11" fmla="*/ 516360 w 1048426"/>
                <a:gd name="connsiteY11" fmla="*/ 791070 h 1092726"/>
                <a:gd name="connsiteX12" fmla="*/ 506340 w 1048426"/>
                <a:gd name="connsiteY12" fmla="*/ 795766 h 1092726"/>
                <a:gd name="connsiteX13" fmla="*/ 496376 w 1048426"/>
                <a:gd name="connsiteY13" fmla="*/ 794471 h 1092726"/>
                <a:gd name="connsiteX14" fmla="*/ 493262 w 1048426"/>
                <a:gd name="connsiteY14" fmla="*/ 783307 h 1092726"/>
                <a:gd name="connsiteX15" fmla="*/ 490776 w 1048426"/>
                <a:gd name="connsiteY15" fmla="*/ 756847 h 1092726"/>
                <a:gd name="connsiteX16" fmla="*/ 485775 w 1048426"/>
                <a:gd name="connsiteY16" fmla="*/ 748256 h 1092726"/>
                <a:gd name="connsiteX17" fmla="*/ 467735 w 1048426"/>
                <a:gd name="connsiteY17" fmla="*/ 740493 h 1092726"/>
                <a:gd name="connsiteX18" fmla="*/ 456838 w 1048426"/>
                <a:gd name="connsiteY18" fmla="*/ 746113 h 1092726"/>
                <a:gd name="connsiteX19" fmla="*/ 428644 w 1048426"/>
                <a:gd name="connsiteY19" fmla="*/ 740607 h 1092726"/>
                <a:gd name="connsiteX20" fmla="*/ 430416 w 1048426"/>
                <a:gd name="connsiteY20" fmla="*/ 701888 h 1092726"/>
                <a:gd name="connsiteX21" fmla="*/ 422520 w 1048426"/>
                <a:gd name="connsiteY21" fmla="*/ 686134 h 1092726"/>
                <a:gd name="connsiteX22" fmla="*/ 430873 w 1048426"/>
                <a:gd name="connsiteY22" fmla="*/ 680295 h 1092726"/>
                <a:gd name="connsiteX23" fmla="*/ 428301 w 1048426"/>
                <a:gd name="connsiteY23" fmla="*/ 664226 h 1092726"/>
                <a:gd name="connsiteX24" fmla="*/ 435616 w 1048426"/>
                <a:gd name="connsiteY24" fmla="*/ 651910 h 1092726"/>
                <a:gd name="connsiteX25" fmla="*/ 440360 w 1048426"/>
                <a:gd name="connsiteY25" fmla="*/ 629850 h 1092726"/>
                <a:gd name="connsiteX26" fmla="*/ 434054 w 1048426"/>
                <a:gd name="connsiteY26" fmla="*/ 612505 h 1092726"/>
                <a:gd name="connsiteX27" fmla="*/ 419462 w 1048426"/>
                <a:gd name="connsiteY27" fmla="*/ 604704 h 1092726"/>
                <a:gd name="connsiteX28" fmla="*/ 416605 w 1048426"/>
                <a:gd name="connsiteY28" fmla="*/ 593741 h 1092726"/>
                <a:gd name="connsiteX29" fmla="*/ 420519 w 1048426"/>
                <a:gd name="connsiteY29" fmla="*/ 577748 h 1092726"/>
                <a:gd name="connsiteX30" fmla="*/ 369323 w 1048426"/>
                <a:gd name="connsiteY30" fmla="*/ 576606 h 1092726"/>
                <a:gd name="connsiteX31" fmla="*/ 359055 w 1048426"/>
                <a:gd name="connsiteY31" fmla="*/ 544506 h 1092726"/>
                <a:gd name="connsiteX32" fmla="*/ 366836 w 1048426"/>
                <a:gd name="connsiteY32" fmla="*/ 544049 h 1092726"/>
                <a:gd name="connsiteX33" fmla="*/ 366494 w 1048426"/>
                <a:gd name="connsiteY33" fmla="*/ 532209 h 1092726"/>
                <a:gd name="connsiteX34" fmla="*/ 361283 w 1048426"/>
                <a:gd name="connsiteY34" fmla="*/ 524208 h 1092726"/>
                <a:gd name="connsiteX35" fmla="*/ 360112 w 1048426"/>
                <a:gd name="connsiteY35" fmla="*/ 508387 h 1092726"/>
                <a:gd name="connsiteX36" fmla="*/ 344596 w 1048426"/>
                <a:gd name="connsiteY36" fmla="*/ 500291 h 1092726"/>
                <a:gd name="connsiteX37" fmla="*/ 327793 w 1048426"/>
                <a:gd name="connsiteY37" fmla="*/ 500567 h 1092726"/>
                <a:gd name="connsiteX38" fmla="*/ 316745 w 1048426"/>
                <a:gd name="connsiteY38" fmla="*/ 492643 h 1092726"/>
                <a:gd name="connsiteX39" fmla="*/ 298695 w 1048426"/>
                <a:gd name="connsiteY39" fmla="*/ 487242 h 1092726"/>
                <a:gd name="connsiteX40" fmla="*/ 288179 w 1048426"/>
                <a:gd name="connsiteY40" fmla="*/ 477079 h 1092726"/>
                <a:gd name="connsiteX41" fmla="*/ 258271 w 1048426"/>
                <a:gd name="connsiteY41" fmla="*/ 472592 h 1092726"/>
                <a:gd name="connsiteX42" fmla="*/ 229276 w 1048426"/>
                <a:gd name="connsiteY42" fmla="*/ 448285 h 1092726"/>
                <a:gd name="connsiteX43" fmla="*/ 231420 w 1048426"/>
                <a:gd name="connsiteY43" fmla="*/ 430149 h 1092726"/>
                <a:gd name="connsiteX44" fmla="*/ 228133 w 1048426"/>
                <a:gd name="connsiteY44" fmla="*/ 419767 h 1092726"/>
                <a:gd name="connsiteX45" fmla="*/ 230981 w 1048426"/>
                <a:gd name="connsiteY45" fmla="*/ 399574 h 1092726"/>
                <a:gd name="connsiteX46" fmla="*/ 196034 w 1048426"/>
                <a:gd name="connsiteY46" fmla="*/ 404127 h 1092726"/>
                <a:gd name="connsiteX47" fmla="*/ 181966 w 1048426"/>
                <a:gd name="connsiteY47" fmla="*/ 414252 h 1092726"/>
                <a:gd name="connsiteX48" fmla="*/ 158610 w 1048426"/>
                <a:gd name="connsiteY48" fmla="*/ 425187 h 1092726"/>
                <a:gd name="connsiteX49" fmla="*/ 152657 w 1048426"/>
                <a:gd name="connsiteY49" fmla="*/ 433359 h 1092726"/>
                <a:gd name="connsiteX50" fmla="*/ 138903 w 1048426"/>
                <a:gd name="connsiteY50" fmla="*/ 433949 h 1092726"/>
                <a:gd name="connsiteX51" fmla="*/ 119044 w 1048426"/>
                <a:gd name="connsiteY51" fmla="*/ 431663 h 1092726"/>
                <a:gd name="connsiteX52" fmla="*/ 103975 w 1048426"/>
                <a:gd name="connsiteY52" fmla="*/ 436312 h 1092726"/>
                <a:gd name="connsiteX53" fmla="*/ 91831 w 1048426"/>
                <a:gd name="connsiteY53" fmla="*/ 433207 h 1092726"/>
                <a:gd name="connsiteX54" fmla="*/ 93612 w 1048426"/>
                <a:gd name="connsiteY54" fmla="*/ 392249 h 1092726"/>
                <a:gd name="connsiteX55" fmla="*/ 71704 w 1048426"/>
                <a:gd name="connsiteY55" fmla="*/ 408118 h 1092726"/>
                <a:gd name="connsiteX56" fmla="*/ 48130 w 1048426"/>
                <a:gd name="connsiteY56" fmla="*/ 407423 h 1092726"/>
                <a:gd name="connsiteX57" fmla="*/ 38033 w 1048426"/>
                <a:gd name="connsiteY57" fmla="*/ 393059 h 1092726"/>
                <a:gd name="connsiteX58" fmla="*/ 20307 w 1048426"/>
                <a:gd name="connsiteY58" fmla="*/ 391496 h 1092726"/>
                <a:gd name="connsiteX59" fmla="*/ 25956 w 1048426"/>
                <a:gd name="connsiteY59" fmla="*/ 379952 h 1092726"/>
                <a:gd name="connsiteX60" fmla="*/ 11116 w 1048426"/>
                <a:gd name="connsiteY60" fmla="*/ 363626 h 1092726"/>
                <a:gd name="connsiteX61" fmla="*/ 0 w 1048426"/>
                <a:gd name="connsiteY61" fmla="*/ 339500 h 1092726"/>
                <a:gd name="connsiteX62" fmla="*/ 7039 w 1048426"/>
                <a:gd name="connsiteY62" fmla="*/ 334604 h 1092726"/>
                <a:gd name="connsiteX63" fmla="*/ 7020 w 1048426"/>
                <a:gd name="connsiteY63" fmla="*/ 323317 h 1092726"/>
                <a:gd name="connsiteX64" fmla="*/ 23155 w 1048426"/>
                <a:gd name="connsiteY64" fmla="*/ 315601 h 1092726"/>
                <a:gd name="connsiteX65" fmla="*/ 20498 w 1048426"/>
                <a:gd name="connsiteY65" fmla="*/ 301162 h 1092726"/>
                <a:gd name="connsiteX66" fmla="*/ 27308 w 1048426"/>
                <a:gd name="connsiteY66" fmla="*/ 291884 h 1092726"/>
                <a:gd name="connsiteX67" fmla="*/ 29251 w 1048426"/>
                <a:gd name="connsiteY67" fmla="*/ 279445 h 1092726"/>
                <a:gd name="connsiteX68" fmla="*/ 59789 w 1048426"/>
                <a:gd name="connsiteY68" fmla="*/ 261328 h 1092726"/>
                <a:gd name="connsiteX69" fmla="*/ 81677 w 1048426"/>
                <a:gd name="connsiteY69" fmla="*/ 256204 h 1092726"/>
                <a:gd name="connsiteX70" fmla="*/ 85258 w 1048426"/>
                <a:gd name="connsiteY70" fmla="*/ 252203 h 1092726"/>
                <a:gd name="connsiteX71" fmla="*/ 109328 w 1048426"/>
                <a:gd name="connsiteY71" fmla="*/ 253451 h 1092726"/>
                <a:gd name="connsiteX72" fmla="*/ 121330 w 1048426"/>
                <a:gd name="connsiteY72" fmla="*/ 180613 h 1092726"/>
                <a:gd name="connsiteX73" fmla="*/ 121958 w 1048426"/>
                <a:gd name="connsiteY73" fmla="*/ 169107 h 1092726"/>
                <a:gd name="connsiteX74" fmla="*/ 117777 w 1048426"/>
                <a:gd name="connsiteY74" fmla="*/ 153914 h 1092726"/>
                <a:gd name="connsiteX75" fmla="*/ 105928 w 1048426"/>
                <a:gd name="connsiteY75" fmla="*/ 144237 h 1092726"/>
                <a:gd name="connsiteX76" fmla="*/ 106061 w 1048426"/>
                <a:gd name="connsiteY76" fmla="*/ 124959 h 1092726"/>
                <a:gd name="connsiteX77" fmla="*/ 121111 w 1048426"/>
                <a:gd name="connsiteY77" fmla="*/ 120587 h 1092726"/>
                <a:gd name="connsiteX78" fmla="*/ 126445 w 1048426"/>
                <a:gd name="connsiteY78" fmla="*/ 123339 h 1092726"/>
                <a:gd name="connsiteX79" fmla="*/ 127349 w 1048426"/>
                <a:gd name="connsiteY79" fmla="*/ 113176 h 1092726"/>
                <a:gd name="connsiteX80" fmla="*/ 111700 w 1048426"/>
                <a:gd name="connsiteY80" fmla="*/ 110433 h 1092726"/>
                <a:gd name="connsiteX81" fmla="*/ 111376 w 1048426"/>
                <a:gd name="connsiteY81" fmla="*/ 93821 h 1092726"/>
                <a:gd name="connsiteX82" fmla="*/ 163402 w 1048426"/>
                <a:gd name="connsiteY82" fmla="*/ 94421 h 1092726"/>
                <a:gd name="connsiteX83" fmla="*/ 172241 w 1048426"/>
                <a:gd name="connsiteY83" fmla="*/ 85268 h 1092726"/>
                <a:gd name="connsiteX84" fmla="*/ 179661 w 1048426"/>
                <a:gd name="connsiteY84" fmla="*/ 93688 h 1092726"/>
                <a:gd name="connsiteX85" fmla="*/ 184861 w 1048426"/>
                <a:gd name="connsiteY85" fmla="*/ 109338 h 1092726"/>
                <a:gd name="connsiteX86" fmla="*/ 189910 w 1048426"/>
                <a:gd name="connsiteY86" fmla="*/ 106071 h 1092726"/>
                <a:gd name="connsiteX87" fmla="*/ 204607 w 1048426"/>
                <a:gd name="connsiteY87" fmla="*/ 120101 h 1092726"/>
                <a:gd name="connsiteX88" fmla="*/ 225371 w 1048426"/>
                <a:gd name="connsiteY88" fmla="*/ 118386 h 1092726"/>
                <a:gd name="connsiteX89" fmla="*/ 230543 w 1048426"/>
                <a:gd name="connsiteY89" fmla="*/ 110262 h 1092726"/>
                <a:gd name="connsiteX90" fmla="*/ 250403 w 1048426"/>
                <a:gd name="connsiteY90" fmla="*/ 104070 h 1092726"/>
                <a:gd name="connsiteX91" fmla="*/ 261404 w 1048426"/>
                <a:gd name="connsiteY91" fmla="*/ 99717 h 1092726"/>
                <a:gd name="connsiteX92" fmla="*/ 264500 w 1048426"/>
                <a:gd name="connsiteY92" fmla="*/ 88478 h 1092726"/>
                <a:gd name="connsiteX93" fmla="*/ 283578 w 1048426"/>
                <a:gd name="connsiteY93" fmla="*/ 80924 h 1092726"/>
                <a:gd name="connsiteX94" fmla="*/ 282140 w 1048426"/>
                <a:gd name="connsiteY94" fmla="*/ 75343 h 1092726"/>
                <a:gd name="connsiteX95" fmla="*/ 259509 w 1048426"/>
                <a:gd name="connsiteY95" fmla="*/ 73066 h 1092726"/>
                <a:gd name="connsiteX96" fmla="*/ 255804 w 1048426"/>
                <a:gd name="connsiteY96" fmla="*/ 56331 h 1092726"/>
                <a:gd name="connsiteX97" fmla="*/ 256880 w 1048426"/>
                <a:gd name="connsiteY97" fmla="*/ 38519 h 1092726"/>
                <a:gd name="connsiteX98" fmla="*/ 244926 w 1048426"/>
                <a:gd name="connsiteY98" fmla="*/ 31623 h 1092726"/>
                <a:gd name="connsiteX99" fmla="*/ 249936 w 1048426"/>
                <a:gd name="connsiteY99" fmla="*/ 29175 h 1092726"/>
                <a:gd name="connsiteX100" fmla="*/ 269710 w 1048426"/>
                <a:gd name="connsiteY100" fmla="*/ 32576 h 1092726"/>
                <a:gd name="connsiteX101" fmla="*/ 290941 w 1048426"/>
                <a:gd name="connsiteY101" fmla="*/ 39224 h 1092726"/>
                <a:gd name="connsiteX102" fmla="*/ 298647 w 1048426"/>
                <a:gd name="connsiteY102" fmla="*/ 32938 h 1092726"/>
                <a:gd name="connsiteX103" fmla="*/ 317859 w 1048426"/>
                <a:gd name="connsiteY103" fmla="*/ 28813 h 1092726"/>
                <a:gd name="connsiteX104" fmla="*/ 347729 w 1048426"/>
                <a:gd name="connsiteY104" fmla="*/ 18850 h 1092726"/>
                <a:gd name="connsiteX105" fmla="*/ 357492 w 1048426"/>
                <a:gd name="connsiteY105" fmla="*/ 8696 h 1092726"/>
                <a:gd name="connsiteX106" fmla="*/ 353959 w 1048426"/>
                <a:gd name="connsiteY106" fmla="*/ 1181 h 1092726"/>
                <a:gd name="connsiteX107" fmla="*/ 367846 w 1048426"/>
                <a:gd name="connsiteY107" fmla="*/ 0 h 1092726"/>
                <a:gd name="connsiteX108" fmla="*/ 374057 w 1048426"/>
                <a:gd name="connsiteY108" fmla="*/ 6134 h 1092726"/>
                <a:gd name="connsiteX109" fmla="*/ 370580 w 1048426"/>
                <a:gd name="connsiteY109" fmla="*/ 17831 h 1092726"/>
                <a:gd name="connsiteX110" fmla="*/ 379762 w 1048426"/>
                <a:gd name="connsiteY110" fmla="*/ 21860 h 1092726"/>
                <a:gd name="connsiteX111" fmla="*/ 385886 w 1048426"/>
                <a:gd name="connsiteY111" fmla="*/ 34223 h 1092726"/>
                <a:gd name="connsiteX112" fmla="*/ 378486 w 1048426"/>
                <a:gd name="connsiteY112" fmla="*/ 43587 h 1092726"/>
                <a:gd name="connsiteX113" fmla="*/ 374228 w 1048426"/>
                <a:gd name="connsiteY113" fmla="*/ 66199 h 1092726"/>
                <a:gd name="connsiteX114" fmla="*/ 381067 w 1048426"/>
                <a:gd name="connsiteY114" fmla="*/ 79629 h 1092726"/>
                <a:gd name="connsiteX115" fmla="*/ 383000 w 1048426"/>
                <a:gd name="connsiteY115" fmla="*/ 91916 h 1092726"/>
                <a:gd name="connsiteX116" fmla="*/ 399431 w 1048426"/>
                <a:gd name="connsiteY116" fmla="*/ 104365 h 1092726"/>
                <a:gd name="connsiteX117" fmla="*/ 412537 w 1048426"/>
                <a:gd name="connsiteY117" fmla="*/ 105680 h 1092726"/>
                <a:gd name="connsiteX118" fmla="*/ 415490 w 1048426"/>
                <a:gd name="connsiteY118" fmla="*/ 100489 h 1092726"/>
                <a:gd name="connsiteX119" fmla="*/ 423939 w 1048426"/>
                <a:gd name="connsiteY119" fmla="*/ 99336 h 1092726"/>
                <a:gd name="connsiteX120" fmla="*/ 436016 w 1048426"/>
                <a:gd name="connsiteY120" fmla="*/ 94679 h 1092726"/>
                <a:gd name="connsiteX121" fmla="*/ 444703 w 1048426"/>
                <a:gd name="connsiteY121" fmla="*/ 87621 h 1092726"/>
                <a:gd name="connsiteX122" fmla="*/ 459467 w 1048426"/>
                <a:gd name="connsiteY122" fmla="*/ 89878 h 1092726"/>
                <a:gd name="connsiteX123" fmla="*/ 465973 w 1048426"/>
                <a:gd name="connsiteY123" fmla="*/ 88925 h 1092726"/>
                <a:gd name="connsiteX124" fmla="*/ 480498 w 1048426"/>
                <a:gd name="connsiteY124" fmla="*/ 91097 h 1092726"/>
                <a:gd name="connsiteX125" fmla="*/ 482899 w 1048426"/>
                <a:gd name="connsiteY125" fmla="*/ 85668 h 1092726"/>
                <a:gd name="connsiteX126" fmla="*/ 478422 w 1048426"/>
                <a:gd name="connsiteY126" fmla="*/ 80391 h 1092726"/>
                <a:gd name="connsiteX127" fmla="*/ 481089 w 1048426"/>
                <a:gd name="connsiteY127" fmla="*/ 72704 h 1092726"/>
                <a:gd name="connsiteX128" fmla="*/ 491862 w 1048426"/>
                <a:gd name="connsiteY128" fmla="*/ 75067 h 1092726"/>
                <a:gd name="connsiteX129" fmla="*/ 504482 w 1048426"/>
                <a:gd name="connsiteY129" fmla="*/ 72352 h 1092726"/>
                <a:gd name="connsiteX130" fmla="*/ 519779 w 1048426"/>
                <a:gd name="connsiteY130" fmla="*/ 77981 h 1092726"/>
                <a:gd name="connsiteX131" fmla="*/ 531438 w 1048426"/>
                <a:gd name="connsiteY131" fmla="*/ 83458 h 1092726"/>
                <a:gd name="connsiteX132" fmla="*/ 539706 w 1048426"/>
                <a:gd name="connsiteY132" fmla="*/ 76257 h 1092726"/>
                <a:gd name="connsiteX133" fmla="*/ 545678 w 1048426"/>
                <a:gd name="connsiteY133" fmla="*/ 77362 h 1092726"/>
                <a:gd name="connsiteX134" fmla="*/ 549326 w 1048426"/>
                <a:gd name="connsiteY134" fmla="*/ 84839 h 1092726"/>
                <a:gd name="connsiteX135" fmla="*/ 562108 w 1048426"/>
                <a:gd name="connsiteY135" fmla="*/ 82944 h 1092726"/>
                <a:gd name="connsiteX136" fmla="*/ 572348 w 1048426"/>
                <a:gd name="connsiteY136" fmla="*/ 72857 h 1092726"/>
                <a:gd name="connsiteX137" fmla="*/ 580539 w 1048426"/>
                <a:gd name="connsiteY137" fmla="*/ 53302 h 1092726"/>
                <a:gd name="connsiteX138" fmla="*/ 596341 w 1048426"/>
                <a:gd name="connsiteY138" fmla="*/ 28966 h 1092726"/>
                <a:gd name="connsiteX139" fmla="*/ 605438 w 1048426"/>
                <a:gd name="connsiteY139" fmla="*/ 27708 h 1092726"/>
                <a:gd name="connsiteX140" fmla="*/ 612048 w 1048426"/>
                <a:gd name="connsiteY140" fmla="*/ 42415 h 1092726"/>
                <a:gd name="connsiteX141" fmla="*/ 627021 w 1048426"/>
                <a:gd name="connsiteY141" fmla="*/ 88868 h 1092726"/>
                <a:gd name="connsiteX142" fmla="*/ 641309 w 1048426"/>
                <a:gd name="connsiteY142" fmla="*/ 93250 h 1092726"/>
                <a:gd name="connsiteX143" fmla="*/ 642023 w 1048426"/>
                <a:gd name="connsiteY143" fmla="*/ 111566 h 1092726"/>
                <a:gd name="connsiteX144" fmla="*/ 621945 w 1048426"/>
                <a:gd name="connsiteY144" fmla="*/ 133407 h 1092726"/>
                <a:gd name="connsiteX145" fmla="*/ 630250 w 1048426"/>
                <a:gd name="connsiteY145" fmla="*/ 141408 h 1092726"/>
                <a:gd name="connsiteX146" fmla="*/ 677456 w 1048426"/>
                <a:gd name="connsiteY146" fmla="*/ 145570 h 1092726"/>
                <a:gd name="connsiteX147" fmla="*/ 678418 w 1048426"/>
                <a:gd name="connsiteY147" fmla="*/ 172164 h 1092726"/>
                <a:gd name="connsiteX148" fmla="*/ 698707 w 1048426"/>
                <a:gd name="connsiteY148" fmla="*/ 154753 h 1092726"/>
                <a:gd name="connsiteX149" fmla="*/ 732311 w 1048426"/>
                <a:gd name="connsiteY149" fmla="*/ 164287 h 1092726"/>
                <a:gd name="connsiteX150" fmla="*/ 776669 w 1048426"/>
                <a:gd name="connsiteY150" fmla="*/ 180499 h 1092726"/>
                <a:gd name="connsiteX151" fmla="*/ 789699 w 1048426"/>
                <a:gd name="connsiteY151" fmla="*/ 196044 h 1092726"/>
                <a:gd name="connsiteX152" fmla="*/ 785327 w 1048426"/>
                <a:gd name="connsiteY152" fmla="*/ 210741 h 1092726"/>
                <a:gd name="connsiteX153" fmla="*/ 816378 w 1048426"/>
                <a:gd name="connsiteY153" fmla="*/ 202559 h 1092726"/>
                <a:gd name="connsiteX154" fmla="*/ 868356 w 1048426"/>
                <a:gd name="connsiteY154" fmla="*/ 216608 h 1092726"/>
                <a:gd name="connsiteX155" fmla="*/ 908257 w 1048426"/>
                <a:gd name="connsiteY155" fmla="*/ 215570 h 1092726"/>
                <a:gd name="connsiteX156" fmla="*/ 947738 w 1048426"/>
                <a:gd name="connsiteY156" fmla="*/ 237563 h 1092726"/>
                <a:gd name="connsiteX157" fmla="*/ 981837 w 1048426"/>
                <a:gd name="connsiteY157" fmla="*/ 267367 h 1092726"/>
                <a:gd name="connsiteX158" fmla="*/ 1002411 w 1048426"/>
                <a:gd name="connsiteY158" fmla="*/ 275044 h 1092726"/>
                <a:gd name="connsiteX159" fmla="*/ 1025252 w 1048426"/>
                <a:gd name="connsiteY159" fmla="*/ 276120 h 1092726"/>
                <a:gd name="connsiteX160" fmla="*/ 1034930 w 1048426"/>
                <a:gd name="connsiteY160" fmla="*/ 284521 h 1092726"/>
                <a:gd name="connsiteX161" fmla="*/ 1043997 w 1048426"/>
                <a:gd name="connsiteY161" fmla="*/ 318488 h 1092726"/>
                <a:gd name="connsiteX162" fmla="*/ 1048426 w 1048426"/>
                <a:gd name="connsiteY162" fmla="*/ 334671 h 1092726"/>
                <a:gd name="connsiteX163" fmla="*/ 1037797 w 1048426"/>
                <a:gd name="connsiteY163" fmla="*/ 378981 h 1092726"/>
                <a:gd name="connsiteX164" fmla="*/ 1024204 w 1048426"/>
                <a:gd name="connsiteY164" fmla="*/ 396535 h 1092726"/>
                <a:gd name="connsiteX165" fmla="*/ 986562 w 1048426"/>
                <a:gd name="connsiteY165" fmla="*/ 434064 h 1092726"/>
                <a:gd name="connsiteX166" fmla="*/ 969550 w 1048426"/>
                <a:gd name="connsiteY166" fmla="*/ 464687 h 1092726"/>
                <a:gd name="connsiteX167" fmla="*/ 949776 w 1048426"/>
                <a:gd name="connsiteY167" fmla="*/ 488261 h 1092726"/>
                <a:gd name="connsiteX168" fmla="*/ 943099 w 1048426"/>
                <a:gd name="connsiteY168" fmla="*/ 488795 h 1092726"/>
                <a:gd name="connsiteX169" fmla="*/ 935641 w 1048426"/>
                <a:gd name="connsiteY169" fmla="*/ 508873 h 1092726"/>
                <a:gd name="connsiteX170" fmla="*/ 937536 w 1048426"/>
                <a:gd name="connsiteY170" fmla="*/ 560289 h 1092726"/>
                <a:gd name="connsiteX171" fmla="*/ 930088 w 1048426"/>
                <a:gd name="connsiteY171" fmla="*/ 602942 h 1092726"/>
                <a:gd name="connsiteX172" fmla="*/ 927250 w 1048426"/>
                <a:gd name="connsiteY172" fmla="*/ 621297 h 1092726"/>
                <a:gd name="connsiteX173" fmla="*/ 918810 w 1048426"/>
                <a:gd name="connsiteY173" fmla="*/ 632317 h 1092726"/>
                <a:gd name="connsiteX174" fmla="*/ 914076 w 1048426"/>
                <a:gd name="connsiteY174" fmla="*/ 669836 h 1092726"/>
                <a:gd name="connsiteX175" fmla="*/ 886997 w 1048426"/>
                <a:gd name="connsiteY175" fmla="*/ 706774 h 1092726"/>
                <a:gd name="connsiteX176" fmla="*/ 882453 w 1048426"/>
                <a:gd name="connsiteY176" fmla="*/ 736235 h 1092726"/>
                <a:gd name="connsiteX177" fmla="*/ 860841 w 1048426"/>
                <a:gd name="connsiteY177" fmla="*/ 748655 h 1092726"/>
                <a:gd name="connsiteX178" fmla="*/ 854583 w 1048426"/>
                <a:gd name="connsiteY178" fmla="*/ 765906 h 1092726"/>
                <a:gd name="connsiteX179" fmla="*/ 825570 w 1048426"/>
                <a:gd name="connsiteY179" fmla="*/ 765839 h 1092726"/>
                <a:gd name="connsiteX180" fmla="*/ 783555 w 1048426"/>
                <a:gd name="connsiteY180" fmla="*/ 776935 h 1092726"/>
                <a:gd name="connsiteX181" fmla="*/ 764743 w 1048426"/>
                <a:gd name="connsiteY181" fmla="*/ 789823 h 1092726"/>
                <a:gd name="connsiteX182" fmla="*/ 734835 w 1048426"/>
                <a:gd name="connsiteY182" fmla="*/ 798309 h 1092726"/>
                <a:gd name="connsiteX183" fmla="*/ 703402 w 1048426"/>
                <a:gd name="connsiteY183" fmla="*/ 821550 h 1092726"/>
                <a:gd name="connsiteX184" fmla="*/ 680799 w 1048426"/>
                <a:gd name="connsiteY184" fmla="*/ 850706 h 1092726"/>
                <a:gd name="connsiteX185" fmla="*/ 676913 w 1048426"/>
                <a:gd name="connsiteY185" fmla="*/ 872823 h 1092726"/>
                <a:gd name="connsiteX186" fmla="*/ 681352 w 1048426"/>
                <a:gd name="connsiteY186" fmla="*/ 889273 h 1092726"/>
                <a:gd name="connsiteX187" fmla="*/ 676361 w 1048426"/>
                <a:gd name="connsiteY187" fmla="*/ 919582 h 1092726"/>
                <a:gd name="connsiteX188" fmla="*/ 670303 w 1048426"/>
                <a:gd name="connsiteY188" fmla="*/ 934326 h 1092726"/>
                <a:gd name="connsiteX189" fmla="*/ 651634 w 1048426"/>
                <a:gd name="connsiteY189" fmla="*/ 951033 h 1092726"/>
                <a:gd name="connsiteX190" fmla="*/ 622002 w 1048426"/>
                <a:gd name="connsiteY190" fmla="*/ 1005097 h 1092726"/>
                <a:gd name="connsiteX191" fmla="*/ 598523 w 1048426"/>
                <a:gd name="connsiteY191" fmla="*/ 1029795 h 1092726"/>
                <a:gd name="connsiteX192" fmla="*/ 580359 w 1048426"/>
                <a:gd name="connsiteY192" fmla="*/ 1044454 h 1092726"/>
                <a:gd name="connsiteX193" fmla="*/ 568185 w 1048426"/>
                <a:gd name="connsiteY193" fmla="*/ 1074496 h 1092726"/>
                <a:gd name="connsiteX194" fmla="*/ 550517 w 1048426"/>
                <a:gd name="connsiteY194" fmla="*/ 1092727 h 1092726"/>
                <a:gd name="connsiteX195" fmla="*/ 543125 w 1048426"/>
                <a:gd name="connsiteY195" fmla="*/ 1074677 h 1092726"/>
                <a:gd name="connsiteX196" fmla="*/ 554898 w 1048426"/>
                <a:gd name="connsiteY196" fmla="*/ 1059647 h 1092726"/>
                <a:gd name="connsiteX197" fmla="*/ 539448 w 1048426"/>
                <a:gd name="connsiteY197" fmla="*/ 1038234 h 1092726"/>
                <a:gd name="connsiteX198" fmla="*/ 518503 w 1048426"/>
                <a:gd name="connsiteY198" fmla="*/ 1020946 h 1092726"/>
                <a:gd name="connsiteX199" fmla="*/ 491014 w 1048426"/>
                <a:gd name="connsiteY199" fmla="*/ 1001049 h 1092726"/>
                <a:gd name="connsiteX200" fmla="*/ 481098 w 1048426"/>
                <a:gd name="connsiteY200" fmla="*/ 1001954 h 1092726"/>
                <a:gd name="connsiteX201" fmla="*/ 454305 w 1048426"/>
                <a:gd name="connsiteY201" fmla="*/ 978103 h 1092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</a:cxnLst>
              <a:rect l="l" t="t" r="r" b="b"/>
              <a:pathLst>
                <a:path w="1048426" h="1092726">
                  <a:moveTo>
                    <a:pt x="436979" y="981380"/>
                  </a:moveTo>
                  <a:lnTo>
                    <a:pt x="472602" y="939737"/>
                  </a:lnTo>
                  <a:lnTo>
                    <a:pt x="502749" y="910419"/>
                  </a:lnTo>
                  <a:lnTo>
                    <a:pt x="520684" y="898207"/>
                  </a:lnTo>
                  <a:lnTo>
                    <a:pt x="543173" y="881749"/>
                  </a:lnTo>
                  <a:lnTo>
                    <a:pt x="543716" y="858031"/>
                  </a:lnTo>
                  <a:lnTo>
                    <a:pt x="530314" y="841000"/>
                  </a:lnTo>
                  <a:lnTo>
                    <a:pt x="517093" y="846649"/>
                  </a:lnTo>
                  <a:lnTo>
                    <a:pt x="522332" y="829666"/>
                  </a:lnTo>
                  <a:lnTo>
                    <a:pt x="525952" y="812359"/>
                  </a:lnTo>
                  <a:lnTo>
                    <a:pt x="525961" y="796337"/>
                  </a:lnTo>
                  <a:lnTo>
                    <a:pt x="516360" y="791070"/>
                  </a:lnTo>
                  <a:lnTo>
                    <a:pt x="506340" y="795766"/>
                  </a:lnTo>
                  <a:lnTo>
                    <a:pt x="496376" y="794471"/>
                  </a:lnTo>
                  <a:lnTo>
                    <a:pt x="493262" y="783307"/>
                  </a:lnTo>
                  <a:lnTo>
                    <a:pt x="490776" y="756847"/>
                  </a:lnTo>
                  <a:lnTo>
                    <a:pt x="485775" y="748256"/>
                  </a:lnTo>
                  <a:lnTo>
                    <a:pt x="467735" y="740493"/>
                  </a:lnTo>
                  <a:lnTo>
                    <a:pt x="456838" y="746113"/>
                  </a:lnTo>
                  <a:lnTo>
                    <a:pt x="428644" y="740607"/>
                  </a:lnTo>
                  <a:lnTo>
                    <a:pt x="430416" y="701888"/>
                  </a:lnTo>
                  <a:lnTo>
                    <a:pt x="422520" y="686134"/>
                  </a:lnTo>
                  <a:lnTo>
                    <a:pt x="430873" y="680295"/>
                  </a:lnTo>
                  <a:lnTo>
                    <a:pt x="428301" y="664226"/>
                  </a:lnTo>
                  <a:lnTo>
                    <a:pt x="435616" y="651910"/>
                  </a:lnTo>
                  <a:lnTo>
                    <a:pt x="440360" y="629850"/>
                  </a:lnTo>
                  <a:lnTo>
                    <a:pt x="434054" y="612505"/>
                  </a:lnTo>
                  <a:lnTo>
                    <a:pt x="419462" y="604704"/>
                  </a:lnTo>
                  <a:lnTo>
                    <a:pt x="416605" y="593741"/>
                  </a:lnTo>
                  <a:lnTo>
                    <a:pt x="420519" y="577748"/>
                  </a:lnTo>
                  <a:lnTo>
                    <a:pt x="369323" y="576606"/>
                  </a:lnTo>
                  <a:lnTo>
                    <a:pt x="359055" y="544506"/>
                  </a:lnTo>
                  <a:lnTo>
                    <a:pt x="366836" y="544049"/>
                  </a:lnTo>
                  <a:lnTo>
                    <a:pt x="366494" y="532209"/>
                  </a:lnTo>
                  <a:lnTo>
                    <a:pt x="361283" y="524208"/>
                  </a:lnTo>
                  <a:lnTo>
                    <a:pt x="360112" y="508387"/>
                  </a:lnTo>
                  <a:lnTo>
                    <a:pt x="344596" y="500291"/>
                  </a:lnTo>
                  <a:lnTo>
                    <a:pt x="327793" y="500567"/>
                  </a:lnTo>
                  <a:lnTo>
                    <a:pt x="316745" y="492643"/>
                  </a:lnTo>
                  <a:lnTo>
                    <a:pt x="298695" y="487242"/>
                  </a:lnTo>
                  <a:lnTo>
                    <a:pt x="288179" y="477079"/>
                  </a:lnTo>
                  <a:lnTo>
                    <a:pt x="258271" y="472592"/>
                  </a:lnTo>
                  <a:lnTo>
                    <a:pt x="229276" y="448285"/>
                  </a:lnTo>
                  <a:lnTo>
                    <a:pt x="231420" y="430149"/>
                  </a:lnTo>
                  <a:lnTo>
                    <a:pt x="228133" y="419767"/>
                  </a:lnTo>
                  <a:lnTo>
                    <a:pt x="230981" y="399574"/>
                  </a:lnTo>
                  <a:lnTo>
                    <a:pt x="196034" y="404127"/>
                  </a:lnTo>
                  <a:lnTo>
                    <a:pt x="181966" y="414252"/>
                  </a:lnTo>
                  <a:lnTo>
                    <a:pt x="158610" y="425187"/>
                  </a:lnTo>
                  <a:lnTo>
                    <a:pt x="152657" y="433359"/>
                  </a:lnTo>
                  <a:lnTo>
                    <a:pt x="138903" y="433949"/>
                  </a:lnTo>
                  <a:lnTo>
                    <a:pt x="119044" y="431663"/>
                  </a:lnTo>
                  <a:lnTo>
                    <a:pt x="103975" y="436312"/>
                  </a:lnTo>
                  <a:lnTo>
                    <a:pt x="91831" y="433207"/>
                  </a:lnTo>
                  <a:lnTo>
                    <a:pt x="93612" y="392249"/>
                  </a:lnTo>
                  <a:lnTo>
                    <a:pt x="71704" y="408118"/>
                  </a:lnTo>
                  <a:lnTo>
                    <a:pt x="48130" y="407423"/>
                  </a:lnTo>
                  <a:lnTo>
                    <a:pt x="38033" y="393059"/>
                  </a:lnTo>
                  <a:lnTo>
                    <a:pt x="20307" y="391496"/>
                  </a:lnTo>
                  <a:lnTo>
                    <a:pt x="25956" y="379952"/>
                  </a:lnTo>
                  <a:lnTo>
                    <a:pt x="11116" y="363626"/>
                  </a:lnTo>
                  <a:lnTo>
                    <a:pt x="0" y="339500"/>
                  </a:lnTo>
                  <a:lnTo>
                    <a:pt x="7039" y="334604"/>
                  </a:lnTo>
                  <a:lnTo>
                    <a:pt x="7020" y="323317"/>
                  </a:lnTo>
                  <a:lnTo>
                    <a:pt x="23155" y="315601"/>
                  </a:lnTo>
                  <a:lnTo>
                    <a:pt x="20498" y="301162"/>
                  </a:lnTo>
                  <a:lnTo>
                    <a:pt x="27308" y="291884"/>
                  </a:lnTo>
                  <a:lnTo>
                    <a:pt x="29251" y="279445"/>
                  </a:lnTo>
                  <a:lnTo>
                    <a:pt x="59789" y="261328"/>
                  </a:lnTo>
                  <a:lnTo>
                    <a:pt x="81677" y="256204"/>
                  </a:lnTo>
                  <a:lnTo>
                    <a:pt x="85258" y="252203"/>
                  </a:lnTo>
                  <a:lnTo>
                    <a:pt x="109328" y="253451"/>
                  </a:lnTo>
                  <a:lnTo>
                    <a:pt x="121330" y="180613"/>
                  </a:lnTo>
                  <a:lnTo>
                    <a:pt x="121958" y="169107"/>
                  </a:lnTo>
                  <a:lnTo>
                    <a:pt x="117777" y="153914"/>
                  </a:lnTo>
                  <a:lnTo>
                    <a:pt x="105928" y="144237"/>
                  </a:lnTo>
                  <a:lnTo>
                    <a:pt x="106061" y="124959"/>
                  </a:lnTo>
                  <a:lnTo>
                    <a:pt x="121111" y="120587"/>
                  </a:lnTo>
                  <a:lnTo>
                    <a:pt x="126445" y="123339"/>
                  </a:lnTo>
                  <a:lnTo>
                    <a:pt x="127349" y="113176"/>
                  </a:lnTo>
                  <a:lnTo>
                    <a:pt x="111700" y="110433"/>
                  </a:lnTo>
                  <a:lnTo>
                    <a:pt x="111376" y="93821"/>
                  </a:lnTo>
                  <a:lnTo>
                    <a:pt x="163402" y="94421"/>
                  </a:lnTo>
                  <a:lnTo>
                    <a:pt x="172241" y="85268"/>
                  </a:lnTo>
                  <a:lnTo>
                    <a:pt x="179661" y="93688"/>
                  </a:lnTo>
                  <a:lnTo>
                    <a:pt x="184861" y="109338"/>
                  </a:lnTo>
                  <a:lnTo>
                    <a:pt x="189910" y="106071"/>
                  </a:lnTo>
                  <a:lnTo>
                    <a:pt x="204607" y="120101"/>
                  </a:lnTo>
                  <a:lnTo>
                    <a:pt x="225371" y="118386"/>
                  </a:lnTo>
                  <a:lnTo>
                    <a:pt x="230543" y="110262"/>
                  </a:lnTo>
                  <a:lnTo>
                    <a:pt x="250403" y="104070"/>
                  </a:lnTo>
                  <a:lnTo>
                    <a:pt x="261404" y="99717"/>
                  </a:lnTo>
                  <a:lnTo>
                    <a:pt x="264500" y="88478"/>
                  </a:lnTo>
                  <a:lnTo>
                    <a:pt x="283578" y="80924"/>
                  </a:lnTo>
                  <a:lnTo>
                    <a:pt x="282140" y="75343"/>
                  </a:lnTo>
                  <a:lnTo>
                    <a:pt x="259509" y="73066"/>
                  </a:lnTo>
                  <a:lnTo>
                    <a:pt x="255804" y="56331"/>
                  </a:lnTo>
                  <a:lnTo>
                    <a:pt x="256880" y="38519"/>
                  </a:lnTo>
                  <a:lnTo>
                    <a:pt x="244926" y="31623"/>
                  </a:lnTo>
                  <a:lnTo>
                    <a:pt x="249936" y="29175"/>
                  </a:lnTo>
                  <a:lnTo>
                    <a:pt x="269710" y="32576"/>
                  </a:lnTo>
                  <a:lnTo>
                    <a:pt x="290941" y="39224"/>
                  </a:lnTo>
                  <a:lnTo>
                    <a:pt x="298647" y="32938"/>
                  </a:lnTo>
                  <a:lnTo>
                    <a:pt x="317859" y="28813"/>
                  </a:lnTo>
                  <a:lnTo>
                    <a:pt x="347729" y="18850"/>
                  </a:lnTo>
                  <a:lnTo>
                    <a:pt x="357492" y="8696"/>
                  </a:lnTo>
                  <a:lnTo>
                    <a:pt x="353959" y="1181"/>
                  </a:lnTo>
                  <a:lnTo>
                    <a:pt x="367846" y="0"/>
                  </a:lnTo>
                  <a:lnTo>
                    <a:pt x="374057" y="6134"/>
                  </a:lnTo>
                  <a:lnTo>
                    <a:pt x="370580" y="17831"/>
                  </a:lnTo>
                  <a:lnTo>
                    <a:pt x="379762" y="21860"/>
                  </a:lnTo>
                  <a:lnTo>
                    <a:pt x="385886" y="34223"/>
                  </a:lnTo>
                  <a:lnTo>
                    <a:pt x="378486" y="43587"/>
                  </a:lnTo>
                  <a:lnTo>
                    <a:pt x="374228" y="66199"/>
                  </a:lnTo>
                  <a:lnTo>
                    <a:pt x="381067" y="79629"/>
                  </a:lnTo>
                  <a:lnTo>
                    <a:pt x="383000" y="91916"/>
                  </a:lnTo>
                  <a:lnTo>
                    <a:pt x="399431" y="104365"/>
                  </a:lnTo>
                  <a:lnTo>
                    <a:pt x="412537" y="105680"/>
                  </a:lnTo>
                  <a:lnTo>
                    <a:pt x="415490" y="100489"/>
                  </a:lnTo>
                  <a:lnTo>
                    <a:pt x="423939" y="99336"/>
                  </a:lnTo>
                  <a:lnTo>
                    <a:pt x="436016" y="94679"/>
                  </a:lnTo>
                  <a:lnTo>
                    <a:pt x="444703" y="87621"/>
                  </a:lnTo>
                  <a:lnTo>
                    <a:pt x="459467" y="89878"/>
                  </a:lnTo>
                  <a:lnTo>
                    <a:pt x="465973" y="88925"/>
                  </a:lnTo>
                  <a:lnTo>
                    <a:pt x="480498" y="91097"/>
                  </a:lnTo>
                  <a:lnTo>
                    <a:pt x="482899" y="85668"/>
                  </a:lnTo>
                  <a:lnTo>
                    <a:pt x="478422" y="80391"/>
                  </a:lnTo>
                  <a:lnTo>
                    <a:pt x="481089" y="72704"/>
                  </a:lnTo>
                  <a:lnTo>
                    <a:pt x="491862" y="75067"/>
                  </a:lnTo>
                  <a:lnTo>
                    <a:pt x="504482" y="72352"/>
                  </a:lnTo>
                  <a:lnTo>
                    <a:pt x="519779" y="77981"/>
                  </a:lnTo>
                  <a:lnTo>
                    <a:pt x="531438" y="83458"/>
                  </a:lnTo>
                  <a:lnTo>
                    <a:pt x="539706" y="76257"/>
                  </a:lnTo>
                  <a:lnTo>
                    <a:pt x="545678" y="77362"/>
                  </a:lnTo>
                  <a:lnTo>
                    <a:pt x="549326" y="84839"/>
                  </a:lnTo>
                  <a:lnTo>
                    <a:pt x="562108" y="82944"/>
                  </a:lnTo>
                  <a:lnTo>
                    <a:pt x="572348" y="72857"/>
                  </a:lnTo>
                  <a:lnTo>
                    <a:pt x="580539" y="53302"/>
                  </a:lnTo>
                  <a:lnTo>
                    <a:pt x="596341" y="28966"/>
                  </a:lnTo>
                  <a:lnTo>
                    <a:pt x="605438" y="27708"/>
                  </a:lnTo>
                  <a:lnTo>
                    <a:pt x="612048" y="42415"/>
                  </a:lnTo>
                  <a:lnTo>
                    <a:pt x="627021" y="88868"/>
                  </a:lnTo>
                  <a:lnTo>
                    <a:pt x="641309" y="93250"/>
                  </a:lnTo>
                  <a:lnTo>
                    <a:pt x="642023" y="111566"/>
                  </a:lnTo>
                  <a:lnTo>
                    <a:pt x="621945" y="133407"/>
                  </a:lnTo>
                  <a:lnTo>
                    <a:pt x="630250" y="141408"/>
                  </a:lnTo>
                  <a:lnTo>
                    <a:pt x="677456" y="145570"/>
                  </a:lnTo>
                  <a:lnTo>
                    <a:pt x="678418" y="172164"/>
                  </a:lnTo>
                  <a:lnTo>
                    <a:pt x="698707" y="154753"/>
                  </a:lnTo>
                  <a:lnTo>
                    <a:pt x="732311" y="164287"/>
                  </a:lnTo>
                  <a:lnTo>
                    <a:pt x="776669" y="180499"/>
                  </a:lnTo>
                  <a:lnTo>
                    <a:pt x="789699" y="196044"/>
                  </a:lnTo>
                  <a:lnTo>
                    <a:pt x="785327" y="210741"/>
                  </a:lnTo>
                  <a:lnTo>
                    <a:pt x="816378" y="202559"/>
                  </a:lnTo>
                  <a:lnTo>
                    <a:pt x="868356" y="216608"/>
                  </a:lnTo>
                  <a:lnTo>
                    <a:pt x="908257" y="215570"/>
                  </a:lnTo>
                  <a:lnTo>
                    <a:pt x="947738" y="237563"/>
                  </a:lnTo>
                  <a:lnTo>
                    <a:pt x="981837" y="267367"/>
                  </a:lnTo>
                  <a:lnTo>
                    <a:pt x="1002411" y="275044"/>
                  </a:lnTo>
                  <a:lnTo>
                    <a:pt x="1025252" y="276120"/>
                  </a:lnTo>
                  <a:lnTo>
                    <a:pt x="1034930" y="284521"/>
                  </a:lnTo>
                  <a:lnTo>
                    <a:pt x="1043997" y="318488"/>
                  </a:lnTo>
                  <a:lnTo>
                    <a:pt x="1048426" y="334671"/>
                  </a:lnTo>
                  <a:lnTo>
                    <a:pt x="1037797" y="378981"/>
                  </a:lnTo>
                  <a:lnTo>
                    <a:pt x="1024204" y="396535"/>
                  </a:lnTo>
                  <a:lnTo>
                    <a:pt x="986562" y="434064"/>
                  </a:lnTo>
                  <a:lnTo>
                    <a:pt x="969550" y="464687"/>
                  </a:lnTo>
                  <a:lnTo>
                    <a:pt x="949776" y="488261"/>
                  </a:lnTo>
                  <a:lnTo>
                    <a:pt x="943099" y="488795"/>
                  </a:lnTo>
                  <a:lnTo>
                    <a:pt x="935641" y="508873"/>
                  </a:lnTo>
                  <a:lnTo>
                    <a:pt x="937536" y="560289"/>
                  </a:lnTo>
                  <a:lnTo>
                    <a:pt x="930088" y="602942"/>
                  </a:lnTo>
                  <a:lnTo>
                    <a:pt x="927250" y="621297"/>
                  </a:lnTo>
                  <a:lnTo>
                    <a:pt x="918810" y="632317"/>
                  </a:lnTo>
                  <a:lnTo>
                    <a:pt x="914076" y="669836"/>
                  </a:lnTo>
                  <a:lnTo>
                    <a:pt x="886997" y="706774"/>
                  </a:lnTo>
                  <a:lnTo>
                    <a:pt x="882453" y="736235"/>
                  </a:lnTo>
                  <a:lnTo>
                    <a:pt x="860841" y="748655"/>
                  </a:lnTo>
                  <a:lnTo>
                    <a:pt x="854583" y="765906"/>
                  </a:lnTo>
                  <a:lnTo>
                    <a:pt x="825570" y="765839"/>
                  </a:lnTo>
                  <a:lnTo>
                    <a:pt x="783555" y="776935"/>
                  </a:lnTo>
                  <a:lnTo>
                    <a:pt x="764743" y="789823"/>
                  </a:lnTo>
                  <a:lnTo>
                    <a:pt x="734835" y="798309"/>
                  </a:lnTo>
                  <a:lnTo>
                    <a:pt x="703402" y="821550"/>
                  </a:lnTo>
                  <a:lnTo>
                    <a:pt x="680799" y="850706"/>
                  </a:lnTo>
                  <a:lnTo>
                    <a:pt x="676913" y="872823"/>
                  </a:lnTo>
                  <a:lnTo>
                    <a:pt x="681352" y="889273"/>
                  </a:lnTo>
                  <a:lnTo>
                    <a:pt x="676361" y="919582"/>
                  </a:lnTo>
                  <a:lnTo>
                    <a:pt x="670303" y="934326"/>
                  </a:lnTo>
                  <a:lnTo>
                    <a:pt x="651634" y="951033"/>
                  </a:lnTo>
                  <a:lnTo>
                    <a:pt x="622002" y="1005097"/>
                  </a:lnTo>
                  <a:lnTo>
                    <a:pt x="598523" y="1029795"/>
                  </a:lnTo>
                  <a:lnTo>
                    <a:pt x="580359" y="1044454"/>
                  </a:lnTo>
                  <a:lnTo>
                    <a:pt x="568185" y="1074496"/>
                  </a:lnTo>
                  <a:lnTo>
                    <a:pt x="550517" y="1092727"/>
                  </a:lnTo>
                  <a:lnTo>
                    <a:pt x="543125" y="1074677"/>
                  </a:lnTo>
                  <a:lnTo>
                    <a:pt x="554898" y="1059647"/>
                  </a:lnTo>
                  <a:lnTo>
                    <a:pt x="539448" y="1038234"/>
                  </a:lnTo>
                  <a:lnTo>
                    <a:pt x="518503" y="1020946"/>
                  </a:lnTo>
                  <a:lnTo>
                    <a:pt x="491014" y="1001049"/>
                  </a:lnTo>
                  <a:lnTo>
                    <a:pt x="481098" y="1001954"/>
                  </a:lnTo>
                  <a:lnTo>
                    <a:pt x="454305" y="9781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orme libre : forme 5671">
              <a:extLst>
                <a:ext uri="{FF2B5EF4-FFF2-40B4-BE49-F238E27FC236}">
                  <a16:creationId xmlns:a16="http://schemas.microsoft.com/office/drawing/2014/main" id="{D1D1C357-777D-0F68-E7BA-9FEFF10B7B5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711606" y="3996770"/>
              <a:ext cx="52873" cy="97898"/>
            </a:xfrm>
            <a:custGeom>
              <a:avLst/>
              <a:gdLst>
                <a:gd name="connsiteX0" fmla="*/ 38595 w 52873"/>
                <a:gd name="connsiteY0" fmla="*/ 96460 h 97898"/>
                <a:gd name="connsiteX1" fmla="*/ 32042 w 52873"/>
                <a:gd name="connsiteY1" fmla="*/ 97898 h 97898"/>
                <a:gd name="connsiteX2" fmla="*/ 25260 w 52873"/>
                <a:gd name="connsiteY2" fmla="*/ 81153 h 97898"/>
                <a:gd name="connsiteX3" fmla="*/ 15259 w 52873"/>
                <a:gd name="connsiteY3" fmla="*/ 72704 h 97898"/>
                <a:gd name="connsiteX4" fmla="*/ 21069 w 52873"/>
                <a:gd name="connsiteY4" fmla="*/ 54121 h 97898"/>
                <a:gd name="connsiteX5" fmla="*/ 29108 w 52873"/>
                <a:gd name="connsiteY5" fmla="*/ 55302 h 97898"/>
                <a:gd name="connsiteX6" fmla="*/ 38453 w 52873"/>
                <a:gd name="connsiteY6" fmla="*/ 79581 h 97898"/>
                <a:gd name="connsiteX7" fmla="*/ 38595 w 52873"/>
                <a:gd name="connsiteY7" fmla="*/ 96460 h 97898"/>
                <a:gd name="connsiteX8" fmla="*/ 30975 w 52873"/>
                <a:gd name="connsiteY8" fmla="*/ 13688 h 97898"/>
                <a:gd name="connsiteX9" fmla="*/ 1867 w 52873"/>
                <a:gd name="connsiteY9" fmla="*/ 18440 h 97898"/>
                <a:gd name="connsiteX10" fmla="*/ 0 w 52873"/>
                <a:gd name="connsiteY10" fmla="*/ 7449 h 97898"/>
                <a:gd name="connsiteX11" fmla="*/ 12554 w 52873"/>
                <a:gd name="connsiteY11" fmla="*/ 5067 h 97898"/>
                <a:gd name="connsiteX12" fmla="*/ 30185 w 52873"/>
                <a:gd name="connsiteY12" fmla="*/ 5963 h 97898"/>
                <a:gd name="connsiteX13" fmla="*/ 30975 w 52873"/>
                <a:gd name="connsiteY13" fmla="*/ 13688 h 97898"/>
                <a:gd name="connsiteX14" fmla="*/ 52873 w 52873"/>
                <a:gd name="connsiteY14" fmla="*/ 13383 h 97898"/>
                <a:gd name="connsiteX15" fmla="*/ 48263 w 52873"/>
                <a:gd name="connsiteY15" fmla="*/ 34433 h 97898"/>
                <a:gd name="connsiteX16" fmla="*/ 43348 w 52873"/>
                <a:gd name="connsiteY16" fmla="*/ 30652 h 97898"/>
                <a:gd name="connsiteX17" fmla="*/ 43787 w 52873"/>
                <a:gd name="connsiteY17" fmla="*/ 15173 h 97898"/>
                <a:gd name="connsiteX18" fmla="*/ 31823 w 52873"/>
                <a:gd name="connsiteY18" fmla="*/ 3420 h 97898"/>
                <a:gd name="connsiteX19" fmla="*/ 31766 w 52873"/>
                <a:gd name="connsiteY19" fmla="*/ 0 h 97898"/>
                <a:gd name="connsiteX20" fmla="*/ 52873 w 52873"/>
                <a:gd name="connsiteY20" fmla="*/ 13383 h 97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2873" h="97898">
                  <a:moveTo>
                    <a:pt x="38595" y="96460"/>
                  </a:moveTo>
                  <a:lnTo>
                    <a:pt x="32042" y="97898"/>
                  </a:lnTo>
                  <a:lnTo>
                    <a:pt x="25260" y="81153"/>
                  </a:lnTo>
                  <a:lnTo>
                    <a:pt x="15259" y="72704"/>
                  </a:lnTo>
                  <a:lnTo>
                    <a:pt x="21069" y="54121"/>
                  </a:lnTo>
                  <a:lnTo>
                    <a:pt x="29108" y="55302"/>
                  </a:lnTo>
                  <a:lnTo>
                    <a:pt x="38453" y="79581"/>
                  </a:lnTo>
                  <a:lnTo>
                    <a:pt x="38595" y="96460"/>
                  </a:lnTo>
                  <a:close/>
                  <a:moveTo>
                    <a:pt x="30975" y="13688"/>
                  </a:moveTo>
                  <a:lnTo>
                    <a:pt x="1867" y="18440"/>
                  </a:lnTo>
                  <a:lnTo>
                    <a:pt x="0" y="7449"/>
                  </a:lnTo>
                  <a:lnTo>
                    <a:pt x="12554" y="5067"/>
                  </a:lnTo>
                  <a:lnTo>
                    <a:pt x="30185" y="5963"/>
                  </a:lnTo>
                  <a:lnTo>
                    <a:pt x="30975" y="13688"/>
                  </a:lnTo>
                  <a:close/>
                  <a:moveTo>
                    <a:pt x="52873" y="13383"/>
                  </a:moveTo>
                  <a:lnTo>
                    <a:pt x="48263" y="34433"/>
                  </a:lnTo>
                  <a:lnTo>
                    <a:pt x="43348" y="30652"/>
                  </a:lnTo>
                  <a:lnTo>
                    <a:pt x="43787" y="15173"/>
                  </a:lnTo>
                  <a:lnTo>
                    <a:pt x="31823" y="3420"/>
                  </a:lnTo>
                  <a:lnTo>
                    <a:pt x="31766" y="0"/>
                  </a:lnTo>
                  <a:lnTo>
                    <a:pt x="52873" y="133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orme libre : forme 5672">
              <a:extLst>
                <a:ext uri="{FF2B5EF4-FFF2-40B4-BE49-F238E27FC236}">
                  <a16:creationId xmlns:a16="http://schemas.microsoft.com/office/drawing/2014/main" id="{81A6ADD3-77DE-41CD-5C6B-39BF8D774C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192833" y="3959070"/>
              <a:ext cx="87848" cy="47244"/>
            </a:xfrm>
            <a:custGeom>
              <a:avLst/>
              <a:gdLst>
                <a:gd name="connsiteX0" fmla="*/ 76971 w 87848"/>
                <a:gd name="connsiteY0" fmla="*/ 15793 h 47244"/>
                <a:gd name="connsiteX1" fmla="*/ 87849 w 87848"/>
                <a:gd name="connsiteY1" fmla="*/ 25365 h 47244"/>
                <a:gd name="connsiteX2" fmla="*/ 85973 w 87848"/>
                <a:gd name="connsiteY2" fmla="*/ 43701 h 47244"/>
                <a:gd name="connsiteX3" fmla="*/ 64189 w 87848"/>
                <a:gd name="connsiteY3" fmla="*/ 44587 h 47244"/>
                <a:gd name="connsiteX4" fmla="*/ 41634 w 87848"/>
                <a:gd name="connsiteY4" fmla="*/ 42586 h 47244"/>
                <a:gd name="connsiteX5" fmla="*/ 24850 w 87848"/>
                <a:gd name="connsiteY5" fmla="*/ 47244 h 47244"/>
                <a:gd name="connsiteX6" fmla="*/ 571 w 87848"/>
                <a:gd name="connsiteY6" fmla="*/ 35938 h 47244"/>
                <a:gd name="connsiteX7" fmla="*/ 0 w 87848"/>
                <a:gd name="connsiteY7" fmla="*/ 29947 h 47244"/>
                <a:gd name="connsiteX8" fmla="*/ 17669 w 87848"/>
                <a:gd name="connsiteY8" fmla="*/ 7649 h 47244"/>
                <a:gd name="connsiteX9" fmla="*/ 32099 w 87848"/>
                <a:gd name="connsiteY9" fmla="*/ 0 h 47244"/>
                <a:gd name="connsiteX10" fmla="*/ 51178 w 87848"/>
                <a:gd name="connsiteY10" fmla="*/ 6982 h 47244"/>
                <a:gd name="connsiteX11" fmla="*/ 65284 w 87848"/>
                <a:gd name="connsiteY11" fmla="*/ 7715 h 47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848" h="47244">
                  <a:moveTo>
                    <a:pt x="76971" y="15793"/>
                  </a:moveTo>
                  <a:lnTo>
                    <a:pt x="87849" y="25365"/>
                  </a:lnTo>
                  <a:lnTo>
                    <a:pt x="85973" y="43701"/>
                  </a:lnTo>
                  <a:lnTo>
                    <a:pt x="64189" y="44587"/>
                  </a:lnTo>
                  <a:lnTo>
                    <a:pt x="41634" y="42586"/>
                  </a:lnTo>
                  <a:lnTo>
                    <a:pt x="24850" y="47244"/>
                  </a:lnTo>
                  <a:lnTo>
                    <a:pt x="571" y="35938"/>
                  </a:lnTo>
                  <a:lnTo>
                    <a:pt x="0" y="29947"/>
                  </a:lnTo>
                  <a:lnTo>
                    <a:pt x="17669" y="7649"/>
                  </a:lnTo>
                  <a:lnTo>
                    <a:pt x="32099" y="0"/>
                  </a:lnTo>
                  <a:lnTo>
                    <a:pt x="51178" y="6982"/>
                  </a:lnTo>
                  <a:lnTo>
                    <a:pt x="65284" y="77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orme libre : forme 5673">
              <a:extLst>
                <a:ext uri="{FF2B5EF4-FFF2-40B4-BE49-F238E27FC236}">
                  <a16:creationId xmlns:a16="http://schemas.microsoft.com/office/drawing/2014/main" id="{7208754D-6990-3B9D-C6EE-B116B2B923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52241" y="5218885"/>
              <a:ext cx="254689" cy="263366"/>
            </a:xfrm>
            <a:custGeom>
              <a:avLst/>
              <a:gdLst>
                <a:gd name="connsiteX0" fmla="*/ 153657 w 254689"/>
                <a:gd name="connsiteY0" fmla="*/ 24412 h 263366"/>
                <a:gd name="connsiteX1" fmla="*/ 159029 w 254689"/>
                <a:gd name="connsiteY1" fmla="*/ 29413 h 263366"/>
                <a:gd name="connsiteX2" fmla="*/ 167430 w 254689"/>
                <a:gd name="connsiteY2" fmla="*/ 45663 h 263366"/>
                <a:gd name="connsiteX3" fmla="*/ 197654 w 254689"/>
                <a:gd name="connsiteY3" fmla="*/ 76667 h 263366"/>
                <a:gd name="connsiteX4" fmla="*/ 209093 w 254689"/>
                <a:gd name="connsiteY4" fmla="*/ 79715 h 263366"/>
                <a:gd name="connsiteX5" fmla="*/ 209159 w 254689"/>
                <a:gd name="connsiteY5" fmla="*/ 89725 h 263366"/>
                <a:gd name="connsiteX6" fmla="*/ 217018 w 254689"/>
                <a:gd name="connsiteY6" fmla="*/ 107775 h 263366"/>
                <a:gd name="connsiteX7" fmla="*/ 237668 w 254689"/>
                <a:gd name="connsiteY7" fmla="*/ 112157 h 263366"/>
                <a:gd name="connsiteX8" fmla="*/ 254689 w 254689"/>
                <a:gd name="connsiteY8" fmla="*/ 125092 h 263366"/>
                <a:gd name="connsiteX9" fmla="*/ 216904 w 254689"/>
                <a:gd name="connsiteY9" fmla="*/ 146247 h 263366"/>
                <a:gd name="connsiteX10" fmla="*/ 192929 w 254689"/>
                <a:gd name="connsiteY10" fmla="*/ 167821 h 263366"/>
                <a:gd name="connsiteX11" fmla="*/ 184032 w 254689"/>
                <a:gd name="connsiteY11" fmla="*/ 187176 h 263366"/>
                <a:gd name="connsiteX12" fmla="*/ 176003 w 254689"/>
                <a:gd name="connsiteY12" fmla="*/ 198139 h 263366"/>
                <a:gd name="connsiteX13" fmla="*/ 161468 w 254689"/>
                <a:gd name="connsiteY13" fmla="*/ 200473 h 263366"/>
                <a:gd name="connsiteX14" fmla="*/ 156782 w 254689"/>
                <a:gd name="connsiteY14" fmla="*/ 214484 h 263366"/>
                <a:gd name="connsiteX15" fmla="*/ 154077 w 254689"/>
                <a:gd name="connsiteY15" fmla="*/ 223657 h 263366"/>
                <a:gd name="connsiteX16" fmla="*/ 136998 w 254689"/>
                <a:gd name="connsiteY16" fmla="*/ 230514 h 263366"/>
                <a:gd name="connsiteX17" fmla="*/ 115262 w 254689"/>
                <a:gd name="connsiteY17" fmla="*/ 229058 h 263366"/>
                <a:gd name="connsiteX18" fmla="*/ 102498 w 254689"/>
                <a:gd name="connsiteY18" fmla="*/ 220809 h 263366"/>
                <a:gd name="connsiteX19" fmla="*/ 91250 w 254689"/>
                <a:gd name="connsiteY19" fmla="*/ 217237 h 263366"/>
                <a:gd name="connsiteX20" fmla="*/ 78220 w 254689"/>
                <a:gd name="connsiteY20" fmla="*/ 224057 h 263366"/>
                <a:gd name="connsiteX21" fmla="*/ 71685 w 254689"/>
                <a:gd name="connsiteY21" fmla="*/ 238182 h 263366"/>
                <a:gd name="connsiteX22" fmla="*/ 59036 w 254689"/>
                <a:gd name="connsiteY22" fmla="*/ 247079 h 263366"/>
                <a:gd name="connsiteX23" fmla="*/ 45682 w 254689"/>
                <a:gd name="connsiteY23" fmla="*/ 260328 h 263366"/>
                <a:gd name="connsiteX24" fmla="*/ 26546 w 254689"/>
                <a:gd name="connsiteY24" fmla="*/ 263366 h 263366"/>
                <a:gd name="connsiteX25" fmla="*/ 20593 w 254689"/>
                <a:gd name="connsiteY25" fmla="*/ 252927 h 263366"/>
                <a:gd name="connsiteX26" fmla="*/ 23050 w 254689"/>
                <a:gd name="connsiteY26" fmla="*/ 234896 h 263366"/>
                <a:gd name="connsiteX27" fmla="*/ 7220 w 254689"/>
                <a:gd name="connsiteY27" fmla="*/ 206959 h 263366"/>
                <a:gd name="connsiteX28" fmla="*/ 10 w 254689"/>
                <a:gd name="connsiteY28" fmla="*/ 202559 h 263366"/>
                <a:gd name="connsiteX29" fmla="*/ 0 w 254689"/>
                <a:gd name="connsiteY29" fmla="*/ 118158 h 263366"/>
                <a:gd name="connsiteX30" fmla="*/ 26327 w 254689"/>
                <a:gd name="connsiteY30" fmla="*/ 117157 h 263366"/>
                <a:gd name="connsiteX31" fmla="*/ 27108 w 254689"/>
                <a:gd name="connsiteY31" fmla="*/ 16478 h 263366"/>
                <a:gd name="connsiteX32" fmla="*/ 46997 w 254689"/>
                <a:gd name="connsiteY32" fmla="*/ 15554 h 263366"/>
                <a:gd name="connsiteX33" fmla="*/ 88164 w 254689"/>
                <a:gd name="connsiteY33" fmla="*/ 5782 h 263366"/>
                <a:gd name="connsiteX34" fmla="*/ 98374 w 254689"/>
                <a:gd name="connsiteY34" fmla="*/ 17288 h 263366"/>
                <a:gd name="connsiteX35" fmla="*/ 115424 w 254689"/>
                <a:gd name="connsiteY35" fmla="*/ 6344 h 263366"/>
                <a:gd name="connsiteX36" fmla="*/ 123520 w 254689"/>
                <a:gd name="connsiteY36" fmla="*/ 6287 h 263366"/>
                <a:gd name="connsiteX37" fmla="*/ 138579 w 254689"/>
                <a:gd name="connsiteY37" fmla="*/ 0 h 263366"/>
                <a:gd name="connsiteX38" fmla="*/ 143380 w 254689"/>
                <a:gd name="connsiteY38" fmla="*/ 2086 h 26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54689" h="263366">
                  <a:moveTo>
                    <a:pt x="153657" y="24412"/>
                  </a:moveTo>
                  <a:lnTo>
                    <a:pt x="159029" y="29413"/>
                  </a:lnTo>
                  <a:lnTo>
                    <a:pt x="167430" y="45663"/>
                  </a:lnTo>
                  <a:lnTo>
                    <a:pt x="197654" y="76667"/>
                  </a:lnTo>
                  <a:lnTo>
                    <a:pt x="209093" y="79715"/>
                  </a:lnTo>
                  <a:lnTo>
                    <a:pt x="209159" y="89725"/>
                  </a:lnTo>
                  <a:lnTo>
                    <a:pt x="217018" y="107775"/>
                  </a:lnTo>
                  <a:lnTo>
                    <a:pt x="237668" y="112157"/>
                  </a:lnTo>
                  <a:lnTo>
                    <a:pt x="254689" y="125092"/>
                  </a:lnTo>
                  <a:lnTo>
                    <a:pt x="216904" y="146247"/>
                  </a:lnTo>
                  <a:lnTo>
                    <a:pt x="192929" y="167821"/>
                  </a:lnTo>
                  <a:lnTo>
                    <a:pt x="184032" y="187176"/>
                  </a:lnTo>
                  <a:lnTo>
                    <a:pt x="176003" y="198139"/>
                  </a:lnTo>
                  <a:lnTo>
                    <a:pt x="161468" y="200473"/>
                  </a:lnTo>
                  <a:lnTo>
                    <a:pt x="156782" y="214484"/>
                  </a:lnTo>
                  <a:lnTo>
                    <a:pt x="154077" y="223657"/>
                  </a:lnTo>
                  <a:lnTo>
                    <a:pt x="136998" y="230514"/>
                  </a:lnTo>
                  <a:lnTo>
                    <a:pt x="115262" y="229058"/>
                  </a:lnTo>
                  <a:lnTo>
                    <a:pt x="102498" y="220809"/>
                  </a:lnTo>
                  <a:lnTo>
                    <a:pt x="91250" y="217237"/>
                  </a:lnTo>
                  <a:lnTo>
                    <a:pt x="78220" y="224057"/>
                  </a:lnTo>
                  <a:lnTo>
                    <a:pt x="71685" y="238182"/>
                  </a:lnTo>
                  <a:lnTo>
                    <a:pt x="59036" y="247079"/>
                  </a:lnTo>
                  <a:lnTo>
                    <a:pt x="45682" y="260328"/>
                  </a:lnTo>
                  <a:lnTo>
                    <a:pt x="26546" y="263366"/>
                  </a:lnTo>
                  <a:lnTo>
                    <a:pt x="20593" y="252927"/>
                  </a:lnTo>
                  <a:lnTo>
                    <a:pt x="23050" y="234896"/>
                  </a:lnTo>
                  <a:lnTo>
                    <a:pt x="7220" y="206959"/>
                  </a:lnTo>
                  <a:lnTo>
                    <a:pt x="10" y="202559"/>
                  </a:lnTo>
                  <a:lnTo>
                    <a:pt x="0" y="118158"/>
                  </a:lnTo>
                  <a:lnTo>
                    <a:pt x="26327" y="117157"/>
                  </a:lnTo>
                  <a:lnTo>
                    <a:pt x="27108" y="16478"/>
                  </a:lnTo>
                  <a:lnTo>
                    <a:pt x="46997" y="15554"/>
                  </a:lnTo>
                  <a:lnTo>
                    <a:pt x="88164" y="5782"/>
                  </a:lnTo>
                  <a:lnTo>
                    <a:pt x="98374" y="17288"/>
                  </a:lnTo>
                  <a:lnTo>
                    <a:pt x="115424" y="6344"/>
                  </a:lnTo>
                  <a:lnTo>
                    <a:pt x="123520" y="6287"/>
                  </a:lnTo>
                  <a:lnTo>
                    <a:pt x="138579" y="0"/>
                  </a:lnTo>
                  <a:lnTo>
                    <a:pt x="143380" y="20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orme libre : forme 5674">
              <a:extLst>
                <a:ext uri="{FF2B5EF4-FFF2-40B4-BE49-F238E27FC236}">
                  <a16:creationId xmlns:a16="http://schemas.microsoft.com/office/drawing/2014/main" id="{A4245D9B-C9F9-01FB-0AB1-81E8EFBC6F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440481" y="2929741"/>
              <a:ext cx="253555" cy="218798"/>
            </a:xfrm>
            <a:custGeom>
              <a:avLst/>
              <a:gdLst>
                <a:gd name="connsiteX0" fmla="*/ 7601 w 253555"/>
                <a:gd name="connsiteY0" fmla="*/ 104985 h 218798"/>
                <a:gd name="connsiteX1" fmla="*/ 33414 w 253555"/>
                <a:gd name="connsiteY1" fmla="*/ 105289 h 218798"/>
                <a:gd name="connsiteX2" fmla="*/ 62408 w 253555"/>
                <a:gd name="connsiteY2" fmla="*/ 88173 h 218798"/>
                <a:gd name="connsiteX3" fmla="*/ 68609 w 253555"/>
                <a:gd name="connsiteY3" fmla="*/ 62227 h 218798"/>
                <a:gd name="connsiteX4" fmla="*/ 90506 w 253555"/>
                <a:gd name="connsiteY4" fmla="*/ 47349 h 218798"/>
                <a:gd name="connsiteX5" fmla="*/ 87992 w 253555"/>
                <a:gd name="connsiteY5" fmla="*/ 26327 h 218798"/>
                <a:gd name="connsiteX6" fmla="*/ 104232 w 253555"/>
                <a:gd name="connsiteY6" fmla="*/ 18374 h 218798"/>
                <a:gd name="connsiteX7" fmla="*/ 132921 w 253555"/>
                <a:gd name="connsiteY7" fmla="*/ 0 h 218798"/>
                <a:gd name="connsiteX8" fmla="*/ 161039 w 253555"/>
                <a:gd name="connsiteY8" fmla="*/ 11963 h 218798"/>
                <a:gd name="connsiteX9" fmla="*/ 164830 w 253555"/>
                <a:gd name="connsiteY9" fmla="*/ 23736 h 218798"/>
                <a:gd name="connsiteX10" fmla="*/ 178851 w 253555"/>
                <a:gd name="connsiteY10" fmla="*/ 18088 h 218798"/>
                <a:gd name="connsiteX11" fmla="*/ 204958 w 253555"/>
                <a:gd name="connsiteY11" fmla="*/ 29356 h 218798"/>
                <a:gd name="connsiteX12" fmla="*/ 207569 w 253555"/>
                <a:gd name="connsiteY12" fmla="*/ 51340 h 218798"/>
                <a:gd name="connsiteX13" fmla="*/ 201853 w 253555"/>
                <a:gd name="connsiteY13" fmla="*/ 63855 h 218798"/>
                <a:gd name="connsiteX14" fmla="*/ 218589 w 253555"/>
                <a:gd name="connsiteY14" fmla="*/ 93888 h 218798"/>
                <a:gd name="connsiteX15" fmla="*/ 229467 w 253555"/>
                <a:gd name="connsiteY15" fmla="*/ 102165 h 218798"/>
                <a:gd name="connsiteX16" fmla="*/ 227857 w 253555"/>
                <a:gd name="connsiteY16" fmla="*/ 110337 h 218798"/>
                <a:gd name="connsiteX17" fmla="*/ 245859 w 253555"/>
                <a:gd name="connsiteY17" fmla="*/ 118253 h 218798"/>
                <a:gd name="connsiteX18" fmla="*/ 253555 w 253555"/>
                <a:gd name="connsiteY18" fmla="*/ 130197 h 218798"/>
                <a:gd name="connsiteX19" fmla="*/ 243164 w 253555"/>
                <a:gd name="connsiteY19" fmla="*/ 139932 h 218798"/>
                <a:gd name="connsiteX20" fmla="*/ 221618 w 253555"/>
                <a:gd name="connsiteY20" fmla="*/ 138389 h 218798"/>
                <a:gd name="connsiteX21" fmla="*/ 216475 w 253555"/>
                <a:gd name="connsiteY21" fmla="*/ 142532 h 218798"/>
                <a:gd name="connsiteX22" fmla="*/ 222752 w 253555"/>
                <a:gd name="connsiteY22" fmla="*/ 157201 h 218798"/>
                <a:gd name="connsiteX23" fmla="*/ 229314 w 253555"/>
                <a:gd name="connsiteY23" fmla="*/ 185175 h 218798"/>
                <a:gd name="connsiteX24" fmla="*/ 206387 w 253555"/>
                <a:gd name="connsiteY24" fmla="*/ 187747 h 218798"/>
                <a:gd name="connsiteX25" fmla="*/ 198158 w 253555"/>
                <a:gd name="connsiteY25" fmla="*/ 197225 h 218798"/>
                <a:gd name="connsiteX26" fmla="*/ 196443 w 253555"/>
                <a:gd name="connsiteY26" fmla="*/ 218799 h 218798"/>
                <a:gd name="connsiteX27" fmla="*/ 185823 w 253555"/>
                <a:gd name="connsiteY27" fmla="*/ 214674 h 218798"/>
                <a:gd name="connsiteX28" fmla="*/ 161715 w 253555"/>
                <a:gd name="connsiteY28" fmla="*/ 216722 h 218798"/>
                <a:gd name="connsiteX29" fmla="*/ 154714 w 253555"/>
                <a:gd name="connsiteY29" fmla="*/ 206721 h 218798"/>
                <a:gd name="connsiteX30" fmla="*/ 144703 w 253555"/>
                <a:gd name="connsiteY30" fmla="*/ 214179 h 218798"/>
                <a:gd name="connsiteX31" fmla="*/ 134655 w 253555"/>
                <a:gd name="connsiteY31" fmla="*/ 207997 h 218798"/>
                <a:gd name="connsiteX32" fmla="*/ 113623 w 253555"/>
                <a:gd name="connsiteY32" fmla="*/ 207140 h 218798"/>
                <a:gd name="connsiteX33" fmla="*/ 83820 w 253555"/>
                <a:gd name="connsiteY33" fmla="*/ 196815 h 218798"/>
                <a:gd name="connsiteX34" fmla="*/ 56845 w 253555"/>
                <a:gd name="connsiteY34" fmla="*/ 193434 h 218798"/>
                <a:gd name="connsiteX35" fmla="*/ 36147 w 253555"/>
                <a:gd name="connsiteY35" fmla="*/ 194396 h 218798"/>
                <a:gd name="connsiteX36" fmla="*/ 21517 w 253555"/>
                <a:gd name="connsiteY36" fmla="*/ 206064 h 218798"/>
                <a:gd name="connsiteX37" fmla="*/ 8744 w 253555"/>
                <a:gd name="connsiteY37" fmla="*/ 207731 h 218798"/>
                <a:gd name="connsiteX38" fmla="*/ 8239 w 253555"/>
                <a:gd name="connsiteY38" fmla="*/ 188557 h 218798"/>
                <a:gd name="connsiteX39" fmla="*/ 0 w 253555"/>
                <a:gd name="connsiteY39" fmla="*/ 168392 h 218798"/>
                <a:gd name="connsiteX40" fmla="*/ 16011 w 253555"/>
                <a:gd name="connsiteY40" fmla="*/ 159439 h 218798"/>
                <a:gd name="connsiteX41" fmla="*/ 16173 w 253555"/>
                <a:gd name="connsiteY41" fmla="*/ 141837 h 218798"/>
                <a:gd name="connsiteX42" fmla="*/ 8763 w 253555"/>
                <a:gd name="connsiteY42" fmla="*/ 124892 h 218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3555" h="218798">
                  <a:moveTo>
                    <a:pt x="7601" y="104985"/>
                  </a:moveTo>
                  <a:lnTo>
                    <a:pt x="33414" y="105289"/>
                  </a:lnTo>
                  <a:lnTo>
                    <a:pt x="62408" y="88173"/>
                  </a:lnTo>
                  <a:lnTo>
                    <a:pt x="68609" y="62227"/>
                  </a:lnTo>
                  <a:lnTo>
                    <a:pt x="90506" y="47349"/>
                  </a:lnTo>
                  <a:lnTo>
                    <a:pt x="87992" y="26327"/>
                  </a:lnTo>
                  <a:lnTo>
                    <a:pt x="104232" y="18374"/>
                  </a:lnTo>
                  <a:lnTo>
                    <a:pt x="132921" y="0"/>
                  </a:lnTo>
                  <a:lnTo>
                    <a:pt x="161039" y="11963"/>
                  </a:lnTo>
                  <a:lnTo>
                    <a:pt x="164830" y="23736"/>
                  </a:lnTo>
                  <a:lnTo>
                    <a:pt x="178851" y="18088"/>
                  </a:lnTo>
                  <a:lnTo>
                    <a:pt x="204958" y="29356"/>
                  </a:lnTo>
                  <a:lnTo>
                    <a:pt x="207569" y="51340"/>
                  </a:lnTo>
                  <a:lnTo>
                    <a:pt x="201853" y="63855"/>
                  </a:lnTo>
                  <a:lnTo>
                    <a:pt x="218589" y="93888"/>
                  </a:lnTo>
                  <a:lnTo>
                    <a:pt x="229467" y="102165"/>
                  </a:lnTo>
                  <a:lnTo>
                    <a:pt x="227857" y="110337"/>
                  </a:lnTo>
                  <a:lnTo>
                    <a:pt x="245859" y="118253"/>
                  </a:lnTo>
                  <a:lnTo>
                    <a:pt x="253555" y="130197"/>
                  </a:lnTo>
                  <a:lnTo>
                    <a:pt x="243164" y="139932"/>
                  </a:lnTo>
                  <a:lnTo>
                    <a:pt x="221618" y="138389"/>
                  </a:lnTo>
                  <a:lnTo>
                    <a:pt x="216475" y="142532"/>
                  </a:lnTo>
                  <a:lnTo>
                    <a:pt x="222752" y="157201"/>
                  </a:lnTo>
                  <a:lnTo>
                    <a:pt x="229314" y="185175"/>
                  </a:lnTo>
                  <a:lnTo>
                    <a:pt x="206387" y="187747"/>
                  </a:lnTo>
                  <a:lnTo>
                    <a:pt x="198158" y="197225"/>
                  </a:lnTo>
                  <a:lnTo>
                    <a:pt x="196443" y="218799"/>
                  </a:lnTo>
                  <a:lnTo>
                    <a:pt x="185823" y="214674"/>
                  </a:lnTo>
                  <a:lnTo>
                    <a:pt x="161715" y="216722"/>
                  </a:lnTo>
                  <a:lnTo>
                    <a:pt x="154714" y="206721"/>
                  </a:lnTo>
                  <a:lnTo>
                    <a:pt x="144703" y="214179"/>
                  </a:lnTo>
                  <a:lnTo>
                    <a:pt x="134655" y="207997"/>
                  </a:lnTo>
                  <a:lnTo>
                    <a:pt x="113623" y="207140"/>
                  </a:lnTo>
                  <a:lnTo>
                    <a:pt x="83820" y="196815"/>
                  </a:lnTo>
                  <a:lnTo>
                    <a:pt x="56845" y="193434"/>
                  </a:lnTo>
                  <a:lnTo>
                    <a:pt x="36147" y="194396"/>
                  </a:lnTo>
                  <a:lnTo>
                    <a:pt x="21517" y="206064"/>
                  </a:lnTo>
                  <a:lnTo>
                    <a:pt x="8744" y="207731"/>
                  </a:lnTo>
                  <a:lnTo>
                    <a:pt x="8239" y="188557"/>
                  </a:lnTo>
                  <a:lnTo>
                    <a:pt x="0" y="168392"/>
                  </a:lnTo>
                  <a:lnTo>
                    <a:pt x="16011" y="159439"/>
                  </a:lnTo>
                  <a:lnTo>
                    <a:pt x="16173" y="141837"/>
                  </a:lnTo>
                  <a:lnTo>
                    <a:pt x="8763" y="12489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orme libre : forme 5675">
              <a:extLst>
                <a:ext uri="{FF2B5EF4-FFF2-40B4-BE49-F238E27FC236}">
                  <a16:creationId xmlns:a16="http://schemas.microsoft.com/office/drawing/2014/main" id="{F3F2EBC2-0372-FAB0-0303-F8C75020B0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437886" y="4243020"/>
              <a:ext cx="29965" cy="72609"/>
            </a:xfrm>
            <a:custGeom>
              <a:avLst/>
              <a:gdLst>
                <a:gd name="connsiteX0" fmla="*/ 2296 w 29965"/>
                <a:gd name="connsiteY0" fmla="*/ 19317 h 72609"/>
                <a:gd name="connsiteX1" fmla="*/ 2086 w 29965"/>
                <a:gd name="connsiteY1" fmla="*/ 15212 h 72609"/>
                <a:gd name="connsiteX2" fmla="*/ 5315 w 29965"/>
                <a:gd name="connsiteY2" fmla="*/ 13935 h 72609"/>
                <a:gd name="connsiteX3" fmla="*/ 10163 w 29965"/>
                <a:gd name="connsiteY3" fmla="*/ 17231 h 72609"/>
                <a:gd name="connsiteX4" fmla="*/ 19736 w 29965"/>
                <a:gd name="connsiteY4" fmla="*/ 362 h 72609"/>
                <a:gd name="connsiteX5" fmla="*/ 24813 w 29965"/>
                <a:gd name="connsiteY5" fmla="*/ 0 h 72609"/>
                <a:gd name="connsiteX6" fmla="*/ 24908 w 29965"/>
                <a:gd name="connsiteY6" fmla="*/ 4105 h 72609"/>
                <a:gd name="connsiteX7" fmla="*/ 29966 w 29965"/>
                <a:gd name="connsiteY7" fmla="*/ 4229 h 72609"/>
                <a:gd name="connsiteX8" fmla="*/ 29528 w 29965"/>
                <a:gd name="connsiteY8" fmla="*/ 11830 h 72609"/>
                <a:gd name="connsiteX9" fmla="*/ 25203 w 29965"/>
                <a:gd name="connsiteY9" fmla="*/ 23889 h 72609"/>
                <a:gd name="connsiteX10" fmla="*/ 27537 w 29965"/>
                <a:gd name="connsiteY10" fmla="*/ 28204 h 72609"/>
                <a:gd name="connsiteX11" fmla="*/ 24746 w 29965"/>
                <a:gd name="connsiteY11" fmla="*/ 38148 h 72609"/>
                <a:gd name="connsiteX12" fmla="*/ 26422 w 29965"/>
                <a:gd name="connsiteY12" fmla="*/ 40805 h 72609"/>
                <a:gd name="connsiteX13" fmla="*/ 23336 w 29965"/>
                <a:gd name="connsiteY13" fmla="*/ 54816 h 72609"/>
                <a:gd name="connsiteX14" fmla="*/ 18088 w 29965"/>
                <a:gd name="connsiteY14" fmla="*/ 62151 h 72609"/>
                <a:gd name="connsiteX15" fmla="*/ 13259 w 29965"/>
                <a:gd name="connsiteY15" fmla="*/ 63037 h 72609"/>
                <a:gd name="connsiteX16" fmla="*/ 7972 w 29965"/>
                <a:gd name="connsiteY16" fmla="*/ 72600 h 72609"/>
                <a:gd name="connsiteX17" fmla="*/ 0 w 29965"/>
                <a:gd name="connsiteY17" fmla="*/ 72609 h 72609"/>
                <a:gd name="connsiteX18" fmla="*/ 2086 w 29965"/>
                <a:gd name="connsiteY18" fmla="*/ 41367 h 72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965" h="72609">
                  <a:moveTo>
                    <a:pt x="2296" y="19317"/>
                  </a:moveTo>
                  <a:lnTo>
                    <a:pt x="2086" y="15212"/>
                  </a:lnTo>
                  <a:lnTo>
                    <a:pt x="5315" y="13935"/>
                  </a:lnTo>
                  <a:lnTo>
                    <a:pt x="10163" y="17231"/>
                  </a:lnTo>
                  <a:lnTo>
                    <a:pt x="19736" y="362"/>
                  </a:lnTo>
                  <a:lnTo>
                    <a:pt x="24813" y="0"/>
                  </a:lnTo>
                  <a:lnTo>
                    <a:pt x="24908" y="4105"/>
                  </a:lnTo>
                  <a:lnTo>
                    <a:pt x="29966" y="4229"/>
                  </a:lnTo>
                  <a:lnTo>
                    <a:pt x="29528" y="11830"/>
                  </a:lnTo>
                  <a:lnTo>
                    <a:pt x="25203" y="23889"/>
                  </a:lnTo>
                  <a:lnTo>
                    <a:pt x="27537" y="28204"/>
                  </a:lnTo>
                  <a:lnTo>
                    <a:pt x="24746" y="38148"/>
                  </a:lnTo>
                  <a:lnTo>
                    <a:pt x="26422" y="40805"/>
                  </a:lnTo>
                  <a:lnTo>
                    <a:pt x="23336" y="54816"/>
                  </a:lnTo>
                  <a:lnTo>
                    <a:pt x="18088" y="62151"/>
                  </a:lnTo>
                  <a:lnTo>
                    <a:pt x="13259" y="63037"/>
                  </a:lnTo>
                  <a:lnTo>
                    <a:pt x="7972" y="72600"/>
                  </a:lnTo>
                  <a:lnTo>
                    <a:pt x="0" y="72609"/>
                  </a:lnTo>
                  <a:lnTo>
                    <a:pt x="2086" y="413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orme libre : forme 5676">
              <a:extLst>
                <a:ext uri="{FF2B5EF4-FFF2-40B4-BE49-F238E27FC236}">
                  <a16:creationId xmlns:a16="http://schemas.microsoft.com/office/drawing/2014/main" id="{F3524228-08BF-A82E-1577-A8F55EDF28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055304" y="425200"/>
              <a:ext cx="2359561" cy="3085499"/>
            </a:xfrm>
            <a:custGeom>
              <a:avLst/>
              <a:gdLst>
                <a:gd name="connsiteX0" fmla="*/ 1133570 w 2359561"/>
                <a:gd name="connsiteY0" fmla="*/ 820331 h 3085499"/>
                <a:gd name="connsiteX1" fmla="*/ 1131456 w 2359561"/>
                <a:gd name="connsiteY1" fmla="*/ 764115 h 3085499"/>
                <a:gd name="connsiteX2" fmla="*/ 1166031 w 2359561"/>
                <a:gd name="connsiteY2" fmla="*/ 769630 h 3085499"/>
                <a:gd name="connsiteX3" fmla="*/ 1181595 w 2359561"/>
                <a:gd name="connsiteY3" fmla="*/ 778726 h 3085499"/>
                <a:gd name="connsiteX4" fmla="*/ 1213514 w 2359561"/>
                <a:gd name="connsiteY4" fmla="*/ 825637 h 3085499"/>
                <a:gd name="connsiteX5" fmla="*/ 1206275 w 2359561"/>
                <a:gd name="connsiteY5" fmla="*/ 872976 h 3085499"/>
                <a:gd name="connsiteX6" fmla="*/ 1166765 w 2359561"/>
                <a:gd name="connsiteY6" fmla="*/ 899370 h 3085499"/>
                <a:gd name="connsiteX7" fmla="*/ 1145010 w 2359561"/>
                <a:gd name="connsiteY7" fmla="*/ 869623 h 3085499"/>
                <a:gd name="connsiteX8" fmla="*/ 1133570 w 2359561"/>
                <a:gd name="connsiteY8" fmla="*/ 820331 h 3085499"/>
                <a:gd name="connsiteX9" fmla="*/ 1259443 w 2359561"/>
                <a:gd name="connsiteY9" fmla="*/ 940756 h 3085499"/>
                <a:gd name="connsiteX10" fmla="*/ 1262625 w 2359561"/>
                <a:gd name="connsiteY10" fmla="*/ 926563 h 3085499"/>
                <a:gd name="connsiteX11" fmla="*/ 1243879 w 2359561"/>
                <a:gd name="connsiteY11" fmla="*/ 903246 h 3085499"/>
                <a:gd name="connsiteX12" fmla="*/ 1190101 w 2359561"/>
                <a:gd name="connsiteY12" fmla="*/ 901398 h 3085499"/>
                <a:gd name="connsiteX13" fmla="*/ 1197226 w 2359561"/>
                <a:gd name="connsiteY13" fmla="*/ 936412 h 3085499"/>
                <a:gd name="connsiteX14" fmla="*/ 1247270 w 2359561"/>
                <a:gd name="connsiteY14" fmla="*/ 944289 h 3085499"/>
                <a:gd name="connsiteX15" fmla="*/ 1259443 w 2359561"/>
                <a:gd name="connsiteY15" fmla="*/ 940756 h 3085499"/>
                <a:gd name="connsiteX16" fmla="*/ 1605658 w 2359561"/>
                <a:gd name="connsiteY16" fmla="*/ 1388012 h 3085499"/>
                <a:gd name="connsiteX17" fmla="*/ 1635042 w 2359561"/>
                <a:gd name="connsiteY17" fmla="*/ 1436618 h 3085499"/>
                <a:gd name="connsiteX18" fmla="*/ 1642777 w 2359561"/>
                <a:gd name="connsiteY18" fmla="*/ 1442085 h 3085499"/>
                <a:gd name="connsiteX19" fmla="*/ 1672009 w 2359561"/>
                <a:gd name="connsiteY19" fmla="*/ 1429941 h 3085499"/>
                <a:gd name="connsiteX20" fmla="*/ 1700784 w 2359561"/>
                <a:gd name="connsiteY20" fmla="*/ 1431855 h 3085499"/>
                <a:gd name="connsiteX21" fmla="*/ 1729168 w 2359561"/>
                <a:gd name="connsiteY21" fmla="*/ 1434484 h 3085499"/>
                <a:gd name="connsiteX22" fmla="*/ 1726806 w 2359561"/>
                <a:gd name="connsiteY22" fmla="*/ 1409309 h 3085499"/>
                <a:gd name="connsiteX23" fmla="*/ 1680753 w 2359561"/>
                <a:gd name="connsiteY23" fmla="*/ 1358055 h 3085499"/>
                <a:gd name="connsiteX24" fmla="*/ 1619631 w 2359561"/>
                <a:gd name="connsiteY24" fmla="*/ 1347797 h 3085499"/>
                <a:gd name="connsiteX25" fmla="*/ 1606782 w 2359561"/>
                <a:gd name="connsiteY25" fmla="*/ 1354141 h 3085499"/>
                <a:gd name="connsiteX26" fmla="*/ 1605658 w 2359561"/>
                <a:gd name="connsiteY26" fmla="*/ 1388012 h 3085499"/>
                <a:gd name="connsiteX27" fmla="*/ 982485 w 2359561"/>
                <a:gd name="connsiteY27" fmla="*/ 790794 h 3085499"/>
                <a:gd name="connsiteX28" fmla="*/ 956691 w 2359561"/>
                <a:gd name="connsiteY28" fmla="*/ 830685 h 3085499"/>
                <a:gd name="connsiteX29" fmla="*/ 1016146 w 2359561"/>
                <a:gd name="connsiteY29" fmla="*/ 835600 h 3085499"/>
                <a:gd name="connsiteX30" fmla="*/ 1060104 w 2359561"/>
                <a:gd name="connsiteY30" fmla="*/ 877872 h 3085499"/>
                <a:gd name="connsiteX31" fmla="*/ 1103719 w 2359561"/>
                <a:gd name="connsiteY31" fmla="*/ 892140 h 3085499"/>
                <a:gd name="connsiteX32" fmla="*/ 1093318 w 2359561"/>
                <a:gd name="connsiteY32" fmla="*/ 838038 h 3085499"/>
                <a:gd name="connsiteX33" fmla="*/ 1072887 w 2359561"/>
                <a:gd name="connsiteY33" fmla="*/ 773973 h 3085499"/>
                <a:gd name="connsiteX34" fmla="*/ 1000668 w 2359561"/>
                <a:gd name="connsiteY34" fmla="*/ 722986 h 3085499"/>
                <a:gd name="connsiteX35" fmla="*/ 948242 w 2359561"/>
                <a:gd name="connsiteY35" fmla="*/ 703517 h 3085499"/>
                <a:gd name="connsiteX36" fmla="*/ 950185 w 2359561"/>
                <a:gd name="connsiteY36" fmla="*/ 757685 h 3085499"/>
                <a:gd name="connsiteX37" fmla="*/ 982485 w 2359561"/>
                <a:gd name="connsiteY37" fmla="*/ 790794 h 3085499"/>
                <a:gd name="connsiteX38" fmla="*/ 1229154 w 2359561"/>
                <a:gd name="connsiteY38" fmla="*/ 693287 h 3085499"/>
                <a:gd name="connsiteX39" fmla="*/ 1277988 w 2359561"/>
                <a:gd name="connsiteY39" fmla="*/ 692182 h 3085499"/>
                <a:gd name="connsiteX40" fmla="*/ 1256881 w 2359561"/>
                <a:gd name="connsiteY40" fmla="*/ 730301 h 3085499"/>
                <a:gd name="connsiteX41" fmla="*/ 1256471 w 2359561"/>
                <a:gd name="connsiteY41" fmla="*/ 780755 h 3085499"/>
                <a:gd name="connsiteX42" fmla="*/ 1285170 w 2359561"/>
                <a:gd name="connsiteY42" fmla="*/ 835581 h 3085499"/>
                <a:gd name="connsiteX43" fmla="*/ 1340520 w 2359561"/>
                <a:gd name="connsiteY43" fmla="*/ 852402 h 3085499"/>
                <a:gd name="connsiteX44" fmla="*/ 1387764 w 2359561"/>
                <a:gd name="connsiteY44" fmla="*/ 842972 h 3085499"/>
                <a:gd name="connsiteX45" fmla="*/ 1437113 w 2359561"/>
                <a:gd name="connsiteY45" fmla="*/ 740778 h 3085499"/>
                <a:gd name="connsiteX46" fmla="*/ 1473784 w 2359561"/>
                <a:gd name="connsiteY46" fmla="*/ 698421 h 3085499"/>
                <a:gd name="connsiteX47" fmla="*/ 1441590 w 2359561"/>
                <a:gd name="connsiteY47" fmla="*/ 651081 h 3085499"/>
                <a:gd name="connsiteX48" fmla="*/ 1420492 w 2359561"/>
                <a:gd name="connsiteY48" fmla="*/ 549659 h 3085499"/>
                <a:gd name="connsiteX49" fmla="*/ 1376686 w 2359561"/>
                <a:gd name="connsiteY49" fmla="*/ 519293 h 3085499"/>
                <a:gd name="connsiteX50" fmla="*/ 1331747 w 2359561"/>
                <a:gd name="connsiteY50" fmla="*/ 484222 h 3085499"/>
                <a:gd name="connsiteX51" fmla="*/ 1297638 w 2359561"/>
                <a:gd name="connsiteY51" fmla="*/ 393154 h 3085499"/>
                <a:gd name="connsiteX52" fmla="*/ 1235526 w 2359561"/>
                <a:gd name="connsiteY52" fmla="*/ 402079 h 3085499"/>
                <a:gd name="connsiteX53" fmla="*/ 1247194 w 2359561"/>
                <a:gd name="connsiteY53" fmla="*/ 441598 h 3085499"/>
                <a:gd name="connsiteX54" fmla="*/ 1219819 w 2359561"/>
                <a:gd name="connsiteY54" fmla="*/ 453466 h 3085499"/>
                <a:gd name="connsiteX55" fmla="*/ 1201312 w 2359561"/>
                <a:gd name="connsiteY55" fmla="*/ 504158 h 3085499"/>
                <a:gd name="connsiteX56" fmla="*/ 1182796 w 2359561"/>
                <a:gd name="connsiteY56" fmla="*/ 575196 h 3085499"/>
                <a:gd name="connsiteX57" fmla="*/ 1199712 w 2359561"/>
                <a:gd name="connsiteY57" fmla="*/ 644357 h 3085499"/>
                <a:gd name="connsiteX58" fmla="*/ 1229154 w 2359561"/>
                <a:gd name="connsiteY58" fmla="*/ 693287 h 3085499"/>
                <a:gd name="connsiteX59" fmla="*/ 621935 w 2359561"/>
                <a:gd name="connsiteY59" fmla="*/ 1201703 h 3085499"/>
                <a:gd name="connsiteX60" fmla="*/ 659273 w 2359561"/>
                <a:gd name="connsiteY60" fmla="*/ 1220305 h 3085499"/>
                <a:gd name="connsiteX61" fmla="*/ 779926 w 2359561"/>
                <a:gd name="connsiteY61" fmla="*/ 1207942 h 3085499"/>
                <a:gd name="connsiteX62" fmla="*/ 724453 w 2359561"/>
                <a:gd name="connsiteY62" fmla="*/ 1253385 h 3085499"/>
                <a:gd name="connsiteX63" fmla="*/ 727853 w 2359561"/>
                <a:gd name="connsiteY63" fmla="*/ 1286066 h 3085499"/>
                <a:gd name="connsiteX64" fmla="*/ 768467 w 2359561"/>
                <a:gd name="connsiteY64" fmla="*/ 1283818 h 3085499"/>
                <a:gd name="connsiteX65" fmla="*/ 835847 w 2359561"/>
                <a:gd name="connsiteY65" fmla="*/ 1240193 h 3085499"/>
                <a:gd name="connsiteX66" fmla="*/ 926287 w 2359561"/>
                <a:gd name="connsiteY66" fmla="*/ 1224258 h 3085499"/>
                <a:gd name="connsiteX67" fmla="*/ 942537 w 2359561"/>
                <a:gd name="connsiteY67" fmla="*/ 1174556 h 3085499"/>
                <a:gd name="connsiteX68" fmla="*/ 937841 w 2359561"/>
                <a:gd name="connsiteY68" fmla="*/ 1121512 h 3085499"/>
                <a:gd name="connsiteX69" fmla="*/ 909857 w 2359561"/>
                <a:gd name="connsiteY69" fmla="*/ 1116730 h 3085499"/>
                <a:gd name="connsiteX70" fmla="*/ 886073 w 2359561"/>
                <a:gd name="connsiteY70" fmla="*/ 1135104 h 3085499"/>
                <a:gd name="connsiteX71" fmla="*/ 875605 w 2359561"/>
                <a:gd name="connsiteY71" fmla="*/ 1095737 h 3085499"/>
                <a:gd name="connsiteX72" fmla="*/ 866604 w 2359561"/>
                <a:gd name="connsiteY72" fmla="*/ 1041454 h 3085499"/>
                <a:gd name="connsiteX73" fmla="*/ 839029 w 2359561"/>
                <a:gd name="connsiteY73" fmla="*/ 1027976 h 3085499"/>
                <a:gd name="connsiteX74" fmla="*/ 814559 w 2359561"/>
                <a:gd name="connsiteY74" fmla="*/ 1069991 h 3085499"/>
                <a:gd name="connsiteX75" fmla="*/ 852754 w 2359561"/>
                <a:gd name="connsiteY75" fmla="*/ 1175233 h 3085499"/>
                <a:gd name="connsiteX76" fmla="*/ 806101 w 2359561"/>
                <a:gd name="connsiteY76" fmla="*/ 1167127 h 3085499"/>
                <a:gd name="connsiteX77" fmla="*/ 758657 w 2359561"/>
                <a:gd name="connsiteY77" fmla="*/ 1102471 h 3085499"/>
                <a:gd name="connsiteX78" fmla="*/ 683495 w 2359561"/>
                <a:gd name="connsiteY78" fmla="*/ 1064390 h 3085499"/>
                <a:gd name="connsiteX79" fmla="*/ 658358 w 2359561"/>
                <a:gd name="connsiteY79" fmla="*/ 1096023 h 3085499"/>
                <a:gd name="connsiteX80" fmla="*/ 621935 w 2359561"/>
                <a:gd name="connsiteY80" fmla="*/ 1201703 h 3085499"/>
                <a:gd name="connsiteX81" fmla="*/ 836847 w 2359561"/>
                <a:gd name="connsiteY81" fmla="*/ 801024 h 3085499"/>
                <a:gd name="connsiteX82" fmla="*/ 802119 w 2359561"/>
                <a:gd name="connsiteY82" fmla="*/ 773430 h 3085499"/>
                <a:gd name="connsiteX83" fmla="*/ 787794 w 2359561"/>
                <a:gd name="connsiteY83" fmla="*/ 767153 h 3085499"/>
                <a:gd name="connsiteX84" fmla="*/ 760400 w 2359561"/>
                <a:gd name="connsiteY84" fmla="*/ 807958 h 3085499"/>
                <a:gd name="connsiteX85" fmla="*/ 759971 w 2359561"/>
                <a:gd name="connsiteY85" fmla="*/ 827027 h 3085499"/>
                <a:gd name="connsiteX86" fmla="*/ 804320 w 2359561"/>
                <a:gd name="connsiteY86" fmla="*/ 827161 h 3085499"/>
                <a:gd name="connsiteX87" fmla="*/ 836847 w 2359561"/>
                <a:gd name="connsiteY87" fmla="*/ 801024 h 3085499"/>
                <a:gd name="connsiteX88" fmla="*/ 822865 w 2359561"/>
                <a:gd name="connsiteY88" fmla="*/ 918734 h 3085499"/>
                <a:gd name="connsiteX89" fmla="*/ 831742 w 2359561"/>
                <a:gd name="connsiteY89" fmla="*/ 880777 h 3085499"/>
                <a:gd name="connsiteX90" fmla="*/ 794080 w 2359561"/>
                <a:gd name="connsiteY90" fmla="*/ 860536 h 3085499"/>
                <a:gd name="connsiteX91" fmla="*/ 755085 w 2359561"/>
                <a:gd name="connsiteY91" fmla="*/ 873728 h 3085499"/>
                <a:gd name="connsiteX92" fmla="*/ 733454 w 2359561"/>
                <a:gd name="connsiteY92" fmla="*/ 914314 h 3085499"/>
                <a:gd name="connsiteX93" fmla="*/ 773068 w 2359561"/>
                <a:gd name="connsiteY93" fmla="*/ 954386 h 3085499"/>
                <a:gd name="connsiteX94" fmla="*/ 822865 w 2359561"/>
                <a:gd name="connsiteY94" fmla="*/ 918734 h 3085499"/>
                <a:gd name="connsiteX95" fmla="*/ 1100033 w 2359561"/>
                <a:gd name="connsiteY95" fmla="*/ 1235335 h 3085499"/>
                <a:gd name="connsiteX96" fmla="*/ 1144067 w 2359561"/>
                <a:gd name="connsiteY96" fmla="*/ 1224801 h 3085499"/>
                <a:gd name="connsiteX97" fmla="*/ 1156230 w 2359561"/>
                <a:gd name="connsiteY97" fmla="*/ 1146201 h 3085499"/>
                <a:gd name="connsiteX98" fmla="*/ 1155402 w 2359561"/>
                <a:gd name="connsiteY98" fmla="*/ 1089574 h 3085499"/>
                <a:gd name="connsiteX99" fmla="*/ 1134980 w 2359561"/>
                <a:gd name="connsiteY99" fmla="*/ 1036615 h 3085499"/>
                <a:gd name="connsiteX100" fmla="*/ 1132923 w 2359561"/>
                <a:gd name="connsiteY100" fmla="*/ 1051817 h 3085499"/>
                <a:gd name="connsiteX101" fmla="*/ 1095366 w 2359561"/>
                <a:gd name="connsiteY101" fmla="*/ 1045159 h 3085499"/>
                <a:gd name="connsiteX102" fmla="*/ 1055141 w 2359561"/>
                <a:gd name="connsiteY102" fmla="*/ 1084088 h 3085499"/>
                <a:gd name="connsiteX103" fmla="*/ 1026404 w 2359561"/>
                <a:gd name="connsiteY103" fmla="*/ 1080564 h 3085499"/>
                <a:gd name="connsiteX104" fmla="*/ 1028100 w 2359561"/>
                <a:gd name="connsiteY104" fmla="*/ 1165565 h 3085499"/>
                <a:gd name="connsiteX105" fmla="*/ 1071877 w 2359561"/>
                <a:gd name="connsiteY105" fmla="*/ 1157297 h 3085499"/>
                <a:gd name="connsiteX106" fmla="*/ 1071324 w 2359561"/>
                <a:gd name="connsiteY106" fmla="*/ 1218876 h 3085499"/>
                <a:gd name="connsiteX107" fmla="*/ 1100033 w 2359561"/>
                <a:gd name="connsiteY107" fmla="*/ 1235335 h 3085499"/>
                <a:gd name="connsiteX108" fmla="*/ 1068734 w 2359561"/>
                <a:gd name="connsiteY108" fmla="*/ 1669704 h 3085499"/>
                <a:gd name="connsiteX109" fmla="*/ 1020537 w 2359561"/>
                <a:gd name="connsiteY109" fmla="*/ 1632299 h 3085499"/>
                <a:gd name="connsiteX110" fmla="*/ 975684 w 2359561"/>
                <a:gd name="connsiteY110" fmla="*/ 1592218 h 3085499"/>
                <a:gd name="connsiteX111" fmla="*/ 967407 w 2359561"/>
                <a:gd name="connsiteY111" fmla="*/ 1533354 h 3085499"/>
                <a:gd name="connsiteX112" fmla="*/ 950643 w 2359561"/>
                <a:gd name="connsiteY112" fmla="*/ 1448343 h 3085499"/>
                <a:gd name="connsiteX113" fmla="*/ 920725 w 2359561"/>
                <a:gd name="connsiteY113" fmla="*/ 1411776 h 3085499"/>
                <a:gd name="connsiteX114" fmla="*/ 894179 w 2359561"/>
                <a:gd name="connsiteY114" fmla="*/ 1397041 h 3085499"/>
                <a:gd name="connsiteX115" fmla="*/ 870680 w 2359561"/>
                <a:gd name="connsiteY115" fmla="*/ 1410538 h 3085499"/>
                <a:gd name="connsiteX116" fmla="*/ 889654 w 2359561"/>
                <a:gd name="connsiteY116" fmla="*/ 1501845 h 3085499"/>
                <a:gd name="connsiteX117" fmla="*/ 876233 w 2359561"/>
                <a:gd name="connsiteY117" fmla="*/ 1537383 h 3085499"/>
                <a:gd name="connsiteX118" fmla="*/ 854383 w 2359561"/>
                <a:gd name="connsiteY118" fmla="*/ 1451858 h 3085499"/>
                <a:gd name="connsiteX119" fmla="*/ 829980 w 2359561"/>
                <a:gd name="connsiteY119" fmla="*/ 1422283 h 3085499"/>
                <a:gd name="connsiteX120" fmla="*/ 799805 w 2359561"/>
                <a:gd name="connsiteY120" fmla="*/ 1468136 h 3085499"/>
                <a:gd name="connsiteX121" fmla="*/ 762667 w 2359561"/>
                <a:gd name="connsiteY121" fmla="*/ 1422797 h 3085499"/>
                <a:gd name="connsiteX122" fmla="*/ 703240 w 2359561"/>
                <a:gd name="connsiteY122" fmla="*/ 1450115 h 3085499"/>
                <a:gd name="connsiteX123" fmla="*/ 716566 w 2359561"/>
                <a:gd name="connsiteY123" fmla="*/ 1407605 h 3085499"/>
                <a:gd name="connsiteX124" fmla="*/ 689277 w 2359561"/>
                <a:gd name="connsiteY124" fmla="*/ 1389745 h 3085499"/>
                <a:gd name="connsiteX125" fmla="*/ 617772 w 2359561"/>
                <a:gd name="connsiteY125" fmla="*/ 1445352 h 3085499"/>
                <a:gd name="connsiteX126" fmla="*/ 599180 w 2359561"/>
                <a:gd name="connsiteY126" fmla="*/ 1480699 h 3085499"/>
                <a:gd name="connsiteX127" fmla="*/ 576758 w 2359561"/>
                <a:gd name="connsiteY127" fmla="*/ 1545193 h 3085499"/>
                <a:gd name="connsiteX128" fmla="*/ 623392 w 2359561"/>
                <a:gd name="connsiteY128" fmla="*/ 1567263 h 3085499"/>
                <a:gd name="connsiteX129" fmla="*/ 664588 w 2359561"/>
                <a:gd name="connsiteY129" fmla="*/ 1566101 h 3085499"/>
                <a:gd name="connsiteX130" fmla="*/ 602647 w 2359561"/>
                <a:gd name="connsiteY130" fmla="*/ 1599067 h 3085499"/>
                <a:gd name="connsiteX131" fmla="*/ 616734 w 2359561"/>
                <a:gd name="connsiteY131" fmla="*/ 1628870 h 3085499"/>
                <a:gd name="connsiteX132" fmla="*/ 654606 w 2359561"/>
                <a:gd name="connsiteY132" fmla="*/ 1630480 h 3085499"/>
                <a:gd name="connsiteX133" fmla="*/ 711670 w 2359561"/>
                <a:gd name="connsiteY133" fmla="*/ 1624108 h 3085499"/>
                <a:gd name="connsiteX134" fmla="*/ 763314 w 2359561"/>
                <a:gd name="connsiteY134" fmla="*/ 1642767 h 3085499"/>
                <a:gd name="connsiteX135" fmla="*/ 728453 w 2359561"/>
                <a:gd name="connsiteY135" fmla="*/ 1656531 h 3085499"/>
                <a:gd name="connsiteX136" fmla="*/ 690801 w 2359561"/>
                <a:gd name="connsiteY136" fmla="*/ 1652988 h 3085499"/>
                <a:gd name="connsiteX137" fmla="*/ 649576 w 2359561"/>
                <a:gd name="connsiteY137" fmla="*/ 1666408 h 3085499"/>
                <a:gd name="connsiteX138" fmla="*/ 631812 w 2359561"/>
                <a:gd name="connsiteY138" fmla="*/ 1674733 h 3085499"/>
                <a:gd name="connsiteX139" fmla="*/ 664721 w 2359561"/>
                <a:gd name="connsiteY139" fmla="*/ 1735255 h 3085499"/>
                <a:gd name="connsiteX140" fmla="*/ 688429 w 2359561"/>
                <a:gd name="connsiteY140" fmla="*/ 1726844 h 3085499"/>
                <a:gd name="connsiteX141" fmla="*/ 724891 w 2359561"/>
                <a:gd name="connsiteY141" fmla="*/ 1747276 h 3085499"/>
                <a:gd name="connsiteX142" fmla="*/ 739359 w 2359561"/>
                <a:gd name="connsiteY142" fmla="*/ 1782051 h 3085499"/>
                <a:gd name="connsiteX143" fmla="*/ 786870 w 2359561"/>
                <a:gd name="connsiteY143" fmla="*/ 1775146 h 3085499"/>
                <a:gd name="connsiteX144" fmla="*/ 854545 w 2359561"/>
                <a:gd name="connsiteY144" fmla="*/ 1764125 h 3085499"/>
                <a:gd name="connsiteX145" fmla="*/ 904685 w 2359561"/>
                <a:gd name="connsiteY145" fmla="*/ 1738922 h 3085499"/>
                <a:gd name="connsiteX146" fmla="*/ 935736 w 2359561"/>
                <a:gd name="connsiteY146" fmla="*/ 1734360 h 3085499"/>
                <a:gd name="connsiteX147" fmla="*/ 981675 w 2359561"/>
                <a:gd name="connsiteY147" fmla="*/ 1754505 h 3085499"/>
                <a:gd name="connsiteX148" fmla="*/ 1030005 w 2359561"/>
                <a:gd name="connsiteY148" fmla="*/ 1766116 h 3085499"/>
                <a:gd name="connsiteX149" fmla="*/ 1039006 w 2359561"/>
                <a:gd name="connsiteY149" fmla="*/ 1738884 h 3085499"/>
                <a:gd name="connsiteX150" fmla="*/ 1021966 w 2359561"/>
                <a:gd name="connsiteY150" fmla="*/ 1709842 h 3085499"/>
                <a:gd name="connsiteX151" fmla="*/ 1065819 w 2359561"/>
                <a:gd name="connsiteY151" fmla="*/ 1703699 h 3085499"/>
                <a:gd name="connsiteX152" fmla="*/ 1068734 w 2359561"/>
                <a:gd name="connsiteY152" fmla="*/ 1669704 h 3085499"/>
                <a:gd name="connsiteX153" fmla="*/ 1142505 w 2359561"/>
                <a:gd name="connsiteY153" fmla="*/ 1660360 h 3085499"/>
                <a:gd name="connsiteX154" fmla="*/ 1123836 w 2359561"/>
                <a:gd name="connsiteY154" fmla="*/ 1694069 h 3085499"/>
                <a:gd name="connsiteX155" fmla="*/ 1100328 w 2359561"/>
                <a:gd name="connsiteY155" fmla="*/ 1717748 h 3085499"/>
                <a:gd name="connsiteX156" fmla="*/ 1136799 w 2359561"/>
                <a:gd name="connsiteY156" fmla="*/ 1751476 h 3085499"/>
                <a:gd name="connsiteX157" fmla="*/ 1158554 w 2359561"/>
                <a:gd name="connsiteY157" fmla="*/ 1743342 h 3085499"/>
                <a:gd name="connsiteX158" fmla="*/ 1194549 w 2359561"/>
                <a:gd name="connsiteY158" fmla="*/ 1765802 h 3085499"/>
                <a:gd name="connsiteX159" fmla="*/ 1211151 w 2359561"/>
                <a:gd name="connsiteY159" fmla="*/ 1739779 h 3085499"/>
                <a:gd name="connsiteX160" fmla="*/ 1194873 w 2359561"/>
                <a:gd name="connsiteY160" fmla="*/ 1710919 h 3085499"/>
                <a:gd name="connsiteX161" fmla="*/ 1186863 w 2359561"/>
                <a:gd name="connsiteY161" fmla="*/ 1696384 h 3085499"/>
                <a:gd name="connsiteX162" fmla="*/ 1170842 w 2359561"/>
                <a:gd name="connsiteY162" fmla="*/ 1682496 h 3085499"/>
                <a:gd name="connsiteX163" fmla="*/ 1142505 w 2359561"/>
                <a:gd name="connsiteY163" fmla="*/ 1660360 h 3085499"/>
                <a:gd name="connsiteX164" fmla="*/ 974741 w 2359561"/>
                <a:gd name="connsiteY164" fmla="*/ 1379915 h 3085499"/>
                <a:gd name="connsiteX165" fmla="*/ 954443 w 2359561"/>
                <a:gd name="connsiteY165" fmla="*/ 1359199 h 3085499"/>
                <a:gd name="connsiteX166" fmla="*/ 918658 w 2359561"/>
                <a:gd name="connsiteY166" fmla="*/ 1362980 h 3085499"/>
                <a:gd name="connsiteX167" fmla="*/ 909580 w 2359561"/>
                <a:gd name="connsiteY167" fmla="*/ 1376163 h 3085499"/>
                <a:gd name="connsiteX168" fmla="*/ 951243 w 2359561"/>
                <a:gd name="connsiteY168" fmla="*/ 1440475 h 3085499"/>
                <a:gd name="connsiteX169" fmla="*/ 974741 w 2359561"/>
                <a:gd name="connsiteY169" fmla="*/ 1379915 h 3085499"/>
                <a:gd name="connsiteX170" fmla="*/ 1247985 w 2359561"/>
                <a:gd name="connsiteY170" fmla="*/ 1505379 h 3085499"/>
                <a:gd name="connsiteX171" fmla="*/ 1276636 w 2359561"/>
                <a:gd name="connsiteY171" fmla="*/ 1439399 h 3085499"/>
                <a:gd name="connsiteX172" fmla="*/ 1308478 w 2359561"/>
                <a:gd name="connsiteY172" fmla="*/ 1421797 h 3085499"/>
                <a:gd name="connsiteX173" fmla="*/ 1348378 w 2359561"/>
                <a:gd name="connsiteY173" fmla="*/ 1338520 h 3085499"/>
                <a:gd name="connsiteX174" fmla="*/ 1297362 w 2359561"/>
                <a:gd name="connsiteY174" fmla="*/ 1314993 h 3085499"/>
                <a:gd name="connsiteX175" fmla="*/ 1241717 w 2359561"/>
                <a:gd name="connsiteY175" fmla="*/ 1311593 h 3085499"/>
                <a:gd name="connsiteX176" fmla="*/ 1215219 w 2359561"/>
                <a:gd name="connsiteY176" fmla="*/ 1337977 h 3085499"/>
                <a:gd name="connsiteX177" fmla="*/ 1201264 w 2359561"/>
                <a:gd name="connsiteY177" fmla="*/ 1378277 h 3085499"/>
                <a:gd name="connsiteX178" fmla="*/ 1200855 w 2359561"/>
                <a:gd name="connsiteY178" fmla="*/ 1424159 h 3085499"/>
                <a:gd name="connsiteX179" fmla="*/ 1217524 w 2359561"/>
                <a:gd name="connsiteY179" fmla="*/ 1502150 h 3085499"/>
                <a:gd name="connsiteX180" fmla="*/ 1247985 w 2359561"/>
                <a:gd name="connsiteY180" fmla="*/ 1505379 h 3085499"/>
                <a:gd name="connsiteX181" fmla="*/ 1411386 w 2359561"/>
                <a:gd name="connsiteY181" fmla="*/ 1286256 h 3085499"/>
                <a:gd name="connsiteX182" fmla="*/ 1466212 w 2359561"/>
                <a:gd name="connsiteY182" fmla="*/ 1284494 h 3085499"/>
                <a:gd name="connsiteX183" fmla="*/ 1542822 w 2359561"/>
                <a:gd name="connsiteY183" fmla="*/ 1269121 h 3085499"/>
                <a:gd name="connsiteX184" fmla="*/ 1577007 w 2359561"/>
                <a:gd name="connsiteY184" fmla="*/ 1281265 h 3085499"/>
                <a:gd name="connsiteX185" fmla="*/ 1616831 w 2359561"/>
                <a:gd name="connsiteY185" fmla="*/ 1259739 h 3085499"/>
                <a:gd name="connsiteX186" fmla="*/ 1633490 w 2359561"/>
                <a:gd name="connsiteY186" fmla="*/ 1232687 h 3085499"/>
                <a:gd name="connsiteX187" fmla="*/ 1627527 w 2359561"/>
                <a:gd name="connsiteY187" fmla="*/ 1189644 h 3085499"/>
                <a:gd name="connsiteX188" fmla="*/ 1598924 w 2359561"/>
                <a:gd name="connsiteY188" fmla="*/ 1149363 h 3085499"/>
                <a:gd name="connsiteX189" fmla="*/ 1555528 w 2359561"/>
                <a:gd name="connsiteY189" fmla="*/ 1141733 h 3085499"/>
                <a:gd name="connsiteX190" fmla="*/ 1501150 w 2359561"/>
                <a:gd name="connsiteY190" fmla="*/ 1150963 h 3085499"/>
                <a:gd name="connsiteX191" fmla="*/ 1458697 w 2359561"/>
                <a:gd name="connsiteY191" fmla="*/ 1174214 h 3085499"/>
                <a:gd name="connsiteX192" fmla="*/ 1419730 w 2359561"/>
                <a:gd name="connsiteY192" fmla="*/ 1165270 h 3085499"/>
                <a:gd name="connsiteX193" fmla="*/ 1383706 w 2359561"/>
                <a:gd name="connsiteY193" fmla="*/ 1160555 h 3085499"/>
                <a:gd name="connsiteX194" fmla="*/ 1366742 w 2359561"/>
                <a:gd name="connsiteY194" fmla="*/ 1134818 h 3085499"/>
                <a:gd name="connsiteX195" fmla="*/ 1336100 w 2359561"/>
                <a:gd name="connsiteY195" fmla="*/ 1109920 h 3085499"/>
                <a:gd name="connsiteX196" fmla="*/ 1342187 w 2359561"/>
                <a:gd name="connsiteY196" fmla="*/ 1067695 h 3085499"/>
                <a:gd name="connsiteX197" fmla="*/ 1319136 w 2359561"/>
                <a:gd name="connsiteY197" fmla="*/ 1029767 h 3085499"/>
                <a:gd name="connsiteX198" fmla="*/ 1266558 w 2359561"/>
                <a:gd name="connsiteY198" fmla="*/ 1030024 h 3085499"/>
                <a:gd name="connsiteX199" fmla="*/ 1236907 w 2359561"/>
                <a:gd name="connsiteY199" fmla="*/ 992038 h 3085499"/>
                <a:gd name="connsiteX200" fmla="*/ 1181862 w 2359561"/>
                <a:gd name="connsiteY200" fmla="*/ 984428 h 3085499"/>
                <a:gd name="connsiteX201" fmla="*/ 1171813 w 2359561"/>
                <a:gd name="connsiteY201" fmla="*/ 1032967 h 3085499"/>
                <a:gd name="connsiteX202" fmla="*/ 1202769 w 2359561"/>
                <a:gd name="connsiteY202" fmla="*/ 1068638 h 3085499"/>
                <a:gd name="connsiteX203" fmla="*/ 1258014 w 2359561"/>
                <a:gd name="connsiteY203" fmla="*/ 1082488 h 3085499"/>
                <a:gd name="connsiteX204" fmla="*/ 1284827 w 2359561"/>
                <a:gd name="connsiteY204" fmla="*/ 1131018 h 3085499"/>
                <a:gd name="connsiteX205" fmla="*/ 1288075 w 2359561"/>
                <a:gd name="connsiteY205" fmla="*/ 1184377 h 3085499"/>
                <a:gd name="connsiteX206" fmla="*/ 1297315 w 2359561"/>
                <a:gd name="connsiteY206" fmla="*/ 1241431 h 3085499"/>
                <a:gd name="connsiteX207" fmla="*/ 1368295 w 2359561"/>
                <a:gd name="connsiteY207" fmla="*/ 1273978 h 3085499"/>
                <a:gd name="connsiteX208" fmla="*/ 1411386 w 2359561"/>
                <a:gd name="connsiteY208" fmla="*/ 1286256 h 3085499"/>
                <a:gd name="connsiteX209" fmla="*/ 563480 w 2359561"/>
                <a:gd name="connsiteY209" fmla="*/ 1112244 h 3085499"/>
                <a:gd name="connsiteX210" fmla="*/ 613124 w 2359561"/>
                <a:gd name="connsiteY210" fmla="*/ 1064114 h 3085499"/>
                <a:gd name="connsiteX211" fmla="*/ 638080 w 2359561"/>
                <a:gd name="connsiteY211" fmla="*/ 1058523 h 3085499"/>
                <a:gd name="connsiteX212" fmla="*/ 658654 w 2359561"/>
                <a:gd name="connsiteY212" fmla="*/ 1018251 h 3085499"/>
                <a:gd name="connsiteX213" fmla="*/ 662321 w 2359561"/>
                <a:gd name="connsiteY213" fmla="*/ 925201 h 3085499"/>
                <a:gd name="connsiteX214" fmla="*/ 625688 w 2359561"/>
                <a:gd name="connsiteY214" fmla="*/ 943432 h 3085499"/>
                <a:gd name="connsiteX215" fmla="*/ 584730 w 2359561"/>
                <a:gd name="connsiteY215" fmla="*/ 941718 h 3085499"/>
                <a:gd name="connsiteX216" fmla="*/ 529885 w 2359561"/>
                <a:gd name="connsiteY216" fmla="*/ 1019718 h 3085499"/>
                <a:gd name="connsiteX217" fmla="*/ 484556 w 2359561"/>
                <a:gd name="connsiteY217" fmla="*/ 1105224 h 3085499"/>
                <a:gd name="connsiteX218" fmla="*/ 520741 w 2359561"/>
                <a:gd name="connsiteY218" fmla="*/ 1129132 h 3085499"/>
                <a:gd name="connsiteX219" fmla="*/ 563480 w 2359561"/>
                <a:gd name="connsiteY219" fmla="*/ 1112244 h 3085499"/>
                <a:gd name="connsiteX220" fmla="*/ 1250976 w 2359561"/>
                <a:gd name="connsiteY220" fmla="*/ 1266292 h 3085499"/>
                <a:gd name="connsiteX221" fmla="*/ 1265501 w 2359561"/>
                <a:gd name="connsiteY221" fmla="*/ 1226858 h 3085499"/>
                <a:gd name="connsiteX222" fmla="*/ 1255757 w 2359561"/>
                <a:gd name="connsiteY222" fmla="*/ 1193921 h 3085499"/>
                <a:gd name="connsiteX223" fmla="*/ 1232440 w 2359561"/>
                <a:gd name="connsiteY223" fmla="*/ 1156602 h 3085499"/>
                <a:gd name="connsiteX224" fmla="*/ 1194045 w 2359561"/>
                <a:gd name="connsiteY224" fmla="*/ 1185348 h 3085499"/>
                <a:gd name="connsiteX225" fmla="*/ 1179824 w 2359561"/>
                <a:gd name="connsiteY225" fmla="*/ 1232249 h 3085499"/>
                <a:gd name="connsiteX226" fmla="*/ 1212199 w 2359561"/>
                <a:gd name="connsiteY226" fmla="*/ 1258796 h 3085499"/>
                <a:gd name="connsiteX227" fmla="*/ 1250976 w 2359561"/>
                <a:gd name="connsiteY227" fmla="*/ 1266292 h 3085499"/>
                <a:gd name="connsiteX228" fmla="*/ 1171842 w 2359561"/>
                <a:gd name="connsiteY228" fmla="*/ 1375229 h 3085499"/>
                <a:gd name="connsiteX229" fmla="*/ 1164898 w 2359561"/>
                <a:gd name="connsiteY229" fmla="*/ 1347787 h 3085499"/>
                <a:gd name="connsiteX230" fmla="*/ 1117254 w 2359561"/>
                <a:gd name="connsiteY230" fmla="*/ 1359827 h 3085499"/>
                <a:gd name="connsiteX231" fmla="*/ 1085402 w 2359561"/>
                <a:gd name="connsiteY231" fmla="*/ 1339758 h 3085499"/>
                <a:gd name="connsiteX232" fmla="*/ 1053798 w 2359561"/>
                <a:gd name="connsiteY232" fmla="*/ 1385516 h 3085499"/>
                <a:gd name="connsiteX233" fmla="*/ 1083221 w 2359561"/>
                <a:gd name="connsiteY233" fmla="*/ 1445352 h 3085499"/>
                <a:gd name="connsiteX234" fmla="*/ 1028691 w 2359561"/>
                <a:gd name="connsiteY234" fmla="*/ 1434170 h 3085499"/>
                <a:gd name="connsiteX235" fmla="*/ 1028157 w 2359561"/>
                <a:gd name="connsiteY235" fmla="*/ 1462850 h 3085499"/>
                <a:gd name="connsiteX236" fmla="*/ 1094527 w 2359561"/>
                <a:gd name="connsiteY236" fmla="*/ 1529963 h 3085499"/>
                <a:gd name="connsiteX237" fmla="*/ 1113006 w 2359561"/>
                <a:gd name="connsiteY237" fmla="*/ 1562157 h 3085499"/>
                <a:gd name="connsiteX238" fmla="*/ 1138733 w 2359561"/>
                <a:gd name="connsiteY238" fmla="*/ 1569120 h 3085499"/>
                <a:gd name="connsiteX239" fmla="*/ 1182529 w 2359561"/>
                <a:gd name="connsiteY239" fmla="*/ 1536611 h 3085499"/>
                <a:gd name="connsiteX240" fmla="*/ 1187329 w 2359561"/>
                <a:gd name="connsiteY240" fmla="*/ 1458401 h 3085499"/>
                <a:gd name="connsiteX241" fmla="*/ 1146905 w 2359561"/>
                <a:gd name="connsiteY241" fmla="*/ 1419596 h 3085499"/>
                <a:gd name="connsiteX242" fmla="*/ 1171842 w 2359561"/>
                <a:gd name="connsiteY242" fmla="*/ 1375229 h 3085499"/>
                <a:gd name="connsiteX243" fmla="*/ 467049 w 2359561"/>
                <a:gd name="connsiteY243" fmla="*/ 2839584 h 3085499"/>
                <a:gd name="connsiteX244" fmla="*/ 456028 w 2359561"/>
                <a:gd name="connsiteY244" fmla="*/ 2817257 h 3085499"/>
                <a:gd name="connsiteX245" fmla="*/ 429368 w 2359561"/>
                <a:gd name="connsiteY245" fmla="*/ 2800407 h 3085499"/>
                <a:gd name="connsiteX246" fmla="*/ 416166 w 2359561"/>
                <a:gd name="connsiteY246" fmla="*/ 2780853 h 3085499"/>
                <a:gd name="connsiteX247" fmla="*/ 407079 w 2359561"/>
                <a:gd name="connsiteY247" fmla="*/ 2766517 h 3085499"/>
                <a:gd name="connsiteX248" fmla="*/ 381981 w 2359561"/>
                <a:gd name="connsiteY248" fmla="*/ 2762098 h 3085499"/>
                <a:gd name="connsiteX249" fmla="*/ 365589 w 2359561"/>
                <a:gd name="connsiteY249" fmla="*/ 2755744 h 3085499"/>
                <a:gd name="connsiteX250" fmla="*/ 337556 w 2359561"/>
                <a:gd name="connsiteY250" fmla="*/ 2746581 h 3085499"/>
                <a:gd name="connsiteX251" fmla="*/ 335251 w 2359561"/>
                <a:gd name="connsiteY251" fmla="*/ 2756306 h 3085499"/>
                <a:gd name="connsiteX252" fmla="*/ 345538 w 2359561"/>
                <a:gd name="connsiteY252" fmla="*/ 2778976 h 3085499"/>
                <a:gd name="connsiteX253" fmla="*/ 373028 w 2359561"/>
                <a:gd name="connsiteY253" fmla="*/ 2786415 h 3085499"/>
                <a:gd name="connsiteX254" fmla="*/ 377838 w 2359561"/>
                <a:gd name="connsiteY254" fmla="*/ 2798140 h 3085499"/>
                <a:gd name="connsiteX255" fmla="*/ 401736 w 2359561"/>
                <a:gd name="connsiteY255" fmla="*/ 2812447 h 3085499"/>
                <a:gd name="connsiteX256" fmla="*/ 409746 w 2359561"/>
                <a:gd name="connsiteY256" fmla="*/ 2826858 h 3085499"/>
                <a:gd name="connsiteX257" fmla="*/ 453600 w 2359561"/>
                <a:gd name="connsiteY257" fmla="*/ 2845146 h 3085499"/>
                <a:gd name="connsiteX258" fmla="*/ 467049 w 2359561"/>
                <a:gd name="connsiteY258" fmla="*/ 2839584 h 3085499"/>
                <a:gd name="connsiteX259" fmla="*/ 1626299 w 2359561"/>
                <a:gd name="connsiteY259" fmla="*/ 2100167 h 3085499"/>
                <a:gd name="connsiteX260" fmla="*/ 1607230 w 2359561"/>
                <a:gd name="connsiteY260" fmla="*/ 2080079 h 3085499"/>
                <a:gd name="connsiteX261" fmla="*/ 1587579 w 2359561"/>
                <a:gd name="connsiteY261" fmla="*/ 2084823 h 3085499"/>
                <a:gd name="connsiteX262" fmla="*/ 1585208 w 2359561"/>
                <a:gd name="connsiteY262" fmla="*/ 2055657 h 3085499"/>
                <a:gd name="connsiteX263" fmla="*/ 1554613 w 2359561"/>
                <a:gd name="connsiteY263" fmla="*/ 2036274 h 3085499"/>
                <a:gd name="connsiteX264" fmla="*/ 1525372 w 2359561"/>
                <a:gd name="connsiteY264" fmla="*/ 2014680 h 3085499"/>
                <a:gd name="connsiteX265" fmla="*/ 1509846 w 2359561"/>
                <a:gd name="connsiteY265" fmla="*/ 1997983 h 3085499"/>
                <a:gd name="connsiteX266" fmla="*/ 1496178 w 2359561"/>
                <a:gd name="connsiteY266" fmla="*/ 2007832 h 3085499"/>
                <a:gd name="connsiteX267" fmla="*/ 1491215 w 2359561"/>
                <a:gd name="connsiteY267" fmla="*/ 1979609 h 3085499"/>
                <a:gd name="connsiteX268" fmla="*/ 1471917 w 2359561"/>
                <a:gd name="connsiteY268" fmla="*/ 1974323 h 3085499"/>
                <a:gd name="connsiteX269" fmla="*/ 1462811 w 2359561"/>
                <a:gd name="connsiteY269" fmla="*/ 2032749 h 3085499"/>
                <a:gd name="connsiteX270" fmla="*/ 1459401 w 2359561"/>
                <a:gd name="connsiteY270" fmla="*/ 2081394 h 3085499"/>
                <a:gd name="connsiteX271" fmla="*/ 1436180 w 2359561"/>
                <a:gd name="connsiteY271" fmla="*/ 2111264 h 3085499"/>
                <a:gd name="connsiteX272" fmla="*/ 1472375 w 2359561"/>
                <a:gd name="connsiteY272" fmla="*/ 2105511 h 3085499"/>
                <a:gd name="connsiteX273" fmla="*/ 1481547 w 2359561"/>
                <a:gd name="connsiteY273" fmla="*/ 2140277 h 3085499"/>
                <a:gd name="connsiteX274" fmla="*/ 1519552 w 2359561"/>
                <a:gd name="connsiteY274" fmla="*/ 2109559 h 3085499"/>
                <a:gd name="connsiteX275" fmla="*/ 1546031 w 2359561"/>
                <a:gd name="connsiteY275" fmla="*/ 2077374 h 3085499"/>
                <a:gd name="connsiteX276" fmla="*/ 1561033 w 2359561"/>
                <a:gd name="connsiteY276" fmla="*/ 2104644 h 3085499"/>
                <a:gd name="connsiteX277" fmla="*/ 1602591 w 2359561"/>
                <a:gd name="connsiteY277" fmla="*/ 2119036 h 3085499"/>
                <a:gd name="connsiteX278" fmla="*/ 1626299 w 2359561"/>
                <a:gd name="connsiteY278" fmla="*/ 2100167 h 3085499"/>
                <a:gd name="connsiteX279" fmla="*/ 478212 w 2359561"/>
                <a:gd name="connsiteY279" fmla="*/ 1599686 h 3085499"/>
                <a:gd name="connsiteX280" fmla="*/ 548507 w 2359561"/>
                <a:gd name="connsiteY280" fmla="*/ 1559881 h 3085499"/>
                <a:gd name="connsiteX281" fmla="*/ 548507 w 2359561"/>
                <a:gd name="connsiteY281" fmla="*/ 1522981 h 3085499"/>
                <a:gd name="connsiteX282" fmla="*/ 581625 w 2359561"/>
                <a:gd name="connsiteY282" fmla="*/ 1461954 h 3085499"/>
                <a:gd name="connsiteX283" fmla="*/ 647109 w 2359561"/>
                <a:gd name="connsiteY283" fmla="*/ 1398242 h 3085499"/>
                <a:gd name="connsiteX284" fmla="*/ 680685 w 2359561"/>
                <a:gd name="connsiteY284" fmla="*/ 1374743 h 3085499"/>
                <a:gd name="connsiteX285" fmla="*/ 652015 w 2359561"/>
                <a:gd name="connsiteY285" fmla="*/ 1334748 h 3085499"/>
                <a:gd name="connsiteX286" fmla="*/ 626078 w 2359561"/>
                <a:gd name="connsiteY286" fmla="*/ 1306621 h 3085499"/>
                <a:gd name="connsiteX287" fmla="*/ 557860 w 2359561"/>
                <a:gd name="connsiteY287" fmla="*/ 1301172 h 3085499"/>
                <a:gd name="connsiteX288" fmla="*/ 519722 w 2359561"/>
                <a:gd name="connsiteY288" fmla="*/ 1280636 h 3085499"/>
                <a:gd name="connsiteX289" fmla="*/ 429454 w 2359561"/>
                <a:gd name="connsiteY289" fmla="*/ 1296114 h 3085499"/>
                <a:gd name="connsiteX290" fmla="*/ 455571 w 2359561"/>
                <a:gd name="connsiteY290" fmla="*/ 1355408 h 3085499"/>
                <a:gd name="connsiteX291" fmla="*/ 432406 w 2359561"/>
                <a:gd name="connsiteY291" fmla="*/ 1416663 h 3085499"/>
                <a:gd name="connsiteX292" fmla="*/ 413909 w 2359561"/>
                <a:gd name="connsiteY292" fmla="*/ 1482061 h 3085499"/>
                <a:gd name="connsiteX293" fmla="*/ 402450 w 2359561"/>
                <a:gd name="connsiteY293" fmla="*/ 1518809 h 3085499"/>
                <a:gd name="connsiteX294" fmla="*/ 464115 w 2359561"/>
                <a:gd name="connsiteY294" fmla="*/ 1563519 h 3085499"/>
                <a:gd name="connsiteX295" fmla="*/ 478212 w 2359561"/>
                <a:gd name="connsiteY295" fmla="*/ 1599686 h 3085499"/>
                <a:gd name="connsiteX296" fmla="*/ 1756820 w 2359561"/>
                <a:gd name="connsiteY296" fmla="*/ 1859747 h 3085499"/>
                <a:gd name="connsiteX297" fmla="*/ 1759830 w 2359561"/>
                <a:gd name="connsiteY297" fmla="*/ 1850136 h 3085499"/>
                <a:gd name="connsiteX298" fmla="*/ 1759534 w 2359561"/>
                <a:gd name="connsiteY298" fmla="*/ 1819894 h 3085499"/>
                <a:gd name="connsiteX299" fmla="*/ 1738684 w 2359561"/>
                <a:gd name="connsiteY299" fmla="*/ 1800044 h 3085499"/>
                <a:gd name="connsiteX300" fmla="*/ 1714205 w 2359561"/>
                <a:gd name="connsiteY300" fmla="*/ 1810017 h 3085499"/>
                <a:gd name="connsiteX301" fmla="*/ 1702860 w 2359561"/>
                <a:gd name="connsiteY301" fmla="*/ 1849707 h 3085499"/>
                <a:gd name="connsiteX302" fmla="*/ 1709528 w 2359561"/>
                <a:gd name="connsiteY302" fmla="*/ 1883607 h 3085499"/>
                <a:gd name="connsiteX303" fmla="*/ 1739465 w 2359561"/>
                <a:gd name="connsiteY303" fmla="*/ 1880168 h 3085499"/>
                <a:gd name="connsiteX304" fmla="*/ 1756820 w 2359561"/>
                <a:gd name="connsiteY304" fmla="*/ 1859747 h 3085499"/>
                <a:gd name="connsiteX305" fmla="*/ 1983696 w 2359561"/>
                <a:gd name="connsiteY305" fmla="*/ 1931623 h 3085499"/>
                <a:gd name="connsiteX306" fmla="*/ 2025682 w 2359561"/>
                <a:gd name="connsiteY306" fmla="*/ 1994497 h 3085499"/>
                <a:gd name="connsiteX307" fmla="*/ 2058543 w 2359561"/>
                <a:gd name="connsiteY307" fmla="*/ 2021691 h 3085499"/>
                <a:gd name="connsiteX308" fmla="*/ 2105416 w 2359561"/>
                <a:gd name="connsiteY308" fmla="*/ 1946729 h 3085499"/>
                <a:gd name="connsiteX309" fmla="*/ 2113731 w 2359561"/>
                <a:gd name="connsiteY309" fmla="*/ 1899742 h 3085499"/>
                <a:gd name="connsiteX310" fmla="*/ 2071726 w 2359561"/>
                <a:gd name="connsiteY310" fmla="*/ 1895227 h 3085499"/>
                <a:gd name="connsiteX311" fmla="*/ 2033340 w 2359561"/>
                <a:gd name="connsiteY311" fmla="*/ 1831448 h 3085499"/>
                <a:gd name="connsiteX312" fmla="*/ 1990944 w 2359561"/>
                <a:gd name="connsiteY312" fmla="*/ 1815827 h 3085499"/>
                <a:gd name="connsiteX313" fmla="*/ 1928041 w 2359561"/>
                <a:gd name="connsiteY313" fmla="*/ 1768507 h 3085499"/>
                <a:gd name="connsiteX314" fmla="*/ 1977076 w 2359561"/>
                <a:gd name="connsiteY314" fmla="*/ 1733893 h 3085499"/>
                <a:gd name="connsiteX315" fmla="*/ 1951815 w 2359561"/>
                <a:gd name="connsiteY315" fmla="*/ 1662055 h 3085499"/>
                <a:gd name="connsiteX316" fmla="*/ 1928555 w 2359561"/>
                <a:gd name="connsiteY316" fmla="*/ 1630108 h 3085499"/>
                <a:gd name="connsiteX317" fmla="*/ 1864081 w 2359561"/>
                <a:gd name="connsiteY317" fmla="*/ 1598181 h 3085499"/>
                <a:gd name="connsiteX318" fmla="*/ 1836249 w 2359561"/>
                <a:gd name="connsiteY318" fmla="*/ 1545327 h 3085499"/>
                <a:gd name="connsiteX319" fmla="*/ 1786652 w 2359561"/>
                <a:gd name="connsiteY319" fmla="*/ 1564291 h 3085499"/>
                <a:gd name="connsiteX320" fmla="*/ 1783194 w 2359561"/>
                <a:gd name="connsiteY320" fmla="*/ 1527496 h 3085499"/>
                <a:gd name="connsiteX321" fmla="*/ 1746409 w 2359561"/>
                <a:gd name="connsiteY321" fmla="*/ 1486329 h 3085499"/>
                <a:gd name="connsiteX322" fmla="*/ 1687154 w 2359561"/>
                <a:gd name="connsiteY322" fmla="*/ 1441428 h 3085499"/>
                <a:gd name="connsiteX323" fmla="*/ 1661893 w 2359561"/>
                <a:gd name="connsiteY323" fmla="*/ 1476804 h 3085499"/>
                <a:gd name="connsiteX324" fmla="*/ 1609058 w 2359561"/>
                <a:gd name="connsiteY324" fmla="*/ 1502159 h 3085499"/>
                <a:gd name="connsiteX325" fmla="*/ 1613030 w 2359561"/>
                <a:gd name="connsiteY325" fmla="*/ 1444400 h 3085499"/>
                <a:gd name="connsiteX326" fmla="*/ 1567215 w 2359561"/>
                <a:gd name="connsiteY326" fmla="*/ 1348654 h 3085499"/>
                <a:gd name="connsiteX327" fmla="*/ 1499530 w 2359561"/>
                <a:gd name="connsiteY327" fmla="*/ 1387354 h 3085499"/>
                <a:gd name="connsiteX328" fmla="*/ 1474851 w 2359561"/>
                <a:gd name="connsiteY328" fmla="*/ 1460706 h 3085499"/>
                <a:gd name="connsiteX329" fmla="*/ 1453810 w 2359561"/>
                <a:gd name="connsiteY329" fmla="*/ 1404290 h 3085499"/>
                <a:gd name="connsiteX330" fmla="*/ 1473460 w 2359561"/>
                <a:gd name="connsiteY330" fmla="*/ 1343606 h 3085499"/>
                <a:gd name="connsiteX331" fmla="*/ 1404499 w 2359561"/>
                <a:gd name="connsiteY331" fmla="*/ 1368857 h 3085499"/>
                <a:gd name="connsiteX332" fmla="*/ 1377039 w 2359561"/>
                <a:gd name="connsiteY332" fmla="*/ 1406871 h 3085499"/>
                <a:gd name="connsiteX333" fmla="*/ 1356512 w 2359561"/>
                <a:gd name="connsiteY333" fmla="*/ 1487081 h 3085499"/>
                <a:gd name="connsiteX334" fmla="*/ 1364980 w 2359561"/>
                <a:gd name="connsiteY334" fmla="*/ 1573292 h 3085499"/>
                <a:gd name="connsiteX335" fmla="*/ 1402918 w 2359561"/>
                <a:gd name="connsiteY335" fmla="*/ 1573654 h 3085499"/>
                <a:gd name="connsiteX336" fmla="*/ 1374991 w 2359561"/>
                <a:gd name="connsiteY336" fmla="*/ 1611030 h 3085499"/>
                <a:gd name="connsiteX337" fmla="*/ 1397203 w 2359561"/>
                <a:gd name="connsiteY337" fmla="*/ 1639234 h 3085499"/>
                <a:gd name="connsiteX338" fmla="*/ 1440513 w 2359561"/>
                <a:gd name="connsiteY338" fmla="*/ 1651187 h 3085499"/>
                <a:gd name="connsiteX339" fmla="*/ 1497006 w 2359561"/>
                <a:gd name="connsiteY339" fmla="*/ 1674209 h 3085499"/>
                <a:gd name="connsiteX340" fmla="*/ 1594199 w 2359561"/>
                <a:gd name="connsiteY340" fmla="*/ 1691526 h 3085499"/>
                <a:gd name="connsiteX341" fmla="*/ 1642615 w 2359561"/>
                <a:gd name="connsiteY341" fmla="*/ 1681582 h 3085499"/>
                <a:gd name="connsiteX342" fmla="*/ 1656912 w 2359561"/>
                <a:gd name="connsiteY342" fmla="*/ 1658531 h 3085499"/>
                <a:gd name="connsiteX343" fmla="*/ 1677972 w 2359561"/>
                <a:gd name="connsiteY343" fmla="*/ 1685087 h 3085499"/>
                <a:gd name="connsiteX344" fmla="*/ 1701508 w 2359561"/>
                <a:gd name="connsiteY344" fmla="*/ 1689487 h 3085499"/>
                <a:gd name="connsiteX345" fmla="*/ 1729778 w 2359561"/>
                <a:gd name="connsiteY345" fmla="*/ 1736779 h 3085499"/>
                <a:gd name="connsiteX346" fmla="*/ 1712671 w 2359561"/>
                <a:gd name="connsiteY346" fmla="*/ 1755638 h 3085499"/>
                <a:gd name="connsiteX347" fmla="*/ 1766773 w 2359561"/>
                <a:gd name="connsiteY347" fmla="*/ 1780651 h 3085499"/>
                <a:gd name="connsiteX348" fmla="*/ 1807683 w 2359561"/>
                <a:gd name="connsiteY348" fmla="*/ 1815684 h 3085499"/>
                <a:gd name="connsiteX349" fmla="*/ 1817980 w 2359561"/>
                <a:gd name="connsiteY349" fmla="*/ 1839973 h 3085499"/>
                <a:gd name="connsiteX350" fmla="*/ 1825323 w 2359561"/>
                <a:gd name="connsiteY350" fmla="*/ 1870824 h 3085499"/>
                <a:gd name="connsiteX351" fmla="*/ 1790776 w 2359561"/>
                <a:gd name="connsiteY351" fmla="*/ 1936785 h 3085499"/>
                <a:gd name="connsiteX352" fmla="*/ 1781451 w 2359561"/>
                <a:gd name="connsiteY352" fmla="*/ 1969580 h 3085499"/>
                <a:gd name="connsiteX353" fmla="*/ 1790376 w 2359561"/>
                <a:gd name="connsiteY353" fmla="*/ 1992659 h 3085499"/>
                <a:gd name="connsiteX354" fmla="*/ 1735398 w 2359561"/>
                <a:gd name="connsiteY354" fmla="*/ 2000841 h 3085499"/>
                <a:gd name="connsiteX355" fmla="*/ 1685211 w 2359561"/>
                <a:gd name="connsiteY355" fmla="*/ 2001974 h 3085499"/>
                <a:gd name="connsiteX356" fmla="*/ 1667618 w 2359561"/>
                <a:gd name="connsiteY356" fmla="*/ 2048351 h 3085499"/>
                <a:gd name="connsiteX357" fmla="*/ 1690211 w 2359561"/>
                <a:gd name="connsiteY357" fmla="*/ 2069554 h 3085499"/>
                <a:gd name="connsiteX358" fmla="*/ 1767430 w 2359561"/>
                <a:gd name="connsiteY358" fmla="*/ 2059734 h 3085499"/>
                <a:gd name="connsiteX359" fmla="*/ 1767002 w 2359561"/>
                <a:gd name="connsiteY359" fmla="*/ 2041741 h 3085499"/>
                <a:gd name="connsiteX360" fmla="*/ 1805893 w 2359561"/>
                <a:gd name="connsiteY360" fmla="*/ 2071726 h 3085499"/>
                <a:gd name="connsiteX361" fmla="*/ 1845735 w 2359561"/>
                <a:gd name="connsiteY361" fmla="*/ 2102930 h 3085499"/>
                <a:gd name="connsiteX362" fmla="*/ 1836410 w 2359561"/>
                <a:gd name="connsiteY362" fmla="*/ 2119817 h 3085499"/>
                <a:gd name="connsiteX363" fmla="*/ 1868776 w 2359561"/>
                <a:gd name="connsiteY363" fmla="*/ 2148592 h 3085499"/>
                <a:gd name="connsiteX364" fmla="*/ 1926088 w 2359561"/>
                <a:gd name="connsiteY364" fmla="*/ 2182263 h 3085499"/>
                <a:gd name="connsiteX365" fmla="*/ 1998517 w 2359561"/>
                <a:gd name="connsiteY365" fmla="*/ 2205038 h 3085499"/>
                <a:gd name="connsiteX366" fmla="*/ 1994173 w 2359561"/>
                <a:gd name="connsiteY366" fmla="*/ 2185140 h 3085499"/>
                <a:gd name="connsiteX367" fmla="*/ 1966360 w 2359561"/>
                <a:gd name="connsiteY367" fmla="*/ 2150164 h 3085499"/>
                <a:gd name="connsiteX368" fmla="*/ 1928613 w 2359561"/>
                <a:gd name="connsiteY368" fmla="*/ 2098986 h 3085499"/>
                <a:gd name="connsiteX369" fmla="*/ 1995602 w 2359561"/>
                <a:gd name="connsiteY369" fmla="*/ 2146583 h 3085499"/>
                <a:gd name="connsiteX370" fmla="*/ 2029282 w 2359561"/>
                <a:gd name="connsiteY370" fmla="*/ 2162394 h 3085499"/>
                <a:gd name="connsiteX371" fmla="*/ 2038483 w 2359561"/>
                <a:gd name="connsiteY371" fmla="*/ 2120122 h 3085499"/>
                <a:gd name="connsiteX372" fmla="*/ 2021100 w 2359561"/>
                <a:gd name="connsiteY372" fmla="*/ 2060134 h 3085499"/>
                <a:gd name="connsiteX373" fmla="*/ 2010099 w 2359561"/>
                <a:gd name="connsiteY373" fmla="*/ 2043665 h 3085499"/>
                <a:gd name="connsiteX374" fmla="*/ 1973847 w 2359561"/>
                <a:gd name="connsiteY374" fmla="*/ 2014757 h 3085499"/>
                <a:gd name="connsiteX375" fmla="*/ 1945758 w 2359561"/>
                <a:gd name="connsiteY375" fmla="*/ 1977504 h 3085499"/>
                <a:gd name="connsiteX376" fmla="*/ 1949129 w 2359561"/>
                <a:gd name="connsiteY376" fmla="*/ 1939957 h 3085499"/>
                <a:gd name="connsiteX377" fmla="*/ 1983696 w 2359561"/>
                <a:gd name="connsiteY377" fmla="*/ 1931623 h 3085499"/>
                <a:gd name="connsiteX378" fmla="*/ 1356655 w 2359561"/>
                <a:gd name="connsiteY378" fmla="*/ 392706 h 3085499"/>
                <a:gd name="connsiteX379" fmla="*/ 1378906 w 2359561"/>
                <a:gd name="connsiteY379" fmla="*/ 462172 h 3085499"/>
                <a:gd name="connsiteX380" fmla="*/ 1426121 w 2359561"/>
                <a:gd name="connsiteY380" fmla="*/ 518179 h 3085499"/>
                <a:gd name="connsiteX381" fmla="*/ 1519571 w 2359561"/>
                <a:gd name="connsiteY381" fmla="*/ 507816 h 3085499"/>
                <a:gd name="connsiteX382" fmla="*/ 1579702 w 2359561"/>
                <a:gd name="connsiteY382" fmla="*/ 526561 h 3085499"/>
                <a:gd name="connsiteX383" fmla="*/ 1538030 w 2359561"/>
                <a:gd name="connsiteY383" fmla="*/ 584216 h 3085499"/>
                <a:gd name="connsiteX384" fmla="*/ 1516942 w 2359561"/>
                <a:gd name="connsiteY384" fmla="*/ 567299 h 3085499"/>
                <a:gd name="connsiteX385" fmla="*/ 1443942 w 2359561"/>
                <a:gd name="connsiteY385" fmla="*/ 560518 h 3085499"/>
                <a:gd name="connsiteX386" fmla="*/ 1455277 w 2359561"/>
                <a:gd name="connsiteY386" fmla="*/ 639709 h 3085499"/>
                <a:gd name="connsiteX387" fmla="*/ 1492996 w 2359561"/>
                <a:gd name="connsiteY387" fmla="*/ 697201 h 3085499"/>
                <a:gd name="connsiteX388" fmla="*/ 1485424 w 2359561"/>
                <a:gd name="connsiteY388" fmla="*/ 746741 h 3085499"/>
                <a:gd name="connsiteX389" fmla="*/ 1438066 w 2359561"/>
                <a:gd name="connsiteY389" fmla="*/ 779717 h 3085499"/>
                <a:gd name="connsiteX390" fmla="*/ 1416434 w 2359561"/>
                <a:gd name="connsiteY390" fmla="*/ 831828 h 3085499"/>
                <a:gd name="connsiteX391" fmla="*/ 1459754 w 2359561"/>
                <a:gd name="connsiteY391" fmla="*/ 857031 h 3085499"/>
                <a:gd name="connsiteX392" fmla="*/ 1496168 w 2359561"/>
                <a:gd name="connsiteY392" fmla="*/ 938460 h 3085499"/>
                <a:gd name="connsiteX393" fmla="*/ 1424759 w 2359561"/>
                <a:gd name="connsiteY393" fmla="*/ 884139 h 3085499"/>
                <a:gd name="connsiteX394" fmla="*/ 1408471 w 2359561"/>
                <a:gd name="connsiteY394" fmla="*/ 893102 h 3085499"/>
                <a:gd name="connsiteX395" fmla="*/ 1421625 w 2359561"/>
                <a:gd name="connsiteY395" fmla="*/ 982418 h 3085499"/>
                <a:gd name="connsiteX396" fmla="*/ 1372248 w 2359561"/>
                <a:gd name="connsiteY396" fmla="*/ 1009402 h 3085499"/>
                <a:gd name="connsiteX397" fmla="*/ 1375601 w 2359561"/>
                <a:gd name="connsiteY397" fmla="*/ 1065133 h 3085499"/>
                <a:gd name="connsiteX398" fmla="*/ 1426093 w 2359561"/>
                <a:gd name="connsiteY398" fmla="*/ 1071096 h 3085499"/>
                <a:gd name="connsiteX399" fmla="*/ 1465840 w 2359561"/>
                <a:gd name="connsiteY399" fmla="*/ 1084793 h 3085499"/>
                <a:gd name="connsiteX400" fmla="*/ 1544288 w 2359561"/>
                <a:gd name="connsiteY400" fmla="*/ 1067219 h 3085499"/>
                <a:gd name="connsiteX401" fmla="*/ 1614078 w 2359561"/>
                <a:gd name="connsiteY401" fmla="*/ 1098356 h 3085499"/>
                <a:gd name="connsiteX402" fmla="*/ 1685439 w 2359561"/>
                <a:gd name="connsiteY402" fmla="*/ 1029862 h 3085499"/>
                <a:gd name="connsiteX403" fmla="*/ 1684858 w 2359561"/>
                <a:gd name="connsiteY403" fmla="*/ 1001106 h 3085499"/>
                <a:gd name="connsiteX404" fmla="*/ 1639224 w 2359561"/>
                <a:gd name="connsiteY404" fmla="*/ 1005697 h 3085499"/>
                <a:gd name="connsiteX405" fmla="*/ 1635490 w 2359561"/>
                <a:gd name="connsiteY405" fmla="*/ 978637 h 3085499"/>
                <a:gd name="connsiteX406" fmla="*/ 1672800 w 2359561"/>
                <a:gd name="connsiteY406" fmla="*/ 942165 h 3085499"/>
                <a:gd name="connsiteX407" fmla="*/ 1685468 w 2359561"/>
                <a:gd name="connsiteY407" fmla="*/ 893102 h 3085499"/>
                <a:gd name="connsiteX408" fmla="*/ 1726730 w 2359561"/>
                <a:gd name="connsiteY408" fmla="*/ 856631 h 3085499"/>
                <a:gd name="connsiteX409" fmla="*/ 1752105 w 2359561"/>
                <a:gd name="connsiteY409" fmla="*/ 811273 h 3085499"/>
                <a:gd name="connsiteX410" fmla="*/ 1730016 w 2359561"/>
                <a:gd name="connsiteY410" fmla="*/ 743617 h 3085499"/>
                <a:gd name="connsiteX411" fmla="*/ 1748476 w 2359561"/>
                <a:gd name="connsiteY411" fmla="*/ 718385 h 3085499"/>
                <a:gd name="connsiteX412" fmla="*/ 1711662 w 2359561"/>
                <a:gd name="connsiteY412" fmla="*/ 700411 h 3085499"/>
                <a:gd name="connsiteX413" fmla="*/ 1792519 w 2359561"/>
                <a:gd name="connsiteY413" fmla="*/ 684905 h 3085499"/>
                <a:gd name="connsiteX414" fmla="*/ 1809541 w 2359561"/>
                <a:gd name="connsiteY414" fmla="*/ 654929 h 3085499"/>
                <a:gd name="connsiteX415" fmla="*/ 1864633 w 2359561"/>
                <a:gd name="connsiteY415" fmla="*/ 630126 h 3085499"/>
                <a:gd name="connsiteX416" fmla="*/ 1910305 w 2359561"/>
                <a:gd name="connsiteY416" fmla="*/ 501796 h 3085499"/>
                <a:gd name="connsiteX417" fmla="*/ 1953825 w 2359561"/>
                <a:gd name="connsiteY417" fmla="*/ 454714 h 3085499"/>
                <a:gd name="connsiteX418" fmla="*/ 2016843 w 2359561"/>
                <a:gd name="connsiteY418" fmla="*/ 348758 h 3085499"/>
                <a:gd name="connsiteX419" fmla="*/ 1958702 w 2359561"/>
                <a:gd name="connsiteY419" fmla="*/ 349691 h 3085499"/>
                <a:gd name="connsiteX420" fmla="*/ 1982848 w 2359561"/>
                <a:gd name="connsiteY420" fmla="*/ 308705 h 3085499"/>
                <a:gd name="connsiteX421" fmla="*/ 2047466 w 2359561"/>
                <a:gd name="connsiteY421" fmla="*/ 270672 h 3085499"/>
                <a:gd name="connsiteX422" fmla="*/ 2112626 w 2359561"/>
                <a:gd name="connsiteY422" fmla="*/ 185871 h 3085499"/>
                <a:gd name="connsiteX423" fmla="*/ 2113798 w 2359561"/>
                <a:gd name="connsiteY423" fmla="*/ 131283 h 3085499"/>
                <a:gd name="connsiteX424" fmla="*/ 2064925 w 2359561"/>
                <a:gd name="connsiteY424" fmla="*/ 73733 h 3085499"/>
                <a:gd name="connsiteX425" fmla="*/ 2007575 w 2359561"/>
                <a:gd name="connsiteY425" fmla="*/ 45825 h 3085499"/>
                <a:gd name="connsiteX426" fmla="*/ 1936194 w 2359561"/>
                <a:gd name="connsiteY426" fmla="*/ 28499 h 3085499"/>
                <a:gd name="connsiteX427" fmla="*/ 1878359 w 2359561"/>
                <a:gd name="connsiteY427" fmla="*/ 14316 h 3085499"/>
                <a:gd name="connsiteX428" fmla="*/ 1820513 w 2359561"/>
                <a:gd name="connsiteY428" fmla="*/ 0 h 3085499"/>
                <a:gd name="connsiteX429" fmla="*/ 1743409 w 2359561"/>
                <a:gd name="connsiteY429" fmla="*/ 37881 h 3085499"/>
                <a:gd name="connsiteX430" fmla="*/ 1729216 w 2359561"/>
                <a:gd name="connsiteY430" fmla="*/ 13811 h 3085499"/>
                <a:gd name="connsiteX431" fmla="*/ 1647587 w 2359561"/>
                <a:gd name="connsiteY431" fmla="*/ 23108 h 3085499"/>
                <a:gd name="connsiteX432" fmla="*/ 1599695 w 2359561"/>
                <a:gd name="connsiteY432" fmla="*/ 47596 h 3085499"/>
                <a:gd name="connsiteX433" fmla="*/ 1564443 w 2359561"/>
                <a:gd name="connsiteY433" fmla="*/ 82363 h 3085499"/>
                <a:gd name="connsiteX434" fmla="*/ 1544126 w 2359561"/>
                <a:gd name="connsiteY434" fmla="*/ 194224 h 3085499"/>
                <a:gd name="connsiteX435" fmla="*/ 1515285 w 2359561"/>
                <a:gd name="connsiteY435" fmla="*/ 137236 h 3085499"/>
                <a:gd name="connsiteX436" fmla="*/ 1482166 w 2359561"/>
                <a:gd name="connsiteY436" fmla="*/ 126359 h 3085499"/>
                <a:gd name="connsiteX437" fmla="*/ 1442904 w 2359561"/>
                <a:gd name="connsiteY437" fmla="*/ 202273 h 3085499"/>
                <a:gd name="connsiteX438" fmla="*/ 1390507 w 2359561"/>
                <a:gd name="connsiteY438" fmla="*/ 234163 h 3085499"/>
                <a:gd name="connsiteX439" fmla="*/ 1359322 w 2359561"/>
                <a:gd name="connsiteY439" fmla="*/ 240487 h 3085499"/>
                <a:gd name="connsiteX440" fmla="*/ 1319613 w 2359561"/>
                <a:gd name="connsiteY440" fmla="*/ 277035 h 3085499"/>
                <a:gd name="connsiteX441" fmla="*/ 1325461 w 2359561"/>
                <a:gd name="connsiteY441" fmla="*/ 340338 h 3085499"/>
                <a:gd name="connsiteX442" fmla="*/ 1356655 w 2359561"/>
                <a:gd name="connsiteY442" fmla="*/ 392706 h 3085499"/>
                <a:gd name="connsiteX443" fmla="*/ 2065325 w 2359561"/>
                <a:gd name="connsiteY443" fmla="*/ 2916888 h 3085499"/>
                <a:gd name="connsiteX444" fmla="*/ 2055971 w 2359561"/>
                <a:gd name="connsiteY444" fmla="*/ 2897991 h 3085499"/>
                <a:gd name="connsiteX445" fmla="*/ 2045884 w 2359561"/>
                <a:gd name="connsiteY445" fmla="*/ 2910012 h 3085499"/>
                <a:gd name="connsiteX446" fmla="*/ 2052561 w 2359561"/>
                <a:gd name="connsiteY446" fmla="*/ 2922975 h 3085499"/>
                <a:gd name="connsiteX447" fmla="*/ 2086432 w 2359561"/>
                <a:gd name="connsiteY447" fmla="*/ 2939291 h 3085499"/>
                <a:gd name="connsiteX448" fmla="*/ 2096329 w 2359561"/>
                <a:gd name="connsiteY448" fmla="*/ 2936796 h 3085499"/>
                <a:gd name="connsiteX449" fmla="*/ 2109464 w 2359561"/>
                <a:gd name="connsiteY449" fmla="*/ 2921022 h 3085499"/>
                <a:gd name="connsiteX450" fmla="*/ 2084699 w 2359561"/>
                <a:gd name="connsiteY450" fmla="*/ 2922080 h 3085499"/>
                <a:gd name="connsiteX451" fmla="*/ 2065325 w 2359561"/>
                <a:gd name="connsiteY451" fmla="*/ 2916888 h 3085499"/>
                <a:gd name="connsiteX452" fmla="*/ 1522400 w 2359561"/>
                <a:gd name="connsiteY452" fmla="*/ 2175205 h 3085499"/>
                <a:gd name="connsiteX453" fmla="*/ 1528248 w 2359561"/>
                <a:gd name="connsiteY453" fmla="*/ 2190731 h 3085499"/>
                <a:gd name="connsiteX454" fmla="*/ 1547098 w 2359561"/>
                <a:gd name="connsiteY454" fmla="*/ 2192045 h 3085499"/>
                <a:gd name="connsiteX455" fmla="*/ 1578359 w 2359561"/>
                <a:gd name="connsiteY455" fmla="*/ 2160261 h 3085499"/>
                <a:gd name="connsiteX456" fmla="*/ 1578931 w 2359561"/>
                <a:gd name="connsiteY456" fmla="*/ 2148945 h 3085499"/>
                <a:gd name="connsiteX457" fmla="*/ 1542250 w 2359561"/>
                <a:gd name="connsiteY457" fmla="*/ 2148383 h 3085499"/>
                <a:gd name="connsiteX458" fmla="*/ 1522400 w 2359561"/>
                <a:gd name="connsiteY458" fmla="*/ 2175205 h 3085499"/>
                <a:gd name="connsiteX459" fmla="*/ 2114169 w 2359561"/>
                <a:gd name="connsiteY459" fmla="*/ 2808046 h 3085499"/>
                <a:gd name="connsiteX460" fmla="*/ 2086861 w 2359561"/>
                <a:gd name="connsiteY460" fmla="*/ 2790911 h 3085499"/>
                <a:gd name="connsiteX461" fmla="*/ 2051742 w 2359561"/>
                <a:gd name="connsiteY461" fmla="*/ 2780557 h 3085499"/>
                <a:gd name="connsiteX462" fmla="*/ 2042503 w 2359561"/>
                <a:gd name="connsiteY462" fmla="*/ 2784034 h 3085499"/>
                <a:gd name="connsiteX463" fmla="*/ 2067335 w 2359561"/>
                <a:gd name="connsiteY463" fmla="*/ 2803455 h 3085499"/>
                <a:gd name="connsiteX464" fmla="*/ 2101949 w 2359561"/>
                <a:gd name="connsiteY464" fmla="*/ 2816247 h 3085499"/>
                <a:gd name="connsiteX465" fmla="*/ 2114950 w 2359561"/>
                <a:gd name="connsiteY465" fmla="*/ 2815523 h 3085499"/>
                <a:gd name="connsiteX466" fmla="*/ 2114169 w 2359561"/>
                <a:gd name="connsiteY466" fmla="*/ 2808046 h 3085499"/>
                <a:gd name="connsiteX467" fmla="*/ 2351247 w 2359561"/>
                <a:gd name="connsiteY467" fmla="*/ 2853719 h 3085499"/>
                <a:gd name="connsiteX468" fmla="*/ 2347846 w 2359561"/>
                <a:gd name="connsiteY468" fmla="*/ 2832430 h 3085499"/>
                <a:gd name="connsiteX469" fmla="*/ 2329158 w 2359561"/>
                <a:gd name="connsiteY469" fmla="*/ 2839317 h 3085499"/>
                <a:gd name="connsiteX470" fmla="*/ 2337426 w 2359561"/>
                <a:gd name="connsiteY470" fmla="*/ 2809666 h 3085499"/>
                <a:gd name="connsiteX471" fmla="*/ 2310794 w 2359561"/>
                <a:gd name="connsiteY471" fmla="*/ 2797083 h 3085499"/>
                <a:gd name="connsiteX472" fmla="*/ 2298478 w 2359561"/>
                <a:gd name="connsiteY472" fmla="*/ 2807056 h 3085499"/>
                <a:gd name="connsiteX473" fmla="*/ 2274780 w 2359561"/>
                <a:gd name="connsiteY473" fmla="*/ 2795826 h 3085499"/>
                <a:gd name="connsiteX474" fmla="*/ 2284152 w 2359561"/>
                <a:gd name="connsiteY474" fmla="*/ 2781453 h 3085499"/>
                <a:gd name="connsiteX475" fmla="*/ 2266217 w 2359561"/>
                <a:gd name="connsiteY475" fmla="*/ 2772566 h 3085499"/>
                <a:gd name="connsiteX476" fmla="*/ 2248786 w 2359561"/>
                <a:gd name="connsiteY476" fmla="*/ 2786558 h 3085499"/>
                <a:gd name="connsiteX477" fmla="*/ 2266455 w 2359561"/>
                <a:gd name="connsiteY477" fmla="*/ 2750125 h 3085499"/>
                <a:gd name="connsiteX478" fmla="*/ 2280714 w 2359561"/>
                <a:gd name="connsiteY478" fmla="*/ 2723455 h 3085499"/>
                <a:gd name="connsiteX479" fmla="*/ 2285876 w 2359561"/>
                <a:gd name="connsiteY479" fmla="*/ 2711863 h 3085499"/>
                <a:gd name="connsiteX480" fmla="*/ 2273484 w 2359561"/>
                <a:gd name="connsiteY480" fmla="*/ 2709987 h 3085499"/>
                <a:gd name="connsiteX481" fmla="*/ 2250310 w 2359561"/>
                <a:gd name="connsiteY481" fmla="*/ 2724722 h 3085499"/>
                <a:gd name="connsiteX482" fmla="*/ 2233755 w 2359561"/>
                <a:gd name="connsiteY482" fmla="*/ 2748810 h 3085499"/>
                <a:gd name="connsiteX483" fmla="*/ 2206161 w 2359561"/>
                <a:gd name="connsiteY483" fmla="*/ 2814695 h 3085499"/>
                <a:gd name="connsiteX484" fmla="*/ 2183740 w 2359561"/>
                <a:gd name="connsiteY484" fmla="*/ 2839060 h 3085499"/>
                <a:gd name="connsiteX485" fmla="*/ 2195360 w 2359561"/>
                <a:gd name="connsiteY485" fmla="*/ 2849956 h 3085499"/>
                <a:gd name="connsiteX486" fmla="*/ 2178720 w 2359561"/>
                <a:gd name="connsiteY486" fmla="*/ 2863987 h 3085499"/>
                <a:gd name="connsiteX487" fmla="*/ 2182816 w 2359561"/>
                <a:gd name="connsiteY487" fmla="*/ 2875712 h 3085499"/>
                <a:gd name="connsiteX488" fmla="*/ 2234651 w 2359561"/>
                <a:gd name="connsiteY488" fmla="*/ 2876912 h 3085499"/>
                <a:gd name="connsiteX489" fmla="*/ 2263350 w 2359561"/>
                <a:gd name="connsiteY489" fmla="*/ 2874550 h 3085499"/>
                <a:gd name="connsiteX490" fmla="*/ 2288972 w 2359561"/>
                <a:gd name="connsiteY490" fmla="*/ 2884122 h 3085499"/>
                <a:gd name="connsiteX491" fmla="*/ 2270113 w 2359561"/>
                <a:gd name="connsiteY491" fmla="*/ 2902525 h 3085499"/>
                <a:gd name="connsiteX492" fmla="*/ 2286048 w 2359561"/>
                <a:gd name="connsiteY492" fmla="*/ 2903877 h 3085499"/>
                <a:gd name="connsiteX493" fmla="*/ 2317033 w 2359561"/>
                <a:gd name="connsiteY493" fmla="*/ 2869816 h 3085499"/>
                <a:gd name="connsiteX494" fmla="*/ 2324472 w 2359561"/>
                <a:gd name="connsiteY494" fmla="*/ 2874845 h 3085499"/>
                <a:gd name="connsiteX495" fmla="*/ 2318680 w 2359561"/>
                <a:gd name="connsiteY495" fmla="*/ 2906916 h 3085499"/>
                <a:gd name="connsiteX496" fmla="*/ 2336235 w 2359561"/>
                <a:gd name="connsiteY496" fmla="*/ 2914250 h 3085499"/>
                <a:gd name="connsiteX497" fmla="*/ 2348322 w 2359561"/>
                <a:gd name="connsiteY497" fmla="*/ 2912812 h 3085499"/>
                <a:gd name="connsiteX498" fmla="*/ 2359562 w 2359561"/>
                <a:gd name="connsiteY498" fmla="*/ 2878388 h 3085499"/>
                <a:gd name="connsiteX499" fmla="*/ 2351247 w 2359561"/>
                <a:gd name="connsiteY499" fmla="*/ 2853719 h 3085499"/>
                <a:gd name="connsiteX500" fmla="*/ 2149354 w 2359561"/>
                <a:gd name="connsiteY500" fmla="*/ 2899086 h 3085499"/>
                <a:gd name="connsiteX501" fmla="*/ 2122580 w 2359561"/>
                <a:gd name="connsiteY501" fmla="*/ 2942520 h 3085499"/>
                <a:gd name="connsiteX502" fmla="*/ 2078450 w 2359561"/>
                <a:gd name="connsiteY502" fmla="*/ 2948054 h 3085499"/>
                <a:gd name="connsiteX503" fmla="*/ 2043760 w 2359561"/>
                <a:gd name="connsiteY503" fmla="*/ 2928919 h 3085499"/>
                <a:gd name="connsiteX504" fmla="*/ 2035045 w 2359561"/>
                <a:gd name="connsiteY504" fmla="*/ 2899677 h 3085499"/>
                <a:gd name="connsiteX505" fmla="*/ 2026577 w 2359561"/>
                <a:gd name="connsiteY505" fmla="*/ 2857176 h 3085499"/>
                <a:gd name="connsiteX506" fmla="*/ 2051799 w 2359561"/>
                <a:gd name="connsiteY506" fmla="*/ 2830230 h 3085499"/>
                <a:gd name="connsiteX507" fmla="*/ 2028158 w 2359561"/>
                <a:gd name="connsiteY507" fmla="*/ 2810332 h 3085499"/>
                <a:gd name="connsiteX508" fmla="*/ 1988201 w 2359561"/>
                <a:gd name="connsiteY508" fmla="*/ 2814390 h 3085499"/>
                <a:gd name="connsiteX509" fmla="*/ 1932185 w 2359561"/>
                <a:gd name="connsiteY509" fmla="*/ 2848013 h 3085499"/>
                <a:gd name="connsiteX510" fmla="*/ 1889312 w 2359561"/>
                <a:gd name="connsiteY510" fmla="*/ 2899944 h 3085499"/>
                <a:gd name="connsiteX511" fmla="*/ 1866633 w 2359561"/>
                <a:gd name="connsiteY511" fmla="*/ 2906344 h 3085499"/>
                <a:gd name="connsiteX512" fmla="*/ 1897371 w 2359561"/>
                <a:gd name="connsiteY512" fmla="*/ 2870111 h 3085499"/>
                <a:gd name="connsiteX513" fmla="*/ 1935890 w 2359561"/>
                <a:gd name="connsiteY513" fmla="*/ 2817019 h 3085499"/>
                <a:gd name="connsiteX514" fmla="*/ 1969942 w 2359561"/>
                <a:gd name="connsiteY514" fmla="*/ 2798931 h 3085499"/>
                <a:gd name="connsiteX515" fmla="*/ 1992306 w 2359561"/>
                <a:gd name="connsiteY515" fmla="*/ 2769289 h 3085499"/>
                <a:gd name="connsiteX516" fmla="*/ 2019967 w 2359561"/>
                <a:gd name="connsiteY516" fmla="*/ 2766403 h 3085499"/>
                <a:gd name="connsiteX517" fmla="*/ 2060048 w 2359561"/>
                <a:gd name="connsiteY517" fmla="*/ 2766698 h 3085499"/>
                <a:gd name="connsiteX518" fmla="*/ 2117170 w 2359561"/>
                <a:gd name="connsiteY518" fmla="*/ 2775452 h 3085499"/>
                <a:gd name="connsiteX519" fmla="*/ 2162318 w 2359561"/>
                <a:gd name="connsiteY519" fmla="*/ 2768708 h 3085499"/>
                <a:gd name="connsiteX520" fmla="*/ 2195922 w 2359561"/>
                <a:gd name="connsiteY520" fmla="*/ 2734189 h 3085499"/>
                <a:gd name="connsiteX521" fmla="*/ 2239937 w 2359561"/>
                <a:gd name="connsiteY521" fmla="*/ 2719073 h 3085499"/>
                <a:gd name="connsiteX522" fmla="*/ 2259102 w 2359561"/>
                <a:gd name="connsiteY522" fmla="*/ 2704024 h 3085499"/>
                <a:gd name="connsiteX523" fmla="*/ 2278485 w 2359561"/>
                <a:gd name="connsiteY523" fmla="*/ 2687774 h 3085499"/>
                <a:gd name="connsiteX524" fmla="*/ 2276532 w 2359561"/>
                <a:gd name="connsiteY524" fmla="*/ 2638358 h 3085499"/>
                <a:gd name="connsiteX525" fmla="*/ 2265807 w 2359561"/>
                <a:gd name="connsiteY525" fmla="*/ 2621480 h 3085499"/>
                <a:gd name="connsiteX526" fmla="*/ 2245004 w 2359561"/>
                <a:gd name="connsiteY526" fmla="*/ 2615498 h 3085499"/>
                <a:gd name="connsiteX527" fmla="*/ 2234422 w 2359561"/>
                <a:gd name="connsiteY527" fmla="*/ 2576951 h 3085499"/>
                <a:gd name="connsiteX528" fmla="*/ 2217277 w 2359561"/>
                <a:gd name="connsiteY528" fmla="*/ 2562206 h 3085499"/>
                <a:gd name="connsiteX529" fmla="*/ 2174691 w 2359561"/>
                <a:gd name="connsiteY529" fmla="*/ 2550166 h 3085499"/>
                <a:gd name="connsiteX530" fmla="*/ 2150679 w 2359561"/>
                <a:gd name="connsiteY530" fmla="*/ 2523287 h 3085499"/>
                <a:gd name="connsiteX531" fmla="*/ 2115160 w 2359561"/>
                <a:gd name="connsiteY531" fmla="*/ 2496369 h 3085499"/>
                <a:gd name="connsiteX532" fmla="*/ 2125894 w 2359561"/>
                <a:gd name="connsiteY532" fmla="*/ 2465918 h 3085499"/>
                <a:gd name="connsiteX533" fmla="*/ 2096357 w 2359561"/>
                <a:gd name="connsiteY533" fmla="*/ 2406291 h 3085499"/>
                <a:gd name="connsiteX534" fmla="*/ 2061582 w 2359561"/>
                <a:gd name="connsiteY534" fmla="*/ 2340636 h 3085499"/>
                <a:gd name="connsiteX535" fmla="*/ 2040779 w 2359561"/>
                <a:gd name="connsiteY535" fmla="*/ 2293172 h 3085499"/>
                <a:gd name="connsiteX536" fmla="*/ 2023110 w 2359561"/>
                <a:gd name="connsiteY536" fmla="*/ 2318042 h 3085499"/>
                <a:gd name="connsiteX537" fmla="*/ 1997564 w 2359561"/>
                <a:gd name="connsiteY537" fmla="*/ 2375697 h 3085499"/>
                <a:gd name="connsiteX538" fmla="*/ 1958892 w 2359561"/>
                <a:gd name="connsiteY538" fmla="*/ 2404015 h 3085499"/>
                <a:gd name="connsiteX539" fmla="*/ 1939538 w 2359561"/>
                <a:gd name="connsiteY539" fmla="*/ 2373963 h 3085499"/>
                <a:gd name="connsiteX540" fmla="*/ 1915144 w 2359561"/>
                <a:gd name="connsiteY540" fmla="*/ 2365896 h 3085499"/>
                <a:gd name="connsiteX541" fmla="*/ 1906267 w 2359561"/>
                <a:gd name="connsiteY541" fmla="*/ 2299316 h 3085499"/>
                <a:gd name="connsiteX542" fmla="*/ 1907067 w 2359561"/>
                <a:gd name="connsiteY542" fmla="*/ 2253625 h 3085499"/>
                <a:gd name="connsiteX543" fmla="*/ 1859442 w 2359561"/>
                <a:gd name="connsiteY543" fmla="*/ 2249453 h 3085499"/>
                <a:gd name="connsiteX544" fmla="*/ 1851336 w 2359561"/>
                <a:gd name="connsiteY544" fmla="*/ 2227869 h 3085499"/>
                <a:gd name="connsiteX545" fmla="*/ 1818446 w 2359561"/>
                <a:gd name="connsiteY545" fmla="*/ 2195141 h 3085499"/>
                <a:gd name="connsiteX546" fmla="*/ 1793577 w 2359561"/>
                <a:gd name="connsiteY546" fmla="*/ 2175720 h 3085499"/>
                <a:gd name="connsiteX547" fmla="*/ 1771459 w 2359561"/>
                <a:gd name="connsiteY547" fmla="*/ 2190798 h 3085499"/>
                <a:gd name="connsiteX548" fmla="*/ 1743999 w 2359561"/>
                <a:gd name="connsiteY548" fmla="*/ 2185226 h 3085499"/>
                <a:gd name="connsiteX549" fmla="*/ 1698212 w 2359561"/>
                <a:gd name="connsiteY549" fmla="*/ 2169547 h 3085499"/>
                <a:gd name="connsiteX550" fmla="*/ 1679619 w 2359561"/>
                <a:gd name="connsiteY550" fmla="*/ 2182854 h 3085499"/>
                <a:gd name="connsiteX551" fmla="*/ 1688544 w 2359561"/>
                <a:gd name="connsiteY551" fmla="*/ 2270265 h 3085499"/>
                <a:gd name="connsiteX552" fmla="*/ 1700184 w 2359561"/>
                <a:gd name="connsiteY552" fmla="*/ 2318995 h 3085499"/>
                <a:gd name="connsiteX553" fmla="*/ 1668666 w 2359561"/>
                <a:gd name="connsiteY553" fmla="*/ 2373773 h 3085499"/>
                <a:gd name="connsiteX554" fmla="*/ 1701108 w 2359561"/>
                <a:gd name="connsiteY554" fmla="*/ 2412083 h 3085499"/>
                <a:gd name="connsiteX555" fmla="*/ 1719243 w 2359561"/>
                <a:gd name="connsiteY555" fmla="*/ 2454374 h 3085499"/>
                <a:gd name="connsiteX556" fmla="*/ 1721425 w 2359561"/>
                <a:gd name="connsiteY556" fmla="*/ 2486968 h 3085499"/>
                <a:gd name="connsiteX557" fmla="*/ 1706623 w 2359561"/>
                <a:gd name="connsiteY557" fmla="*/ 2520344 h 3085499"/>
                <a:gd name="connsiteX558" fmla="*/ 1676362 w 2359561"/>
                <a:gd name="connsiteY558" fmla="*/ 2553310 h 3085499"/>
                <a:gd name="connsiteX559" fmla="*/ 1633604 w 2359561"/>
                <a:gd name="connsiteY559" fmla="*/ 2575036 h 3085499"/>
                <a:gd name="connsiteX560" fmla="*/ 1652445 w 2359561"/>
                <a:gd name="connsiteY560" fmla="*/ 2599125 h 3085499"/>
                <a:gd name="connsiteX561" fmla="*/ 1666389 w 2359561"/>
                <a:gd name="connsiteY561" fmla="*/ 2669629 h 3085499"/>
                <a:gd name="connsiteX562" fmla="*/ 1651940 w 2359561"/>
                <a:gd name="connsiteY562" fmla="*/ 2714168 h 3085499"/>
                <a:gd name="connsiteX563" fmla="*/ 1631375 w 2359561"/>
                <a:gd name="connsiteY563" fmla="*/ 2728055 h 3085499"/>
                <a:gd name="connsiteX564" fmla="*/ 1591637 w 2359561"/>
                <a:gd name="connsiteY564" fmla="*/ 2687260 h 3085499"/>
                <a:gd name="connsiteX565" fmla="*/ 1572292 w 2359561"/>
                <a:gd name="connsiteY565" fmla="*/ 2638035 h 3085499"/>
                <a:gd name="connsiteX566" fmla="*/ 1563986 w 2359561"/>
                <a:gd name="connsiteY566" fmla="*/ 2592705 h 3085499"/>
                <a:gd name="connsiteX567" fmla="*/ 1568348 w 2359561"/>
                <a:gd name="connsiteY567" fmla="*/ 2552757 h 3085499"/>
                <a:gd name="connsiteX568" fmla="*/ 1539297 w 2359561"/>
                <a:gd name="connsiteY568" fmla="*/ 2548242 h 3085499"/>
                <a:gd name="connsiteX569" fmla="*/ 1495197 w 2359561"/>
                <a:gd name="connsiteY569" fmla="*/ 2545547 h 3085499"/>
                <a:gd name="connsiteX570" fmla="*/ 1466898 w 2359561"/>
                <a:gd name="connsiteY570" fmla="*/ 2525716 h 3085499"/>
                <a:gd name="connsiteX571" fmla="*/ 1433436 w 2359561"/>
                <a:gd name="connsiteY571" fmla="*/ 2512638 h 3085499"/>
                <a:gd name="connsiteX572" fmla="*/ 1414329 w 2359561"/>
                <a:gd name="connsiteY572" fmla="*/ 2489978 h 3085499"/>
                <a:gd name="connsiteX573" fmla="*/ 1387631 w 2359561"/>
                <a:gd name="connsiteY573" fmla="*/ 2471547 h 3085499"/>
                <a:gd name="connsiteX574" fmla="*/ 1338005 w 2359561"/>
                <a:gd name="connsiteY574" fmla="*/ 2450316 h 3085499"/>
                <a:gd name="connsiteX575" fmla="*/ 1300639 w 2359561"/>
                <a:gd name="connsiteY575" fmla="*/ 2460031 h 3085499"/>
                <a:gd name="connsiteX576" fmla="*/ 1288152 w 2359561"/>
                <a:gd name="connsiteY576" fmla="*/ 2422436 h 3085499"/>
                <a:gd name="connsiteX577" fmla="*/ 1276122 w 2359561"/>
                <a:gd name="connsiteY577" fmla="*/ 2374906 h 3085499"/>
                <a:gd name="connsiteX578" fmla="*/ 1236878 w 2359561"/>
                <a:gd name="connsiteY578" fmla="*/ 2366315 h 3085499"/>
                <a:gd name="connsiteX579" fmla="*/ 1238355 w 2359561"/>
                <a:gd name="connsiteY579" fmla="*/ 2305250 h 3085499"/>
                <a:gd name="connsiteX580" fmla="*/ 1248709 w 2359561"/>
                <a:gd name="connsiteY580" fmla="*/ 2262550 h 3085499"/>
                <a:gd name="connsiteX581" fmla="*/ 1277674 w 2359561"/>
                <a:gd name="connsiteY581" fmla="*/ 2199685 h 3085499"/>
                <a:gd name="connsiteX582" fmla="*/ 1310354 w 2359561"/>
                <a:gd name="connsiteY582" fmla="*/ 2152993 h 3085499"/>
                <a:gd name="connsiteX583" fmla="*/ 1341425 w 2359561"/>
                <a:gd name="connsiteY583" fmla="*/ 2145668 h 3085499"/>
                <a:gd name="connsiteX584" fmla="*/ 1343196 w 2359561"/>
                <a:gd name="connsiteY584" fmla="*/ 2107111 h 3085499"/>
                <a:gd name="connsiteX585" fmla="*/ 1364275 w 2359561"/>
                <a:gd name="connsiteY585" fmla="*/ 2081565 h 3085499"/>
                <a:gd name="connsiteX586" fmla="*/ 1402509 w 2359561"/>
                <a:gd name="connsiteY586" fmla="*/ 2077526 h 3085499"/>
                <a:gd name="connsiteX587" fmla="*/ 1433484 w 2359561"/>
                <a:gd name="connsiteY587" fmla="*/ 2035693 h 3085499"/>
                <a:gd name="connsiteX588" fmla="*/ 1441275 w 2359561"/>
                <a:gd name="connsiteY588" fmla="*/ 2008099 h 3085499"/>
                <a:gd name="connsiteX589" fmla="*/ 1467021 w 2359561"/>
                <a:gd name="connsiteY589" fmla="*/ 1953568 h 3085499"/>
                <a:gd name="connsiteX590" fmla="*/ 1474984 w 2359561"/>
                <a:gd name="connsiteY590" fmla="*/ 1920230 h 3085499"/>
                <a:gd name="connsiteX591" fmla="*/ 1502597 w 2359561"/>
                <a:gd name="connsiteY591" fmla="*/ 1940300 h 3085499"/>
                <a:gd name="connsiteX592" fmla="*/ 1539735 w 2359561"/>
                <a:gd name="connsiteY592" fmla="*/ 1930051 h 3085499"/>
                <a:gd name="connsiteX593" fmla="*/ 1592028 w 2359561"/>
                <a:gd name="connsiteY593" fmla="*/ 1882769 h 3085499"/>
                <a:gd name="connsiteX594" fmla="*/ 1595428 w 2359561"/>
                <a:gd name="connsiteY594" fmla="*/ 1849060 h 3085499"/>
                <a:gd name="connsiteX595" fmla="*/ 1576597 w 2359561"/>
                <a:gd name="connsiteY595" fmla="*/ 1811150 h 3085499"/>
                <a:gd name="connsiteX596" fmla="*/ 1596466 w 2359561"/>
                <a:gd name="connsiteY596" fmla="*/ 1772507 h 3085499"/>
                <a:gd name="connsiteX597" fmla="*/ 1594857 w 2359561"/>
                <a:gd name="connsiteY597" fmla="*/ 1735693 h 3085499"/>
                <a:gd name="connsiteX598" fmla="*/ 1559014 w 2359561"/>
                <a:gd name="connsiteY598" fmla="*/ 1698041 h 3085499"/>
                <a:gd name="connsiteX599" fmla="*/ 1519533 w 2359561"/>
                <a:gd name="connsiteY599" fmla="*/ 1686706 h 3085499"/>
                <a:gd name="connsiteX600" fmla="*/ 1481576 w 2359561"/>
                <a:gd name="connsiteY600" fmla="*/ 1680763 h 3085499"/>
                <a:gd name="connsiteX601" fmla="*/ 1480118 w 2359561"/>
                <a:gd name="connsiteY601" fmla="*/ 1763763 h 3085499"/>
                <a:gd name="connsiteX602" fmla="*/ 1460640 w 2359561"/>
                <a:gd name="connsiteY602" fmla="*/ 1826200 h 3085499"/>
                <a:gd name="connsiteX603" fmla="*/ 1432751 w 2359561"/>
                <a:gd name="connsiteY603" fmla="*/ 1876720 h 3085499"/>
                <a:gd name="connsiteX604" fmla="*/ 1406919 w 2359561"/>
                <a:gd name="connsiteY604" fmla="*/ 1829610 h 3085499"/>
                <a:gd name="connsiteX605" fmla="*/ 1414872 w 2359561"/>
                <a:gd name="connsiteY605" fmla="*/ 1776213 h 3085499"/>
                <a:gd name="connsiteX606" fmla="*/ 1382944 w 2359561"/>
                <a:gd name="connsiteY606" fmla="*/ 1728416 h 3085499"/>
                <a:gd name="connsiteX607" fmla="*/ 1347254 w 2359561"/>
                <a:gd name="connsiteY607" fmla="*/ 1786423 h 3085499"/>
                <a:gd name="connsiteX608" fmla="*/ 1347368 w 2359561"/>
                <a:gd name="connsiteY608" fmla="*/ 1710309 h 3085499"/>
                <a:gd name="connsiteX609" fmla="*/ 1297705 w 2359561"/>
                <a:gd name="connsiteY609" fmla="*/ 1694821 h 3085499"/>
                <a:gd name="connsiteX610" fmla="*/ 1321403 w 2359561"/>
                <a:gd name="connsiteY610" fmla="*/ 1656588 h 3085499"/>
                <a:gd name="connsiteX611" fmla="*/ 1285123 w 2359561"/>
                <a:gd name="connsiteY611" fmla="*/ 1565281 h 3085499"/>
                <a:gd name="connsiteX612" fmla="*/ 1258110 w 2359561"/>
                <a:gd name="connsiteY612" fmla="*/ 1528096 h 3085499"/>
                <a:gd name="connsiteX613" fmla="*/ 1222886 w 2359561"/>
                <a:gd name="connsiteY613" fmla="*/ 1514361 h 3085499"/>
                <a:gd name="connsiteX614" fmla="*/ 1191311 w 2359561"/>
                <a:gd name="connsiteY614" fmla="*/ 1575587 h 3085499"/>
                <a:gd name="connsiteX615" fmla="*/ 1189168 w 2359561"/>
                <a:gd name="connsiteY615" fmla="*/ 1664579 h 3085499"/>
                <a:gd name="connsiteX616" fmla="*/ 1220333 w 2359561"/>
                <a:gd name="connsiteY616" fmla="*/ 1695936 h 3085499"/>
                <a:gd name="connsiteX617" fmla="*/ 1248947 w 2359561"/>
                <a:gd name="connsiteY617" fmla="*/ 1742665 h 3085499"/>
                <a:gd name="connsiteX618" fmla="*/ 1236869 w 2359561"/>
                <a:gd name="connsiteY618" fmla="*/ 1816084 h 3085499"/>
                <a:gd name="connsiteX619" fmla="*/ 1215390 w 2359561"/>
                <a:gd name="connsiteY619" fmla="*/ 1814160 h 3085499"/>
                <a:gd name="connsiteX620" fmla="*/ 1198388 w 2359561"/>
                <a:gd name="connsiteY620" fmla="*/ 1870205 h 3085499"/>
                <a:gd name="connsiteX621" fmla="*/ 1198550 w 2359561"/>
                <a:gd name="connsiteY621" fmla="*/ 1803492 h 3085499"/>
                <a:gd name="connsiteX622" fmla="*/ 1157164 w 2359561"/>
                <a:gd name="connsiteY622" fmla="*/ 1778889 h 3085499"/>
                <a:gd name="connsiteX623" fmla="*/ 1133418 w 2359561"/>
                <a:gd name="connsiteY623" fmla="*/ 1791605 h 3085499"/>
                <a:gd name="connsiteX624" fmla="*/ 1136504 w 2359561"/>
                <a:gd name="connsiteY624" fmla="*/ 1836106 h 3085499"/>
                <a:gd name="connsiteX625" fmla="*/ 1097547 w 2359561"/>
                <a:gd name="connsiteY625" fmla="*/ 1834410 h 3085499"/>
                <a:gd name="connsiteX626" fmla="*/ 1056084 w 2359561"/>
                <a:gd name="connsiteY626" fmla="*/ 1845583 h 3085499"/>
                <a:gd name="connsiteX627" fmla="*/ 1008898 w 2359561"/>
                <a:gd name="connsiteY627" fmla="*/ 1813646 h 3085499"/>
                <a:gd name="connsiteX628" fmla="*/ 979075 w 2359561"/>
                <a:gd name="connsiteY628" fmla="*/ 1819342 h 3085499"/>
                <a:gd name="connsiteX629" fmla="*/ 952233 w 2359561"/>
                <a:gd name="connsiteY629" fmla="*/ 1780156 h 3085499"/>
                <a:gd name="connsiteX630" fmla="*/ 930678 w 2359561"/>
                <a:gd name="connsiteY630" fmla="*/ 1762630 h 3085499"/>
                <a:gd name="connsiteX631" fmla="*/ 909314 w 2359561"/>
                <a:gd name="connsiteY631" fmla="*/ 1769993 h 3085499"/>
                <a:gd name="connsiteX632" fmla="*/ 876805 w 2359561"/>
                <a:gd name="connsiteY632" fmla="*/ 1773374 h 3085499"/>
                <a:gd name="connsiteX633" fmla="*/ 859555 w 2359561"/>
                <a:gd name="connsiteY633" fmla="*/ 1798273 h 3085499"/>
                <a:gd name="connsiteX634" fmla="*/ 886816 w 2359561"/>
                <a:gd name="connsiteY634" fmla="*/ 1828629 h 3085499"/>
                <a:gd name="connsiteX635" fmla="*/ 857764 w 2359561"/>
                <a:gd name="connsiteY635" fmla="*/ 1864109 h 3085499"/>
                <a:gd name="connsiteX636" fmla="*/ 829294 w 2359561"/>
                <a:gd name="connsiteY636" fmla="*/ 1821980 h 3085499"/>
                <a:gd name="connsiteX637" fmla="*/ 806548 w 2359561"/>
                <a:gd name="connsiteY637" fmla="*/ 1834382 h 3085499"/>
                <a:gd name="connsiteX638" fmla="*/ 734463 w 2359561"/>
                <a:gd name="connsiteY638" fmla="*/ 1842697 h 3085499"/>
                <a:gd name="connsiteX639" fmla="*/ 686190 w 2359561"/>
                <a:gd name="connsiteY639" fmla="*/ 1827562 h 3085499"/>
                <a:gd name="connsiteX640" fmla="*/ 723767 w 2359561"/>
                <a:gd name="connsiteY640" fmla="*/ 1791976 h 3085499"/>
                <a:gd name="connsiteX641" fmla="*/ 687743 w 2359561"/>
                <a:gd name="connsiteY641" fmla="*/ 1754810 h 3085499"/>
                <a:gd name="connsiteX642" fmla="*/ 661578 w 2359561"/>
                <a:gd name="connsiteY642" fmla="*/ 1759572 h 3085499"/>
                <a:gd name="connsiteX643" fmla="*/ 624821 w 2359561"/>
                <a:gd name="connsiteY643" fmla="*/ 1746971 h 3085499"/>
                <a:gd name="connsiteX644" fmla="*/ 562318 w 2359561"/>
                <a:gd name="connsiteY644" fmla="*/ 1719434 h 3085499"/>
                <a:gd name="connsiteX645" fmla="*/ 521475 w 2359561"/>
                <a:gd name="connsiteY645" fmla="*/ 1687306 h 3085499"/>
                <a:gd name="connsiteX646" fmla="*/ 489128 w 2359561"/>
                <a:gd name="connsiteY646" fmla="*/ 1682839 h 3085499"/>
                <a:gd name="connsiteX647" fmla="*/ 479041 w 2359561"/>
                <a:gd name="connsiteY647" fmla="*/ 1705289 h 3085499"/>
                <a:gd name="connsiteX648" fmla="*/ 446227 w 2359561"/>
                <a:gd name="connsiteY648" fmla="*/ 1717777 h 3085499"/>
                <a:gd name="connsiteX649" fmla="*/ 442617 w 2359561"/>
                <a:gd name="connsiteY649" fmla="*/ 1659198 h 3085499"/>
                <a:gd name="connsiteX650" fmla="*/ 407060 w 2359561"/>
                <a:gd name="connsiteY650" fmla="*/ 1711633 h 3085499"/>
                <a:gd name="connsiteX651" fmla="*/ 361902 w 2359561"/>
                <a:gd name="connsiteY651" fmla="*/ 1641901 h 3085499"/>
                <a:gd name="connsiteX652" fmla="*/ 343443 w 2359561"/>
                <a:gd name="connsiteY652" fmla="*/ 1633404 h 3085499"/>
                <a:gd name="connsiteX653" fmla="*/ 337480 w 2359561"/>
                <a:gd name="connsiteY653" fmla="*/ 1670599 h 3085499"/>
                <a:gd name="connsiteX654" fmla="*/ 317554 w 2359561"/>
                <a:gd name="connsiteY654" fmla="*/ 1688735 h 3085499"/>
                <a:gd name="connsiteX655" fmla="*/ 299209 w 2359561"/>
                <a:gd name="connsiteY655" fmla="*/ 1656417 h 3085499"/>
                <a:gd name="connsiteX656" fmla="*/ 255499 w 2359561"/>
                <a:gd name="connsiteY656" fmla="*/ 1675924 h 3085499"/>
                <a:gd name="connsiteX657" fmla="*/ 215494 w 2359561"/>
                <a:gd name="connsiteY657" fmla="*/ 1709747 h 3085499"/>
                <a:gd name="connsiteX658" fmla="*/ 175822 w 2359561"/>
                <a:gd name="connsiteY658" fmla="*/ 1700413 h 3085499"/>
                <a:gd name="connsiteX659" fmla="*/ 143475 w 2359561"/>
                <a:gd name="connsiteY659" fmla="*/ 1724177 h 3085499"/>
                <a:gd name="connsiteX660" fmla="*/ 120034 w 2359561"/>
                <a:gd name="connsiteY660" fmla="*/ 1755381 h 3085499"/>
                <a:gd name="connsiteX661" fmla="*/ 92183 w 2359561"/>
                <a:gd name="connsiteY661" fmla="*/ 1748552 h 3085499"/>
                <a:gd name="connsiteX662" fmla="*/ 50140 w 2359561"/>
                <a:gd name="connsiteY662" fmla="*/ 1712357 h 3085499"/>
                <a:gd name="connsiteX663" fmla="*/ 324 w 2359561"/>
                <a:gd name="connsiteY663" fmla="*/ 1693917 h 3085499"/>
                <a:gd name="connsiteX664" fmla="*/ 143 w 2359561"/>
                <a:gd name="connsiteY664" fmla="*/ 1957264 h 3085499"/>
                <a:gd name="connsiteX665" fmla="*/ 0 w 2359561"/>
                <a:gd name="connsiteY665" fmla="*/ 2294735 h 3085499"/>
                <a:gd name="connsiteX666" fmla="*/ 26299 w 2359561"/>
                <a:gd name="connsiteY666" fmla="*/ 2296325 h 3085499"/>
                <a:gd name="connsiteX667" fmla="*/ 52311 w 2359561"/>
                <a:gd name="connsiteY667" fmla="*/ 2311146 h 3085499"/>
                <a:gd name="connsiteX668" fmla="*/ 70961 w 2359561"/>
                <a:gd name="connsiteY668" fmla="*/ 2334349 h 3085499"/>
                <a:gd name="connsiteX669" fmla="*/ 94688 w 2359561"/>
                <a:gd name="connsiteY669" fmla="*/ 2368601 h 3085499"/>
                <a:gd name="connsiteX670" fmla="*/ 120672 w 2359561"/>
                <a:gd name="connsiteY670" fmla="*/ 2339512 h 3085499"/>
                <a:gd name="connsiteX671" fmla="*/ 147485 w 2359561"/>
                <a:gd name="connsiteY671" fmla="*/ 2322433 h 3085499"/>
                <a:gd name="connsiteX672" fmla="*/ 161658 w 2359561"/>
                <a:gd name="connsiteY672" fmla="*/ 2349627 h 3085499"/>
                <a:gd name="connsiteX673" fmla="*/ 179651 w 2359561"/>
                <a:gd name="connsiteY673" fmla="*/ 2370858 h 3085499"/>
                <a:gd name="connsiteX674" fmla="*/ 204102 w 2359561"/>
                <a:gd name="connsiteY674" fmla="*/ 2393947 h 3085499"/>
                <a:gd name="connsiteX675" fmla="*/ 220799 w 2359561"/>
                <a:gd name="connsiteY675" fmla="*/ 2430085 h 3085499"/>
                <a:gd name="connsiteX676" fmla="*/ 248107 w 2359561"/>
                <a:gd name="connsiteY676" fmla="*/ 2486101 h 3085499"/>
                <a:gd name="connsiteX677" fmla="*/ 293513 w 2359561"/>
                <a:gd name="connsiteY677" fmla="*/ 2516620 h 3085499"/>
                <a:gd name="connsiteX678" fmla="*/ 294256 w 2359561"/>
                <a:gd name="connsiteY678" fmla="*/ 2546376 h 3085499"/>
                <a:gd name="connsiteX679" fmla="*/ 279406 w 2359561"/>
                <a:gd name="connsiteY679" fmla="*/ 2568807 h 3085499"/>
                <a:gd name="connsiteX680" fmla="*/ 279968 w 2359561"/>
                <a:gd name="connsiteY680" fmla="*/ 2592467 h 3085499"/>
                <a:gd name="connsiteX681" fmla="*/ 312277 w 2359561"/>
                <a:gd name="connsiteY681" fmla="*/ 2625319 h 3085499"/>
                <a:gd name="connsiteX682" fmla="*/ 316963 w 2359561"/>
                <a:gd name="connsiteY682" fmla="*/ 2661142 h 3085499"/>
                <a:gd name="connsiteX683" fmla="*/ 351130 w 2359561"/>
                <a:gd name="connsiteY683" fmla="*/ 2679792 h 3085499"/>
                <a:gd name="connsiteX684" fmla="*/ 347329 w 2359561"/>
                <a:gd name="connsiteY684" fmla="*/ 2706367 h 3085499"/>
                <a:gd name="connsiteX685" fmla="*/ 362207 w 2359561"/>
                <a:gd name="connsiteY685" fmla="*/ 2744067 h 3085499"/>
                <a:gd name="connsiteX686" fmla="*/ 410575 w 2359561"/>
                <a:gd name="connsiteY686" fmla="*/ 2761450 h 3085499"/>
                <a:gd name="connsiteX687" fmla="*/ 429654 w 2359561"/>
                <a:gd name="connsiteY687" fmla="*/ 2779424 h 3085499"/>
                <a:gd name="connsiteX688" fmla="*/ 481355 w 2359561"/>
                <a:gd name="connsiteY688" fmla="*/ 2819686 h 3085499"/>
                <a:gd name="connsiteX689" fmla="*/ 484937 w 2359561"/>
                <a:gd name="connsiteY689" fmla="*/ 2819791 h 3085499"/>
                <a:gd name="connsiteX690" fmla="*/ 560784 w 2359561"/>
                <a:gd name="connsiteY690" fmla="*/ 2819791 h 3085499"/>
                <a:gd name="connsiteX691" fmla="*/ 640070 w 2359561"/>
                <a:gd name="connsiteY691" fmla="*/ 2819791 h 3085499"/>
                <a:gd name="connsiteX692" fmla="*/ 666321 w 2359561"/>
                <a:gd name="connsiteY692" fmla="*/ 2819791 h 3085499"/>
                <a:gd name="connsiteX693" fmla="*/ 747722 w 2359561"/>
                <a:gd name="connsiteY693" fmla="*/ 2819791 h 3085499"/>
                <a:gd name="connsiteX694" fmla="*/ 826503 w 2359561"/>
                <a:gd name="connsiteY694" fmla="*/ 2819791 h 3085499"/>
                <a:gd name="connsiteX695" fmla="*/ 906628 w 2359561"/>
                <a:gd name="connsiteY695" fmla="*/ 2819791 h 3085499"/>
                <a:gd name="connsiteX696" fmla="*/ 986800 w 2359561"/>
                <a:gd name="connsiteY696" fmla="*/ 2819791 h 3085499"/>
                <a:gd name="connsiteX697" fmla="*/ 1077554 w 2359561"/>
                <a:gd name="connsiteY697" fmla="*/ 2819791 h 3085499"/>
                <a:gd name="connsiteX698" fmla="*/ 1168927 w 2359561"/>
                <a:gd name="connsiteY698" fmla="*/ 2819762 h 3085499"/>
                <a:gd name="connsiteX699" fmla="*/ 1224201 w 2359561"/>
                <a:gd name="connsiteY699" fmla="*/ 2819791 h 3085499"/>
                <a:gd name="connsiteX700" fmla="*/ 1224277 w 2359561"/>
                <a:gd name="connsiteY700" fmla="*/ 2804132 h 3085499"/>
                <a:gd name="connsiteX701" fmla="*/ 1233316 w 2359561"/>
                <a:gd name="connsiteY701" fmla="*/ 2803931 h 3085499"/>
                <a:gd name="connsiteX702" fmla="*/ 1238060 w 2359561"/>
                <a:gd name="connsiteY702" fmla="*/ 2826268 h 3085499"/>
                <a:gd name="connsiteX703" fmla="*/ 1246365 w 2359561"/>
                <a:gd name="connsiteY703" fmla="*/ 2833107 h 3085499"/>
                <a:gd name="connsiteX704" fmla="*/ 1265015 w 2359561"/>
                <a:gd name="connsiteY704" fmla="*/ 2835583 h 3085499"/>
                <a:gd name="connsiteX705" fmla="*/ 1292285 w 2359561"/>
                <a:gd name="connsiteY705" fmla="*/ 2841984 h 3085499"/>
                <a:gd name="connsiteX706" fmla="*/ 1318193 w 2359561"/>
                <a:gd name="connsiteY706" fmla="*/ 2854395 h 3085499"/>
                <a:gd name="connsiteX707" fmla="*/ 1339825 w 2359561"/>
                <a:gd name="connsiteY707" fmla="*/ 2849204 h 3085499"/>
                <a:gd name="connsiteX708" fmla="*/ 1372676 w 2359561"/>
                <a:gd name="connsiteY708" fmla="*/ 2859577 h 3085499"/>
                <a:gd name="connsiteX709" fmla="*/ 1383516 w 2359561"/>
                <a:gd name="connsiteY709" fmla="*/ 2843775 h 3085499"/>
                <a:gd name="connsiteX710" fmla="*/ 1398670 w 2359561"/>
                <a:gd name="connsiteY710" fmla="*/ 2837460 h 3085499"/>
                <a:gd name="connsiteX711" fmla="*/ 1404604 w 2359561"/>
                <a:gd name="connsiteY711" fmla="*/ 2827630 h 3085499"/>
                <a:gd name="connsiteX712" fmla="*/ 1410624 w 2359561"/>
                <a:gd name="connsiteY712" fmla="*/ 2822353 h 3085499"/>
                <a:gd name="connsiteX713" fmla="*/ 1435456 w 2359561"/>
                <a:gd name="connsiteY713" fmla="*/ 2830506 h 3085499"/>
                <a:gd name="connsiteX714" fmla="*/ 1453858 w 2359561"/>
                <a:gd name="connsiteY714" fmla="*/ 2831478 h 3085499"/>
                <a:gd name="connsiteX715" fmla="*/ 1460240 w 2359561"/>
                <a:gd name="connsiteY715" fmla="*/ 2836869 h 3085499"/>
                <a:gd name="connsiteX716" fmla="*/ 1469174 w 2359561"/>
                <a:gd name="connsiteY716" fmla="*/ 2859558 h 3085499"/>
                <a:gd name="connsiteX717" fmla="*/ 1499149 w 2359561"/>
                <a:gd name="connsiteY717" fmla="*/ 2865530 h 3085499"/>
                <a:gd name="connsiteX718" fmla="*/ 1494434 w 2359561"/>
                <a:gd name="connsiteY718" fmla="*/ 2876788 h 3085499"/>
                <a:gd name="connsiteX719" fmla="*/ 1504998 w 2359561"/>
                <a:gd name="connsiteY719" fmla="*/ 2888333 h 3085499"/>
                <a:gd name="connsiteX720" fmla="*/ 1500445 w 2359561"/>
                <a:gd name="connsiteY720" fmla="*/ 2903192 h 3085499"/>
                <a:gd name="connsiteX721" fmla="*/ 1511656 w 2359561"/>
                <a:gd name="connsiteY721" fmla="*/ 2908078 h 3085499"/>
                <a:gd name="connsiteX722" fmla="*/ 1506064 w 2359561"/>
                <a:gd name="connsiteY722" fmla="*/ 2921146 h 3085499"/>
                <a:gd name="connsiteX723" fmla="*/ 1513227 w 2359561"/>
                <a:gd name="connsiteY723" fmla="*/ 2922337 h 3085499"/>
                <a:gd name="connsiteX724" fmla="*/ 1518247 w 2359561"/>
                <a:gd name="connsiteY724" fmla="*/ 2916650 h 3085499"/>
                <a:gd name="connsiteX725" fmla="*/ 1523486 w 2359561"/>
                <a:gd name="connsiteY725" fmla="*/ 2925204 h 3085499"/>
                <a:gd name="connsiteX726" fmla="*/ 1543517 w 2359561"/>
                <a:gd name="connsiteY726" fmla="*/ 2929976 h 3085499"/>
                <a:gd name="connsiteX727" fmla="*/ 1563824 w 2359561"/>
                <a:gd name="connsiteY727" fmla="*/ 2930376 h 3085499"/>
                <a:gd name="connsiteX728" fmla="*/ 1585474 w 2359561"/>
                <a:gd name="connsiteY728" fmla="*/ 2934300 h 3085499"/>
                <a:gd name="connsiteX729" fmla="*/ 1609363 w 2359561"/>
                <a:gd name="connsiteY729" fmla="*/ 2941720 h 3085499"/>
                <a:gd name="connsiteX730" fmla="*/ 1618079 w 2359561"/>
                <a:gd name="connsiteY730" fmla="*/ 2953684 h 3085499"/>
                <a:gd name="connsiteX731" fmla="*/ 1635376 w 2359561"/>
                <a:gd name="connsiteY731" fmla="*/ 2982611 h 3085499"/>
                <a:gd name="connsiteX732" fmla="*/ 1626775 w 2359561"/>
                <a:gd name="connsiteY732" fmla="*/ 2994984 h 3085499"/>
                <a:gd name="connsiteX733" fmla="*/ 1605067 w 2359561"/>
                <a:gd name="connsiteY733" fmla="*/ 2989840 h 3085499"/>
                <a:gd name="connsiteX734" fmla="*/ 1591589 w 2359561"/>
                <a:gd name="connsiteY734" fmla="*/ 2966590 h 3085499"/>
                <a:gd name="connsiteX735" fmla="*/ 1594971 w 2359561"/>
                <a:gd name="connsiteY735" fmla="*/ 2990269 h 3085499"/>
                <a:gd name="connsiteX736" fmla="*/ 1582236 w 2359561"/>
                <a:gd name="connsiteY736" fmla="*/ 3010938 h 3085499"/>
                <a:gd name="connsiteX737" fmla="*/ 1583636 w 2359561"/>
                <a:gd name="connsiteY737" fmla="*/ 3028445 h 3085499"/>
                <a:gd name="connsiteX738" fmla="*/ 1581436 w 2359561"/>
                <a:gd name="connsiteY738" fmla="*/ 3038675 h 3085499"/>
                <a:gd name="connsiteX739" fmla="*/ 1564148 w 2359561"/>
                <a:gd name="connsiteY739" fmla="*/ 3050743 h 3085499"/>
                <a:gd name="connsiteX740" fmla="*/ 1551594 w 2359561"/>
                <a:gd name="connsiteY740" fmla="*/ 3070660 h 3085499"/>
                <a:gd name="connsiteX741" fmla="*/ 1545717 w 2359561"/>
                <a:gd name="connsiteY741" fmla="*/ 3083243 h 3085499"/>
                <a:gd name="connsiteX742" fmla="*/ 1560376 w 2359561"/>
                <a:gd name="connsiteY742" fmla="*/ 3085500 h 3085499"/>
                <a:gd name="connsiteX743" fmla="*/ 1580198 w 2359561"/>
                <a:gd name="connsiteY743" fmla="*/ 3074061 h 3085499"/>
                <a:gd name="connsiteX744" fmla="*/ 1591866 w 2359561"/>
                <a:gd name="connsiteY744" fmla="*/ 3063974 h 3085499"/>
                <a:gd name="connsiteX745" fmla="*/ 1599800 w 2359561"/>
                <a:gd name="connsiteY745" fmla="*/ 3062326 h 3085499"/>
                <a:gd name="connsiteX746" fmla="*/ 1614487 w 2359561"/>
                <a:gd name="connsiteY746" fmla="*/ 3065964 h 3085499"/>
                <a:gd name="connsiteX747" fmla="*/ 1621593 w 2359561"/>
                <a:gd name="connsiteY747" fmla="*/ 3060335 h 3085499"/>
                <a:gd name="connsiteX748" fmla="*/ 1634623 w 2359561"/>
                <a:gd name="connsiteY748" fmla="*/ 3055754 h 3085499"/>
                <a:gd name="connsiteX749" fmla="*/ 1657893 w 2359561"/>
                <a:gd name="connsiteY749" fmla="*/ 3051286 h 3085499"/>
                <a:gd name="connsiteX750" fmla="*/ 1657893 w 2359561"/>
                <a:gd name="connsiteY750" fmla="*/ 3051305 h 3085499"/>
                <a:gd name="connsiteX751" fmla="*/ 1657893 w 2359561"/>
                <a:gd name="connsiteY751" fmla="*/ 3051286 h 3085499"/>
                <a:gd name="connsiteX752" fmla="*/ 1655521 w 2359561"/>
                <a:gd name="connsiteY752" fmla="*/ 3040332 h 3085499"/>
                <a:gd name="connsiteX753" fmla="*/ 1654245 w 2359561"/>
                <a:gd name="connsiteY753" fmla="*/ 3040752 h 3085499"/>
                <a:gd name="connsiteX754" fmla="*/ 1646092 w 2359561"/>
                <a:gd name="connsiteY754" fmla="*/ 3042637 h 3085499"/>
                <a:gd name="connsiteX755" fmla="*/ 1635443 w 2359561"/>
                <a:gd name="connsiteY755" fmla="*/ 3039180 h 3085499"/>
                <a:gd name="connsiteX756" fmla="*/ 1643434 w 2359561"/>
                <a:gd name="connsiteY756" fmla="*/ 3026636 h 3085499"/>
                <a:gd name="connsiteX757" fmla="*/ 1651578 w 2359561"/>
                <a:gd name="connsiteY757" fmla="*/ 3022283 h 3085499"/>
                <a:gd name="connsiteX758" fmla="*/ 1670428 w 2359561"/>
                <a:gd name="connsiteY758" fmla="*/ 3016901 h 3085499"/>
                <a:gd name="connsiteX759" fmla="*/ 1693002 w 2359561"/>
                <a:gd name="connsiteY759" fmla="*/ 3011872 h 3085499"/>
                <a:gd name="connsiteX760" fmla="*/ 1704851 w 2359561"/>
                <a:gd name="connsiteY760" fmla="*/ 3018863 h 3085499"/>
                <a:gd name="connsiteX761" fmla="*/ 1712300 w 2359561"/>
                <a:gd name="connsiteY761" fmla="*/ 3010757 h 3085499"/>
                <a:gd name="connsiteX762" fmla="*/ 1720767 w 2359561"/>
                <a:gd name="connsiteY762" fmla="*/ 3005614 h 3085499"/>
                <a:gd name="connsiteX763" fmla="*/ 1726444 w 2359561"/>
                <a:gd name="connsiteY763" fmla="*/ 3008338 h 3085499"/>
                <a:gd name="connsiteX764" fmla="*/ 1726749 w 2359561"/>
                <a:gd name="connsiteY764" fmla="*/ 3008919 h 3085499"/>
                <a:gd name="connsiteX765" fmla="*/ 1754086 w 2359561"/>
                <a:gd name="connsiteY765" fmla="*/ 2982916 h 3085499"/>
                <a:gd name="connsiteX766" fmla="*/ 1766135 w 2359561"/>
                <a:gd name="connsiteY766" fmla="*/ 2976001 h 3085499"/>
                <a:gd name="connsiteX767" fmla="*/ 1806712 w 2359561"/>
                <a:gd name="connsiteY767" fmla="*/ 2975744 h 3085499"/>
                <a:gd name="connsiteX768" fmla="*/ 1855927 w 2359561"/>
                <a:gd name="connsiteY768" fmla="*/ 2975715 h 3085499"/>
                <a:gd name="connsiteX769" fmla="*/ 1858604 w 2359561"/>
                <a:gd name="connsiteY769" fmla="*/ 2966399 h 3085499"/>
                <a:gd name="connsiteX770" fmla="*/ 1867148 w 2359561"/>
                <a:gd name="connsiteY770" fmla="*/ 2964495 h 3085499"/>
                <a:gd name="connsiteX771" fmla="*/ 1878492 w 2359561"/>
                <a:gd name="connsiteY771" fmla="*/ 2958627 h 3085499"/>
                <a:gd name="connsiteX772" fmla="*/ 1887969 w 2359561"/>
                <a:gd name="connsiteY772" fmla="*/ 2941292 h 3085499"/>
                <a:gd name="connsiteX773" fmla="*/ 1896113 w 2359561"/>
                <a:gd name="connsiteY773" fmla="*/ 2911307 h 3085499"/>
                <a:gd name="connsiteX774" fmla="*/ 1916487 w 2359561"/>
                <a:gd name="connsiteY774" fmla="*/ 2881808 h 3085499"/>
                <a:gd name="connsiteX775" fmla="*/ 1925365 w 2359561"/>
                <a:gd name="connsiteY775" fmla="*/ 2892123 h 3085499"/>
                <a:gd name="connsiteX776" fmla="*/ 1943272 w 2359561"/>
                <a:gd name="connsiteY776" fmla="*/ 2885456 h 3085499"/>
                <a:gd name="connsiteX777" fmla="*/ 1955130 w 2359561"/>
                <a:gd name="connsiteY777" fmla="*/ 2896762 h 3085499"/>
                <a:gd name="connsiteX778" fmla="*/ 1955111 w 2359561"/>
                <a:gd name="connsiteY778" fmla="*/ 2949388 h 3085499"/>
                <a:gd name="connsiteX779" fmla="*/ 1972570 w 2359561"/>
                <a:gd name="connsiteY779" fmla="*/ 2970828 h 3085499"/>
                <a:gd name="connsiteX780" fmla="*/ 2002250 w 2359561"/>
                <a:gd name="connsiteY780" fmla="*/ 2966228 h 3085499"/>
                <a:gd name="connsiteX781" fmla="*/ 2044999 w 2359561"/>
                <a:gd name="connsiteY781" fmla="*/ 2964990 h 3085499"/>
                <a:gd name="connsiteX782" fmla="*/ 1998631 w 2359561"/>
                <a:gd name="connsiteY782" fmla="*/ 2996051 h 3085499"/>
                <a:gd name="connsiteX783" fmla="*/ 1999650 w 2359561"/>
                <a:gd name="connsiteY783" fmla="*/ 3027398 h 3085499"/>
                <a:gd name="connsiteX784" fmla="*/ 2019929 w 2359561"/>
                <a:gd name="connsiteY784" fmla="*/ 3030093 h 3085499"/>
                <a:gd name="connsiteX785" fmla="*/ 2049771 w 2359561"/>
                <a:gd name="connsiteY785" fmla="*/ 3003490 h 3085499"/>
                <a:gd name="connsiteX786" fmla="*/ 2076259 w 2359561"/>
                <a:gd name="connsiteY786" fmla="*/ 2988402 h 3085499"/>
                <a:gd name="connsiteX787" fmla="*/ 2135410 w 2359561"/>
                <a:gd name="connsiteY787" fmla="*/ 2966009 h 3085499"/>
                <a:gd name="connsiteX788" fmla="*/ 2168452 w 2359561"/>
                <a:gd name="connsiteY788" fmla="*/ 2941092 h 3085499"/>
                <a:gd name="connsiteX789" fmla="*/ 2151202 w 2359561"/>
                <a:gd name="connsiteY789" fmla="*/ 2927185 h 3085499"/>
                <a:gd name="connsiteX790" fmla="*/ 2149354 w 2359561"/>
                <a:gd name="connsiteY790" fmla="*/ 2899086 h 3085499"/>
                <a:gd name="connsiteX791" fmla="*/ 1638205 w 2359561"/>
                <a:gd name="connsiteY791" fmla="*/ 2221830 h 3085499"/>
                <a:gd name="connsiteX792" fmla="*/ 1648663 w 2359561"/>
                <a:gd name="connsiteY792" fmla="*/ 2192074 h 3085499"/>
                <a:gd name="connsiteX793" fmla="*/ 1641872 w 2359561"/>
                <a:gd name="connsiteY793" fmla="*/ 2180330 h 3085499"/>
                <a:gd name="connsiteX794" fmla="*/ 1630937 w 2359561"/>
                <a:gd name="connsiteY794" fmla="*/ 2179072 h 3085499"/>
                <a:gd name="connsiteX795" fmla="*/ 1620631 w 2359561"/>
                <a:gd name="connsiteY795" fmla="*/ 2196256 h 3085499"/>
                <a:gd name="connsiteX796" fmla="*/ 1619383 w 2359561"/>
                <a:gd name="connsiteY796" fmla="*/ 2200189 h 3085499"/>
                <a:gd name="connsiteX797" fmla="*/ 1626394 w 2359561"/>
                <a:gd name="connsiteY797" fmla="*/ 2217058 h 3085499"/>
                <a:gd name="connsiteX798" fmla="*/ 1638205 w 2359561"/>
                <a:gd name="connsiteY798" fmla="*/ 2221830 h 3085499"/>
                <a:gd name="connsiteX799" fmla="*/ 279406 w 2359561"/>
                <a:gd name="connsiteY799" fmla="*/ 2568807 h 3085499"/>
                <a:gd name="connsiteX800" fmla="*/ 279406 w 2359561"/>
                <a:gd name="connsiteY800" fmla="*/ 2568807 h 3085499"/>
                <a:gd name="connsiteX801" fmla="*/ 294256 w 2359561"/>
                <a:gd name="connsiteY801" fmla="*/ 2546385 h 3085499"/>
                <a:gd name="connsiteX802" fmla="*/ 279406 w 2359561"/>
                <a:gd name="connsiteY802" fmla="*/ 2568807 h 3085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</a:cxnLst>
              <a:rect l="l" t="t" r="r" b="b"/>
              <a:pathLst>
                <a:path w="2359561" h="3085499">
                  <a:moveTo>
                    <a:pt x="1133570" y="820331"/>
                  </a:moveTo>
                  <a:lnTo>
                    <a:pt x="1131456" y="764115"/>
                  </a:lnTo>
                  <a:lnTo>
                    <a:pt x="1166031" y="769630"/>
                  </a:lnTo>
                  <a:lnTo>
                    <a:pt x="1181595" y="778726"/>
                  </a:lnTo>
                  <a:lnTo>
                    <a:pt x="1213514" y="825637"/>
                  </a:lnTo>
                  <a:lnTo>
                    <a:pt x="1206275" y="872976"/>
                  </a:lnTo>
                  <a:lnTo>
                    <a:pt x="1166765" y="899370"/>
                  </a:lnTo>
                  <a:lnTo>
                    <a:pt x="1145010" y="869623"/>
                  </a:lnTo>
                  <a:lnTo>
                    <a:pt x="1133570" y="820331"/>
                  </a:lnTo>
                  <a:close/>
                  <a:moveTo>
                    <a:pt x="1259443" y="940756"/>
                  </a:moveTo>
                  <a:lnTo>
                    <a:pt x="1262625" y="926563"/>
                  </a:lnTo>
                  <a:lnTo>
                    <a:pt x="1243879" y="903246"/>
                  </a:lnTo>
                  <a:lnTo>
                    <a:pt x="1190101" y="901398"/>
                  </a:lnTo>
                  <a:lnTo>
                    <a:pt x="1197226" y="936412"/>
                  </a:lnTo>
                  <a:lnTo>
                    <a:pt x="1247270" y="944289"/>
                  </a:lnTo>
                  <a:lnTo>
                    <a:pt x="1259443" y="940756"/>
                  </a:lnTo>
                  <a:close/>
                  <a:moveTo>
                    <a:pt x="1605658" y="1388012"/>
                  </a:moveTo>
                  <a:lnTo>
                    <a:pt x="1635042" y="1436618"/>
                  </a:lnTo>
                  <a:lnTo>
                    <a:pt x="1642777" y="1442085"/>
                  </a:lnTo>
                  <a:lnTo>
                    <a:pt x="1672009" y="1429941"/>
                  </a:lnTo>
                  <a:lnTo>
                    <a:pt x="1700784" y="1431855"/>
                  </a:lnTo>
                  <a:lnTo>
                    <a:pt x="1729168" y="1434484"/>
                  </a:lnTo>
                  <a:lnTo>
                    <a:pt x="1726806" y="1409309"/>
                  </a:lnTo>
                  <a:lnTo>
                    <a:pt x="1680753" y="1358055"/>
                  </a:lnTo>
                  <a:lnTo>
                    <a:pt x="1619631" y="1347797"/>
                  </a:lnTo>
                  <a:lnTo>
                    <a:pt x="1606782" y="1354141"/>
                  </a:lnTo>
                  <a:lnTo>
                    <a:pt x="1605658" y="1388012"/>
                  </a:lnTo>
                  <a:close/>
                  <a:moveTo>
                    <a:pt x="982485" y="790794"/>
                  </a:moveTo>
                  <a:lnTo>
                    <a:pt x="956691" y="830685"/>
                  </a:lnTo>
                  <a:lnTo>
                    <a:pt x="1016146" y="835600"/>
                  </a:lnTo>
                  <a:lnTo>
                    <a:pt x="1060104" y="877872"/>
                  </a:lnTo>
                  <a:lnTo>
                    <a:pt x="1103719" y="892140"/>
                  </a:lnTo>
                  <a:lnTo>
                    <a:pt x="1093318" y="838038"/>
                  </a:lnTo>
                  <a:lnTo>
                    <a:pt x="1072887" y="773973"/>
                  </a:lnTo>
                  <a:lnTo>
                    <a:pt x="1000668" y="722986"/>
                  </a:lnTo>
                  <a:lnTo>
                    <a:pt x="948242" y="703517"/>
                  </a:lnTo>
                  <a:lnTo>
                    <a:pt x="950185" y="757685"/>
                  </a:lnTo>
                  <a:lnTo>
                    <a:pt x="982485" y="790794"/>
                  </a:lnTo>
                  <a:close/>
                  <a:moveTo>
                    <a:pt x="1229154" y="693287"/>
                  </a:moveTo>
                  <a:lnTo>
                    <a:pt x="1277988" y="692182"/>
                  </a:lnTo>
                  <a:lnTo>
                    <a:pt x="1256881" y="730301"/>
                  </a:lnTo>
                  <a:lnTo>
                    <a:pt x="1256471" y="780755"/>
                  </a:lnTo>
                  <a:lnTo>
                    <a:pt x="1285170" y="835581"/>
                  </a:lnTo>
                  <a:lnTo>
                    <a:pt x="1340520" y="852402"/>
                  </a:lnTo>
                  <a:lnTo>
                    <a:pt x="1387764" y="842972"/>
                  </a:lnTo>
                  <a:lnTo>
                    <a:pt x="1437113" y="740778"/>
                  </a:lnTo>
                  <a:lnTo>
                    <a:pt x="1473784" y="698421"/>
                  </a:lnTo>
                  <a:lnTo>
                    <a:pt x="1441590" y="651081"/>
                  </a:lnTo>
                  <a:lnTo>
                    <a:pt x="1420492" y="549659"/>
                  </a:lnTo>
                  <a:lnTo>
                    <a:pt x="1376686" y="519293"/>
                  </a:lnTo>
                  <a:lnTo>
                    <a:pt x="1331747" y="484222"/>
                  </a:lnTo>
                  <a:lnTo>
                    <a:pt x="1297638" y="393154"/>
                  </a:lnTo>
                  <a:lnTo>
                    <a:pt x="1235526" y="402079"/>
                  </a:lnTo>
                  <a:lnTo>
                    <a:pt x="1247194" y="441598"/>
                  </a:lnTo>
                  <a:lnTo>
                    <a:pt x="1219819" y="453466"/>
                  </a:lnTo>
                  <a:lnTo>
                    <a:pt x="1201312" y="504158"/>
                  </a:lnTo>
                  <a:lnTo>
                    <a:pt x="1182796" y="575196"/>
                  </a:lnTo>
                  <a:lnTo>
                    <a:pt x="1199712" y="644357"/>
                  </a:lnTo>
                  <a:lnTo>
                    <a:pt x="1229154" y="693287"/>
                  </a:lnTo>
                  <a:close/>
                  <a:moveTo>
                    <a:pt x="621935" y="1201703"/>
                  </a:moveTo>
                  <a:lnTo>
                    <a:pt x="659273" y="1220305"/>
                  </a:lnTo>
                  <a:lnTo>
                    <a:pt x="779926" y="1207942"/>
                  </a:lnTo>
                  <a:lnTo>
                    <a:pt x="724453" y="1253385"/>
                  </a:lnTo>
                  <a:lnTo>
                    <a:pt x="727853" y="1286066"/>
                  </a:lnTo>
                  <a:lnTo>
                    <a:pt x="768467" y="1283818"/>
                  </a:lnTo>
                  <a:lnTo>
                    <a:pt x="835847" y="1240193"/>
                  </a:lnTo>
                  <a:lnTo>
                    <a:pt x="926287" y="1224258"/>
                  </a:lnTo>
                  <a:lnTo>
                    <a:pt x="942537" y="1174556"/>
                  </a:lnTo>
                  <a:lnTo>
                    <a:pt x="937841" y="1121512"/>
                  </a:lnTo>
                  <a:lnTo>
                    <a:pt x="909857" y="1116730"/>
                  </a:lnTo>
                  <a:lnTo>
                    <a:pt x="886073" y="1135104"/>
                  </a:lnTo>
                  <a:lnTo>
                    <a:pt x="875605" y="1095737"/>
                  </a:lnTo>
                  <a:lnTo>
                    <a:pt x="866604" y="1041454"/>
                  </a:lnTo>
                  <a:lnTo>
                    <a:pt x="839029" y="1027976"/>
                  </a:lnTo>
                  <a:lnTo>
                    <a:pt x="814559" y="1069991"/>
                  </a:lnTo>
                  <a:lnTo>
                    <a:pt x="852754" y="1175233"/>
                  </a:lnTo>
                  <a:lnTo>
                    <a:pt x="806101" y="1167127"/>
                  </a:lnTo>
                  <a:lnTo>
                    <a:pt x="758657" y="1102471"/>
                  </a:lnTo>
                  <a:lnTo>
                    <a:pt x="683495" y="1064390"/>
                  </a:lnTo>
                  <a:lnTo>
                    <a:pt x="658358" y="1096023"/>
                  </a:lnTo>
                  <a:lnTo>
                    <a:pt x="621935" y="1201703"/>
                  </a:lnTo>
                  <a:close/>
                  <a:moveTo>
                    <a:pt x="836847" y="801024"/>
                  </a:moveTo>
                  <a:lnTo>
                    <a:pt x="802119" y="773430"/>
                  </a:lnTo>
                  <a:lnTo>
                    <a:pt x="787794" y="767153"/>
                  </a:lnTo>
                  <a:lnTo>
                    <a:pt x="760400" y="807958"/>
                  </a:lnTo>
                  <a:lnTo>
                    <a:pt x="759971" y="827027"/>
                  </a:lnTo>
                  <a:lnTo>
                    <a:pt x="804320" y="827161"/>
                  </a:lnTo>
                  <a:lnTo>
                    <a:pt x="836847" y="801024"/>
                  </a:lnTo>
                  <a:close/>
                  <a:moveTo>
                    <a:pt x="822865" y="918734"/>
                  </a:moveTo>
                  <a:lnTo>
                    <a:pt x="831742" y="880777"/>
                  </a:lnTo>
                  <a:lnTo>
                    <a:pt x="794080" y="860536"/>
                  </a:lnTo>
                  <a:lnTo>
                    <a:pt x="755085" y="873728"/>
                  </a:lnTo>
                  <a:lnTo>
                    <a:pt x="733454" y="914314"/>
                  </a:lnTo>
                  <a:lnTo>
                    <a:pt x="773068" y="954386"/>
                  </a:lnTo>
                  <a:lnTo>
                    <a:pt x="822865" y="918734"/>
                  </a:lnTo>
                  <a:close/>
                  <a:moveTo>
                    <a:pt x="1100033" y="1235335"/>
                  </a:moveTo>
                  <a:lnTo>
                    <a:pt x="1144067" y="1224801"/>
                  </a:lnTo>
                  <a:lnTo>
                    <a:pt x="1156230" y="1146201"/>
                  </a:lnTo>
                  <a:lnTo>
                    <a:pt x="1155402" y="1089574"/>
                  </a:lnTo>
                  <a:lnTo>
                    <a:pt x="1134980" y="1036615"/>
                  </a:lnTo>
                  <a:lnTo>
                    <a:pt x="1132923" y="1051817"/>
                  </a:lnTo>
                  <a:lnTo>
                    <a:pt x="1095366" y="1045159"/>
                  </a:lnTo>
                  <a:lnTo>
                    <a:pt x="1055141" y="1084088"/>
                  </a:lnTo>
                  <a:lnTo>
                    <a:pt x="1026404" y="1080564"/>
                  </a:lnTo>
                  <a:lnTo>
                    <a:pt x="1028100" y="1165565"/>
                  </a:lnTo>
                  <a:lnTo>
                    <a:pt x="1071877" y="1157297"/>
                  </a:lnTo>
                  <a:lnTo>
                    <a:pt x="1071324" y="1218876"/>
                  </a:lnTo>
                  <a:lnTo>
                    <a:pt x="1100033" y="1235335"/>
                  </a:lnTo>
                  <a:close/>
                  <a:moveTo>
                    <a:pt x="1068734" y="1669704"/>
                  </a:moveTo>
                  <a:lnTo>
                    <a:pt x="1020537" y="1632299"/>
                  </a:lnTo>
                  <a:lnTo>
                    <a:pt x="975684" y="1592218"/>
                  </a:lnTo>
                  <a:lnTo>
                    <a:pt x="967407" y="1533354"/>
                  </a:lnTo>
                  <a:lnTo>
                    <a:pt x="950643" y="1448343"/>
                  </a:lnTo>
                  <a:lnTo>
                    <a:pt x="920725" y="1411776"/>
                  </a:lnTo>
                  <a:lnTo>
                    <a:pt x="894179" y="1397041"/>
                  </a:lnTo>
                  <a:lnTo>
                    <a:pt x="870680" y="1410538"/>
                  </a:lnTo>
                  <a:lnTo>
                    <a:pt x="889654" y="1501845"/>
                  </a:lnTo>
                  <a:lnTo>
                    <a:pt x="876233" y="1537383"/>
                  </a:lnTo>
                  <a:lnTo>
                    <a:pt x="854383" y="1451858"/>
                  </a:lnTo>
                  <a:lnTo>
                    <a:pt x="829980" y="1422283"/>
                  </a:lnTo>
                  <a:lnTo>
                    <a:pt x="799805" y="1468136"/>
                  </a:lnTo>
                  <a:lnTo>
                    <a:pt x="762667" y="1422797"/>
                  </a:lnTo>
                  <a:lnTo>
                    <a:pt x="703240" y="1450115"/>
                  </a:lnTo>
                  <a:lnTo>
                    <a:pt x="716566" y="1407605"/>
                  </a:lnTo>
                  <a:lnTo>
                    <a:pt x="689277" y="1389745"/>
                  </a:lnTo>
                  <a:lnTo>
                    <a:pt x="617772" y="1445352"/>
                  </a:lnTo>
                  <a:lnTo>
                    <a:pt x="599180" y="1480699"/>
                  </a:lnTo>
                  <a:lnTo>
                    <a:pt x="576758" y="1545193"/>
                  </a:lnTo>
                  <a:lnTo>
                    <a:pt x="623392" y="1567263"/>
                  </a:lnTo>
                  <a:lnTo>
                    <a:pt x="664588" y="1566101"/>
                  </a:lnTo>
                  <a:lnTo>
                    <a:pt x="602647" y="1599067"/>
                  </a:lnTo>
                  <a:lnTo>
                    <a:pt x="616734" y="1628870"/>
                  </a:lnTo>
                  <a:lnTo>
                    <a:pt x="654606" y="1630480"/>
                  </a:lnTo>
                  <a:lnTo>
                    <a:pt x="711670" y="1624108"/>
                  </a:lnTo>
                  <a:lnTo>
                    <a:pt x="763314" y="1642767"/>
                  </a:lnTo>
                  <a:lnTo>
                    <a:pt x="728453" y="1656531"/>
                  </a:lnTo>
                  <a:lnTo>
                    <a:pt x="690801" y="1652988"/>
                  </a:lnTo>
                  <a:lnTo>
                    <a:pt x="649576" y="1666408"/>
                  </a:lnTo>
                  <a:lnTo>
                    <a:pt x="631812" y="1674733"/>
                  </a:lnTo>
                  <a:lnTo>
                    <a:pt x="664721" y="1735255"/>
                  </a:lnTo>
                  <a:lnTo>
                    <a:pt x="688429" y="1726844"/>
                  </a:lnTo>
                  <a:lnTo>
                    <a:pt x="724891" y="1747276"/>
                  </a:lnTo>
                  <a:lnTo>
                    <a:pt x="739359" y="1782051"/>
                  </a:lnTo>
                  <a:lnTo>
                    <a:pt x="786870" y="1775146"/>
                  </a:lnTo>
                  <a:lnTo>
                    <a:pt x="854545" y="1764125"/>
                  </a:lnTo>
                  <a:lnTo>
                    <a:pt x="904685" y="1738922"/>
                  </a:lnTo>
                  <a:lnTo>
                    <a:pt x="935736" y="1734360"/>
                  </a:lnTo>
                  <a:lnTo>
                    <a:pt x="981675" y="1754505"/>
                  </a:lnTo>
                  <a:lnTo>
                    <a:pt x="1030005" y="1766116"/>
                  </a:lnTo>
                  <a:lnTo>
                    <a:pt x="1039006" y="1738884"/>
                  </a:lnTo>
                  <a:lnTo>
                    <a:pt x="1021966" y="1709842"/>
                  </a:lnTo>
                  <a:lnTo>
                    <a:pt x="1065819" y="1703699"/>
                  </a:lnTo>
                  <a:lnTo>
                    <a:pt x="1068734" y="1669704"/>
                  </a:lnTo>
                  <a:close/>
                  <a:moveTo>
                    <a:pt x="1142505" y="1660360"/>
                  </a:moveTo>
                  <a:lnTo>
                    <a:pt x="1123836" y="1694069"/>
                  </a:lnTo>
                  <a:lnTo>
                    <a:pt x="1100328" y="1717748"/>
                  </a:lnTo>
                  <a:lnTo>
                    <a:pt x="1136799" y="1751476"/>
                  </a:lnTo>
                  <a:lnTo>
                    <a:pt x="1158554" y="1743342"/>
                  </a:lnTo>
                  <a:lnTo>
                    <a:pt x="1194549" y="1765802"/>
                  </a:lnTo>
                  <a:lnTo>
                    <a:pt x="1211151" y="1739779"/>
                  </a:lnTo>
                  <a:lnTo>
                    <a:pt x="1194873" y="1710919"/>
                  </a:lnTo>
                  <a:lnTo>
                    <a:pt x="1186863" y="1696384"/>
                  </a:lnTo>
                  <a:lnTo>
                    <a:pt x="1170842" y="1682496"/>
                  </a:lnTo>
                  <a:lnTo>
                    <a:pt x="1142505" y="1660360"/>
                  </a:lnTo>
                  <a:close/>
                  <a:moveTo>
                    <a:pt x="974741" y="1379915"/>
                  </a:moveTo>
                  <a:lnTo>
                    <a:pt x="954443" y="1359199"/>
                  </a:lnTo>
                  <a:lnTo>
                    <a:pt x="918658" y="1362980"/>
                  </a:lnTo>
                  <a:lnTo>
                    <a:pt x="909580" y="1376163"/>
                  </a:lnTo>
                  <a:lnTo>
                    <a:pt x="951243" y="1440475"/>
                  </a:lnTo>
                  <a:lnTo>
                    <a:pt x="974741" y="1379915"/>
                  </a:lnTo>
                  <a:close/>
                  <a:moveTo>
                    <a:pt x="1247985" y="1505379"/>
                  </a:moveTo>
                  <a:lnTo>
                    <a:pt x="1276636" y="1439399"/>
                  </a:lnTo>
                  <a:lnTo>
                    <a:pt x="1308478" y="1421797"/>
                  </a:lnTo>
                  <a:lnTo>
                    <a:pt x="1348378" y="1338520"/>
                  </a:lnTo>
                  <a:lnTo>
                    <a:pt x="1297362" y="1314993"/>
                  </a:lnTo>
                  <a:lnTo>
                    <a:pt x="1241717" y="1311593"/>
                  </a:lnTo>
                  <a:lnTo>
                    <a:pt x="1215219" y="1337977"/>
                  </a:lnTo>
                  <a:lnTo>
                    <a:pt x="1201264" y="1378277"/>
                  </a:lnTo>
                  <a:lnTo>
                    <a:pt x="1200855" y="1424159"/>
                  </a:lnTo>
                  <a:lnTo>
                    <a:pt x="1217524" y="1502150"/>
                  </a:lnTo>
                  <a:lnTo>
                    <a:pt x="1247985" y="1505379"/>
                  </a:lnTo>
                  <a:close/>
                  <a:moveTo>
                    <a:pt x="1411386" y="1286256"/>
                  </a:moveTo>
                  <a:lnTo>
                    <a:pt x="1466212" y="1284494"/>
                  </a:lnTo>
                  <a:lnTo>
                    <a:pt x="1542822" y="1269121"/>
                  </a:lnTo>
                  <a:lnTo>
                    <a:pt x="1577007" y="1281265"/>
                  </a:lnTo>
                  <a:lnTo>
                    <a:pt x="1616831" y="1259739"/>
                  </a:lnTo>
                  <a:lnTo>
                    <a:pt x="1633490" y="1232687"/>
                  </a:lnTo>
                  <a:lnTo>
                    <a:pt x="1627527" y="1189644"/>
                  </a:lnTo>
                  <a:lnTo>
                    <a:pt x="1598924" y="1149363"/>
                  </a:lnTo>
                  <a:lnTo>
                    <a:pt x="1555528" y="1141733"/>
                  </a:lnTo>
                  <a:lnTo>
                    <a:pt x="1501150" y="1150963"/>
                  </a:lnTo>
                  <a:lnTo>
                    <a:pt x="1458697" y="1174214"/>
                  </a:lnTo>
                  <a:lnTo>
                    <a:pt x="1419730" y="1165270"/>
                  </a:lnTo>
                  <a:lnTo>
                    <a:pt x="1383706" y="1160555"/>
                  </a:lnTo>
                  <a:lnTo>
                    <a:pt x="1366742" y="1134818"/>
                  </a:lnTo>
                  <a:lnTo>
                    <a:pt x="1336100" y="1109920"/>
                  </a:lnTo>
                  <a:lnTo>
                    <a:pt x="1342187" y="1067695"/>
                  </a:lnTo>
                  <a:lnTo>
                    <a:pt x="1319136" y="1029767"/>
                  </a:lnTo>
                  <a:lnTo>
                    <a:pt x="1266558" y="1030024"/>
                  </a:lnTo>
                  <a:lnTo>
                    <a:pt x="1236907" y="992038"/>
                  </a:lnTo>
                  <a:lnTo>
                    <a:pt x="1181862" y="984428"/>
                  </a:lnTo>
                  <a:lnTo>
                    <a:pt x="1171813" y="1032967"/>
                  </a:lnTo>
                  <a:lnTo>
                    <a:pt x="1202769" y="1068638"/>
                  </a:lnTo>
                  <a:lnTo>
                    <a:pt x="1258014" y="1082488"/>
                  </a:lnTo>
                  <a:lnTo>
                    <a:pt x="1284827" y="1131018"/>
                  </a:lnTo>
                  <a:lnTo>
                    <a:pt x="1288075" y="1184377"/>
                  </a:lnTo>
                  <a:lnTo>
                    <a:pt x="1297315" y="1241431"/>
                  </a:lnTo>
                  <a:lnTo>
                    <a:pt x="1368295" y="1273978"/>
                  </a:lnTo>
                  <a:lnTo>
                    <a:pt x="1411386" y="1286256"/>
                  </a:lnTo>
                  <a:close/>
                  <a:moveTo>
                    <a:pt x="563480" y="1112244"/>
                  </a:moveTo>
                  <a:lnTo>
                    <a:pt x="613124" y="1064114"/>
                  </a:lnTo>
                  <a:lnTo>
                    <a:pt x="638080" y="1058523"/>
                  </a:lnTo>
                  <a:lnTo>
                    <a:pt x="658654" y="1018251"/>
                  </a:lnTo>
                  <a:lnTo>
                    <a:pt x="662321" y="925201"/>
                  </a:lnTo>
                  <a:lnTo>
                    <a:pt x="625688" y="943432"/>
                  </a:lnTo>
                  <a:lnTo>
                    <a:pt x="584730" y="941718"/>
                  </a:lnTo>
                  <a:lnTo>
                    <a:pt x="529885" y="1019718"/>
                  </a:lnTo>
                  <a:lnTo>
                    <a:pt x="484556" y="1105224"/>
                  </a:lnTo>
                  <a:lnTo>
                    <a:pt x="520741" y="1129132"/>
                  </a:lnTo>
                  <a:lnTo>
                    <a:pt x="563480" y="1112244"/>
                  </a:lnTo>
                  <a:close/>
                  <a:moveTo>
                    <a:pt x="1250976" y="1266292"/>
                  </a:moveTo>
                  <a:lnTo>
                    <a:pt x="1265501" y="1226858"/>
                  </a:lnTo>
                  <a:lnTo>
                    <a:pt x="1255757" y="1193921"/>
                  </a:lnTo>
                  <a:lnTo>
                    <a:pt x="1232440" y="1156602"/>
                  </a:lnTo>
                  <a:lnTo>
                    <a:pt x="1194045" y="1185348"/>
                  </a:lnTo>
                  <a:lnTo>
                    <a:pt x="1179824" y="1232249"/>
                  </a:lnTo>
                  <a:lnTo>
                    <a:pt x="1212199" y="1258796"/>
                  </a:lnTo>
                  <a:lnTo>
                    <a:pt x="1250976" y="1266292"/>
                  </a:lnTo>
                  <a:close/>
                  <a:moveTo>
                    <a:pt x="1171842" y="1375229"/>
                  </a:moveTo>
                  <a:lnTo>
                    <a:pt x="1164898" y="1347787"/>
                  </a:lnTo>
                  <a:lnTo>
                    <a:pt x="1117254" y="1359827"/>
                  </a:lnTo>
                  <a:lnTo>
                    <a:pt x="1085402" y="1339758"/>
                  </a:lnTo>
                  <a:lnTo>
                    <a:pt x="1053798" y="1385516"/>
                  </a:lnTo>
                  <a:lnTo>
                    <a:pt x="1083221" y="1445352"/>
                  </a:lnTo>
                  <a:lnTo>
                    <a:pt x="1028691" y="1434170"/>
                  </a:lnTo>
                  <a:lnTo>
                    <a:pt x="1028157" y="1462850"/>
                  </a:lnTo>
                  <a:lnTo>
                    <a:pt x="1094527" y="1529963"/>
                  </a:lnTo>
                  <a:lnTo>
                    <a:pt x="1113006" y="1562157"/>
                  </a:lnTo>
                  <a:lnTo>
                    <a:pt x="1138733" y="1569120"/>
                  </a:lnTo>
                  <a:lnTo>
                    <a:pt x="1182529" y="1536611"/>
                  </a:lnTo>
                  <a:lnTo>
                    <a:pt x="1187329" y="1458401"/>
                  </a:lnTo>
                  <a:lnTo>
                    <a:pt x="1146905" y="1419596"/>
                  </a:lnTo>
                  <a:lnTo>
                    <a:pt x="1171842" y="1375229"/>
                  </a:lnTo>
                  <a:close/>
                  <a:moveTo>
                    <a:pt x="467049" y="2839584"/>
                  </a:moveTo>
                  <a:lnTo>
                    <a:pt x="456028" y="2817257"/>
                  </a:lnTo>
                  <a:lnTo>
                    <a:pt x="429368" y="2800407"/>
                  </a:lnTo>
                  <a:lnTo>
                    <a:pt x="416166" y="2780853"/>
                  </a:lnTo>
                  <a:lnTo>
                    <a:pt x="407079" y="2766517"/>
                  </a:lnTo>
                  <a:lnTo>
                    <a:pt x="381981" y="2762098"/>
                  </a:lnTo>
                  <a:lnTo>
                    <a:pt x="365589" y="2755744"/>
                  </a:lnTo>
                  <a:lnTo>
                    <a:pt x="337556" y="2746581"/>
                  </a:lnTo>
                  <a:lnTo>
                    <a:pt x="335251" y="2756306"/>
                  </a:lnTo>
                  <a:lnTo>
                    <a:pt x="345538" y="2778976"/>
                  </a:lnTo>
                  <a:lnTo>
                    <a:pt x="373028" y="2786415"/>
                  </a:lnTo>
                  <a:lnTo>
                    <a:pt x="377838" y="2798140"/>
                  </a:lnTo>
                  <a:lnTo>
                    <a:pt x="401736" y="2812447"/>
                  </a:lnTo>
                  <a:lnTo>
                    <a:pt x="409746" y="2826858"/>
                  </a:lnTo>
                  <a:lnTo>
                    <a:pt x="453600" y="2845146"/>
                  </a:lnTo>
                  <a:lnTo>
                    <a:pt x="467049" y="2839584"/>
                  </a:lnTo>
                  <a:close/>
                  <a:moveTo>
                    <a:pt x="1626299" y="2100167"/>
                  </a:moveTo>
                  <a:lnTo>
                    <a:pt x="1607230" y="2080079"/>
                  </a:lnTo>
                  <a:lnTo>
                    <a:pt x="1587579" y="2084823"/>
                  </a:lnTo>
                  <a:lnTo>
                    <a:pt x="1585208" y="2055657"/>
                  </a:lnTo>
                  <a:lnTo>
                    <a:pt x="1554613" y="2036274"/>
                  </a:lnTo>
                  <a:lnTo>
                    <a:pt x="1525372" y="2014680"/>
                  </a:lnTo>
                  <a:lnTo>
                    <a:pt x="1509846" y="1997983"/>
                  </a:lnTo>
                  <a:lnTo>
                    <a:pt x="1496178" y="2007832"/>
                  </a:lnTo>
                  <a:lnTo>
                    <a:pt x="1491215" y="1979609"/>
                  </a:lnTo>
                  <a:lnTo>
                    <a:pt x="1471917" y="1974323"/>
                  </a:lnTo>
                  <a:lnTo>
                    <a:pt x="1462811" y="2032749"/>
                  </a:lnTo>
                  <a:lnTo>
                    <a:pt x="1459401" y="2081394"/>
                  </a:lnTo>
                  <a:lnTo>
                    <a:pt x="1436180" y="2111264"/>
                  </a:lnTo>
                  <a:lnTo>
                    <a:pt x="1472375" y="2105511"/>
                  </a:lnTo>
                  <a:lnTo>
                    <a:pt x="1481547" y="2140277"/>
                  </a:lnTo>
                  <a:lnTo>
                    <a:pt x="1519552" y="2109559"/>
                  </a:lnTo>
                  <a:lnTo>
                    <a:pt x="1546031" y="2077374"/>
                  </a:lnTo>
                  <a:lnTo>
                    <a:pt x="1561033" y="2104644"/>
                  </a:lnTo>
                  <a:lnTo>
                    <a:pt x="1602591" y="2119036"/>
                  </a:lnTo>
                  <a:lnTo>
                    <a:pt x="1626299" y="2100167"/>
                  </a:lnTo>
                  <a:close/>
                  <a:moveTo>
                    <a:pt x="478212" y="1599686"/>
                  </a:moveTo>
                  <a:lnTo>
                    <a:pt x="548507" y="1559881"/>
                  </a:lnTo>
                  <a:lnTo>
                    <a:pt x="548507" y="1522981"/>
                  </a:lnTo>
                  <a:lnTo>
                    <a:pt x="581625" y="1461954"/>
                  </a:lnTo>
                  <a:lnTo>
                    <a:pt x="647109" y="1398242"/>
                  </a:lnTo>
                  <a:lnTo>
                    <a:pt x="680685" y="1374743"/>
                  </a:lnTo>
                  <a:lnTo>
                    <a:pt x="652015" y="1334748"/>
                  </a:lnTo>
                  <a:lnTo>
                    <a:pt x="626078" y="1306621"/>
                  </a:lnTo>
                  <a:lnTo>
                    <a:pt x="557860" y="1301172"/>
                  </a:lnTo>
                  <a:lnTo>
                    <a:pt x="519722" y="1280636"/>
                  </a:lnTo>
                  <a:lnTo>
                    <a:pt x="429454" y="1296114"/>
                  </a:lnTo>
                  <a:lnTo>
                    <a:pt x="455571" y="1355408"/>
                  </a:lnTo>
                  <a:lnTo>
                    <a:pt x="432406" y="1416663"/>
                  </a:lnTo>
                  <a:lnTo>
                    <a:pt x="413909" y="1482061"/>
                  </a:lnTo>
                  <a:lnTo>
                    <a:pt x="402450" y="1518809"/>
                  </a:lnTo>
                  <a:lnTo>
                    <a:pt x="464115" y="1563519"/>
                  </a:lnTo>
                  <a:lnTo>
                    <a:pt x="478212" y="1599686"/>
                  </a:lnTo>
                  <a:close/>
                  <a:moveTo>
                    <a:pt x="1756820" y="1859747"/>
                  </a:moveTo>
                  <a:lnTo>
                    <a:pt x="1759830" y="1850136"/>
                  </a:lnTo>
                  <a:lnTo>
                    <a:pt x="1759534" y="1819894"/>
                  </a:lnTo>
                  <a:lnTo>
                    <a:pt x="1738684" y="1800044"/>
                  </a:lnTo>
                  <a:lnTo>
                    <a:pt x="1714205" y="1810017"/>
                  </a:lnTo>
                  <a:lnTo>
                    <a:pt x="1702860" y="1849707"/>
                  </a:lnTo>
                  <a:lnTo>
                    <a:pt x="1709528" y="1883607"/>
                  </a:lnTo>
                  <a:lnTo>
                    <a:pt x="1739465" y="1880168"/>
                  </a:lnTo>
                  <a:lnTo>
                    <a:pt x="1756820" y="1859747"/>
                  </a:lnTo>
                  <a:close/>
                  <a:moveTo>
                    <a:pt x="1983696" y="1931623"/>
                  </a:moveTo>
                  <a:lnTo>
                    <a:pt x="2025682" y="1994497"/>
                  </a:lnTo>
                  <a:lnTo>
                    <a:pt x="2058543" y="2021691"/>
                  </a:lnTo>
                  <a:lnTo>
                    <a:pt x="2105416" y="1946729"/>
                  </a:lnTo>
                  <a:lnTo>
                    <a:pt x="2113731" y="1899742"/>
                  </a:lnTo>
                  <a:lnTo>
                    <a:pt x="2071726" y="1895227"/>
                  </a:lnTo>
                  <a:lnTo>
                    <a:pt x="2033340" y="1831448"/>
                  </a:lnTo>
                  <a:lnTo>
                    <a:pt x="1990944" y="1815827"/>
                  </a:lnTo>
                  <a:lnTo>
                    <a:pt x="1928041" y="1768507"/>
                  </a:lnTo>
                  <a:lnTo>
                    <a:pt x="1977076" y="1733893"/>
                  </a:lnTo>
                  <a:lnTo>
                    <a:pt x="1951815" y="1662055"/>
                  </a:lnTo>
                  <a:lnTo>
                    <a:pt x="1928555" y="1630108"/>
                  </a:lnTo>
                  <a:lnTo>
                    <a:pt x="1864081" y="1598181"/>
                  </a:lnTo>
                  <a:lnTo>
                    <a:pt x="1836249" y="1545327"/>
                  </a:lnTo>
                  <a:lnTo>
                    <a:pt x="1786652" y="1564291"/>
                  </a:lnTo>
                  <a:lnTo>
                    <a:pt x="1783194" y="1527496"/>
                  </a:lnTo>
                  <a:lnTo>
                    <a:pt x="1746409" y="1486329"/>
                  </a:lnTo>
                  <a:lnTo>
                    <a:pt x="1687154" y="1441428"/>
                  </a:lnTo>
                  <a:lnTo>
                    <a:pt x="1661893" y="1476804"/>
                  </a:lnTo>
                  <a:lnTo>
                    <a:pt x="1609058" y="1502159"/>
                  </a:lnTo>
                  <a:lnTo>
                    <a:pt x="1613030" y="1444400"/>
                  </a:lnTo>
                  <a:lnTo>
                    <a:pt x="1567215" y="1348654"/>
                  </a:lnTo>
                  <a:lnTo>
                    <a:pt x="1499530" y="1387354"/>
                  </a:lnTo>
                  <a:lnTo>
                    <a:pt x="1474851" y="1460706"/>
                  </a:lnTo>
                  <a:lnTo>
                    <a:pt x="1453810" y="1404290"/>
                  </a:lnTo>
                  <a:lnTo>
                    <a:pt x="1473460" y="1343606"/>
                  </a:lnTo>
                  <a:lnTo>
                    <a:pt x="1404499" y="1368857"/>
                  </a:lnTo>
                  <a:lnTo>
                    <a:pt x="1377039" y="1406871"/>
                  </a:lnTo>
                  <a:lnTo>
                    <a:pt x="1356512" y="1487081"/>
                  </a:lnTo>
                  <a:lnTo>
                    <a:pt x="1364980" y="1573292"/>
                  </a:lnTo>
                  <a:lnTo>
                    <a:pt x="1402918" y="1573654"/>
                  </a:lnTo>
                  <a:lnTo>
                    <a:pt x="1374991" y="1611030"/>
                  </a:lnTo>
                  <a:lnTo>
                    <a:pt x="1397203" y="1639234"/>
                  </a:lnTo>
                  <a:lnTo>
                    <a:pt x="1440513" y="1651187"/>
                  </a:lnTo>
                  <a:lnTo>
                    <a:pt x="1497006" y="1674209"/>
                  </a:lnTo>
                  <a:lnTo>
                    <a:pt x="1594199" y="1691526"/>
                  </a:lnTo>
                  <a:lnTo>
                    <a:pt x="1642615" y="1681582"/>
                  </a:lnTo>
                  <a:lnTo>
                    <a:pt x="1656912" y="1658531"/>
                  </a:lnTo>
                  <a:lnTo>
                    <a:pt x="1677972" y="1685087"/>
                  </a:lnTo>
                  <a:lnTo>
                    <a:pt x="1701508" y="1689487"/>
                  </a:lnTo>
                  <a:lnTo>
                    <a:pt x="1729778" y="1736779"/>
                  </a:lnTo>
                  <a:lnTo>
                    <a:pt x="1712671" y="1755638"/>
                  </a:lnTo>
                  <a:lnTo>
                    <a:pt x="1766773" y="1780651"/>
                  </a:lnTo>
                  <a:lnTo>
                    <a:pt x="1807683" y="1815684"/>
                  </a:lnTo>
                  <a:lnTo>
                    <a:pt x="1817980" y="1839973"/>
                  </a:lnTo>
                  <a:lnTo>
                    <a:pt x="1825323" y="1870824"/>
                  </a:lnTo>
                  <a:lnTo>
                    <a:pt x="1790776" y="1936785"/>
                  </a:lnTo>
                  <a:lnTo>
                    <a:pt x="1781451" y="1969580"/>
                  </a:lnTo>
                  <a:lnTo>
                    <a:pt x="1790376" y="1992659"/>
                  </a:lnTo>
                  <a:lnTo>
                    <a:pt x="1735398" y="2000841"/>
                  </a:lnTo>
                  <a:lnTo>
                    <a:pt x="1685211" y="2001974"/>
                  </a:lnTo>
                  <a:lnTo>
                    <a:pt x="1667618" y="2048351"/>
                  </a:lnTo>
                  <a:lnTo>
                    <a:pt x="1690211" y="2069554"/>
                  </a:lnTo>
                  <a:lnTo>
                    <a:pt x="1767430" y="2059734"/>
                  </a:lnTo>
                  <a:lnTo>
                    <a:pt x="1767002" y="2041741"/>
                  </a:lnTo>
                  <a:lnTo>
                    <a:pt x="1805893" y="2071726"/>
                  </a:lnTo>
                  <a:lnTo>
                    <a:pt x="1845735" y="2102930"/>
                  </a:lnTo>
                  <a:lnTo>
                    <a:pt x="1836410" y="2119817"/>
                  </a:lnTo>
                  <a:lnTo>
                    <a:pt x="1868776" y="2148592"/>
                  </a:lnTo>
                  <a:lnTo>
                    <a:pt x="1926088" y="2182263"/>
                  </a:lnTo>
                  <a:lnTo>
                    <a:pt x="1998517" y="2205038"/>
                  </a:lnTo>
                  <a:lnTo>
                    <a:pt x="1994173" y="2185140"/>
                  </a:lnTo>
                  <a:lnTo>
                    <a:pt x="1966360" y="2150164"/>
                  </a:lnTo>
                  <a:lnTo>
                    <a:pt x="1928613" y="2098986"/>
                  </a:lnTo>
                  <a:lnTo>
                    <a:pt x="1995602" y="2146583"/>
                  </a:lnTo>
                  <a:lnTo>
                    <a:pt x="2029282" y="2162394"/>
                  </a:lnTo>
                  <a:lnTo>
                    <a:pt x="2038483" y="2120122"/>
                  </a:lnTo>
                  <a:lnTo>
                    <a:pt x="2021100" y="2060134"/>
                  </a:lnTo>
                  <a:lnTo>
                    <a:pt x="2010099" y="2043665"/>
                  </a:lnTo>
                  <a:lnTo>
                    <a:pt x="1973847" y="2014757"/>
                  </a:lnTo>
                  <a:lnTo>
                    <a:pt x="1945758" y="1977504"/>
                  </a:lnTo>
                  <a:lnTo>
                    <a:pt x="1949129" y="1939957"/>
                  </a:lnTo>
                  <a:lnTo>
                    <a:pt x="1983696" y="1931623"/>
                  </a:lnTo>
                  <a:close/>
                  <a:moveTo>
                    <a:pt x="1356655" y="392706"/>
                  </a:moveTo>
                  <a:lnTo>
                    <a:pt x="1378906" y="462172"/>
                  </a:lnTo>
                  <a:lnTo>
                    <a:pt x="1426121" y="518179"/>
                  </a:lnTo>
                  <a:lnTo>
                    <a:pt x="1519571" y="507816"/>
                  </a:lnTo>
                  <a:lnTo>
                    <a:pt x="1579702" y="526561"/>
                  </a:lnTo>
                  <a:lnTo>
                    <a:pt x="1538030" y="584216"/>
                  </a:lnTo>
                  <a:lnTo>
                    <a:pt x="1516942" y="567299"/>
                  </a:lnTo>
                  <a:lnTo>
                    <a:pt x="1443942" y="560518"/>
                  </a:lnTo>
                  <a:lnTo>
                    <a:pt x="1455277" y="639709"/>
                  </a:lnTo>
                  <a:lnTo>
                    <a:pt x="1492996" y="697201"/>
                  </a:lnTo>
                  <a:lnTo>
                    <a:pt x="1485424" y="746741"/>
                  </a:lnTo>
                  <a:lnTo>
                    <a:pt x="1438066" y="779717"/>
                  </a:lnTo>
                  <a:lnTo>
                    <a:pt x="1416434" y="831828"/>
                  </a:lnTo>
                  <a:lnTo>
                    <a:pt x="1459754" y="857031"/>
                  </a:lnTo>
                  <a:lnTo>
                    <a:pt x="1496168" y="938460"/>
                  </a:lnTo>
                  <a:lnTo>
                    <a:pt x="1424759" y="884139"/>
                  </a:lnTo>
                  <a:lnTo>
                    <a:pt x="1408471" y="893102"/>
                  </a:lnTo>
                  <a:lnTo>
                    <a:pt x="1421625" y="982418"/>
                  </a:lnTo>
                  <a:lnTo>
                    <a:pt x="1372248" y="1009402"/>
                  </a:lnTo>
                  <a:lnTo>
                    <a:pt x="1375601" y="1065133"/>
                  </a:lnTo>
                  <a:lnTo>
                    <a:pt x="1426093" y="1071096"/>
                  </a:lnTo>
                  <a:lnTo>
                    <a:pt x="1465840" y="1084793"/>
                  </a:lnTo>
                  <a:lnTo>
                    <a:pt x="1544288" y="1067219"/>
                  </a:lnTo>
                  <a:lnTo>
                    <a:pt x="1614078" y="1098356"/>
                  </a:lnTo>
                  <a:lnTo>
                    <a:pt x="1685439" y="1029862"/>
                  </a:lnTo>
                  <a:lnTo>
                    <a:pt x="1684858" y="1001106"/>
                  </a:lnTo>
                  <a:lnTo>
                    <a:pt x="1639224" y="1005697"/>
                  </a:lnTo>
                  <a:lnTo>
                    <a:pt x="1635490" y="978637"/>
                  </a:lnTo>
                  <a:lnTo>
                    <a:pt x="1672800" y="942165"/>
                  </a:lnTo>
                  <a:lnTo>
                    <a:pt x="1685468" y="893102"/>
                  </a:lnTo>
                  <a:lnTo>
                    <a:pt x="1726730" y="856631"/>
                  </a:lnTo>
                  <a:lnTo>
                    <a:pt x="1752105" y="811273"/>
                  </a:lnTo>
                  <a:lnTo>
                    <a:pt x="1730016" y="743617"/>
                  </a:lnTo>
                  <a:lnTo>
                    <a:pt x="1748476" y="718385"/>
                  </a:lnTo>
                  <a:lnTo>
                    <a:pt x="1711662" y="700411"/>
                  </a:lnTo>
                  <a:lnTo>
                    <a:pt x="1792519" y="684905"/>
                  </a:lnTo>
                  <a:lnTo>
                    <a:pt x="1809541" y="654929"/>
                  </a:lnTo>
                  <a:lnTo>
                    <a:pt x="1864633" y="630126"/>
                  </a:lnTo>
                  <a:lnTo>
                    <a:pt x="1910305" y="501796"/>
                  </a:lnTo>
                  <a:lnTo>
                    <a:pt x="1953825" y="454714"/>
                  </a:lnTo>
                  <a:lnTo>
                    <a:pt x="2016843" y="348758"/>
                  </a:lnTo>
                  <a:lnTo>
                    <a:pt x="1958702" y="349691"/>
                  </a:lnTo>
                  <a:lnTo>
                    <a:pt x="1982848" y="308705"/>
                  </a:lnTo>
                  <a:lnTo>
                    <a:pt x="2047466" y="270672"/>
                  </a:lnTo>
                  <a:lnTo>
                    <a:pt x="2112626" y="185871"/>
                  </a:lnTo>
                  <a:lnTo>
                    <a:pt x="2113798" y="131283"/>
                  </a:lnTo>
                  <a:lnTo>
                    <a:pt x="2064925" y="73733"/>
                  </a:lnTo>
                  <a:lnTo>
                    <a:pt x="2007575" y="45825"/>
                  </a:lnTo>
                  <a:lnTo>
                    <a:pt x="1936194" y="28499"/>
                  </a:lnTo>
                  <a:lnTo>
                    <a:pt x="1878359" y="14316"/>
                  </a:lnTo>
                  <a:lnTo>
                    <a:pt x="1820513" y="0"/>
                  </a:lnTo>
                  <a:lnTo>
                    <a:pt x="1743409" y="37881"/>
                  </a:lnTo>
                  <a:lnTo>
                    <a:pt x="1729216" y="13811"/>
                  </a:lnTo>
                  <a:lnTo>
                    <a:pt x="1647587" y="23108"/>
                  </a:lnTo>
                  <a:lnTo>
                    <a:pt x="1599695" y="47596"/>
                  </a:lnTo>
                  <a:lnTo>
                    <a:pt x="1564443" y="82363"/>
                  </a:lnTo>
                  <a:lnTo>
                    <a:pt x="1544126" y="194224"/>
                  </a:lnTo>
                  <a:lnTo>
                    <a:pt x="1515285" y="137236"/>
                  </a:lnTo>
                  <a:lnTo>
                    <a:pt x="1482166" y="126359"/>
                  </a:lnTo>
                  <a:lnTo>
                    <a:pt x="1442904" y="202273"/>
                  </a:lnTo>
                  <a:lnTo>
                    <a:pt x="1390507" y="234163"/>
                  </a:lnTo>
                  <a:lnTo>
                    <a:pt x="1359322" y="240487"/>
                  </a:lnTo>
                  <a:lnTo>
                    <a:pt x="1319613" y="277035"/>
                  </a:lnTo>
                  <a:lnTo>
                    <a:pt x="1325461" y="340338"/>
                  </a:lnTo>
                  <a:lnTo>
                    <a:pt x="1356655" y="392706"/>
                  </a:lnTo>
                  <a:close/>
                  <a:moveTo>
                    <a:pt x="2065325" y="2916888"/>
                  </a:moveTo>
                  <a:lnTo>
                    <a:pt x="2055971" y="2897991"/>
                  </a:lnTo>
                  <a:lnTo>
                    <a:pt x="2045884" y="2910012"/>
                  </a:lnTo>
                  <a:lnTo>
                    <a:pt x="2052561" y="2922975"/>
                  </a:lnTo>
                  <a:lnTo>
                    <a:pt x="2086432" y="2939291"/>
                  </a:lnTo>
                  <a:lnTo>
                    <a:pt x="2096329" y="2936796"/>
                  </a:lnTo>
                  <a:lnTo>
                    <a:pt x="2109464" y="2921022"/>
                  </a:lnTo>
                  <a:lnTo>
                    <a:pt x="2084699" y="2922080"/>
                  </a:lnTo>
                  <a:lnTo>
                    <a:pt x="2065325" y="2916888"/>
                  </a:lnTo>
                  <a:close/>
                  <a:moveTo>
                    <a:pt x="1522400" y="2175205"/>
                  </a:moveTo>
                  <a:lnTo>
                    <a:pt x="1528248" y="2190731"/>
                  </a:lnTo>
                  <a:lnTo>
                    <a:pt x="1547098" y="2192045"/>
                  </a:lnTo>
                  <a:lnTo>
                    <a:pt x="1578359" y="2160261"/>
                  </a:lnTo>
                  <a:lnTo>
                    <a:pt x="1578931" y="2148945"/>
                  </a:lnTo>
                  <a:lnTo>
                    <a:pt x="1542250" y="2148383"/>
                  </a:lnTo>
                  <a:lnTo>
                    <a:pt x="1522400" y="2175205"/>
                  </a:lnTo>
                  <a:close/>
                  <a:moveTo>
                    <a:pt x="2114169" y="2808046"/>
                  </a:moveTo>
                  <a:lnTo>
                    <a:pt x="2086861" y="2790911"/>
                  </a:lnTo>
                  <a:lnTo>
                    <a:pt x="2051742" y="2780557"/>
                  </a:lnTo>
                  <a:lnTo>
                    <a:pt x="2042503" y="2784034"/>
                  </a:lnTo>
                  <a:lnTo>
                    <a:pt x="2067335" y="2803455"/>
                  </a:lnTo>
                  <a:lnTo>
                    <a:pt x="2101949" y="2816247"/>
                  </a:lnTo>
                  <a:lnTo>
                    <a:pt x="2114950" y="2815523"/>
                  </a:lnTo>
                  <a:lnTo>
                    <a:pt x="2114169" y="2808046"/>
                  </a:lnTo>
                  <a:close/>
                  <a:moveTo>
                    <a:pt x="2351247" y="2853719"/>
                  </a:moveTo>
                  <a:lnTo>
                    <a:pt x="2347846" y="2832430"/>
                  </a:lnTo>
                  <a:lnTo>
                    <a:pt x="2329158" y="2839317"/>
                  </a:lnTo>
                  <a:lnTo>
                    <a:pt x="2337426" y="2809666"/>
                  </a:lnTo>
                  <a:lnTo>
                    <a:pt x="2310794" y="2797083"/>
                  </a:lnTo>
                  <a:lnTo>
                    <a:pt x="2298478" y="2807056"/>
                  </a:lnTo>
                  <a:lnTo>
                    <a:pt x="2274780" y="2795826"/>
                  </a:lnTo>
                  <a:lnTo>
                    <a:pt x="2284152" y="2781453"/>
                  </a:lnTo>
                  <a:lnTo>
                    <a:pt x="2266217" y="2772566"/>
                  </a:lnTo>
                  <a:lnTo>
                    <a:pt x="2248786" y="2786558"/>
                  </a:lnTo>
                  <a:lnTo>
                    <a:pt x="2266455" y="2750125"/>
                  </a:lnTo>
                  <a:lnTo>
                    <a:pt x="2280714" y="2723455"/>
                  </a:lnTo>
                  <a:lnTo>
                    <a:pt x="2285876" y="2711863"/>
                  </a:lnTo>
                  <a:lnTo>
                    <a:pt x="2273484" y="2709987"/>
                  </a:lnTo>
                  <a:lnTo>
                    <a:pt x="2250310" y="2724722"/>
                  </a:lnTo>
                  <a:lnTo>
                    <a:pt x="2233755" y="2748810"/>
                  </a:lnTo>
                  <a:lnTo>
                    <a:pt x="2206161" y="2814695"/>
                  </a:lnTo>
                  <a:lnTo>
                    <a:pt x="2183740" y="2839060"/>
                  </a:lnTo>
                  <a:lnTo>
                    <a:pt x="2195360" y="2849956"/>
                  </a:lnTo>
                  <a:lnTo>
                    <a:pt x="2178720" y="2863987"/>
                  </a:lnTo>
                  <a:lnTo>
                    <a:pt x="2182816" y="2875712"/>
                  </a:lnTo>
                  <a:lnTo>
                    <a:pt x="2234651" y="2876912"/>
                  </a:lnTo>
                  <a:lnTo>
                    <a:pt x="2263350" y="2874550"/>
                  </a:lnTo>
                  <a:lnTo>
                    <a:pt x="2288972" y="2884122"/>
                  </a:lnTo>
                  <a:lnTo>
                    <a:pt x="2270113" y="2902525"/>
                  </a:lnTo>
                  <a:lnTo>
                    <a:pt x="2286048" y="2903877"/>
                  </a:lnTo>
                  <a:lnTo>
                    <a:pt x="2317033" y="2869816"/>
                  </a:lnTo>
                  <a:lnTo>
                    <a:pt x="2324472" y="2874845"/>
                  </a:lnTo>
                  <a:lnTo>
                    <a:pt x="2318680" y="2906916"/>
                  </a:lnTo>
                  <a:lnTo>
                    <a:pt x="2336235" y="2914250"/>
                  </a:lnTo>
                  <a:lnTo>
                    <a:pt x="2348322" y="2912812"/>
                  </a:lnTo>
                  <a:lnTo>
                    <a:pt x="2359562" y="2878388"/>
                  </a:lnTo>
                  <a:lnTo>
                    <a:pt x="2351247" y="2853719"/>
                  </a:lnTo>
                  <a:close/>
                  <a:moveTo>
                    <a:pt x="2149354" y="2899086"/>
                  </a:moveTo>
                  <a:lnTo>
                    <a:pt x="2122580" y="2942520"/>
                  </a:lnTo>
                  <a:lnTo>
                    <a:pt x="2078450" y="2948054"/>
                  </a:lnTo>
                  <a:lnTo>
                    <a:pt x="2043760" y="2928919"/>
                  </a:lnTo>
                  <a:lnTo>
                    <a:pt x="2035045" y="2899677"/>
                  </a:lnTo>
                  <a:lnTo>
                    <a:pt x="2026577" y="2857176"/>
                  </a:lnTo>
                  <a:lnTo>
                    <a:pt x="2051799" y="2830230"/>
                  </a:lnTo>
                  <a:lnTo>
                    <a:pt x="2028158" y="2810332"/>
                  </a:lnTo>
                  <a:lnTo>
                    <a:pt x="1988201" y="2814390"/>
                  </a:lnTo>
                  <a:lnTo>
                    <a:pt x="1932185" y="2848013"/>
                  </a:lnTo>
                  <a:lnTo>
                    <a:pt x="1889312" y="2899944"/>
                  </a:lnTo>
                  <a:lnTo>
                    <a:pt x="1866633" y="2906344"/>
                  </a:lnTo>
                  <a:lnTo>
                    <a:pt x="1897371" y="2870111"/>
                  </a:lnTo>
                  <a:lnTo>
                    <a:pt x="1935890" y="2817019"/>
                  </a:lnTo>
                  <a:lnTo>
                    <a:pt x="1969942" y="2798931"/>
                  </a:lnTo>
                  <a:lnTo>
                    <a:pt x="1992306" y="2769289"/>
                  </a:lnTo>
                  <a:lnTo>
                    <a:pt x="2019967" y="2766403"/>
                  </a:lnTo>
                  <a:lnTo>
                    <a:pt x="2060048" y="2766698"/>
                  </a:lnTo>
                  <a:lnTo>
                    <a:pt x="2117170" y="2775452"/>
                  </a:lnTo>
                  <a:lnTo>
                    <a:pt x="2162318" y="2768708"/>
                  </a:lnTo>
                  <a:lnTo>
                    <a:pt x="2195922" y="2734189"/>
                  </a:lnTo>
                  <a:lnTo>
                    <a:pt x="2239937" y="2719073"/>
                  </a:lnTo>
                  <a:lnTo>
                    <a:pt x="2259102" y="2704024"/>
                  </a:lnTo>
                  <a:lnTo>
                    <a:pt x="2278485" y="2687774"/>
                  </a:lnTo>
                  <a:lnTo>
                    <a:pt x="2276532" y="2638358"/>
                  </a:lnTo>
                  <a:lnTo>
                    <a:pt x="2265807" y="2621480"/>
                  </a:lnTo>
                  <a:lnTo>
                    <a:pt x="2245004" y="2615498"/>
                  </a:lnTo>
                  <a:lnTo>
                    <a:pt x="2234422" y="2576951"/>
                  </a:lnTo>
                  <a:lnTo>
                    <a:pt x="2217277" y="2562206"/>
                  </a:lnTo>
                  <a:lnTo>
                    <a:pt x="2174691" y="2550166"/>
                  </a:lnTo>
                  <a:lnTo>
                    <a:pt x="2150679" y="2523287"/>
                  </a:lnTo>
                  <a:lnTo>
                    <a:pt x="2115160" y="2496369"/>
                  </a:lnTo>
                  <a:lnTo>
                    <a:pt x="2125894" y="2465918"/>
                  </a:lnTo>
                  <a:lnTo>
                    <a:pt x="2096357" y="2406291"/>
                  </a:lnTo>
                  <a:lnTo>
                    <a:pt x="2061582" y="2340636"/>
                  </a:lnTo>
                  <a:lnTo>
                    <a:pt x="2040779" y="2293172"/>
                  </a:lnTo>
                  <a:lnTo>
                    <a:pt x="2023110" y="2318042"/>
                  </a:lnTo>
                  <a:lnTo>
                    <a:pt x="1997564" y="2375697"/>
                  </a:lnTo>
                  <a:lnTo>
                    <a:pt x="1958892" y="2404015"/>
                  </a:lnTo>
                  <a:lnTo>
                    <a:pt x="1939538" y="2373963"/>
                  </a:lnTo>
                  <a:lnTo>
                    <a:pt x="1915144" y="2365896"/>
                  </a:lnTo>
                  <a:lnTo>
                    <a:pt x="1906267" y="2299316"/>
                  </a:lnTo>
                  <a:lnTo>
                    <a:pt x="1907067" y="2253625"/>
                  </a:lnTo>
                  <a:lnTo>
                    <a:pt x="1859442" y="2249453"/>
                  </a:lnTo>
                  <a:lnTo>
                    <a:pt x="1851336" y="2227869"/>
                  </a:lnTo>
                  <a:lnTo>
                    <a:pt x="1818446" y="2195141"/>
                  </a:lnTo>
                  <a:lnTo>
                    <a:pt x="1793577" y="2175720"/>
                  </a:lnTo>
                  <a:lnTo>
                    <a:pt x="1771459" y="2190798"/>
                  </a:lnTo>
                  <a:lnTo>
                    <a:pt x="1743999" y="2185226"/>
                  </a:lnTo>
                  <a:lnTo>
                    <a:pt x="1698212" y="2169547"/>
                  </a:lnTo>
                  <a:lnTo>
                    <a:pt x="1679619" y="2182854"/>
                  </a:lnTo>
                  <a:lnTo>
                    <a:pt x="1688544" y="2270265"/>
                  </a:lnTo>
                  <a:lnTo>
                    <a:pt x="1700184" y="2318995"/>
                  </a:lnTo>
                  <a:lnTo>
                    <a:pt x="1668666" y="2373773"/>
                  </a:lnTo>
                  <a:lnTo>
                    <a:pt x="1701108" y="2412083"/>
                  </a:lnTo>
                  <a:lnTo>
                    <a:pt x="1719243" y="2454374"/>
                  </a:lnTo>
                  <a:lnTo>
                    <a:pt x="1721425" y="2486968"/>
                  </a:lnTo>
                  <a:lnTo>
                    <a:pt x="1706623" y="2520344"/>
                  </a:lnTo>
                  <a:lnTo>
                    <a:pt x="1676362" y="2553310"/>
                  </a:lnTo>
                  <a:lnTo>
                    <a:pt x="1633604" y="2575036"/>
                  </a:lnTo>
                  <a:lnTo>
                    <a:pt x="1652445" y="2599125"/>
                  </a:lnTo>
                  <a:lnTo>
                    <a:pt x="1666389" y="2669629"/>
                  </a:lnTo>
                  <a:lnTo>
                    <a:pt x="1651940" y="2714168"/>
                  </a:lnTo>
                  <a:lnTo>
                    <a:pt x="1631375" y="2728055"/>
                  </a:lnTo>
                  <a:lnTo>
                    <a:pt x="1591637" y="2687260"/>
                  </a:lnTo>
                  <a:lnTo>
                    <a:pt x="1572292" y="2638035"/>
                  </a:lnTo>
                  <a:lnTo>
                    <a:pt x="1563986" y="2592705"/>
                  </a:lnTo>
                  <a:lnTo>
                    <a:pt x="1568348" y="2552757"/>
                  </a:lnTo>
                  <a:lnTo>
                    <a:pt x="1539297" y="2548242"/>
                  </a:lnTo>
                  <a:lnTo>
                    <a:pt x="1495197" y="2545547"/>
                  </a:lnTo>
                  <a:lnTo>
                    <a:pt x="1466898" y="2525716"/>
                  </a:lnTo>
                  <a:lnTo>
                    <a:pt x="1433436" y="2512638"/>
                  </a:lnTo>
                  <a:lnTo>
                    <a:pt x="1414329" y="2489978"/>
                  </a:lnTo>
                  <a:lnTo>
                    <a:pt x="1387631" y="2471547"/>
                  </a:lnTo>
                  <a:lnTo>
                    <a:pt x="1338005" y="2450316"/>
                  </a:lnTo>
                  <a:lnTo>
                    <a:pt x="1300639" y="2460031"/>
                  </a:lnTo>
                  <a:lnTo>
                    <a:pt x="1288152" y="2422436"/>
                  </a:lnTo>
                  <a:lnTo>
                    <a:pt x="1276122" y="2374906"/>
                  </a:lnTo>
                  <a:lnTo>
                    <a:pt x="1236878" y="2366315"/>
                  </a:lnTo>
                  <a:lnTo>
                    <a:pt x="1238355" y="2305250"/>
                  </a:lnTo>
                  <a:lnTo>
                    <a:pt x="1248709" y="2262550"/>
                  </a:lnTo>
                  <a:lnTo>
                    <a:pt x="1277674" y="2199685"/>
                  </a:lnTo>
                  <a:lnTo>
                    <a:pt x="1310354" y="2152993"/>
                  </a:lnTo>
                  <a:lnTo>
                    <a:pt x="1341425" y="2145668"/>
                  </a:lnTo>
                  <a:lnTo>
                    <a:pt x="1343196" y="2107111"/>
                  </a:lnTo>
                  <a:lnTo>
                    <a:pt x="1364275" y="2081565"/>
                  </a:lnTo>
                  <a:lnTo>
                    <a:pt x="1402509" y="2077526"/>
                  </a:lnTo>
                  <a:lnTo>
                    <a:pt x="1433484" y="2035693"/>
                  </a:lnTo>
                  <a:lnTo>
                    <a:pt x="1441275" y="2008099"/>
                  </a:lnTo>
                  <a:lnTo>
                    <a:pt x="1467021" y="1953568"/>
                  </a:lnTo>
                  <a:lnTo>
                    <a:pt x="1474984" y="1920230"/>
                  </a:lnTo>
                  <a:lnTo>
                    <a:pt x="1502597" y="1940300"/>
                  </a:lnTo>
                  <a:lnTo>
                    <a:pt x="1539735" y="1930051"/>
                  </a:lnTo>
                  <a:lnTo>
                    <a:pt x="1592028" y="1882769"/>
                  </a:lnTo>
                  <a:lnTo>
                    <a:pt x="1595428" y="1849060"/>
                  </a:lnTo>
                  <a:lnTo>
                    <a:pt x="1576597" y="1811150"/>
                  </a:lnTo>
                  <a:lnTo>
                    <a:pt x="1596466" y="1772507"/>
                  </a:lnTo>
                  <a:lnTo>
                    <a:pt x="1594857" y="1735693"/>
                  </a:lnTo>
                  <a:lnTo>
                    <a:pt x="1559014" y="1698041"/>
                  </a:lnTo>
                  <a:lnTo>
                    <a:pt x="1519533" y="1686706"/>
                  </a:lnTo>
                  <a:lnTo>
                    <a:pt x="1481576" y="1680763"/>
                  </a:lnTo>
                  <a:lnTo>
                    <a:pt x="1480118" y="1763763"/>
                  </a:lnTo>
                  <a:lnTo>
                    <a:pt x="1460640" y="1826200"/>
                  </a:lnTo>
                  <a:lnTo>
                    <a:pt x="1432751" y="1876720"/>
                  </a:lnTo>
                  <a:lnTo>
                    <a:pt x="1406919" y="1829610"/>
                  </a:lnTo>
                  <a:lnTo>
                    <a:pt x="1414872" y="1776213"/>
                  </a:lnTo>
                  <a:lnTo>
                    <a:pt x="1382944" y="1728416"/>
                  </a:lnTo>
                  <a:lnTo>
                    <a:pt x="1347254" y="1786423"/>
                  </a:lnTo>
                  <a:lnTo>
                    <a:pt x="1347368" y="1710309"/>
                  </a:lnTo>
                  <a:lnTo>
                    <a:pt x="1297705" y="1694821"/>
                  </a:lnTo>
                  <a:lnTo>
                    <a:pt x="1321403" y="1656588"/>
                  </a:lnTo>
                  <a:lnTo>
                    <a:pt x="1285123" y="1565281"/>
                  </a:lnTo>
                  <a:lnTo>
                    <a:pt x="1258110" y="1528096"/>
                  </a:lnTo>
                  <a:lnTo>
                    <a:pt x="1222886" y="1514361"/>
                  </a:lnTo>
                  <a:lnTo>
                    <a:pt x="1191311" y="1575587"/>
                  </a:lnTo>
                  <a:lnTo>
                    <a:pt x="1189168" y="1664579"/>
                  </a:lnTo>
                  <a:lnTo>
                    <a:pt x="1220333" y="1695936"/>
                  </a:lnTo>
                  <a:lnTo>
                    <a:pt x="1248947" y="1742665"/>
                  </a:lnTo>
                  <a:lnTo>
                    <a:pt x="1236869" y="1816084"/>
                  </a:lnTo>
                  <a:lnTo>
                    <a:pt x="1215390" y="1814160"/>
                  </a:lnTo>
                  <a:lnTo>
                    <a:pt x="1198388" y="1870205"/>
                  </a:lnTo>
                  <a:lnTo>
                    <a:pt x="1198550" y="1803492"/>
                  </a:lnTo>
                  <a:lnTo>
                    <a:pt x="1157164" y="1778889"/>
                  </a:lnTo>
                  <a:lnTo>
                    <a:pt x="1133418" y="1791605"/>
                  </a:lnTo>
                  <a:lnTo>
                    <a:pt x="1136504" y="1836106"/>
                  </a:lnTo>
                  <a:lnTo>
                    <a:pt x="1097547" y="1834410"/>
                  </a:lnTo>
                  <a:lnTo>
                    <a:pt x="1056084" y="1845583"/>
                  </a:lnTo>
                  <a:lnTo>
                    <a:pt x="1008898" y="1813646"/>
                  </a:lnTo>
                  <a:lnTo>
                    <a:pt x="979075" y="1819342"/>
                  </a:lnTo>
                  <a:lnTo>
                    <a:pt x="952233" y="1780156"/>
                  </a:lnTo>
                  <a:lnTo>
                    <a:pt x="930678" y="1762630"/>
                  </a:lnTo>
                  <a:lnTo>
                    <a:pt x="909314" y="1769993"/>
                  </a:lnTo>
                  <a:lnTo>
                    <a:pt x="876805" y="1773374"/>
                  </a:lnTo>
                  <a:lnTo>
                    <a:pt x="859555" y="1798273"/>
                  </a:lnTo>
                  <a:lnTo>
                    <a:pt x="886816" y="1828629"/>
                  </a:lnTo>
                  <a:lnTo>
                    <a:pt x="857764" y="1864109"/>
                  </a:lnTo>
                  <a:lnTo>
                    <a:pt x="829294" y="1821980"/>
                  </a:lnTo>
                  <a:lnTo>
                    <a:pt x="806548" y="1834382"/>
                  </a:lnTo>
                  <a:lnTo>
                    <a:pt x="734463" y="1842697"/>
                  </a:lnTo>
                  <a:lnTo>
                    <a:pt x="686190" y="1827562"/>
                  </a:lnTo>
                  <a:lnTo>
                    <a:pt x="723767" y="1791976"/>
                  </a:lnTo>
                  <a:lnTo>
                    <a:pt x="687743" y="1754810"/>
                  </a:lnTo>
                  <a:lnTo>
                    <a:pt x="661578" y="1759572"/>
                  </a:lnTo>
                  <a:lnTo>
                    <a:pt x="624821" y="1746971"/>
                  </a:lnTo>
                  <a:lnTo>
                    <a:pt x="562318" y="1719434"/>
                  </a:lnTo>
                  <a:lnTo>
                    <a:pt x="521475" y="1687306"/>
                  </a:lnTo>
                  <a:lnTo>
                    <a:pt x="489128" y="1682839"/>
                  </a:lnTo>
                  <a:lnTo>
                    <a:pt x="479041" y="1705289"/>
                  </a:lnTo>
                  <a:lnTo>
                    <a:pt x="446227" y="1717777"/>
                  </a:lnTo>
                  <a:lnTo>
                    <a:pt x="442617" y="1659198"/>
                  </a:lnTo>
                  <a:lnTo>
                    <a:pt x="407060" y="1711633"/>
                  </a:lnTo>
                  <a:lnTo>
                    <a:pt x="361902" y="1641901"/>
                  </a:lnTo>
                  <a:lnTo>
                    <a:pt x="343443" y="1633404"/>
                  </a:lnTo>
                  <a:lnTo>
                    <a:pt x="337480" y="1670599"/>
                  </a:lnTo>
                  <a:lnTo>
                    <a:pt x="317554" y="1688735"/>
                  </a:lnTo>
                  <a:lnTo>
                    <a:pt x="299209" y="1656417"/>
                  </a:lnTo>
                  <a:lnTo>
                    <a:pt x="255499" y="1675924"/>
                  </a:lnTo>
                  <a:lnTo>
                    <a:pt x="215494" y="1709747"/>
                  </a:lnTo>
                  <a:lnTo>
                    <a:pt x="175822" y="1700413"/>
                  </a:lnTo>
                  <a:lnTo>
                    <a:pt x="143475" y="1724177"/>
                  </a:lnTo>
                  <a:lnTo>
                    <a:pt x="120034" y="1755381"/>
                  </a:lnTo>
                  <a:lnTo>
                    <a:pt x="92183" y="1748552"/>
                  </a:lnTo>
                  <a:lnTo>
                    <a:pt x="50140" y="1712357"/>
                  </a:lnTo>
                  <a:lnTo>
                    <a:pt x="324" y="1693917"/>
                  </a:lnTo>
                  <a:lnTo>
                    <a:pt x="143" y="1957264"/>
                  </a:lnTo>
                  <a:lnTo>
                    <a:pt x="0" y="2294735"/>
                  </a:lnTo>
                  <a:lnTo>
                    <a:pt x="26299" y="2296325"/>
                  </a:lnTo>
                  <a:lnTo>
                    <a:pt x="52311" y="2311146"/>
                  </a:lnTo>
                  <a:lnTo>
                    <a:pt x="70961" y="2334349"/>
                  </a:lnTo>
                  <a:lnTo>
                    <a:pt x="94688" y="2368601"/>
                  </a:lnTo>
                  <a:lnTo>
                    <a:pt x="120672" y="2339512"/>
                  </a:lnTo>
                  <a:lnTo>
                    <a:pt x="147485" y="2322433"/>
                  </a:lnTo>
                  <a:lnTo>
                    <a:pt x="161658" y="2349627"/>
                  </a:lnTo>
                  <a:lnTo>
                    <a:pt x="179651" y="2370858"/>
                  </a:lnTo>
                  <a:lnTo>
                    <a:pt x="204102" y="2393947"/>
                  </a:lnTo>
                  <a:lnTo>
                    <a:pt x="220799" y="2430085"/>
                  </a:lnTo>
                  <a:lnTo>
                    <a:pt x="248107" y="2486101"/>
                  </a:lnTo>
                  <a:lnTo>
                    <a:pt x="293513" y="2516620"/>
                  </a:lnTo>
                  <a:lnTo>
                    <a:pt x="294256" y="2546376"/>
                  </a:lnTo>
                  <a:lnTo>
                    <a:pt x="279406" y="2568807"/>
                  </a:lnTo>
                  <a:lnTo>
                    <a:pt x="279968" y="2592467"/>
                  </a:lnTo>
                  <a:lnTo>
                    <a:pt x="312277" y="2625319"/>
                  </a:lnTo>
                  <a:lnTo>
                    <a:pt x="316963" y="2661142"/>
                  </a:lnTo>
                  <a:lnTo>
                    <a:pt x="351130" y="2679792"/>
                  </a:lnTo>
                  <a:lnTo>
                    <a:pt x="347329" y="2706367"/>
                  </a:lnTo>
                  <a:lnTo>
                    <a:pt x="362207" y="2744067"/>
                  </a:lnTo>
                  <a:lnTo>
                    <a:pt x="410575" y="2761450"/>
                  </a:lnTo>
                  <a:lnTo>
                    <a:pt x="429654" y="2779424"/>
                  </a:lnTo>
                  <a:lnTo>
                    <a:pt x="481355" y="2819686"/>
                  </a:lnTo>
                  <a:lnTo>
                    <a:pt x="484937" y="2819791"/>
                  </a:lnTo>
                  <a:lnTo>
                    <a:pt x="560784" y="2819791"/>
                  </a:lnTo>
                  <a:lnTo>
                    <a:pt x="640070" y="2819791"/>
                  </a:lnTo>
                  <a:lnTo>
                    <a:pt x="666321" y="2819791"/>
                  </a:lnTo>
                  <a:lnTo>
                    <a:pt x="747722" y="2819791"/>
                  </a:lnTo>
                  <a:lnTo>
                    <a:pt x="826503" y="2819791"/>
                  </a:lnTo>
                  <a:lnTo>
                    <a:pt x="906628" y="2819791"/>
                  </a:lnTo>
                  <a:lnTo>
                    <a:pt x="986800" y="2819791"/>
                  </a:lnTo>
                  <a:lnTo>
                    <a:pt x="1077554" y="2819791"/>
                  </a:lnTo>
                  <a:lnTo>
                    <a:pt x="1168927" y="2819762"/>
                  </a:lnTo>
                  <a:lnTo>
                    <a:pt x="1224201" y="2819791"/>
                  </a:lnTo>
                  <a:lnTo>
                    <a:pt x="1224277" y="2804132"/>
                  </a:lnTo>
                  <a:lnTo>
                    <a:pt x="1233316" y="2803931"/>
                  </a:lnTo>
                  <a:lnTo>
                    <a:pt x="1238060" y="2826268"/>
                  </a:lnTo>
                  <a:lnTo>
                    <a:pt x="1246365" y="2833107"/>
                  </a:lnTo>
                  <a:lnTo>
                    <a:pt x="1265015" y="2835583"/>
                  </a:lnTo>
                  <a:lnTo>
                    <a:pt x="1292285" y="2841984"/>
                  </a:lnTo>
                  <a:lnTo>
                    <a:pt x="1318193" y="2854395"/>
                  </a:lnTo>
                  <a:lnTo>
                    <a:pt x="1339825" y="2849204"/>
                  </a:lnTo>
                  <a:lnTo>
                    <a:pt x="1372676" y="2859577"/>
                  </a:lnTo>
                  <a:lnTo>
                    <a:pt x="1383516" y="2843775"/>
                  </a:lnTo>
                  <a:lnTo>
                    <a:pt x="1398670" y="2837460"/>
                  </a:lnTo>
                  <a:lnTo>
                    <a:pt x="1404604" y="2827630"/>
                  </a:lnTo>
                  <a:lnTo>
                    <a:pt x="1410624" y="2822353"/>
                  </a:lnTo>
                  <a:lnTo>
                    <a:pt x="1435456" y="2830506"/>
                  </a:lnTo>
                  <a:lnTo>
                    <a:pt x="1453858" y="2831478"/>
                  </a:lnTo>
                  <a:lnTo>
                    <a:pt x="1460240" y="2836869"/>
                  </a:lnTo>
                  <a:lnTo>
                    <a:pt x="1469174" y="2859558"/>
                  </a:lnTo>
                  <a:lnTo>
                    <a:pt x="1499149" y="2865530"/>
                  </a:lnTo>
                  <a:lnTo>
                    <a:pt x="1494434" y="2876788"/>
                  </a:lnTo>
                  <a:lnTo>
                    <a:pt x="1504998" y="2888333"/>
                  </a:lnTo>
                  <a:lnTo>
                    <a:pt x="1500445" y="2903192"/>
                  </a:lnTo>
                  <a:lnTo>
                    <a:pt x="1511656" y="2908078"/>
                  </a:lnTo>
                  <a:lnTo>
                    <a:pt x="1506064" y="2921146"/>
                  </a:lnTo>
                  <a:lnTo>
                    <a:pt x="1513227" y="2922337"/>
                  </a:lnTo>
                  <a:lnTo>
                    <a:pt x="1518247" y="2916650"/>
                  </a:lnTo>
                  <a:lnTo>
                    <a:pt x="1523486" y="2925204"/>
                  </a:lnTo>
                  <a:lnTo>
                    <a:pt x="1543517" y="2929976"/>
                  </a:lnTo>
                  <a:lnTo>
                    <a:pt x="1563824" y="2930376"/>
                  </a:lnTo>
                  <a:lnTo>
                    <a:pt x="1585474" y="2934300"/>
                  </a:lnTo>
                  <a:lnTo>
                    <a:pt x="1609363" y="2941720"/>
                  </a:lnTo>
                  <a:lnTo>
                    <a:pt x="1618079" y="2953684"/>
                  </a:lnTo>
                  <a:lnTo>
                    <a:pt x="1635376" y="2982611"/>
                  </a:lnTo>
                  <a:lnTo>
                    <a:pt x="1626775" y="2994984"/>
                  </a:lnTo>
                  <a:lnTo>
                    <a:pt x="1605067" y="2989840"/>
                  </a:lnTo>
                  <a:lnTo>
                    <a:pt x="1591589" y="2966590"/>
                  </a:lnTo>
                  <a:lnTo>
                    <a:pt x="1594971" y="2990269"/>
                  </a:lnTo>
                  <a:lnTo>
                    <a:pt x="1582236" y="3010938"/>
                  </a:lnTo>
                  <a:lnTo>
                    <a:pt x="1583636" y="3028445"/>
                  </a:lnTo>
                  <a:lnTo>
                    <a:pt x="1581436" y="3038675"/>
                  </a:lnTo>
                  <a:lnTo>
                    <a:pt x="1564148" y="3050743"/>
                  </a:lnTo>
                  <a:lnTo>
                    <a:pt x="1551594" y="3070660"/>
                  </a:lnTo>
                  <a:lnTo>
                    <a:pt x="1545717" y="3083243"/>
                  </a:lnTo>
                  <a:lnTo>
                    <a:pt x="1560376" y="3085500"/>
                  </a:lnTo>
                  <a:lnTo>
                    <a:pt x="1580198" y="3074061"/>
                  </a:lnTo>
                  <a:lnTo>
                    <a:pt x="1591866" y="3063974"/>
                  </a:lnTo>
                  <a:lnTo>
                    <a:pt x="1599800" y="3062326"/>
                  </a:lnTo>
                  <a:lnTo>
                    <a:pt x="1614487" y="3065964"/>
                  </a:lnTo>
                  <a:lnTo>
                    <a:pt x="1621593" y="3060335"/>
                  </a:lnTo>
                  <a:lnTo>
                    <a:pt x="1634623" y="3055754"/>
                  </a:lnTo>
                  <a:lnTo>
                    <a:pt x="1657893" y="3051286"/>
                  </a:lnTo>
                  <a:lnTo>
                    <a:pt x="1657893" y="3051305"/>
                  </a:lnTo>
                  <a:lnTo>
                    <a:pt x="1657893" y="3051286"/>
                  </a:lnTo>
                  <a:lnTo>
                    <a:pt x="1655521" y="3040332"/>
                  </a:lnTo>
                  <a:lnTo>
                    <a:pt x="1654245" y="3040752"/>
                  </a:lnTo>
                  <a:lnTo>
                    <a:pt x="1646092" y="3042637"/>
                  </a:lnTo>
                  <a:lnTo>
                    <a:pt x="1635443" y="3039180"/>
                  </a:lnTo>
                  <a:lnTo>
                    <a:pt x="1643434" y="3026636"/>
                  </a:lnTo>
                  <a:lnTo>
                    <a:pt x="1651578" y="3022283"/>
                  </a:lnTo>
                  <a:lnTo>
                    <a:pt x="1670428" y="3016901"/>
                  </a:lnTo>
                  <a:lnTo>
                    <a:pt x="1693002" y="3011872"/>
                  </a:lnTo>
                  <a:lnTo>
                    <a:pt x="1704851" y="3018863"/>
                  </a:lnTo>
                  <a:lnTo>
                    <a:pt x="1712300" y="3010757"/>
                  </a:lnTo>
                  <a:lnTo>
                    <a:pt x="1720767" y="3005614"/>
                  </a:lnTo>
                  <a:lnTo>
                    <a:pt x="1726444" y="3008338"/>
                  </a:lnTo>
                  <a:lnTo>
                    <a:pt x="1726749" y="3008919"/>
                  </a:lnTo>
                  <a:lnTo>
                    <a:pt x="1754086" y="2982916"/>
                  </a:lnTo>
                  <a:lnTo>
                    <a:pt x="1766135" y="2976001"/>
                  </a:lnTo>
                  <a:lnTo>
                    <a:pt x="1806712" y="2975744"/>
                  </a:lnTo>
                  <a:lnTo>
                    <a:pt x="1855927" y="2975715"/>
                  </a:lnTo>
                  <a:lnTo>
                    <a:pt x="1858604" y="2966399"/>
                  </a:lnTo>
                  <a:lnTo>
                    <a:pt x="1867148" y="2964495"/>
                  </a:lnTo>
                  <a:lnTo>
                    <a:pt x="1878492" y="2958627"/>
                  </a:lnTo>
                  <a:lnTo>
                    <a:pt x="1887969" y="2941292"/>
                  </a:lnTo>
                  <a:lnTo>
                    <a:pt x="1896113" y="2911307"/>
                  </a:lnTo>
                  <a:lnTo>
                    <a:pt x="1916487" y="2881808"/>
                  </a:lnTo>
                  <a:lnTo>
                    <a:pt x="1925365" y="2892123"/>
                  </a:lnTo>
                  <a:lnTo>
                    <a:pt x="1943272" y="2885456"/>
                  </a:lnTo>
                  <a:lnTo>
                    <a:pt x="1955130" y="2896762"/>
                  </a:lnTo>
                  <a:lnTo>
                    <a:pt x="1955111" y="2949388"/>
                  </a:lnTo>
                  <a:lnTo>
                    <a:pt x="1972570" y="2970828"/>
                  </a:lnTo>
                  <a:lnTo>
                    <a:pt x="2002250" y="2966228"/>
                  </a:lnTo>
                  <a:lnTo>
                    <a:pt x="2044999" y="2964990"/>
                  </a:lnTo>
                  <a:lnTo>
                    <a:pt x="1998631" y="2996051"/>
                  </a:lnTo>
                  <a:lnTo>
                    <a:pt x="1999650" y="3027398"/>
                  </a:lnTo>
                  <a:lnTo>
                    <a:pt x="2019929" y="3030093"/>
                  </a:lnTo>
                  <a:lnTo>
                    <a:pt x="2049771" y="3003490"/>
                  </a:lnTo>
                  <a:lnTo>
                    <a:pt x="2076259" y="2988402"/>
                  </a:lnTo>
                  <a:lnTo>
                    <a:pt x="2135410" y="2966009"/>
                  </a:lnTo>
                  <a:lnTo>
                    <a:pt x="2168452" y="2941092"/>
                  </a:lnTo>
                  <a:lnTo>
                    <a:pt x="2151202" y="2927185"/>
                  </a:lnTo>
                  <a:lnTo>
                    <a:pt x="2149354" y="2899086"/>
                  </a:lnTo>
                  <a:close/>
                  <a:moveTo>
                    <a:pt x="1638205" y="2221830"/>
                  </a:moveTo>
                  <a:lnTo>
                    <a:pt x="1648663" y="2192074"/>
                  </a:lnTo>
                  <a:lnTo>
                    <a:pt x="1641872" y="2180330"/>
                  </a:lnTo>
                  <a:lnTo>
                    <a:pt x="1630937" y="2179072"/>
                  </a:lnTo>
                  <a:lnTo>
                    <a:pt x="1620631" y="2196256"/>
                  </a:lnTo>
                  <a:lnTo>
                    <a:pt x="1619383" y="2200189"/>
                  </a:lnTo>
                  <a:lnTo>
                    <a:pt x="1626394" y="2217058"/>
                  </a:lnTo>
                  <a:lnTo>
                    <a:pt x="1638205" y="2221830"/>
                  </a:lnTo>
                  <a:close/>
                  <a:moveTo>
                    <a:pt x="279406" y="2568807"/>
                  </a:moveTo>
                  <a:lnTo>
                    <a:pt x="279406" y="2568807"/>
                  </a:lnTo>
                  <a:lnTo>
                    <a:pt x="294256" y="2546385"/>
                  </a:lnTo>
                  <a:lnTo>
                    <a:pt x="279406" y="256880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orme libre : forme 5677">
              <a:extLst>
                <a:ext uri="{FF2B5EF4-FFF2-40B4-BE49-F238E27FC236}">
                  <a16:creationId xmlns:a16="http://schemas.microsoft.com/office/drawing/2014/main" id="{59D73F9B-0F65-B904-08A9-91D3ABF292E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146253" y="4603027"/>
              <a:ext cx="507206" cy="494537"/>
            </a:xfrm>
            <a:custGeom>
              <a:avLst/>
              <a:gdLst>
                <a:gd name="connsiteX0" fmla="*/ 498119 w 507206"/>
                <a:gd name="connsiteY0" fmla="*/ 46472 h 494537"/>
                <a:gd name="connsiteX1" fmla="*/ 496500 w 507206"/>
                <a:gd name="connsiteY1" fmla="*/ 77543 h 494537"/>
                <a:gd name="connsiteX2" fmla="*/ 507206 w 507206"/>
                <a:gd name="connsiteY2" fmla="*/ 81134 h 494537"/>
                <a:gd name="connsiteX3" fmla="*/ 498614 w 507206"/>
                <a:gd name="connsiteY3" fmla="*/ 90554 h 494537"/>
                <a:gd name="connsiteX4" fmla="*/ 488356 w 507206"/>
                <a:gd name="connsiteY4" fmla="*/ 97612 h 494537"/>
                <a:gd name="connsiteX5" fmla="*/ 478145 w 507206"/>
                <a:gd name="connsiteY5" fmla="*/ 111442 h 494537"/>
                <a:gd name="connsiteX6" fmla="*/ 472535 w 507206"/>
                <a:gd name="connsiteY6" fmla="*/ 123777 h 494537"/>
                <a:gd name="connsiteX7" fmla="*/ 471021 w 507206"/>
                <a:gd name="connsiteY7" fmla="*/ 145075 h 494537"/>
                <a:gd name="connsiteX8" fmla="*/ 464839 w 507206"/>
                <a:gd name="connsiteY8" fmla="*/ 155210 h 494537"/>
                <a:gd name="connsiteX9" fmla="*/ 464611 w 507206"/>
                <a:gd name="connsiteY9" fmla="*/ 175212 h 494537"/>
                <a:gd name="connsiteX10" fmla="*/ 456933 w 507206"/>
                <a:gd name="connsiteY10" fmla="*/ 182613 h 494537"/>
                <a:gd name="connsiteX11" fmla="*/ 455943 w 507206"/>
                <a:gd name="connsiteY11" fmla="*/ 198406 h 494537"/>
                <a:gd name="connsiteX12" fmla="*/ 452275 w 507206"/>
                <a:gd name="connsiteY12" fmla="*/ 200453 h 494537"/>
                <a:gd name="connsiteX13" fmla="*/ 449809 w 507206"/>
                <a:gd name="connsiteY13" fmla="*/ 214979 h 494537"/>
                <a:gd name="connsiteX14" fmla="*/ 456524 w 507206"/>
                <a:gd name="connsiteY14" fmla="*/ 227057 h 494537"/>
                <a:gd name="connsiteX15" fmla="*/ 458219 w 507206"/>
                <a:gd name="connsiteY15" fmla="*/ 259128 h 494537"/>
                <a:gd name="connsiteX16" fmla="*/ 463019 w 507206"/>
                <a:gd name="connsiteY16" fmla="*/ 283626 h 494537"/>
                <a:gd name="connsiteX17" fmla="*/ 460353 w 507206"/>
                <a:gd name="connsiteY17" fmla="*/ 297485 h 494537"/>
                <a:gd name="connsiteX18" fmla="*/ 465696 w 507206"/>
                <a:gd name="connsiteY18" fmla="*/ 312972 h 494537"/>
                <a:gd name="connsiteX19" fmla="*/ 481184 w 507206"/>
                <a:gd name="connsiteY19" fmla="*/ 327927 h 494537"/>
                <a:gd name="connsiteX20" fmla="*/ 495605 w 507206"/>
                <a:gd name="connsiteY20" fmla="*/ 361664 h 494537"/>
                <a:gd name="connsiteX21" fmla="*/ 485089 w 507206"/>
                <a:gd name="connsiteY21" fmla="*/ 358940 h 494537"/>
                <a:gd name="connsiteX22" fmla="*/ 449218 w 507206"/>
                <a:gd name="connsiteY22" fmla="*/ 363464 h 494537"/>
                <a:gd name="connsiteX23" fmla="*/ 442055 w 507206"/>
                <a:gd name="connsiteY23" fmla="*/ 366674 h 494537"/>
                <a:gd name="connsiteX24" fmla="*/ 434444 w 507206"/>
                <a:gd name="connsiteY24" fmla="*/ 383810 h 494537"/>
                <a:gd name="connsiteX25" fmla="*/ 440427 w 507206"/>
                <a:gd name="connsiteY25" fmla="*/ 395678 h 494537"/>
                <a:gd name="connsiteX26" fmla="*/ 435683 w 507206"/>
                <a:gd name="connsiteY26" fmla="*/ 427596 h 494537"/>
                <a:gd name="connsiteX27" fmla="*/ 432378 w 507206"/>
                <a:gd name="connsiteY27" fmla="*/ 454752 h 494537"/>
                <a:gd name="connsiteX28" fmla="*/ 439588 w 507206"/>
                <a:gd name="connsiteY28" fmla="*/ 459581 h 494537"/>
                <a:gd name="connsiteX29" fmla="*/ 458257 w 507206"/>
                <a:gd name="connsiteY29" fmla="*/ 470135 h 494537"/>
                <a:gd name="connsiteX30" fmla="*/ 465591 w 507206"/>
                <a:gd name="connsiteY30" fmla="*/ 465201 h 494537"/>
                <a:gd name="connsiteX31" fmla="*/ 467820 w 507206"/>
                <a:gd name="connsiteY31" fmla="*/ 494538 h 494537"/>
                <a:gd name="connsiteX32" fmla="*/ 447380 w 507206"/>
                <a:gd name="connsiteY32" fmla="*/ 494309 h 494537"/>
                <a:gd name="connsiteX33" fmla="*/ 436416 w 507206"/>
                <a:gd name="connsiteY33" fmla="*/ 479327 h 494537"/>
                <a:gd name="connsiteX34" fmla="*/ 426577 w 507206"/>
                <a:gd name="connsiteY34" fmla="*/ 467744 h 494537"/>
                <a:gd name="connsiteX35" fmla="*/ 406108 w 507206"/>
                <a:gd name="connsiteY35" fmla="*/ 463953 h 494537"/>
                <a:gd name="connsiteX36" fmla="*/ 400117 w 507206"/>
                <a:gd name="connsiteY36" fmla="*/ 449742 h 494537"/>
                <a:gd name="connsiteX37" fmla="*/ 383791 w 507206"/>
                <a:gd name="connsiteY37" fmla="*/ 458295 h 494537"/>
                <a:gd name="connsiteX38" fmla="*/ 362398 w 507206"/>
                <a:gd name="connsiteY38" fmla="*/ 454514 h 494537"/>
                <a:gd name="connsiteX39" fmla="*/ 353473 w 507206"/>
                <a:gd name="connsiteY39" fmla="*/ 442217 h 494537"/>
                <a:gd name="connsiteX40" fmla="*/ 336518 w 507206"/>
                <a:gd name="connsiteY40" fmla="*/ 439721 h 494537"/>
                <a:gd name="connsiteX41" fmla="*/ 324002 w 507206"/>
                <a:gd name="connsiteY41" fmla="*/ 440379 h 494537"/>
                <a:gd name="connsiteX42" fmla="*/ 322479 w 507206"/>
                <a:gd name="connsiteY42" fmla="*/ 431968 h 494537"/>
                <a:gd name="connsiteX43" fmla="*/ 313258 w 507206"/>
                <a:gd name="connsiteY43" fmla="*/ 431292 h 494537"/>
                <a:gd name="connsiteX44" fmla="*/ 301094 w 507206"/>
                <a:gd name="connsiteY44" fmla="*/ 429701 h 494537"/>
                <a:gd name="connsiteX45" fmla="*/ 284559 w 507206"/>
                <a:gd name="connsiteY45" fmla="*/ 433749 h 494537"/>
                <a:gd name="connsiteX46" fmla="*/ 272948 w 507206"/>
                <a:gd name="connsiteY46" fmla="*/ 433083 h 494537"/>
                <a:gd name="connsiteX47" fmla="*/ 266338 w 507206"/>
                <a:gd name="connsiteY47" fmla="*/ 435559 h 494537"/>
                <a:gd name="connsiteX48" fmla="*/ 267767 w 507206"/>
                <a:gd name="connsiteY48" fmla="*/ 403450 h 494537"/>
                <a:gd name="connsiteX49" fmla="*/ 258861 w 507206"/>
                <a:gd name="connsiteY49" fmla="*/ 393459 h 494537"/>
                <a:gd name="connsiteX50" fmla="*/ 256899 w 507206"/>
                <a:gd name="connsiteY50" fmla="*/ 376933 h 494537"/>
                <a:gd name="connsiteX51" fmla="*/ 260832 w 507206"/>
                <a:gd name="connsiteY51" fmla="*/ 360759 h 494537"/>
                <a:gd name="connsiteX52" fmla="*/ 255422 w 507206"/>
                <a:gd name="connsiteY52" fmla="*/ 350415 h 494537"/>
                <a:gd name="connsiteX53" fmla="*/ 254927 w 507206"/>
                <a:gd name="connsiteY53" fmla="*/ 333575 h 494537"/>
                <a:gd name="connsiteX54" fmla="*/ 222523 w 507206"/>
                <a:gd name="connsiteY54" fmla="*/ 333803 h 494537"/>
                <a:gd name="connsiteX55" fmla="*/ 224857 w 507206"/>
                <a:gd name="connsiteY55" fmla="*/ 324174 h 494537"/>
                <a:gd name="connsiteX56" fmla="*/ 211226 w 507206"/>
                <a:gd name="connsiteY56" fmla="*/ 324278 h 494537"/>
                <a:gd name="connsiteX57" fmla="*/ 209788 w 507206"/>
                <a:gd name="connsiteY57" fmla="*/ 328908 h 494537"/>
                <a:gd name="connsiteX58" fmla="*/ 193224 w 507206"/>
                <a:gd name="connsiteY58" fmla="*/ 329946 h 494537"/>
                <a:gd name="connsiteX59" fmla="*/ 186518 w 507206"/>
                <a:gd name="connsiteY59" fmla="*/ 345538 h 494537"/>
                <a:gd name="connsiteX60" fmla="*/ 182518 w 507206"/>
                <a:gd name="connsiteY60" fmla="*/ 352244 h 494537"/>
                <a:gd name="connsiteX61" fmla="*/ 167764 w 507206"/>
                <a:gd name="connsiteY61" fmla="*/ 348462 h 494537"/>
                <a:gd name="connsiteX62" fmla="*/ 158953 w 507206"/>
                <a:gd name="connsiteY62" fmla="*/ 352225 h 494537"/>
                <a:gd name="connsiteX63" fmla="*/ 141294 w 507206"/>
                <a:gd name="connsiteY63" fmla="*/ 354397 h 494537"/>
                <a:gd name="connsiteX64" fmla="*/ 131064 w 507206"/>
                <a:gd name="connsiteY64" fmla="*/ 340385 h 494537"/>
                <a:gd name="connsiteX65" fmla="*/ 124920 w 507206"/>
                <a:gd name="connsiteY65" fmla="*/ 331736 h 494537"/>
                <a:gd name="connsiteX66" fmla="*/ 117262 w 507206"/>
                <a:gd name="connsiteY66" fmla="*/ 315716 h 494537"/>
                <a:gd name="connsiteX67" fmla="*/ 110671 w 507206"/>
                <a:gd name="connsiteY67" fmla="*/ 295827 h 494537"/>
                <a:gd name="connsiteX68" fmla="*/ 31861 w 507206"/>
                <a:gd name="connsiteY68" fmla="*/ 295475 h 494537"/>
                <a:gd name="connsiteX69" fmla="*/ 22498 w 507206"/>
                <a:gd name="connsiteY69" fmla="*/ 298675 h 494537"/>
                <a:gd name="connsiteX70" fmla="*/ 14754 w 507206"/>
                <a:gd name="connsiteY70" fmla="*/ 298180 h 494537"/>
                <a:gd name="connsiteX71" fmla="*/ 3734 w 507206"/>
                <a:gd name="connsiteY71" fmla="*/ 301762 h 494537"/>
                <a:gd name="connsiteX72" fmla="*/ 0 w 507206"/>
                <a:gd name="connsiteY72" fmla="*/ 293494 h 494537"/>
                <a:gd name="connsiteX73" fmla="*/ 6791 w 507206"/>
                <a:gd name="connsiteY73" fmla="*/ 290674 h 494537"/>
                <a:gd name="connsiteX74" fmla="*/ 7620 w 507206"/>
                <a:gd name="connsiteY74" fmla="*/ 279054 h 494537"/>
                <a:gd name="connsiteX75" fmla="*/ 11992 w 507206"/>
                <a:gd name="connsiteY75" fmla="*/ 272205 h 494537"/>
                <a:gd name="connsiteX76" fmla="*/ 21707 w 507206"/>
                <a:gd name="connsiteY76" fmla="*/ 266614 h 494537"/>
                <a:gd name="connsiteX77" fmla="*/ 28727 w 507206"/>
                <a:gd name="connsiteY77" fmla="*/ 269319 h 494537"/>
                <a:gd name="connsiteX78" fmla="*/ 37862 w 507206"/>
                <a:gd name="connsiteY78" fmla="*/ 259137 h 494537"/>
                <a:gd name="connsiteX79" fmla="*/ 52407 w 507206"/>
                <a:gd name="connsiteY79" fmla="*/ 259394 h 494537"/>
                <a:gd name="connsiteX80" fmla="*/ 54121 w 507206"/>
                <a:gd name="connsiteY80" fmla="*/ 266928 h 494537"/>
                <a:gd name="connsiteX81" fmla="*/ 64103 w 507206"/>
                <a:gd name="connsiteY81" fmla="*/ 271643 h 494537"/>
                <a:gd name="connsiteX82" fmla="*/ 79810 w 507206"/>
                <a:gd name="connsiteY82" fmla="*/ 254965 h 494537"/>
                <a:gd name="connsiteX83" fmla="*/ 95374 w 507206"/>
                <a:gd name="connsiteY83" fmla="*/ 241973 h 494537"/>
                <a:gd name="connsiteX84" fmla="*/ 102118 w 507206"/>
                <a:gd name="connsiteY84" fmla="*/ 233467 h 494537"/>
                <a:gd name="connsiteX85" fmla="*/ 101222 w 507206"/>
                <a:gd name="connsiteY85" fmla="*/ 211607 h 494537"/>
                <a:gd name="connsiteX86" fmla="*/ 112823 w 507206"/>
                <a:gd name="connsiteY86" fmla="*/ 185814 h 494537"/>
                <a:gd name="connsiteX87" fmla="*/ 125063 w 507206"/>
                <a:gd name="connsiteY87" fmla="*/ 172145 h 494537"/>
                <a:gd name="connsiteX88" fmla="*/ 142647 w 507206"/>
                <a:gd name="connsiteY88" fmla="*/ 159363 h 494537"/>
                <a:gd name="connsiteX89" fmla="*/ 145713 w 507206"/>
                <a:gd name="connsiteY89" fmla="*/ 150895 h 494537"/>
                <a:gd name="connsiteX90" fmla="*/ 146380 w 507206"/>
                <a:gd name="connsiteY90" fmla="*/ 141170 h 494537"/>
                <a:gd name="connsiteX91" fmla="*/ 150733 w 507206"/>
                <a:gd name="connsiteY91" fmla="*/ 131969 h 494537"/>
                <a:gd name="connsiteX92" fmla="*/ 149333 w 507206"/>
                <a:gd name="connsiteY92" fmla="*/ 116929 h 494537"/>
                <a:gd name="connsiteX93" fmla="*/ 152657 w 507206"/>
                <a:gd name="connsiteY93" fmla="*/ 93411 h 494537"/>
                <a:gd name="connsiteX94" fmla="*/ 157886 w 507206"/>
                <a:gd name="connsiteY94" fmla="*/ 76848 h 494537"/>
                <a:gd name="connsiteX95" fmla="*/ 165878 w 507206"/>
                <a:gd name="connsiteY95" fmla="*/ 62655 h 494537"/>
                <a:gd name="connsiteX96" fmla="*/ 167468 w 507206"/>
                <a:gd name="connsiteY96" fmla="*/ 46606 h 494537"/>
                <a:gd name="connsiteX97" fmla="*/ 169869 w 507206"/>
                <a:gd name="connsiteY97" fmla="*/ 28060 h 494537"/>
                <a:gd name="connsiteX98" fmla="*/ 180261 w 507206"/>
                <a:gd name="connsiteY98" fmla="*/ 14554 h 494537"/>
                <a:gd name="connsiteX99" fmla="*/ 194567 w 507206"/>
                <a:gd name="connsiteY99" fmla="*/ 5982 h 494537"/>
                <a:gd name="connsiteX100" fmla="*/ 216541 w 507206"/>
                <a:gd name="connsiteY100" fmla="*/ 15030 h 494537"/>
                <a:gd name="connsiteX101" fmla="*/ 233553 w 507206"/>
                <a:gd name="connsiteY101" fmla="*/ 24841 h 494537"/>
                <a:gd name="connsiteX102" fmla="*/ 253089 w 507206"/>
                <a:gd name="connsiteY102" fmla="*/ 27461 h 494537"/>
                <a:gd name="connsiteX103" fmla="*/ 273015 w 507206"/>
                <a:gd name="connsiteY103" fmla="*/ 32651 h 494537"/>
                <a:gd name="connsiteX104" fmla="*/ 280997 w 507206"/>
                <a:gd name="connsiteY104" fmla="*/ 16583 h 494537"/>
                <a:gd name="connsiteX105" fmla="*/ 284664 w 507206"/>
                <a:gd name="connsiteY105" fmla="*/ 14535 h 494537"/>
                <a:gd name="connsiteX106" fmla="*/ 296837 w 507206"/>
                <a:gd name="connsiteY106" fmla="*/ 17211 h 494537"/>
                <a:gd name="connsiteX107" fmla="*/ 326564 w 507206"/>
                <a:gd name="connsiteY107" fmla="*/ 3924 h 494537"/>
                <a:gd name="connsiteX108" fmla="*/ 337109 w 507206"/>
                <a:gd name="connsiteY108" fmla="*/ 9553 h 494537"/>
                <a:gd name="connsiteX109" fmla="*/ 345748 w 507206"/>
                <a:gd name="connsiteY109" fmla="*/ 8753 h 494537"/>
                <a:gd name="connsiteX110" fmla="*/ 349758 w 507206"/>
                <a:gd name="connsiteY110" fmla="*/ 2276 h 494537"/>
                <a:gd name="connsiteX111" fmla="*/ 359683 w 507206"/>
                <a:gd name="connsiteY111" fmla="*/ 0 h 494537"/>
                <a:gd name="connsiteX112" fmla="*/ 379771 w 507206"/>
                <a:gd name="connsiteY112" fmla="*/ 2800 h 494537"/>
                <a:gd name="connsiteX113" fmla="*/ 396907 w 507206"/>
                <a:gd name="connsiteY113" fmla="*/ 3410 h 494537"/>
                <a:gd name="connsiteX114" fmla="*/ 405717 w 507206"/>
                <a:gd name="connsiteY114" fmla="*/ 590 h 494537"/>
                <a:gd name="connsiteX115" fmla="*/ 421900 w 507206"/>
                <a:gd name="connsiteY115" fmla="*/ 22565 h 494537"/>
                <a:gd name="connsiteX116" fmla="*/ 433892 w 507206"/>
                <a:gd name="connsiteY116" fmla="*/ 25793 h 494537"/>
                <a:gd name="connsiteX117" fmla="*/ 441036 w 507206"/>
                <a:gd name="connsiteY117" fmla="*/ 21326 h 494537"/>
                <a:gd name="connsiteX118" fmla="*/ 453390 w 507206"/>
                <a:gd name="connsiteY118" fmla="*/ 23070 h 494537"/>
                <a:gd name="connsiteX119" fmla="*/ 468259 w 507206"/>
                <a:gd name="connsiteY119" fmla="*/ 17450 h 494537"/>
                <a:gd name="connsiteX120" fmla="*/ 474602 w 507206"/>
                <a:gd name="connsiteY120" fmla="*/ 28803 h 49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507206" h="494537">
                  <a:moveTo>
                    <a:pt x="498119" y="46472"/>
                  </a:moveTo>
                  <a:lnTo>
                    <a:pt x="496500" y="77543"/>
                  </a:lnTo>
                  <a:lnTo>
                    <a:pt x="507206" y="81134"/>
                  </a:lnTo>
                  <a:lnTo>
                    <a:pt x="498614" y="90554"/>
                  </a:lnTo>
                  <a:lnTo>
                    <a:pt x="488356" y="97612"/>
                  </a:lnTo>
                  <a:lnTo>
                    <a:pt x="478145" y="111442"/>
                  </a:lnTo>
                  <a:lnTo>
                    <a:pt x="472535" y="123777"/>
                  </a:lnTo>
                  <a:lnTo>
                    <a:pt x="471021" y="145075"/>
                  </a:lnTo>
                  <a:lnTo>
                    <a:pt x="464839" y="155210"/>
                  </a:lnTo>
                  <a:lnTo>
                    <a:pt x="464611" y="175212"/>
                  </a:lnTo>
                  <a:lnTo>
                    <a:pt x="456933" y="182613"/>
                  </a:lnTo>
                  <a:lnTo>
                    <a:pt x="455943" y="198406"/>
                  </a:lnTo>
                  <a:lnTo>
                    <a:pt x="452275" y="200453"/>
                  </a:lnTo>
                  <a:lnTo>
                    <a:pt x="449809" y="214979"/>
                  </a:lnTo>
                  <a:lnTo>
                    <a:pt x="456524" y="227057"/>
                  </a:lnTo>
                  <a:lnTo>
                    <a:pt x="458219" y="259128"/>
                  </a:lnTo>
                  <a:lnTo>
                    <a:pt x="463019" y="283626"/>
                  </a:lnTo>
                  <a:lnTo>
                    <a:pt x="460353" y="297485"/>
                  </a:lnTo>
                  <a:lnTo>
                    <a:pt x="465696" y="312972"/>
                  </a:lnTo>
                  <a:lnTo>
                    <a:pt x="481184" y="327927"/>
                  </a:lnTo>
                  <a:lnTo>
                    <a:pt x="495605" y="361664"/>
                  </a:lnTo>
                  <a:lnTo>
                    <a:pt x="485089" y="358940"/>
                  </a:lnTo>
                  <a:lnTo>
                    <a:pt x="449218" y="363464"/>
                  </a:lnTo>
                  <a:lnTo>
                    <a:pt x="442055" y="366674"/>
                  </a:lnTo>
                  <a:lnTo>
                    <a:pt x="434444" y="383810"/>
                  </a:lnTo>
                  <a:lnTo>
                    <a:pt x="440427" y="395678"/>
                  </a:lnTo>
                  <a:lnTo>
                    <a:pt x="435683" y="427596"/>
                  </a:lnTo>
                  <a:lnTo>
                    <a:pt x="432378" y="454752"/>
                  </a:lnTo>
                  <a:lnTo>
                    <a:pt x="439588" y="459581"/>
                  </a:lnTo>
                  <a:lnTo>
                    <a:pt x="458257" y="470135"/>
                  </a:lnTo>
                  <a:lnTo>
                    <a:pt x="465591" y="465201"/>
                  </a:lnTo>
                  <a:lnTo>
                    <a:pt x="467820" y="494538"/>
                  </a:lnTo>
                  <a:lnTo>
                    <a:pt x="447380" y="494309"/>
                  </a:lnTo>
                  <a:lnTo>
                    <a:pt x="436416" y="479327"/>
                  </a:lnTo>
                  <a:lnTo>
                    <a:pt x="426577" y="467744"/>
                  </a:lnTo>
                  <a:lnTo>
                    <a:pt x="406108" y="463953"/>
                  </a:lnTo>
                  <a:lnTo>
                    <a:pt x="400117" y="449742"/>
                  </a:lnTo>
                  <a:lnTo>
                    <a:pt x="383791" y="458295"/>
                  </a:lnTo>
                  <a:lnTo>
                    <a:pt x="362398" y="454514"/>
                  </a:lnTo>
                  <a:lnTo>
                    <a:pt x="353473" y="442217"/>
                  </a:lnTo>
                  <a:lnTo>
                    <a:pt x="336518" y="439721"/>
                  </a:lnTo>
                  <a:lnTo>
                    <a:pt x="324002" y="440379"/>
                  </a:lnTo>
                  <a:lnTo>
                    <a:pt x="322479" y="431968"/>
                  </a:lnTo>
                  <a:lnTo>
                    <a:pt x="313258" y="431292"/>
                  </a:lnTo>
                  <a:lnTo>
                    <a:pt x="301094" y="429701"/>
                  </a:lnTo>
                  <a:lnTo>
                    <a:pt x="284559" y="433749"/>
                  </a:lnTo>
                  <a:lnTo>
                    <a:pt x="272948" y="433083"/>
                  </a:lnTo>
                  <a:lnTo>
                    <a:pt x="266338" y="435559"/>
                  </a:lnTo>
                  <a:lnTo>
                    <a:pt x="267767" y="403450"/>
                  </a:lnTo>
                  <a:lnTo>
                    <a:pt x="258861" y="393459"/>
                  </a:lnTo>
                  <a:lnTo>
                    <a:pt x="256899" y="376933"/>
                  </a:lnTo>
                  <a:lnTo>
                    <a:pt x="260832" y="360759"/>
                  </a:lnTo>
                  <a:lnTo>
                    <a:pt x="255422" y="350415"/>
                  </a:lnTo>
                  <a:lnTo>
                    <a:pt x="254927" y="333575"/>
                  </a:lnTo>
                  <a:lnTo>
                    <a:pt x="222523" y="333803"/>
                  </a:lnTo>
                  <a:lnTo>
                    <a:pt x="224857" y="324174"/>
                  </a:lnTo>
                  <a:lnTo>
                    <a:pt x="211226" y="324278"/>
                  </a:lnTo>
                  <a:lnTo>
                    <a:pt x="209788" y="328908"/>
                  </a:lnTo>
                  <a:lnTo>
                    <a:pt x="193224" y="329946"/>
                  </a:lnTo>
                  <a:lnTo>
                    <a:pt x="186518" y="345538"/>
                  </a:lnTo>
                  <a:lnTo>
                    <a:pt x="182518" y="352244"/>
                  </a:lnTo>
                  <a:lnTo>
                    <a:pt x="167764" y="348462"/>
                  </a:lnTo>
                  <a:lnTo>
                    <a:pt x="158953" y="352225"/>
                  </a:lnTo>
                  <a:lnTo>
                    <a:pt x="141294" y="354397"/>
                  </a:lnTo>
                  <a:lnTo>
                    <a:pt x="131064" y="340385"/>
                  </a:lnTo>
                  <a:lnTo>
                    <a:pt x="124920" y="331736"/>
                  </a:lnTo>
                  <a:lnTo>
                    <a:pt x="117262" y="315716"/>
                  </a:lnTo>
                  <a:lnTo>
                    <a:pt x="110671" y="295827"/>
                  </a:lnTo>
                  <a:lnTo>
                    <a:pt x="31861" y="295475"/>
                  </a:lnTo>
                  <a:lnTo>
                    <a:pt x="22498" y="298675"/>
                  </a:lnTo>
                  <a:lnTo>
                    <a:pt x="14754" y="298180"/>
                  </a:lnTo>
                  <a:lnTo>
                    <a:pt x="3734" y="301762"/>
                  </a:lnTo>
                  <a:lnTo>
                    <a:pt x="0" y="293494"/>
                  </a:lnTo>
                  <a:lnTo>
                    <a:pt x="6791" y="290674"/>
                  </a:lnTo>
                  <a:lnTo>
                    <a:pt x="7620" y="279054"/>
                  </a:lnTo>
                  <a:lnTo>
                    <a:pt x="11992" y="272205"/>
                  </a:lnTo>
                  <a:lnTo>
                    <a:pt x="21707" y="266614"/>
                  </a:lnTo>
                  <a:lnTo>
                    <a:pt x="28727" y="269319"/>
                  </a:lnTo>
                  <a:lnTo>
                    <a:pt x="37862" y="259137"/>
                  </a:lnTo>
                  <a:lnTo>
                    <a:pt x="52407" y="259394"/>
                  </a:lnTo>
                  <a:lnTo>
                    <a:pt x="54121" y="266928"/>
                  </a:lnTo>
                  <a:lnTo>
                    <a:pt x="64103" y="271643"/>
                  </a:lnTo>
                  <a:lnTo>
                    <a:pt x="79810" y="254965"/>
                  </a:lnTo>
                  <a:lnTo>
                    <a:pt x="95374" y="241973"/>
                  </a:lnTo>
                  <a:lnTo>
                    <a:pt x="102118" y="233467"/>
                  </a:lnTo>
                  <a:lnTo>
                    <a:pt x="101222" y="211607"/>
                  </a:lnTo>
                  <a:lnTo>
                    <a:pt x="112823" y="185814"/>
                  </a:lnTo>
                  <a:lnTo>
                    <a:pt x="125063" y="172145"/>
                  </a:lnTo>
                  <a:lnTo>
                    <a:pt x="142647" y="159363"/>
                  </a:lnTo>
                  <a:lnTo>
                    <a:pt x="145713" y="150895"/>
                  </a:lnTo>
                  <a:lnTo>
                    <a:pt x="146380" y="141170"/>
                  </a:lnTo>
                  <a:lnTo>
                    <a:pt x="150733" y="131969"/>
                  </a:lnTo>
                  <a:lnTo>
                    <a:pt x="149333" y="116929"/>
                  </a:lnTo>
                  <a:lnTo>
                    <a:pt x="152657" y="93411"/>
                  </a:lnTo>
                  <a:lnTo>
                    <a:pt x="157886" y="76848"/>
                  </a:lnTo>
                  <a:lnTo>
                    <a:pt x="165878" y="62655"/>
                  </a:lnTo>
                  <a:lnTo>
                    <a:pt x="167468" y="46606"/>
                  </a:lnTo>
                  <a:lnTo>
                    <a:pt x="169869" y="28060"/>
                  </a:lnTo>
                  <a:lnTo>
                    <a:pt x="180261" y="14554"/>
                  </a:lnTo>
                  <a:lnTo>
                    <a:pt x="194567" y="5982"/>
                  </a:lnTo>
                  <a:lnTo>
                    <a:pt x="216541" y="15030"/>
                  </a:lnTo>
                  <a:lnTo>
                    <a:pt x="233553" y="24841"/>
                  </a:lnTo>
                  <a:lnTo>
                    <a:pt x="253089" y="27461"/>
                  </a:lnTo>
                  <a:lnTo>
                    <a:pt x="273015" y="32651"/>
                  </a:lnTo>
                  <a:lnTo>
                    <a:pt x="280997" y="16583"/>
                  </a:lnTo>
                  <a:lnTo>
                    <a:pt x="284664" y="14535"/>
                  </a:lnTo>
                  <a:lnTo>
                    <a:pt x="296837" y="17211"/>
                  </a:lnTo>
                  <a:lnTo>
                    <a:pt x="326564" y="3924"/>
                  </a:lnTo>
                  <a:lnTo>
                    <a:pt x="337109" y="9553"/>
                  </a:lnTo>
                  <a:lnTo>
                    <a:pt x="345748" y="8753"/>
                  </a:lnTo>
                  <a:lnTo>
                    <a:pt x="349758" y="2276"/>
                  </a:lnTo>
                  <a:lnTo>
                    <a:pt x="359683" y="0"/>
                  </a:lnTo>
                  <a:lnTo>
                    <a:pt x="379771" y="2800"/>
                  </a:lnTo>
                  <a:lnTo>
                    <a:pt x="396907" y="3410"/>
                  </a:lnTo>
                  <a:lnTo>
                    <a:pt x="405717" y="590"/>
                  </a:lnTo>
                  <a:lnTo>
                    <a:pt x="421900" y="22565"/>
                  </a:lnTo>
                  <a:lnTo>
                    <a:pt x="433892" y="25793"/>
                  </a:lnTo>
                  <a:lnTo>
                    <a:pt x="441036" y="21326"/>
                  </a:lnTo>
                  <a:lnTo>
                    <a:pt x="453390" y="23070"/>
                  </a:lnTo>
                  <a:lnTo>
                    <a:pt x="468259" y="17450"/>
                  </a:lnTo>
                  <a:lnTo>
                    <a:pt x="474602" y="288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orme libre : forme 5678">
              <a:extLst>
                <a:ext uri="{FF2B5EF4-FFF2-40B4-BE49-F238E27FC236}">
                  <a16:creationId xmlns:a16="http://schemas.microsoft.com/office/drawing/2014/main" id="{B47BB578-0937-28DD-B025-E0BAF55FCF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207061" y="4445159"/>
              <a:ext cx="344909" cy="237324"/>
            </a:xfrm>
            <a:custGeom>
              <a:avLst/>
              <a:gdLst>
                <a:gd name="connsiteX0" fmla="*/ 21898 w 344909"/>
                <a:gd name="connsiteY0" fmla="*/ 100051 h 237324"/>
                <a:gd name="connsiteX1" fmla="*/ 43987 w 344909"/>
                <a:gd name="connsiteY1" fmla="*/ 98031 h 237324"/>
                <a:gd name="connsiteX2" fmla="*/ 48902 w 344909"/>
                <a:gd name="connsiteY2" fmla="*/ 91154 h 237324"/>
                <a:gd name="connsiteX3" fmla="*/ 53330 w 344909"/>
                <a:gd name="connsiteY3" fmla="*/ 91669 h 237324"/>
                <a:gd name="connsiteX4" fmla="*/ 59998 w 344909"/>
                <a:gd name="connsiteY4" fmla="*/ 97736 h 237324"/>
                <a:gd name="connsiteX5" fmla="*/ 93622 w 344909"/>
                <a:gd name="connsiteY5" fmla="*/ 87487 h 237324"/>
                <a:gd name="connsiteX6" fmla="*/ 104956 w 344909"/>
                <a:gd name="connsiteY6" fmla="*/ 77029 h 237324"/>
                <a:gd name="connsiteX7" fmla="*/ 118891 w 344909"/>
                <a:gd name="connsiteY7" fmla="*/ 67656 h 237324"/>
                <a:gd name="connsiteX8" fmla="*/ 116243 w 344909"/>
                <a:gd name="connsiteY8" fmla="*/ 58207 h 237324"/>
                <a:gd name="connsiteX9" fmla="*/ 123777 w 344909"/>
                <a:gd name="connsiteY9" fmla="*/ 55731 h 237324"/>
                <a:gd name="connsiteX10" fmla="*/ 149571 w 344909"/>
                <a:gd name="connsiteY10" fmla="*/ 57407 h 237324"/>
                <a:gd name="connsiteX11" fmla="*/ 174698 w 344909"/>
                <a:gd name="connsiteY11" fmla="*/ 44948 h 237324"/>
                <a:gd name="connsiteX12" fmla="*/ 194006 w 344909"/>
                <a:gd name="connsiteY12" fmla="*/ 15554 h 237324"/>
                <a:gd name="connsiteX13" fmla="*/ 207559 w 344909"/>
                <a:gd name="connsiteY13" fmla="*/ 4619 h 237324"/>
                <a:gd name="connsiteX14" fmla="*/ 224467 w 344909"/>
                <a:gd name="connsiteY14" fmla="*/ 0 h 237324"/>
                <a:gd name="connsiteX15" fmla="*/ 227495 w 344909"/>
                <a:gd name="connsiteY15" fmla="*/ 11573 h 237324"/>
                <a:gd name="connsiteX16" fmla="*/ 242897 w 344909"/>
                <a:gd name="connsiteY16" fmla="*/ 28442 h 237324"/>
                <a:gd name="connsiteX17" fmla="*/ 242974 w 344909"/>
                <a:gd name="connsiteY17" fmla="*/ 39424 h 237324"/>
                <a:gd name="connsiteX18" fmla="*/ 238640 w 344909"/>
                <a:gd name="connsiteY18" fmla="*/ 50616 h 237324"/>
                <a:gd name="connsiteX19" fmla="*/ 240345 w 344909"/>
                <a:gd name="connsiteY19" fmla="*/ 58969 h 237324"/>
                <a:gd name="connsiteX20" fmla="*/ 249612 w 344909"/>
                <a:gd name="connsiteY20" fmla="*/ 66703 h 237324"/>
                <a:gd name="connsiteX21" fmla="*/ 269948 w 344909"/>
                <a:gd name="connsiteY21" fmla="*/ 78429 h 237324"/>
                <a:gd name="connsiteX22" fmla="*/ 284569 w 344909"/>
                <a:gd name="connsiteY22" fmla="*/ 89249 h 237324"/>
                <a:gd name="connsiteX23" fmla="*/ 284817 w 344909"/>
                <a:gd name="connsiteY23" fmla="*/ 97955 h 237324"/>
                <a:gd name="connsiteX24" fmla="*/ 302781 w 344909"/>
                <a:gd name="connsiteY24" fmla="*/ 111881 h 237324"/>
                <a:gd name="connsiteX25" fmla="*/ 313906 w 344909"/>
                <a:gd name="connsiteY25" fmla="*/ 123444 h 237324"/>
                <a:gd name="connsiteX26" fmla="*/ 320650 w 344909"/>
                <a:gd name="connsiteY26" fmla="*/ 139455 h 237324"/>
                <a:gd name="connsiteX27" fmla="*/ 340614 w 344909"/>
                <a:gd name="connsiteY27" fmla="*/ 150009 h 237324"/>
                <a:gd name="connsiteX28" fmla="*/ 344910 w 344909"/>
                <a:gd name="connsiteY28" fmla="*/ 158458 h 237324"/>
                <a:gd name="connsiteX29" fmla="*/ 336099 w 344909"/>
                <a:gd name="connsiteY29" fmla="*/ 161277 h 237324"/>
                <a:gd name="connsiteX30" fmla="*/ 318964 w 344909"/>
                <a:gd name="connsiteY30" fmla="*/ 160668 h 237324"/>
                <a:gd name="connsiteX31" fmla="*/ 298875 w 344909"/>
                <a:gd name="connsiteY31" fmla="*/ 157867 h 237324"/>
                <a:gd name="connsiteX32" fmla="*/ 288950 w 344909"/>
                <a:gd name="connsiteY32" fmla="*/ 160144 h 237324"/>
                <a:gd name="connsiteX33" fmla="*/ 284941 w 344909"/>
                <a:gd name="connsiteY33" fmla="*/ 166621 h 237324"/>
                <a:gd name="connsiteX34" fmla="*/ 276301 w 344909"/>
                <a:gd name="connsiteY34" fmla="*/ 167421 h 237324"/>
                <a:gd name="connsiteX35" fmla="*/ 265757 w 344909"/>
                <a:gd name="connsiteY35" fmla="*/ 161792 h 237324"/>
                <a:gd name="connsiteX36" fmla="*/ 236030 w 344909"/>
                <a:gd name="connsiteY36" fmla="*/ 175079 h 237324"/>
                <a:gd name="connsiteX37" fmla="*/ 223857 w 344909"/>
                <a:gd name="connsiteY37" fmla="*/ 172403 h 237324"/>
                <a:gd name="connsiteX38" fmla="*/ 220189 w 344909"/>
                <a:gd name="connsiteY38" fmla="*/ 174450 h 237324"/>
                <a:gd name="connsiteX39" fmla="*/ 212207 w 344909"/>
                <a:gd name="connsiteY39" fmla="*/ 190519 h 237324"/>
                <a:gd name="connsiteX40" fmla="*/ 192281 w 344909"/>
                <a:gd name="connsiteY40" fmla="*/ 185328 h 237324"/>
                <a:gd name="connsiteX41" fmla="*/ 172746 w 344909"/>
                <a:gd name="connsiteY41" fmla="*/ 182709 h 237324"/>
                <a:gd name="connsiteX42" fmla="*/ 155734 w 344909"/>
                <a:gd name="connsiteY42" fmla="*/ 172898 h 237324"/>
                <a:gd name="connsiteX43" fmla="*/ 133760 w 344909"/>
                <a:gd name="connsiteY43" fmla="*/ 163849 h 237324"/>
                <a:gd name="connsiteX44" fmla="*/ 119453 w 344909"/>
                <a:gd name="connsiteY44" fmla="*/ 172421 h 237324"/>
                <a:gd name="connsiteX45" fmla="*/ 109061 w 344909"/>
                <a:gd name="connsiteY45" fmla="*/ 185928 h 237324"/>
                <a:gd name="connsiteX46" fmla="*/ 106661 w 344909"/>
                <a:gd name="connsiteY46" fmla="*/ 204473 h 237324"/>
                <a:gd name="connsiteX47" fmla="*/ 89478 w 344909"/>
                <a:gd name="connsiteY47" fmla="*/ 202987 h 237324"/>
                <a:gd name="connsiteX48" fmla="*/ 71409 w 344909"/>
                <a:gd name="connsiteY48" fmla="*/ 198520 h 237324"/>
                <a:gd name="connsiteX49" fmla="*/ 55493 w 344909"/>
                <a:gd name="connsiteY49" fmla="*/ 212607 h 237324"/>
                <a:gd name="connsiteX50" fmla="*/ 41482 w 344909"/>
                <a:gd name="connsiteY50" fmla="*/ 237325 h 237324"/>
                <a:gd name="connsiteX51" fmla="*/ 38671 w 344909"/>
                <a:gd name="connsiteY51" fmla="*/ 229629 h 237324"/>
                <a:gd name="connsiteX52" fmla="*/ 37472 w 344909"/>
                <a:gd name="connsiteY52" fmla="*/ 217513 h 237324"/>
                <a:gd name="connsiteX53" fmla="*/ 25261 w 344909"/>
                <a:gd name="connsiteY53" fmla="*/ 208969 h 237324"/>
                <a:gd name="connsiteX54" fmla="*/ 15402 w 344909"/>
                <a:gd name="connsiteY54" fmla="*/ 195243 h 237324"/>
                <a:gd name="connsiteX55" fmla="*/ 13125 w 344909"/>
                <a:gd name="connsiteY55" fmla="*/ 185699 h 237324"/>
                <a:gd name="connsiteX56" fmla="*/ 505 w 344909"/>
                <a:gd name="connsiteY56" fmla="*/ 171802 h 237324"/>
                <a:gd name="connsiteX57" fmla="*/ 2657 w 344909"/>
                <a:gd name="connsiteY57" fmla="*/ 163868 h 237324"/>
                <a:gd name="connsiteX58" fmla="*/ 0 w 344909"/>
                <a:gd name="connsiteY58" fmla="*/ 152648 h 237324"/>
                <a:gd name="connsiteX59" fmla="*/ 2057 w 344909"/>
                <a:gd name="connsiteY59" fmla="*/ 131978 h 237324"/>
                <a:gd name="connsiteX60" fmla="*/ 8468 w 344909"/>
                <a:gd name="connsiteY60" fmla="*/ 127130 h 237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344909" h="237324">
                  <a:moveTo>
                    <a:pt x="21898" y="100051"/>
                  </a:moveTo>
                  <a:lnTo>
                    <a:pt x="43987" y="98031"/>
                  </a:lnTo>
                  <a:lnTo>
                    <a:pt x="48902" y="91154"/>
                  </a:lnTo>
                  <a:lnTo>
                    <a:pt x="53330" y="91669"/>
                  </a:lnTo>
                  <a:lnTo>
                    <a:pt x="59998" y="97736"/>
                  </a:lnTo>
                  <a:lnTo>
                    <a:pt x="93622" y="87487"/>
                  </a:lnTo>
                  <a:lnTo>
                    <a:pt x="104956" y="77029"/>
                  </a:lnTo>
                  <a:lnTo>
                    <a:pt x="118891" y="67656"/>
                  </a:lnTo>
                  <a:lnTo>
                    <a:pt x="116243" y="58207"/>
                  </a:lnTo>
                  <a:lnTo>
                    <a:pt x="123777" y="55731"/>
                  </a:lnTo>
                  <a:lnTo>
                    <a:pt x="149571" y="57407"/>
                  </a:lnTo>
                  <a:lnTo>
                    <a:pt x="174698" y="44948"/>
                  </a:lnTo>
                  <a:lnTo>
                    <a:pt x="194006" y="15554"/>
                  </a:lnTo>
                  <a:lnTo>
                    <a:pt x="207559" y="4619"/>
                  </a:lnTo>
                  <a:lnTo>
                    <a:pt x="224467" y="0"/>
                  </a:lnTo>
                  <a:lnTo>
                    <a:pt x="227495" y="11573"/>
                  </a:lnTo>
                  <a:lnTo>
                    <a:pt x="242897" y="28442"/>
                  </a:lnTo>
                  <a:lnTo>
                    <a:pt x="242974" y="39424"/>
                  </a:lnTo>
                  <a:lnTo>
                    <a:pt x="238640" y="50616"/>
                  </a:lnTo>
                  <a:lnTo>
                    <a:pt x="240345" y="58969"/>
                  </a:lnTo>
                  <a:lnTo>
                    <a:pt x="249612" y="66703"/>
                  </a:lnTo>
                  <a:lnTo>
                    <a:pt x="269948" y="78429"/>
                  </a:lnTo>
                  <a:lnTo>
                    <a:pt x="284569" y="89249"/>
                  </a:lnTo>
                  <a:lnTo>
                    <a:pt x="284817" y="97955"/>
                  </a:lnTo>
                  <a:lnTo>
                    <a:pt x="302781" y="111881"/>
                  </a:lnTo>
                  <a:lnTo>
                    <a:pt x="313906" y="123444"/>
                  </a:lnTo>
                  <a:lnTo>
                    <a:pt x="320650" y="139455"/>
                  </a:lnTo>
                  <a:lnTo>
                    <a:pt x="340614" y="150009"/>
                  </a:lnTo>
                  <a:lnTo>
                    <a:pt x="344910" y="158458"/>
                  </a:lnTo>
                  <a:lnTo>
                    <a:pt x="336099" y="161277"/>
                  </a:lnTo>
                  <a:lnTo>
                    <a:pt x="318964" y="160668"/>
                  </a:lnTo>
                  <a:lnTo>
                    <a:pt x="298875" y="157867"/>
                  </a:lnTo>
                  <a:lnTo>
                    <a:pt x="288950" y="160144"/>
                  </a:lnTo>
                  <a:lnTo>
                    <a:pt x="284941" y="166621"/>
                  </a:lnTo>
                  <a:lnTo>
                    <a:pt x="276301" y="167421"/>
                  </a:lnTo>
                  <a:lnTo>
                    <a:pt x="265757" y="161792"/>
                  </a:lnTo>
                  <a:lnTo>
                    <a:pt x="236030" y="175079"/>
                  </a:lnTo>
                  <a:lnTo>
                    <a:pt x="223857" y="172403"/>
                  </a:lnTo>
                  <a:lnTo>
                    <a:pt x="220189" y="174450"/>
                  </a:lnTo>
                  <a:lnTo>
                    <a:pt x="212207" y="190519"/>
                  </a:lnTo>
                  <a:lnTo>
                    <a:pt x="192281" y="185328"/>
                  </a:lnTo>
                  <a:lnTo>
                    <a:pt x="172746" y="182709"/>
                  </a:lnTo>
                  <a:lnTo>
                    <a:pt x="155734" y="172898"/>
                  </a:lnTo>
                  <a:lnTo>
                    <a:pt x="133760" y="163849"/>
                  </a:lnTo>
                  <a:lnTo>
                    <a:pt x="119453" y="172421"/>
                  </a:lnTo>
                  <a:lnTo>
                    <a:pt x="109061" y="185928"/>
                  </a:lnTo>
                  <a:lnTo>
                    <a:pt x="106661" y="204473"/>
                  </a:lnTo>
                  <a:lnTo>
                    <a:pt x="89478" y="202987"/>
                  </a:lnTo>
                  <a:lnTo>
                    <a:pt x="71409" y="198520"/>
                  </a:lnTo>
                  <a:lnTo>
                    <a:pt x="55493" y="212607"/>
                  </a:lnTo>
                  <a:lnTo>
                    <a:pt x="41482" y="237325"/>
                  </a:lnTo>
                  <a:lnTo>
                    <a:pt x="38671" y="229629"/>
                  </a:lnTo>
                  <a:lnTo>
                    <a:pt x="37472" y="217513"/>
                  </a:lnTo>
                  <a:lnTo>
                    <a:pt x="25261" y="208969"/>
                  </a:lnTo>
                  <a:lnTo>
                    <a:pt x="15402" y="195243"/>
                  </a:lnTo>
                  <a:lnTo>
                    <a:pt x="13125" y="185699"/>
                  </a:lnTo>
                  <a:lnTo>
                    <a:pt x="505" y="171802"/>
                  </a:lnTo>
                  <a:lnTo>
                    <a:pt x="2657" y="163868"/>
                  </a:lnTo>
                  <a:lnTo>
                    <a:pt x="0" y="152648"/>
                  </a:lnTo>
                  <a:lnTo>
                    <a:pt x="2057" y="131978"/>
                  </a:lnTo>
                  <a:lnTo>
                    <a:pt x="8468" y="12713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orme libre : forme 5679">
              <a:extLst>
                <a:ext uri="{FF2B5EF4-FFF2-40B4-BE49-F238E27FC236}">
                  <a16:creationId xmlns:a16="http://schemas.microsoft.com/office/drawing/2014/main" id="{BADBA655-B7E2-8A9C-EBD4-FF0042F8B5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117173" y="4643679"/>
              <a:ext cx="196548" cy="232800"/>
            </a:xfrm>
            <a:custGeom>
              <a:avLst/>
              <a:gdLst>
                <a:gd name="connsiteX0" fmla="*/ 50787 w 196548"/>
                <a:gd name="connsiteY0" fmla="*/ 225962 h 232800"/>
                <a:gd name="connsiteX1" fmla="*/ 40786 w 196548"/>
                <a:gd name="connsiteY1" fmla="*/ 216827 h 232800"/>
                <a:gd name="connsiteX2" fmla="*/ 32709 w 196548"/>
                <a:gd name="connsiteY2" fmla="*/ 221304 h 232800"/>
                <a:gd name="connsiteX3" fmla="*/ 21936 w 196548"/>
                <a:gd name="connsiteY3" fmla="*/ 232801 h 232800"/>
                <a:gd name="connsiteX4" fmla="*/ 0 w 196548"/>
                <a:gd name="connsiteY4" fmla="*/ 204616 h 232800"/>
                <a:gd name="connsiteX5" fmla="*/ 20336 w 196548"/>
                <a:gd name="connsiteY5" fmla="*/ 189938 h 232800"/>
                <a:gd name="connsiteX6" fmla="*/ 10268 w 196548"/>
                <a:gd name="connsiteY6" fmla="*/ 172374 h 232800"/>
                <a:gd name="connsiteX7" fmla="*/ 19421 w 196548"/>
                <a:gd name="connsiteY7" fmla="*/ 165697 h 232800"/>
                <a:gd name="connsiteX8" fmla="*/ 37443 w 196548"/>
                <a:gd name="connsiteY8" fmla="*/ 162440 h 232800"/>
                <a:gd name="connsiteX9" fmla="*/ 39567 w 196548"/>
                <a:gd name="connsiteY9" fmla="*/ 150676 h 232800"/>
                <a:gd name="connsiteX10" fmla="*/ 53835 w 196548"/>
                <a:gd name="connsiteY10" fmla="*/ 163421 h 232800"/>
                <a:gd name="connsiteX11" fmla="*/ 77410 w 196548"/>
                <a:gd name="connsiteY11" fmla="*/ 164545 h 232800"/>
                <a:gd name="connsiteX12" fmla="*/ 85611 w 196548"/>
                <a:gd name="connsiteY12" fmla="*/ 152000 h 232800"/>
                <a:gd name="connsiteX13" fmla="*/ 88983 w 196548"/>
                <a:gd name="connsiteY13" fmla="*/ 134350 h 232800"/>
                <a:gd name="connsiteX14" fmla="*/ 86068 w 196548"/>
                <a:gd name="connsiteY14" fmla="*/ 113633 h 232800"/>
                <a:gd name="connsiteX15" fmla="*/ 73428 w 196548"/>
                <a:gd name="connsiteY15" fmla="*/ 97946 h 232800"/>
                <a:gd name="connsiteX16" fmla="*/ 84992 w 196548"/>
                <a:gd name="connsiteY16" fmla="*/ 67218 h 232800"/>
                <a:gd name="connsiteX17" fmla="*/ 78333 w 196548"/>
                <a:gd name="connsiteY17" fmla="*/ 61951 h 232800"/>
                <a:gd name="connsiteX18" fmla="*/ 58464 w 196548"/>
                <a:gd name="connsiteY18" fmla="*/ 64113 h 232800"/>
                <a:gd name="connsiteX19" fmla="*/ 50997 w 196548"/>
                <a:gd name="connsiteY19" fmla="*/ 50397 h 232800"/>
                <a:gd name="connsiteX20" fmla="*/ 52940 w 196548"/>
                <a:gd name="connsiteY20" fmla="*/ 38814 h 232800"/>
                <a:gd name="connsiteX21" fmla="*/ 86639 w 196548"/>
                <a:gd name="connsiteY21" fmla="*/ 39862 h 232800"/>
                <a:gd name="connsiteX22" fmla="*/ 108233 w 196548"/>
                <a:gd name="connsiteY22" fmla="*/ 46863 h 232800"/>
                <a:gd name="connsiteX23" fmla="*/ 129454 w 196548"/>
                <a:gd name="connsiteY23" fmla="*/ 53140 h 232800"/>
                <a:gd name="connsiteX24" fmla="*/ 131369 w 196548"/>
                <a:gd name="connsiteY24" fmla="*/ 38805 h 232800"/>
                <a:gd name="connsiteX25" fmla="*/ 145380 w 196548"/>
                <a:gd name="connsiteY25" fmla="*/ 14088 h 232800"/>
                <a:gd name="connsiteX26" fmla="*/ 161296 w 196548"/>
                <a:gd name="connsiteY26" fmla="*/ 0 h 232800"/>
                <a:gd name="connsiteX27" fmla="*/ 179366 w 196548"/>
                <a:gd name="connsiteY27" fmla="*/ 4467 h 232800"/>
                <a:gd name="connsiteX28" fmla="*/ 196548 w 196548"/>
                <a:gd name="connsiteY28" fmla="*/ 5953 h 232800"/>
                <a:gd name="connsiteX29" fmla="*/ 194958 w 196548"/>
                <a:gd name="connsiteY29" fmla="*/ 22003 h 232800"/>
                <a:gd name="connsiteX30" fmla="*/ 186966 w 196548"/>
                <a:gd name="connsiteY30" fmla="*/ 36195 h 232800"/>
                <a:gd name="connsiteX31" fmla="*/ 181737 w 196548"/>
                <a:gd name="connsiteY31" fmla="*/ 52759 h 232800"/>
                <a:gd name="connsiteX32" fmla="*/ 178413 w 196548"/>
                <a:gd name="connsiteY32" fmla="*/ 76276 h 232800"/>
                <a:gd name="connsiteX33" fmla="*/ 179813 w 196548"/>
                <a:gd name="connsiteY33" fmla="*/ 91316 h 232800"/>
                <a:gd name="connsiteX34" fmla="*/ 175460 w 196548"/>
                <a:gd name="connsiteY34" fmla="*/ 100517 h 232800"/>
                <a:gd name="connsiteX35" fmla="*/ 174793 w 196548"/>
                <a:gd name="connsiteY35" fmla="*/ 110242 h 232800"/>
                <a:gd name="connsiteX36" fmla="*/ 171726 w 196548"/>
                <a:gd name="connsiteY36" fmla="*/ 118710 h 232800"/>
                <a:gd name="connsiteX37" fmla="*/ 154143 w 196548"/>
                <a:gd name="connsiteY37" fmla="*/ 131493 h 232800"/>
                <a:gd name="connsiteX38" fmla="*/ 141903 w 196548"/>
                <a:gd name="connsiteY38" fmla="*/ 145161 h 232800"/>
                <a:gd name="connsiteX39" fmla="*/ 130302 w 196548"/>
                <a:gd name="connsiteY39" fmla="*/ 170955 h 232800"/>
                <a:gd name="connsiteX40" fmla="*/ 131198 w 196548"/>
                <a:gd name="connsiteY40" fmla="*/ 192815 h 232800"/>
                <a:gd name="connsiteX41" fmla="*/ 124454 w 196548"/>
                <a:gd name="connsiteY41" fmla="*/ 201321 h 232800"/>
                <a:gd name="connsiteX42" fmla="*/ 108890 w 196548"/>
                <a:gd name="connsiteY42" fmla="*/ 214313 h 232800"/>
                <a:gd name="connsiteX43" fmla="*/ 93183 w 196548"/>
                <a:gd name="connsiteY43" fmla="*/ 230991 h 232800"/>
                <a:gd name="connsiteX44" fmla="*/ 83201 w 196548"/>
                <a:gd name="connsiteY44" fmla="*/ 226276 h 232800"/>
                <a:gd name="connsiteX45" fmla="*/ 81487 w 196548"/>
                <a:gd name="connsiteY45" fmla="*/ 218742 h 232800"/>
                <a:gd name="connsiteX46" fmla="*/ 66942 w 196548"/>
                <a:gd name="connsiteY46" fmla="*/ 218485 h 232800"/>
                <a:gd name="connsiteX47" fmla="*/ 57807 w 196548"/>
                <a:gd name="connsiteY47" fmla="*/ 228667 h 23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96548" h="232800">
                  <a:moveTo>
                    <a:pt x="50787" y="225962"/>
                  </a:moveTo>
                  <a:lnTo>
                    <a:pt x="40786" y="216827"/>
                  </a:lnTo>
                  <a:lnTo>
                    <a:pt x="32709" y="221304"/>
                  </a:lnTo>
                  <a:lnTo>
                    <a:pt x="21936" y="232801"/>
                  </a:lnTo>
                  <a:lnTo>
                    <a:pt x="0" y="204616"/>
                  </a:lnTo>
                  <a:lnTo>
                    <a:pt x="20336" y="189938"/>
                  </a:lnTo>
                  <a:lnTo>
                    <a:pt x="10268" y="172374"/>
                  </a:lnTo>
                  <a:lnTo>
                    <a:pt x="19421" y="165697"/>
                  </a:lnTo>
                  <a:lnTo>
                    <a:pt x="37443" y="162440"/>
                  </a:lnTo>
                  <a:lnTo>
                    <a:pt x="39567" y="150676"/>
                  </a:lnTo>
                  <a:lnTo>
                    <a:pt x="53835" y="163421"/>
                  </a:lnTo>
                  <a:lnTo>
                    <a:pt x="77410" y="164545"/>
                  </a:lnTo>
                  <a:lnTo>
                    <a:pt x="85611" y="152000"/>
                  </a:lnTo>
                  <a:lnTo>
                    <a:pt x="88983" y="134350"/>
                  </a:lnTo>
                  <a:lnTo>
                    <a:pt x="86068" y="113633"/>
                  </a:lnTo>
                  <a:lnTo>
                    <a:pt x="73428" y="97946"/>
                  </a:lnTo>
                  <a:lnTo>
                    <a:pt x="84992" y="67218"/>
                  </a:lnTo>
                  <a:lnTo>
                    <a:pt x="78333" y="61951"/>
                  </a:lnTo>
                  <a:lnTo>
                    <a:pt x="58464" y="64113"/>
                  </a:lnTo>
                  <a:lnTo>
                    <a:pt x="50997" y="50397"/>
                  </a:lnTo>
                  <a:lnTo>
                    <a:pt x="52940" y="38814"/>
                  </a:lnTo>
                  <a:lnTo>
                    <a:pt x="86639" y="39862"/>
                  </a:lnTo>
                  <a:lnTo>
                    <a:pt x="108233" y="46863"/>
                  </a:lnTo>
                  <a:lnTo>
                    <a:pt x="129454" y="53140"/>
                  </a:lnTo>
                  <a:lnTo>
                    <a:pt x="131369" y="38805"/>
                  </a:lnTo>
                  <a:lnTo>
                    <a:pt x="145380" y="14088"/>
                  </a:lnTo>
                  <a:lnTo>
                    <a:pt x="161296" y="0"/>
                  </a:lnTo>
                  <a:lnTo>
                    <a:pt x="179366" y="4467"/>
                  </a:lnTo>
                  <a:lnTo>
                    <a:pt x="196548" y="5953"/>
                  </a:lnTo>
                  <a:lnTo>
                    <a:pt x="194958" y="22003"/>
                  </a:lnTo>
                  <a:lnTo>
                    <a:pt x="186966" y="36195"/>
                  </a:lnTo>
                  <a:lnTo>
                    <a:pt x="181737" y="52759"/>
                  </a:lnTo>
                  <a:lnTo>
                    <a:pt x="178413" y="76276"/>
                  </a:lnTo>
                  <a:lnTo>
                    <a:pt x="179813" y="91316"/>
                  </a:lnTo>
                  <a:lnTo>
                    <a:pt x="175460" y="100517"/>
                  </a:lnTo>
                  <a:lnTo>
                    <a:pt x="174793" y="110242"/>
                  </a:lnTo>
                  <a:lnTo>
                    <a:pt x="171726" y="118710"/>
                  </a:lnTo>
                  <a:lnTo>
                    <a:pt x="154143" y="131493"/>
                  </a:lnTo>
                  <a:lnTo>
                    <a:pt x="141903" y="145161"/>
                  </a:lnTo>
                  <a:lnTo>
                    <a:pt x="130302" y="170955"/>
                  </a:lnTo>
                  <a:lnTo>
                    <a:pt x="131198" y="192815"/>
                  </a:lnTo>
                  <a:lnTo>
                    <a:pt x="124454" y="201321"/>
                  </a:lnTo>
                  <a:lnTo>
                    <a:pt x="108890" y="214313"/>
                  </a:lnTo>
                  <a:lnTo>
                    <a:pt x="93183" y="230991"/>
                  </a:lnTo>
                  <a:lnTo>
                    <a:pt x="83201" y="226276"/>
                  </a:lnTo>
                  <a:lnTo>
                    <a:pt x="81487" y="218742"/>
                  </a:lnTo>
                  <a:lnTo>
                    <a:pt x="66942" y="218485"/>
                  </a:lnTo>
                  <a:lnTo>
                    <a:pt x="57807" y="2286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orme libre : forme 5680">
              <a:extLst>
                <a:ext uri="{FF2B5EF4-FFF2-40B4-BE49-F238E27FC236}">
                  <a16:creationId xmlns:a16="http://schemas.microsoft.com/office/drawing/2014/main" id="{6DEF0FF9-2D1C-385B-435E-1B64002A2BE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981747" y="3291901"/>
              <a:ext cx="118043" cy="79895"/>
            </a:xfrm>
            <a:custGeom>
              <a:avLst/>
              <a:gdLst>
                <a:gd name="connsiteX0" fmla="*/ 95383 w 118043"/>
                <a:gd name="connsiteY0" fmla="*/ 12087 h 79895"/>
                <a:gd name="connsiteX1" fmla="*/ 96412 w 118043"/>
                <a:gd name="connsiteY1" fmla="*/ 19078 h 79895"/>
                <a:gd name="connsiteX2" fmla="*/ 92326 w 118043"/>
                <a:gd name="connsiteY2" fmla="*/ 28670 h 79895"/>
                <a:gd name="connsiteX3" fmla="*/ 104413 w 118043"/>
                <a:gd name="connsiteY3" fmla="*/ 35785 h 79895"/>
                <a:gd name="connsiteX4" fmla="*/ 118043 w 118043"/>
                <a:gd name="connsiteY4" fmla="*/ 36843 h 79895"/>
                <a:gd name="connsiteX5" fmla="*/ 115929 w 118043"/>
                <a:gd name="connsiteY5" fmla="*/ 52749 h 79895"/>
                <a:gd name="connsiteX6" fmla="*/ 104156 w 118043"/>
                <a:gd name="connsiteY6" fmla="*/ 59264 h 79895"/>
                <a:gd name="connsiteX7" fmla="*/ 84391 w 118043"/>
                <a:gd name="connsiteY7" fmla="*/ 54426 h 79895"/>
                <a:gd name="connsiteX8" fmla="*/ 78610 w 118043"/>
                <a:gd name="connsiteY8" fmla="*/ 69952 h 79895"/>
                <a:gd name="connsiteX9" fmla="*/ 65894 w 118043"/>
                <a:gd name="connsiteY9" fmla="*/ 71171 h 79895"/>
                <a:gd name="connsiteX10" fmla="*/ 61265 w 118043"/>
                <a:gd name="connsiteY10" fmla="*/ 65084 h 79895"/>
                <a:gd name="connsiteX11" fmla="*/ 46291 w 118043"/>
                <a:gd name="connsiteY11" fmla="*/ 78076 h 79895"/>
                <a:gd name="connsiteX12" fmla="*/ 33414 w 118043"/>
                <a:gd name="connsiteY12" fmla="*/ 79896 h 79895"/>
                <a:gd name="connsiteX13" fmla="*/ 21917 w 118043"/>
                <a:gd name="connsiteY13" fmla="*/ 71704 h 79895"/>
                <a:gd name="connsiteX14" fmla="*/ 12754 w 118043"/>
                <a:gd name="connsiteY14" fmla="*/ 54835 h 79895"/>
                <a:gd name="connsiteX15" fmla="*/ 0 w 118043"/>
                <a:gd name="connsiteY15" fmla="*/ 60874 h 79895"/>
                <a:gd name="connsiteX16" fmla="*/ 390 w 118043"/>
                <a:gd name="connsiteY16" fmla="*/ 43367 h 79895"/>
                <a:gd name="connsiteX17" fmla="*/ 19917 w 118043"/>
                <a:gd name="connsiteY17" fmla="*/ 21431 h 79895"/>
                <a:gd name="connsiteX18" fmla="*/ 19059 w 118043"/>
                <a:gd name="connsiteY18" fmla="*/ 11430 h 79895"/>
                <a:gd name="connsiteX19" fmla="*/ 31232 w 118043"/>
                <a:gd name="connsiteY19" fmla="*/ 15059 h 79895"/>
                <a:gd name="connsiteX20" fmla="*/ 38557 w 118043"/>
                <a:gd name="connsiteY20" fmla="*/ 8325 h 79895"/>
                <a:gd name="connsiteX21" fmla="*/ 61274 w 118043"/>
                <a:gd name="connsiteY21" fmla="*/ 8601 h 79895"/>
                <a:gd name="connsiteX22" fmla="*/ 66760 w 118043"/>
                <a:gd name="connsiteY22" fmla="*/ 0 h 79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043" h="79895">
                  <a:moveTo>
                    <a:pt x="95383" y="12087"/>
                  </a:moveTo>
                  <a:lnTo>
                    <a:pt x="96412" y="19078"/>
                  </a:lnTo>
                  <a:lnTo>
                    <a:pt x="92326" y="28670"/>
                  </a:lnTo>
                  <a:lnTo>
                    <a:pt x="104413" y="35785"/>
                  </a:lnTo>
                  <a:lnTo>
                    <a:pt x="118043" y="36843"/>
                  </a:lnTo>
                  <a:lnTo>
                    <a:pt x="115929" y="52749"/>
                  </a:lnTo>
                  <a:lnTo>
                    <a:pt x="104156" y="59264"/>
                  </a:lnTo>
                  <a:lnTo>
                    <a:pt x="84391" y="54426"/>
                  </a:lnTo>
                  <a:lnTo>
                    <a:pt x="78610" y="69952"/>
                  </a:lnTo>
                  <a:lnTo>
                    <a:pt x="65894" y="71171"/>
                  </a:lnTo>
                  <a:lnTo>
                    <a:pt x="61265" y="65084"/>
                  </a:lnTo>
                  <a:lnTo>
                    <a:pt x="46291" y="78076"/>
                  </a:lnTo>
                  <a:lnTo>
                    <a:pt x="33414" y="79896"/>
                  </a:lnTo>
                  <a:lnTo>
                    <a:pt x="21917" y="71704"/>
                  </a:lnTo>
                  <a:lnTo>
                    <a:pt x="12754" y="54835"/>
                  </a:lnTo>
                  <a:lnTo>
                    <a:pt x="0" y="60874"/>
                  </a:lnTo>
                  <a:lnTo>
                    <a:pt x="390" y="43367"/>
                  </a:lnTo>
                  <a:lnTo>
                    <a:pt x="19917" y="21431"/>
                  </a:lnTo>
                  <a:lnTo>
                    <a:pt x="19059" y="11430"/>
                  </a:lnTo>
                  <a:lnTo>
                    <a:pt x="31232" y="15059"/>
                  </a:lnTo>
                  <a:lnTo>
                    <a:pt x="38557" y="8325"/>
                  </a:lnTo>
                  <a:lnTo>
                    <a:pt x="61274" y="8601"/>
                  </a:lnTo>
                  <a:lnTo>
                    <a:pt x="66760" y="0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orme libre : forme 5681">
              <a:extLst>
                <a:ext uri="{FF2B5EF4-FFF2-40B4-BE49-F238E27FC236}">
                  <a16:creationId xmlns:a16="http://schemas.microsoft.com/office/drawing/2014/main" id="{88FAB6C0-51E3-FEC7-E478-AD1A704DB20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591146" y="4461866"/>
              <a:ext cx="161325" cy="165591"/>
            </a:xfrm>
            <a:custGeom>
              <a:avLst/>
              <a:gdLst>
                <a:gd name="connsiteX0" fmla="*/ 153476 w 161325"/>
                <a:gd name="connsiteY0" fmla="*/ 148123 h 165591"/>
                <a:gd name="connsiteX1" fmla="*/ 141322 w 161325"/>
                <a:gd name="connsiteY1" fmla="*/ 148399 h 165591"/>
                <a:gd name="connsiteX2" fmla="*/ 122692 w 161325"/>
                <a:gd name="connsiteY2" fmla="*/ 143189 h 165591"/>
                <a:gd name="connsiteX3" fmla="*/ 105566 w 161325"/>
                <a:gd name="connsiteY3" fmla="*/ 143494 h 165591"/>
                <a:gd name="connsiteX4" fmla="*/ 73933 w 161325"/>
                <a:gd name="connsiteY4" fmla="*/ 148142 h 165591"/>
                <a:gd name="connsiteX5" fmla="*/ 55388 w 161325"/>
                <a:gd name="connsiteY5" fmla="*/ 155829 h 165591"/>
                <a:gd name="connsiteX6" fmla="*/ 28946 w 161325"/>
                <a:gd name="connsiteY6" fmla="*/ 165592 h 165591"/>
                <a:gd name="connsiteX7" fmla="*/ 23784 w 161325"/>
                <a:gd name="connsiteY7" fmla="*/ 164897 h 165591"/>
                <a:gd name="connsiteX8" fmla="*/ 25841 w 161325"/>
                <a:gd name="connsiteY8" fmla="*/ 142970 h 165591"/>
                <a:gd name="connsiteX9" fmla="*/ 28394 w 161325"/>
                <a:gd name="connsiteY9" fmla="*/ 139627 h 165591"/>
                <a:gd name="connsiteX10" fmla="*/ 27575 w 161325"/>
                <a:gd name="connsiteY10" fmla="*/ 129130 h 165591"/>
                <a:gd name="connsiteX11" fmla="*/ 16269 w 161325"/>
                <a:gd name="connsiteY11" fmla="*/ 117958 h 165591"/>
                <a:gd name="connsiteX12" fmla="*/ 7782 w 161325"/>
                <a:gd name="connsiteY12" fmla="*/ 116176 h 165591"/>
                <a:gd name="connsiteX13" fmla="*/ 0 w 161325"/>
                <a:gd name="connsiteY13" fmla="*/ 108842 h 165591"/>
                <a:gd name="connsiteX14" fmla="*/ 5801 w 161325"/>
                <a:gd name="connsiteY14" fmla="*/ 96984 h 165591"/>
                <a:gd name="connsiteX15" fmla="*/ 3134 w 161325"/>
                <a:gd name="connsiteY15" fmla="*/ 84049 h 165591"/>
                <a:gd name="connsiteX16" fmla="*/ 4363 w 161325"/>
                <a:gd name="connsiteY16" fmla="*/ 76276 h 165591"/>
                <a:gd name="connsiteX17" fmla="*/ 8601 w 161325"/>
                <a:gd name="connsiteY17" fmla="*/ 76238 h 165591"/>
                <a:gd name="connsiteX18" fmla="*/ 10173 w 161325"/>
                <a:gd name="connsiteY18" fmla="*/ 64560 h 165591"/>
                <a:gd name="connsiteX19" fmla="*/ 8106 w 161325"/>
                <a:gd name="connsiteY19" fmla="*/ 59379 h 165591"/>
                <a:gd name="connsiteX20" fmla="*/ 10659 w 161325"/>
                <a:gd name="connsiteY20" fmla="*/ 55654 h 165591"/>
                <a:gd name="connsiteX21" fmla="*/ 20584 w 161325"/>
                <a:gd name="connsiteY21" fmla="*/ 52426 h 165591"/>
                <a:gd name="connsiteX22" fmla="*/ 13983 w 161325"/>
                <a:gd name="connsiteY22" fmla="*/ 30928 h 165591"/>
                <a:gd name="connsiteX23" fmla="*/ 7830 w 161325"/>
                <a:gd name="connsiteY23" fmla="*/ 19802 h 165591"/>
                <a:gd name="connsiteX24" fmla="*/ 9973 w 161325"/>
                <a:gd name="connsiteY24" fmla="*/ 10658 h 165591"/>
                <a:gd name="connsiteX25" fmla="*/ 15297 w 161325"/>
                <a:gd name="connsiteY25" fmla="*/ 8572 h 165591"/>
                <a:gd name="connsiteX26" fmla="*/ 18783 w 161325"/>
                <a:gd name="connsiteY26" fmla="*/ 6115 h 165591"/>
                <a:gd name="connsiteX27" fmla="*/ 26175 w 161325"/>
                <a:gd name="connsiteY27" fmla="*/ 10173 h 165591"/>
                <a:gd name="connsiteX28" fmla="*/ 46797 w 161325"/>
                <a:gd name="connsiteY28" fmla="*/ 10392 h 165591"/>
                <a:gd name="connsiteX29" fmla="*/ 51711 w 161325"/>
                <a:gd name="connsiteY29" fmla="*/ 2515 h 165591"/>
                <a:gd name="connsiteX30" fmla="*/ 56322 w 161325"/>
                <a:gd name="connsiteY30" fmla="*/ 3048 h 165591"/>
                <a:gd name="connsiteX31" fmla="*/ 64027 w 161325"/>
                <a:gd name="connsiteY31" fmla="*/ 0 h 165591"/>
                <a:gd name="connsiteX32" fmla="*/ 68171 w 161325"/>
                <a:gd name="connsiteY32" fmla="*/ 11535 h 165591"/>
                <a:gd name="connsiteX33" fmla="*/ 74400 w 161325"/>
                <a:gd name="connsiteY33" fmla="*/ 8134 h 165591"/>
                <a:gd name="connsiteX34" fmla="*/ 85420 w 161325"/>
                <a:gd name="connsiteY34" fmla="*/ 4143 h 165591"/>
                <a:gd name="connsiteX35" fmla="*/ 97431 w 161325"/>
                <a:gd name="connsiteY35" fmla="*/ 10020 h 165591"/>
                <a:gd name="connsiteX36" fmla="*/ 102099 w 161325"/>
                <a:gd name="connsiteY36" fmla="*/ 18936 h 165591"/>
                <a:gd name="connsiteX37" fmla="*/ 114110 w 161325"/>
                <a:gd name="connsiteY37" fmla="*/ 24612 h 165591"/>
                <a:gd name="connsiteX38" fmla="*/ 123444 w 161325"/>
                <a:gd name="connsiteY38" fmla="*/ 17840 h 165591"/>
                <a:gd name="connsiteX39" fmla="*/ 135960 w 161325"/>
                <a:gd name="connsiteY39" fmla="*/ 16821 h 165591"/>
                <a:gd name="connsiteX40" fmla="*/ 154239 w 161325"/>
                <a:gd name="connsiteY40" fmla="*/ 23765 h 165591"/>
                <a:gd name="connsiteX41" fmla="*/ 161325 w 161325"/>
                <a:gd name="connsiteY41" fmla="*/ 61979 h 165591"/>
                <a:gd name="connsiteX42" fmla="*/ 150066 w 161325"/>
                <a:gd name="connsiteY42" fmla="*/ 84468 h 165591"/>
                <a:gd name="connsiteX43" fmla="*/ 143104 w 161325"/>
                <a:gd name="connsiteY43" fmla="*/ 114643 h 165591"/>
                <a:gd name="connsiteX44" fmla="*/ 154686 w 161325"/>
                <a:gd name="connsiteY44" fmla="*/ 137617 h 16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61325" h="165591">
                  <a:moveTo>
                    <a:pt x="153476" y="148123"/>
                  </a:moveTo>
                  <a:lnTo>
                    <a:pt x="141322" y="148399"/>
                  </a:lnTo>
                  <a:lnTo>
                    <a:pt x="122692" y="143189"/>
                  </a:lnTo>
                  <a:lnTo>
                    <a:pt x="105566" y="143494"/>
                  </a:lnTo>
                  <a:lnTo>
                    <a:pt x="73933" y="148142"/>
                  </a:lnTo>
                  <a:lnTo>
                    <a:pt x="55388" y="155829"/>
                  </a:lnTo>
                  <a:lnTo>
                    <a:pt x="28946" y="165592"/>
                  </a:lnTo>
                  <a:lnTo>
                    <a:pt x="23784" y="164897"/>
                  </a:lnTo>
                  <a:lnTo>
                    <a:pt x="25841" y="142970"/>
                  </a:lnTo>
                  <a:lnTo>
                    <a:pt x="28394" y="139627"/>
                  </a:lnTo>
                  <a:lnTo>
                    <a:pt x="27575" y="129130"/>
                  </a:lnTo>
                  <a:lnTo>
                    <a:pt x="16269" y="117958"/>
                  </a:lnTo>
                  <a:lnTo>
                    <a:pt x="7782" y="116176"/>
                  </a:lnTo>
                  <a:lnTo>
                    <a:pt x="0" y="108842"/>
                  </a:lnTo>
                  <a:lnTo>
                    <a:pt x="5801" y="96984"/>
                  </a:lnTo>
                  <a:lnTo>
                    <a:pt x="3134" y="84049"/>
                  </a:lnTo>
                  <a:lnTo>
                    <a:pt x="4363" y="76276"/>
                  </a:lnTo>
                  <a:lnTo>
                    <a:pt x="8601" y="76238"/>
                  </a:lnTo>
                  <a:lnTo>
                    <a:pt x="10173" y="64560"/>
                  </a:lnTo>
                  <a:lnTo>
                    <a:pt x="8106" y="59379"/>
                  </a:lnTo>
                  <a:lnTo>
                    <a:pt x="10659" y="55654"/>
                  </a:lnTo>
                  <a:lnTo>
                    <a:pt x="20584" y="52426"/>
                  </a:lnTo>
                  <a:lnTo>
                    <a:pt x="13983" y="30928"/>
                  </a:lnTo>
                  <a:lnTo>
                    <a:pt x="7830" y="19802"/>
                  </a:lnTo>
                  <a:lnTo>
                    <a:pt x="9973" y="10658"/>
                  </a:lnTo>
                  <a:lnTo>
                    <a:pt x="15297" y="8572"/>
                  </a:lnTo>
                  <a:lnTo>
                    <a:pt x="18783" y="6115"/>
                  </a:lnTo>
                  <a:lnTo>
                    <a:pt x="26175" y="10173"/>
                  </a:lnTo>
                  <a:lnTo>
                    <a:pt x="46797" y="10392"/>
                  </a:lnTo>
                  <a:lnTo>
                    <a:pt x="51711" y="2515"/>
                  </a:lnTo>
                  <a:lnTo>
                    <a:pt x="56322" y="3048"/>
                  </a:lnTo>
                  <a:lnTo>
                    <a:pt x="64027" y="0"/>
                  </a:lnTo>
                  <a:lnTo>
                    <a:pt x="68171" y="11535"/>
                  </a:lnTo>
                  <a:lnTo>
                    <a:pt x="74400" y="8134"/>
                  </a:lnTo>
                  <a:lnTo>
                    <a:pt x="85420" y="4143"/>
                  </a:lnTo>
                  <a:lnTo>
                    <a:pt x="97431" y="10020"/>
                  </a:lnTo>
                  <a:lnTo>
                    <a:pt x="102099" y="18936"/>
                  </a:lnTo>
                  <a:lnTo>
                    <a:pt x="114110" y="24612"/>
                  </a:lnTo>
                  <a:lnTo>
                    <a:pt x="123444" y="17840"/>
                  </a:lnTo>
                  <a:lnTo>
                    <a:pt x="135960" y="16821"/>
                  </a:lnTo>
                  <a:lnTo>
                    <a:pt x="154239" y="23765"/>
                  </a:lnTo>
                  <a:lnTo>
                    <a:pt x="161325" y="61979"/>
                  </a:lnTo>
                  <a:lnTo>
                    <a:pt x="150066" y="84468"/>
                  </a:lnTo>
                  <a:lnTo>
                    <a:pt x="143104" y="114643"/>
                  </a:lnTo>
                  <a:lnTo>
                    <a:pt x="154686" y="137617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orme libre : forme 5682">
              <a:extLst>
                <a:ext uri="{FF2B5EF4-FFF2-40B4-BE49-F238E27FC236}">
                  <a16:creationId xmlns:a16="http://schemas.microsoft.com/office/drawing/2014/main" id="{0D9B43B6-9F62-B7C1-79B4-2068DA9D78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800713" y="5216618"/>
              <a:ext cx="231895" cy="1312468"/>
            </a:xfrm>
            <a:custGeom>
              <a:avLst/>
              <a:gdLst>
                <a:gd name="connsiteX0" fmla="*/ 187195 w 231895"/>
                <a:gd name="connsiteY0" fmla="*/ 1177109 h 1312468"/>
                <a:gd name="connsiteX1" fmla="*/ 187214 w 231895"/>
                <a:gd name="connsiteY1" fmla="*/ 1277769 h 1312468"/>
                <a:gd name="connsiteX2" fmla="*/ 215808 w 231895"/>
                <a:gd name="connsiteY2" fmla="*/ 1277798 h 1312468"/>
                <a:gd name="connsiteX3" fmla="*/ 231896 w 231895"/>
                <a:gd name="connsiteY3" fmla="*/ 1279036 h 1312468"/>
                <a:gd name="connsiteX4" fmla="*/ 223047 w 231895"/>
                <a:gd name="connsiteY4" fmla="*/ 1297877 h 1312468"/>
                <a:gd name="connsiteX5" fmla="*/ 200149 w 231895"/>
                <a:gd name="connsiteY5" fmla="*/ 1312469 h 1312468"/>
                <a:gd name="connsiteX6" fmla="*/ 187023 w 231895"/>
                <a:gd name="connsiteY6" fmla="*/ 1310974 h 1312468"/>
                <a:gd name="connsiteX7" fmla="*/ 171212 w 231895"/>
                <a:gd name="connsiteY7" fmla="*/ 1307163 h 1312468"/>
                <a:gd name="connsiteX8" fmla="*/ 151819 w 231895"/>
                <a:gd name="connsiteY8" fmla="*/ 1293076 h 1312468"/>
                <a:gd name="connsiteX9" fmla="*/ 123844 w 231895"/>
                <a:gd name="connsiteY9" fmla="*/ 1286341 h 1312468"/>
                <a:gd name="connsiteX10" fmla="*/ 90240 w 231895"/>
                <a:gd name="connsiteY10" fmla="*/ 1260529 h 1312468"/>
                <a:gd name="connsiteX11" fmla="*/ 62960 w 231895"/>
                <a:gd name="connsiteY11" fmla="*/ 1236021 h 1312468"/>
                <a:gd name="connsiteX12" fmla="*/ 26175 w 231895"/>
                <a:gd name="connsiteY12" fmla="*/ 1185977 h 1312468"/>
                <a:gd name="connsiteX13" fmla="*/ 48196 w 231895"/>
                <a:gd name="connsiteY13" fmla="*/ 1195254 h 1312468"/>
                <a:gd name="connsiteX14" fmla="*/ 85697 w 231895"/>
                <a:gd name="connsiteY14" fmla="*/ 1225096 h 1312468"/>
                <a:gd name="connsiteX15" fmla="*/ 121120 w 231895"/>
                <a:gd name="connsiteY15" fmla="*/ 1241327 h 1312468"/>
                <a:gd name="connsiteX16" fmla="*/ 134903 w 231895"/>
                <a:gd name="connsiteY16" fmla="*/ 1220619 h 1312468"/>
                <a:gd name="connsiteX17" fmla="*/ 143561 w 231895"/>
                <a:gd name="connsiteY17" fmla="*/ 1190120 h 1312468"/>
                <a:gd name="connsiteX18" fmla="*/ 168173 w 231895"/>
                <a:gd name="connsiteY18" fmla="*/ 1171956 h 1312468"/>
                <a:gd name="connsiteX19" fmla="*/ 187195 w 231895"/>
                <a:gd name="connsiteY19" fmla="*/ 1177109 h 1312468"/>
                <a:gd name="connsiteX20" fmla="*/ 198263 w 231895"/>
                <a:gd name="connsiteY20" fmla="*/ 110290 h 1312468"/>
                <a:gd name="connsiteX21" fmla="*/ 208721 w 231895"/>
                <a:gd name="connsiteY21" fmla="*/ 149819 h 1312468"/>
                <a:gd name="connsiteX22" fmla="*/ 227990 w 231895"/>
                <a:gd name="connsiteY22" fmla="*/ 145866 h 1312468"/>
                <a:gd name="connsiteX23" fmla="*/ 231229 w 231895"/>
                <a:gd name="connsiteY23" fmla="*/ 153085 h 1312468"/>
                <a:gd name="connsiteX24" fmla="*/ 222066 w 231895"/>
                <a:gd name="connsiteY24" fmla="*/ 183175 h 1312468"/>
                <a:gd name="connsiteX25" fmla="*/ 192977 w 231895"/>
                <a:gd name="connsiteY25" fmla="*/ 197548 h 1312468"/>
                <a:gd name="connsiteX26" fmla="*/ 193824 w 231895"/>
                <a:gd name="connsiteY26" fmla="*/ 246536 h 1312468"/>
                <a:gd name="connsiteX27" fmla="*/ 188252 w 231895"/>
                <a:gd name="connsiteY27" fmla="*/ 256070 h 1312468"/>
                <a:gd name="connsiteX28" fmla="*/ 196244 w 231895"/>
                <a:gd name="connsiteY28" fmla="*/ 267738 h 1312468"/>
                <a:gd name="connsiteX29" fmla="*/ 177394 w 231895"/>
                <a:gd name="connsiteY29" fmla="*/ 286312 h 1312468"/>
                <a:gd name="connsiteX30" fmla="*/ 159906 w 231895"/>
                <a:gd name="connsiteY30" fmla="*/ 314534 h 1312468"/>
                <a:gd name="connsiteX31" fmla="*/ 150362 w 231895"/>
                <a:gd name="connsiteY31" fmla="*/ 342119 h 1312468"/>
                <a:gd name="connsiteX32" fmla="*/ 152886 w 231895"/>
                <a:gd name="connsiteY32" fmla="*/ 371789 h 1312468"/>
                <a:gd name="connsiteX33" fmla="*/ 136427 w 231895"/>
                <a:gd name="connsiteY33" fmla="*/ 403631 h 1312468"/>
                <a:gd name="connsiteX34" fmla="*/ 148733 w 231895"/>
                <a:gd name="connsiteY34" fmla="*/ 457867 h 1312468"/>
                <a:gd name="connsiteX35" fmla="*/ 155667 w 231895"/>
                <a:gd name="connsiteY35" fmla="*/ 463667 h 1312468"/>
                <a:gd name="connsiteX36" fmla="*/ 155600 w 231895"/>
                <a:gd name="connsiteY36" fmla="*/ 493061 h 1312468"/>
                <a:gd name="connsiteX37" fmla="*/ 140360 w 231895"/>
                <a:gd name="connsiteY37" fmla="*/ 524618 h 1312468"/>
                <a:gd name="connsiteX38" fmla="*/ 140979 w 231895"/>
                <a:gd name="connsiteY38" fmla="*/ 551936 h 1312468"/>
                <a:gd name="connsiteX39" fmla="*/ 120758 w 231895"/>
                <a:gd name="connsiteY39" fmla="*/ 573491 h 1312468"/>
                <a:gd name="connsiteX40" fmla="*/ 120843 w 231895"/>
                <a:gd name="connsiteY40" fmla="*/ 604132 h 1312468"/>
                <a:gd name="connsiteX41" fmla="*/ 128969 w 231895"/>
                <a:gd name="connsiteY41" fmla="*/ 637108 h 1312468"/>
                <a:gd name="connsiteX42" fmla="*/ 112976 w 231895"/>
                <a:gd name="connsiteY42" fmla="*/ 649491 h 1312468"/>
                <a:gd name="connsiteX43" fmla="*/ 105832 w 231895"/>
                <a:gd name="connsiteY43" fmla="*/ 680190 h 1312468"/>
                <a:gd name="connsiteX44" fmla="*/ 99555 w 231895"/>
                <a:gd name="connsiteY44" fmla="*/ 715918 h 1312468"/>
                <a:gd name="connsiteX45" fmla="*/ 104070 w 231895"/>
                <a:gd name="connsiteY45" fmla="*/ 759190 h 1312468"/>
                <a:gd name="connsiteX46" fmla="*/ 93336 w 231895"/>
                <a:gd name="connsiteY46" fmla="*/ 766496 h 1312468"/>
                <a:gd name="connsiteX47" fmla="*/ 99574 w 231895"/>
                <a:gd name="connsiteY47" fmla="*/ 808358 h 1312468"/>
                <a:gd name="connsiteX48" fmla="*/ 111633 w 231895"/>
                <a:gd name="connsiteY48" fmla="*/ 822284 h 1312468"/>
                <a:gd name="connsiteX49" fmla="*/ 102832 w 231895"/>
                <a:gd name="connsiteY49" fmla="*/ 837809 h 1312468"/>
                <a:gd name="connsiteX50" fmla="*/ 115224 w 231895"/>
                <a:gd name="connsiteY50" fmla="*/ 845258 h 1312468"/>
                <a:gd name="connsiteX51" fmla="*/ 118081 w 231895"/>
                <a:gd name="connsiteY51" fmla="*/ 859336 h 1312468"/>
                <a:gd name="connsiteX52" fmla="*/ 106423 w 231895"/>
                <a:gd name="connsiteY52" fmla="*/ 866461 h 1312468"/>
                <a:gd name="connsiteX53" fmla="*/ 109290 w 231895"/>
                <a:gd name="connsiteY53" fmla="*/ 888663 h 1312468"/>
                <a:gd name="connsiteX54" fmla="*/ 99536 w 231895"/>
                <a:gd name="connsiteY54" fmla="*/ 939622 h 1312468"/>
                <a:gd name="connsiteX55" fmla="*/ 85382 w 231895"/>
                <a:gd name="connsiteY55" fmla="*/ 973150 h 1312468"/>
                <a:gd name="connsiteX56" fmla="*/ 88487 w 231895"/>
                <a:gd name="connsiteY56" fmla="*/ 993267 h 1312468"/>
                <a:gd name="connsiteX57" fmla="*/ 80020 w 231895"/>
                <a:gd name="connsiteY57" fmla="*/ 1018794 h 1312468"/>
                <a:gd name="connsiteX58" fmla="*/ 59531 w 231895"/>
                <a:gd name="connsiteY58" fmla="*/ 1036682 h 1312468"/>
                <a:gd name="connsiteX59" fmla="*/ 61865 w 231895"/>
                <a:gd name="connsiteY59" fmla="*/ 1080487 h 1312468"/>
                <a:gd name="connsiteX60" fmla="*/ 71276 w 231895"/>
                <a:gd name="connsiteY60" fmla="*/ 1095689 h 1312468"/>
                <a:gd name="connsiteX61" fmla="*/ 89059 w 231895"/>
                <a:gd name="connsiteY61" fmla="*/ 1092984 h 1312468"/>
                <a:gd name="connsiteX62" fmla="*/ 88544 w 231895"/>
                <a:gd name="connsiteY62" fmla="*/ 1124722 h 1312468"/>
                <a:gd name="connsiteX63" fmla="*/ 99613 w 231895"/>
                <a:gd name="connsiteY63" fmla="*/ 1149791 h 1312468"/>
                <a:gd name="connsiteX64" fmla="*/ 164144 w 231895"/>
                <a:gd name="connsiteY64" fmla="*/ 1155582 h 1312468"/>
                <a:gd name="connsiteX65" fmla="*/ 188900 w 231895"/>
                <a:gd name="connsiteY65" fmla="*/ 1162393 h 1312468"/>
                <a:gd name="connsiteX66" fmla="*/ 165135 w 231895"/>
                <a:gd name="connsiteY66" fmla="*/ 1162069 h 1312468"/>
                <a:gd name="connsiteX67" fmla="*/ 152276 w 231895"/>
                <a:gd name="connsiteY67" fmla="*/ 1172813 h 1312468"/>
                <a:gd name="connsiteX68" fmla="*/ 128178 w 231895"/>
                <a:gd name="connsiteY68" fmla="*/ 1188710 h 1312468"/>
                <a:gd name="connsiteX69" fmla="*/ 123873 w 231895"/>
                <a:gd name="connsiteY69" fmla="*/ 1230411 h 1312468"/>
                <a:gd name="connsiteX70" fmla="*/ 112566 w 231895"/>
                <a:gd name="connsiteY70" fmla="*/ 1231459 h 1312468"/>
                <a:gd name="connsiteX71" fmla="*/ 82429 w 231895"/>
                <a:gd name="connsiteY71" fmla="*/ 1216837 h 1312468"/>
                <a:gd name="connsiteX72" fmla="*/ 51864 w 231895"/>
                <a:gd name="connsiteY72" fmla="*/ 1185872 h 1312468"/>
                <a:gd name="connsiteX73" fmla="*/ 51864 w 231895"/>
                <a:gd name="connsiteY73" fmla="*/ 1185872 h 1312468"/>
                <a:gd name="connsiteX74" fmla="*/ 18640 w 231895"/>
                <a:gd name="connsiteY74" fmla="*/ 1160802 h 1312468"/>
                <a:gd name="connsiteX75" fmla="*/ 10278 w 231895"/>
                <a:gd name="connsiteY75" fmla="*/ 1133427 h 1312468"/>
                <a:gd name="connsiteX76" fmla="*/ 17840 w 231895"/>
                <a:gd name="connsiteY76" fmla="*/ 1108443 h 1312468"/>
                <a:gd name="connsiteX77" fmla="*/ 4401 w 231895"/>
                <a:gd name="connsiteY77" fmla="*/ 1080468 h 1312468"/>
                <a:gd name="connsiteX78" fmla="*/ 981 w 231895"/>
                <a:gd name="connsiteY78" fmla="*/ 1010517 h 1312468"/>
                <a:gd name="connsiteX79" fmla="*/ 12335 w 231895"/>
                <a:gd name="connsiteY79" fmla="*/ 972102 h 1312468"/>
                <a:gd name="connsiteX80" fmla="*/ 40538 w 231895"/>
                <a:gd name="connsiteY80" fmla="*/ 941746 h 1312468"/>
                <a:gd name="connsiteX81" fmla="*/ 0 w 231895"/>
                <a:gd name="connsiteY81" fmla="*/ 930411 h 1312468"/>
                <a:gd name="connsiteX82" fmla="*/ 25432 w 231895"/>
                <a:gd name="connsiteY82" fmla="*/ 896417 h 1312468"/>
                <a:gd name="connsiteX83" fmla="*/ 34528 w 231895"/>
                <a:gd name="connsiteY83" fmla="*/ 833961 h 1312468"/>
                <a:gd name="connsiteX84" fmla="*/ 64208 w 231895"/>
                <a:gd name="connsiteY84" fmla="*/ 847048 h 1312468"/>
                <a:gd name="connsiteX85" fmla="*/ 78162 w 231895"/>
                <a:gd name="connsiteY85" fmla="*/ 771134 h 1312468"/>
                <a:gd name="connsiteX86" fmla="*/ 60245 w 231895"/>
                <a:gd name="connsiteY86" fmla="*/ 761581 h 1312468"/>
                <a:gd name="connsiteX87" fmla="*/ 51902 w 231895"/>
                <a:gd name="connsiteY87" fmla="*/ 806815 h 1312468"/>
                <a:gd name="connsiteX88" fmla="*/ 35052 w 231895"/>
                <a:gd name="connsiteY88" fmla="*/ 801662 h 1312468"/>
                <a:gd name="connsiteX89" fmla="*/ 43444 w 231895"/>
                <a:gd name="connsiteY89" fmla="*/ 750036 h 1312468"/>
                <a:gd name="connsiteX90" fmla="*/ 52549 w 231895"/>
                <a:gd name="connsiteY90" fmla="*/ 684857 h 1312468"/>
                <a:gd name="connsiteX91" fmla="*/ 64818 w 231895"/>
                <a:gd name="connsiteY91" fmla="*/ 661254 h 1312468"/>
                <a:gd name="connsiteX92" fmla="*/ 57131 w 231895"/>
                <a:gd name="connsiteY92" fmla="*/ 627964 h 1312468"/>
                <a:gd name="connsiteX93" fmla="*/ 54931 w 231895"/>
                <a:gd name="connsiteY93" fmla="*/ 590083 h 1312468"/>
                <a:gd name="connsiteX94" fmla="*/ 66189 w 231895"/>
                <a:gd name="connsiteY94" fmla="*/ 588997 h 1312468"/>
                <a:gd name="connsiteX95" fmla="*/ 82572 w 231895"/>
                <a:gd name="connsiteY95" fmla="*/ 535695 h 1312468"/>
                <a:gd name="connsiteX96" fmla="*/ 101032 w 231895"/>
                <a:gd name="connsiteY96" fmla="*/ 483955 h 1312468"/>
                <a:gd name="connsiteX97" fmla="*/ 112338 w 231895"/>
                <a:gd name="connsiteY97" fmla="*/ 436636 h 1312468"/>
                <a:gd name="connsiteX98" fmla="*/ 106185 w 231895"/>
                <a:gd name="connsiteY98" fmla="*/ 389848 h 1312468"/>
                <a:gd name="connsiteX99" fmla="*/ 114157 w 231895"/>
                <a:gd name="connsiteY99" fmla="*/ 364407 h 1312468"/>
                <a:gd name="connsiteX100" fmla="*/ 110957 w 231895"/>
                <a:gd name="connsiteY100" fmla="*/ 326736 h 1312468"/>
                <a:gd name="connsiteX101" fmla="*/ 126578 w 231895"/>
                <a:gd name="connsiteY101" fmla="*/ 289903 h 1312468"/>
                <a:gd name="connsiteX102" fmla="*/ 131388 w 231895"/>
                <a:gd name="connsiteY102" fmla="*/ 232391 h 1312468"/>
                <a:gd name="connsiteX103" fmla="*/ 139960 w 231895"/>
                <a:gd name="connsiteY103" fmla="*/ 171678 h 1312468"/>
                <a:gd name="connsiteX104" fmla="*/ 148314 w 231895"/>
                <a:gd name="connsiteY104" fmla="*/ 107413 h 1312468"/>
                <a:gd name="connsiteX105" fmla="*/ 146361 w 231895"/>
                <a:gd name="connsiteY105" fmla="*/ 60988 h 1312468"/>
                <a:gd name="connsiteX106" fmla="*/ 140798 w 231895"/>
                <a:gd name="connsiteY106" fmla="*/ 21431 h 1312468"/>
                <a:gd name="connsiteX107" fmla="*/ 154534 w 231895"/>
                <a:gd name="connsiteY107" fmla="*/ 14297 h 1312468"/>
                <a:gd name="connsiteX108" fmla="*/ 161687 w 231895"/>
                <a:gd name="connsiteY108" fmla="*/ 0 h 1312468"/>
                <a:gd name="connsiteX109" fmla="*/ 174774 w 231895"/>
                <a:gd name="connsiteY109" fmla="*/ 18974 h 1312468"/>
                <a:gd name="connsiteX110" fmla="*/ 178346 w 231895"/>
                <a:gd name="connsiteY110" fmla="*/ 39185 h 1312468"/>
                <a:gd name="connsiteX111" fmla="*/ 192357 w 231895"/>
                <a:gd name="connsiteY111" fmla="*/ 51092 h 1312468"/>
                <a:gd name="connsiteX112" fmla="*/ 183947 w 231895"/>
                <a:gd name="connsiteY112" fmla="*/ 78410 h 1312468"/>
                <a:gd name="connsiteX113" fmla="*/ 198263 w 231895"/>
                <a:gd name="connsiteY113" fmla="*/ 110290 h 1312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231895" h="1312468">
                  <a:moveTo>
                    <a:pt x="187195" y="1177109"/>
                  </a:moveTo>
                  <a:lnTo>
                    <a:pt x="187214" y="1277769"/>
                  </a:lnTo>
                  <a:lnTo>
                    <a:pt x="215808" y="1277798"/>
                  </a:lnTo>
                  <a:lnTo>
                    <a:pt x="231896" y="1279036"/>
                  </a:lnTo>
                  <a:lnTo>
                    <a:pt x="223047" y="1297877"/>
                  </a:lnTo>
                  <a:lnTo>
                    <a:pt x="200149" y="1312469"/>
                  </a:lnTo>
                  <a:lnTo>
                    <a:pt x="187023" y="1310974"/>
                  </a:lnTo>
                  <a:lnTo>
                    <a:pt x="171212" y="1307163"/>
                  </a:lnTo>
                  <a:lnTo>
                    <a:pt x="151819" y="1293076"/>
                  </a:lnTo>
                  <a:lnTo>
                    <a:pt x="123844" y="1286341"/>
                  </a:lnTo>
                  <a:lnTo>
                    <a:pt x="90240" y="1260529"/>
                  </a:lnTo>
                  <a:lnTo>
                    <a:pt x="62960" y="1236021"/>
                  </a:lnTo>
                  <a:lnTo>
                    <a:pt x="26175" y="1185977"/>
                  </a:lnTo>
                  <a:lnTo>
                    <a:pt x="48196" y="1195254"/>
                  </a:lnTo>
                  <a:lnTo>
                    <a:pt x="85697" y="1225096"/>
                  </a:lnTo>
                  <a:lnTo>
                    <a:pt x="121120" y="1241327"/>
                  </a:lnTo>
                  <a:lnTo>
                    <a:pt x="134903" y="1220619"/>
                  </a:lnTo>
                  <a:lnTo>
                    <a:pt x="143561" y="1190120"/>
                  </a:lnTo>
                  <a:lnTo>
                    <a:pt x="168173" y="1171956"/>
                  </a:lnTo>
                  <a:lnTo>
                    <a:pt x="187195" y="1177109"/>
                  </a:lnTo>
                  <a:close/>
                  <a:moveTo>
                    <a:pt x="198263" y="110290"/>
                  </a:moveTo>
                  <a:lnTo>
                    <a:pt x="208721" y="149819"/>
                  </a:lnTo>
                  <a:lnTo>
                    <a:pt x="227990" y="145866"/>
                  </a:lnTo>
                  <a:lnTo>
                    <a:pt x="231229" y="153085"/>
                  </a:lnTo>
                  <a:lnTo>
                    <a:pt x="222066" y="183175"/>
                  </a:lnTo>
                  <a:lnTo>
                    <a:pt x="192977" y="197548"/>
                  </a:lnTo>
                  <a:lnTo>
                    <a:pt x="193824" y="246536"/>
                  </a:lnTo>
                  <a:lnTo>
                    <a:pt x="188252" y="256070"/>
                  </a:lnTo>
                  <a:lnTo>
                    <a:pt x="196244" y="267738"/>
                  </a:lnTo>
                  <a:lnTo>
                    <a:pt x="177394" y="286312"/>
                  </a:lnTo>
                  <a:lnTo>
                    <a:pt x="159906" y="314534"/>
                  </a:lnTo>
                  <a:lnTo>
                    <a:pt x="150362" y="342119"/>
                  </a:lnTo>
                  <a:lnTo>
                    <a:pt x="152886" y="371789"/>
                  </a:lnTo>
                  <a:lnTo>
                    <a:pt x="136427" y="403631"/>
                  </a:lnTo>
                  <a:lnTo>
                    <a:pt x="148733" y="457867"/>
                  </a:lnTo>
                  <a:lnTo>
                    <a:pt x="155667" y="463667"/>
                  </a:lnTo>
                  <a:lnTo>
                    <a:pt x="155600" y="493061"/>
                  </a:lnTo>
                  <a:lnTo>
                    <a:pt x="140360" y="524618"/>
                  </a:lnTo>
                  <a:lnTo>
                    <a:pt x="140979" y="551936"/>
                  </a:lnTo>
                  <a:lnTo>
                    <a:pt x="120758" y="573491"/>
                  </a:lnTo>
                  <a:lnTo>
                    <a:pt x="120843" y="604132"/>
                  </a:lnTo>
                  <a:lnTo>
                    <a:pt x="128969" y="637108"/>
                  </a:lnTo>
                  <a:lnTo>
                    <a:pt x="112976" y="649491"/>
                  </a:lnTo>
                  <a:lnTo>
                    <a:pt x="105832" y="680190"/>
                  </a:lnTo>
                  <a:lnTo>
                    <a:pt x="99555" y="715918"/>
                  </a:lnTo>
                  <a:lnTo>
                    <a:pt x="104070" y="759190"/>
                  </a:lnTo>
                  <a:lnTo>
                    <a:pt x="93336" y="766496"/>
                  </a:lnTo>
                  <a:lnTo>
                    <a:pt x="99574" y="808358"/>
                  </a:lnTo>
                  <a:lnTo>
                    <a:pt x="111633" y="822284"/>
                  </a:lnTo>
                  <a:lnTo>
                    <a:pt x="102832" y="837809"/>
                  </a:lnTo>
                  <a:lnTo>
                    <a:pt x="115224" y="845258"/>
                  </a:lnTo>
                  <a:lnTo>
                    <a:pt x="118081" y="859336"/>
                  </a:lnTo>
                  <a:lnTo>
                    <a:pt x="106423" y="866461"/>
                  </a:lnTo>
                  <a:lnTo>
                    <a:pt x="109290" y="888663"/>
                  </a:lnTo>
                  <a:lnTo>
                    <a:pt x="99536" y="939622"/>
                  </a:lnTo>
                  <a:lnTo>
                    <a:pt x="85382" y="973150"/>
                  </a:lnTo>
                  <a:lnTo>
                    <a:pt x="88487" y="993267"/>
                  </a:lnTo>
                  <a:lnTo>
                    <a:pt x="80020" y="1018794"/>
                  </a:lnTo>
                  <a:lnTo>
                    <a:pt x="59531" y="1036682"/>
                  </a:lnTo>
                  <a:lnTo>
                    <a:pt x="61865" y="1080487"/>
                  </a:lnTo>
                  <a:lnTo>
                    <a:pt x="71276" y="1095689"/>
                  </a:lnTo>
                  <a:lnTo>
                    <a:pt x="89059" y="1092984"/>
                  </a:lnTo>
                  <a:lnTo>
                    <a:pt x="88544" y="1124722"/>
                  </a:lnTo>
                  <a:lnTo>
                    <a:pt x="99613" y="1149791"/>
                  </a:lnTo>
                  <a:lnTo>
                    <a:pt x="164144" y="1155582"/>
                  </a:lnTo>
                  <a:lnTo>
                    <a:pt x="188900" y="1162393"/>
                  </a:lnTo>
                  <a:lnTo>
                    <a:pt x="165135" y="1162069"/>
                  </a:lnTo>
                  <a:lnTo>
                    <a:pt x="152276" y="1172813"/>
                  </a:lnTo>
                  <a:lnTo>
                    <a:pt x="128178" y="1188710"/>
                  </a:lnTo>
                  <a:lnTo>
                    <a:pt x="123873" y="1230411"/>
                  </a:lnTo>
                  <a:lnTo>
                    <a:pt x="112566" y="1231459"/>
                  </a:lnTo>
                  <a:lnTo>
                    <a:pt x="82429" y="1216837"/>
                  </a:lnTo>
                  <a:lnTo>
                    <a:pt x="51864" y="1185872"/>
                  </a:lnTo>
                  <a:lnTo>
                    <a:pt x="51864" y="1185872"/>
                  </a:lnTo>
                  <a:lnTo>
                    <a:pt x="18640" y="1160802"/>
                  </a:lnTo>
                  <a:lnTo>
                    <a:pt x="10278" y="1133427"/>
                  </a:lnTo>
                  <a:lnTo>
                    <a:pt x="17840" y="1108443"/>
                  </a:lnTo>
                  <a:lnTo>
                    <a:pt x="4401" y="1080468"/>
                  </a:lnTo>
                  <a:lnTo>
                    <a:pt x="981" y="1010517"/>
                  </a:lnTo>
                  <a:lnTo>
                    <a:pt x="12335" y="972102"/>
                  </a:lnTo>
                  <a:lnTo>
                    <a:pt x="40538" y="941746"/>
                  </a:lnTo>
                  <a:lnTo>
                    <a:pt x="0" y="930411"/>
                  </a:lnTo>
                  <a:lnTo>
                    <a:pt x="25432" y="896417"/>
                  </a:lnTo>
                  <a:lnTo>
                    <a:pt x="34528" y="833961"/>
                  </a:lnTo>
                  <a:lnTo>
                    <a:pt x="64208" y="847048"/>
                  </a:lnTo>
                  <a:lnTo>
                    <a:pt x="78162" y="771134"/>
                  </a:lnTo>
                  <a:lnTo>
                    <a:pt x="60245" y="761581"/>
                  </a:lnTo>
                  <a:lnTo>
                    <a:pt x="51902" y="806815"/>
                  </a:lnTo>
                  <a:lnTo>
                    <a:pt x="35052" y="801662"/>
                  </a:lnTo>
                  <a:lnTo>
                    <a:pt x="43444" y="750036"/>
                  </a:lnTo>
                  <a:lnTo>
                    <a:pt x="52549" y="684857"/>
                  </a:lnTo>
                  <a:lnTo>
                    <a:pt x="64818" y="661254"/>
                  </a:lnTo>
                  <a:lnTo>
                    <a:pt x="57131" y="627964"/>
                  </a:lnTo>
                  <a:lnTo>
                    <a:pt x="54931" y="590083"/>
                  </a:lnTo>
                  <a:lnTo>
                    <a:pt x="66189" y="588997"/>
                  </a:lnTo>
                  <a:lnTo>
                    <a:pt x="82572" y="535695"/>
                  </a:lnTo>
                  <a:lnTo>
                    <a:pt x="101032" y="483955"/>
                  </a:lnTo>
                  <a:lnTo>
                    <a:pt x="112338" y="436636"/>
                  </a:lnTo>
                  <a:lnTo>
                    <a:pt x="106185" y="389848"/>
                  </a:lnTo>
                  <a:lnTo>
                    <a:pt x="114157" y="364407"/>
                  </a:lnTo>
                  <a:lnTo>
                    <a:pt x="110957" y="326736"/>
                  </a:lnTo>
                  <a:lnTo>
                    <a:pt x="126578" y="289903"/>
                  </a:lnTo>
                  <a:lnTo>
                    <a:pt x="131388" y="232391"/>
                  </a:lnTo>
                  <a:lnTo>
                    <a:pt x="139960" y="171678"/>
                  </a:lnTo>
                  <a:lnTo>
                    <a:pt x="148314" y="107413"/>
                  </a:lnTo>
                  <a:lnTo>
                    <a:pt x="146361" y="60988"/>
                  </a:lnTo>
                  <a:lnTo>
                    <a:pt x="140798" y="21431"/>
                  </a:lnTo>
                  <a:lnTo>
                    <a:pt x="154534" y="14297"/>
                  </a:lnTo>
                  <a:lnTo>
                    <a:pt x="161687" y="0"/>
                  </a:lnTo>
                  <a:lnTo>
                    <a:pt x="174774" y="18974"/>
                  </a:lnTo>
                  <a:lnTo>
                    <a:pt x="178346" y="39185"/>
                  </a:lnTo>
                  <a:lnTo>
                    <a:pt x="192357" y="51092"/>
                  </a:lnTo>
                  <a:lnTo>
                    <a:pt x="183947" y="78410"/>
                  </a:lnTo>
                  <a:lnTo>
                    <a:pt x="198263" y="1102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orme libre : forme 5683">
              <a:extLst>
                <a:ext uri="{FF2B5EF4-FFF2-40B4-BE49-F238E27FC236}">
                  <a16:creationId xmlns:a16="http://schemas.microsoft.com/office/drawing/2014/main" id="{22A5E5DA-914A-49B3-D2D5-BB12FADE1D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047603" y="4398582"/>
              <a:ext cx="200939" cy="298237"/>
            </a:xfrm>
            <a:custGeom>
              <a:avLst/>
              <a:gdLst>
                <a:gd name="connsiteX0" fmla="*/ 122511 w 200939"/>
                <a:gd name="connsiteY0" fmla="*/ 283912 h 298237"/>
                <a:gd name="connsiteX1" fmla="*/ 119177 w 200939"/>
                <a:gd name="connsiteY1" fmla="*/ 282464 h 298237"/>
                <a:gd name="connsiteX2" fmla="*/ 103375 w 200939"/>
                <a:gd name="connsiteY2" fmla="*/ 285883 h 298237"/>
                <a:gd name="connsiteX3" fmla="*/ 87144 w 200939"/>
                <a:gd name="connsiteY3" fmla="*/ 282331 h 298237"/>
                <a:gd name="connsiteX4" fmla="*/ 74457 w 200939"/>
                <a:gd name="connsiteY4" fmla="*/ 284074 h 298237"/>
                <a:gd name="connsiteX5" fmla="*/ 30995 w 200939"/>
                <a:gd name="connsiteY5" fmla="*/ 283464 h 298237"/>
                <a:gd name="connsiteX6" fmla="*/ 34890 w 200939"/>
                <a:gd name="connsiteY6" fmla="*/ 262500 h 298237"/>
                <a:gd name="connsiteX7" fmla="*/ 24460 w 200939"/>
                <a:gd name="connsiteY7" fmla="*/ 244935 h 298237"/>
                <a:gd name="connsiteX8" fmla="*/ 12268 w 200939"/>
                <a:gd name="connsiteY8" fmla="*/ 240421 h 298237"/>
                <a:gd name="connsiteX9" fmla="*/ 6839 w 200939"/>
                <a:gd name="connsiteY9" fmla="*/ 228505 h 298237"/>
                <a:gd name="connsiteX10" fmla="*/ 0 w 200939"/>
                <a:gd name="connsiteY10" fmla="*/ 224695 h 298237"/>
                <a:gd name="connsiteX11" fmla="*/ 305 w 200939"/>
                <a:gd name="connsiteY11" fmla="*/ 217332 h 298237"/>
                <a:gd name="connsiteX12" fmla="*/ 7182 w 200939"/>
                <a:gd name="connsiteY12" fmla="*/ 198482 h 298237"/>
                <a:gd name="connsiteX13" fmla="*/ 19888 w 200939"/>
                <a:gd name="connsiteY13" fmla="*/ 172746 h 298237"/>
                <a:gd name="connsiteX14" fmla="*/ 27613 w 200939"/>
                <a:gd name="connsiteY14" fmla="*/ 172507 h 298237"/>
                <a:gd name="connsiteX15" fmla="*/ 43520 w 200939"/>
                <a:gd name="connsiteY15" fmla="*/ 156867 h 298237"/>
                <a:gd name="connsiteX16" fmla="*/ 53645 w 200939"/>
                <a:gd name="connsiteY16" fmla="*/ 156429 h 298237"/>
                <a:gd name="connsiteX17" fmla="*/ 68637 w 200939"/>
                <a:gd name="connsiteY17" fmla="*/ 167412 h 298237"/>
                <a:gd name="connsiteX18" fmla="*/ 86992 w 200939"/>
                <a:gd name="connsiteY18" fmla="*/ 158410 h 298237"/>
                <a:gd name="connsiteX19" fmla="*/ 89488 w 200939"/>
                <a:gd name="connsiteY19" fmla="*/ 147295 h 298237"/>
                <a:gd name="connsiteX20" fmla="*/ 95488 w 200939"/>
                <a:gd name="connsiteY20" fmla="*/ 136512 h 298237"/>
                <a:gd name="connsiteX21" fmla="*/ 99622 w 200939"/>
                <a:gd name="connsiteY21" fmla="*/ 122949 h 298237"/>
                <a:gd name="connsiteX22" fmla="*/ 113900 w 200939"/>
                <a:gd name="connsiteY22" fmla="*/ 111900 h 298237"/>
                <a:gd name="connsiteX23" fmla="*/ 119291 w 200939"/>
                <a:gd name="connsiteY23" fmla="*/ 93088 h 298237"/>
                <a:gd name="connsiteX24" fmla="*/ 124958 w 200939"/>
                <a:gd name="connsiteY24" fmla="*/ 87097 h 298237"/>
                <a:gd name="connsiteX25" fmla="*/ 128721 w 200939"/>
                <a:gd name="connsiteY25" fmla="*/ 73095 h 298237"/>
                <a:gd name="connsiteX26" fmla="*/ 135789 w 200939"/>
                <a:gd name="connsiteY26" fmla="*/ 55874 h 298237"/>
                <a:gd name="connsiteX27" fmla="*/ 158277 w 200939"/>
                <a:gd name="connsiteY27" fmla="*/ 34947 h 298237"/>
                <a:gd name="connsiteX28" fmla="*/ 159696 w 200939"/>
                <a:gd name="connsiteY28" fmla="*/ 25936 h 298237"/>
                <a:gd name="connsiteX29" fmla="*/ 162601 w 200939"/>
                <a:gd name="connsiteY29" fmla="*/ 21041 h 298237"/>
                <a:gd name="connsiteX30" fmla="*/ 152029 w 200939"/>
                <a:gd name="connsiteY30" fmla="*/ 10220 h 298237"/>
                <a:gd name="connsiteX31" fmla="*/ 152886 w 200939"/>
                <a:gd name="connsiteY31" fmla="*/ 1562 h 298237"/>
                <a:gd name="connsiteX32" fmla="*/ 160429 w 200939"/>
                <a:gd name="connsiteY32" fmla="*/ 0 h 298237"/>
                <a:gd name="connsiteX33" fmla="*/ 171050 w 200939"/>
                <a:gd name="connsiteY33" fmla="*/ 17412 h 298237"/>
                <a:gd name="connsiteX34" fmla="*/ 172831 w 200939"/>
                <a:gd name="connsiteY34" fmla="*/ 35405 h 298237"/>
                <a:gd name="connsiteX35" fmla="*/ 171860 w 200939"/>
                <a:gd name="connsiteY35" fmla="*/ 53369 h 298237"/>
                <a:gd name="connsiteX36" fmla="*/ 186395 w 200939"/>
                <a:gd name="connsiteY36" fmla="*/ 77896 h 298237"/>
                <a:gd name="connsiteX37" fmla="*/ 171479 w 200939"/>
                <a:gd name="connsiteY37" fmla="*/ 77629 h 298237"/>
                <a:gd name="connsiteX38" fmla="*/ 163944 w 200939"/>
                <a:gd name="connsiteY38" fmla="*/ 79553 h 298237"/>
                <a:gd name="connsiteX39" fmla="*/ 151771 w 200939"/>
                <a:gd name="connsiteY39" fmla="*/ 76848 h 298237"/>
                <a:gd name="connsiteX40" fmla="*/ 145961 w 200939"/>
                <a:gd name="connsiteY40" fmla="*/ 89554 h 298237"/>
                <a:gd name="connsiteX41" fmla="*/ 161735 w 200939"/>
                <a:gd name="connsiteY41" fmla="*/ 105242 h 298237"/>
                <a:gd name="connsiteX42" fmla="*/ 173365 w 200939"/>
                <a:gd name="connsiteY42" fmla="*/ 109795 h 298237"/>
                <a:gd name="connsiteX43" fmla="*/ 177117 w 200939"/>
                <a:gd name="connsiteY43" fmla="*/ 120901 h 298237"/>
                <a:gd name="connsiteX44" fmla="*/ 185547 w 200939"/>
                <a:gd name="connsiteY44" fmla="*/ 139379 h 298237"/>
                <a:gd name="connsiteX45" fmla="*/ 181356 w 200939"/>
                <a:gd name="connsiteY45" fmla="*/ 146628 h 298237"/>
                <a:gd name="connsiteX46" fmla="*/ 167926 w 200939"/>
                <a:gd name="connsiteY46" fmla="*/ 173707 h 298237"/>
                <a:gd name="connsiteX47" fmla="*/ 161515 w 200939"/>
                <a:gd name="connsiteY47" fmla="*/ 178556 h 298237"/>
                <a:gd name="connsiteX48" fmla="*/ 159458 w 200939"/>
                <a:gd name="connsiteY48" fmla="*/ 199225 h 298237"/>
                <a:gd name="connsiteX49" fmla="*/ 162115 w 200939"/>
                <a:gd name="connsiteY49" fmla="*/ 210445 h 298237"/>
                <a:gd name="connsiteX50" fmla="*/ 159963 w 200939"/>
                <a:gd name="connsiteY50" fmla="*/ 218380 h 298237"/>
                <a:gd name="connsiteX51" fmla="*/ 172583 w 200939"/>
                <a:gd name="connsiteY51" fmla="*/ 232277 h 298237"/>
                <a:gd name="connsiteX52" fmla="*/ 174860 w 200939"/>
                <a:gd name="connsiteY52" fmla="*/ 241821 h 298237"/>
                <a:gd name="connsiteX53" fmla="*/ 184719 w 200939"/>
                <a:gd name="connsiteY53" fmla="*/ 255546 h 298237"/>
                <a:gd name="connsiteX54" fmla="*/ 196930 w 200939"/>
                <a:gd name="connsiteY54" fmla="*/ 264090 h 298237"/>
                <a:gd name="connsiteX55" fmla="*/ 198129 w 200939"/>
                <a:gd name="connsiteY55" fmla="*/ 276206 h 298237"/>
                <a:gd name="connsiteX56" fmla="*/ 200940 w 200939"/>
                <a:gd name="connsiteY56" fmla="*/ 283902 h 298237"/>
                <a:gd name="connsiteX57" fmla="*/ 199025 w 200939"/>
                <a:gd name="connsiteY57" fmla="*/ 298237 h 298237"/>
                <a:gd name="connsiteX58" fmla="*/ 177803 w 200939"/>
                <a:gd name="connsiteY58" fmla="*/ 291960 h 298237"/>
                <a:gd name="connsiteX59" fmla="*/ 156210 w 200939"/>
                <a:gd name="connsiteY59" fmla="*/ 284959 h 298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00939" h="298237">
                  <a:moveTo>
                    <a:pt x="122511" y="283912"/>
                  </a:moveTo>
                  <a:lnTo>
                    <a:pt x="119177" y="282464"/>
                  </a:lnTo>
                  <a:lnTo>
                    <a:pt x="103375" y="285883"/>
                  </a:lnTo>
                  <a:lnTo>
                    <a:pt x="87144" y="282331"/>
                  </a:lnTo>
                  <a:lnTo>
                    <a:pt x="74457" y="284074"/>
                  </a:lnTo>
                  <a:lnTo>
                    <a:pt x="30995" y="283464"/>
                  </a:lnTo>
                  <a:lnTo>
                    <a:pt x="34890" y="262500"/>
                  </a:lnTo>
                  <a:lnTo>
                    <a:pt x="24460" y="244935"/>
                  </a:lnTo>
                  <a:lnTo>
                    <a:pt x="12268" y="240421"/>
                  </a:lnTo>
                  <a:lnTo>
                    <a:pt x="6839" y="228505"/>
                  </a:lnTo>
                  <a:lnTo>
                    <a:pt x="0" y="224695"/>
                  </a:lnTo>
                  <a:lnTo>
                    <a:pt x="305" y="217332"/>
                  </a:lnTo>
                  <a:lnTo>
                    <a:pt x="7182" y="198482"/>
                  </a:lnTo>
                  <a:lnTo>
                    <a:pt x="19888" y="172746"/>
                  </a:lnTo>
                  <a:lnTo>
                    <a:pt x="27613" y="172507"/>
                  </a:lnTo>
                  <a:lnTo>
                    <a:pt x="43520" y="156867"/>
                  </a:lnTo>
                  <a:lnTo>
                    <a:pt x="53645" y="156429"/>
                  </a:lnTo>
                  <a:lnTo>
                    <a:pt x="68637" y="167412"/>
                  </a:lnTo>
                  <a:lnTo>
                    <a:pt x="86992" y="158410"/>
                  </a:lnTo>
                  <a:lnTo>
                    <a:pt x="89488" y="147295"/>
                  </a:lnTo>
                  <a:lnTo>
                    <a:pt x="95488" y="136512"/>
                  </a:lnTo>
                  <a:lnTo>
                    <a:pt x="99622" y="122949"/>
                  </a:lnTo>
                  <a:lnTo>
                    <a:pt x="113900" y="111900"/>
                  </a:lnTo>
                  <a:lnTo>
                    <a:pt x="119291" y="93088"/>
                  </a:lnTo>
                  <a:lnTo>
                    <a:pt x="124958" y="87097"/>
                  </a:lnTo>
                  <a:lnTo>
                    <a:pt x="128721" y="73095"/>
                  </a:lnTo>
                  <a:lnTo>
                    <a:pt x="135789" y="55874"/>
                  </a:lnTo>
                  <a:lnTo>
                    <a:pt x="158277" y="34947"/>
                  </a:lnTo>
                  <a:lnTo>
                    <a:pt x="159696" y="25936"/>
                  </a:lnTo>
                  <a:lnTo>
                    <a:pt x="162601" y="21041"/>
                  </a:lnTo>
                  <a:lnTo>
                    <a:pt x="152029" y="10220"/>
                  </a:lnTo>
                  <a:lnTo>
                    <a:pt x="152886" y="1562"/>
                  </a:lnTo>
                  <a:lnTo>
                    <a:pt x="160429" y="0"/>
                  </a:lnTo>
                  <a:lnTo>
                    <a:pt x="171050" y="17412"/>
                  </a:lnTo>
                  <a:lnTo>
                    <a:pt x="172831" y="35405"/>
                  </a:lnTo>
                  <a:lnTo>
                    <a:pt x="171860" y="53369"/>
                  </a:lnTo>
                  <a:lnTo>
                    <a:pt x="186395" y="77896"/>
                  </a:lnTo>
                  <a:lnTo>
                    <a:pt x="171479" y="77629"/>
                  </a:lnTo>
                  <a:lnTo>
                    <a:pt x="163944" y="79553"/>
                  </a:lnTo>
                  <a:lnTo>
                    <a:pt x="151771" y="76848"/>
                  </a:lnTo>
                  <a:lnTo>
                    <a:pt x="145961" y="89554"/>
                  </a:lnTo>
                  <a:lnTo>
                    <a:pt x="161735" y="105242"/>
                  </a:lnTo>
                  <a:lnTo>
                    <a:pt x="173365" y="109795"/>
                  </a:lnTo>
                  <a:lnTo>
                    <a:pt x="177117" y="120901"/>
                  </a:lnTo>
                  <a:lnTo>
                    <a:pt x="185547" y="139379"/>
                  </a:lnTo>
                  <a:lnTo>
                    <a:pt x="181356" y="146628"/>
                  </a:lnTo>
                  <a:lnTo>
                    <a:pt x="167926" y="173707"/>
                  </a:lnTo>
                  <a:lnTo>
                    <a:pt x="161515" y="178556"/>
                  </a:lnTo>
                  <a:lnTo>
                    <a:pt x="159458" y="199225"/>
                  </a:lnTo>
                  <a:lnTo>
                    <a:pt x="162115" y="210445"/>
                  </a:lnTo>
                  <a:lnTo>
                    <a:pt x="159963" y="218380"/>
                  </a:lnTo>
                  <a:lnTo>
                    <a:pt x="172583" y="232277"/>
                  </a:lnTo>
                  <a:lnTo>
                    <a:pt x="174860" y="241821"/>
                  </a:lnTo>
                  <a:lnTo>
                    <a:pt x="184719" y="255546"/>
                  </a:lnTo>
                  <a:lnTo>
                    <a:pt x="196930" y="264090"/>
                  </a:lnTo>
                  <a:lnTo>
                    <a:pt x="198129" y="276206"/>
                  </a:lnTo>
                  <a:lnTo>
                    <a:pt x="200940" y="283902"/>
                  </a:lnTo>
                  <a:lnTo>
                    <a:pt x="199025" y="298237"/>
                  </a:lnTo>
                  <a:lnTo>
                    <a:pt x="177803" y="291960"/>
                  </a:lnTo>
                  <a:lnTo>
                    <a:pt x="156210" y="284959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orme libre : forme 5684">
              <a:extLst>
                <a:ext uri="{FF2B5EF4-FFF2-40B4-BE49-F238E27FC236}">
                  <a16:creationId xmlns:a16="http://schemas.microsoft.com/office/drawing/2014/main" id="{3A88B217-2D62-1F8C-B28A-73385A5F87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788544" y="3055100"/>
              <a:ext cx="1638471" cy="1196368"/>
            </a:xfrm>
            <a:custGeom>
              <a:avLst/>
              <a:gdLst>
                <a:gd name="connsiteX0" fmla="*/ 979151 w 1638471"/>
                <a:gd name="connsiteY0" fmla="*/ 1182919 h 1196368"/>
                <a:gd name="connsiteX1" fmla="*/ 956072 w 1638471"/>
                <a:gd name="connsiteY1" fmla="*/ 1196369 h 1196368"/>
                <a:gd name="connsiteX2" fmla="*/ 934174 w 1638471"/>
                <a:gd name="connsiteY2" fmla="*/ 1187701 h 1196368"/>
                <a:gd name="connsiteX3" fmla="*/ 933402 w 1638471"/>
                <a:gd name="connsiteY3" fmla="*/ 1163555 h 1196368"/>
                <a:gd name="connsiteX4" fmla="*/ 946566 w 1638471"/>
                <a:gd name="connsiteY4" fmla="*/ 1150782 h 1196368"/>
                <a:gd name="connsiteX5" fmla="*/ 975741 w 1638471"/>
                <a:gd name="connsiteY5" fmla="*/ 1142867 h 1196368"/>
                <a:gd name="connsiteX6" fmla="*/ 991095 w 1638471"/>
                <a:gd name="connsiteY6" fmla="*/ 1143543 h 1196368"/>
                <a:gd name="connsiteX7" fmla="*/ 997067 w 1638471"/>
                <a:gd name="connsiteY7" fmla="*/ 1154316 h 1196368"/>
                <a:gd name="connsiteX8" fmla="*/ 985332 w 1638471"/>
                <a:gd name="connsiteY8" fmla="*/ 1166708 h 1196368"/>
                <a:gd name="connsiteX9" fmla="*/ 979151 w 1638471"/>
                <a:gd name="connsiteY9" fmla="*/ 1182919 h 1196368"/>
                <a:gd name="connsiteX10" fmla="*/ 1441666 w 1638471"/>
                <a:gd name="connsiteY10" fmla="*/ 158791 h 1196368"/>
                <a:gd name="connsiteX11" fmla="*/ 1488148 w 1638471"/>
                <a:gd name="connsiteY11" fmla="*/ 171926 h 1196368"/>
                <a:gd name="connsiteX12" fmla="*/ 1519781 w 1638471"/>
                <a:gd name="connsiteY12" fmla="*/ 200835 h 1196368"/>
                <a:gd name="connsiteX13" fmla="*/ 1530591 w 1638471"/>
                <a:gd name="connsiteY13" fmla="*/ 238411 h 1196368"/>
                <a:gd name="connsiteX14" fmla="*/ 1571177 w 1638471"/>
                <a:gd name="connsiteY14" fmla="*/ 238458 h 1196368"/>
                <a:gd name="connsiteX15" fmla="*/ 1594332 w 1638471"/>
                <a:gd name="connsiteY15" fmla="*/ 222771 h 1196368"/>
                <a:gd name="connsiteX16" fmla="*/ 1638472 w 1638471"/>
                <a:gd name="connsiteY16" fmla="*/ 210969 h 1196368"/>
                <a:gd name="connsiteX17" fmla="*/ 1624432 w 1638471"/>
                <a:gd name="connsiteY17" fmla="*/ 246793 h 1196368"/>
                <a:gd name="connsiteX18" fmla="*/ 1614059 w 1638471"/>
                <a:gd name="connsiteY18" fmla="*/ 261195 h 1196368"/>
                <a:gd name="connsiteX19" fmla="*/ 1604905 w 1638471"/>
                <a:gd name="connsiteY19" fmla="*/ 303695 h 1196368"/>
                <a:gd name="connsiteX20" fmla="*/ 1586941 w 1638471"/>
                <a:gd name="connsiteY20" fmla="*/ 340728 h 1196368"/>
                <a:gd name="connsiteX21" fmla="*/ 1554537 w 1638471"/>
                <a:gd name="connsiteY21" fmla="*/ 334032 h 1196368"/>
                <a:gd name="connsiteX22" fmla="*/ 1531611 w 1638471"/>
                <a:gd name="connsiteY22" fmla="*/ 347367 h 1196368"/>
                <a:gd name="connsiteX23" fmla="*/ 1538649 w 1638471"/>
                <a:gd name="connsiteY23" fmla="*/ 379343 h 1196368"/>
                <a:gd name="connsiteX24" fmla="*/ 1534801 w 1638471"/>
                <a:gd name="connsiteY24" fmla="*/ 422710 h 1196368"/>
                <a:gd name="connsiteX25" fmla="*/ 1521161 w 1638471"/>
                <a:gd name="connsiteY25" fmla="*/ 423691 h 1196368"/>
                <a:gd name="connsiteX26" fmla="*/ 1521323 w 1638471"/>
                <a:gd name="connsiteY26" fmla="*/ 442065 h 1196368"/>
                <a:gd name="connsiteX27" fmla="*/ 1504073 w 1638471"/>
                <a:gd name="connsiteY27" fmla="*/ 420691 h 1196368"/>
                <a:gd name="connsiteX28" fmla="*/ 1493463 w 1638471"/>
                <a:gd name="connsiteY28" fmla="*/ 440979 h 1196368"/>
                <a:gd name="connsiteX29" fmla="*/ 1452220 w 1638471"/>
                <a:gd name="connsiteY29" fmla="*/ 456457 h 1196368"/>
                <a:gd name="connsiteX30" fmla="*/ 1456391 w 1638471"/>
                <a:gd name="connsiteY30" fmla="*/ 475269 h 1196368"/>
                <a:gd name="connsiteX31" fmla="*/ 1433303 w 1638471"/>
                <a:gd name="connsiteY31" fmla="*/ 473974 h 1196368"/>
                <a:gd name="connsiteX32" fmla="*/ 1420625 w 1638471"/>
                <a:gd name="connsiteY32" fmla="*/ 462810 h 1196368"/>
                <a:gd name="connsiteX33" fmla="*/ 1402270 w 1638471"/>
                <a:gd name="connsiteY33" fmla="*/ 487994 h 1196368"/>
                <a:gd name="connsiteX34" fmla="*/ 1372838 w 1638471"/>
                <a:gd name="connsiteY34" fmla="*/ 506892 h 1196368"/>
                <a:gd name="connsiteX35" fmla="*/ 1351093 w 1638471"/>
                <a:gd name="connsiteY35" fmla="*/ 529247 h 1196368"/>
                <a:gd name="connsiteX36" fmla="*/ 1313755 w 1638471"/>
                <a:gd name="connsiteY36" fmla="*/ 539315 h 1196368"/>
                <a:gd name="connsiteX37" fmla="*/ 1294095 w 1638471"/>
                <a:gd name="connsiteY37" fmla="*/ 555403 h 1196368"/>
                <a:gd name="connsiteX38" fmla="*/ 1265329 w 1638471"/>
                <a:gd name="connsiteY38" fmla="*/ 564747 h 1196368"/>
                <a:gd name="connsiteX39" fmla="*/ 1279522 w 1638471"/>
                <a:gd name="connsiteY39" fmla="*/ 548859 h 1196368"/>
                <a:gd name="connsiteX40" fmla="*/ 1273930 w 1638471"/>
                <a:gd name="connsiteY40" fmla="*/ 535419 h 1196368"/>
                <a:gd name="connsiteX41" fmla="*/ 1295086 w 1638471"/>
                <a:gd name="connsiteY41" fmla="*/ 512045 h 1196368"/>
                <a:gd name="connsiteX42" fmla="*/ 1280979 w 1638471"/>
                <a:gd name="connsiteY42" fmla="*/ 493662 h 1196368"/>
                <a:gd name="connsiteX43" fmla="*/ 1257700 w 1638471"/>
                <a:gd name="connsiteY43" fmla="*/ 506063 h 1196368"/>
                <a:gd name="connsiteX44" fmla="*/ 1227553 w 1638471"/>
                <a:gd name="connsiteY44" fmla="*/ 530295 h 1196368"/>
                <a:gd name="connsiteX45" fmla="*/ 1211094 w 1638471"/>
                <a:gd name="connsiteY45" fmla="*/ 552583 h 1196368"/>
                <a:gd name="connsiteX46" fmla="*/ 1184900 w 1638471"/>
                <a:gd name="connsiteY46" fmla="*/ 554231 h 1196368"/>
                <a:gd name="connsiteX47" fmla="*/ 1171270 w 1638471"/>
                <a:gd name="connsiteY47" fmla="*/ 570195 h 1196368"/>
                <a:gd name="connsiteX48" fmla="*/ 1185357 w 1638471"/>
                <a:gd name="connsiteY48" fmla="*/ 593141 h 1196368"/>
                <a:gd name="connsiteX49" fmla="*/ 1207208 w 1638471"/>
                <a:gd name="connsiteY49" fmla="*/ 598684 h 1196368"/>
                <a:gd name="connsiteX50" fmla="*/ 1208113 w 1638471"/>
                <a:gd name="connsiteY50" fmla="*/ 613763 h 1196368"/>
                <a:gd name="connsiteX51" fmla="*/ 1229239 w 1638471"/>
                <a:gd name="connsiteY51" fmla="*/ 623526 h 1196368"/>
                <a:gd name="connsiteX52" fmla="*/ 1259176 w 1638471"/>
                <a:gd name="connsiteY52" fmla="*/ 599589 h 1196368"/>
                <a:gd name="connsiteX53" fmla="*/ 1282884 w 1638471"/>
                <a:gd name="connsiteY53" fmla="*/ 612677 h 1196368"/>
                <a:gd name="connsiteX54" fmla="*/ 1300153 w 1638471"/>
                <a:gd name="connsiteY54" fmla="*/ 613563 h 1196368"/>
                <a:gd name="connsiteX55" fmla="*/ 1304487 w 1638471"/>
                <a:gd name="connsiteY55" fmla="*/ 631050 h 1196368"/>
                <a:gd name="connsiteX56" fmla="*/ 1266673 w 1638471"/>
                <a:gd name="connsiteY56" fmla="*/ 640328 h 1196368"/>
                <a:gd name="connsiteX57" fmla="*/ 1254185 w 1638471"/>
                <a:gd name="connsiteY57" fmla="*/ 658159 h 1196368"/>
                <a:gd name="connsiteX58" fmla="*/ 1228211 w 1638471"/>
                <a:gd name="connsiteY58" fmla="*/ 674618 h 1196368"/>
                <a:gd name="connsiteX59" fmla="*/ 1214504 w 1638471"/>
                <a:gd name="connsiteY59" fmla="*/ 697411 h 1196368"/>
                <a:gd name="connsiteX60" fmla="*/ 1243260 w 1638471"/>
                <a:gd name="connsiteY60" fmla="*/ 715166 h 1196368"/>
                <a:gd name="connsiteX61" fmla="*/ 1253757 w 1638471"/>
                <a:gd name="connsiteY61" fmla="*/ 746665 h 1196368"/>
                <a:gd name="connsiteX62" fmla="*/ 1270006 w 1638471"/>
                <a:gd name="connsiteY62" fmla="*/ 775678 h 1196368"/>
                <a:gd name="connsiteX63" fmla="*/ 1288142 w 1638471"/>
                <a:gd name="connsiteY63" fmla="*/ 799767 h 1196368"/>
                <a:gd name="connsiteX64" fmla="*/ 1287703 w 1638471"/>
                <a:gd name="connsiteY64" fmla="*/ 822875 h 1196368"/>
                <a:gd name="connsiteX65" fmla="*/ 1270940 w 1638471"/>
                <a:gd name="connsiteY65" fmla="*/ 831323 h 1196368"/>
                <a:gd name="connsiteX66" fmla="*/ 1277331 w 1638471"/>
                <a:gd name="connsiteY66" fmla="*/ 847754 h 1196368"/>
                <a:gd name="connsiteX67" fmla="*/ 1293047 w 1638471"/>
                <a:gd name="connsiteY67" fmla="*/ 857279 h 1196368"/>
                <a:gd name="connsiteX68" fmla="*/ 1288942 w 1638471"/>
                <a:gd name="connsiteY68" fmla="*/ 882129 h 1196368"/>
                <a:gd name="connsiteX69" fmla="*/ 1282160 w 1638471"/>
                <a:gd name="connsiteY69" fmla="*/ 906113 h 1196368"/>
                <a:gd name="connsiteX70" fmla="*/ 1267234 w 1638471"/>
                <a:gd name="connsiteY70" fmla="*/ 908818 h 1196368"/>
                <a:gd name="connsiteX71" fmla="*/ 1247737 w 1638471"/>
                <a:gd name="connsiteY71" fmla="*/ 941270 h 1196368"/>
                <a:gd name="connsiteX72" fmla="*/ 1226105 w 1638471"/>
                <a:gd name="connsiteY72" fmla="*/ 980189 h 1196368"/>
                <a:gd name="connsiteX73" fmla="*/ 1201302 w 1638471"/>
                <a:gd name="connsiteY73" fmla="*/ 1015203 h 1196368"/>
                <a:gd name="connsiteX74" fmla="*/ 1164584 w 1638471"/>
                <a:gd name="connsiteY74" fmla="*/ 1042045 h 1196368"/>
                <a:gd name="connsiteX75" fmla="*/ 1127436 w 1638471"/>
                <a:gd name="connsiteY75" fmla="*/ 1066362 h 1196368"/>
                <a:gd name="connsiteX76" fmla="*/ 1097346 w 1638471"/>
                <a:gd name="connsiteY76" fmla="*/ 1069667 h 1196368"/>
                <a:gd name="connsiteX77" fmla="*/ 1081021 w 1638471"/>
                <a:gd name="connsiteY77" fmla="*/ 1082431 h 1196368"/>
                <a:gd name="connsiteX78" fmla="*/ 1071782 w 1638471"/>
                <a:gd name="connsiteY78" fmla="*/ 1073106 h 1196368"/>
                <a:gd name="connsiteX79" fmla="*/ 1056675 w 1638471"/>
                <a:gd name="connsiteY79" fmla="*/ 1087374 h 1196368"/>
                <a:gd name="connsiteX80" fmla="*/ 1019347 w 1638471"/>
                <a:gd name="connsiteY80" fmla="*/ 1101700 h 1196368"/>
                <a:gd name="connsiteX81" fmla="*/ 991085 w 1638471"/>
                <a:gd name="connsiteY81" fmla="*/ 1106072 h 1196368"/>
                <a:gd name="connsiteX82" fmla="*/ 981970 w 1638471"/>
                <a:gd name="connsiteY82" fmla="*/ 1136085 h 1196368"/>
                <a:gd name="connsiteX83" fmla="*/ 967168 w 1638471"/>
                <a:gd name="connsiteY83" fmla="*/ 1137742 h 1196368"/>
                <a:gd name="connsiteX84" fmla="*/ 960168 w 1638471"/>
                <a:gd name="connsiteY84" fmla="*/ 1117149 h 1196368"/>
                <a:gd name="connsiteX85" fmla="*/ 966492 w 1638471"/>
                <a:gd name="connsiteY85" fmla="*/ 1106129 h 1196368"/>
                <a:gd name="connsiteX86" fmla="*/ 930659 w 1638471"/>
                <a:gd name="connsiteY86" fmla="*/ 1096994 h 1196368"/>
                <a:gd name="connsiteX87" fmla="*/ 918038 w 1638471"/>
                <a:gd name="connsiteY87" fmla="*/ 1101643 h 1196368"/>
                <a:gd name="connsiteX88" fmla="*/ 891149 w 1638471"/>
                <a:gd name="connsiteY88" fmla="*/ 1094232 h 1196368"/>
                <a:gd name="connsiteX89" fmla="*/ 878434 w 1638471"/>
                <a:gd name="connsiteY89" fmla="*/ 1082593 h 1196368"/>
                <a:gd name="connsiteX90" fmla="*/ 882653 w 1638471"/>
                <a:gd name="connsiteY90" fmla="*/ 1066038 h 1196368"/>
                <a:gd name="connsiteX91" fmla="*/ 858241 w 1638471"/>
                <a:gd name="connsiteY91" fmla="*/ 1060771 h 1196368"/>
                <a:gd name="connsiteX92" fmla="*/ 845362 w 1638471"/>
                <a:gd name="connsiteY92" fmla="*/ 1049931 h 1196368"/>
                <a:gd name="connsiteX93" fmla="*/ 822598 w 1638471"/>
                <a:gd name="connsiteY93" fmla="*/ 1065314 h 1196368"/>
                <a:gd name="connsiteX94" fmla="*/ 796633 w 1638471"/>
                <a:gd name="connsiteY94" fmla="*/ 1068639 h 1196368"/>
                <a:gd name="connsiteX95" fmla="*/ 775335 w 1638471"/>
                <a:gd name="connsiteY95" fmla="*/ 1068486 h 1196368"/>
                <a:gd name="connsiteX96" fmla="*/ 761000 w 1638471"/>
                <a:gd name="connsiteY96" fmla="*/ 1075506 h 1196368"/>
                <a:gd name="connsiteX97" fmla="*/ 747160 w 1638471"/>
                <a:gd name="connsiteY97" fmla="*/ 1079716 h 1196368"/>
                <a:gd name="connsiteX98" fmla="*/ 751198 w 1638471"/>
                <a:gd name="connsiteY98" fmla="*/ 1112415 h 1196368"/>
                <a:gd name="connsiteX99" fmla="*/ 736959 w 1638471"/>
                <a:gd name="connsiteY99" fmla="*/ 1111634 h 1196368"/>
                <a:gd name="connsiteX100" fmla="*/ 734558 w 1638471"/>
                <a:gd name="connsiteY100" fmla="*/ 1104938 h 1196368"/>
                <a:gd name="connsiteX101" fmla="*/ 733749 w 1638471"/>
                <a:gd name="connsiteY101" fmla="*/ 1093127 h 1196368"/>
                <a:gd name="connsiteX102" fmla="*/ 714156 w 1638471"/>
                <a:gd name="connsiteY102" fmla="*/ 1101452 h 1196368"/>
                <a:gd name="connsiteX103" fmla="*/ 702593 w 1638471"/>
                <a:gd name="connsiteY103" fmla="*/ 1096194 h 1196368"/>
                <a:gd name="connsiteX104" fmla="*/ 682761 w 1638471"/>
                <a:gd name="connsiteY104" fmla="*/ 1085450 h 1196368"/>
                <a:gd name="connsiteX105" fmla="*/ 690534 w 1638471"/>
                <a:gd name="connsiteY105" fmla="*/ 1061571 h 1196368"/>
                <a:gd name="connsiteX106" fmla="*/ 673627 w 1638471"/>
                <a:gd name="connsiteY106" fmla="*/ 1055980 h 1196368"/>
                <a:gd name="connsiteX107" fmla="*/ 667255 w 1638471"/>
                <a:gd name="connsiteY107" fmla="*/ 1029300 h 1196368"/>
                <a:gd name="connsiteX108" fmla="*/ 639060 w 1638471"/>
                <a:gd name="connsiteY108" fmla="*/ 1034120 h 1196368"/>
                <a:gd name="connsiteX109" fmla="*/ 642271 w 1638471"/>
                <a:gd name="connsiteY109" fmla="*/ 999497 h 1196368"/>
                <a:gd name="connsiteX110" fmla="*/ 667559 w 1638471"/>
                <a:gd name="connsiteY110" fmla="*/ 974922 h 1196368"/>
                <a:gd name="connsiteX111" fmla="*/ 668636 w 1638471"/>
                <a:gd name="connsiteY111" fmla="*/ 950481 h 1196368"/>
                <a:gd name="connsiteX112" fmla="*/ 667845 w 1638471"/>
                <a:gd name="connsiteY112" fmla="*/ 927640 h 1196368"/>
                <a:gd name="connsiteX113" fmla="*/ 656187 w 1638471"/>
                <a:gd name="connsiteY113" fmla="*/ 920496 h 1196368"/>
                <a:gd name="connsiteX114" fmla="*/ 647262 w 1638471"/>
                <a:gd name="connsiteY114" fmla="*/ 902780 h 1196368"/>
                <a:gd name="connsiteX115" fmla="*/ 631631 w 1638471"/>
                <a:gd name="connsiteY115" fmla="*/ 905018 h 1196368"/>
                <a:gd name="connsiteX116" fmla="*/ 602837 w 1638471"/>
                <a:gd name="connsiteY116" fmla="*/ 900503 h 1196368"/>
                <a:gd name="connsiteX117" fmla="*/ 611857 w 1638471"/>
                <a:gd name="connsiteY117" fmla="*/ 887797 h 1196368"/>
                <a:gd name="connsiteX118" fmla="*/ 599341 w 1638471"/>
                <a:gd name="connsiteY118" fmla="*/ 868880 h 1196368"/>
                <a:gd name="connsiteX119" fmla="*/ 580301 w 1638471"/>
                <a:gd name="connsiteY119" fmla="*/ 881701 h 1196368"/>
                <a:gd name="connsiteX120" fmla="*/ 557898 w 1638471"/>
                <a:gd name="connsiteY120" fmla="*/ 874224 h 1196368"/>
                <a:gd name="connsiteX121" fmla="*/ 527113 w 1638471"/>
                <a:gd name="connsiteY121" fmla="*/ 893559 h 1196368"/>
                <a:gd name="connsiteX122" fmla="*/ 502805 w 1638471"/>
                <a:gd name="connsiteY122" fmla="*/ 915991 h 1196368"/>
                <a:gd name="connsiteX123" fmla="*/ 481260 w 1638471"/>
                <a:gd name="connsiteY123" fmla="*/ 919753 h 1196368"/>
                <a:gd name="connsiteX124" fmla="*/ 469563 w 1638471"/>
                <a:gd name="connsiteY124" fmla="*/ 911666 h 1196368"/>
                <a:gd name="connsiteX125" fmla="*/ 455466 w 1638471"/>
                <a:gd name="connsiteY125" fmla="*/ 910933 h 1196368"/>
                <a:gd name="connsiteX126" fmla="*/ 436378 w 1638471"/>
                <a:gd name="connsiteY126" fmla="*/ 903961 h 1196368"/>
                <a:gd name="connsiteX127" fmla="*/ 421948 w 1638471"/>
                <a:gd name="connsiteY127" fmla="*/ 911609 h 1196368"/>
                <a:gd name="connsiteX128" fmla="*/ 404289 w 1638471"/>
                <a:gd name="connsiteY128" fmla="*/ 933907 h 1196368"/>
                <a:gd name="connsiteX129" fmla="*/ 402050 w 1638471"/>
                <a:gd name="connsiteY129" fmla="*/ 910276 h 1196368"/>
                <a:gd name="connsiteX130" fmla="*/ 385763 w 1638471"/>
                <a:gd name="connsiteY130" fmla="*/ 916610 h 1196368"/>
                <a:gd name="connsiteX131" fmla="*/ 354616 w 1638471"/>
                <a:gd name="connsiteY131" fmla="*/ 913667 h 1196368"/>
                <a:gd name="connsiteX132" fmla="*/ 324402 w 1638471"/>
                <a:gd name="connsiteY132" fmla="*/ 906761 h 1196368"/>
                <a:gd name="connsiteX133" fmla="*/ 302733 w 1638471"/>
                <a:gd name="connsiteY133" fmla="*/ 893493 h 1196368"/>
                <a:gd name="connsiteX134" fmla="*/ 281978 w 1638471"/>
                <a:gd name="connsiteY134" fmla="*/ 887521 h 1196368"/>
                <a:gd name="connsiteX135" fmla="*/ 273015 w 1638471"/>
                <a:gd name="connsiteY135" fmla="*/ 872919 h 1196368"/>
                <a:gd name="connsiteX136" fmla="*/ 258013 w 1638471"/>
                <a:gd name="connsiteY136" fmla="*/ 868547 h 1196368"/>
                <a:gd name="connsiteX137" fmla="*/ 231048 w 1638471"/>
                <a:gd name="connsiteY137" fmla="*/ 848601 h 1196368"/>
                <a:gd name="connsiteX138" fmla="*/ 209635 w 1638471"/>
                <a:gd name="connsiteY138" fmla="*/ 839143 h 1196368"/>
                <a:gd name="connsiteX139" fmla="*/ 198568 w 1638471"/>
                <a:gd name="connsiteY139" fmla="*/ 846506 h 1196368"/>
                <a:gd name="connsiteX140" fmla="*/ 161458 w 1638471"/>
                <a:gd name="connsiteY140" fmla="*/ 824932 h 1196368"/>
                <a:gd name="connsiteX141" fmla="*/ 135217 w 1638471"/>
                <a:gd name="connsiteY141" fmla="*/ 805263 h 1196368"/>
                <a:gd name="connsiteX142" fmla="*/ 127730 w 1638471"/>
                <a:gd name="connsiteY142" fmla="*/ 770697 h 1196368"/>
                <a:gd name="connsiteX143" fmla="*/ 146895 w 1638471"/>
                <a:gd name="connsiteY143" fmla="*/ 774935 h 1196368"/>
                <a:gd name="connsiteX144" fmla="*/ 150466 w 1638471"/>
                <a:gd name="connsiteY144" fmla="*/ 774059 h 1196368"/>
                <a:gd name="connsiteX145" fmla="*/ 155620 w 1638471"/>
                <a:gd name="connsiteY145" fmla="*/ 769696 h 1196368"/>
                <a:gd name="connsiteX146" fmla="*/ 156810 w 1638471"/>
                <a:gd name="connsiteY146" fmla="*/ 765725 h 1196368"/>
                <a:gd name="connsiteX147" fmla="*/ 151847 w 1638471"/>
                <a:gd name="connsiteY147" fmla="*/ 759771 h 1196368"/>
                <a:gd name="connsiteX148" fmla="*/ 151447 w 1638471"/>
                <a:gd name="connsiteY148" fmla="*/ 748655 h 1196368"/>
                <a:gd name="connsiteX149" fmla="*/ 144503 w 1638471"/>
                <a:gd name="connsiteY149" fmla="*/ 748056 h 1196368"/>
                <a:gd name="connsiteX150" fmla="*/ 139741 w 1638471"/>
                <a:gd name="connsiteY150" fmla="*/ 744084 h 1196368"/>
                <a:gd name="connsiteX151" fmla="*/ 139141 w 1638471"/>
                <a:gd name="connsiteY151" fmla="*/ 737140 h 1196368"/>
                <a:gd name="connsiteX152" fmla="*/ 143313 w 1638471"/>
                <a:gd name="connsiteY152" fmla="*/ 736940 h 1196368"/>
                <a:gd name="connsiteX153" fmla="*/ 139941 w 1638471"/>
                <a:gd name="connsiteY153" fmla="*/ 725824 h 1196368"/>
                <a:gd name="connsiteX154" fmla="*/ 141732 w 1638471"/>
                <a:gd name="connsiteY154" fmla="*/ 723843 h 1196368"/>
                <a:gd name="connsiteX155" fmla="*/ 152048 w 1638471"/>
                <a:gd name="connsiteY155" fmla="*/ 724443 h 1196368"/>
                <a:gd name="connsiteX156" fmla="*/ 169316 w 1638471"/>
                <a:gd name="connsiteY156" fmla="*/ 699840 h 1196368"/>
                <a:gd name="connsiteX157" fmla="*/ 175470 w 1638471"/>
                <a:gd name="connsiteY157" fmla="*/ 677618 h 1196368"/>
                <a:gd name="connsiteX158" fmla="*/ 165345 w 1638471"/>
                <a:gd name="connsiteY158" fmla="*/ 669284 h 1196368"/>
                <a:gd name="connsiteX159" fmla="*/ 148476 w 1638471"/>
                <a:gd name="connsiteY159" fmla="*/ 664121 h 1196368"/>
                <a:gd name="connsiteX160" fmla="*/ 133398 w 1638471"/>
                <a:gd name="connsiteY160" fmla="*/ 667103 h 1196368"/>
                <a:gd name="connsiteX161" fmla="*/ 111147 w 1638471"/>
                <a:gd name="connsiteY161" fmla="*/ 678409 h 1196368"/>
                <a:gd name="connsiteX162" fmla="*/ 80610 w 1638471"/>
                <a:gd name="connsiteY162" fmla="*/ 668493 h 1196368"/>
                <a:gd name="connsiteX163" fmla="*/ 77438 w 1638471"/>
                <a:gd name="connsiteY163" fmla="*/ 659168 h 1196368"/>
                <a:gd name="connsiteX164" fmla="*/ 63551 w 1638471"/>
                <a:gd name="connsiteY164" fmla="*/ 653415 h 1196368"/>
                <a:gd name="connsiteX165" fmla="*/ 59321 w 1638471"/>
                <a:gd name="connsiteY165" fmla="*/ 639823 h 1196368"/>
                <a:gd name="connsiteX166" fmla="*/ 39595 w 1638471"/>
                <a:gd name="connsiteY166" fmla="*/ 624326 h 1196368"/>
                <a:gd name="connsiteX167" fmla="*/ 34842 w 1638471"/>
                <a:gd name="connsiteY167" fmla="*/ 614734 h 1196368"/>
                <a:gd name="connsiteX168" fmla="*/ 30832 w 1638471"/>
                <a:gd name="connsiteY168" fmla="*/ 595570 h 1196368"/>
                <a:gd name="connsiteX169" fmla="*/ 31766 w 1638471"/>
                <a:gd name="connsiteY169" fmla="*/ 582416 h 1196368"/>
                <a:gd name="connsiteX170" fmla="*/ 15544 w 1638471"/>
                <a:gd name="connsiteY170" fmla="*/ 574682 h 1196368"/>
                <a:gd name="connsiteX171" fmla="*/ 6772 w 1638471"/>
                <a:gd name="connsiteY171" fmla="*/ 578101 h 1196368"/>
                <a:gd name="connsiteX172" fmla="*/ 0 w 1638471"/>
                <a:gd name="connsiteY172" fmla="*/ 546440 h 1196368"/>
                <a:gd name="connsiteX173" fmla="*/ 7601 w 1638471"/>
                <a:gd name="connsiteY173" fmla="*/ 538544 h 1196368"/>
                <a:gd name="connsiteX174" fmla="*/ 3915 w 1638471"/>
                <a:gd name="connsiteY174" fmla="*/ 530447 h 1196368"/>
                <a:gd name="connsiteX175" fmla="*/ 29413 w 1638471"/>
                <a:gd name="connsiteY175" fmla="*/ 514007 h 1196368"/>
                <a:gd name="connsiteX176" fmla="*/ 47873 w 1638471"/>
                <a:gd name="connsiteY176" fmla="*/ 507168 h 1196368"/>
                <a:gd name="connsiteX177" fmla="*/ 76142 w 1638471"/>
                <a:gd name="connsiteY177" fmla="*/ 511855 h 1196368"/>
                <a:gd name="connsiteX178" fmla="*/ 86249 w 1638471"/>
                <a:gd name="connsiteY178" fmla="*/ 489433 h 1196368"/>
                <a:gd name="connsiteX179" fmla="*/ 120510 w 1638471"/>
                <a:gd name="connsiteY179" fmla="*/ 485242 h 1196368"/>
                <a:gd name="connsiteX180" fmla="*/ 130026 w 1638471"/>
                <a:gd name="connsiteY180" fmla="*/ 471164 h 1196368"/>
                <a:gd name="connsiteX181" fmla="*/ 172117 w 1638471"/>
                <a:gd name="connsiteY181" fmla="*/ 451818 h 1196368"/>
                <a:gd name="connsiteX182" fmla="*/ 175870 w 1638471"/>
                <a:gd name="connsiteY182" fmla="*/ 443694 h 1196368"/>
                <a:gd name="connsiteX183" fmla="*/ 173736 w 1638471"/>
                <a:gd name="connsiteY183" fmla="*/ 423072 h 1196368"/>
                <a:gd name="connsiteX184" fmla="*/ 192062 w 1638471"/>
                <a:gd name="connsiteY184" fmla="*/ 413595 h 1196368"/>
                <a:gd name="connsiteX185" fmla="*/ 168021 w 1638471"/>
                <a:gd name="connsiteY185" fmla="*/ 349263 h 1196368"/>
                <a:gd name="connsiteX186" fmla="*/ 220932 w 1638471"/>
                <a:gd name="connsiteY186" fmla="*/ 334194 h 1196368"/>
                <a:gd name="connsiteX187" fmla="*/ 234610 w 1638471"/>
                <a:gd name="connsiteY187" fmla="*/ 325755 h 1196368"/>
                <a:gd name="connsiteX188" fmla="*/ 253869 w 1638471"/>
                <a:gd name="connsiteY188" fmla="*/ 256585 h 1196368"/>
                <a:gd name="connsiteX189" fmla="*/ 306857 w 1638471"/>
                <a:gd name="connsiteY189" fmla="*/ 269472 h 1196368"/>
                <a:gd name="connsiteX190" fmla="*/ 321716 w 1638471"/>
                <a:gd name="connsiteY190" fmla="*/ 251755 h 1196368"/>
                <a:gd name="connsiteX191" fmla="*/ 322993 w 1638471"/>
                <a:gd name="connsiteY191" fmla="*/ 211884 h 1196368"/>
                <a:gd name="connsiteX192" fmla="*/ 345176 w 1638471"/>
                <a:gd name="connsiteY192" fmla="*/ 208121 h 1196368"/>
                <a:gd name="connsiteX193" fmla="*/ 365503 w 1638471"/>
                <a:gd name="connsiteY193" fmla="*/ 181156 h 1196368"/>
                <a:gd name="connsiteX194" fmla="*/ 375961 w 1638471"/>
                <a:gd name="connsiteY194" fmla="*/ 177803 h 1196368"/>
                <a:gd name="connsiteX195" fmla="*/ 382971 w 1638471"/>
                <a:gd name="connsiteY195" fmla="*/ 206093 h 1196368"/>
                <a:gd name="connsiteX196" fmla="*/ 405412 w 1638471"/>
                <a:gd name="connsiteY196" fmla="*/ 227333 h 1196368"/>
                <a:gd name="connsiteX197" fmla="*/ 443503 w 1638471"/>
                <a:gd name="connsiteY197" fmla="*/ 242240 h 1196368"/>
                <a:gd name="connsiteX198" fmla="*/ 461934 w 1638471"/>
                <a:gd name="connsiteY198" fmla="*/ 273853 h 1196368"/>
                <a:gd name="connsiteX199" fmla="*/ 451656 w 1638471"/>
                <a:gd name="connsiteY199" fmla="*/ 318888 h 1196368"/>
                <a:gd name="connsiteX200" fmla="*/ 461267 w 1638471"/>
                <a:gd name="connsiteY200" fmla="*/ 335356 h 1196368"/>
                <a:gd name="connsiteX201" fmla="*/ 493004 w 1638471"/>
                <a:gd name="connsiteY201" fmla="*/ 341814 h 1196368"/>
                <a:gd name="connsiteX202" fmla="*/ 528971 w 1638471"/>
                <a:gd name="connsiteY202" fmla="*/ 347072 h 1196368"/>
                <a:gd name="connsiteX203" fmla="*/ 561241 w 1638471"/>
                <a:gd name="connsiteY203" fmla="*/ 370389 h 1196368"/>
                <a:gd name="connsiteX204" fmla="*/ 577739 w 1638471"/>
                <a:gd name="connsiteY204" fmla="*/ 374513 h 1196368"/>
                <a:gd name="connsiteX205" fmla="*/ 589902 w 1638471"/>
                <a:gd name="connsiteY205" fmla="*/ 408499 h 1196368"/>
                <a:gd name="connsiteX206" fmla="*/ 605581 w 1638471"/>
                <a:gd name="connsiteY206" fmla="*/ 430111 h 1196368"/>
                <a:gd name="connsiteX207" fmla="*/ 635022 w 1638471"/>
                <a:gd name="connsiteY207" fmla="*/ 429273 h 1196368"/>
                <a:gd name="connsiteX208" fmla="*/ 690143 w 1638471"/>
                <a:gd name="connsiteY208" fmla="*/ 437388 h 1196368"/>
                <a:gd name="connsiteX209" fmla="*/ 725662 w 1638471"/>
                <a:gd name="connsiteY209" fmla="*/ 432359 h 1196368"/>
                <a:gd name="connsiteX210" fmla="*/ 752027 w 1638471"/>
                <a:gd name="connsiteY210" fmla="*/ 437740 h 1196368"/>
                <a:gd name="connsiteX211" fmla="*/ 791537 w 1638471"/>
                <a:gd name="connsiteY211" fmla="*/ 459562 h 1196368"/>
                <a:gd name="connsiteX212" fmla="*/ 823855 w 1638471"/>
                <a:gd name="connsiteY212" fmla="*/ 459534 h 1196368"/>
                <a:gd name="connsiteX213" fmla="*/ 835676 w 1638471"/>
                <a:gd name="connsiteY213" fmla="*/ 470621 h 1196368"/>
                <a:gd name="connsiteX214" fmla="*/ 866775 w 1638471"/>
                <a:gd name="connsiteY214" fmla="*/ 451438 h 1196368"/>
                <a:gd name="connsiteX215" fmla="*/ 909914 w 1638471"/>
                <a:gd name="connsiteY215" fmla="*/ 438941 h 1196368"/>
                <a:gd name="connsiteX216" fmla="*/ 949937 w 1638471"/>
                <a:gd name="connsiteY216" fmla="*/ 437569 h 1196368"/>
                <a:gd name="connsiteX217" fmla="*/ 981141 w 1638471"/>
                <a:gd name="connsiteY217" fmla="*/ 424834 h 1196368"/>
                <a:gd name="connsiteX218" fmla="*/ 1000306 w 1638471"/>
                <a:gd name="connsiteY218" fmla="*/ 405299 h 1196368"/>
                <a:gd name="connsiteX219" fmla="*/ 1019004 w 1638471"/>
                <a:gd name="connsiteY219" fmla="*/ 392944 h 1196368"/>
                <a:gd name="connsiteX220" fmla="*/ 1014679 w 1638471"/>
                <a:gd name="connsiteY220" fmla="*/ 380752 h 1196368"/>
                <a:gd name="connsiteX221" fmla="*/ 1006144 w 1638471"/>
                <a:gd name="connsiteY221" fmla="*/ 366474 h 1196368"/>
                <a:gd name="connsiteX222" fmla="*/ 1020175 w 1638471"/>
                <a:gd name="connsiteY222" fmla="*/ 342300 h 1196368"/>
                <a:gd name="connsiteX223" fmla="*/ 1035196 w 1638471"/>
                <a:gd name="connsiteY223" fmla="*/ 345710 h 1196368"/>
                <a:gd name="connsiteX224" fmla="*/ 1062647 w 1638471"/>
                <a:gd name="connsiteY224" fmla="*/ 353330 h 1196368"/>
                <a:gd name="connsiteX225" fmla="*/ 1089260 w 1638471"/>
                <a:gd name="connsiteY225" fmla="*/ 333318 h 1196368"/>
                <a:gd name="connsiteX226" fmla="*/ 1129979 w 1638471"/>
                <a:gd name="connsiteY226" fmla="*/ 318592 h 1196368"/>
                <a:gd name="connsiteX227" fmla="*/ 1149553 w 1638471"/>
                <a:gd name="connsiteY227" fmla="*/ 293237 h 1196368"/>
                <a:gd name="connsiteX228" fmla="*/ 1168355 w 1638471"/>
                <a:gd name="connsiteY228" fmla="*/ 282226 h 1196368"/>
                <a:gd name="connsiteX229" fmla="*/ 1207141 w 1638471"/>
                <a:gd name="connsiteY229" fmla="*/ 277073 h 1196368"/>
                <a:gd name="connsiteX230" fmla="*/ 1228220 w 1638471"/>
                <a:gd name="connsiteY230" fmla="*/ 281445 h 1196368"/>
                <a:gd name="connsiteX231" fmla="*/ 1231144 w 1638471"/>
                <a:gd name="connsiteY231" fmla="*/ 267605 h 1196368"/>
                <a:gd name="connsiteX232" fmla="*/ 1206942 w 1638471"/>
                <a:gd name="connsiteY232" fmla="*/ 240106 h 1196368"/>
                <a:gd name="connsiteX233" fmla="*/ 1185510 w 1638471"/>
                <a:gd name="connsiteY233" fmla="*/ 227409 h 1196368"/>
                <a:gd name="connsiteX234" fmla="*/ 1164984 w 1638471"/>
                <a:gd name="connsiteY234" fmla="*/ 242059 h 1196368"/>
                <a:gd name="connsiteX235" fmla="*/ 1138638 w 1638471"/>
                <a:gd name="connsiteY235" fmla="*/ 235896 h 1196368"/>
                <a:gd name="connsiteX236" fmla="*/ 1123521 w 1638471"/>
                <a:gd name="connsiteY236" fmla="*/ 240925 h 1196368"/>
                <a:gd name="connsiteX237" fmla="*/ 1116635 w 1638471"/>
                <a:gd name="connsiteY237" fmla="*/ 224676 h 1196368"/>
                <a:gd name="connsiteX238" fmla="*/ 1135504 w 1638471"/>
                <a:gd name="connsiteY238" fmla="*/ 184404 h 1196368"/>
                <a:gd name="connsiteX239" fmla="*/ 1148506 w 1638471"/>
                <a:gd name="connsiteY239" fmla="*/ 153476 h 1196368"/>
                <a:gd name="connsiteX240" fmla="*/ 1180557 w 1638471"/>
                <a:gd name="connsiteY240" fmla="*/ 169021 h 1196368"/>
                <a:gd name="connsiteX241" fmla="*/ 1218200 w 1638471"/>
                <a:gd name="connsiteY241" fmla="*/ 142932 h 1196368"/>
                <a:gd name="connsiteX242" fmla="*/ 1217952 w 1638471"/>
                <a:gd name="connsiteY242" fmla="*/ 124558 h 1196368"/>
                <a:gd name="connsiteX243" fmla="*/ 1242060 w 1638471"/>
                <a:gd name="connsiteY243" fmla="*/ 79553 h 1196368"/>
                <a:gd name="connsiteX244" fmla="*/ 1256919 w 1638471"/>
                <a:gd name="connsiteY244" fmla="*/ 65742 h 1196368"/>
                <a:gd name="connsiteX245" fmla="*/ 1256586 w 1638471"/>
                <a:gd name="connsiteY245" fmla="*/ 41720 h 1196368"/>
                <a:gd name="connsiteX246" fmla="*/ 1241936 w 1638471"/>
                <a:gd name="connsiteY246" fmla="*/ 31290 h 1196368"/>
                <a:gd name="connsiteX247" fmla="*/ 1263986 w 1638471"/>
                <a:gd name="connsiteY247" fmla="*/ 9258 h 1196368"/>
                <a:gd name="connsiteX248" fmla="*/ 1297171 w 1638471"/>
                <a:gd name="connsiteY248" fmla="*/ 1210 h 1196368"/>
                <a:gd name="connsiteX249" fmla="*/ 1332586 w 1638471"/>
                <a:gd name="connsiteY249" fmla="*/ 0 h 1196368"/>
                <a:gd name="connsiteX250" fmla="*/ 1372552 w 1638471"/>
                <a:gd name="connsiteY250" fmla="*/ 13278 h 1196368"/>
                <a:gd name="connsiteX251" fmla="*/ 1396003 w 1638471"/>
                <a:gd name="connsiteY251" fmla="*/ 29575 h 1196368"/>
                <a:gd name="connsiteX252" fmla="*/ 1412510 w 1638471"/>
                <a:gd name="connsiteY252" fmla="*/ 73495 h 1196368"/>
                <a:gd name="connsiteX253" fmla="*/ 1422521 w 1638471"/>
                <a:gd name="connsiteY253" fmla="*/ 91945 h 1196368"/>
                <a:gd name="connsiteX254" fmla="*/ 1431827 w 1638471"/>
                <a:gd name="connsiteY254" fmla="*/ 117958 h 1196368"/>
                <a:gd name="connsiteX255" fmla="*/ 1441666 w 1638471"/>
                <a:gd name="connsiteY255" fmla="*/ 158791 h 119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</a:cxnLst>
              <a:rect l="l" t="t" r="r" b="b"/>
              <a:pathLst>
                <a:path w="1638471" h="1196368">
                  <a:moveTo>
                    <a:pt x="979151" y="1182919"/>
                  </a:moveTo>
                  <a:lnTo>
                    <a:pt x="956072" y="1196369"/>
                  </a:lnTo>
                  <a:lnTo>
                    <a:pt x="934174" y="1187701"/>
                  </a:lnTo>
                  <a:lnTo>
                    <a:pt x="933402" y="1163555"/>
                  </a:lnTo>
                  <a:lnTo>
                    <a:pt x="946566" y="1150782"/>
                  </a:lnTo>
                  <a:lnTo>
                    <a:pt x="975741" y="1142867"/>
                  </a:lnTo>
                  <a:lnTo>
                    <a:pt x="991095" y="1143543"/>
                  </a:lnTo>
                  <a:lnTo>
                    <a:pt x="997067" y="1154316"/>
                  </a:lnTo>
                  <a:lnTo>
                    <a:pt x="985332" y="1166708"/>
                  </a:lnTo>
                  <a:lnTo>
                    <a:pt x="979151" y="1182919"/>
                  </a:lnTo>
                  <a:close/>
                  <a:moveTo>
                    <a:pt x="1441666" y="158791"/>
                  </a:moveTo>
                  <a:lnTo>
                    <a:pt x="1488148" y="171926"/>
                  </a:lnTo>
                  <a:lnTo>
                    <a:pt x="1519781" y="200835"/>
                  </a:lnTo>
                  <a:lnTo>
                    <a:pt x="1530591" y="238411"/>
                  </a:lnTo>
                  <a:lnTo>
                    <a:pt x="1571177" y="238458"/>
                  </a:lnTo>
                  <a:lnTo>
                    <a:pt x="1594332" y="222771"/>
                  </a:lnTo>
                  <a:lnTo>
                    <a:pt x="1638472" y="210969"/>
                  </a:lnTo>
                  <a:lnTo>
                    <a:pt x="1624432" y="246793"/>
                  </a:lnTo>
                  <a:lnTo>
                    <a:pt x="1614059" y="261195"/>
                  </a:lnTo>
                  <a:lnTo>
                    <a:pt x="1604905" y="303695"/>
                  </a:lnTo>
                  <a:lnTo>
                    <a:pt x="1586941" y="340728"/>
                  </a:lnTo>
                  <a:lnTo>
                    <a:pt x="1554537" y="334032"/>
                  </a:lnTo>
                  <a:lnTo>
                    <a:pt x="1531611" y="347367"/>
                  </a:lnTo>
                  <a:lnTo>
                    <a:pt x="1538649" y="379343"/>
                  </a:lnTo>
                  <a:lnTo>
                    <a:pt x="1534801" y="422710"/>
                  </a:lnTo>
                  <a:lnTo>
                    <a:pt x="1521161" y="423691"/>
                  </a:lnTo>
                  <a:lnTo>
                    <a:pt x="1521323" y="442065"/>
                  </a:lnTo>
                  <a:lnTo>
                    <a:pt x="1504073" y="420691"/>
                  </a:lnTo>
                  <a:lnTo>
                    <a:pt x="1493463" y="440979"/>
                  </a:lnTo>
                  <a:lnTo>
                    <a:pt x="1452220" y="456457"/>
                  </a:lnTo>
                  <a:lnTo>
                    <a:pt x="1456391" y="475269"/>
                  </a:lnTo>
                  <a:lnTo>
                    <a:pt x="1433303" y="473974"/>
                  </a:lnTo>
                  <a:lnTo>
                    <a:pt x="1420625" y="462810"/>
                  </a:lnTo>
                  <a:lnTo>
                    <a:pt x="1402270" y="487994"/>
                  </a:lnTo>
                  <a:lnTo>
                    <a:pt x="1372838" y="506892"/>
                  </a:lnTo>
                  <a:lnTo>
                    <a:pt x="1351093" y="529247"/>
                  </a:lnTo>
                  <a:lnTo>
                    <a:pt x="1313755" y="539315"/>
                  </a:lnTo>
                  <a:lnTo>
                    <a:pt x="1294095" y="555403"/>
                  </a:lnTo>
                  <a:lnTo>
                    <a:pt x="1265329" y="564747"/>
                  </a:lnTo>
                  <a:lnTo>
                    <a:pt x="1279522" y="548859"/>
                  </a:lnTo>
                  <a:lnTo>
                    <a:pt x="1273930" y="535419"/>
                  </a:lnTo>
                  <a:lnTo>
                    <a:pt x="1295086" y="512045"/>
                  </a:lnTo>
                  <a:lnTo>
                    <a:pt x="1280979" y="493662"/>
                  </a:lnTo>
                  <a:lnTo>
                    <a:pt x="1257700" y="506063"/>
                  </a:lnTo>
                  <a:lnTo>
                    <a:pt x="1227553" y="530295"/>
                  </a:lnTo>
                  <a:lnTo>
                    <a:pt x="1211094" y="552583"/>
                  </a:lnTo>
                  <a:lnTo>
                    <a:pt x="1184900" y="554231"/>
                  </a:lnTo>
                  <a:lnTo>
                    <a:pt x="1171270" y="570195"/>
                  </a:lnTo>
                  <a:lnTo>
                    <a:pt x="1185357" y="593141"/>
                  </a:lnTo>
                  <a:lnTo>
                    <a:pt x="1207208" y="598684"/>
                  </a:lnTo>
                  <a:lnTo>
                    <a:pt x="1208113" y="613763"/>
                  </a:lnTo>
                  <a:lnTo>
                    <a:pt x="1229239" y="623526"/>
                  </a:lnTo>
                  <a:lnTo>
                    <a:pt x="1259176" y="599589"/>
                  </a:lnTo>
                  <a:lnTo>
                    <a:pt x="1282884" y="612677"/>
                  </a:lnTo>
                  <a:lnTo>
                    <a:pt x="1300153" y="613563"/>
                  </a:lnTo>
                  <a:lnTo>
                    <a:pt x="1304487" y="631050"/>
                  </a:lnTo>
                  <a:lnTo>
                    <a:pt x="1266673" y="640328"/>
                  </a:lnTo>
                  <a:lnTo>
                    <a:pt x="1254185" y="658159"/>
                  </a:lnTo>
                  <a:lnTo>
                    <a:pt x="1228211" y="674618"/>
                  </a:lnTo>
                  <a:lnTo>
                    <a:pt x="1214504" y="697411"/>
                  </a:lnTo>
                  <a:lnTo>
                    <a:pt x="1243260" y="715166"/>
                  </a:lnTo>
                  <a:lnTo>
                    <a:pt x="1253757" y="746665"/>
                  </a:lnTo>
                  <a:lnTo>
                    <a:pt x="1270006" y="775678"/>
                  </a:lnTo>
                  <a:lnTo>
                    <a:pt x="1288142" y="799767"/>
                  </a:lnTo>
                  <a:lnTo>
                    <a:pt x="1287703" y="822875"/>
                  </a:lnTo>
                  <a:lnTo>
                    <a:pt x="1270940" y="831323"/>
                  </a:lnTo>
                  <a:lnTo>
                    <a:pt x="1277331" y="847754"/>
                  </a:lnTo>
                  <a:lnTo>
                    <a:pt x="1293047" y="857279"/>
                  </a:lnTo>
                  <a:lnTo>
                    <a:pt x="1288942" y="882129"/>
                  </a:lnTo>
                  <a:lnTo>
                    <a:pt x="1282160" y="906113"/>
                  </a:lnTo>
                  <a:lnTo>
                    <a:pt x="1267234" y="908818"/>
                  </a:lnTo>
                  <a:lnTo>
                    <a:pt x="1247737" y="941270"/>
                  </a:lnTo>
                  <a:lnTo>
                    <a:pt x="1226105" y="980189"/>
                  </a:lnTo>
                  <a:lnTo>
                    <a:pt x="1201302" y="1015203"/>
                  </a:lnTo>
                  <a:lnTo>
                    <a:pt x="1164584" y="1042045"/>
                  </a:lnTo>
                  <a:lnTo>
                    <a:pt x="1127436" y="1066362"/>
                  </a:lnTo>
                  <a:lnTo>
                    <a:pt x="1097346" y="1069667"/>
                  </a:lnTo>
                  <a:lnTo>
                    <a:pt x="1081021" y="1082431"/>
                  </a:lnTo>
                  <a:lnTo>
                    <a:pt x="1071782" y="1073106"/>
                  </a:lnTo>
                  <a:lnTo>
                    <a:pt x="1056675" y="1087374"/>
                  </a:lnTo>
                  <a:lnTo>
                    <a:pt x="1019347" y="1101700"/>
                  </a:lnTo>
                  <a:lnTo>
                    <a:pt x="991085" y="1106072"/>
                  </a:lnTo>
                  <a:lnTo>
                    <a:pt x="981970" y="1136085"/>
                  </a:lnTo>
                  <a:lnTo>
                    <a:pt x="967168" y="1137742"/>
                  </a:lnTo>
                  <a:lnTo>
                    <a:pt x="960168" y="1117149"/>
                  </a:lnTo>
                  <a:lnTo>
                    <a:pt x="966492" y="1106129"/>
                  </a:lnTo>
                  <a:lnTo>
                    <a:pt x="930659" y="1096994"/>
                  </a:lnTo>
                  <a:lnTo>
                    <a:pt x="918038" y="1101643"/>
                  </a:lnTo>
                  <a:lnTo>
                    <a:pt x="891149" y="1094232"/>
                  </a:lnTo>
                  <a:lnTo>
                    <a:pt x="878434" y="1082593"/>
                  </a:lnTo>
                  <a:lnTo>
                    <a:pt x="882653" y="1066038"/>
                  </a:lnTo>
                  <a:lnTo>
                    <a:pt x="858241" y="1060771"/>
                  </a:lnTo>
                  <a:lnTo>
                    <a:pt x="845362" y="1049931"/>
                  </a:lnTo>
                  <a:lnTo>
                    <a:pt x="822598" y="1065314"/>
                  </a:lnTo>
                  <a:lnTo>
                    <a:pt x="796633" y="1068639"/>
                  </a:lnTo>
                  <a:lnTo>
                    <a:pt x="775335" y="1068486"/>
                  </a:lnTo>
                  <a:lnTo>
                    <a:pt x="761000" y="1075506"/>
                  </a:lnTo>
                  <a:lnTo>
                    <a:pt x="747160" y="1079716"/>
                  </a:lnTo>
                  <a:lnTo>
                    <a:pt x="751198" y="1112415"/>
                  </a:lnTo>
                  <a:lnTo>
                    <a:pt x="736959" y="1111634"/>
                  </a:lnTo>
                  <a:lnTo>
                    <a:pt x="734558" y="1104938"/>
                  </a:lnTo>
                  <a:lnTo>
                    <a:pt x="733749" y="1093127"/>
                  </a:lnTo>
                  <a:lnTo>
                    <a:pt x="714156" y="1101452"/>
                  </a:lnTo>
                  <a:lnTo>
                    <a:pt x="702593" y="1096194"/>
                  </a:lnTo>
                  <a:lnTo>
                    <a:pt x="682761" y="1085450"/>
                  </a:lnTo>
                  <a:lnTo>
                    <a:pt x="690534" y="1061571"/>
                  </a:lnTo>
                  <a:lnTo>
                    <a:pt x="673627" y="1055980"/>
                  </a:lnTo>
                  <a:lnTo>
                    <a:pt x="667255" y="1029300"/>
                  </a:lnTo>
                  <a:lnTo>
                    <a:pt x="639060" y="1034120"/>
                  </a:lnTo>
                  <a:lnTo>
                    <a:pt x="642271" y="999497"/>
                  </a:lnTo>
                  <a:lnTo>
                    <a:pt x="667559" y="974922"/>
                  </a:lnTo>
                  <a:lnTo>
                    <a:pt x="668636" y="950481"/>
                  </a:lnTo>
                  <a:lnTo>
                    <a:pt x="667845" y="927640"/>
                  </a:lnTo>
                  <a:lnTo>
                    <a:pt x="656187" y="920496"/>
                  </a:lnTo>
                  <a:lnTo>
                    <a:pt x="647262" y="902780"/>
                  </a:lnTo>
                  <a:lnTo>
                    <a:pt x="631631" y="905018"/>
                  </a:lnTo>
                  <a:lnTo>
                    <a:pt x="602837" y="900503"/>
                  </a:lnTo>
                  <a:lnTo>
                    <a:pt x="611857" y="887797"/>
                  </a:lnTo>
                  <a:lnTo>
                    <a:pt x="599341" y="868880"/>
                  </a:lnTo>
                  <a:lnTo>
                    <a:pt x="580301" y="881701"/>
                  </a:lnTo>
                  <a:lnTo>
                    <a:pt x="557898" y="874224"/>
                  </a:lnTo>
                  <a:lnTo>
                    <a:pt x="527113" y="893559"/>
                  </a:lnTo>
                  <a:lnTo>
                    <a:pt x="502805" y="915991"/>
                  </a:lnTo>
                  <a:lnTo>
                    <a:pt x="481260" y="919753"/>
                  </a:lnTo>
                  <a:lnTo>
                    <a:pt x="469563" y="911666"/>
                  </a:lnTo>
                  <a:lnTo>
                    <a:pt x="455466" y="910933"/>
                  </a:lnTo>
                  <a:lnTo>
                    <a:pt x="436378" y="903961"/>
                  </a:lnTo>
                  <a:lnTo>
                    <a:pt x="421948" y="911609"/>
                  </a:lnTo>
                  <a:lnTo>
                    <a:pt x="404289" y="933907"/>
                  </a:lnTo>
                  <a:lnTo>
                    <a:pt x="402050" y="910276"/>
                  </a:lnTo>
                  <a:lnTo>
                    <a:pt x="385763" y="916610"/>
                  </a:lnTo>
                  <a:lnTo>
                    <a:pt x="354616" y="913667"/>
                  </a:lnTo>
                  <a:lnTo>
                    <a:pt x="324402" y="906761"/>
                  </a:lnTo>
                  <a:lnTo>
                    <a:pt x="302733" y="893493"/>
                  </a:lnTo>
                  <a:lnTo>
                    <a:pt x="281978" y="887521"/>
                  </a:lnTo>
                  <a:lnTo>
                    <a:pt x="273015" y="872919"/>
                  </a:lnTo>
                  <a:lnTo>
                    <a:pt x="258013" y="868547"/>
                  </a:lnTo>
                  <a:lnTo>
                    <a:pt x="231048" y="848601"/>
                  </a:lnTo>
                  <a:lnTo>
                    <a:pt x="209635" y="839143"/>
                  </a:lnTo>
                  <a:lnTo>
                    <a:pt x="198568" y="846506"/>
                  </a:lnTo>
                  <a:lnTo>
                    <a:pt x="161458" y="824932"/>
                  </a:lnTo>
                  <a:lnTo>
                    <a:pt x="135217" y="805263"/>
                  </a:lnTo>
                  <a:lnTo>
                    <a:pt x="127730" y="770697"/>
                  </a:lnTo>
                  <a:lnTo>
                    <a:pt x="146895" y="774935"/>
                  </a:lnTo>
                  <a:lnTo>
                    <a:pt x="150466" y="774059"/>
                  </a:lnTo>
                  <a:lnTo>
                    <a:pt x="155620" y="769696"/>
                  </a:lnTo>
                  <a:lnTo>
                    <a:pt x="156810" y="765725"/>
                  </a:lnTo>
                  <a:lnTo>
                    <a:pt x="151847" y="759771"/>
                  </a:lnTo>
                  <a:lnTo>
                    <a:pt x="151447" y="748655"/>
                  </a:lnTo>
                  <a:lnTo>
                    <a:pt x="144503" y="748056"/>
                  </a:lnTo>
                  <a:lnTo>
                    <a:pt x="139741" y="744084"/>
                  </a:lnTo>
                  <a:lnTo>
                    <a:pt x="139141" y="737140"/>
                  </a:lnTo>
                  <a:lnTo>
                    <a:pt x="143313" y="736940"/>
                  </a:lnTo>
                  <a:lnTo>
                    <a:pt x="139941" y="725824"/>
                  </a:lnTo>
                  <a:lnTo>
                    <a:pt x="141732" y="723843"/>
                  </a:lnTo>
                  <a:lnTo>
                    <a:pt x="152048" y="724443"/>
                  </a:lnTo>
                  <a:lnTo>
                    <a:pt x="169316" y="699840"/>
                  </a:lnTo>
                  <a:lnTo>
                    <a:pt x="175470" y="677618"/>
                  </a:lnTo>
                  <a:lnTo>
                    <a:pt x="165345" y="669284"/>
                  </a:lnTo>
                  <a:lnTo>
                    <a:pt x="148476" y="664121"/>
                  </a:lnTo>
                  <a:lnTo>
                    <a:pt x="133398" y="667103"/>
                  </a:lnTo>
                  <a:lnTo>
                    <a:pt x="111147" y="678409"/>
                  </a:lnTo>
                  <a:lnTo>
                    <a:pt x="80610" y="668493"/>
                  </a:lnTo>
                  <a:lnTo>
                    <a:pt x="77438" y="659168"/>
                  </a:lnTo>
                  <a:lnTo>
                    <a:pt x="63551" y="653415"/>
                  </a:lnTo>
                  <a:lnTo>
                    <a:pt x="59321" y="639823"/>
                  </a:lnTo>
                  <a:lnTo>
                    <a:pt x="39595" y="624326"/>
                  </a:lnTo>
                  <a:lnTo>
                    <a:pt x="34842" y="614734"/>
                  </a:lnTo>
                  <a:lnTo>
                    <a:pt x="30832" y="595570"/>
                  </a:lnTo>
                  <a:lnTo>
                    <a:pt x="31766" y="582416"/>
                  </a:lnTo>
                  <a:lnTo>
                    <a:pt x="15544" y="574682"/>
                  </a:lnTo>
                  <a:lnTo>
                    <a:pt x="6772" y="578101"/>
                  </a:lnTo>
                  <a:lnTo>
                    <a:pt x="0" y="546440"/>
                  </a:lnTo>
                  <a:lnTo>
                    <a:pt x="7601" y="538544"/>
                  </a:lnTo>
                  <a:lnTo>
                    <a:pt x="3915" y="530447"/>
                  </a:lnTo>
                  <a:lnTo>
                    <a:pt x="29413" y="514007"/>
                  </a:lnTo>
                  <a:lnTo>
                    <a:pt x="47873" y="507168"/>
                  </a:lnTo>
                  <a:lnTo>
                    <a:pt x="76142" y="511855"/>
                  </a:lnTo>
                  <a:lnTo>
                    <a:pt x="86249" y="489433"/>
                  </a:lnTo>
                  <a:lnTo>
                    <a:pt x="120510" y="485242"/>
                  </a:lnTo>
                  <a:lnTo>
                    <a:pt x="130026" y="471164"/>
                  </a:lnTo>
                  <a:lnTo>
                    <a:pt x="172117" y="451818"/>
                  </a:lnTo>
                  <a:lnTo>
                    <a:pt x="175870" y="443694"/>
                  </a:lnTo>
                  <a:lnTo>
                    <a:pt x="173736" y="423072"/>
                  </a:lnTo>
                  <a:lnTo>
                    <a:pt x="192062" y="413595"/>
                  </a:lnTo>
                  <a:lnTo>
                    <a:pt x="168021" y="349263"/>
                  </a:lnTo>
                  <a:lnTo>
                    <a:pt x="220932" y="334194"/>
                  </a:lnTo>
                  <a:lnTo>
                    <a:pt x="234610" y="325755"/>
                  </a:lnTo>
                  <a:lnTo>
                    <a:pt x="253869" y="256585"/>
                  </a:lnTo>
                  <a:lnTo>
                    <a:pt x="306857" y="269472"/>
                  </a:lnTo>
                  <a:lnTo>
                    <a:pt x="321716" y="251755"/>
                  </a:lnTo>
                  <a:lnTo>
                    <a:pt x="322993" y="211884"/>
                  </a:lnTo>
                  <a:lnTo>
                    <a:pt x="345176" y="208121"/>
                  </a:lnTo>
                  <a:lnTo>
                    <a:pt x="365503" y="181156"/>
                  </a:lnTo>
                  <a:lnTo>
                    <a:pt x="375961" y="177803"/>
                  </a:lnTo>
                  <a:lnTo>
                    <a:pt x="382971" y="206093"/>
                  </a:lnTo>
                  <a:lnTo>
                    <a:pt x="405412" y="227333"/>
                  </a:lnTo>
                  <a:lnTo>
                    <a:pt x="443503" y="242240"/>
                  </a:lnTo>
                  <a:lnTo>
                    <a:pt x="461934" y="273853"/>
                  </a:lnTo>
                  <a:lnTo>
                    <a:pt x="451656" y="318888"/>
                  </a:lnTo>
                  <a:lnTo>
                    <a:pt x="461267" y="335356"/>
                  </a:lnTo>
                  <a:lnTo>
                    <a:pt x="493004" y="341814"/>
                  </a:lnTo>
                  <a:lnTo>
                    <a:pt x="528971" y="347072"/>
                  </a:lnTo>
                  <a:lnTo>
                    <a:pt x="561241" y="370389"/>
                  </a:lnTo>
                  <a:lnTo>
                    <a:pt x="577739" y="374513"/>
                  </a:lnTo>
                  <a:lnTo>
                    <a:pt x="589902" y="408499"/>
                  </a:lnTo>
                  <a:lnTo>
                    <a:pt x="605581" y="430111"/>
                  </a:lnTo>
                  <a:lnTo>
                    <a:pt x="635022" y="429273"/>
                  </a:lnTo>
                  <a:lnTo>
                    <a:pt x="690143" y="437388"/>
                  </a:lnTo>
                  <a:lnTo>
                    <a:pt x="725662" y="432359"/>
                  </a:lnTo>
                  <a:lnTo>
                    <a:pt x="752027" y="437740"/>
                  </a:lnTo>
                  <a:lnTo>
                    <a:pt x="791537" y="459562"/>
                  </a:lnTo>
                  <a:lnTo>
                    <a:pt x="823855" y="459534"/>
                  </a:lnTo>
                  <a:lnTo>
                    <a:pt x="835676" y="470621"/>
                  </a:lnTo>
                  <a:lnTo>
                    <a:pt x="866775" y="451438"/>
                  </a:lnTo>
                  <a:lnTo>
                    <a:pt x="909914" y="438941"/>
                  </a:lnTo>
                  <a:lnTo>
                    <a:pt x="949937" y="437569"/>
                  </a:lnTo>
                  <a:lnTo>
                    <a:pt x="981141" y="424834"/>
                  </a:lnTo>
                  <a:lnTo>
                    <a:pt x="1000306" y="405299"/>
                  </a:lnTo>
                  <a:lnTo>
                    <a:pt x="1019004" y="392944"/>
                  </a:lnTo>
                  <a:lnTo>
                    <a:pt x="1014679" y="380752"/>
                  </a:lnTo>
                  <a:lnTo>
                    <a:pt x="1006144" y="366474"/>
                  </a:lnTo>
                  <a:lnTo>
                    <a:pt x="1020175" y="342300"/>
                  </a:lnTo>
                  <a:lnTo>
                    <a:pt x="1035196" y="345710"/>
                  </a:lnTo>
                  <a:lnTo>
                    <a:pt x="1062647" y="353330"/>
                  </a:lnTo>
                  <a:lnTo>
                    <a:pt x="1089260" y="333318"/>
                  </a:lnTo>
                  <a:lnTo>
                    <a:pt x="1129979" y="318592"/>
                  </a:lnTo>
                  <a:lnTo>
                    <a:pt x="1149553" y="293237"/>
                  </a:lnTo>
                  <a:lnTo>
                    <a:pt x="1168355" y="282226"/>
                  </a:lnTo>
                  <a:lnTo>
                    <a:pt x="1207141" y="277073"/>
                  </a:lnTo>
                  <a:lnTo>
                    <a:pt x="1228220" y="281445"/>
                  </a:lnTo>
                  <a:lnTo>
                    <a:pt x="1231144" y="267605"/>
                  </a:lnTo>
                  <a:lnTo>
                    <a:pt x="1206942" y="240106"/>
                  </a:lnTo>
                  <a:lnTo>
                    <a:pt x="1185510" y="227409"/>
                  </a:lnTo>
                  <a:lnTo>
                    <a:pt x="1164984" y="242059"/>
                  </a:lnTo>
                  <a:lnTo>
                    <a:pt x="1138638" y="235896"/>
                  </a:lnTo>
                  <a:lnTo>
                    <a:pt x="1123521" y="240925"/>
                  </a:lnTo>
                  <a:lnTo>
                    <a:pt x="1116635" y="224676"/>
                  </a:lnTo>
                  <a:lnTo>
                    <a:pt x="1135504" y="184404"/>
                  </a:lnTo>
                  <a:lnTo>
                    <a:pt x="1148506" y="153476"/>
                  </a:lnTo>
                  <a:lnTo>
                    <a:pt x="1180557" y="169021"/>
                  </a:lnTo>
                  <a:lnTo>
                    <a:pt x="1218200" y="142932"/>
                  </a:lnTo>
                  <a:lnTo>
                    <a:pt x="1217952" y="124558"/>
                  </a:lnTo>
                  <a:lnTo>
                    <a:pt x="1242060" y="79553"/>
                  </a:lnTo>
                  <a:lnTo>
                    <a:pt x="1256919" y="65742"/>
                  </a:lnTo>
                  <a:lnTo>
                    <a:pt x="1256586" y="41720"/>
                  </a:lnTo>
                  <a:lnTo>
                    <a:pt x="1241936" y="31290"/>
                  </a:lnTo>
                  <a:lnTo>
                    <a:pt x="1263986" y="9258"/>
                  </a:lnTo>
                  <a:lnTo>
                    <a:pt x="1297171" y="1210"/>
                  </a:lnTo>
                  <a:lnTo>
                    <a:pt x="1332586" y="0"/>
                  </a:lnTo>
                  <a:lnTo>
                    <a:pt x="1372552" y="13278"/>
                  </a:lnTo>
                  <a:lnTo>
                    <a:pt x="1396003" y="29575"/>
                  </a:lnTo>
                  <a:lnTo>
                    <a:pt x="1412510" y="73495"/>
                  </a:lnTo>
                  <a:lnTo>
                    <a:pt x="1422521" y="91945"/>
                  </a:lnTo>
                  <a:lnTo>
                    <a:pt x="1431827" y="117958"/>
                  </a:lnTo>
                  <a:lnTo>
                    <a:pt x="1441666" y="158791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orme libre : forme 5685">
              <a:extLst>
                <a:ext uri="{FF2B5EF4-FFF2-40B4-BE49-F238E27FC236}">
                  <a16:creationId xmlns:a16="http://schemas.microsoft.com/office/drawing/2014/main" id="{8081E824-042B-95C0-DAD0-E8E04CCB1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711311" y="4410060"/>
              <a:ext cx="323545" cy="446722"/>
            </a:xfrm>
            <a:custGeom>
              <a:avLst/>
              <a:gdLst>
                <a:gd name="connsiteX0" fmla="*/ 96612 w 323545"/>
                <a:gd name="connsiteY0" fmla="*/ 336632 h 446722"/>
                <a:gd name="connsiteX1" fmla="*/ 85182 w 323545"/>
                <a:gd name="connsiteY1" fmla="*/ 330346 h 446722"/>
                <a:gd name="connsiteX2" fmla="*/ 72076 w 323545"/>
                <a:gd name="connsiteY2" fmla="*/ 321564 h 446722"/>
                <a:gd name="connsiteX3" fmla="*/ 64484 w 323545"/>
                <a:gd name="connsiteY3" fmla="*/ 325774 h 446722"/>
                <a:gd name="connsiteX4" fmla="*/ 41824 w 323545"/>
                <a:gd name="connsiteY4" fmla="*/ 322097 h 446722"/>
                <a:gd name="connsiteX5" fmla="*/ 35309 w 323545"/>
                <a:gd name="connsiteY5" fmla="*/ 310686 h 446722"/>
                <a:gd name="connsiteX6" fmla="*/ 30337 w 323545"/>
                <a:gd name="connsiteY6" fmla="*/ 311105 h 446722"/>
                <a:gd name="connsiteX7" fmla="*/ 3620 w 323545"/>
                <a:gd name="connsiteY7" fmla="*/ 295961 h 446722"/>
                <a:gd name="connsiteX8" fmla="*/ 0 w 323545"/>
                <a:gd name="connsiteY8" fmla="*/ 287722 h 446722"/>
                <a:gd name="connsiteX9" fmla="*/ 9963 w 323545"/>
                <a:gd name="connsiteY9" fmla="*/ 285731 h 446722"/>
                <a:gd name="connsiteX10" fmla="*/ 8782 w 323545"/>
                <a:gd name="connsiteY10" fmla="*/ 272434 h 446722"/>
                <a:gd name="connsiteX11" fmla="*/ 15050 w 323545"/>
                <a:gd name="connsiteY11" fmla="*/ 262814 h 446722"/>
                <a:gd name="connsiteX12" fmla="*/ 28299 w 323545"/>
                <a:gd name="connsiteY12" fmla="*/ 261033 h 446722"/>
                <a:gd name="connsiteX13" fmla="*/ 39538 w 323545"/>
                <a:gd name="connsiteY13" fmla="*/ 244345 h 446722"/>
                <a:gd name="connsiteX14" fmla="*/ 49758 w 323545"/>
                <a:gd name="connsiteY14" fmla="*/ 230391 h 446722"/>
                <a:gd name="connsiteX15" fmla="*/ 39919 w 323545"/>
                <a:gd name="connsiteY15" fmla="*/ 224066 h 446722"/>
                <a:gd name="connsiteX16" fmla="*/ 44958 w 323545"/>
                <a:gd name="connsiteY16" fmla="*/ 208626 h 446722"/>
                <a:gd name="connsiteX17" fmla="*/ 38929 w 323545"/>
                <a:gd name="connsiteY17" fmla="*/ 184261 h 446722"/>
                <a:gd name="connsiteX18" fmla="*/ 44653 w 323545"/>
                <a:gd name="connsiteY18" fmla="*/ 177260 h 446722"/>
                <a:gd name="connsiteX19" fmla="*/ 40443 w 323545"/>
                <a:gd name="connsiteY19" fmla="*/ 154686 h 446722"/>
                <a:gd name="connsiteX20" fmla="*/ 29632 w 323545"/>
                <a:gd name="connsiteY20" fmla="*/ 140446 h 446722"/>
                <a:gd name="connsiteX21" fmla="*/ 33052 w 323545"/>
                <a:gd name="connsiteY21" fmla="*/ 127444 h 446722"/>
                <a:gd name="connsiteX22" fmla="*/ 41653 w 323545"/>
                <a:gd name="connsiteY22" fmla="*/ 129359 h 446722"/>
                <a:gd name="connsiteX23" fmla="*/ 46691 w 323545"/>
                <a:gd name="connsiteY23" fmla="*/ 121406 h 446722"/>
                <a:gd name="connsiteX24" fmla="*/ 40491 w 323545"/>
                <a:gd name="connsiteY24" fmla="*/ 105613 h 446722"/>
                <a:gd name="connsiteX25" fmla="*/ 43739 w 323545"/>
                <a:gd name="connsiteY25" fmla="*/ 101689 h 446722"/>
                <a:gd name="connsiteX26" fmla="*/ 57531 w 323545"/>
                <a:gd name="connsiteY26" fmla="*/ 102536 h 446722"/>
                <a:gd name="connsiteX27" fmla="*/ 77572 w 323545"/>
                <a:gd name="connsiteY27" fmla="*/ 83791 h 446722"/>
                <a:gd name="connsiteX28" fmla="*/ 88573 w 323545"/>
                <a:gd name="connsiteY28" fmla="*/ 80924 h 446722"/>
                <a:gd name="connsiteX29" fmla="*/ 88830 w 323545"/>
                <a:gd name="connsiteY29" fmla="*/ 72028 h 446722"/>
                <a:gd name="connsiteX30" fmla="*/ 93755 w 323545"/>
                <a:gd name="connsiteY30" fmla="*/ 49244 h 446722"/>
                <a:gd name="connsiteX31" fmla="*/ 109071 w 323545"/>
                <a:gd name="connsiteY31" fmla="*/ 36709 h 446722"/>
                <a:gd name="connsiteX32" fmla="*/ 125901 w 323545"/>
                <a:gd name="connsiteY32" fmla="*/ 36195 h 446722"/>
                <a:gd name="connsiteX33" fmla="*/ 128025 w 323545"/>
                <a:gd name="connsiteY33" fmla="*/ 30556 h 446722"/>
                <a:gd name="connsiteX34" fmla="*/ 148923 w 323545"/>
                <a:gd name="connsiteY34" fmla="*/ 32813 h 446722"/>
                <a:gd name="connsiteX35" fmla="*/ 169935 w 323545"/>
                <a:gd name="connsiteY35" fmla="*/ 19145 h 446722"/>
                <a:gd name="connsiteX36" fmla="*/ 180346 w 323545"/>
                <a:gd name="connsiteY36" fmla="*/ 13078 h 446722"/>
                <a:gd name="connsiteX37" fmla="*/ 193272 w 323545"/>
                <a:gd name="connsiteY37" fmla="*/ 0 h 446722"/>
                <a:gd name="connsiteX38" fmla="*/ 202740 w 323545"/>
                <a:gd name="connsiteY38" fmla="*/ 1667 h 446722"/>
                <a:gd name="connsiteX39" fmla="*/ 209741 w 323545"/>
                <a:gd name="connsiteY39" fmla="*/ 8811 h 446722"/>
                <a:gd name="connsiteX40" fmla="*/ 204559 w 323545"/>
                <a:gd name="connsiteY40" fmla="*/ 17945 h 446722"/>
                <a:gd name="connsiteX41" fmla="*/ 187404 w 323545"/>
                <a:gd name="connsiteY41" fmla="*/ 22488 h 446722"/>
                <a:gd name="connsiteX42" fmla="*/ 180623 w 323545"/>
                <a:gd name="connsiteY42" fmla="*/ 36014 h 446722"/>
                <a:gd name="connsiteX43" fmla="*/ 170288 w 323545"/>
                <a:gd name="connsiteY43" fmla="*/ 43767 h 446722"/>
                <a:gd name="connsiteX44" fmla="*/ 162525 w 323545"/>
                <a:gd name="connsiteY44" fmla="*/ 53797 h 446722"/>
                <a:gd name="connsiteX45" fmla="*/ 159258 w 323545"/>
                <a:gd name="connsiteY45" fmla="*/ 73028 h 446722"/>
                <a:gd name="connsiteX46" fmla="*/ 151857 w 323545"/>
                <a:gd name="connsiteY46" fmla="*/ 88763 h 446722"/>
                <a:gd name="connsiteX47" fmla="*/ 165640 w 323545"/>
                <a:gd name="connsiteY47" fmla="*/ 90564 h 446722"/>
                <a:gd name="connsiteX48" fmla="*/ 169059 w 323545"/>
                <a:gd name="connsiteY48" fmla="*/ 102908 h 446722"/>
                <a:gd name="connsiteX49" fmla="*/ 174955 w 323545"/>
                <a:gd name="connsiteY49" fmla="*/ 108804 h 446722"/>
                <a:gd name="connsiteX50" fmla="*/ 177070 w 323545"/>
                <a:gd name="connsiteY50" fmla="*/ 119596 h 446722"/>
                <a:gd name="connsiteX51" fmla="*/ 173898 w 323545"/>
                <a:gd name="connsiteY51" fmla="*/ 129511 h 446722"/>
                <a:gd name="connsiteX52" fmla="*/ 174831 w 323545"/>
                <a:gd name="connsiteY52" fmla="*/ 135093 h 446722"/>
                <a:gd name="connsiteX53" fmla="*/ 181404 w 323545"/>
                <a:gd name="connsiteY53" fmla="*/ 137331 h 446722"/>
                <a:gd name="connsiteX54" fmla="*/ 187766 w 323545"/>
                <a:gd name="connsiteY54" fmla="*/ 146656 h 446722"/>
                <a:gd name="connsiteX55" fmla="*/ 222113 w 323545"/>
                <a:gd name="connsiteY55" fmla="*/ 144085 h 446722"/>
                <a:gd name="connsiteX56" fmla="*/ 237630 w 323545"/>
                <a:gd name="connsiteY56" fmla="*/ 147485 h 446722"/>
                <a:gd name="connsiteX57" fmla="*/ 256423 w 323545"/>
                <a:gd name="connsiteY57" fmla="*/ 170469 h 446722"/>
                <a:gd name="connsiteX58" fmla="*/ 267214 w 323545"/>
                <a:gd name="connsiteY58" fmla="*/ 167611 h 446722"/>
                <a:gd name="connsiteX59" fmla="*/ 286455 w 323545"/>
                <a:gd name="connsiteY59" fmla="*/ 169040 h 446722"/>
                <a:gd name="connsiteX60" fmla="*/ 301676 w 323545"/>
                <a:gd name="connsiteY60" fmla="*/ 166002 h 446722"/>
                <a:gd name="connsiteX61" fmla="*/ 311124 w 323545"/>
                <a:gd name="connsiteY61" fmla="*/ 170583 h 446722"/>
                <a:gd name="connsiteX62" fmla="*/ 306315 w 323545"/>
                <a:gd name="connsiteY62" fmla="*/ 184947 h 446722"/>
                <a:gd name="connsiteX63" fmla="*/ 300352 w 323545"/>
                <a:gd name="connsiteY63" fmla="*/ 193891 h 446722"/>
                <a:gd name="connsiteX64" fmla="*/ 298256 w 323545"/>
                <a:gd name="connsiteY64" fmla="*/ 212988 h 446722"/>
                <a:gd name="connsiteX65" fmla="*/ 303628 w 323545"/>
                <a:gd name="connsiteY65" fmla="*/ 230667 h 446722"/>
                <a:gd name="connsiteX66" fmla="*/ 311220 w 323545"/>
                <a:gd name="connsiteY66" fmla="*/ 238563 h 446722"/>
                <a:gd name="connsiteX67" fmla="*/ 312144 w 323545"/>
                <a:gd name="connsiteY67" fmla="*/ 244516 h 446722"/>
                <a:gd name="connsiteX68" fmla="*/ 298609 w 323545"/>
                <a:gd name="connsiteY68" fmla="*/ 257737 h 446722"/>
                <a:gd name="connsiteX69" fmla="*/ 308296 w 323545"/>
                <a:gd name="connsiteY69" fmla="*/ 263595 h 446722"/>
                <a:gd name="connsiteX70" fmla="*/ 315401 w 323545"/>
                <a:gd name="connsiteY70" fmla="*/ 272872 h 446722"/>
                <a:gd name="connsiteX71" fmla="*/ 323545 w 323545"/>
                <a:gd name="connsiteY71" fmla="*/ 299342 h 446722"/>
                <a:gd name="connsiteX72" fmla="*/ 318497 w 323545"/>
                <a:gd name="connsiteY72" fmla="*/ 302609 h 446722"/>
                <a:gd name="connsiteX73" fmla="*/ 313296 w 323545"/>
                <a:gd name="connsiteY73" fmla="*/ 286960 h 446722"/>
                <a:gd name="connsiteX74" fmla="*/ 305876 w 323545"/>
                <a:gd name="connsiteY74" fmla="*/ 278539 h 446722"/>
                <a:gd name="connsiteX75" fmla="*/ 297037 w 323545"/>
                <a:gd name="connsiteY75" fmla="*/ 287693 h 446722"/>
                <a:gd name="connsiteX76" fmla="*/ 245012 w 323545"/>
                <a:gd name="connsiteY76" fmla="*/ 287093 h 446722"/>
                <a:gd name="connsiteX77" fmla="*/ 245335 w 323545"/>
                <a:gd name="connsiteY77" fmla="*/ 303704 h 446722"/>
                <a:gd name="connsiteX78" fmla="*/ 260985 w 323545"/>
                <a:gd name="connsiteY78" fmla="*/ 306448 h 446722"/>
                <a:gd name="connsiteX79" fmla="*/ 260080 w 323545"/>
                <a:gd name="connsiteY79" fmla="*/ 316611 h 446722"/>
                <a:gd name="connsiteX80" fmla="*/ 254746 w 323545"/>
                <a:gd name="connsiteY80" fmla="*/ 313858 h 446722"/>
                <a:gd name="connsiteX81" fmla="*/ 239697 w 323545"/>
                <a:gd name="connsiteY81" fmla="*/ 318230 h 446722"/>
                <a:gd name="connsiteX82" fmla="*/ 239563 w 323545"/>
                <a:gd name="connsiteY82" fmla="*/ 337509 h 446722"/>
                <a:gd name="connsiteX83" fmla="*/ 251412 w 323545"/>
                <a:gd name="connsiteY83" fmla="*/ 347186 h 446722"/>
                <a:gd name="connsiteX84" fmla="*/ 255594 w 323545"/>
                <a:gd name="connsiteY84" fmla="*/ 362378 h 446722"/>
                <a:gd name="connsiteX85" fmla="*/ 254965 w 323545"/>
                <a:gd name="connsiteY85" fmla="*/ 373885 h 446722"/>
                <a:gd name="connsiteX86" fmla="*/ 242964 w 323545"/>
                <a:gd name="connsiteY86" fmla="*/ 446722 h 446722"/>
                <a:gd name="connsiteX87" fmla="*/ 229590 w 323545"/>
                <a:gd name="connsiteY87" fmla="*/ 432587 h 446722"/>
                <a:gd name="connsiteX88" fmla="*/ 221618 w 323545"/>
                <a:gd name="connsiteY88" fmla="*/ 431959 h 446722"/>
                <a:gd name="connsiteX89" fmla="*/ 238849 w 323545"/>
                <a:gd name="connsiteY89" fmla="*/ 404917 h 446722"/>
                <a:gd name="connsiteX90" fmla="*/ 218399 w 323545"/>
                <a:gd name="connsiteY90" fmla="*/ 392478 h 446722"/>
                <a:gd name="connsiteX91" fmla="*/ 202368 w 323545"/>
                <a:gd name="connsiteY91" fmla="*/ 394763 h 446722"/>
                <a:gd name="connsiteX92" fmla="*/ 192719 w 323545"/>
                <a:gd name="connsiteY92" fmla="*/ 390172 h 446722"/>
                <a:gd name="connsiteX93" fmla="*/ 178003 w 323545"/>
                <a:gd name="connsiteY93" fmla="*/ 397192 h 446722"/>
                <a:gd name="connsiteX94" fmla="*/ 158125 w 323545"/>
                <a:gd name="connsiteY94" fmla="*/ 393859 h 446722"/>
                <a:gd name="connsiteX95" fmla="*/ 142389 w 323545"/>
                <a:gd name="connsiteY95" fmla="*/ 366036 h 446722"/>
                <a:gd name="connsiteX96" fmla="*/ 130026 w 323545"/>
                <a:gd name="connsiteY96" fmla="*/ 359197 h 446722"/>
                <a:gd name="connsiteX97" fmla="*/ 121501 w 323545"/>
                <a:gd name="connsiteY97" fmla="*/ 346681 h 446722"/>
                <a:gd name="connsiteX98" fmla="*/ 103737 w 323545"/>
                <a:gd name="connsiteY98" fmla="*/ 334108 h 44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323545" h="446722">
                  <a:moveTo>
                    <a:pt x="96612" y="336632"/>
                  </a:moveTo>
                  <a:lnTo>
                    <a:pt x="85182" y="330346"/>
                  </a:lnTo>
                  <a:lnTo>
                    <a:pt x="72076" y="321564"/>
                  </a:lnTo>
                  <a:lnTo>
                    <a:pt x="64484" y="325774"/>
                  </a:lnTo>
                  <a:lnTo>
                    <a:pt x="41824" y="322097"/>
                  </a:lnTo>
                  <a:lnTo>
                    <a:pt x="35309" y="310686"/>
                  </a:lnTo>
                  <a:lnTo>
                    <a:pt x="30337" y="311105"/>
                  </a:lnTo>
                  <a:lnTo>
                    <a:pt x="3620" y="295961"/>
                  </a:lnTo>
                  <a:lnTo>
                    <a:pt x="0" y="287722"/>
                  </a:lnTo>
                  <a:lnTo>
                    <a:pt x="9963" y="285731"/>
                  </a:lnTo>
                  <a:lnTo>
                    <a:pt x="8782" y="272434"/>
                  </a:lnTo>
                  <a:lnTo>
                    <a:pt x="15050" y="262814"/>
                  </a:lnTo>
                  <a:lnTo>
                    <a:pt x="28299" y="261033"/>
                  </a:lnTo>
                  <a:lnTo>
                    <a:pt x="39538" y="244345"/>
                  </a:lnTo>
                  <a:lnTo>
                    <a:pt x="49758" y="230391"/>
                  </a:lnTo>
                  <a:lnTo>
                    <a:pt x="39919" y="224066"/>
                  </a:lnTo>
                  <a:lnTo>
                    <a:pt x="44958" y="208626"/>
                  </a:lnTo>
                  <a:lnTo>
                    <a:pt x="38929" y="184261"/>
                  </a:lnTo>
                  <a:lnTo>
                    <a:pt x="44653" y="177260"/>
                  </a:lnTo>
                  <a:lnTo>
                    <a:pt x="40443" y="154686"/>
                  </a:lnTo>
                  <a:lnTo>
                    <a:pt x="29632" y="140446"/>
                  </a:lnTo>
                  <a:lnTo>
                    <a:pt x="33052" y="127444"/>
                  </a:lnTo>
                  <a:lnTo>
                    <a:pt x="41653" y="129359"/>
                  </a:lnTo>
                  <a:lnTo>
                    <a:pt x="46691" y="121406"/>
                  </a:lnTo>
                  <a:lnTo>
                    <a:pt x="40491" y="105613"/>
                  </a:lnTo>
                  <a:lnTo>
                    <a:pt x="43739" y="101689"/>
                  </a:lnTo>
                  <a:lnTo>
                    <a:pt x="57531" y="102536"/>
                  </a:lnTo>
                  <a:lnTo>
                    <a:pt x="77572" y="83791"/>
                  </a:lnTo>
                  <a:lnTo>
                    <a:pt x="88573" y="80924"/>
                  </a:lnTo>
                  <a:lnTo>
                    <a:pt x="88830" y="72028"/>
                  </a:lnTo>
                  <a:lnTo>
                    <a:pt x="93755" y="49244"/>
                  </a:lnTo>
                  <a:lnTo>
                    <a:pt x="109071" y="36709"/>
                  </a:lnTo>
                  <a:lnTo>
                    <a:pt x="125901" y="36195"/>
                  </a:lnTo>
                  <a:lnTo>
                    <a:pt x="128025" y="30556"/>
                  </a:lnTo>
                  <a:lnTo>
                    <a:pt x="148923" y="32813"/>
                  </a:lnTo>
                  <a:lnTo>
                    <a:pt x="169935" y="19145"/>
                  </a:lnTo>
                  <a:lnTo>
                    <a:pt x="180346" y="13078"/>
                  </a:lnTo>
                  <a:lnTo>
                    <a:pt x="193272" y="0"/>
                  </a:lnTo>
                  <a:lnTo>
                    <a:pt x="202740" y="1667"/>
                  </a:lnTo>
                  <a:lnTo>
                    <a:pt x="209741" y="8811"/>
                  </a:lnTo>
                  <a:lnTo>
                    <a:pt x="204559" y="17945"/>
                  </a:lnTo>
                  <a:lnTo>
                    <a:pt x="187404" y="22488"/>
                  </a:lnTo>
                  <a:lnTo>
                    <a:pt x="180623" y="36014"/>
                  </a:lnTo>
                  <a:lnTo>
                    <a:pt x="170288" y="43767"/>
                  </a:lnTo>
                  <a:lnTo>
                    <a:pt x="162525" y="53797"/>
                  </a:lnTo>
                  <a:lnTo>
                    <a:pt x="159258" y="73028"/>
                  </a:lnTo>
                  <a:lnTo>
                    <a:pt x="151857" y="88763"/>
                  </a:lnTo>
                  <a:lnTo>
                    <a:pt x="165640" y="90564"/>
                  </a:lnTo>
                  <a:lnTo>
                    <a:pt x="169059" y="102908"/>
                  </a:lnTo>
                  <a:lnTo>
                    <a:pt x="174955" y="108804"/>
                  </a:lnTo>
                  <a:lnTo>
                    <a:pt x="177070" y="119596"/>
                  </a:lnTo>
                  <a:lnTo>
                    <a:pt x="173898" y="129511"/>
                  </a:lnTo>
                  <a:lnTo>
                    <a:pt x="174831" y="135093"/>
                  </a:lnTo>
                  <a:lnTo>
                    <a:pt x="181404" y="137331"/>
                  </a:lnTo>
                  <a:lnTo>
                    <a:pt x="187766" y="146656"/>
                  </a:lnTo>
                  <a:lnTo>
                    <a:pt x="222113" y="144085"/>
                  </a:lnTo>
                  <a:lnTo>
                    <a:pt x="237630" y="147485"/>
                  </a:lnTo>
                  <a:lnTo>
                    <a:pt x="256423" y="170469"/>
                  </a:lnTo>
                  <a:lnTo>
                    <a:pt x="267214" y="167611"/>
                  </a:lnTo>
                  <a:lnTo>
                    <a:pt x="286455" y="169040"/>
                  </a:lnTo>
                  <a:lnTo>
                    <a:pt x="301676" y="166002"/>
                  </a:lnTo>
                  <a:lnTo>
                    <a:pt x="311124" y="170583"/>
                  </a:lnTo>
                  <a:lnTo>
                    <a:pt x="306315" y="184947"/>
                  </a:lnTo>
                  <a:lnTo>
                    <a:pt x="300352" y="193891"/>
                  </a:lnTo>
                  <a:lnTo>
                    <a:pt x="298256" y="212988"/>
                  </a:lnTo>
                  <a:lnTo>
                    <a:pt x="303628" y="230667"/>
                  </a:lnTo>
                  <a:lnTo>
                    <a:pt x="311220" y="238563"/>
                  </a:lnTo>
                  <a:lnTo>
                    <a:pt x="312144" y="244516"/>
                  </a:lnTo>
                  <a:lnTo>
                    <a:pt x="298609" y="257737"/>
                  </a:lnTo>
                  <a:lnTo>
                    <a:pt x="308296" y="263595"/>
                  </a:lnTo>
                  <a:lnTo>
                    <a:pt x="315401" y="272872"/>
                  </a:lnTo>
                  <a:lnTo>
                    <a:pt x="323545" y="299342"/>
                  </a:lnTo>
                  <a:lnTo>
                    <a:pt x="318497" y="302609"/>
                  </a:lnTo>
                  <a:lnTo>
                    <a:pt x="313296" y="286960"/>
                  </a:lnTo>
                  <a:lnTo>
                    <a:pt x="305876" y="278539"/>
                  </a:lnTo>
                  <a:lnTo>
                    <a:pt x="297037" y="287693"/>
                  </a:lnTo>
                  <a:lnTo>
                    <a:pt x="245012" y="287093"/>
                  </a:lnTo>
                  <a:lnTo>
                    <a:pt x="245335" y="303704"/>
                  </a:lnTo>
                  <a:lnTo>
                    <a:pt x="260985" y="306448"/>
                  </a:lnTo>
                  <a:lnTo>
                    <a:pt x="260080" y="316611"/>
                  </a:lnTo>
                  <a:lnTo>
                    <a:pt x="254746" y="313858"/>
                  </a:lnTo>
                  <a:lnTo>
                    <a:pt x="239697" y="318230"/>
                  </a:lnTo>
                  <a:lnTo>
                    <a:pt x="239563" y="337509"/>
                  </a:lnTo>
                  <a:lnTo>
                    <a:pt x="251412" y="347186"/>
                  </a:lnTo>
                  <a:lnTo>
                    <a:pt x="255594" y="362378"/>
                  </a:lnTo>
                  <a:lnTo>
                    <a:pt x="254965" y="373885"/>
                  </a:lnTo>
                  <a:lnTo>
                    <a:pt x="242964" y="446722"/>
                  </a:lnTo>
                  <a:lnTo>
                    <a:pt x="229590" y="432587"/>
                  </a:lnTo>
                  <a:lnTo>
                    <a:pt x="221618" y="431959"/>
                  </a:lnTo>
                  <a:lnTo>
                    <a:pt x="238849" y="404917"/>
                  </a:lnTo>
                  <a:lnTo>
                    <a:pt x="218399" y="392478"/>
                  </a:lnTo>
                  <a:lnTo>
                    <a:pt x="202368" y="394763"/>
                  </a:lnTo>
                  <a:lnTo>
                    <a:pt x="192719" y="390172"/>
                  </a:lnTo>
                  <a:lnTo>
                    <a:pt x="178003" y="397192"/>
                  </a:lnTo>
                  <a:lnTo>
                    <a:pt x="158125" y="393859"/>
                  </a:lnTo>
                  <a:lnTo>
                    <a:pt x="142389" y="366036"/>
                  </a:lnTo>
                  <a:lnTo>
                    <a:pt x="130026" y="359197"/>
                  </a:lnTo>
                  <a:lnTo>
                    <a:pt x="121501" y="346681"/>
                  </a:lnTo>
                  <a:lnTo>
                    <a:pt x="103737" y="3341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orme libre : forme 5686">
              <a:extLst>
                <a:ext uri="{FF2B5EF4-FFF2-40B4-BE49-F238E27FC236}">
                  <a16:creationId xmlns:a16="http://schemas.microsoft.com/office/drawing/2014/main" id="{C6C39F35-6E8C-A9F1-C79C-E1501D6DA4A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525678" y="4443140"/>
              <a:ext cx="90687" cy="80552"/>
            </a:xfrm>
            <a:custGeom>
              <a:avLst/>
              <a:gdLst>
                <a:gd name="connsiteX0" fmla="*/ 79477 w 90687"/>
                <a:gd name="connsiteY0" fmla="*/ 80553 h 80552"/>
                <a:gd name="connsiteX1" fmla="*/ 64979 w 90687"/>
                <a:gd name="connsiteY1" fmla="*/ 74609 h 80552"/>
                <a:gd name="connsiteX2" fmla="*/ 59569 w 90687"/>
                <a:gd name="connsiteY2" fmla="*/ 68980 h 80552"/>
                <a:gd name="connsiteX3" fmla="*/ 62636 w 90687"/>
                <a:gd name="connsiteY3" fmla="*/ 64313 h 80552"/>
                <a:gd name="connsiteX4" fmla="*/ 61665 w 90687"/>
                <a:gd name="connsiteY4" fmla="*/ 58379 h 80552"/>
                <a:gd name="connsiteX5" fmla="*/ 54264 w 90687"/>
                <a:gd name="connsiteY5" fmla="*/ 51949 h 80552"/>
                <a:gd name="connsiteX6" fmla="*/ 43758 w 90687"/>
                <a:gd name="connsiteY6" fmla="*/ 46663 h 80552"/>
                <a:gd name="connsiteX7" fmla="*/ 34566 w 90687"/>
                <a:gd name="connsiteY7" fmla="*/ 43215 h 80552"/>
                <a:gd name="connsiteX8" fmla="*/ 32804 w 90687"/>
                <a:gd name="connsiteY8" fmla="*/ 35338 h 80552"/>
                <a:gd name="connsiteX9" fmla="*/ 25803 w 90687"/>
                <a:gd name="connsiteY9" fmla="*/ 30527 h 80552"/>
                <a:gd name="connsiteX10" fmla="*/ 27518 w 90687"/>
                <a:gd name="connsiteY10" fmla="*/ 38357 h 80552"/>
                <a:gd name="connsiteX11" fmla="*/ 22184 w 90687"/>
                <a:gd name="connsiteY11" fmla="*/ 44787 h 80552"/>
                <a:gd name="connsiteX12" fmla="*/ 16088 w 90687"/>
                <a:gd name="connsiteY12" fmla="*/ 37319 h 80552"/>
                <a:gd name="connsiteX13" fmla="*/ 7506 w 90687"/>
                <a:gd name="connsiteY13" fmla="*/ 34662 h 80552"/>
                <a:gd name="connsiteX14" fmla="*/ 3848 w 90687"/>
                <a:gd name="connsiteY14" fmla="*/ 29223 h 80552"/>
                <a:gd name="connsiteX15" fmla="*/ 4010 w 90687"/>
                <a:gd name="connsiteY15" fmla="*/ 21012 h 80552"/>
                <a:gd name="connsiteX16" fmla="*/ 7544 w 90687"/>
                <a:gd name="connsiteY16" fmla="*/ 12516 h 80552"/>
                <a:gd name="connsiteX17" fmla="*/ 0 w 90687"/>
                <a:gd name="connsiteY17" fmla="*/ 8706 h 80552"/>
                <a:gd name="connsiteX18" fmla="*/ 6124 w 90687"/>
                <a:gd name="connsiteY18" fmla="*/ 3486 h 80552"/>
                <a:gd name="connsiteX19" fmla="*/ 10144 w 90687"/>
                <a:gd name="connsiteY19" fmla="*/ 0 h 80552"/>
                <a:gd name="connsiteX20" fmla="*/ 27737 w 90687"/>
                <a:gd name="connsiteY20" fmla="*/ 7163 h 80552"/>
                <a:gd name="connsiteX21" fmla="*/ 33880 w 90687"/>
                <a:gd name="connsiteY21" fmla="*/ 3638 h 80552"/>
                <a:gd name="connsiteX22" fmla="*/ 42348 w 90687"/>
                <a:gd name="connsiteY22" fmla="*/ 5896 h 80552"/>
                <a:gd name="connsiteX23" fmla="*/ 46777 w 90687"/>
                <a:gd name="connsiteY23" fmla="*/ 11459 h 80552"/>
                <a:gd name="connsiteX24" fmla="*/ 54654 w 90687"/>
                <a:gd name="connsiteY24" fmla="*/ 13259 h 80552"/>
                <a:gd name="connsiteX25" fmla="*/ 61055 w 90687"/>
                <a:gd name="connsiteY25" fmla="*/ 7525 h 80552"/>
                <a:gd name="connsiteX26" fmla="*/ 67818 w 90687"/>
                <a:gd name="connsiteY26" fmla="*/ 22203 h 80552"/>
                <a:gd name="connsiteX27" fmla="*/ 78143 w 90687"/>
                <a:gd name="connsiteY27" fmla="*/ 33052 h 80552"/>
                <a:gd name="connsiteX28" fmla="*/ 90687 w 90687"/>
                <a:gd name="connsiteY28" fmla="*/ 44539 h 80552"/>
                <a:gd name="connsiteX29" fmla="*/ 80353 w 90687"/>
                <a:gd name="connsiteY29" fmla="*/ 46949 h 80552"/>
                <a:gd name="connsiteX30" fmla="*/ 80505 w 90687"/>
                <a:gd name="connsiteY30" fmla="*/ 57769 h 80552"/>
                <a:gd name="connsiteX31" fmla="*/ 86068 w 90687"/>
                <a:gd name="connsiteY31" fmla="*/ 61760 h 80552"/>
                <a:gd name="connsiteX32" fmla="*/ 82067 w 90687"/>
                <a:gd name="connsiteY32" fmla="*/ 64941 h 80552"/>
                <a:gd name="connsiteX33" fmla="*/ 83115 w 90687"/>
                <a:gd name="connsiteY33" fmla="*/ 69799 h 80552"/>
                <a:gd name="connsiteX34" fmla="*/ 80886 w 90687"/>
                <a:gd name="connsiteY34" fmla="*/ 75238 h 80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90687" h="80552">
                  <a:moveTo>
                    <a:pt x="79477" y="80553"/>
                  </a:moveTo>
                  <a:lnTo>
                    <a:pt x="64979" y="74609"/>
                  </a:lnTo>
                  <a:lnTo>
                    <a:pt x="59569" y="68980"/>
                  </a:lnTo>
                  <a:lnTo>
                    <a:pt x="62636" y="64313"/>
                  </a:lnTo>
                  <a:lnTo>
                    <a:pt x="61665" y="58379"/>
                  </a:lnTo>
                  <a:lnTo>
                    <a:pt x="54264" y="51949"/>
                  </a:lnTo>
                  <a:lnTo>
                    <a:pt x="43758" y="46663"/>
                  </a:lnTo>
                  <a:lnTo>
                    <a:pt x="34566" y="43215"/>
                  </a:lnTo>
                  <a:lnTo>
                    <a:pt x="32804" y="35338"/>
                  </a:lnTo>
                  <a:lnTo>
                    <a:pt x="25803" y="30527"/>
                  </a:lnTo>
                  <a:lnTo>
                    <a:pt x="27518" y="38357"/>
                  </a:lnTo>
                  <a:lnTo>
                    <a:pt x="22184" y="44787"/>
                  </a:lnTo>
                  <a:lnTo>
                    <a:pt x="16088" y="37319"/>
                  </a:lnTo>
                  <a:lnTo>
                    <a:pt x="7506" y="34662"/>
                  </a:lnTo>
                  <a:lnTo>
                    <a:pt x="3848" y="29223"/>
                  </a:lnTo>
                  <a:lnTo>
                    <a:pt x="4010" y="21012"/>
                  </a:lnTo>
                  <a:lnTo>
                    <a:pt x="7544" y="12516"/>
                  </a:lnTo>
                  <a:lnTo>
                    <a:pt x="0" y="8706"/>
                  </a:lnTo>
                  <a:lnTo>
                    <a:pt x="6124" y="3486"/>
                  </a:lnTo>
                  <a:lnTo>
                    <a:pt x="10144" y="0"/>
                  </a:lnTo>
                  <a:lnTo>
                    <a:pt x="27737" y="7163"/>
                  </a:lnTo>
                  <a:lnTo>
                    <a:pt x="33880" y="3638"/>
                  </a:lnTo>
                  <a:lnTo>
                    <a:pt x="42348" y="5896"/>
                  </a:lnTo>
                  <a:lnTo>
                    <a:pt x="46777" y="11459"/>
                  </a:lnTo>
                  <a:lnTo>
                    <a:pt x="54654" y="13259"/>
                  </a:lnTo>
                  <a:lnTo>
                    <a:pt x="61055" y="7525"/>
                  </a:lnTo>
                  <a:lnTo>
                    <a:pt x="67818" y="22203"/>
                  </a:lnTo>
                  <a:lnTo>
                    <a:pt x="78143" y="33052"/>
                  </a:lnTo>
                  <a:lnTo>
                    <a:pt x="90687" y="44539"/>
                  </a:lnTo>
                  <a:lnTo>
                    <a:pt x="80353" y="46949"/>
                  </a:lnTo>
                  <a:lnTo>
                    <a:pt x="80505" y="57769"/>
                  </a:lnTo>
                  <a:lnTo>
                    <a:pt x="86068" y="61760"/>
                  </a:lnTo>
                  <a:lnTo>
                    <a:pt x="82067" y="64941"/>
                  </a:lnTo>
                  <a:lnTo>
                    <a:pt x="83115" y="69799"/>
                  </a:lnTo>
                  <a:lnTo>
                    <a:pt x="80886" y="7523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orme libre : forme 5687">
              <a:extLst>
                <a:ext uri="{FF2B5EF4-FFF2-40B4-BE49-F238E27FC236}">
                  <a16:creationId xmlns:a16="http://schemas.microsoft.com/office/drawing/2014/main" id="{07668A09-FC22-153A-3BE6-1CABC33EF00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551500" y="4109765"/>
              <a:ext cx="288350" cy="95154"/>
            </a:xfrm>
            <a:custGeom>
              <a:avLst/>
              <a:gdLst>
                <a:gd name="connsiteX0" fmla="*/ 72285 w 288350"/>
                <a:gd name="connsiteY0" fmla="*/ 0 h 95154"/>
                <a:gd name="connsiteX1" fmla="*/ 95355 w 288350"/>
                <a:gd name="connsiteY1" fmla="*/ 2057 h 95154"/>
                <a:gd name="connsiteX2" fmla="*/ 116338 w 288350"/>
                <a:gd name="connsiteY2" fmla="*/ 2381 h 95154"/>
                <a:gd name="connsiteX3" fmla="*/ 141418 w 288350"/>
                <a:gd name="connsiteY3" fmla="*/ 12211 h 95154"/>
                <a:gd name="connsiteX4" fmla="*/ 152048 w 288350"/>
                <a:gd name="connsiteY4" fmla="*/ 22736 h 95154"/>
                <a:gd name="connsiteX5" fmla="*/ 176994 w 288350"/>
                <a:gd name="connsiteY5" fmla="*/ 19488 h 95154"/>
                <a:gd name="connsiteX6" fmla="*/ 186452 w 288350"/>
                <a:gd name="connsiteY6" fmla="*/ 26241 h 95154"/>
                <a:gd name="connsiteX7" fmla="*/ 209074 w 288350"/>
                <a:gd name="connsiteY7" fmla="*/ 43977 h 95154"/>
                <a:gd name="connsiteX8" fmla="*/ 225695 w 288350"/>
                <a:gd name="connsiteY8" fmla="*/ 56836 h 95154"/>
                <a:gd name="connsiteX9" fmla="*/ 234487 w 288350"/>
                <a:gd name="connsiteY9" fmla="*/ 56445 h 95154"/>
                <a:gd name="connsiteX10" fmla="*/ 250422 w 288350"/>
                <a:gd name="connsiteY10" fmla="*/ 62256 h 95154"/>
                <a:gd name="connsiteX11" fmla="*/ 248479 w 288350"/>
                <a:gd name="connsiteY11" fmla="*/ 70247 h 95154"/>
                <a:gd name="connsiteX12" fmla="*/ 268157 w 288350"/>
                <a:gd name="connsiteY12" fmla="*/ 71418 h 95154"/>
                <a:gd name="connsiteX13" fmla="*/ 288350 w 288350"/>
                <a:gd name="connsiteY13" fmla="*/ 83020 h 95154"/>
                <a:gd name="connsiteX14" fmla="*/ 285179 w 288350"/>
                <a:gd name="connsiteY14" fmla="*/ 89649 h 95154"/>
                <a:gd name="connsiteX15" fmla="*/ 267424 w 288350"/>
                <a:gd name="connsiteY15" fmla="*/ 93240 h 95154"/>
                <a:gd name="connsiteX16" fmla="*/ 249450 w 288350"/>
                <a:gd name="connsiteY16" fmla="*/ 94631 h 95154"/>
                <a:gd name="connsiteX17" fmla="*/ 231048 w 288350"/>
                <a:gd name="connsiteY17" fmla="*/ 92402 h 95154"/>
                <a:gd name="connsiteX18" fmla="*/ 192805 w 288350"/>
                <a:gd name="connsiteY18" fmla="*/ 95155 h 95154"/>
                <a:gd name="connsiteX19" fmla="*/ 210712 w 288350"/>
                <a:gd name="connsiteY19" fmla="*/ 79372 h 95154"/>
                <a:gd name="connsiteX20" fmla="*/ 199825 w 288350"/>
                <a:gd name="connsiteY20" fmla="*/ 72009 h 95154"/>
                <a:gd name="connsiteX21" fmla="*/ 182604 w 288350"/>
                <a:gd name="connsiteY21" fmla="*/ 70113 h 95154"/>
                <a:gd name="connsiteX22" fmla="*/ 173384 w 288350"/>
                <a:gd name="connsiteY22" fmla="*/ 61913 h 95154"/>
                <a:gd name="connsiteX23" fmla="*/ 167049 w 288350"/>
                <a:gd name="connsiteY23" fmla="*/ 45682 h 95154"/>
                <a:gd name="connsiteX24" fmla="*/ 151962 w 288350"/>
                <a:gd name="connsiteY24" fmla="*/ 46796 h 95154"/>
                <a:gd name="connsiteX25" fmla="*/ 127054 w 288350"/>
                <a:gd name="connsiteY25" fmla="*/ 39129 h 95154"/>
                <a:gd name="connsiteX26" fmla="*/ 119043 w 288350"/>
                <a:gd name="connsiteY26" fmla="*/ 33128 h 95154"/>
                <a:gd name="connsiteX27" fmla="*/ 84230 w 288350"/>
                <a:gd name="connsiteY27" fmla="*/ 28680 h 95154"/>
                <a:gd name="connsiteX28" fmla="*/ 74905 w 288350"/>
                <a:gd name="connsiteY28" fmla="*/ 23089 h 95154"/>
                <a:gd name="connsiteX29" fmla="*/ 84925 w 288350"/>
                <a:gd name="connsiteY29" fmla="*/ 15907 h 95154"/>
                <a:gd name="connsiteX30" fmla="*/ 58731 w 288350"/>
                <a:gd name="connsiteY30" fmla="*/ 14430 h 95154"/>
                <a:gd name="connsiteX31" fmla="*/ 39538 w 288350"/>
                <a:gd name="connsiteY31" fmla="*/ 29356 h 95154"/>
                <a:gd name="connsiteX32" fmla="*/ 28470 w 288350"/>
                <a:gd name="connsiteY32" fmla="*/ 29756 h 95154"/>
                <a:gd name="connsiteX33" fmla="*/ 24641 w 288350"/>
                <a:gd name="connsiteY33" fmla="*/ 36747 h 95154"/>
                <a:gd name="connsiteX34" fmla="*/ 11421 w 288350"/>
                <a:gd name="connsiteY34" fmla="*/ 39872 h 95154"/>
                <a:gd name="connsiteX35" fmla="*/ 0 w 288350"/>
                <a:gd name="connsiteY35" fmla="*/ 37167 h 95154"/>
                <a:gd name="connsiteX36" fmla="*/ 14097 w 288350"/>
                <a:gd name="connsiteY36" fmla="*/ 28318 h 95154"/>
                <a:gd name="connsiteX37" fmla="*/ 19879 w 288350"/>
                <a:gd name="connsiteY37" fmla="*/ 17955 h 95154"/>
                <a:gd name="connsiteX38" fmla="*/ 31956 w 288350"/>
                <a:gd name="connsiteY38" fmla="*/ 11554 h 95154"/>
                <a:gd name="connsiteX39" fmla="*/ 45596 w 288350"/>
                <a:gd name="connsiteY39" fmla="*/ 5934 h 95154"/>
                <a:gd name="connsiteX40" fmla="*/ 65818 w 288350"/>
                <a:gd name="connsiteY40" fmla="*/ 3172 h 95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88350" h="95154">
                  <a:moveTo>
                    <a:pt x="72285" y="0"/>
                  </a:moveTo>
                  <a:lnTo>
                    <a:pt x="95355" y="2057"/>
                  </a:lnTo>
                  <a:lnTo>
                    <a:pt x="116338" y="2381"/>
                  </a:lnTo>
                  <a:lnTo>
                    <a:pt x="141418" y="12211"/>
                  </a:lnTo>
                  <a:lnTo>
                    <a:pt x="152048" y="22736"/>
                  </a:lnTo>
                  <a:lnTo>
                    <a:pt x="176994" y="19488"/>
                  </a:lnTo>
                  <a:lnTo>
                    <a:pt x="186452" y="26241"/>
                  </a:lnTo>
                  <a:lnTo>
                    <a:pt x="209074" y="43977"/>
                  </a:lnTo>
                  <a:lnTo>
                    <a:pt x="225695" y="56836"/>
                  </a:lnTo>
                  <a:lnTo>
                    <a:pt x="234487" y="56445"/>
                  </a:lnTo>
                  <a:lnTo>
                    <a:pt x="250422" y="62256"/>
                  </a:lnTo>
                  <a:lnTo>
                    <a:pt x="248479" y="70247"/>
                  </a:lnTo>
                  <a:lnTo>
                    <a:pt x="268157" y="71418"/>
                  </a:lnTo>
                  <a:lnTo>
                    <a:pt x="288350" y="83020"/>
                  </a:lnTo>
                  <a:lnTo>
                    <a:pt x="285179" y="89649"/>
                  </a:lnTo>
                  <a:lnTo>
                    <a:pt x="267424" y="93240"/>
                  </a:lnTo>
                  <a:lnTo>
                    <a:pt x="249450" y="94631"/>
                  </a:lnTo>
                  <a:lnTo>
                    <a:pt x="231048" y="92402"/>
                  </a:lnTo>
                  <a:lnTo>
                    <a:pt x="192805" y="95155"/>
                  </a:lnTo>
                  <a:lnTo>
                    <a:pt x="210712" y="79372"/>
                  </a:lnTo>
                  <a:lnTo>
                    <a:pt x="199825" y="72009"/>
                  </a:lnTo>
                  <a:lnTo>
                    <a:pt x="182604" y="70113"/>
                  </a:lnTo>
                  <a:lnTo>
                    <a:pt x="173384" y="61913"/>
                  </a:lnTo>
                  <a:lnTo>
                    <a:pt x="167049" y="45682"/>
                  </a:lnTo>
                  <a:lnTo>
                    <a:pt x="151962" y="46796"/>
                  </a:lnTo>
                  <a:lnTo>
                    <a:pt x="127054" y="39129"/>
                  </a:lnTo>
                  <a:lnTo>
                    <a:pt x="119043" y="33128"/>
                  </a:lnTo>
                  <a:lnTo>
                    <a:pt x="84230" y="28680"/>
                  </a:lnTo>
                  <a:lnTo>
                    <a:pt x="74905" y="23089"/>
                  </a:lnTo>
                  <a:lnTo>
                    <a:pt x="84925" y="15907"/>
                  </a:lnTo>
                  <a:lnTo>
                    <a:pt x="58731" y="14430"/>
                  </a:lnTo>
                  <a:lnTo>
                    <a:pt x="39538" y="29356"/>
                  </a:lnTo>
                  <a:lnTo>
                    <a:pt x="28470" y="29756"/>
                  </a:lnTo>
                  <a:lnTo>
                    <a:pt x="24641" y="36747"/>
                  </a:lnTo>
                  <a:lnTo>
                    <a:pt x="11421" y="39872"/>
                  </a:lnTo>
                  <a:lnTo>
                    <a:pt x="0" y="37167"/>
                  </a:lnTo>
                  <a:lnTo>
                    <a:pt x="14097" y="28318"/>
                  </a:lnTo>
                  <a:lnTo>
                    <a:pt x="19879" y="17955"/>
                  </a:lnTo>
                  <a:lnTo>
                    <a:pt x="31956" y="11554"/>
                  </a:lnTo>
                  <a:lnTo>
                    <a:pt x="45596" y="5934"/>
                  </a:lnTo>
                  <a:lnTo>
                    <a:pt x="65818" y="317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orme libre : forme 5688">
              <a:extLst>
                <a:ext uri="{FF2B5EF4-FFF2-40B4-BE49-F238E27FC236}">
                  <a16:creationId xmlns:a16="http://schemas.microsoft.com/office/drawing/2014/main" id="{7D883A8A-854D-883C-8221-BC97F92D7C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682368" y="3727689"/>
              <a:ext cx="61950" cy="35747"/>
            </a:xfrm>
            <a:custGeom>
              <a:avLst/>
              <a:gdLst>
                <a:gd name="connsiteX0" fmla="*/ 43911 w 61950"/>
                <a:gd name="connsiteY0" fmla="*/ 13897 h 35747"/>
                <a:gd name="connsiteX1" fmla="*/ 61951 w 61950"/>
                <a:gd name="connsiteY1" fmla="*/ 0 h 35747"/>
                <a:gd name="connsiteX2" fmla="*/ 37672 w 61950"/>
                <a:gd name="connsiteY2" fmla="*/ 9754 h 35747"/>
                <a:gd name="connsiteX3" fmla="*/ 18431 w 61950"/>
                <a:gd name="connsiteY3" fmla="*/ 9306 h 35747"/>
                <a:gd name="connsiteX4" fmla="*/ 14574 w 61950"/>
                <a:gd name="connsiteY4" fmla="*/ 17164 h 35747"/>
                <a:gd name="connsiteX5" fmla="*/ 12688 w 61950"/>
                <a:gd name="connsiteY5" fmla="*/ 17336 h 35747"/>
                <a:gd name="connsiteX6" fmla="*/ 0 w 61950"/>
                <a:gd name="connsiteY6" fmla="*/ 18536 h 35747"/>
                <a:gd name="connsiteX7" fmla="*/ 6239 w 61950"/>
                <a:gd name="connsiteY7" fmla="*/ 31557 h 35747"/>
                <a:gd name="connsiteX8" fmla="*/ 19317 w 61950"/>
                <a:gd name="connsiteY8" fmla="*/ 35747 h 35747"/>
                <a:gd name="connsiteX9" fmla="*/ 46692 w 61950"/>
                <a:gd name="connsiteY9" fmla="*/ 22603 h 35747"/>
                <a:gd name="connsiteX10" fmla="*/ 45854 w 61950"/>
                <a:gd name="connsiteY10" fmla="*/ 19993 h 35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950" h="35747">
                  <a:moveTo>
                    <a:pt x="43911" y="13897"/>
                  </a:moveTo>
                  <a:lnTo>
                    <a:pt x="61951" y="0"/>
                  </a:lnTo>
                  <a:lnTo>
                    <a:pt x="37672" y="9754"/>
                  </a:lnTo>
                  <a:lnTo>
                    <a:pt x="18431" y="9306"/>
                  </a:lnTo>
                  <a:lnTo>
                    <a:pt x="14574" y="17164"/>
                  </a:lnTo>
                  <a:lnTo>
                    <a:pt x="12688" y="17336"/>
                  </a:lnTo>
                  <a:lnTo>
                    <a:pt x="0" y="18536"/>
                  </a:lnTo>
                  <a:lnTo>
                    <a:pt x="6239" y="31557"/>
                  </a:lnTo>
                  <a:lnTo>
                    <a:pt x="19317" y="35747"/>
                  </a:lnTo>
                  <a:lnTo>
                    <a:pt x="46692" y="22603"/>
                  </a:lnTo>
                  <a:lnTo>
                    <a:pt x="45854" y="199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orme libre : forme 5689">
              <a:extLst>
                <a:ext uri="{FF2B5EF4-FFF2-40B4-BE49-F238E27FC236}">
                  <a16:creationId xmlns:a16="http://schemas.microsoft.com/office/drawing/2014/main" id="{C98FDA14-2A2E-750F-B471-637F52DF161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147787" y="3157141"/>
              <a:ext cx="176612" cy="105822"/>
            </a:xfrm>
            <a:custGeom>
              <a:avLst/>
              <a:gdLst>
                <a:gd name="connsiteX0" fmla="*/ 126064 w 176612"/>
                <a:gd name="connsiteY0" fmla="*/ 104146 h 105822"/>
                <a:gd name="connsiteX1" fmla="*/ 113757 w 176612"/>
                <a:gd name="connsiteY1" fmla="*/ 96526 h 105822"/>
                <a:gd name="connsiteX2" fmla="*/ 101213 w 176612"/>
                <a:gd name="connsiteY2" fmla="*/ 98622 h 105822"/>
                <a:gd name="connsiteX3" fmla="*/ 80477 w 176612"/>
                <a:gd name="connsiteY3" fmla="*/ 86258 h 105822"/>
                <a:gd name="connsiteX4" fmla="*/ 71076 w 176612"/>
                <a:gd name="connsiteY4" fmla="*/ 89297 h 105822"/>
                <a:gd name="connsiteX5" fmla="*/ 56054 w 176612"/>
                <a:gd name="connsiteY5" fmla="*/ 105823 h 105822"/>
                <a:gd name="connsiteX6" fmla="*/ 36214 w 176612"/>
                <a:gd name="connsiteY6" fmla="*/ 92831 h 105822"/>
                <a:gd name="connsiteX7" fmla="*/ 21136 w 176612"/>
                <a:gd name="connsiteY7" fmla="*/ 75343 h 105822"/>
                <a:gd name="connsiteX8" fmla="*/ 7506 w 176612"/>
                <a:gd name="connsiteY8" fmla="*/ 65503 h 105822"/>
                <a:gd name="connsiteX9" fmla="*/ 4677 w 176612"/>
                <a:gd name="connsiteY9" fmla="*/ 48120 h 105822"/>
                <a:gd name="connsiteX10" fmla="*/ 0 w 176612"/>
                <a:gd name="connsiteY10" fmla="*/ 35776 h 105822"/>
                <a:gd name="connsiteX11" fmla="*/ 19412 w 176612"/>
                <a:gd name="connsiteY11" fmla="*/ 26689 h 105822"/>
                <a:gd name="connsiteX12" fmla="*/ 29328 w 176612"/>
                <a:gd name="connsiteY12" fmla="*/ 16231 h 105822"/>
                <a:gd name="connsiteX13" fmla="*/ 48511 w 176612"/>
                <a:gd name="connsiteY13" fmla="*/ 8058 h 105822"/>
                <a:gd name="connsiteX14" fmla="*/ 55207 w 176612"/>
                <a:gd name="connsiteY14" fmla="*/ 0 h 105822"/>
                <a:gd name="connsiteX15" fmla="*/ 62246 w 176612"/>
                <a:gd name="connsiteY15" fmla="*/ 4867 h 105822"/>
                <a:gd name="connsiteX16" fmla="*/ 74161 w 176612"/>
                <a:gd name="connsiteY16" fmla="*/ 448 h 105822"/>
                <a:gd name="connsiteX17" fmla="*/ 86830 w 176612"/>
                <a:gd name="connsiteY17" fmla="*/ 14059 h 105822"/>
                <a:gd name="connsiteX18" fmla="*/ 106794 w 176612"/>
                <a:gd name="connsiteY18" fmla="*/ 17726 h 105822"/>
                <a:gd name="connsiteX19" fmla="*/ 105128 w 176612"/>
                <a:gd name="connsiteY19" fmla="*/ 29261 h 105822"/>
                <a:gd name="connsiteX20" fmla="*/ 119634 w 176612"/>
                <a:gd name="connsiteY20" fmla="*/ 37881 h 105822"/>
                <a:gd name="connsiteX21" fmla="*/ 123615 w 176612"/>
                <a:gd name="connsiteY21" fmla="*/ 27108 h 105822"/>
                <a:gd name="connsiteX22" fmla="*/ 141942 w 176612"/>
                <a:gd name="connsiteY22" fmla="*/ 31785 h 105822"/>
                <a:gd name="connsiteX23" fmla="*/ 144466 w 176612"/>
                <a:gd name="connsiteY23" fmla="*/ 44806 h 105822"/>
                <a:gd name="connsiteX24" fmla="*/ 164325 w 176612"/>
                <a:gd name="connsiteY24" fmla="*/ 47320 h 105822"/>
                <a:gd name="connsiteX25" fmla="*/ 176613 w 176612"/>
                <a:gd name="connsiteY25" fmla="*/ 67608 h 105822"/>
                <a:gd name="connsiteX26" fmla="*/ 168650 w 176612"/>
                <a:gd name="connsiteY26" fmla="*/ 67656 h 105822"/>
                <a:gd name="connsiteX27" fmla="*/ 164516 w 176612"/>
                <a:gd name="connsiteY27" fmla="*/ 75028 h 105822"/>
                <a:gd name="connsiteX28" fmla="*/ 158382 w 176612"/>
                <a:gd name="connsiteY28" fmla="*/ 76800 h 105822"/>
                <a:gd name="connsiteX29" fmla="*/ 156639 w 176612"/>
                <a:gd name="connsiteY29" fmla="*/ 86068 h 105822"/>
                <a:gd name="connsiteX30" fmla="*/ 151524 w 176612"/>
                <a:gd name="connsiteY30" fmla="*/ 87992 h 105822"/>
                <a:gd name="connsiteX31" fmla="*/ 150800 w 176612"/>
                <a:gd name="connsiteY31" fmla="*/ 91764 h 105822"/>
                <a:gd name="connsiteX32" fmla="*/ 141685 w 176612"/>
                <a:gd name="connsiteY32" fmla="*/ 95945 h 105822"/>
                <a:gd name="connsiteX33" fmla="*/ 129855 w 176612"/>
                <a:gd name="connsiteY33" fmla="*/ 95269 h 105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6612" h="105822">
                  <a:moveTo>
                    <a:pt x="126064" y="104146"/>
                  </a:moveTo>
                  <a:lnTo>
                    <a:pt x="113757" y="96526"/>
                  </a:lnTo>
                  <a:lnTo>
                    <a:pt x="101213" y="98622"/>
                  </a:lnTo>
                  <a:lnTo>
                    <a:pt x="80477" y="86258"/>
                  </a:lnTo>
                  <a:lnTo>
                    <a:pt x="71076" y="89297"/>
                  </a:lnTo>
                  <a:lnTo>
                    <a:pt x="56054" y="105823"/>
                  </a:lnTo>
                  <a:lnTo>
                    <a:pt x="36214" y="92831"/>
                  </a:lnTo>
                  <a:lnTo>
                    <a:pt x="21136" y="75343"/>
                  </a:lnTo>
                  <a:lnTo>
                    <a:pt x="7506" y="65503"/>
                  </a:lnTo>
                  <a:lnTo>
                    <a:pt x="4677" y="48120"/>
                  </a:lnTo>
                  <a:lnTo>
                    <a:pt x="0" y="35776"/>
                  </a:lnTo>
                  <a:lnTo>
                    <a:pt x="19412" y="26689"/>
                  </a:lnTo>
                  <a:lnTo>
                    <a:pt x="29328" y="16231"/>
                  </a:lnTo>
                  <a:lnTo>
                    <a:pt x="48511" y="8058"/>
                  </a:lnTo>
                  <a:lnTo>
                    <a:pt x="55207" y="0"/>
                  </a:lnTo>
                  <a:lnTo>
                    <a:pt x="62246" y="4867"/>
                  </a:lnTo>
                  <a:lnTo>
                    <a:pt x="74161" y="448"/>
                  </a:lnTo>
                  <a:lnTo>
                    <a:pt x="86830" y="14059"/>
                  </a:lnTo>
                  <a:lnTo>
                    <a:pt x="106794" y="17726"/>
                  </a:lnTo>
                  <a:lnTo>
                    <a:pt x="105128" y="29261"/>
                  </a:lnTo>
                  <a:lnTo>
                    <a:pt x="119634" y="37881"/>
                  </a:lnTo>
                  <a:lnTo>
                    <a:pt x="123615" y="27108"/>
                  </a:lnTo>
                  <a:lnTo>
                    <a:pt x="141942" y="31785"/>
                  </a:lnTo>
                  <a:lnTo>
                    <a:pt x="144466" y="44806"/>
                  </a:lnTo>
                  <a:lnTo>
                    <a:pt x="164325" y="47320"/>
                  </a:lnTo>
                  <a:lnTo>
                    <a:pt x="176613" y="67608"/>
                  </a:lnTo>
                  <a:lnTo>
                    <a:pt x="168650" y="67656"/>
                  </a:lnTo>
                  <a:lnTo>
                    <a:pt x="164516" y="75028"/>
                  </a:lnTo>
                  <a:lnTo>
                    <a:pt x="158382" y="76800"/>
                  </a:lnTo>
                  <a:lnTo>
                    <a:pt x="156639" y="86068"/>
                  </a:lnTo>
                  <a:lnTo>
                    <a:pt x="151524" y="87992"/>
                  </a:lnTo>
                  <a:lnTo>
                    <a:pt x="150800" y="91764"/>
                  </a:lnTo>
                  <a:lnTo>
                    <a:pt x="141685" y="95945"/>
                  </a:lnTo>
                  <a:lnTo>
                    <a:pt x="129855" y="9526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orme libre : forme 5690">
              <a:extLst>
                <a:ext uri="{FF2B5EF4-FFF2-40B4-BE49-F238E27FC236}">
                  <a16:creationId xmlns:a16="http://schemas.microsoft.com/office/drawing/2014/main" id="{FEE1CF15-7D98-E1FA-33FF-AC636C8C60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980833" y="2985653"/>
              <a:ext cx="241115" cy="327098"/>
            </a:xfrm>
            <a:custGeom>
              <a:avLst/>
              <a:gdLst>
                <a:gd name="connsiteX0" fmla="*/ 105042 w 241115"/>
                <a:gd name="connsiteY0" fmla="*/ 0 h 327098"/>
                <a:gd name="connsiteX1" fmla="*/ 105518 w 241115"/>
                <a:gd name="connsiteY1" fmla="*/ 17859 h 327098"/>
                <a:gd name="connsiteX2" fmla="*/ 132512 w 241115"/>
                <a:gd name="connsiteY2" fmla="*/ 28547 h 327098"/>
                <a:gd name="connsiteX3" fmla="*/ 132226 w 241115"/>
                <a:gd name="connsiteY3" fmla="*/ 44710 h 327098"/>
                <a:gd name="connsiteX4" fmla="*/ 159372 w 241115"/>
                <a:gd name="connsiteY4" fmla="*/ 36176 h 327098"/>
                <a:gd name="connsiteX5" fmla="*/ 174393 w 241115"/>
                <a:gd name="connsiteY5" fmla="*/ 23660 h 327098"/>
                <a:gd name="connsiteX6" fmla="*/ 204549 w 241115"/>
                <a:gd name="connsiteY6" fmla="*/ 41681 h 327098"/>
                <a:gd name="connsiteX7" fmla="*/ 217151 w 241115"/>
                <a:gd name="connsiteY7" fmla="*/ 56093 h 327098"/>
                <a:gd name="connsiteX8" fmla="*/ 223399 w 241115"/>
                <a:gd name="connsiteY8" fmla="*/ 78886 h 327098"/>
                <a:gd name="connsiteX9" fmla="*/ 215951 w 241115"/>
                <a:gd name="connsiteY9" fmla="*/ 90735 h 327098"/>
                <a:gd name="connsiteX10" fmla="*/ 225647 w 241115"/>
                <a:gd name="connsiteY10" fmla="*/ 106442 h 327098"/>
                <a:gd name="connsiteX11" fmla="*/ 232257 w 241115"/>
                <a:gd name="connsiteY11" fmla="*/ 129769 h 327098"/>
                <a:gd name="connsiteX12" fmla="*/ 230171 w 241115"/>
                <a:gd name="connsiteY12" fmla="*/ 144656 h 327098"/>
                <a:gd name="connsiteX13" fmla="*/ 241116 w 241115"/>
                <a:gd name="connsiteY13" fmla="*/ 171936 h 327098"/>
                <a:gd name="connsiteX14" fmla="*/ 229200 w 241115"/>
                <a:gd name="connsiteY14" fmla="*/ 176355 h 327098"/>
                <a:gd name="connsiteX15" fmla="*/ 222161 w 241115"/>
                <a:gd name="connsiteY15" fmla="*/ 171488 h 327098"/>
                <a:gd name="connsiteX16" fmla="*/ 215465 w 241115"/>
                <a:gd name="connsiteY16" fmla="*/ 179546 h 327098"/>
                <a:gd name="connsiteX17" fmla="*/ 196282 w 241115"/>
                <a:gd name="connsiteY17" fmla="*/ 187719 h 327098"/>
                <a:gd name="connsiteX18" fmla="*/ 186366 w 241115"/>
                <a:gd name="connsiteY18" fmla="*/ 198177 h 327098"/>
                <a:gd name="connsiteX19" fmla="*/ 166954 w 241115"/>
                <a:gd name="connsiteY19" fmla="*/ 207264 h 327098"/>
                <a:gd name="connsiteX20" fmla="*/ 171631 w 241115"/>
                <a:gd name="connsiteY20" fmla="*/ 219608 h 327098"/>
                <a:gd name="connsiteX21" fmla="*/ 174460 w 241115"/>
                <a:gd name="connsiteY21" fmla="*/ 236991 h 327098"/>
                <a:gd name="connsiteX22" fmla="*/ 188090 w 241115"/>
                <a:gd name="connsiteY22" fmla="*/ 246831 h 327098"/>
                <a:gd name="connsiteX23" fmla="*/ 203168 w 241115"/>
                <a:gd name="connsiteY23" fmla="*/ 264319 h 327098"/>
                <a:gd name="connsiteX24" fmla="*/ 193748 w 241115"/>
                <a:gd name="connsiteY24" fmla="*/ 282902 h 327098"/>
                <a:gd name="connsiteX25" fmla="*/ 184156 w 241115"/>
                <a:gd name="connsiteY25" fmla="*/ 287988 h 327098"/>
                <a:gd name="connsiteX26" fmla="*/ 187938 w 241115"/>
                <a:gd name="connsiteY26" fmla="*/ 313896 h 327098"/>
                <a:gd name="connsiteX27" fmla="*/ 185452 w 241115"/>
                <a:gd name="connsiteY27" fmla="*/ 320602 h 327098"/>
                <a:gd name="connsiteX28" fmla="*/ 177127 w 241115"/>
                <a:gd name="connsiteY28" fmla="*/ 312515 h 327098"/>
                <a:gd name="connsiteX29" fmla="*/ 164316 w 241115"/>
                <a:gd name="connsiteY29" fmla="*/ 311305 h 327098"/>
                <a:gd name="connsiteX30" fmla="*/ 145227 w 241115"/>
                <a:gd name="connsiteY30" fmla="*/ 318392 h 327098"/>
                <a:gd name="connsiteX31" fmla="*/ 121672 w 241115"/>
                <a:gd name="connsiteY31" fmla="*/ 316706 h 327098"/>
                <a:gd name="connsiteX32" fmla="*/ 117872 w 241115"/>
                <a:gd name="connsiteY32" fmla="*/ 327098 h 327098"/>
                <a:gd name="connsiteX33" fmla="*/ 104356 w 241115"/>
                <a:gd name="connsiteY33" fmla="*/ 316163 h 327098"/>
                <a:gd name="connsiteX34" fmla="*/ 96298 w 241115"/>
                <a:gd name="connsiteY34" fmla="*/ 318335 h 327098"/>
                <a:gd name="connsiteX35" fmla="*/ 67675 w 241115"/>
                <a:gd name="connsiteY35" fmla="*/ 306248 h 327098"/>
                <a:gd name="connsiteX36" fmla="*/ 62189 w 241115"/>
                <a:gd name="connsiteY36" fmla="*/ 314849 h 327098"/>
                <a:gd name="connsiteX37" fmla="*/ 39471 w 241115"/>
                <a:gd name="connsiteY37" fmla="*/ 314573 h 327098"/>
                <a:gd name="connsiteX38" fmla="*/ 42863 w 241115"/>
                <a:gd name="connsiteY38" fmla="*/ 286236 h 327098"/>
                <a:gd name="connsiteX39" fmla="*/ 56369 w 241115"/>
                <a:gd name="connsiteY39" fmla="*/ 258613 h 327098"/>
                <a:gd name="connsiteX40" fmla="*/ 17888 w 241115"/>
                <a:gd name="connsiteY40" fmla="*/ 251127 h 327098"/>
                <a:gd name="connsiteX41" fmla="*/ 5286 w 241115"/>
                <a:gd name="connsiteY41" fmla="*/ 240430 h 327098"/>
                <a:gd name="connsiteX42" fmla="*/ 6791 w 241115"/>
                <a:gd name="connsiteY42" fmla="*/ 222380 h 327098"/>
                <a:gd name="connsiteX43" fmla="*/ 1457 w 241115"/>
                <a:gd name="connsiteY43" fmla="*/ 213017 h 327098"/>
                <a:gd name="connsiteX44" fmla="*/ 4486 w 241115"/>
                <a:gd name="connsiteY44" fmla="*/ 184747 h 327098"/>
                <a:gd name="connsiteX45" fmla="*/ 0 w 241115"/>
                <a:gd name="connsiteY45" fmla="*/ 140075 h 327098"/>
                <a:gd name="connsiteX46" fmla="*/ 16050 w 241115"/>
                <a:gd name="connsiteY46" fmla="*/ 140056 h 327098"/>
                <a:gd name="connsiteX47" fmla="*/ 22812 w 241115"/>
                <a:gd name="connsiteY47" fmla="*/ 123758 h 327098"/>
                <a:gd name="connsiteX48" fmla="*/ 29470 w 241115"/>
                <a:gd name="connsiteY48" fmla="*/ 83515 h 327098"/>
                <a:gd name="connsiteX49" fmla="*/ 24479 w 241115"/>
                <a:gd name="connsiteY49" fmla="*/ 68437 h 327098"/>
                <a:gd name="connsiteX50" fmla="*/ 29699 w 241115"/>
                <a:gd name="connsiteY50" fmla="*/ 58931 h 327098"/>
                <a:gd name="connsiteX51" fmla="*/ 52016 w 241115"/>
                <a:gd name="connsiteY51" fmla="*/ 56483 h 327098"/>
                <a:gd name="connsiteX52" fmla="*/ 56969 w 241115"/>
                <a:gd name="connsiteY52" fmla="*/ 66389 h 327098"/>
                <a:gd name="connsiteX53" fmla="*/ 75104 w 241115"/>
                <a:gd name="connsiteY53" fmla="*/ 44167 h 327098"/>
                <a:gd name="connsiteX54" fmla="*/ 68999 w 241115"/>
                <a:gd name="connsiteY54" fmla="*/ 27089 h 327098"/>
                <a:gd name="connsiteX55" fmla="*/ 67770 w 241115"/>
                <a:gd name="connsiteY55" fmla="*/ 943 h 327098"/>
                <a:gd name="connsiteX56" fmla="*/ 87954 w 241115"/>
                <a:gd name="connsiteY56" fmla="*/ 7058 h 327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41115" h="327098">
                  <a:moveTo>
                    <a:pt x="105042" y="0"/>
                  </a:moveTo>
                  <a:lnTo>
                    <a:pt x="105518" y="17859"/>
                  </a:lnTo>
                  <a:lnTo>
                    <a:pt x="132512" y="28547"/>
                  </a:lnTo>
                  <a:lnTo>
                    <a:pt x="132226" y="44710"/>
                  </a:lnTo>
                  <a:lnTo>
                    <a:pt x="159372" y="36176"/>
                  </a:lnTo>
                  <a:lnTo>
                    <a:pt x="174393" y="23660"/>
                  </a:lnTo>
                  <a:lnTo>
                    <a:pt x="204549" y="41681"/>
                  </a:lnTo>
                  <a:lnTo>
                    <a:pt x="217151" y="56093"/>
                  </a:lnTo>
                  <a:lnTo>
                    <a:pt x="223399" y="78886"/>
                  </a:lnTo>
                  <a:lnTo>
                    <a:pt x="215951" y="90735"/>
                  </a:lnTo>
                  <a:lnTo>
                    <a:pt x="225647" y="106442"/>
                  </a:lnTo>
                  <a:lnTo>
                    <a:pt x="232257" y="129769"/>
                  </a:lnTo>
                  <a:lnTo>
                    <a:pt x="230171" y="144656"/>
                  </a:lnTo>
                  <a:lnTo>
                    <a:pt x="241116" y="171936"/>
                  </a:lnTo>
                  <a:lnTo>
                    <a:pt x="229200" y="176355"/>
                  </a:lnTo>
                  <a:lnTo>
                    <a:pt x="222161" y="171488"/>
                  </a:lnTo>
                  <a:lnTo>
                    <a:pt x="215465" y="179546"/>
                  </a:lnTo>
                  <a:lnTo>
                    <a:pt x="196282" y="187719"/>
                  </a:lnTo>
                  <a:lnTo>
                    <a:pt x="186366" y="198177"/>
                  </a:lnTo>
                  <a:lnTo>
                    <a:pt x="166954" y="207264"/>
                  </a:lnTo>
                  <a:lnTo>
                    <a:pt x="171631" y="219608"/>
                  </a:lnTo>
                  <a:lnTo>
                    <a:pt x="174460" y="236991"/>
                  </a:lnTo>
                  <a:lnTo>
                    <a:pt x="188090" y="246831"/>
                  </a:lnTo>
                  <a:lnTo>
                    <a:pt x="203168" y="264319"/>
                  </a:lnTo>
                  <a:lnTo>
                    <a:pt x="193748" y="282902"/>
                  </a:lnTo>
                  <a:lnTo>
                    <a:pt x="184156" y="287988"/>
                  </a:lnTo>
                  <a:lnTo>
                    <a:pt x="187938" y="313896"/>
                  </a:lnTo>
                  <a:lnTo>
                    <a:pt x="185452" y="320602"/>
                  </a:lnTo>
                  <a:lnTo>
                    <a:pt x="177127" y="312515"/>
                  </a:lnTo>
                  <a:lnTo>
                    <a:pt x="164316" y="311305"/>
                  </a:lnTo>
                  <a:lnTo>
                    <a:pt x="145227" y="318392"/>
                  </a:lnTo>
                  <a:lnTo>
                    <a:pt x="121672" y="316706"/>
                  </a:lnTo>
                  <a:lnTo>
                    <a:pt x="117872" y="327098"/>
                  </a:lnTo>
                  <a:lnTo>
                    <a:pt x="104356" y="316163"/>
                  </a:lnTo>
                  <a:lnTo>
                    <a:pt x="96298" y="318335"/>
                  </a:lnTo>
                  <a:lnTo>
                    <a:pt x="67675" y="306248"/>
                  </a:lnTo>
                  <a:lnTo>
                    <a:pt x="62189" y="314849"/>
                  </a:lnTo>
                  <a:lnTo>
                    <a:pt x="39471" y="314573"/>
                  </a:lnTo>
                  <a:lnTo>
                    <a:pt x="42863" y="286236"/>
                  </a:lnTo>
                  <a:lnTo>
                    <a:pt x="56369" y="258613"/>
                  </a:lnTo>
                  <a:lnTo>
                    <a:pt x="17888" y="251127"/>
                  </a:lnTo>
                  <a:lnTo>
                    <a:pt x="5286" y="240430"/>
                  </a:lnTo>
                  <a:lnTo>
                    <a:pt x="6791" y="222380"/>
                  </a:lnTo>
                  <a:lnTo>
                    <a:pt x="1457" y="213017"/>
                  </a:lnTo>
                  <a:lnTo>
                    <a:pt x="4486" y="184747"/>
                  </a:lnTo>
                  <a:lnTo>
                    <a:pt x="0" y="140075"/>
                  </a:lnTo>
                  <a:lnTo>
                    <a:pt x="16050" y="140056"/>
                  </a:lnTo>
                  <a:lnTo>
                    <a:pt x="22812" y="123758"/>
                  </a:lnTo>
                  <a:lnTo>
                    <a:pt x="29470" y="83515"/>
                  </a:lnTo>
                  <a:lnTo>
                    <a:pt x="24479" y="68437"/>
                  </a:lnTo>
                  <a:lnTo>
                    <a:pt x="29699" y="58931"/>
                  </a:lnTo>
                  <a:lnTo>
                    <a:pt x="52016" y="56483"/>
                  </a:lnTo>
                  <a:lnTo>
                    <a:pt x="56969" y="66389"/>
                  </a:lnTo>
                  <a:lnTo>
                    <a:pt x="75104" y="44167"/>
                  </a:lnTo>
                  <a:lnTo>
                    <a:pt x="68999" y="27089"/>
                  </a:lnTo>
                  <a:lnTo>
                    <a:pt x="67770" y="943"/>
                  </a:lnTo>
                  <a:lnTo>
                    <a:pt x="87954" y="7058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orme libre : forme 5691">
              <a:extLst>
                <a:ext uri="{FF2B5EF4-FFF2-40B4-BE49-F238E27FC236}">
                  <a16:creationId xmlns:a16="http://schemas.microsoft.com/office/drawing/2014/main" id="{2B529B0C-57A2-EB68-BEA1-CB4EA753F00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933542" y="4402935"/>
              <a:ext cx="44234" cy="48053"/>
            </a:xfrm>
            <a:custGeom>
              <a:avLst/>
              <a:gdLst>
                <a:gd name="connsiteX0" fmla="*/ 37910 w 44234"/>
                <a:gd name="connsiteY0" fmla="*/ 0 h 48053"/>
                <a:gd name="connsiteX1" fmla="*/ 44235 w 44234"/>
                <a:gd name="connsiteY1" fmla="*/ 8411 h 48053"/>
                <a:gd name="connsiteX2" fmla="*/ 43396 w 44234"/>
                <a:gd name="connsiteY2" fmla="*/ 19679 h 48053"/>
                <a:gd name="connsiteX3" fmla="*/ 28156 w 44234"/>
                <a:gd name="connsiteY3" fmla="*/ 26165 h 48053"/>
                <a:gd name="connsiteX4" fmla="*/ 39624 w 44234"/>
                <a:gd name="connsiteY4" fmla="*/ 33585 h 48053"/>
                <a:gd name="connsiteX5" fmla="*/ 29785 w 44234"/>
                <a:gd name="connsiteY5" fmla="*/ 48054 h 48053"/>
                <a:gd name="connsiteX6" fmla="*/ 23860 w 44234"/>
                <a:gd name="connsiteY6" fmla="*/ 43234 h 48053"/>
                <a:gd name="connsiteX7" fmla="*/ 17431 w 44234"/>
                <a:gd name="connsiteY7" fmla="*/ 45158 h 48053"/>
                <a:gd name="connsiteX8" fmla="*/ 2515 w 44234"/>
                <a:gd name="connsiteY8" fmla="*/ 44701 h 48053"/>
                <a:gd name="connsiteX9" fmla="*/ 2086 w 44234"/>
                <a:gd name="connsiteY9" fmla="*/ 36471 h 48053"/>
                <a:gd name="connsiteX10" fmla="*/ 0 w 44234"/>
                <a:gd name="connsiteY10" fmla="*/ 29004 h 48053"/>
                <a:gd name="connsiteX11" fmla="*/ 9040 w 44234"/>
                <a:gd name="connsiteY11" fmla="*/ 16288 h 48053"/>
                <a:gd name="connsiteX12" fmla="*/ 18422 w 44234"/>
                <a:gd name="connsiteY12" fmla="*/ 4277 h 48053"/>
                <a:gd name="connsiteX13" fmla="*/ 29861 w 44234"/>
                <a:gd name="connsiteY13" fmla="*/ 6639 h 48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234" h="48053">
                  <a:moveTo>
                    <a:pt x="37910" y="0"/>
                  </a:moveTo>
                  <a:lnTo>
                    <a:pt x="44235" y="8411"/>
                  </a:lnTo>
                  <a:lnTo>
                    <a:pt x="43396" y="19679"/>
                  </a:lnTo>
                  <a:lnTo>
                    <a:pt x="28156" y="26165"/>
                  </a:lnTo>
                  <a:lnTo>
                    <a:pt x="39624" y="33585"/>
                  </a:lnTo>
                  <a:lnTo>
                    <a:pt x="29785" y="48054"/>
                  </a:lnTo>
                  <a:lnTo>
                    <a:pt x="23860" y="43234"/>
                  </a:lnTo>
                  <a:lnTo>
                    <a:pt x="17431" y="45158"/>
                  </a:lnTo>
                  <a:lnTo>
                    <a:pt x="2515" y="44701"/>
                  </a:lnTo>
                  <a:lnTo>
                    <a:pt x="2086" y="36471"/>
                  </a:lnTo>
                  <a:lnTo>
                    <a:pt x="0" y="29004"/>
                  </a:lnTo>
                  <a:lnTo>
                    <a:pt x="9040" y="16288"/>
                  </a:lnTo>
                  <a:lnTo>
                    <a:pt x="18422" y="4277"/>
                  </a:lnTo>
                  <a:lnTo>
                    <a:pt x="29861" y="66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orme libre : forme 5692">
              <a:extLst>
                <a:ext uri="{FF2B5EF4-FFF2-40B4-BE49-F238E27FC236}">
                  <a16:creationId xmlns:a16="http://schemas.microsoft.com/office/drawing/2014/main" id="{F9C10C1B-5DA8-BBA7-5722-F66AA5F65D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036954" y="2853446"/>
              <a:ext cx="122853" cy="140693"/>
            </a:xfrm>
            <a:custGeom>
              <a:avLst/>
              <a:gdLst>
                <a:gd name="connsiteX0" fmla="*/ 122854 w 122853"/>
                <a:gd name="connsiteY0" fmla="*/ 102870 h 140693"/>
                <a:gd name="connsiteX1" fmla="*/ 106823 w 122853"/>
                <a:gd name="connsiteY1" fmla="*/ 140694 h 140693"/>
                <a:gd name="connsiteX2" fmla="*/ 78877 w 122853"/>
                <a:gd name="connsiteY2" fmla="*/ 114395 h 140693"/>
                <a:gd name="connsiteX3" fmla="*/ 75152 w 122853"/>
                <a:gd name="connsiteY3" fmla="*/ 94831 h 140693"/>
                <a:gd name="connsiteX4" fmla="*/ 114328 w 122853"/>
                <a:gd name="connsiteY4" fmla="*/ 79057 h 140693"/>
                <a:gd name="connsiteX5" fmla="*/ 122854 w 122853"/>
                <a:gd name="connsiteY5" fmla="*/ 102870 h 140693"/>
                <a:gd name="connsiteX6" fmla="*/ 75371 w 122853"/>
                <a:gd name="connsiteY6" fmla="*/ 62379 h 140693"/>
                <a:gd name="connsiteX7" fmla="*/ 68847 w 122853"/>
                <a:gd name="connsiteY7" fmla="*/ 80486 h 140693"/>
                <a:gd name="connsiteX8" fmla="*/ 60893 w 122853"/>
                <a:gd name="connsiteY8" fmla="*/ 75295 h 140693"/>
                <a:gd name="connsiteX9" fmla="*/ 41662 w 122853"/>
                <a:gd name="connsiteY9" fmla="*/ 109461 h 140693"/>
                <a:gd name="connsiteX10" fmla="*/ 48920 w 122853"/>
                <a:gd name="connsiteY10" fmla="*/ 132217 h 140693"/>
                <a:gd name="connsiteX11" fmla="*/ 31833 w 122853"/>
                <a:gd name="connsiteY11" fmla="*/ 139275 h 140693"/>
                <a:gd name="connsiteX12" fmla="*/ 11649 w 122853"/>
                <a:gd name="connsiteY12" fmla="*/ 133160 h 140693"/>
                <a:gd name="connsiteX13" fmla="*/ 810 w 122853"/>
                <a:gd name="connsiteY13" fmla="*/ 107223 h 140693"/>
                <a:gd name="connsiteX14" fmla="*/ 0 w 122853"/>
                <a:gd name="connsiteY14" fmla="*/ 58455 h 140693"/>
                <a:gd name="connsiteX15" fmla="*/ 4448 w 122853"/>
                <a:gd name="connsiteY15" fmla="*/ 45358 h 140693"/>
                <a:gd name="connsiteX16" fmla="*/ 12106 w 122853"/>
                <a:gd name="connsiteY16" fmla="*/ 30690 h 140693"/>
                <a:gd name="connsiteX17" fmla="*/ 35633 w 122853"/>
                <a:gd name="connsiteY17" fmla="*/ 27642 h 140693"/>
                <a:gd name="connsiteX18" fmla="*/ 45006 w 122853"/>
                <a:gd name="connsiteY18" fmla="*/ 14030 h 140693"/>
                <a:gd name="connsiteX19" fmla="*/ 66494 w 122853"/>
                <a:gd name="connsiteY19" fmla="*/ 0 h 140693"/>
                <a:gd name="connsiteX20" fmla="*/ 65589 w 122853"/>
                <a:gd name="connsiteY20" fmla="*/ 25489 h 140693"/>
                <a:gd name="connsiteX21" fmla="*/ 57683 w 122853"/>
                <a:gd name="connsiteY21" fmla="*/ 41453 h 140693"/>
                <a:gd name="connsiteX22" fmla="*/ 60884 w 122853"/>
                <a:gd name="connsiteY22" fmla="*/ 55064 h 140693"/>
                <a:gd name="connsiteX23" fmla="*/ 75371 w 122853"/>
                <a:gd name="connsiteY23" fmla="*/ 62379 h 140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2853" h="140693">
                  <a:moveTo>
                    <a:pt x="122854" y="102870"/>
                  </a:moveTo>
                  <a:lnTo>
                    <a:pt x="106823" y="140694"/>
                  </a:lnTo>
                  <a:lnTo>
                    <a:pt x="78877" y="114395"/>
                  </a:lnTo>
                  <a:lnTo>
                    <a:pt x="75152" y="94831"/>
                  </a:lnTo>
                  <a:lnTo>
                    <a:pt x="114328" y="79057"/>
                  </a:lnTo>
                  <a:lnTo>
                    <a:pt x="122854" y="102870"/>
                  </a:lnTo>
                  <a:close/>
                  <a:moveTo>
                    <a:pt x="75371" y="62379"/>
                  </a:moveTo>
                  <a:lnTo>
                    <a:pt x="68847" y="80486"/>
                  </a:lnTo>
                  <a:lnTo>
                    <a:pt x="60893" y="75295"/>
                  </a:lnTo>
                  <a:lnTo>
                    <a:pt x="41662" y="109461"/>
                  </a:lnTo>
                  <a:lnTo>
                    <a:pt x="48920" y="132217"/>
                  </a:lnTo>
                  <a:lnTo>
                    <a:pt x="31833" y="139275"/>
                  </a:lnTo>
                  <a:lnTo>
                    <a:pt x="11649" y="133160"/>
                  </a:lnTo>
                  <a:lnTo>
                    <a:pt x="810" y="107223"/>
                  </a:lnTo>
                  <a:lnTo>
                    <a:pt x="0" y="58455"/>
                  </a:lnTo>
                  <a:lnTo>
                    <a:pt x="4448" y="45358"/>
                  </a:lnTo>
                  <a:lnTo>
                    <a:pt x="12106" y="30690"/>
                  </a:lnTo>
                  <a:lnTo>
                    <a:pt x="35633" y="27642"/>
                  </a:lnTo>
                  <a:lnTo>
                    <a:pt x="45006" y="14030"/>
                  </a:lnTo>
                  <a:lnTo>
                    <a:pt x="66494" y="0"/>
                  </a:lnTo>
                  <a:lnTo>
                    <a:pt x="65589" y="25489"/>
                  </a:lnTo>
                  <a:lnTo>
                    <a:pt x="57683" y="41453"/>
                  </a:lnTo>
                  <a:lnTo>
                    <a:pt x="60884" y="55064"/>
                  </a:lnTo>
                  <a:lnTo>
                    <a:pt x="75371" y="62379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orme libre : forme 5693">
              <a:extLst>
                <a:ext uri="{FF2B5EF4-FFF2-40B4-BE49-F238E27FC236}">
                  <a16:creationId xmlns:a16="http://schemas.microsoft.com/office/drawing/2014/main" id="{17A0F933-5D16-C387-164E-319CBEC85C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899477" y="4204091"/>
              <a:ext cx="96878" cy="64093"/>
            </a:xfrm>
            <a:custGeom>
              <a:avLst/>
              <a:gdLst>
                <a:gd name="connsiteX0" fmla="*/ 6220 w 96878"/>
                <a:gd name="connsiteY0" fmla="*/ 4810 h 64093"/>
                <a:gd name="connsiteX1" fmla="*/ 9563 w 96878"/>
                <a:gd name="connsiteY1" fmla="*/ 0 h 64093"/>
                <a:gd name="connsiteX2" fmla="*/ 30404 w 96878"/>
                <a:gd name="connsiteY2" fmla="*/ 124 h 64093"/>
                <a:gd name="connsiteX3" fmla="*/ 46225 w 96878"/>
                <a:gd name="connsiteY3" fmla="*/ 7391 h 64093"/>
                <a:gd name="connsiteX4" fmla="*/ 53264 w 96878"/>
                <a:gd name="connsiteY4" fmla="*/ 6677 h 64093"/>
                <a:gd name="connsiteX5" fmla="*/ 58112 w 96878"/>
                <a:gd name="connsiteY5" fmla="*/ 16669 h 64093"/>
                <a:gd name="connsiteX6" fmla="*/ 72733 w 96878"/>
                <a:gd name="connsiteY6" fmla="*/ 16107 h 64093"/>
                <a:gd name="connsiteX7" fmla="*/ 71866 w 96878"/>
                <a:gd name="connsiteY7" fmla="*/ 24479 h 64093"/>
                <a:gd name="connsiteX8" fmla="*/ 83744 w 96878"/>
                <a:gd name="connsiteY8" fmla="*/ 25498 h 64093"/>
                <a:gd name="connsiteX9" fmla="*/ 96879 w 96878"/>
                <a:gd name="connsiteY9" fmla="*/ 35786 h 64093"/>
                <a:gd name="connsiteX10" fmla="*/ 86954 w 96878"/>
                <a:gd name="connsiteY10" fmla="*/ 47168 h 64093"/>
                <a:gd name="connsiteX11" fmla="*/ 74257 w 96878"/>
                <a:gd name="connsiteY11" fmla="*/ 41091 h 64093"/>
                <a:gd name="connsiteX12" fmla="*/ 61998 w 96878"/>
                <a:gd name="connsiteY12" fmla="*/ 42263 h 64093"/>
                <a:gd name="connsiteX13" fmla="*/ 53207 w 96878"/>
                <a:gd name="connsiteY13" fmla="*/ 40929 h 64093"/>
                <a:gd name="connsiteX14" fmla="*/ 48396 w 96878"/>
                <a:gd name="connsiteY14" fmla="*/ 46034 h 64093"/>
                <a:gd name="connsiteX15" fmla="*/ 38138 w 96878"/>
                <a:gd name="connsiteY15" fmla="*/ 47749 h 64093"/>
                <a:gd name="connsiteX16" fmla="*/ 34071 w 96878"/>
                <a:gd name="connsiteY16" fmla="*/ 40977 h 64093"/>
                <a:gd name="connsiteX17" fmla="*/ 25251 w 96878"/>
                <a:gd name="connsiteY17" fmla="*/ 44987 h 64093"/>
                <a:gd name="connsiteX18" fmla="*/ 14554 w 96878"/>
                <a:gd name="connsiteY18" fmla="*/ 64094 h 64093"/>
                <a:gd name="connsiteX19" fmla="*/ 7677 w 96878"/>
                <a:gd name="connsiteY19" fmla="*/ 59665 h 64093"/>
                <a:gd name="connsiteX20" fmla="*/ 6325 w 96878"/>
                <a:gd name="connsiteY20" fmla="*/ 51645 h 64093"/>
                <a:gd name="connsiteX21" fmla="*/ 6877 w 96878"/>
                <a:gd name="connsiteY21" fmla="*/ 44053 h 64093"/>
                <a:gd name="connsiteX22" fmla="*/ 0 w 96878"/>
                <a:gd name="connsiteY22" fmla="*/ 35652 h 64093"/>
                <a:gd name="connsiteX23" fmla="*/ 6515 w 96878"/>
                <a:gd name="connsiteY23" fmla="*/ 30928 h 64093"/>
                <a:gd name="connsiteX24" fmla="*/ 8554 w 96878"/>
                <a:gd name="connsiteY24" fmla="*/ 20136 h 6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6878" h="64093">
                  <a:moveTo>
                    <a:pt x="6220" y="4810"/>
                  </a:moveTo>
                  <a:lnTo>
                    <a:pt x="9563" y="0"/>
                  </a:lnTo>
                  <a:lnTo>
                    <a:pt x="30404" y="124"/>
                  </a:lnTo>
                  <a:lnTo>
                    <a:pt x="46225" y="7391"/>
                  </a:lnTo>
                  <a:lnTo>
                    <a:pt x="53264" y="6677"/>
                  </a:lnTo>
                  <a:lnTo>
                    <a:pt x="58112" y="16669"/>
                  </a:lnTo>
                  <a:lnTo>
                    <a:pt x="72733" y="16107"/>
                  </a:lnTo>
                  <a:lnTo>
                    <a:pt x="71866" y="24479"/>
                  </a:lnTo>
                  <a:lnTo>
                    <a:pt x="83744" y="25498"/>
                  </a:lnTo>
                  <a:lnTo>
                    <a:pt x="96879" y="35786"/>
                  </a:lnTo>
                  <a:lnTo>
                    <a:pt x="86954" y="47168"/>
                  </a:lnTo>
                  <a:lnTo>
                    <a:pt x="74257" y="41091"/>
                  </a:lnTo>
                  <a:lnTo>
                    <a:pt x="61998" y="42263"/>
                  </a:lnTo>
                  <a:lnTo>
                    <a:pt x="53207" y="40929"/>
                  </a:lnTo>
                  <a:lnTo>
                    <a:pt x="48396" y="46034"/>
                  </a:lnTo>
                  <a:lnTo>
                    <a:pt x="38138" y="47749"/>
                  </a:lnTo>
                  <a:lnTo>
                    <a:pt x="34071" y="40977"/>
                  </a:lnTo>
                  <a:lnTo>
                    <a:pt x="25251" y="44987"/>
                  </a:lnTo>
                  <a:lnTo>
                    <a:pt x="14554" y="64094"/>
                  </a:lnTo>
                  <a:lnTo>
                    <a:pt x="7677" y="59665"/>
                  </a:lnTo>
                  <a:lnTo>
                    <a:pt x="6325" y="51645"/>
                  </a:lnTo>
                  <a:lnTo>
                    <a:pt x="6877" y="44053"/>
                  </a:lnTo>
                  <a:lnTo>
                    <a:pt x="0" y="35652"/>
                  </a:lnTo>
                  <a:lnTo>
                    <a:pt x="6515" y="30928"/>
                  </a:lnTo>
                  <a:lnTo>
                    <a:pt x="8554" y="201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orme libre : forme 5694">
              <a:extLst>
                <a:ext uri="{FF2B5EF4-FFF2-40B4-BE49-F238E27FC236}">
                  <a16:creationId xmlns:a16="http://schemas.microsoft.com/office/drawing/2014/main" id="{973A2FB0-A543-64D4-8A9E-C17BBB414F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588965" y="3679892"/>
              <a:ext cx="552402" cy="547497"/>
            </a:xfrm>
            <a:custGeom>
              <a:avLst/>
              <a:gdLst>
                <a:gd name="connsiteX0" fmla="*/ 552402 w 552402"/>
                <a:gd name="connsiteY0" fmla="*/ 421691 h 547497"/>
                <a:gd name="connsiteX1" fmla="*/ 460886 w 552402"/>
                <a:gd name="connsiteY1" fmla="*/ 476479 h 547497"/>
                <a:gd name="connsiteX2" fmla="*/ 383562 w 552402"/>
                <a:gd name="connsiteY2" fmla="*/ 532200 h 547497"/>
                <a:gd name="connsiteX3" fmla="*/ 345900 w 552402"/>
                <a:gd name="connsiteY3" fmla="*/ 544744 h 547497"/>
                <a:gd name="connsiteX4" fmla="*/ 316278 w 552402"/>
                <a:gd name="connsiteY4" fmla="*/ 547497 h 547497"/>
                <a:gd name="connsiteX5" fmla="*/ 315973 w 552402"/>
                <a:gd name="connsiteY5" fmla="*/ 529590 h 547497"/>
                <a:gd name="connsiteX6" fmla="*/ 303600 w 552402"/>
                <a:gd name="connsiteY6" fmla="*/ 525009 h 547497"/>
                <a:gd name="connsiteX7" fmla="*/ 286979 w 552402"/>
                <a:gd name="connsiteY7" fmla="*/ 516922 h 547497"/>
                <a:gd name="connsiteX8" fmla="*/ 280625 w 552402"/>
                <a:gd name="connsiteY8" fmla="*/ 503654 h 547497"/>
                <a:gd name="connsiteX9" fmla="*/ 190538 w 552402"/>
                <a:gd name="connsiteY9" fmla="*/ 441293 h 547497"/>
                <a:gd name="connsiteX10" fmla="*/ 100451 w 552402"/>
                <a:gd name="connsiteY10" fmla="*/ 377914 h 547497"/>
                <a:gd name="connsiteX11" fmla="*/ 0 w 552402"/>
                <a:gd name="connsiteY11" fmla="*/ 306238 h 547497"/>
                <a:gd name="connsiteX12" fmla="*/ 514 w 552402"/>
                <a:gd name="connsiteY12" fmla="*/ 300447 h 547497"/>
                <a:gd name="connsiteX13" fmla="*/ 505 w 552402"/>
                <a:gd name="connsiteY13" fmla="*/ 298437 h 547497"/>
                <a:gd name="connsiteX14" fmla="*/ 276 w 552402"/>
                <a:gd name="connsiteY14" fmla="*/ 262700 h 547497"/>
                <a:gd name="connsiteX15" fmla="*/ 43405 w 552402"/>
                <a:gd name="connsiteY15" fmla="*/ 240230 h 547497"/>
                <a:gd name="connsiteX16" fmla="*/ 70075 w 552402"/>
                <a:gd name="connsiteY16" fmla="*/ 235572 h 547497"/>
                <a:gd name="connsiteX17" fmla="*/ 91935 w 552402"/>
                <a:gd name="connsiteY17" fmla="*/ 227333 h 547497"/>
                <a:gd name="connsiteX18" fmla="*/ 102146 w 552402"/>
                <a:gd name="connsiteY18" fmla="*/ 211931 h 547497"/>
                <a:gd name="connsiteX19" fmla="*/ 133369 w 552402"/>
                <a:gd name="connsiteY19" fmla="*/ 199701 h 547497"/>
                <a:gd name="connsiteX20" fmla="*/ 134521 w 552402"/>
                <a:gd name="connsiteY20" fmla="*/ 176679 h 547497"/>
                <a:gd name="connsiteX21" fmla="*/ 149971 w 552402"/>
                <a:gd name="connsiteY21" fmla="*/ 173955 h 547497"/>
                <a:gd name="connsiteX22" fmla="*/ 162058 w 552402"/>
                <a:gd name="connsiteY22" fmla="*/ 162373 h 547497"/>
                <a:gd name="connsiteX23" fmla="*/ 197005 w 552402"/>
                <a:gd name="connsiteY23" fmla="*/ 157086 h 547497"/>
                <a:gd name="connsiteX24" fmla="*/ 201901 w 552402"/>
                <a:gd name="connsiteY24" fmla="*/ 144847 h 547497"/>
                <a:gd name="connsiteX25" fmla="*/ 194862 w 552402"/>
                <a:gd name="connsiteY25" fmla="*/ 138132 h 547497"/>
                <a:gd name="connsiteX26" fmla="*/ 185642 w 552402"/>
                <a:gd name="connsiteY26" fmla="*/ 104518 h 547497"/>
                <a:gd name="connsiteX27" fmla="*/ 184052 w 552402"/>
                <a:gd name="connsiteY27" fmla="*/ 84963 h 547497"/>
                <a:gd name="connsiteX28" fmla="*/ 173984 w 552402"/>
                <a:gd name="connsiteY28" fmla="*/ 64218 h 547497"/>
                <a:gd name="connsiteX29" fmla="*/ 199654 w 552402"/>
                <a:gd name="connsiteY29" fmla="*/ 46377 h 547497"/>
                <a:gd name="connsiteX30" fmla="*/ 228533 w 552402"/>
                <a:gd name="connsiteY30" fmla="*/ 40681 h 547497"/>
                <a:gd name="connsiteX31" fmla="*/ 245392 w 552402"/>
                <a:gd name="connsiteY31" fmla="*/ 27108 h 547497"/>
                <a:gd name="connsiteX32" fmla="*/ 271110 w 552402"/>
                <a:gd name="connsiteY32" fmla="*/ 17040 h 547497"/>
                <a:gd name="connsiteX33" fmla="*/ 316373 w 552402"/>
                <a:gd name="connsiteY33" fmla="*/ 11135 h 547497"/>
                <a:gd name="connsiteX34" fmla="*/ 360550 w 552402"/>
                <a:gd name="connsiteY34" fmla="*/ 8430 h 547497"/>
                <a:gd name="connsiteX35" fmla="*/ 374018 w 552402"/>
                <a:gd name="connsiteY35" fmla="*/ 13364 h 547497"/>
                <a:gd name="connsiteX36" fmla="*/ 399164 w 552402"/>
                <a:gd name="connsiteY36" fmla="*/ 257 h 547497"/>
                <a:gd name="connsiteX37" fmla="*/ 427701 w 552402"/>
                <a:gd name="connsiteY37" fmla="*/ 0 h 547497"/>
                <a:gd name="connsiteX38" fmla="*/ 438569 w 552402"/>
                <a:gd name="connsiteY38" fmla="*/ 7753 h 547497"/>
                <a:gd name="connsiteX39" fmla="*/ 456829 w 552402"/>
                <a:gd name="connsiteY39" fmla="*/ 5725 h 547497"/>
                <a:gd name="connsiteX40" fmla="*/ 451399 w 552402"/>
                <a:gd name="connsiteY40" fmla="*/ 22746 h 547497"/>
                <a:gd name="connsiteX41" fmla="*/ 455638 w 552402"/>
                <a:gd name="connsiteY41" fmla="*/ 54064 h 547497"/>
                <a:gd name="connsiteX42" fmla="*/ 449351 w 552402"/>
                <a:gd name="connsiteY42" fmla="*/ 80848 h 547497"/>
                <a:gd name="connsiteX43" fmla="*/ 432892 w 552402"/>
                <a:gd name="connsiteY43" fmla="*/ 98822 h 547497"/>
                <a:gd name="connsiteX44" fmla="*/ 435245 w 552402"/>
                <a:gd name="connsiteY44" fmla="*/ 122892 h 547497"/>
                <a:gd name="connsiteX45" fmla="*/ 457085 w 552402"/>
                <a:gd name="connsiteY45" fmla="*/ 141789 h 547497"/>
                <a:gd name="connsiteX46" fmla="*/ 457314 w 552402"/>
                <a:gd name="connsiteY46" fmla="*/ 149428 h 547497"/>
                <a:gd name="connsiteX47" fmla="*/ 473783 w 552402"/>
                <a:gd name="connsiteY47" fmla="*/ 162116 h 547497"/>
                <a:gd name="connsiteX48" fmla="*/ 485165 w 552402"/>
                <a:gd name="connsiteY48" fmla="*/ 217904 h 547497"/>
                <a:gd name="connsiteX49" fmla="*/ 493814 w 552402"/>
                <a:gd name="connsiteY49" fmla="*/ 244955 h 547497"/>
                <a:gd name="connsiteX50" fmla="*/ 495262 w 552402"/>
                <a:gd name="connsiteY50" fmla="*/ 259099 h 547497"/>
                <a:gd name="connsiteX51" fmla="*/ 490556 w 552402"/>
                <a:gd name="connsiteY51" fmla="*/ 283769 h 547497"/>
                <a:gd name="connsiteX52" fmla="*/ 492490 w 552402"/>
                <a:gd name="connsiteY52" fmla="*/ 297485 h 547497"/>
                <a:gd name="connsiteX53" fmla="*/ 489090 w 552402"/>
                <a:gd name="connsiteY53" fmla="*/ 313858 h 547497"/>
                <a:gd name="connsiteX54" fmla="*/ 491423 w 552402"/>
                <a:gd name="connsiteY54" fmla="*/ 332575 h 547497"/>
                <a:gd name="connsiteX55" fmla="*/ 480822 w 552402"/>
                <a:gd name="connsiteY55" fmla="*/ 344957 h 547497"/>
                <a:gd name="connsiteX56" fmla="*/ 496614 w 552402"/>
                <a:gd name="connsiteY56" fmla="*/ 366446 h 547497"/>
                <a:gd name="connsiteX57" fmla="*/ 497614 w 552402"/>
                <a:gd name="connsiteY57" fmla="*/ 379019 h 547497"/>
                <a:gd name="connsiteX58" fmla="*/ 507121 w 552402"/>
                <a:gd name="connsiteY58" fmla="*/ 395316 h 547497"/>
                <a:gd name="connsiteX59" fmla="*/ 519598 w 552402"/>
                <a:gd name="connsiteY59" fmla="*/ 389973 h 547497"/>
                <a:gd name="connsiteX60" fmla="*/ 540677 w 552402"/>
                <a:gd name="connsiteY60" fmla="*/ 403508 h 547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552402" h="547497">
                  <a:moveTo>
                    <a:pt x="552402" y="421691"/>
                  </a:moveTo>
                  <a:lnTo>
                    <a:pt x="460886" y="476479"/>
                  </a:lnTo>
                  <a:lnTo>
                    <a:pt x="383562" y="532200"/>
                  </a:lnTo>
                  <a:lnTo>
                    <a:pt x="345900" y="544744"/>
                  </a:lnTo>
                  <a:lnTo>
                    <a:pt x="316278" y="547497"/>
                  </a:lnTo>
                  <a:lnTo>
                    <a:pt x="315973" y="529590"/>
                  </a:lnTo>
                  <a:lnTo>
                    <a:pt x="303600" y="525009"/>
                  </a:lnTo>
                  <a:lnTo>
                    <a:pt x="286979" y="516922"/>
                  </a:lnTo>
                  <a:lnTo>
                    <a:pt x="280625" y="503654"/>
                  </a:lnTo>
                  <a:lnTo>
                    <a:pt x="190538" y="441293"/>
                  </a:lnTo>
                  <a:lnTo>
                    <a:pt x="100451" y="377914"/>
                  </a:lnTo>
                  <a:lnTo>
                    <a:pt x="0" y="306238"/>
                  </a:lnTo>
                  <a:lnTo>
                    <a:pt x="514" y="300447"/>
                  </a:lnTo>
                  <a:lnTo>
                    <a:pt x="505" y="298437"/>
                  </a:lnTo>
                  <a:lnTo>
                    <a:pt x="276" y="262700"/>
                  </a:lnTo>
                  <a:lnTo>
                    <a:pt x="43405" y="240230"/>
                  </a:lnTo>
                  <a:lnTo>
                    <a:pt x="70075" y="235572"/>
                  </a:lnTo>
                  <a:lnTo>
                    <a:pt x="91935" y="227333"/>
                  </a:lnTo>
                  <a:lnTo>
                    <a:pt x="102146" y="211931"/>
                  </a:lnTo>
                  <a:lnTo>
                    <a:pt x="133369" y="199701"/>
                  </a:lnTo>
                  <a:lnTo>
                    <a:pt x="134521" y="176679"/>
                  </a:lnTo>
                  <a:lnTo>
                    <a:pt x="149971" y="173955"/>
                  </a:lnTo>
                  <a:lnTo>
                    <a:pt x="162058" y="162373"/>
                  </a:lnTo>
                  <a:lnTo>
                    <a:pt x="197005" y="157086"/>
                  </a:lnTo>
                  <a:lnTo>
                    <a:pt x="201901" y="144847"/>
                  </a:lnTo>
                  <a:lnTo>
                    <a:pt x="194862" y="138132"/>
                  </a:lnTo>
                  <a:lnTo>
                    <a:pt x="185642" y="104518"/>
                  </a:lnTo>
                  <a:lnTo>
                    <a:pt x="184052" y="84963"/>
                  </a:lnTo>
                  <a:lnTo>
                    <a:pt x="173984" y="64218"/>
                  </a:lnTo>
                  <a:lnTo>
                    <a:pt x="199654" y="46377"/>
                  </a:lnTo>
                  <a:lnTo>
                    <a:pt x="228533" y="40681"/>
                  </a:lnTo>
                  <a:lnTo>
                    <a:pt x="245392" y="27108"/>
                  </a:lnTo>
                  <a:lnTo>
                    <a:pt x="271110" y="17040"/>
                  </a:lnTo>
                  <a:lnTo>
                    <a:pt x="316373" y="11135"/>
                  </a:lnTo>
                  <a:lnTo>
                    <a:pt x="360550" y="8430"/>
                  </a:lnTo>
                  <a:lnTo>
                    <a:pt x="374018" y="13364"/>
                  </a:lnTo>
                  <a:lnTo>
                    <a:pt x="399164" y="257"/>
                  </a:lnTo>
                  <a:lnTo>
                    <a:pt x="427701" y="0"/>
                  </a:lnTo>
                  <a:lnTo>
                    <a:pt x="438569" y="7753"/>
                  </a:lnTo>
                  <a:lnTo>
                    <a:pt x="456829" y="5725"/>
                  </a:lnTo>
                  <a:lnTo>
                    <a:pt x="451399" y="22746"/>
                  </a:lnTo>
                  <a:lnTo>
                    <a:pt x="455638" y="54064"/>
                  </a:lnTo>
                  <a:lnTo>
                    <a:pt x="449351" y="80848"/>
                  </a:lnTo>
                  <a:lnTo>
                    <a:pt x="432892" y="98822"/>
                  </a:lnTo>
                  <a:lnTo>
                    <a:pt x="435245" y="122892"/>
                  </a:lnTo>
                  <a:lnTo>
                    <a:pt x="457085" y="141789"/>
                  </a:lnTo>
                  <a:lnTo>
                    <a:pt x="457314" y="149428"/>
                  </a:lnTo>
                  <a:lnTo>
                    <a:pt x="473783" y="162116"/>
                  </a:lnTo>
                  <a:lnTo>
                    <a:pt x="485165" y="217904"/>
                  </a:lnTo>
                  <a:lnTo>
                    <a:pt x="493814" y="244955"/>
                  </a:lnTo>
                  <a:lnTo>
                    <a:pt x="495262" y="259099"/>
                  </a:lnTo>
                  <a:lnTo>
                    <a:pt x="490556" y="283769"/>
                  </a:lnTo>
                  <a:lnTo>
                    <a:pt x="492490" y="297485"/>
                  </a:lnTo>
                  <a:lnTo>
                    <a:pt x="489090" y="313858"/>
                  </a:lnTo>
                  <a:lnTo>
                    <a:pt x="491423" y="332575"/>
                  </a:lnTo>
                  <a:lnTo>
                    <a:pt x="480822" y="344957"/>
                  </a:lnTo>
                  <a:lnTo>
                    <a:pt x="496614" y="366446"/>
                  </a:lnTo>
                  <a:lnTo>
                    <a:pt x="497614" y="379019"/>
                  </a:lnTo>
                  <a:lnTo>
                    <a:pt x="507121" y="395316"/>
                  </a:lnTo>
                  <a:lnTo>
                    <a:pt x="519598" y="389973"/>
                  </a:lnTo>
                  <a:lnTo>
                    <a:pt x="540677" y="4035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orme libre : forme 5695">
              <a:extLst>
                <a:ext uri="{FF2B5EF4-FFF2-40B4-BE49-F238E27FC236}">
                  <a16:creationId xmlns:a16="http://schemas.microsoft.com/office/drawing/2014/main" id="{4065C408-8FED-4829-4CD6-134177678C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658514" y="4706020"/>
              <a:ext cx="153142" cy="168354"/>
            </a:xfrm>
            <a:custGeom>
              <a:avLst/>
              <a:gdLst>
                <a:gd name="connsiteX0" fmla="*/ 17774 w 153142"/>
                <a:gd name="connsiteY0" fmla="*/ 127016 h 168354"/>
                <a:gd name="connsiteX1" fmla="*/ 31985 w 153142"/>
                <a:gd name="connsiteY1" fmla="*/ 107156 h 168354"/>
                <a:gd name="connsiteX2" fmla="*/ 26203 w 153142"/>
                <a:gd name="connsiteY2" fmla="*/ 95564 h 168354"/>
                <a:gd name="connsiteX3" fmla="*/ 16002 w 153142"/>
                <a:gd name="connsiteY3" fmla="*/ 107890 h 168354"/>
                <a:gd name="connsiteX4" fmla="*/ 0 w 153142"/>
                <a:gd name="connsiteY4" fmla="*/ 96260 h 168354"/>
                <a:gd name="connsiteX5" fmla="*/ 5420 w 153142"/>
                <a:gd name="connsiteY5" fmla="*/ 88773 h 168354"/>
                <a:gd name="connsiteX6" fmla="*/ 914 w 153142"/>
                <a:gd name="connsiteY6" fmla="*/ 64694 h 168354"/>
                <a:gd name="connsiteX7" fmla="*/ 10268 w 153142"/>
                <a:gd name="connsiteY7" fmla="*/ 60684 h 168354"/>
                <a:gd name="connsiteX8" fmla="*/ 15183 w 153142"/>
                <a:gd name="connsiteY8" fmla="*/ 44158 h 168354"/>
                <a:gd name="connsiteX9" fmla="*/ 25289 w 153142"/>
                <a:gd name="connsiteY9" fmla="*/ 27079 h 168354"/>
                <a:gd name="connsiteX10" fmla="*/ 23431 w 153142"/>
                <a:gd name="connsiteY10" fmla="*/ 16250 h 168354"/>
                <a:gd name="connsiteX11" fmla="*/ 38062 w 153142"/>
                <a:gd name="connsiteY11" fmla="*/ 10554 h 168354"/>
                <a:gd name="connsiteX12" fmla="*/ 56417 w 153142"/>
                <a:gd name="connsiteY12" fmla="*/ 0 h 168354"/>
                <a:gd name="connsiteX13" fmla="*/ 83134 w 153142"/>
                <a:gd name="connsiteY13" fmla="*/ 15145 h 168354"/>
                <a:gd name="connsiteX14" fmla="*/ 88106 w 153142"/>
                <a:gd name="connsiteY14" fmla="*/ 14726 h 168354"/>
                <a:gd name="connsiteX15" fmla="*/ 94621 w 153142"/>
                <a:gd name="connsiteY15" fmla="*/ 26136 h 168354"/>
                <a:gd name="connsiteX16" fmla="*/ 117281 w 153142"/>
                <a:gd name="connsiteY16" fmla="*/ 29813 h 168354"/>
                <a:gd name="connsiteX17" fmla="*/ 124873 w 153142"/>
                <a:gd name="connsiteY17" fmla="*/ 25603 h 168354"/>
                <a:gd name="connsiteX18" fmla="*/ 137979 w 153142"/>
                <a:gd name="connsiteY18" fmla="*/ 34385 h 168354"/>
                <a:gd name="connsiteX19" fmla="*/ 149409 w 153142"/>
                <a:gd name="connsiteY19" fmla="*/ 40672 h 168354"/>
                <a:gd name="connsiteX20" fmla="*/ 153143 w 153142"/>
                <a:gd name="connsiteY20" fmla="*/ 60817 h 168354"/>
                <a:gd name="connsiteX21" fmla="*/ 144828 w 153142"/>
                <a:gd name="connsiteY21" fmla="*/ 78067 h 168354"/>
                <a:gd name="connsiteX22" fmla="*/ 115700 w 153142"/>
                <a:gd name="connsiteY22" fmla="*/ 105861 h 168354"/>
                <a:gd name="connsiteX23" fmla="*/ 83591 w 153142"/>
                <a:gd name="connsiteY23" fmla="*/ 116338 h 168354"/>
                <a:gd name="connsiteX24" fmla="*/ 67227 w 153142"/>
                <a:gd name="connsiteY24" fmla="*/ 139465 h 168354"/>
                <a:gd name="connsiteX25" fmla="*/ 62170 w 153142"/>
                <a:gd name="connsiteY25" fmla="*/ 157401 h 168354"/>
                <a:gd name="connsiteX26" fmla="*/ 47073 w 153142"/>
                <a:gd name="connsiteY26" fmla="*/ 168354 h 168354"/>
                <a:gd name="connsiteX27" fmla="*/ 35862 w 153142"/>
                <a:gd name="connsiteY27" fmla="*/ 154915 h 168354"/>
                <a:gd name="connsiteX28" fmla="*/ 25079 w 153142"/>
                <a:gd name="connsiteY28" fmla="*/ 152038 h 168354"/>
                <a:gd name="connsiteX29" fmla="*/ 14040 w 153142"/>
                <a:gd name="connsiteY29" fmla="*/ 154162 h 168354"/>
                <a:gd name="connsiteX30" fmla="*/ 13316 w 153142"/>
                <a:gd name="connsiteY30" fmla="*/ 144409 h 168354"/>
                <a:gd name="connsiteX31" fmla="*/ 20936 w 153142"/>
                <a:gd name="connsiteY31" fmla="*/ 138074 h 16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53142" h="168354">
                  <a:moveTo>
                    <a:pt x="17774" y="127016"/>
                  </a:moveTo>
                  <a:lnTo>
                    <a:pt x="31985" y="107156"/>
                  </a:lnTo>
                  <a:lnTo>
                    <a:pt x="26203" y="95564"/>
                  </a:lnTo>
                  <a:lnTo>
                    <a:pt x="16002" y="107890"/>
                  </a:lnTo>
                  <a:lnTo>
                    <a:pt x="0" y="96260"/>
                  </a:lnTo>
                  <a:lnTo>
                    <a:pt x="5420" y="88773"/>
                  </a:lnTo>
                  <a:lnTo>
                    <a:pt x="914" y="64694"/>
                  </a:lnTo>
                  <a:lnTo>
                    <a:pt x="10268" y="60684"/>
                  </a:lnTo>
                  <a:lnTo>
                    <a:pt x="15183" y="44158"/>
                  </a:lnTo>
                  <a:lnTo>
                    <a:pt x="25289" y="27079"/>
                  </a:lnTo>
                  <a:lnTo>
                    <a:pt x="23431" y="16250"/>
                  </a:lnTo>
                  <a:lnTo>
                    <a:pt x="38062" y="10554"/>
                  </a:lnTo>
                  <a:lnTo>
                    <a:pt x="56417" y="0"/>
                  </a:lnTo>
                  <a:lnTo>
                    <a:pt x="83134" y="15145"/>
                  </a:lnTo>
                  <a:lnTo>
                    <a:pt x="88106" y="14726"/>
                  </a:lnTo>
                  <a:lnTo>
                    <a:pt x="94621" y="26136"/>
                  </a:lnTo>
                  <a:lnTo>
                    <a:pt x="117281" y="29813"/>
                  </a:lnTo>
                  <a:lnTo>
                    <a:pt x="124873" y="25603"/>
                  </a:lnTo>
                  <a:lnTo>
                    <a:pt x="137979" y="34385"/>
                  </a:lnTo>
                  <a:lnTo>
                    <a:pt x="149409" y="40672"/>
                  </a:lnTo>
                  <a:lnTo>
                    <a:pt x="153143" y="60817"/>
                  </a:lnTo>
                  <a:lnTo>
                    <a:pt x="144828" y="78067"/>
                  </a:lnTo>
                  <a:lnTo>
                    <a:pt x="115700" y="105861"/>
                  </a:lnTo>
                  <a:lnTo>
                    <a:pt x="83591" y="116338"/>
                  </a:lnTo>
                  <a:lnTo>
                    <a:pt x="67227" y="139465"/>
                  </a:lnTo>
                  <a:lnTo>
                    <a:pt x="62170" y="157401"/>
                  </a:lnTo>
                  <a:lnTo>
                    <a:pt x="47073" y="168354"/>
                  </a:lnTo>
                  <a:lnTo>
                    <a:pt x="35862" y="154915"/>
                  </a:lnTo>
                  <a:lnTo>
                    <a:pt x="25079" y="152038"/>
                  </a:lnTo>
                  <a:lnTo>
                    <a:pt x="14040" y="154162"/>
                  </a:lnTo>
                  <a:lnTo>
                    <a:pt x="13316" y="144409"/>
                  </a:lnTo>
                  <a:lnTo>
                    <a:pt x="20936" y="1380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orme libre : forme 5696">
              <a:extLst>
                <a:ext uri="{FF2B5EF4-FFF2-40B4-BE49-F238E27FC236}">
                  <a16:creationId xmlns:a16="http://schemas.microsoft.com/office/drawing/2014/main" id="{5A16A20F-48BE-AF84-58A9-A6F98461D8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444224" y="2756977"/>
              <a:ext cx="127978" cy="109175"/>
            </a:xfrm>
            <a:custGeom>
              <a:avLst/>
              <a:gdLst>
                <a:gd name="connsiteX0" fmla="*/ 25994 w 127978"/>
                <a:gd name="connsiteY0" fmla="*/ 93297 h 109175"/>
                <a:gd name="connsiteX1" fmla="*/ 29090 w 127978"/>
                <a:gd name="connsiteY1" fmla="*/ 63541 h 109175"/>
                <a:gd name="connsiteX2" fmla="*/ 19269 w 127978"/>
                <a:gd name="connsiteY2" fmla="*/ 69942 h 109175"/>
                <a:gd name="connsiteX3" fmla="*/ 2324 w 127978"/>
                <a:gd name="connsiteY3" fmla="*/ 51845 h 109175"/>
                <a:gd name="connsiteX4" fmla="*/ 0 w 127978"/>
                <a:gd name="connsiteY4" fmla="*/ 22193 h 109175"/>
                <a:gd name="connsiteX5" fmla="*/ 33776 w 127978"/>
                <a:gd name="connsiteY5" fmla="*/ 7639 h 109175"/>
                <a:gd name="connsiteX6" fmla="*/ 67418 w 127978"/>
                <a:gd name="connsiteY6" fmla="*/ 0 h 109175"/>
                <a:gd name="connsiteX7" fmla="*/ 96394 w 127978"/>
                <a:gd name="connsiteY7" fmla="*/ 8687 h 109175"/>
                <a:gd name="connsiteX8" fmla="*/ 123959 w 127978"/>
                <a:gd name="connsiteY8" fmla="*/ 7134 h 109175"/>
                <a:gd name="connsiteX9" fmla="*/ 127978 w 127978"/>
                <a:gd name="connsiteY9" fmla="*/ 16278 h 109175"/>
                <a:gd name="connsiteX10" fmla="*/ 108976 w 127978"/>
                <a:gd name="connsiteY10" fmla="*/ 46111 h 109175"/>
                <a:gd name="connsiteX11" fmla="*/ 116891 w 127978"/>
                <a:gd name="connsiteY11" fmla="*/ 93374 h 109175"/>
                <a:gd name="connsiteX12" fmla="*/ 105452 w 127978"/>
                <a:gd name="connsiteY12" fmla="*/ 109176 h 109175"/>
                <a:gd name="connsiteX13" fmla="*/ 83430 w 127978"/>
                <a:gd name="connsiteY13" fmla="*/ 109090 h 109175"/>
                <a:gd name="connsiteX14" fmla="*/ 60446 w 127978"/>
                <a:gd name="connsiteY14" fmla="*/ 90592 h 109175"/>
                <a:gd name="connsiteX15" fmla="*/ 48739 w 127978"/>
                <a:gd name="connsiteY15" fmla="*/ 84439 h 10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7978" h="109175">
                  <a:moveTo>
                    <a:pt x="25994" y="93297"/>
                  </a:moveTo>
                  <a:lnTo>
                    <a:pt x="29090" y="63541"/>
                  </a:lnTo>
                  <a:lnTo>
                    <a:pt x="19269" y="69942"/>
                  </a:lnTo>
                  <a:lnTo>
                    <a:pt x="2324" y="51845"/>
                  </a:lnTo>
                  <a:lnTo>
                    <a:pt x="0" y="22193"/>
                  </a:lnTo>
                  <a:lnTo>
                    <a:pt x="33776" y="7639"/>
                  </a:lnTo>
                  <a:lnTo>
                    <a:pt x="67418" y="0"/>
                  </a:lnTo>
                  <a:lnTo>
                    <a:pt x="96394" y="8687"/>
                  </a:lnTo>
                  <a:lnTo>
                    <a:pt x="123959" y="7134"/>
                  </a:lnTo>
                  <a:lnTo>
                    <a:pt x="127978" y="16278"/>
                  </a:lnTo>
                  <a:lnTo>
                    <a:pt x="108976" y="46111"/>
                  </a:lnTo>
                  <a:lnTo>
                    <a:pt x="116891" y="93374"/>
                  </a:lnTo>
                  <a:lnTo>
                    <a:pt x="105452" y="109176"/>
                  </a:lnTo>
                  <a:lnTo>
                    <a:pt x="83430" y="109090"/>
                  </a:lnTo>
                  <a:lnTo>
                    <a:pt x="60446" y="90592"/>
                  </a:lnTo>
                  <a:lnTo>
                    <a:pt x="48739" y="844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orme libre : forme 5697">
              <a:extLst>
                <a:ext uri="{FF2B5EF4-FFF2-40B4-BE49-F238E27FC236}">
                  <a16:creationId xmlns:a16="http://schemas.microsoft.com/office/drawing/2014/main" id="{8F0B20E1-A0CB-BACE-B3DF-DA98C94EDB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480552" y="3858181"/>
              <a:ext cx="324926" cy="285768"/>
            </a:xfrm>
            <a:custGeom>
              <a:avLst/>
              <a:gdLst>
                <a:gd name="connsiteX0" fmla="*/ 273015 w 324926"/>
                <a:gd name="connsiteY0" fmla="*/ 64322 h 285768"/>
                <a:gd name="connsiteX1" fmla="*/ 265509 w 324926"/>
                <a:gd name="connsiteY1" fmla="*/ 76571 h 285768"/>
                <a:gd name="connsiteX2" fmla="*/ 259766 w 324926"/>
                <a:gd name="connsiteY2" fmla="*/ 99460 h 285768"/>
                <a:gd name="connsiteX3" fmla="*/ 252499 w 324926"/>
                <a:gd name="connsiteY3" fmla="*/ 115138 h 285768"/>
                <a:gd name="connsiteX4" fmla="*/ 246269 w 324926"/>
                <a:gd name="connsiteY4" fmla="*/ 120377 h 285768"/>
                <a:gd name="connsiteX5" fmla="*/ 237373 w 324926"/>
                <a:gd name="connsiteY5" fmla="*/ 110680 h 285768"/>
                <a:gd name="connsiteX6" fmla="*/ 225323 w 324926"/>
                <a:gd name="connsiteY6" fmla="*/ 97231 h 285768"/>
                <a:gd name="connsiteX7" fmla="*/ 206264 w 324926"/>
                <a:gd name="connsiteY7" fmla="*/ 53626 h 285768"/>
                <a:gd name="connsiteX8" fmla="*/ 203521 w 324926"/>
                <a:gd name="connsiteY8" fmla="*/ 56407 h 285768"/>
                <a:gd name="connsiteX9" fmla="*/ 214589 w 324926"/>
                <a:gd name="connsiteY9" fmla="*/ 88535 h 285768"/>
                <a:gd name="connsiteX10" fmla="*/ 230981 w 324926"/>
                <a:gd name="connsiteY10" fmla="*/ 118843 h 285768"/>
                <a:gd name="connsiteX11" fmla="*/ 251165 w 324926"/>
                <a:gd name="connsiteY11" fmla="*/ 165249 h 285768"/>
                <a:gd name="connsiteX12" fmla="*/ 261033 w 324926"/>
                <a:gd name="connsiteY12" fmla="*/ 181299 h 285768"/>
                <a:gd name="connsiteX13" fmla="*/ 269605 w 324926"/>
                <a:gd name="connsiteY13" fmla="*/ 197891 h 285768"/>
                <a:gd name="connsiteX14" fmla="*/ 293570 w 324926"/>
                <a:gd name="connsiteY14" fmla="*/ 230200 h 285768"/>
                <a:gd name="connsiteX15" fmla="*/ 288264 w 324926"/>
                <a:gd name="connsiteY15" fmla="*/ 235267 h 285768"/>
                <a:gd name="connsiteX16" fmla="*/ 289122 w 324926"/>
                <a:gd name="connsiteY16" fmla="*/ 254070 h 285768"/>
                <a:gd name="connsiteX17" fmla="*/ 320230 w 324926"/>
                <a:gd name="connsiteY17" fmla="*/ 279902 h 285768"/>
                <a:gd name="connsiteX18" fmla="*/ 324926 w 324926"/>
                <a:gd name="connsiteY18" fmla="*/ 285769 h 285768"/>
                <a:gd name="connsiteX19" fmla="*/ 218999 w 324926"/>
                <a:gd name="connsiteY19" fmla="*/ 285769 h 285768"/>
                <a:gd name="connsiteX20" fmla="*/ 115376 w 324926"/>
                <a:gd name="connsiteY20" fmla="*/ 285769 h 285768"/>
                <a:gd name="connsiteX21" fmla="*/ 8011 w 324926"/>
                <a:gd name="connsiteY21" fmla="*/ 285769 h 285768"/>
                <a:gd name="connsiteX22" fmla="*/ 8011 w 324926"/>
                <a:gd name="connsiteY22" fmla="*/ 178822 h 285768"/>
                <a:gd name="connsiteX23" fmla="*/ 8011 w 324926"/>
                <a:gd name="connsiteY23" fmla="*/ 72333 h 285768"/>
                <a:gd name="connsiteX24" fmla="*/ 0 w 324926"/>
                <a:gd name="connsiteY24" fmla="*/ 47701 h 285768"/>
                <a:gd name="connsiteX25" fmla="*/ 6877 w 324926"/>
                <a:gd name="connsiteY25" fmla="*/ 28689 h 285768"/>
                <a:gd name="connsiteX26" fmla="*/ 2743 w 324926"/>
                <a:gd name="connsiteY26" fmla="*/ 15449 h 285768"/>
                <a:gd name="connsiteX27" fmla="*/ 12421 w 324926"/>
                <a:gd name="connsiteY27" fmla="*/ 524 h 285768"/>
                <a:gd name="connsiteX28" fmla="*/ 47949 w 324926"/>
                <a:gd name="connsiteY28" fmla="*/ 0 h 285768"/>
                <a:gd name="connsiteX29" fmla="*/ 73647 w 324926"/>
                <a:gd name="connsiteY29" fmla="*/ 8239 h 285768"/>
                <a:gd name="connsiteX30" fmla="*/ 100165 w 324926"/>
                <a:gd name="connsiteY30" fmla="*/ 17421 h 285768"/>
                <a:gd name="connsiteX31" fmla="*/ 112529 w 324926"/>
                <a:gd name="connsiteY31" fmla="*/ 22241 h 285768"/>
                <a:gd name="connsiteX32" fmla="*/ 133093 w 324926"/>
                <a:gd name="connsiteY32" fmla="*/ 12420 h 285768"/>
                <a:gd name="connsiteX33" fmla="*/ 144085 w 324926"/>
                <a:gd name="connsiteY33" fmla="*/ 3505 h 285768"/>
                <a:gd name="connsiteX34" fmla="*/ 167640 w 324926"/>
                <a:gd name="connsiteY34" fmla="*/ 933 h 285768"/>
                <a:gd name="connsiteX35" fmla="*/ 186633 w 324926"/>
                <a:gd name="connsiteY35" fmla="*/ 4867 h 285768"/>
                <a:gd name="connsiteX36" fmla="*/ 193900 w 324926"/>
                <a:gd name="connsiteY36" fmla="*/ 20279 h 285768"/>
                <a:gd name="connsiteX37" fmla="*/ 200101 w 324926"/>
                <a:gd name="connsiteY37" fmla="*/ 10135 h 285768"/>
                <a:gd name="connsiteX38" fmla="*/ 221504 w 324926"/>
                <a:gd name="connsiteY38" fmla="*/ 17469 h 285768"/>
                <a:gd name="connsiteX39" fmla="*/ 242325 w 324926"/>
                <a:gd name="connsiteY39" fmla="*/ 19231 h 285768"/>
                <a:gd name="connsiteX40" fmla="*/ 255461 w 324926"/>
                <a:gd name="connsiteY40" fmla="*/ 11411 h 285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4926" h="285768">
                  <a:moveTo>
                    <a:pt x="273015" y="64322"/>
                  </a:moveTo>
                  <a:lnTo>
                    <a:pt x="265509" y="76571"/>
                  </a:lnTo>
                  <a:lnTo>
                    <a:pt x="259766" y="99460"/>
                  </a:lnTo>
                  <a:lnTo>
                    <a:pt x="252499" y="115138"/>
                  </a:lnTo>
                  <a:lnTo>
                    <a:pt x="246269" y="120377"/>
                  </a:lnTo>
                  <a:lnTo>
                    <a:pt x="237373" y="110680"/>
                  </a:lnTo>
                  <a:lnTo>
                    <a:pt x="225323" y="97231"/>
                  </a:lnTo>
                  <a:lnTo>
                    <a:pt x="206264" y="53626"/>
                  </a:lnTo>
                  <a:lnTo>
                    <a:pt x="203521" y="56407"/>
                  </a:lnTo>
                  <a:lnTo>
                    <a:pt x="214589" y="88535"/>
                  </a:lnTo>
                  <a:lnTo>
                    <a:pt x="230981" y="118843"/>
                  </a:lnTo>
                  <a:lnTo>
                    <a:pt x="251165" y="165249"/>
                  </a:lnTo>
                  <a:lnTo>
                    <a:pt x="261033" y="181299"/>
                  </a:lnTo>
                  <a:lnTo>
                    <a:pt x="269605" y="197891"/>
                  </a:lnTo>
                  <a:lnTo>
                    <a:pt x="293570" y="230200"/>
                  </a:lnTo>
                  <a:lnTo>
                    <a:pt x="288264" y="235267"/>
                  </a:lnTo>
                  <a:lnTo>
                    <a:pt x="289122" y="254070"/>
                  </a:lnTo>
                  <a:lnTo>
                    <a:pt x="320230" y="279902"/>
                  </a:lnTo>
                  <a:lnTo>
                    <a:pt x="324926" y="285769"/>
                  </a:lnTo>
                  <a:lnTo>
                    <a:pt x="218999" y="285769"/>
                  </a:lnTo>
                  <a:lnTo>
                    <a:pt x="115376" y="285769"/>
                  </a:lnTo>
                  <a:lnTo>
                    <a:pt x="8011" y="285769"/>
                  </a:lnTo>
                  <a:lnTo>
                    <a:pt x="8011" y="178822"/>
                  </a:lnTo>
                  <a:lnTo>
                    <a:pt x="8011" y="72333"/>
                  </a:lnTo>
                  <a:lnTo>
                    <a:pt x="0" y="47701"/>
                  </a:lnTo>
                  <a:lnTo>
                    <a:pt x="6877" y="28689"/>
                  </a:lnTo>
                  <a:lnTo>
                    <a:pt x="2743" y="15449"/>
                  </a:lnTo>
                  <a:lnTo>
                    <a:pt x="12421" y="524"/>
                  </a:lnTo>
                  <a:lnTo>
                    <a:pt x="47949" y="0"/>
                  </a:lnTo>
                  <a:lnTo>
                    <a:pt x="73647" y="8239"/>
                  </a:lnTo>
                  <a:lnTo>
                    <a:pt x="100165" y="17421"/>
                  </a:lnTo>
                  <a:lnTo>
                    <a:pt x="112529" y="22241"/>
                  </a:lnTo>
                  <a:lnTo>
                    <a:pt x="133093" y="12420"/>
                  </a:lnTo>
                  <a:lnTo>
                    <a:pt x="144085" y="3505"/>
                  </a:lnTo>
                  <a:lnTo>
                    <a:pt x="167640" y="933"/>
                  </a:lnTo>
                  <a:lnTo>
                    <a:pt x="186633" y="4867"/>
                  </a:lnTo>
                  <a:lnTo>
                    <a:pt x="193900" y="20279"/>
                  </a:lnTo>
                  <a:lnTo>
                    <a:pt x="200101" y="10135"/>
                  </a:lnTo>
                  <a:lnTo>
                    <a:pt x="221504" y="17469"/>
                  </a:lnTo>
                  <a:lnTo>
                    <a:pt x="242325" y="19231"/>
                  </a:lnTo>
                  <a:lnTo>
                    <a:pt x="255461" y="114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orme libre : forme 5698">
              <a:extLst>
                <a:ext uri="{FF2B5EF4-FFF2-40B4-BE49-F238E27FC236}">
                  <a16:creationId xmlns:a16="http://schemas.microsoft.com/office/drawing/2014/main" id="{51AC9C83-9EFC-920F-830F-56CD8CEBA0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790972" y="4257041"/>
              <a:ext cx="180479" cy="152533"/>
            </a:xfrm>
            <a:custGeom>
              <a:avLst/>
              <a:gdLst>
                <a:gd name="connsiteX0" fmla="*/ 160991 w 180479"/>
                <a:gd name="connsiteY0" fmla="*/ 150171 h 152533"/>
                <a:gd name="connsiteX1" fmla="*/ 151866 w 180479"/>
                <a:gd name="connsiteY1" fmla="*/ 141370 h 152533"/>
                <a:gd name="connsiteX2" fmla="*/ 140884 w 180479"/>
                <a:gd name="connsiteY2" fmla="*/ 125387 h 152533"/>
                <a:gd name="connsiteX3" fmla="*/ 129044 w 180479"/>
                <a:gd name="connsiteY3" fmla="*/ 116624 h 152533"/>
                <a:gd name="connsiteX4" fmla="*/ 122139 w 180479"/>
                <a:gd name="connsiteY4" fmla="*/ 107175 h 152533"/>
                <a:gd name="connsiteX5" fmla="*/ 98888 w 180479"/>
                <a:gd name="connsiteY5" fmla="*/ 96193 h 152533"/>
                <a:gd name="connsiteX6" fmla="*/ 80581 w 180479"/>
                <a:gd name="connsiteY6" fmla="*/ 95869 h 152533"/>
                <a:gd name="connsiteX7" fmla="*/ 74143 w 180479"/>
                <a:gd name="connsiteY7" fmla="*/ 90135 h 152533"/>
                <a:gd name="connsiteX8" fmla="*/ 58483 w 180479"/>
                <a:gd name="connsiteY8" fmla="*/ 96583 h 152533"/>
                <a:gd name="connsiteX9" fmla="*/ 42272 w 180479"/>
                <a:gd name="connsiteY9" fmla="*/ 84125 h 152533"/>
                <a:gd name="connsiteX10" fmla="*/ 33928 w 180479"/>
                <a:gd name="connsiteY10" fmla="*/ 104594 h 152533"/>
                <a:gd name="connsiteX11" fmla="*/ 2838 w 180479"/>
                <a:gd name="connsiteY11" fmla="*/ 98870 h 152533"/>
                <a:gd name="connsiteX12" fmla="*/ 0 w 180479"/>
                <a:gd name="connsiteY12" fmla="*/ 87887 h 152533"/>
                <a:gd name="connsiteX13" fmla="*/ 11496 w 180479"/>
                <a:gd name="connsiteY13" fmla="*/ 47396 h 152533"/>
                <a:gd name="connsiteX14" fmla="*/ 14135 w 180479"/>
                <a:gd name="connsiteY14" fmla="*/ 28994 h 152533"/>
                <a:gd name="connsiteX15" fmla="*/ 22546 w 180479"/>
                <a:gd name="connsiteY15" fmla="*/ 20479 h 152533"/>
                <a:gd name="connsiteX16" fmla="*/ 42215 w 180479"/>
                <a:gd name="connsiteY16" fmla="*/ 15907 h 152533"/>
                <a:gd name="connsiteX17" fmla="*/ 55730 w 180479"/>
                <a:gd name="connsiteY17" fmla="*/ 0 h 152533"/>
                <a:gd name="connsiteX18" fmla="*/ 71238 w 180479"/>
                <a:gd name="connsiteY18" fmla="*/ 32204 h 152533"/>
                <a:gd name="connsiteX19" fmla="*/ 78600 w 180479"/>
                <a:gd name="connsiteY19" fmla="*/ 57598 h 152533"/>
                <a:gd name="connsiteX20" fmla="*/ 93230 w 180479"/>
                <a:gd name="connsiteY20" fmla="*/ 71028 h 152533"/>
                <a:gd name="connsiteX21" fmla="*/ 129683 w 180479"/>
                <a:gd name="connsiteY21" fmla="*/ 96974 h 152533"/>
                <a:gd name="connsiteX22" fmla="*/ 144523 w 180479"/>
                <a:gd name="connsiteY22" fmla="*/ 112585 h 152533"/>
                <a:gd name="connsiteX23" fmla="*/ 159001 w 180479"/>
                <a:gd name="connsiteY23" fmla="*/ 128340 h 152533"/>
                <a:gd name="connsiteX24" fmla="*/ 167354 w 180479"/>
                <a:gd name="connsiteY24" fmla="*/ 137703 h 152533"/>
                <a:gd name="connsiteX25" fmla="*/ 180480 w 180479"/>
                <a:gd name="connsiteY25" fmla="*/ 145894 h 152533"/>
                <a:gd name="connsiteX26" fmla="*/ 172431 w 180479"/>
                <a:gd name="connsiteY26" fmla="*/ 152533 h 152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0479" h="152533">
                  <a:moveTo>
                    <a:pt x="160991" y="150171"/>
                  </a:moveTo>
                  <a:lnTo>
                    <a:pt x="151866" y="141370"/>
                  </a:lnTo>
                  <a:lnTo>
                    <a:pt x="140884" y="125387"/>
                  </a:lnTo>
                  <a:lnTo>
                    <a:pt x="129044" y="116624"/>
                  </a:lnTo>
                  <a:lnTo>
                    <a:pt x="122139" y="107175"/>
                  </a:lnTo>
                  <a:lnTo>
                    <a:pt x="98888" y="96193"/>
                  </a:lnTo>
                  <a:lnTo>
                    <a:pt x="80581" y="95869"/>
                  </a:lnTo>
                  <a:lnTo>
                    <a:pt x="74143" y="90135"/>
                  </a:lnTo>
                  <a:lnTo>
                    <a:pt x="58483" y="96583"/>
                  </a:lnTo>
                  <a:lnTo>
                    <a:pt x="42272" y="84125"/>
                  </a:lnTo>
                  <a:lnTo>
                    <a:pt x="33928" y="104594"/>
                  </a:lnTo>
                  <a:lnTo>
                    <a:pt x="2838" y="98870"/>
                  </a:lnTo>
                  <a:lnTo>
                    <a:pt x="0" y="87887"/>
                  </a:lnTo>
                  <a:lnTo>
                    <a:pt x="11496" y="47396"/>
                  </a:lnTo>
                  <a:lnTo>
                    <a:pt x="14135" y="28994"/>
                  </a:lnTo>
                  <a:lnTo>
                    <a:pt x="22546" y="20479"/>
                  </a:lnTo>
                  <a:lnTo>
                    <a:pt x="42215" y="15907"/>
                  </a:lnTo>
                  <a:lnTo>
                    <a:pt x="55730" y="0"/>
                  </a:lnTo>
                  <a:lnTo>
                    <a:pt x="71238" y="32204"/>
                  </a:lnTo>
                  <a:lnTo>
                    <a:pt x="78600" y="57598"/>
                  </a:lnTo>
                  <a:lnTo>
                    <a:pt x="93230" y="71028"/>
                  </a:lnTo>
                  <a:lnTo>
                    <a:pt x="129683" y="96974"/>
                  </a:lnTo>
                  <a:lnTo>
                    <a:pt x="144523" y="112585"/>
                  </a:lnTo>
                  <a:lnTo>
                    <a:pt x="159001" y="128340"/>
                  </a:lnTo>
                  <a:lnTo>
                    <a:pt x="167354" y="137703"/>
                  </a:lnTo>
                  <a:lnTo>
                    <a:pt x="180480" y="145894"/>
                  </a:lnTo>
                  <a:lnTo>
                    <a:pt x="172431" y="15253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orme libre : forme 5699">
              <a:extLst>
                <a:ext uri="{FF2B5EF4-FFF2-40B4-BE49-F238E27FC236}">
                  <a16:creationId xmlns:a16="http://schemas.microsoft.com/office/drawing/2014/main" id="{FEF618CB-9874-9987-285E-746FD8F9D6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570048" y="3447854"/>
              <a:ext cx="332022" cy="270805"/>
            </a:xfrm>
            <a:custGeom>
              <a:avLst/>
              <a:gdLst>
                <a:gd name="connsiteX0" fmla="*/ 9563 w 332022"/>
                <a:gd name="connsiteY0" fmla="*/ 67761 h 270805"/>
                <a:gd name="connsiteX1" fmla="*/ 10906 w 332022"/>
                <a:gd name="connsiteY1" fmla="*/ 42167 h 270805"/>
                <a:gd name="connsiteX2" fmla="*/ 0 w 332022"/>
                <a:gd name="connsiteY2" fmla="*/ 26432 h 270805"/>
                <a:gd name="connsiteX3" fmla="*/ 37776 w 332022"/>
                <a:gd name="connsiteY3" fmla="*/ 0 h 270805"/>
                <a:gd name="connsiteX4" fmla="*/ 70456 w 332022"/>
                <a:gd name="connsiteY4" fmla="*/ 6639 h 270805"/>
                <a:gd name="connsiteX5" fmla="*/ 106318 w 332022"/>
                <a:gd name="connsiteY5" fmla="*/ 6410 h 270805"/>
                <a:gd name="connsiteX6" fmla="*/ 134741 w 332022"/>
                <a:gd name="connsiteY6" fmla="*/ 12668 h 270805"/>
                <a:gd name="connsiteX7" fmla="*/ 156906 w 332022"/>
                <a:gd name="connsiteY7" fmla="*/ 10744 h 270805"/>
                <a:gd name="connsiteX8" fmla="*/ 200073 w 332022"/>
                <a:gd name="connsiteY8" fmla="*/ 11964 h 270805"/>
                <a:gd name="connsiteX9" fmla="*/ 210722 w 332022"/>
                <a:gd name="connsiteY9" fmla="*/ 26156 h 270805"/>
                <a:gd name="connsiteX10" fmla="*/ 259880 w 332022"/>
                <a:gd name="connsiteY10" fmla="*/ 42643 h 270805"/>
                <a:gd name="connsiteX11" fmla="*/ 269586 w 332022"/>
                <a:gd name="connsiteY11" fmla="*/ 34823 h 270805"/>
                <a:gd name="connsiteX12" fmla="*/ 299638 w 332022"/>
                <a:gd name="connsiteY12" fmla="*/ 51159 h 270805"/>
                <a:gd name="connsiteX13" fmla="*/ 330594 w 332022"/>
                <a:gd name="connsiteY13" fmla="*/ 46492 h 270805"/>
                <a:gd name="connsiteX14" fmla="*/ 332022 w 332022"/>
                <a:gd name="connsiteY14" fmla="*/ 67351 h 270805"/>
                <a:gd name="connsiteX15" fmla="*/ 306715 w 332022"/>
                <a:gd name="connsiteY15" fmla="*/ 91030 h 270805"/>
                <a:gd name="connsiteX16" fmla="*/ 272491 w 332022"/>
                <a:gd name="connsiteY16" fmla="*/ 98498 h 270805"/>
                <a:gd name="connsiteX17" fmla="*/ 270110 w 332022"/>
                <a:gd name="connsiteY17" fmla="*/ 110328 h 270805"/>
                <a:gd name="connsiteX18" fmla="*/ 253698 w 332022"/>
                <a:gd name="connsiteY18" fmla="*/ 129692 h 270805"/>
                <a:gd name="connsiteX19" fmla="*/ 243411 w 332022"/>
                <a:gd name="connsiteY19" fmla="*/ 157848 h 270805"/>
                <a:gd name="connsiteX20" fmla="*/ 253822 w 332022"/>
                <a:gd name="connsiteY20" fmla="*/ 177413 h 270805"/>
                <a:gd name="connsiteX21" fmla="*/ 238373 w 332022"/>
                <a:gd name="connsiteY21" fmla="*/ 192576 h 270805"/>
                <a:gd name="connsiteX22" fmla="*/ 232601 w 332022"/>
                <a:gd name="connsiteY22" fmla="*/ 214503 h 270805"/>
                <a:gd name="connsiteX23" fmla="*/ 212436 w 332022"/>
                <a:gd name="connsiteY23" fmla="*/ 221190 h 270805"/>
                <a:gd name="connsiteX24" fmla="*/ 193520 w 332022"/>
                <a:gd name="connsiteY24" fmla="*/ 246812 h 270805"/>
                <a:gd name="connsiteX25" fmla="*/ 159630 w 332022"/>
                <a:gd name="connsiteY25" fmla="*/ 247317 h 270805"/>
                <a:gd name="connsiteX26" fmla="*/ 134169 w 332022"/>
                <a:gd name="connsiteY26" fmla="*/ 246688 h 270805"/>
                <a:gd name="connsiteX27" fmla="*/ 117443 w 332022"/>
                <a:gd name="connsiteY27" fmla="*/ 258366 h 270805"/>
                <a:gd name="connsiteX28" fmla="*/ 107242 w 332022"/>
                <a:gd name="connsiteY28" fmla="*/ 270805 h 270805"/>
                <a:gd name="connsiteX29" fmla="*/ 94174 w 332022"/>
                <a:gd name="connsiteY29" fmla="*/ 268081 h 270805"/>
                <a:gd name="connsiteX30" fmla="*/ 84287 w 332022"/>
                <a:gd name="connsiteY30" fmla="*/ 256947 h 270805"/>
                <a:gd name="connsiteX31" fmla="*/ 76715 w 332022"/>
                <a:gd name="connsiteY31" fmla="*/ 237887 h 270805"/>
                <a:gd name="connsiteX32" fmla="*/ 51788 w 332022"/>
                <a:gd name="connsiteY32" fmla="*/ 232724 h 270805"/>
                <a:gd name="connsiteX33" fmla="*/ 49559 w 332022"/>
                <a:gd name="connsiteY33" fmla="*/ 221666 h 270805"/>
                <a:gd name="connsiteX34" fmla="*/ 59455 w 332022"/>
                <a:gd name="connsiteY34" fmla="*/ 209074 h 270805"/>
                <a:gd name="connsiteX35" fmla="*/ 63122 w 332022"/>
                <a:gd name="connsiteY35" fmla="*/ 199901 h 270805"/>
                <a:gd name="connsiteX36" fmla="*/ 53912 w 332022"/>
                <a:gd name="connsiteY36" fmla="*/ 189833 h 270805"/>
                <a:gd name="connsiteX37" fmla="*/ 61284 w 332022"/>
                <a:gd name="connsiteY37" fmla="*/ 167450 h 270805"/>
                <a:gd name="connsiteX38" fmla="*/ 50587 w 332022"/>
                <a:gd name="connsiteY38" fmla="*/ 146828 h 270805"/>
                <a:gd name="connsiteX39" fmla="*/ 62122 w 332022"/>
                <a:gd name="connsiteY39" fmla="*/ 143980 h 270805"/>
                <a:gd name="connsiteX40" fmla="*/ 63198 w 332022"/>
                <a:gd name="connsiteY40" fmla="*/ 127587 h 270805"/>
                <a:gd name="connsiteX41" fmla="*/ 67532 w 332022"/>
                <a:gd name="connsiteY41" fmla="*/ 122482 h 270805"/>
                <a:gd name="connsiteX42" fmla="*/ 67875 w 332022"/>
                <a:gd name="connsiteY42" fmla="*/ 95098 h 270805"/>
                <a:gd name="connsiteX43" fmla="*/ 80220 w 332022"/>
                <a:gd name="connsiteY43" fmla="*/ 85515 h 270805"/>
                <a:gd name="connsiteX44" fmla="*/ 72752 w 332022"/>
                <a:gd name="connsiteY44" fmla="*/ 67666 h 270805"/>
                <a:gd name="connsiteX45" fmla="*/ 57188 w 332022"/>
                <a:gd name="connsiteY45" fmla="*/ 66408 h 270805"/>
                <a:gd name="connsiteX46" fmla="*/ 52616 w 332022"/>
                <a:gd name="connsiteY46" fmla="*/ 70923 h 270805"/>
                <a:gd name="connsiteX47" fmla="*/ 36843 w 332022"/>
                <a:gd name="connsiteY47" fmla="*/ 70961 h 270805"/>
                <a:gd name="connsiteX48" fmla="*/ 30156 w 332022"/>
                <a:gd name="connsiteY48" fmla="*/ 53426 h 270805"/>
                <a:gd name="connsiteX49" fmla="*/ 19250 w 332022"/>
                <a:gd name="connsiteY49" fmla="*/ 58664 h 270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32022" h="270805">
                  <a:moveTo>
                    <a:pt x="9563" y="67761"/>
                  </a:moveTo>
                  <a:lnTo>
                    <a:pt x="10906" y="42167"/>
                  </a:lnTo>
                  <a:lnTo>
                    <a:pt x="0" y="26432"/>
                  </a:lnTo>
                  <a:lnTo>
                    <a:pt x="37776" y="0"/>
                  </a:lnTo>
                  <a:lnTo>
                    <a:pt x="70456" y="6639"/>
                  </a:lnTo>
                  <a:lnTo>
                    <a:pt x="106318" y="6410"/>
                  </a:lnTo>
                  <a:lnTo>
                    <a:pt x="134741" y="12668"/>
                  </a:lnTo>
                  <a:lnTo>
                    <a:pt x="156906" y="10744"/>
                  </a:lnTo>
                  <a:lnTo>
                    <a:pt x="200073" y="11964"/>
                  </a:lnTo>
                  <a:lnTo>
                    <a:pt x="210722" y="26156"/>
                  </a:lnTo>
                  <a:lnTo>
                    <a:pt x="259880" y="42643"/>
                  </a:lnTo>
                  <a:lnTo>
                    <a:pt x="269586" y="34823"/>
                  </a:lnTo>
                  <a:lnTo>
                    <a:pt x="299638" y="51159"/>
                  </a:lnTo>
                  <a:lnTo>
                    <a:pt x="330594" y="46492"/>
                  </a:lnTo>
                  <a:lnTo>
                    <a:pt x="332022" y="67351"/>
                  </a:lnTo>
                  <a:lnTo>
                    <a:pt x="306715" y="91030"/>
                  </a:lnTo>
                  <a:lnTo>
                    <a:pt x="272491" y="98498"/>
                  </a:lnTo>
                  <a:lnTo>
                    <a:pt x="270110" y="110328"/>
                  </a:lnTo>
                  <a:lnTo>
                    <a:pt x="253698" y="129692"/>
                  </a:lnTo>
                  <a:lnTo>
                    <a:pt x="243411" y="157848"/>
                  </a:lnTo>
                  <a:lnTo>
                    <a:pt x="253822" y="177413"/>
                  </a:lnTo>
                  <a:lnTo>
                    <a:pt x="238373" y="192576"/>
                  </a:lnTo>
                  <a:lnTo>
                    <a:pt x="232601" y="214503"/>
                  </a:lnTo>
                  <a:lnTo>
                    <a:pt x="212436" y="221190"/>
                  </a:lnTo>
                  <a:lnTo>
                    <a:pt x="193520" y="246812"/>
                  </a:lnTo>
                  <a:lnTo>
                    <a:pt x="159630" y="247317"/>
                  </a:lnTo>
                  <a:lnTo>
                    <a:pt x="134169" y="246688"/>
                  </a:lnTo>
                  <a:lnTo>
                    <a:pt x="117443" y="258366"/>
                  </a:lnTo>
                  <a:lnTo>
                    <a:pt x="107242" y="270805"/>
                  </a:lnTo>
                  <a:lnTo>
                    <a:pt x="94174" y="268081"/>
                  </a:lnTo>
                  <a:lnTo>
                    <a:pt x="84287" y="256947"/>
                  </a:lnTo>
                  <a:lnTo>
                    <a:pt x="76715" y="237887"/>
                  </a:lnTo>
                  <a:lnTo>
                    <a:pt x="51788" y="232724"/>
                  </a:lnTo>
                  <a:lnTo>
                    <a:pt x="49559" y="221666"/>
                  </a:lnTo>
                  <a:lnTo>
                    <a:pt x="59455" y="209074"/>
                  </a:lnTo>
                  <a:lnTo>
                    <a:pt x="63122" y="199901"/>
                  </a:lnTo>
                  <a:lnTo>
                    <a:pt x="53912" y="189833"/>
                  </a:lnTo>
                  <a:lnTo>
                    <a:pt x="61284" y="167450"/>
                  </a:lnTo>
                  <a:lnTo>
                    <a:pt x="50587" y="146828"/>
                  </a:lnTo>
                  <a:lnTo>
                    <a:pt x="62122" y="143980"/>
                  </a:lnTo>
                  <a:lnTo>
                    <a:pt x="63198" y="127587"/>
                  </a:lnTo>
                  <a:lnTo>
                    <a:pt x="67532" y="122482"/>
                  </a:lnTo>
                  <a:lnTo>
                    <a:pt x="67875" y="95098"/>
                  </a:lnTo>
                  <a:lnTo>
                    <a:pt x="80220" y="85515"/>
                  </a:lnTo>
                  <a:lnTo>
                    <a:pt x="72752" y="67666"/>
                  </a:lnTo>
                  <a:lnTo>
                    <a:pt x="57188" y="66408"/>
                  </a:lnTo>
                  <a:lnTo>
                    <a:pt x="52616" y="70923"/>
                  </a:lnTo>
                  <a:lnTo>
                    <a:pt x="36843" y="70961"/>
                  </a:lnTo>
                  <a:lnTo>
                    <a:pt x="30156" y="53426"/>
                  </a:lnTo>
                  <a:lnTo>
                    <a:pt x="19250" y="58664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orme libre : forme 5700">
              <a:extLst>
                <a:ext uri="{FF2B5EF4-FFF2-40B4-BE49-F238E27FC236}">
                  <a16:creationId xmlns:a16="http://schemas.microsoft.com/office/drawing/2014/main" id="{7303C069-7A13-98D2-CF99-4EF6157A85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700989" y="4341165"/>
              <a:ext cx="396211" cy="310657"/>
            </a:xfrm>
            <a:custGeom>
              <a:avLst/>
              <a:gdLst>
                <a:gd name="connsiteX0" fmla="*/ 132255 w 396211"/>
                <a:gd name="connsiteY0" fmla="*/ 0 h 310657"/>
                <a:gd name="connsiteX1" fmla="*/ 148466 w 396211"/>
                <a:gd name="connsiteY1" fmla="*/ 12459 h 310657"/>
                <a:gd name="connsiteX2" fmla="*/ 164125 w 396211"/>
                <a:gd name="connsiteY2" fmla="*/ 6010 h 310657"/>
                <a:gd name="connsiteX3" fmla="*/ 170564 w 396211"/>
                <a:gd name="connsiteY3" fmla="*/ 11744 h 310657"/>
                <a:gd name="connsiteX4" fmla="*/ 188871 w 396211"/>
                <a:gd name="connsiteY4" fmla="*/ 12068 h 310657"/>
                <a:gd name="connsiteX5" fmla="*/ 212122 w 396211"/>
                <a:gd name="connsiteY5" fmla="*/ 23050 h 310657"/>
                <a:gd name="connsiteX6" fmla="*/ 219027 w 396211"/>
                <a:gd name="connsiteY6" fmla="*/ 32499 h 310657"/>
                <a:gd name="connsiteX7" fmla="*/ 230867 w 396211"/>
                <a:gd name="connsiteY7" fmla="*/ 41262 h 310657"/>
                <a:gd name="connsiteX8" fmla="*/ 241849 w 396211"/>
                <a:gd name="connsiteY8" fmla="*/ 57245 h 310657"/>
                <a:gd name="connsiteX9" fmla="*/ 250974 w 396211"/>
                <a:gd name="connsiteY9" fmla="*/ 66046 h 310657"/>
                <a:gd name="connsiteX10" fmla="*/ 241592 w 396211"/>
                <a:gd name="connsiteY10" fmla="*/ 78057 h 310657"/>
                <a:gd name="connsiteX11" fmla="*/ 232553 w 396211"/>
                <a:gd name="connsiteY11" fmla="*/ 90773 h 310657"/>
                <a:gd name="connsiteX12" fmla="*/ 234639 w 396211"/>
                <a:gd name="connsiteY12" fmla="*/ 98241 h 310657"/>
                <a:gd name="connsiteX13" fmla="*/ 235068 w 396211"/>
                <a:gd name="connsiteY13" fmla="*/ 106470 h 310657"/>
                <a:gd name="connsiteX14" fmla="*/ 249984 w 396211"/>
                <a:gd name="connsiteY14" fmla="*/ 106927 h 310657"/>
                <a:gd name="connsiteX15" fmla="*/ 256413 w 396211"/>
                <a:gd name="connsiteY15" fmla="*/ 105003 h 310657"/>
                <a:gd name="connsiteX16" fmla="*/ 262337 w 396211"/>
                <a:gd name="connsiteY16" fmla="*/ 109823 h 310657"/>
                <a:gd name="connsiteX17" fmla="*/ 256517 w 396211"/>
                <a:gd name="connsiteY17" fmla="*/ 119396 h 310657"/>
                <a:gd name="connsiteX18" fmla="*/ 266376 w 396211"/>
                <a:gd name="connsiteY18" fmla="*/ 134245 h 310657"/>
                <a:gd name="connsiteX19" fmla="*/ 276225 w 396211"/>
                <a:gd name="connsiteY19" fmla="*/ 147209 h 310657"/>
                <a:gd name="connsiteX20" fmla="*/ 286426 w 396211"/>
                <a:gd name="connsiteY20" fmla="*/ 156801 h 310657"/>
                <a:gd name="connsiteX21" fmla="*/ 373742 w 396211"/>
                <a:gd name="connsiteY21" fmla="*/ 188652 h 310657"/>
                <a:gd name="connsiteX22" fmla="*/ 396211 w 396211"/>
                <a:gd name="connsiteY22" fmla="*/ 188481 h 310657"/>
                <a:gd name="connsiteX23" fmla="*/ 320735 w 396211"/>
                <a:gd name="connsiteY23" fmla="*/ 268643 h 310657"/>
                <a:gd name="connsiteX24" fmla="*/ 285950 w 396211"/>
                <a:gd name="connsiteY24" fmla="*/ 269815 h 310657"/>
                <a:gd name="connsiteX25" fmla="*/ 262147 w 396211"/>
                <a:gd name="connsiteY25" fmla="*/ 288569 h 310657"/>
                <a:gd name="connsiteX26" fmla="*/ 245021 w 396211"/>
                <a:gd name="connsiteY26" fmla="*/ 289065 h 310657"/>
                <a:gd name="connsiteX27" fmla="*/ 237715 w 396211"/>
                <a:gd name="connsiteY27" fmla="*/ 297447 h 310657"/>
                <a:gd name="connsiteX28" fmla="*/ 219466 w 396211"/>
                <a:gd name="connsiteY28" fmla="*/ 297437 h 310657"/>
                <a:gd name="connsiteX29" fmla="*/ 208702 w 396211"/>
                <a:gd name="connsiteY29" fmla="*/ 288455 h 310657"/>
                <a:gd name="connsiteX30" fmla="*/ 184299 w 396211"/>
                <a:gd name="connsiteY30" fmla="*/ 299580 h 310657"/>
                <a:gd name="connsiteX31" fmla="*/ 176412 w 396211"/>
                <a:gd name="connsiteY31" fmla="*/ 310658 h 310657"/>
                <a:gd name="connsiteX32" fmla="*/ 158601 w 396211"/>
                <a:gd name="connsiteY32" fmla="*/ 308562 h 310657"/>
                <a:gd name="connsiteX33" fmla="*/ 152686 w 396211"/>
                <a:gd name="connsiteY33" fmla="*/ 305495 h 310657"/>
                <a:gd name="connsiteX34" fmla="*/ 146428 w 396211"/>
                <a:gd name="connsiteY34" fmla="*/ 306229 h 310657"/>
                <a:gd name="connsiteX35" fmla="*/ 137989 w 396211"/>
                <a:gd name="connsiteY35" fmla="*/ 305962 h 310657"/>
                <a:gd name="connsiteX36" fmla="*/ 104184 w 396211"/>
                <a:gd name="connsiteY36" fmla="*/ 283378 h 310657"/>
                <a:gd name="connsiteX37" fmla="*/ 85601 w 396211"/>
                <a:gd name="connsiteY37" fmla="*/ 283378 h 310657"/>
                <a:gd name="connsiteX38" fmla="*/ 76476 w 396211"/>
                <a:gd name="connsiteY38" fmla="*/ 274615 h 310657"/>
                <a:gd name="connsiteX39" fmla="*/ 76476 w 396211"/>
                <a:gd name="connsiteY39" fmla="*/ 259670 h 310657"/>
                <a:gd name="connsiteX40" fmla="*/ 62608 w 396211"/>
                <a:gd name="connsiteY40" fmla="*/ 255194 h 310657"/>
                <a:gd name="connsiteX41" fmla="*/ 46815 w 396211"/>
                <a:gd name="connsiteY41" fmla="*/ 226171 h 310657"/>
                <a:gd name="connsiteX42" fmla="*/ 34623 w 396211"/>
                <a:gd name="connsiteY42" fmla="*/ 219970 h 310657"/>
                <a:gd name="connsiteX43" fmla="*/ 29937 w 396211"/>
                <a:gd name="connsiteY43" fmla="*/ 209283 h 310657"/>
                <a:gd name="connsiteX44" fmla="*/ 16412 w 396211"/>
                <a:gd name="connsiteY44" fmla="*/ 196244 h 310657"/>
                <a:gd name="connsiteX45" fmla="*/ 0 w 396211"/>
                <a:gd name="connsiteY45" fmla="*/ 194320 h 310657"/>
                <a:gd name="connsiteX46" fmla="*/ 9097 w 396211"/>
                <a:gd name="connsiteY46" fmla="*/ 179060 h 310657"/>
                <a:gd name="connsiteX47" fmla="*/ 23279 w 396211"/>
                <a:gd name="connsiteY47" fmla="*/ 178403 h 310657"/>
                <a:gd name="connsiteX48" fmla="*/ 27270 w 396211"/>
                <a:gd name="connsiteY48" fmla="*/ 170212 h 310657"/>
                <a:gd name="connsiteX49" fmla="*/ 26918 w 396211"/>
                <a:gd name="connsiteY49" fmla="*/ 146047 h 310657"/>
                <a:gd name="connsiteX50" fmla="*/ 34814 w 396211"/>
                <a:gd name="connsiteY50" fmla="*/ 117843 h 310657"/>
                <a:gd name="connsiteX51" fmla="*/ 47463 w 396211"/>
                <a:gd name="connsiteY51" fmla="*/ 110280 h 310657"/>
                <a:gd name="connsiteX52" fmla="*/ 50149 w 396211"/>
                <a:gd name="connsiteY52" fmla="*/ 99222 h 310657"/>
                <a:gd name="connsiteX53" fmla="*/ 61598 w 396211"/>
                <a:gd name="connsiteY53" fmla="*/ 78524 h 310657"/>
                <a:gd name="connsiteX54" fmla="*/ 77705 w 396211"/>
                <a:gd name="connsiteY54" fmla="*/ 65065 h 310657"/>
                <a:gd name="connsiteX55" fmla="*/ 88563 w 396211"/>
                <a:gd name="connsiteY55" fmla="*/ 38233 h 310657"/>
                <a:gd name="connsiteX56" fmla="*/ 92821 w 396211"/>
                <a:gd name="connsiteY56" fmla="*/ 14745 h 310657"/>
                <a:gd name="connsiteX57" fmla="*/ 123910 w 396211"/>
                <a:gd name="connsiteY57" fmla="*/ 20469 h 31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96211" h="310657">
                  <a:moveTo>
                    <a:pt x="132255" y="0"/>
                  </a:moveTo>
                  <a:lnTo>
                    <a:pt x="148466" y="12459"/>
                  </a:lnTo>
                  <a:lnTo>
                    <a:pt x="164125" y="6010"/>
                  </a:lnTo>
                  <a:lnTo>
                    <a:pt x="170564" y="11744"/>
                  </a:lnTo>
                  <a:lnTo>
                    <a:pt x="188871" y="12068"/>
                  </a:lnTo>
                  <a:lnTo>
                    <a:pt x="212122" y="23050"/>
                  </a:lnTo>
                  <a:lnTo>
                    <a:pt x="219027" y="32499"/>
                  </a:lnTo>
                  <a:lnTo>
                    <a:pt x="230867" y="41262"/>
                  </a:lnTo>
                  <a:lnTo>
                    <a:pt x="241849" y="57245"/>
                  </a:lnTo>
                  <a:lnTo>
                    <a:pt x="250974" y="66046"/>
                  </a:lnTo>
                  <a:lnTo>
                    <a:pt x="241592" y="78057"/>
                  </a:lnTo>
                  <a:lnTo>
                    <a:pt x="232553" y="90773"/>
                  </a:lnTo>
                  <a:lnTo>
                    <a:pt x="234639" y="98241"/>
                  </a:lnTo>
                  <a:lnTo>
                    <a:pt x="235068" y="106470"/>
                  </a:lnTo>
                  <a:lnTo>
                    <a:pt x="249984" y="106927"/>
                  </a:lnTo>
                  <a:lnTo>
                    <a:pt x="256413" y="105003"/>
                  </a:lnTo>
                  <a:lnTo>
                    <a:pt x="262337" y="109823"/>
                  </a:lnTo>
                  <a:lnTo>
                    <a:pt x="256517" y="119396"/>
                  </a:lnTo>
                  <a:lnTo>
                    <a:pt x="266376" y="134245"/>
                  </a:lnTo>
                  <a:lnTo>
                    <a:pt x="276225" y="147209"/>
                  </a:lnTo>
                  <a:lnTo>
                    <a:pt x="286426" y="156801"/>
                  </a:lnTo>
                  <a:lnTo>
                    <a:pt x="373742" y="188652"/>
                  </a:lnTo>
                  <a:lnTo>
                    <a:pt x="396211" y="188481"/>
                  </a:lnTo>
                  <a:lnTo>
                    <a:pt x="320735" y="268643"/>
                  </a:lnTo>
                  <a:lnTo>
                    <a:pt x="285950" y="269815"/>
                  </a:lnTo>
                  <a:lnTo>
                    <a:pt x="262147" y="288569"/>
                  </a:lnTo>
                  <a:lnTo>
                    <a:pt x="245021" y="289065"/>
                  </a:lnTo>
                  <a:lnTo>
                    <a:pt x="237715" y="297447"/>
                  </a:lnTo>
                  <a:lnTo>
                    <a:pt x="219466" y="297437"/>
                  </a:lnTo>
                  <a:lnTo>
                    <a:pt x="208702" y="288455"/>
                  </a:lnTo>
                  <a:lnTo>
                    <a:pt x="184299" y="299580"/>
                  </a:lnTo>
                  <a:lnTo>
                    <a:pt x="176412" y="310658"/>
                  </a:lnTo>
                  <a:lnTo>
                    <a:pt x="158601" y="308562"/>
                  </a:lnTo>
                  <a:lnTo>
                    <a:pt x="152686" y="305495"/>
                  </a:lnTo>
                  <a:lnTo>
                    <a:pt x="146428" y="306229"/>
                  </a:lnTo>
                  <a:lnTo>
                    <a:pt x="137989" y="305962"/>
                  </a:lnTo>
                  <a:lnTo>
                    <a:pt x="104184" y="283378"/>
                  </a:lnTo>
                  <a:lnTo>
                    <a:pt x="85601" y="283378"/>
                  </a:lnTo>
                  <a:lnTo>
                    <a:pt x="76476" y="274615"/>
                  </a:lnTo>
                  <a:lnTo>
                    <a:pt x="76476" y="259670"/>
                  </a:lnTo>
                  <a:lnTo>
                    <a:pt x="62608" y="255194"/>
                  </a:lnTo>
                  <a:lnTo>
                    <a:pt x="46815" y="226171"/>
                  </a:lnTo>
                  <a:lnTo>
                    <a:pt x="34623" y="219970"/>
                  </a:lnTo>
                  <a:lnTo>
                    <a:pt x="29937" y="209283"/>
                  </a:lnTo>
                  <a:lnTo>
                    <a:pt x="16412" y="196244"/>
                  </a:lnTo>
                  <a:lnTo>
                    <a:pt x="0" y="194320"/>
                  </a:lnTo>
                  <a:lnTo>
                    <a:pt x="9097" y="179060"/>
                  </a:lnTo>
                  <a:lnTo>
                    <a:pt x="23279" y="178403"/>
                  </a:lnTo>
                  <a:lnTo>
                    <a:pt x="27270" y="170212"/>
                  </a:lnTo>
                  <a:lnTo>
                    <a:pt x="26918" y="146047"/>
                  </a:lnTo>
                  <a:lnTo>
                    <a:pt x="34814" y="117843"/>
                  </a:lnTo>
                  <a:lnTo>
                    <a:pt x="47463" y="110280"/>
                  </a:lnTo>
                  <a:lnTo>
                    <a:pt x="50149" y="99222"/>
                  </a:lnTo>
                  <a:lnTo>
                    <a:pt x="61598" y="78524"/>
                  </a:lnTo>
                  <a:lnTo>
                    <a:pt x="77705" y="65065"/>
                  </a:lnTo>
                  <a:lnTo>
                    <a:pt x="88563" y="38233"/>
                  </a:lnTo>
                  <a:lnTo>
                    <a:pt x="92821" y="14745"/>
                  </a:lnTo>
                  <a:lnTo>
                    <a:pt x="123910" y="2046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orme libre : forme 5701">
              <a:extLst>
                <a:ext uri="{FF2B5EF4-FFF2-40B4-BE49-F238E27FC236}">
                  <a16:creationId xmlns:a16="http://schemas.microsoft.com/office/drawing/2014/main" id="{5B6D6302-CF15-CD12-F8BA-015A04952D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186447" y="6327442"/>
              <a:ext cx="92144" cy="51577"/>
            </a:xfrm>
            <a:custGeom>
              <a:avLst/>
              <a:gdLst>
                <a:gd name="connsiteX0" fmla="*/ 0 w 92144"/>
                <a:gd name="connsiteY0" fmla="*/ 32070 h 51577"/>
                <a:gd name="connsiteX1" fmla="*/ 32052 w 92144"/>
                <a:gd name="connsiteY1" fmla="*/ 6372 h 51577"/>
                <a:gd name="connsiteX2" fmla="*/ 54750 w 92144"/>
                <a:gd name="connsiteY2" fmla="*/ 17040 h 51577"/>
                <a:gd name="connsiteX3" fmla="*/ 70771 w 92144"/>
                <a:gd name="connsiteY3" fmla="*/ 0 h 51577"/>
                <a:gd name="connsiteX4" fmla="*/ 92145 w 92144"/>
                <a:gd name="connsiteY4" fmla="*/ 19174 h 51577"/>
                <a:gd name="connsiteX5" fmla="*/ 84125 w 92144"/>
                <a:gd name="connsiteY5" fmla="*/ 34223 h 51577"/>
                <a:gd name="connsiteX6" fmla="*/ 48073 w 92144"/>
                <a:gd name="connsiteY6" fmla="*/ 47224 h 51577"/>
                <a:gd name="connsiteX7" fmla="*/ 36052 w 92144"/>
                <a:gd name="connsiteY7" fmla="*/ 32070 h 51577"/>
                <a:gd name="connsiteX8" fmla="*/ 13354 w 92144"/>
                <a:gd name="connsiteY8" fmla="*/ 51578 h 51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144" h="51577">
                  <a:moveTo>
                    <a:pt x="0" y="32070"/>
                  </a:moveTo>
                  <a:lnTo>
                    <a:pt x="32052" y="6372"/>
                  </a:lnTo>
                  <a:lnTo>
                    <a:pt x="54750" y="17040"/>
                  </a:lnTo>
                  <a:lnTo>
                    <a:pt x="70771" y="0"/>
                  </a:lnTo>
                  <a:lnTo>
                    <a:pt x="92145" y="19174"/>
                  </a:lnTo>
                  <a:lnTo>
                    <a:pt x="84125" y="34223"/>
                  </a:lnTo>
                  <a:lnTo>
                    <a:pt x="48073" y="47224"/>
                  </a:lnTo>
                  <a:lnTo>
                    <a:pt x="36052" y="32070"/>
                  </a:lnTo>
                  <a:lnTo>
                    <a:pt x="13354" y="5157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orme libre : forme 5702">
              <a:extLst>
                <a:ext uri="{FF2B5EF4-FFF2-40B4-BE49-F238E27FC236}">
                  <a16:creationId xmlns:a16="http://schemas.microsoft.com/office/drawing/2014/main" id="{64EB1353-EF91-14EE-45C1-B2DEA36E285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72272" y="2083940"/>
              <a:ext cx="290321" cy="660587"/>
            </a:xfrm>
            <a:custGeom>
              <a:avLst/>
              <a:gdLst>
                <a:gd name="connsiteX0" fmla="*/ 212217 w 290321"/>
                <a:gd name="connsiteY0" fmla="*/ 84239 h 660587"/>
                <a:gd name="connsiteX1" fmla="*/ 208321 w 290321"/>
                <a:gd name="connsiteY1" fmla="*/ 135712 h 660587"/>
                <a:gd name="connsiteX2" fmla="*/ 249221 w 290321"/>
                <a:gd name="connsiteY2" fmla="*/ 183242 h 660587"/>
                <a:gd name="connsiteX3" fmla="*/ 224580 w 290321"/>
                <a:gd name="connsiteY3" fmla="*/ 235420 h 660587"/>
                <a:gd name="connsiteX4" fmla="*/ 255641 w 290321"/>
                <a:gd name="connsiteY4" fmla="*/ 311210 h 660587"/>
                <a:gd name="connsiteX5" fmla="*/ 237658 w 290321"/>
                <a:gd name="connsiteY5" fmla="*/ 366103 h 660587"/>
                <a:gd name="connsiteX6" fmla="*/ 261699 w 290321"/>
                <a:gd name="connsiteY6" fmla="*/ 412347 h 660587"/>
                <a:gd name="connsiteX7" fmla="*/ 250784 w 290321"/>
                <a:gd name="connsiteY7" fmla="*/ 451828 h 660587"/>
                <a:gd name="connsiteX8" fmla="*/ 290322 w 290321"/>
                <a:gd name="connsiteY8" fmla="*/ 492366 h 660587"/>
                <a:gd name="connsiteX9" fmla="*/ 280273 w 290321"/>
                <a:gd name="connsiteY9" fmla="*/ 521941 h 660587"/>
                <a:gd name="connsiteX10" fmla="*/ 255461 w 290321"/>
                <a:gd name="connsiteY10" fmla="*/ 554822 h 660587"/>
                <a:gd name="connsiteX11" fmla="*/ 198282 w 290321"/>
                <a:gd name="connsiteY11" fmla="*/ 625364 h 660587"/>
                <a:gd name="connsiteX12" fmla="*/ 149819 w 290321"/>
                <a:gd name="connsiteY12" fmla="*/ 629660 h 660587"/>
                <a:gd name="connsiteX13" fmla="*/ 102851 w 290321"/>
                <a:gd name="connsiteY13" fmla="*/ 649357 h 660587"/>
                <a:gd name="connsiteX14" fmla="*/ 59398 w 290321"/>
                <a:gd name="connsiteY14" fmla="*/ 660587 h 660587"/>
                <a:gd name="connsiteX15" fmla="*/ 43939 w 290321"/>
                <a:gd name="connsiteY15" fmla="*/ 631393 h 660587"/>
                <a:gd name="connsiteX16" fmla="*/ 18079 w 290321"/>
                <a:gd name="connsiteY16" fmla="*/ 613591 h 660587"/>
                <a:gd name="connsiteX17" fmla="*/ 24022 w 290321"/>
                <a:gd name="connsiteY17" fmla="*/ 559032 h 660587"/>
                <a:gd name="connsiteX18" fmla="*/ 11049 w 290321"/>
                <a:gd name="connsiteY18" fmla="*/ 507520 h 660587"/>
                <a:gd name="connsiteX19" fmla="*/ 23784 w 290321"/>
                <a:gd name="connsiteY19" fmla="*/ 473431 h 660587"/>
                <a:gd name="connsiteX20" fmla="*/ 47996 w 290321"/>
                <a:gd name="connsiteY20" fmla="*/ 435883 h 660587"/>
                <a:gd name="connsiteX21" fmla="*/ 109099 w 290321"/>
                <a:gd name="connsiteY21" fmla="*/ 369017 h 660587"/>
                <a:gd name="connsiteX22" fmla="*/ 126921 w 290321"/>
                <a:gd name="connsiteY22" fmla="*/ 355816 h 660587"/>
                <a:gd name="connsiteX23" fmla="*/ 124149 w 290321"/>
                <a:gd name="connsiteY23" fmla="*/ 328793 h 660587"/>
                <a:gd name="connsiteX24" fmla="*/ 87001 w 290321"/>
                <a:gd name="connsiteY24" fmla="*/ 298075 h 660587"/>
                <a:gd name="connsiteX25" fmla="*/ 77991 w 290321"/>
                <a:gd name="connsiteY25" fmla="*/ 272358 h 660587"/>
                <a:gd name="connsiteX26" fmla="*/ 77286 w 290321"/>
                <a:gd name="connsiteY26" fmla="*/ 166440 h 660587"/>
                <a:gd name="connsiteX27" fmla="*/ 35595 w 290321"/>
                <a:gd name="connsiteY27" fmla="*/ 117358 h 660587"/>
                <a:gd name="connsiteX28" fmla="*/ 0 w 290321"/>
                <a:gd name="connsiteY28" fmla="*/ 81143 h 660587"/>
                <a:gd name="connsiteX29" fmla="*/ 16011 w 290321"/>
                <a:gd name="connsiteY29" fmla="*/ 61255 h 660587"/>
                <a:gd name="connsiteX30" fmla="*/ 45691 w 290321"/>
                <a:gd name="connsiteY30" fmla="*/ 100813 h 660587"/>
                <a:gd name="connsiteX31" fmla="*/ 80563 w 290321"/>
                <a:gd name="connsiteY31" fmla="*/ 97155 h 660587"/>
                <a:gd name="connsiteX32" fmla="*/ 109232 w 290321"/>
                <a:gd name="connsiteY32" fmla="*/ 114957 h 660587"/>
                <a:gd name="connsiteX33" fmla="*/ 134702 w 290321"/>
                <a:gd name="connsiteY33" fmla="*/ 82201 h 660587"/>
                <a:gd name="connsiteX34" fmla="*/ 147799 w 290321"/>
                <a:gd name="connsiteY34" fmla="*/ 26432 h 660587"/>
                <a:gd name="connsiteX35" fmla="*/ 189262 w 290321"/>
                <a:gd name="connsiteY35" fmla="*/ 0 h 660587"/>
                <a:gd name="connsiteX36" fmla="*/ 223532 w 290321"/>
                <a:gd name="connsiteY36" fmla="*/ 30975 h 660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90321" h="660587">
                  <a:moveTo>
                    <a:pt x="212217" y="84239"/>
                  </a:moveTo>
                  <a:lnTo>
                    <a:pt x="208321" y="135712"/>
                  </a:lnTo>
                  <a:lnTo>
                    <a:pt x="249221" y="183242"/>
                  </a:lnTo>
                  <a:lnTo>
                    <a:pt x="224580" y="235420"/>
                  </a:lnTo>
                  <a:lnTo>
                    <a:pt x="255641" y="311210"/>
                  </a:lnTo>
                  <a:lnTo>
                    <a:pt x="237658" y="366103"/>
                  </a:lnTo>
                  <a:lnTo>
                    <a:pt x="261699" y="412347"/>
                  </a:lnTo>
                  <a:lnTo>
                    <a:pt x="250784" y="451828"/>
                  </a:lnTo>
                  <a:lnTo>
                    <a:pt x="290322" y="492366"/>
                  </a:lnTo>
                  <a:lnTo>
                    <a:pt x="280273" y="521941"/>
                  </a:lnTo>
                  <a:lnTo>
                    <a:pt x="255461" y="554822"/>
                  </a:lnTo>
                  <a:lnTo>
                    <a:pt x="198282" y="625364"/>
                  </a:lnTo>
                  <a:lnTo>
                    <a:pt x="149819" y="629660"/>
                  </a:lnTo>
                  <a:lnTo>
                    <a:pt x="102851" y="649357"/>
                  </a:lnTo>
                  <a:lnTo>
                    <a:pt x="59398" y="660587"/>
                  </a:lnTo>
                  <a:lnTo>
                    <a:pt x="43939" y="631393"/>
                  </a:lnTo>
                  <a:lnTo>
                    <a:pt x="18079" y="613591"/>
                  </a:lnTo>
                  <a:lnTo>
                    <a:pt x="24022" y="559032"/>
                  </a:lnTo>
                  <a:lnTo>
                    <a:pt x="11049" y="507520"/>
                  </a:lnTo>
                  <a:lnTo>
                    <a:pt x="23784" y="473431"/>
                  </a:lnTo>
                  <a:lnTo>
                    <a:pt x="47996" y="435883"/>
                  </a:lnTo>
                  <a:lnTo>
                    <a:pt x="109099" y="369017"/>
                  </a:lnTo>
                  <a:lnTo>
                    <a:pt x="126921" y="355816"/>
                  </a:lnTo>
                  <a:lnTo>
                    <a:pt x="124149" y="328793"/>
                  </a:lnTo>
                  <a:lnTo>
                    <a:pt x="87001" y="298075"/>
                  </a:lnTo>
                  <a:lnTo>
                    <a:pt x="77991" y="272358"/>
                  </a:lnTo>
                  <a:lnTo>
                    <a:pt x="77286" y="166440"/>
                  </a:lnTo>
                  <a:lnTo>
                    <a:pt x="35595" y="117358"/>
                  </a:lnTo>
                  <a:lnTo>
                    <a:pt x="0" y="81143"/>
                  </a:lnTo>
                  <a:lnTo>
                    <a:pt x="16011" y="61255"/>
                  </a:lnTo>
                  <a:lnTo>
                    <a:pt x="45691" y="100813"/>
                  </a:lnTo>
                  <a:lnTo>
                    <a:pt x="80563" y="97155"/>
                  </a:lnTo>
                  <a:lnTo>
                    <a:pt x="109232" y="114957"/>
                  </a:lnTo>
                  <a:lnTo>
                    <a:pt x="134702" y="82201"/>
                  </a:lnTo>
                  <a:lnTo>
                    <a:pt x="147799" y="26432"/>
                  </a:lnTo>
                  <a:lnTo>
                    <a:pt x="189262" y="0"/>
                  </a:lnTo>
                  <a:lnTo>
                    <a:pt x="223532" y="3097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orme libre : forme 5703">
              <a:extLst>
                <a:ext uri="{FF2B5EF4-FFF2-40B4-BE49-F238E27FC236}">
                  <a16:creationId xmlns:a16="http://schemas.microsoft.com/office/drawing/2014/main" id="{41E03A49-D154-789E-7589-E7B4ACC51A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555595" y="5173374"/>
              <a:ext cx="78019" cy="62988"/>
            </a:xfrm>
            <a:custGeom>
              <a:avLst/>
              <a:gdLst>
                <a:gd name="connsiteX0" fmla="*/ 78020 w 78019"/>
                <a:gd name="connsiteY0" fmla="*/ 0 h 62988"/>
                <a:gd name="connsiteX1" fmla="*/ 74705 w 78019"/>
                <a:gd name="connsiteY1" fmla="*/ 13297 h 62988"/>
                <a:gd name="connsiteX2" fmla="*/ 72504 w 78019"/>
                <a:gd name="connsiteY2" fmla="*/ 14773 h 62988"/>
                <a:gd name="connsiteX3" fmla="*/ 55531 w 78019"/>
                <a:gd name="connsiteY3" fmla="*/ 21593 h 62988"/>
                <a:gd name="connsiteX4" fmla="*/ 38462 w 78019"/>
                <a:gd name="connsiteY4" fmla="*/ 27432 h 62988"/>
                <a:gd name="connsiteX5" fmla="*/ 35033 w 78019"/>
                <a:gd name="connsiteY5" fmla="*/ 17097 h 62988"/>
                <a:gd name="connsiteX6" fmla="*/ 48378 w 78019"/>
                <a:gd name="connsiteY6" fmla="*/ 11420 h 62988"/>
                <a:gd name="connsiteX7" fmla="*/ 56845 w 78019"/>
                <a:gd name="connsiteY7" fmla="*/ 9896 h 62988"/>
                <a:gd name="connsiteX8" fmla="*/ 72514 w 78019"/>
                <a:gd name="connsiteY8" fmla="*/ 1276 h 62988"/>
                <a:gd name="connsiteX9" fmla="*/ 78020 w 78019"/>
                <a:gd name="connsiteY9" fmla="*/ 0 h 62988"/>
                <a:gd name="connsiteX10" fmla="*/ 22441 w 78019"/>
                <a:gd name="connsiteY10" fmla="*/ 41138 h 62988"/>
                <a:gd name="connsiteX11" fmla="*/ 10306 w 78019"/>
                <a:gd name="connsiteY11" fmla="*/ 37700 h 62988"/>
                <a:gd name="connsiteX12" fmla="*/ 0 w 78019"/>
                <a:gd name="connsiteY12" fmla="*/ 47263 h 62988"/>
                <a:gd name="connsiteX13" fmla="*/ 2581 w 78019"/>
                <a:gd name="connsiteY13" fmla="*/ 59531 h 62988"/>
                <a:gd name="connsiteX14" fmla="*/ 17307 w 78019"/>
                <a:gd name="connsiteY14" fmla="*/ 62989 h 62988"/>
                <a:gd name="connsiteX15" fmla="*/ 33861 w 78019"/>
                <a:gd name="connsiteY15" fmla="*/ 59150 h 62988"/>
                <a:gd name="connsiteX16" fmla="*/ 38272 w 78019"/>
                <a:gd name="connsiteY16" fmla="*/ 44587 h 62988"/>
                <a:gd name="connsiteX17" fmla="*/ 29080 w 78019"/>
                <a:gd name="connsiteY17" fmla="*/ 36557 h 62988"/>
                <a:gd name="connsiteX18" fmla="*/ 22441 w 78019"/>
                <a:gd name="connsiteY18" fmla="*/ 41138 h 62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019" h="62988">
                  <a:moveTo>
                    <a:pt x="78020" y="0"/>
                  </a:moveTo>
                  <a:lnTo>
                    <a:pt x="74705" y="13297"/>
                  </a:lnTo>
                  <a:lnTo>
                    <a:pt x="72504" y="14773"/>
                  </a:lnTo>
                  <a:lnTo>
                    <a:pt x="55531" y="21593"/>
                  </a:lnTo>
                  <a:lnTo>
                    <a:pt x="38462" y="27432"/>
                  </a:lnTo>
                  <a:lnTo>
                    <a:pt x="35033" y="17097"/>
                  </a:lnTo>
                  <a:lnTo>
                    <a:pt x="48378" y="11420"/>
                  </a:lnTo>
                  <a:lnTo>
                    <a:pt x="56845" y="9896"/>
                  </a:lnTo>
                  <a:lnTo>
                    <a:pt x="72514" y="1276"/>
                  </a:lnTo>
                  <a:lnTo>
                    <a:pt x="78020" y="0"/>
                  </a:lnTo>
                  <a:close/>
                  <a:moveTo>
                    <a:pt x="22441" y="41138"/>
                  </a:moveTo>
                  <a:lnTo>
                    <a:pt x="10306" y="37700"/>
                  </a:lnTo>
                  <a:lnTo>
                    <a:pt x="0" y="47263"/>
                  </a:lnTo>
                  <a:lnTo>
                    <a:pt x="2581" y="59531"/>
                  </a:lnTo>
                  <a:lnTo>
                    <a:pt x="17307" y="62989"/>
                  </a:lnTo>
                  <a:lnTo>
                    <a:pt x="33861" y="59150"/>
                  </a:lnTo>
                  <a:lnTo>
                    <a:pt x="38272" y="44587"/>
                  </a:lnTo>
                  <a:lnTo>
                    <a:pt x="29080" y="36557"/>
                  </a:lnTo>
                  <a:lnTo>
                    <a:pt x="22441" y="4113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orme libre : forme 5704">
              <a:extLst>
                <a:ext uri="{FF2B5EF4-FFF2-40B4-BE49-F238E27FC236}">
                  <a16:creationId xmlns:a16="http://schemas.microsoft.com/office/drawing/2014/main" id="{F322C484-42C9-2018-7F63-108696504A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698235" y="3155817"/>
              <a:ext cx="377980" cy="377618"/>
            </a:xfrm>
            <a:custGeom>
              <a:avLst/>
              <a:gdLst>
                <a:gd name="connsiteX0" fmla="*/ 377981 w 377980"/>
                <a:gd name="connsiteY0" fmla="*/ 350063 h 377618"/>
                <a:gd name="connsiteX1" fmla="*/ 369160 w 377980"/>
                <a:gd name="connsiteY1" fmla="*/ 377619 h 377618"/>
                <a:gd name="connsiteX2" fmla="*/ 357035 w 377980"/>
                <a:gd name="connsiteY2" fmla="*/ 370389 h 377618"/>
                <a:gd name="connsiteX3" fmla="*/ 350853 w 377980"/>
                <a:gd name="connsiteY3" fmla="*/ 346329 h 377618"/>
                <a:gd name="connsiteX4" fmla="*/ 356245 w 377980"/>
                <a:gd name="connsiteY4" fmla="*/ 332927 h 377618"/>
                <a:gd name="connsiteX5" fmla="*/ 373447 w 377980"/>
                <a:gd name="connsiteY5" fmla="*/ 319069 h 377618"/>
                <a:gd name="connsiteX6" fmla="*/ 377981 w 377980"/>
                <a:gd name="connsiteY6" fmla="*/ 350063 h 377618"/>
                <a:gd name="connsiteX7" fmla="*/ 218484 w 377980"/>
                <a:gd name="connsiteY7" fmla="*/ 32404 h 377618"/>
                <a:gd name="connsiteX8" fmla="*/ 237125 w 377980"/>
                <a:gd name="connsiteY8" fmla="*/ 51997 h 377618"/>
                <a:gd name="connsiteX9" fmla="*/ 250831 w 377980"/>
                <a:gd name="connsiteY9" fmla="*/ 48778 h 377618"/>
                <a:gd name="connsiteX10" fmla="*/ 274196 w 377980"/>
                <a:gd name="connsiteY10" fmla="*/ 67570 h 377618"/>
                <a:gd name="connsiteX11" fmla="*/ 280168 w 377980"/>
                <a:gd name="connsiteY11" fmla="*/ 71133 h 377618"/>
                <a:gd name="connsiteX12" fmla="*/ 287874 w 377980"/>
                <a:gd name="connsiteY12" fmla="*/ 70266 h 377618"/>
                <a:gd name="connsiteX13" fmla="*/ 300476 w 377980"/>
                <a:gd name="connsiteY13" fmla="*/ 80963 h 377618"/>
                <a:gd name="connsiteX14" fmla="*/ 338957 w 377980"/>
                <a:gd name="connsiteY14" fmla="*/ 88459 h 377618"/>
                <a:gd name="connsiteX15" fmla="*/ 325460 w 377980"/>
                <a:gd name="connsiteY15" fmla="*/ 116072 h 377618"/>
                <a:gd name="connsiteX16" fmla="*/ 322069 w 377980"/>
                <a:gd name="connsiteY16" fmla="*/ 144409 h 377618"/>
                <a:gd name="connsiteX17" fmla="*/ 314735 w 377980"/>
                <a:gd name="connsiteY17" fmla="*/ 151143 h 377618"/>
                <a:gd name="connsiteX18" fmla="*/ 302562 w 377980"/>
                <a:gd name="connsiteY18" fmla="*/ 147514 h 377618"/>
                <a:gd name="connsiteX19" fmla="*/ 303419 w 377980"/>
                <a:gd name="connsiteY19" fmla="*/ 157515 h 377618"/>
                <a:gd name="connsiteX20" fmla="*/ 283883 w 377980"/>
                <a:gd name="connsiteY20" fmla="*/ 179451 h 377618"/>
                <a:gd name="connsiteX21" fmla="*/ 283493 w 377980"/>
                <a:gd name="connsiteY21" fmla="*/ 196958 h 377618"/>
                <a:gd name="connsiteX22" fmla="*/ 296246 w 377980"/>
                <a:gd name="connsiteY22" fmla="*/ 190919 h 377618"/>
                <a:gd name="connsiteX23" fmla="*/ 305419 w 377980"/>
                <a:gd name="connsiteY23" fmla="*/ 207788 h 377618"/>
                <a:gd name="connsiteX24" fmla="*/ 304314 w 377980"/>
                <a:gd name="connsiteY24" fmla="*/ 218589 h 377618"/>
                <a:gd name="connsiteX25" fmla="*/ 312172 w 377980"/>
                <a:gd name="connsiteY25" fmla="*/ 232858 h 377618"/>
                <a:gd name="connsiteX26" fmla="*/ 302914 w 377980"/>
                <a:gd name="connsiteY26" fmla="*/ 244364 h 377618"/>
                <a:gd name="connsiteX27" fmla="*/ 309801 w 377980"/>
                <a:gd name="connsiteY27" fmla="*/ 273310 h 377618"/>
                <a:gd name="connsiteX28" fmla="*/ 324279 w 377980"/>
                <a:gd name="connsiteY28" fmla="*/ 278016 h 377618"/>
                <a:gd name="connsiteX29" fmla="*/ 321221 w 377980"/>
                <a:gd name="connsiteY29" fmla="*/ 294056 h 377618"/>
                <a:gd name="connsiteX30" fmla="*/ 297028 w 377980"/>
                <a:gd name="connsiteY30" fmla="*/ 314754 h 377618"/>
                <a:gd name="connsiteX31" fmla="*/ 244354 w 377980"/>
                <a:gd name="connsiteY31" fmla="*/ 304857 h 377618"/>
                <a:gd name="connsiteX32" fmla="*/ 205464 w 377980"/>
                <a:gd name="connsiteY32" fmla="*/ 316706 h 377618"/>
                <a:gd name="connsiteX33" fmla="*/ 202406 w 377980"/>
                <a:gd name="connsiteY33" fmla="*/ 338537 h 377618"/>
                <a:gd name="connsiteX34" fmla="*/ 171450 w 377980"/>
                <a:gd name="connsiteY34" fmla="*/ 343205 h 377618"/>
                <a:gd name="connsiteX35" fmla="*/ 141399 w 377980"/>
                <a:gd name="connsiteY35" fmla="*/ 326860 h 377618"/>
                <a:gd name="connsiteX36" fmla="*/ 131683 w 377980"/>
                <a:gd name="connsiteY36" fmla="*/ 334680 h 377618"/>
                <a:gd name="connsiteX37" fmla="*/ 82525 w 377980"/>
                <a:gd name="connsiteY37" fmla="*/ 318202 h 377618"/>
                <a:gd name="connsiteX38" fmla="*/ 71876 w 377980"/>
                <a:gd name="connsiteY38" fmla="*/ 304000 h 377618"/>
                <a:gd name="connsiteX39" fmla="*/ 85687 w 377980"/>
                <a:gd name="connsiteY39" fmla="*/ 281912 h 377618"/>
                <a:gd name="connsiteX40" fmla="*/ 90773 w 377980"/>
                <a:gd name="connsiteY40" fmla="*/ 206883 h 377618"/>
                <a:gd name="connsiteX41" fmla="*/ 63208 w 377980"/>
                <a:gd name="connsiteY41" fmla="*/ 166268 h 377618"/>
                <a:gd name="connsiteX42" fmla="*/ 43510 w 377980"/>
                <a:gd name="connsiteY42" fmla="*/ 146399 h 377618"/>
                <a:gd name="connsiteX43" fmla="*/ 2695 w 377980"/>
                <a:gd name="connsiteY43" fmla="*/ 131169 h 377618"/>
                <a:gd name="connsiteX44" fmla="*/ 0 w 377980"/>
                <a:gd name="connsiteY44" fmla="*/ 101965 h 377618"/>
                <a:gd name="connsiteX45" fmla="*/ 34633 w 377980"/>
                <a:gd name="connsiteY45" fmla="*/ 93174 h 377618"/>
                <a:gd name="connsiteX46" fmla="*/ 79477 w 377980"/>
                <a:gd name="connsiteY46" fmla="*/ 103565 h 377618"/>
                <a:gd name="connsiteX47" fmla="*/ 71009 w 377980"/>
                <a:gd name="connsiteY47" fmla="*/ 57417 h 377618"/>
                <a:gd name="connsiteX48" fmla="*/ 96221 w 377980"/>
                <a:gd name="connsiteY48" fmla="*/ 75029 h 377618"/>
                <a:gd name="connsiteX49" fmla="*/ 158401 w 377980"/>
                <a:gd name="connsiteY49" fmla="*/ 42891 h 377618"/>
                <a:gd name="connsiteX50" fmla="*/ 166421 w 377980"/>
                <a:gd name="connsiteY50" fmla="*/ 8554 h 377618"/>
                <a:gd name="connsiteX51" fmla="*/ 189776 w 377980"/>
                <a:gd name="connsiteY51" fmla="*/ 0 h 377618"/>
                <a:gd name="connsiteX52" fmla="*/ 193643 w 377980"/>
                <a:gd name="connsiteY52" fmla="*/ 14878 h 377618"/>
                <a:gd name="connsiteX53" fmla="*/ 206054 w 377980"/>
                <a:gd name="connsiteY53" fmla="*/ 15573 h 377618"/>
                <a:gd name="connsiteX54" fmla="*/ 218484 w 377980"/>
                <a:gd name="connsiteY54" fmla="*/ 32404 h 37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77980" h="377618">
                  <a:moveTo>
                    <a:pt x="377981" y="350063"/>
                  </a:moveTo>
                  <a:lnTo>
                    <a:pt x="369160" y="377619"/>
                  </a:lnTo>
                  <a:lnTo>
                    <a:pt x="357035" y="370389"/>
                  </a:lnTo>
                  <a:lnTo>
                    <a:pt x="350853" y="346329"/>
                  </a:lnTo>
                  <a:lnTo>
                    <a:pt x="356245" y="332927"/>
                  </a:lnTo>
                  <a:lnTo>
                    <a:pt x="373447" y="319069"/>
                  </a:lnTo>
                  <a:lnTo>
                    <a:pt x="377981" y="350063"/>
                  </a:lnTo>
                  <a:close/>
                  <a:moveTo>
                    <a:pt x="218484" y="32404"/>
                  </a:moveTo>
                  <a:lnTo>
                    <a:pt x="237125" y="51997"/>
                  </a:lnTo>
                  <a:lnTo>
                    <a:pt x="250831" y="48778"/>
                  </a:lnTo>
                  <a:lnTo>
                    <a:pt x="274196" y="67570"/>
                  </a:lnTo>
                  <a:lnTo>
                    <a:pt x="280168" y="71133"/>
                  </a:lnTo>
                  <a:lnTo>
                    <a:pt x="287874" y="70266"/>
                  </a:lnTo>
                  <a:lnTo>
                    <a:pt x="300476" y="80963"/>
                  </a:lnTo>
                  <a:lnTo>
                    <a:pt x="338957" y="88459"/>
                  </a:lnTo>
                  <a:lnTo>
                    <a:pt x="325460" y="116072"/>
                  </a:lnTo>
                  <a:lnTo>
                    <a:pt x="322069" y="144409"/>
                  </a:lnTo>
                  <a:lnTo>
                    <a:pt x="314735" y="151143"/>
                  </a:lnTo>
                  <a:lnTo>
                    <a:pt x="302562" y="147514"/>
                  </a:lnTo>
                  <a:lnTo>
                    <a:pt x="303419" y="157515"/>
                  </a:lnTo>
                  <a:lnTo>
                    <a:pt x="283883" y="179451"/>
                  </a:lnTo>
                  <a:lnTo>
                    <a:pt x="283493" y="196958"/>
                  </a:lnTo>
                  <a:lnTo>
                    <a:pt x="296246" y="190919"/>
                  </a:lnTo>
                  <a:lnTo>
                    <a:pt x="305419" y="207788"/>
                  </a:lnTo>
                  <a:lnTo>
                    <a:pt x="304314" y="218589"/>
                  </a:lnTo>
                  <a:lnTo>
                    <a:pt x="312172" y="232858"/>
                  </a:lnTo>
                  <a:lnTo>
                    <a:pt x="302914" y="244364"/>
                  </a:lnTo>
                  <a:lnTo>
                    <a:pt x="309801" y="273310"/>
                  </a:lnTo>
                  <a:lnTo>
                    <a:pt x="324279" y="278016"/>
                  </a:lnTo>
                  <a:lnTo>
                    <a:pt x="321221" y="294056"/>
                  </a:lnTo>
                  <a:lnTo>
                    <a:pt x="297028" y="314754"/>
                  </a:lnTo>
                  <a:lnTo>
                    <a:pt x="244354" y="304857"/>
                  </a:lnTo>
                  <a:lnTo>
                    <a:pt x="205464" y="316706"/>
                  </a:lnTo>
                  <a:lnTo>
                    <a:pt x="202406" y="338537"/>
                  </a:lnTo>
                  <a:lnTo>
                    <a:pt x="171450" y="343205"/>
                  </a:lnTo>
                  <a:lnTo>
                    <a:pt x="141399" y="326860"/>
                  </a:lnTo>
                  <a:lnTo>
                    <a:pt x="131683" y="334680"/>
                  </a:lnTo>
                  <a:lnTo>
                    <a:pt x="82525" y="318202"/>
                  </a:lnTo>
                  <a:lnTo>
                    <a:pt x="71876" y="304000"/>
                  </a:lnTo>
                  <a:lnTo>
                    <a:pt x="85687" y="281912"/>
                  </a:lnTo>
                  <a:lnTo>
                    <a:pt x="90773" y="206883"/>
                  </a:lnTo>
                  <a:lnTo>
                    <a:pt x="63208" y="166268"/>
                  </a:lnTo>
                  <a:lnTo>
                    <a:pt x="43510" y="146399"/>
                  </a:lnTo>
                  <a:lnTo>
                    <a:pt x="2695" y="131169"/>
                  </a:lnTo>
                  <a:lnTo>
                    <a:pt x="0" y="101965"/>
                  </a:lnTo>
                  <a:lnTo>
                    <a:pt x="34633" y="93174"/>
                  </a:lnTo>
                  <a:lnTo>
                    <a:pt x="79477" y="103565"/>
                  </a:lnTo>
                  <a:lnTo>
                    <a:pt x="71009" y="57417"/>
                  </a:lnTo>
                  <a:lnTo>
                    <a:pt x="96221" y="75029"/>
                  </a:lnTo>
                  <a:lnTo>
                    <a:pt x="158401" y="42891"/>
                  </a:lnTo>
                  <a:lnTo>
                    <a:pt x="166421" y="8554"/>
                  </a:lnTo>
                  <a:lnTo>
                    <a:pt x="189776" y="0"/>
                  </a:lnTo>
                  <a:lnTo>
                    <a:pt x="193643" y="14878"/>
                  </a:lnTo>
                  <a:lnTo>
                    <a:pt x="206054" y="15573"/>
                  </a:lnTo>
                  <a:lnTo>
                    <a:pt x="218484" y="3240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b="1">
                <a:solidFill>
                  <a:schemeClr val="lt1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192" name="Forme libre : forme 5705">
              <a:extLst>
                <a:ext uri="{FF2B5EF4-FFF2-40B4-BE49-F238E27FC236}">
                  <a16:creationId xmlns:a16="http://schemas.microsoft.com/office/drawing/2014/main" id="{3D891DDD-0987-C10A-3149-240E73B4B3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055861" y="4680913"/>
              <a:ext cx="150295" cy="167382"/>
            </a:xfrm>
            <a:custGeom>
              <a:avLst/>
              <a:gdLst>
                <a:gd name="connsiteX0" fmla="*/ 61313 w 150295"/>
                <a:gd name="connsiteY0" fmla="*/ 167383 h 167382"/>
                <a:gd name="connsiteX1" fmla="*/ 33871 w 150295"/>
                <a:gd name="connsiteY1" fmla="*/ 140551 h 167382"/>
                <a:gd name="connsiteX2" fmla="*/ 16221 w 150295"/>
                <a:gd name="connsiteY2" fmla="*/ 118634 h 167382"/>
                <a:gd name="connsiteX3" fmla="*/ 0 w 150295"/>
                <a:gd name="connsiteY3" fmla="*/ 91221 h 167382"/>
                <a:gd name="connsiteX4" fmla="*/ 857 w 150295"/>
                <a:gd name="connsiteY4" fmla="*/ 82410 h 167382"/>
                <a:gd name="connsiteX5" fmla="*/ 6696 w 150295"/>
                <a:gd name="connsiteY5" fmla="*/ 73933 h 167382"/>
                <a:gd name="connsiteX6" fmla="*/ 13183 w 150295"/>
                <a:gd name="connsiteY6" fmla="*/ 54616 h 167382"/>
                <a:gd name="connsiteX7" fmla="*/ 18564 w 150295"/>
                <a:gd name="connsiteY7" fmla="*/ 34947 h 167382"/>
                <a:gd name="connsiteX8" fmla="*/ 27565 w 150295"/>
                <a:gd name="connsiteY8" fmla="*/ 33414 h 167382"/>
                <a:gd name="connsiteX9" fmla="*/ 66427 w 150295"/>
                <a:gd name="connsiteY9" fmla="*/ 33680 h 167382"/>
                <a:gd name="connsiteX10" fmla="*/ 66199 w 150295"/>
                <a:gd name="connsiteY10" fmla="*/ 1743 h 167382"/>
                <a:gd name="connsiteX11" fmla="*/ 78886 w 150295"/>
                <a:gd name="connsiteY11" fmla="*/ 0 h 167382"/>
                <a:gd name="connsiteX12" fmla="*/ 95117 w 150295"/>
                <a:gd name="connsiteY12" fmla="*/ 3553 h 167382"/>
                <a:gd name="connsiteX13" fmla="*/ 110919 w 150295"/>
                <a:gd name="connsiteY13" fmla="*/ 133 h 167382"/>
                <a:gd name="connsiteX14" fmla="*/ 114252 w 150295"/>
                <a:gd name="connsiteY14" fmla="*/ 1581 h 167382"/>
                <a:gd name="connsiteX15" fmla="*/ 112309 w 150295"/>
                <a:gd name="connsiteY15" fmla="*/ 13163 h 167382"/>
                <a:gd name="connsiteX16" fmla="*/ 119777 w 150295"/>
                <a:gd name="connsiteY16" fmla="*/ 26879 h 167382"/>
                <a:gd name="connsiteX17" fmla="*/ 139646 w 150295"/>
                <a:gd name="connsiteY17" fmla="*/ 24717 h 167382"/>
                <a:gd name="connsiteX18" fmla="*/ 146304 w 150295"/>
                <a:gd name="connsiteY18" fmla="*/ 29985 h 167382"/>
                <a:gd name="connsiteX19" fmla="*/ 134741 w 150295"/>
                <a:gd name="connsiteY19" fmla="*/ 60712 h 167382"/>
                <a:gd name="connsiteX20" fmla="*/ 147380 w 150295"/>
                <a:gd name="connsiteY20" fmla="*/ 76400 h 167382"/>
                <a:gd name="connsiteX21" fmla="*/ 150295 w 150295"/>
                <a:gd name="connsiteY21" fmla="*/ 97117 h 167382"/>
                <a:gd name="connsiteX22" fmla="*/ 146923 w 150295"/>
                <a:gd name="connsiteY22" fmla="*/ 114767 h 167382"/>
                <a:gd name="connsiteX23" fmla="*/ 138722 w 150295"/>
                <a:gd name="connsiteY23" fmla="*/ 127311 h 167382"/>
                <a:gd name="connsiteX24" fmla="*/ 115148 w 150295"/>
                <a:gd name="connsiteY24" fmla="*/ 126187 h 167382"/>
                <a:gd name="connsiteX25" fmla="*/ 100879 w 150295"/>
                <a:gd name="connsiteY25" fmla="*/ 113442 h 167382"/>
                <a:gd name="connsiteX26" fmla="*/ 98755 w 150295"/>
                <a:gd name="connsiteY26" fmla="*/ 125206 h 167382"/>
                <a:gd name="connsiteX27" fmla="*/ 80734 w 150295"/>
                <a:gd name="connsiteY27" fmla="*/ 128464 h 167382"/>
                <a:gd name="connsiteX28" fmla="*/ 71581 w 150295"/>
                <a:gd name="connsiteY28" fmla="*/ 135141 h 167382"/>
                <a:gd name="connsiteX29" fmla="*/ 81649 w 150295"/>
                <a:gd name="connsiteY29" fmla="*/ 152705 h 167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0295" h="167382">
                  <a:moveTo>
                    <a:pt x="61313" y="167383"/>
                  </a:moveTo>
                  <a:lnTo>
                    <a:pt x="33871" y="140551"/>
                  </a:lnTo>
                  <a:lnTo>
                    <a:pt x="16221" y="118634"/>
                  </a:lnTo>
                  <a:lnTo>
                    <a:pt x="0" y="91221"/>
                  </a:lnTo>
                  <a:lnTo>
                    <a:pt x="857" y="82410"/>
                  </a:lnTo>
                  <a:lnTo>
                    <a:pt x="6696" y="73933"/>
                  </a:lnTo>
                  <a:lnTo>
                    <a:pt x="13183" y="54616"/>
                  </a:lnTo>
                  <a:lnTo>
                    <a:pt x="18564" y="34947"/>
                  </a:lnTo>
                  <a:lnTo>
                    <a:pt x="27565" y="33414"/>
                  </a:lnTo>
                  <a:lnTo>
                    <a:pt x="66427" y="33680"/>
                  </a:lnTo>
                  <a:lnTo>
                    <a:pt x="66199" y="1743"/>
                  </a:lnTo>
                  <a:lnTo>
                    <a:pt x="78886" y="0"/>
                  </a:lnTo>
                  <a:lnTo>
                    <a:pt x="95117" y="3553"/>
                  </a:lnTo>
                  <a:lnTo>
                    <a:pt x="110919" y="133"/>
                  </a:lnTo>
                  <a:lnTo>
                    <a:pt x="114252" y="1581"/>
                  </a:lnTo>
                  <a:lnTo>
                    <a:pt x="112309" y="13163"/>
                  </a:lnTo>
                  <a:lnTo>
                    <a:pt x="119777" y="26879"/>
                  </a:lnTo>
                  <a:lnTo>
                    <a:pt x="139646" y="24717"/>
                  </a:lnTo>
                  <a:lnTo>
                    <a:pt x="146304" y="29985"/>
                  </a:lnTo>
                  <a:lnTo>
                    <a:pt x="134741" y="60712"/>
                  </a:lnTo>
                  <a:lnTo>
                    <a:pt x="147380" y="76400"/>
                  </a:lnTo>
                  <a:lnTo>
                    <a:pt x="150295" y="97117"/>
                  </a:lnTo>
                  <a:lnTo>
                    <a:pt x="146923" y="114767"/>
                  </a:lnTo>
                  <a:lnTo>
                    <a:pt x="138722" y="127311"/>
                  </a:lnTo>
                  <a:lnTo>
                    <a:pt x="115148" y="126187"/>
                  </a:lnTo>
                  <a:lnTo>
                    <a:pt x="100879" y="113442"/>
                  </a:lnTo>
                  <a:lnTo>
                    <a:pt x="98755" y="125206"/>
                  </a:lnTo>
                  <a:lnTo>
                    <a:pt x="80734" y="128464"/>
                  </a:lnTo>
                  <a:lnTo>
                    <a:pt x="71581" y="135141"/>
                  </a:lnTo>
                  <a:lnTo>
                    <a:pt x="81649" y="1527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orme libre : forme 5706">
              <a:extLst>
                <a:ext uri="{FF2B5EF4-FFF2-40B4-BE49-F238E27FC236}">
                  <a16:creationId xmlns:a16="http://schemas.microsoft.com/office/drawing/2014/main" id="{7E8AC387-9BC4-BF60-3296-E789105636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618673" y="2807688"/>
              <a:ext cx="247116" cy="397944"/>
            </a:xfrm>
            <a:custGeom>
              <a:avLst/>
              <a:gdLst>
                <a:gd name="connsiteX0" fmla="*/ 51016 w 247116"/>
                <a:gd name="connsiteY0" fmla="*/ 197758 h 397944"/>
                <a:gd name="connsiteX1" fmla="*/ 36700 w 247116"/>
                <a:gd name="connsiteY1" fmla="*/ 229067 h 397944"/>
                <a:gd name="connsiteX2" fmla="*/ 16516 w 247116"/>
                <a:gd name="connsiteY2" fmla="*/ 219732 h 397944"/>
                <a:gd name="connsiteX3" fmla="*/ 0 w 247116"/>
                <a:gd name="connsiteY3" fmla="*/ 220351 h 397944"/>
                <a:gd name="connsiteX4" fmla="*/ 5505 w 247116"/>
                <a:gd name="connsiteY4" fmla="*/ 195862 h 397944"/>
                <a:gd name="connsiteX5" fmla="*/ 0 w 247116"/>
                <a:gd name="connsiteY5" fmla="*/ 171059 h 397944"/>
                <a:gd name="connsiteX6" fmla="*/ 22393 w 247116"/>
                <a:gd name="connsiteY6" fmla="*/ 169135 h 397944"/>
                <a:gd name="connsiteX7" fmla="*/ 51016 w 247116"/>
                <a:gd name="connsiteY7" fmla="*/ 197758 h 397944"/>
                <a:gd name="connsiteX8" fmla="*/ 121968 w 247116"/>
                <a:gd name="connsiteY8" fmla="*/ 0 h 397944"/>
                <a:gd name="connsiteX9" fmla="*/ 93421 w 247116"/>
                <a:gd name="connsiteY9" fmla="*/ 54568 h 397944"/>
                <a:gd name="connsiteX10" fmla="*/ 120625 w 247116"/>
                <a:gd name="connsiteY10" fmla="*/ 47749 h 397944"/>
                <a:gd name="connsiteX11" fmla="*/ 149885 w 247116"/>
                <a:gd name="connsiteY11" fmla="*/ 48006 h 397944"/>
                <a:gd name="connsiteX12" fmla="*/ 142923 w 247116"/>
                <a:gd name="connsiteY12" fmla="*/ 88182 h 397944"/>
                <a:gd name="connsiteX13" fmla="*/ 118910 w 247116"/>
                <a:gd name="connsiteY13" fmla="*/ 131378 h 397944"/>
                <a:gd name="connsiteX14" fmla="*/ 146523 w 247116"/>
                <a:gd name="connsiteY14" fmla="*/ 134407 h 397944"/>
                <a:gd name="connsiteX15" fmla="*/ 148647 w 247116"/>
                <a:gd name="connsiteY15" fmla="*/ 139398 h 397944"/>
                <a:gd name="connsiteX16" fmla="*/ 172431 w 247116"/>
                <a:gd name="connsiteY16" fmla="*/ 194520 h 397944"/>
                <a:gd name="connsiteX17" fmla="*/ 190710 w 247116"/>
                <a:gd name="connsiteY17" fmla="*/ 201892 h 397944"/>
                <a:gd name="connsiteX18" fmla="*/ 207150 w 247116"/>
                <a:gd name="connsiteY18" fmla="*/ 253412 h 397944"/>
                <a:gd name="connsiteX19" fmla="*/ 214760 w 247116"/>
                <a:gd name="connsiteY19" fmla="*/ 270948 h 397944"/>
                <a:gd name="connsiteX20" fmla="*/ 247117 w 247116"/>
                <a:gd name="connsiteY20" fmla="*/ 279349 h 397944"/>
                <a:gd name="connsiteX21" fmla="*/ 243869 w 247116"/>
                <a:gd name="connsiteY21" fmla="*/ 307286 h 397944"/>
                <a:gd name="connsiteX22" fmla="*/ 230267 w 247116"/>
                <a:gd name="connsiteY22" fmla="*/ 319964 h 397944"/>
                <a:gd name="connsiteX23" fmla="*/ 240935 w 247116"/>
                <a:gd name="connsiteY23" fmla="*/ 342128 h 397944"/>
                <a:gd name="connsiteX24" fmla="*/ 216913 w 247116"/>
                <a:gd name="connsiteY24" fmla="*/ 364302 h 397944"/>
                <a:gd name="connsiteX25" fmla="*/ 181185 w 247116"/>
                <a:gd name="connsiteY25" fmla="*/ 363912 h 397944"/>
                <a:gd name="connsiteX26" fmla="*/ 135722 w 247116"/>
                <a:gd name="connsiteY26" fmla="*/ 375456 h 397944"/>
                <a:gd name="connsiteX27" fmla="*/ 123263 w 247116"/>
                <a:gd name="connsiteY27" fmla="*/ 367198 h 397944"/>
                <a:gd name="connsiteX28" fmla="*/ 105604 w 247116"/>
                <a:gd name="connsiteY28" fmla="*/ 386801 h 397944"/>
                <a:gd name="connsiteX29" fmla="*/ 80896 w 247116"/>
                <a:gd name="connsiteY29" fmla="*/ 382067 h 397944"/>
                <a:gd name="connsiteX30" fmla="*/ 62132 w 247116"/>
                <a:gd name="connsiteY30" fmla="*/ 397945 h 397944"/>
                <a:gd name="connsiteX31" fmla="*/ 47930 w 247116"/>
                <a:gd name="connsiteY31" fmla="*/ 389658 h 397944"/>
                <a:gd name="connsiteX32" fmla="*/ 87096 w 247116"/>
                <a:gd name="connsiteY32" fmla="*/ 345500 h 397944"/>
                <a:gd name="connsiteX33" fmla="*/ 111004 w 247116"/>
                <a:gd name="connsiteY33" fmla="*/ 336299 h 397944"/>
                <a:gd name="connsiteX34" fmla="*/ 110795 w 247116"/>
                <a:gd name="connsiteY34" fmla="*/ 336261 h 397944"/>
                <a:gd name="connsiteX35" fmla="*/ 69085 w 247116"/>
                <a:gd name="connsiteY35" fmla="*/ 329127 h 397944"/>
                <a:gd name="connsiteX36" fmla="*/ 61531 w 247116"/>
                <a:gd name="connsiteY36" fmla="*/ 311991 h 397944"/>
                <a:gd name="connsiteX37" fmla="*/ 89440 w 247116"/>
                <a:gd name="connsiteY37" fmla="*/ 298532 h 397944"/>
                <a:gd name="connsiteX38" fmla="*/ 74809 w 247116"/>
                <a:gd name="connsiteY38" fmla="*/ 274920 h 397944"/>
                <a:gd name="connsiteX39" fmla="*/ 79886 w 247116"/>
                <a:gd name="connsiteY39" fmla="*/ 245811 h 397944"/>
                <a:gd name="connsiteX40" fmla="*/ 119577 w 247116"/>
                <a:gd name="connsiteY40" fmla="*/ 249860 h 397944"/>
                <a:gd name="connsiteX41" fmla="*/ 119624 w 247116"/>
                <a:gd name="connsiteY41" fmla="*/ 249860 h 397944"/>
                <a:gd name="connsiteX42" fmla="*/ 123558 w 247116"/>
                <a:gd name="connsiteY42" fmla="*/ 223733 h 397944"/>
                <a:gd name="connsiteX43" fmla="*/ 105670 w 247116"/>
                <a:gd name="connsiteY43" fmla="*/ 195615 h 397944"/>
                <a:gd name="connsiteX44" fmla="*/ 105270 w 247116"/>
                <a:gd name="connsiteY44" fmla="*/ 194967 h 397944"/>
                <a:gd name="connsiteX45" fmla="*/ 72838 w 247116"/>
                <a:gd name="connsiteY45" fmla="*/ 186852 h 397944"/>
                <a:gd name="connsiteX46" fmla="*/ 66475 w 247116"/>
                <a:gd name="connsiteY46" fmla="*/ 174298 h 397944"/>
                <a:gd name="connsiteX47" fmla="*/ 76181 w 247116"/>
                <a:gd name="connsiteY47" fmla="*/ 153390 h 397944"/>
                <a:gd name="connsiteX48" fmla="*/ 67399 w 247116"/>
                <a:gd name="connsiteY48" fmla="*/ 140379 h 397944"/>
                <a:gd name="connsiteX49" fmla="*/ 53016 w 247116"/>
                <a:gd name="connsiteY49" fmla="*/ 162649 h 397944"/>
                <a:gd name="connsiteX50" fmla="*/ 51454 w 247116"/>
                <a:gd name="connsiteY50" fmla="*/ 116957 h 397944"/>
                <a:gd name="connsiteX51" fmla="*/ 37967 w 247116"/>
                <a:gd name="connsiteY51" fmla="*/ 92316 h 397944"/>
                <a:gd name="connsiteX52" fmla="*/ 47663 w 247116"/>
                <a:gd name="connsiteY52" fmla="*/ 41300 h 397944"/>
                <a:gd name="connsiteX53" fmla="*/ 68409 w 247116"/>
                <a:gd name="connsiteY53" fmla="*/ 238 h 397944"/>
                <a:gd name="connsiteX54" fmla="*/ 89735 w 247116"/>
                <a:gd name="connsiteY54" fmla="*/ 4286 h 397944"/>
                <a:gd name="connsiteX55" fmla="*/ 121968 w 247116"/>
                <a:gd name="connsiteY55" fmla="*/ 0 h 397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47116" h="397944">
                  <a:moveTo>
                    <a:pt x="51016" y="197758"/>
                  </a:moveTo>
                  <a:lnTo>
                    <a:pt x="36700" y="229067"/>
                  </a:lnTo>
                  <a:lnTo>
                    <a:pt x="16516" y="219732"/>
                  </a:lnTo>
                  <a:lnTo>
                    <a:pt x="0" y="220351"/>
                  </a:lnTo>
                  <a:lnTo>
                    <a:pt x="5505" y="195862"/>
                  </a:lnTo>
                  <a:lnTo>
                    <a:pt x="0" y="171059"/>
                  </a:lnTo>
                  <a:lnTo>
                    <a:pt x="22393" y="169135"/>
                  </a:lnTo>
                  <a:lnTo>
                    <a:pt x="51016" y="197758"/>
                  </a:lnTo>
                  <a:close/>
                  <a:moveTo>
                    <a:pt x="121968" y="0"/>
                  </a:moveTo>
                  <a:lnTo>
                    <a:pt x="93421" y="54568"/>
                  </a:lnTo>
                  <a:lnTo>
                    <a:pt x="120625" y="47749"/>
                  </a:lnTo>
                  <a:lnTo>
                    <a:pt x="149885" y="48006"/>
                  </a:lnTo>
                  <a:lnTo>
                    <a:pt x="142923" y="88182"/>
                  </a:lnTo>
                  <a:lnTo>
                    <a:pt x="118910" y="131378"/>
                  </a:lnTo>
                  <a:lnTo>
                    <a:pt x="146523" y="134407"/>
                  </a:lnTo>
                  <a:lnTo>
                    <a:pt x="148647" y="139398"/>
                  </a:lnTo>
                  <a:lnTo>
                    <a:pt x="172431" y="194520"/>
                  </a:lnTo>
                  <a:lnTo>
                    <a:pt x="190710" y="201892"/>
                  </a:lnTo>
                  <a:lnTo>
                    <a:pt x="207150" y="253412"/>
                  </a:lnTo>
                  <a:lnTo>
                    <a:pt x="214760" y="270948"/>
                  </a:lnTo>
                  <a:lnTo>
                    <a:pt x="247117" y="279349"/>
                  </a:lnTo>
                  <a:lnTo>
                    <a:pt x="243869" y="307286"/>
                  </a:lnTo>
                  <a:lnTo>
                    <a:pt x="230267" y="319964"/>
                  </a:lnTo>
                  <a:lnTo>
                    <a:pt x="240935" y="342128"/>
                  </a:lnTo>
                  <a:lnTo>
                    <a:pt x="216913" y="364302"/>
                  </a:lnTo>
                  <a:lnTo>
                    <a:pt x="181185" y="363912"/>
                  </a:lnTo>
                  <a:lnTo>
                    <a:pt x="135722" y="375456"/>
                  </a:lnTo>
                  <a:lnTo>
                    <a:pt x="123263" y="367198"/>
                  </a:lnTo>
                  <a:lnTo>
                    <a:pt x="105604" y="386801"/>
                  </a:lnTo>
                  <a:lnTo>
                    <a:pt x="80896" y="382067"/>
                  </a:lnTo>
                  <a:lnTo>
                    <a:pt x="62132" y="397945"/>
                  </a:lnTo>
                  <a:lnTo>
                    <a:pt x="47930" y="389658"/>
                  </a:lnTo>
                  <a:lnTo>
                    <a:pt x="87096" y="345500"/>
                  </a:lnTo>
                  <a:lnTo>
                    <a:pt x="111004" y="336299"/>
                  </a:lnTo>
                  <a:lnTo>
                    <a:pt x="110795" y="336261"/>
                  </a:lnTo>
                  <a:lnTo>
                    <a:pt x="69085" y="329127"/>
                  </a:lnTo>
                  <a:lnTo>
                    <a:pt x="61531" y="311991"/>
                  </a:lnTo>
                  <a:lnTo>
                    <a:pt x="89440" y="298532"/>
                  </a:lnTo>
                  <a:lnTo>
                    <a:pt x="74809" y="274920"/>
                  </a:lnTo>
                  <a:lnTo>
                    <a:pt x="79886" y="245811"/>
                  </a:lnTo>
                  <a:lnTo>
                    <a:pt x="119577" y="249860"/>
                  </a:lnTo>
                  <a:lnTo>
                    <a:pt x="119624" y="249860"/>
                  </a:lnTo>
                  <a:lnTo>
                    <a:pt x="123558" y="223733"/>
                  </a:lnTo>
                  <a:lnTo>
                    <a:pt x="105670" y="195615"/>
                  </a:lnTo>
                  <a:lnTo>
                    <a:pt x="105270" y="194967"/>
                  </a:lnTo>
                  <a:lnTo>
                    <a:pt x="72838" y="186852"/>
                  </a:lnTo>
                  <a:lnTo>
                    <a:pt x="66475" y="174298"/>
                  </a:lnTo>
                  <a:lnTo>
                    <a:pt x="76181" y="153390"/>
                  </a:lnTo>
                  <a:lnTo>
                    <a:pt x="67399" y="140379"/>
                  </a:lnTo>
                  <a:lnTo>
                    <a:pt x="53016" y="162649"/>
                  </a:lnTo>
                  <a:lnTo>
                    <a:pt x="51454" y="116957"/>
                  </a:lnTo>
                  <a:lnTo>
                    <a:pt x="37967" y="92316"/>
                  </a:lnTo>
                  <a:lnTo>
                    <a:pt x="47663" y="41300"/>
                  </a:lnTo>
                  <a:lnTo>
                    <a:pt x="68409" y="238"/>
                  </a:lnTo>
                  <a:lnTo>
                    <a:pt x="89735" y="4286"/>
                  </a:lnTo>
                  <a:lnTo>
                    <a:pt x="121968" y="0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orme libre : forme 5707">
              <a:extLst>
                <a:ext uri="{FF2B5EF4-FFF2-40B4-BE49-F238E27FC236}">
                  <a16:creationId xmlns:a16="http://schemas.microsoft.com/office/drawing/2014/main" id="{0616A110-8858-7B49-42C2-D42AE3BB1F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887965" y="3455036"/>
              <a:ext cx="178479" cy="89554"/>
            </a:xfrm>
            <a:custGeom>
              <a:avLst/>
              <a:gdLst>
                <a:gd name="connsiteX0" fmla="*/ 42710 w 178479"/>
                <a:gd name="connsiteY0" fmla="*/ 72876 h 89554"/>
                <a:gd name="connsiteX1" fmla="*/ 46691 w 178479"/>
                <a:gd name="connsiteY1" fmla="*/ 57636 h 89554"/>
                <a:gd name="connsiteX2" fmla="*/ 40014 w 178479"/>
                <a:gd name="connsiteY2" fmla="*/ 33090 h 89554"/>
                <a:gd name="connsiteX3" fmla="*/ 24584 w 178479"/>
                <a:gd name="connsiteY3" fmla="*/ 19717 h 89554"/>
                <a:gd name="connsiteX4" fmla="*/ 9782 w 178479"/>
                <a:gd name="connsiteY4" fmla="*/ 15535 h 89554"/>
                <a:gd name="connsiteX5" fmla="*/ 0 w 178479"/>
                <a:gd name="connsiteY5" fmla="*/ 4334 h 89554"/>
                <a:gd name="connsiteX6" fmla="*/ 3257 w 178479"/>
                <a:gd name="connsiteY6" fmla="*/ 0 h 89554"/>
                <a:gd name="connsiteX7" fmla="*/ 25832 w 178479"/>
                <a:gd name="connsiteY7" fmla="*/ 6267 h 89554"/>
                <a:gd name="connsiteX8" fmla="*/ 65151 w 178479"/>
                <a:gd name="connsiteY8" fmla="*/ 12182 h 89554"/>
                <a:gd name="connsiteX9" fmla="*/ 101508 w 178479"/>
                <a:gd name="connsiteY9" fmla="*/ 29632 h 89554"/>
                <a:gd name="connsiteX10" fmla="*/ 106194 w 178479"/>
                <a:gd name="connsiteY10" fmla="*/ 36357 h 89554"/>
                <a:gd name="connsiteX11" fmla="*/ 122387 w 178479"/>
                <a:gd name="connsiteY11" fmla="*/ 30671 h 89554"/>
                <a:gd name="connsiteX12" fmla="*/ 147295 w 178479"/>
                <a:gd name="connsiteY12" fmla="*/ 38233 h 89554"/>
                <a:gd name="connsiteX13" fmla="*/ 155477 w 178479"/>
                <a:gd name="connsiteY13" fmla="*/ 52997 h 89554"/>
                <a:gd name="connsiteX14" fmla="*/ 172260 w 178479"/>
                <a:gd name="connsiteY14" fmla="*/ 61293 h 89554"/>
                <a:gd name="connsiteX15" fmla="*/ 165325 w 178479"/>
                <a:gd name="connsiteY15" fmla="*/ 66208 h 89554"/>
                <a:gd name="connsiteX16" fmla="*/ 178479 w 178479"/>
                <a:gd name="connsiteY16" fmla="*/ 85420 h 89554"/>
                <a:gd name="connsiteX17" fmla="*/ 174841 w 178479"/>
                <a:gd name="connsiteY17" fmla="*/ 89554 h 89554"/>
                <a:gd name="connsiteX18" fmla="*/ 160439 w 178479"/>
                <a:gd name="connsiteY18" fmla="*/ 87459 h 89554"/>
                <a:gd name="connsiteX19" fmla="*/ 140541 w 178479"/>
                <a:gd name="connsiteY19" fmla="*/ 77286 h 89554"/>
                <a:gd name="connsiteX20" fmla="*/ 133998 w 178479"/>
                <a:gd name="connsiteY20" fmla="*/ 83068 h 89554"/>
                <a:gd name="connsiteX21" fmla="*/ 96888 w 178479"/>
                <a:gd name="connsiteY21" fmla="*/ 88583 h 89554"/>
                <a:gd name="connsiteX22" fmla="*/ 71161 w 178479"/>
                <a:gd name="connsiteY22" fmla="*/ 71180 h 89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8479" h="89554">
                  <a:moveTo>
                    <a:pt x="42710" y="72876"/>
                  </a:moveTo>
                  <a:lnTo>
                    <a:pt x="46691" y="57636"/>
                  </a:lnTo>
                  <a:lnTo>
                    <a:pt x="40014" y="33090"/>
                  </a:lnTo>
                  <a:lnTo>
                    <a:pt x="24584" y="19717"/>
                  </a:lnTo>
                  <a:lnTo>
                    <a:pt x="9782" y="15535"/>
                  </a:lnTo>
                  <a:lnTo>
                    <a:pt x="0" y="4334"/>
                  </a:lnTo>
                  <a:lnTo>
                    <a:pt x="3257" y="0"/>
                  </a:lnTo>
                  <a:lnTo>
                    <a:pt x="25832" y="6267"/>
                  </a:lnTo>
                  <a:lnTo>
                    <a:pt x="65151" y="12182"/>
                  </a:lnTo>
                  <a:lnTo>
                    <a:pt x="101508" y="29632"/>
                  </a:lnTo>
                  <a:lnTo>
                    <a:pt x="106194" y="36357"/>
                  </a:lnTo>
                  <a:lnTo>
                    <a:pt x="122387" y="30671"/>
                  </a:lnTo>
                  <a:lnTo>
                    <a:pt x="147295" y="38233"/>
                  </a:lnTo>
                  <a:lnTo>
                    <a:pt x="155477" y="52997"/>
                  </a:lnTo>
                  <a:lnTo>
                    <a:pt x="172260" y="61293"/>
                  </a:lnTo>
                  <a:lnTo>
                    <a:pt x="165325" y="66208"/>
                  </a:lnTo>
                  <a:lnTo>
                    <a:pt x="178479" y="85420"/>
                  </a:lnTo>
                  <a:lnTo>
                    <a:pt x="174841" y="89554"/>
                  </a:lnTo>
                  <a:lnTo>
                    <a:pt x="160439" y="87459"/>
                  </a:lnTo>
                  <a:lnTo>
                    <a:pt x="140541" y="77286"/>
                  </a:lnTo>
                  <a:lnTo>
                    <a:pt x="133998" y="83068"/>
                  </a:lnTo>
                  <a:lnTo>
                    <a:pt x="96888" y="88583"/>
                  </a:lnTo>
                  <a:lnTo>
                    <a:pt x="71161" y="7118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orme libre : forme 5708">
              <a:extLst>
                <a:ext uri="{FF2B5EF4-FFF2-40B4-BE49-F238E27FC236}">
                  <a16:creationId xmlns:a16="http://schemas.microsoft.com/office/drawing/2014/main" id="{0A306008-1BD9-BAFC-8343-C18DAA97929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364726" y="4589682"/>
              <a:ext cx="76552" cy="98488"/>
            </a:xfrm>
            <a:custGeom>
              <a:avLst/>
              <a:gdLst>
                <a:gd name="connsiteX0" fmla="*/ 52569 w 76552"/>
                <a:gd name="connsiteY0" fmla="*/ 86506 h 98488"/>
                <a:gd name="connsiteX1" fmla="*/ 42329 w 76552"/>
                <a:gd name="connsiteY1" fmla="*/ 96593 h 98488"/>
                <a:gd name="connsiteX2" fmla="*/ 29547 w 76552"/>
                <a:gd name="connsiteY2" fmla="*/ 98488 h 98488"/>
                <a:gd name="connsiteX3" fmla="*/ 25908 w 76552"/>
                <a:gd name="connsiteY3" fmla="*/ 91011 h 98488"/>
                <a:gd name="connsiteX4" fmla="*/ 19936 w 76552"/>
                <a:gd name="connsiteY4" fmla="*/ 89897 h 98488"/>
                <a:gd name="connsiteX5" fmla="*/ 11668 w 76552"/>
                <a:gd name="connsiteY5" fmla="*/ 97098 h 98488"/>
                <a:gd name="connsiteX6" fmla="*/ 0 w 76552"/>
                <a:gd name="connsiteY6" fmla="*/ 91621 h 98488"/>
                <a:gd name="connsiteX7" fmla="*/ 6772 w 76552"/>
                <a:gd name="connsiteY7" fmla="*/ 80286 h 98488"/>
                <a:gd name="connsiteX8" fmla="*/ 9097 w 76552"/>
                <a:gd name="connsiteY8" fmla="*/ 68189 h 98488"/>
                <a:gd name="connsiteX9" fmla="*/ 13706 w 76552"/>
                <a:gd name="connsiteY9" fmla="*/ 56807 h 98488"/>
                <a:gd name="connsiteX10" fmla="*/ 3343 w 76552"/>
                <a:gd name="connsiteY10" fmla="*/ 41119 h 98488"/>
                <a:gd name="connsiteX11" fmla="*/ 1229 w 76552"/>
                <a:gd name="connsiteY11" fmla="*/ 22908 h 98488"/>
                <a:gd name="connsiteX12" fmla="*/ 15126 w 76552"/>
                <a:gd name="connsiteY12" fmla="*/ 0 h 98488"/>
                <a:gd name="connsiteX13" fmla="*/ 24194 w 76552"/>
                <a:gd name="connsiteY13" fmla="*/ 2934 h 98488"/>
                <a:gd name="connsiteX14" fmla="*/ 43863 w 76552"/>
                <a:gd name="connsiteY14" fmla="*/ 9239 h 98488"/>
                <a:gd name="connsiteX15" fmla="*/ 72133 w 76552"/>
                <a:gd name="connsiteY15" fmla="*/ 31718 h 98488"/>
                <a:gd name="connsiteX16" fmla="*/ 76553 w 76552"/>
                <a:gd name="connsiteY16" fmla="*/ 42615 h 98488"/>
                <a:gd name="connsiteX17" fmla="*/ 60751 w 76552"/>
                <a:gd name="connsiteY17" fmla="*/ 66942 h 98488"/>
                <a:gd name="connsiteX18" fmla="*/ 52569 w 76552"/>
                <a:gd name="connsiteY18" fmla="*/ 86506 h 9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6552" h="98488">
                  <a:moveTo>
                    <a:pt x="52569" y="86506"/>
                  </a:moveTo>
                  <a:lnTo>
                    <a:pt x="42329" y="96593"/>
                  </a:lnTo>
                  <a:lnTo>
                    <a:pt x="29547" y="98488"/>
                  </a:lnTo>
                  <a:lnTo>
                    <a:pt x="25908" y="91011"/>
                  </a:lnTo>
                  <a:lnTo>
                    <a:pt x="19936" y="89897"/>
                  </a:lnTo>
                  <a:lnTo>
                    <a:pt x="11668" y="97098"/>
                  </a:lnTo>
                  <a:lnTo>
                    <a:pt x="0" y="91621"/>
                  </a:lnTo>
                  <a:lnTo>
                    <a:pt x="6772" y="80286"/>
                  </a:lnTo>
                  <a:lnTo>
                    <a:pt x="9097" y="68189"/>
                  </a:lnTo>
                  <a:lnTo>
                    <a:pt x="13706" y="56807"/>
                  </a:lnTo>
                  <a:lnTo>
                    <a:pt x="3343" y="41119"/>
                  </a:lnTo>
                  <a:lnTo>
                    <a:pt x="1229" y="22908"/>
                  </a:lnTo>
                  <a:lnTo>
                    <a:pt x="15126" y="0"/>
                  </a:lnTo>
                  <a:lnTo>
                    <a:pt x="24194" y="2934"/>
                  </a:lnTo>
                  <a:lnTo>
                    <a:pt x="43863" y="9239"/>
                  </a:lnTo>
                  <a:lnTo>
                    <a:pt x="72133" y="31718"/>
                  </a:lnTo>
                  <a:lnTo>
                    <a:pt x="76553" y="42615"/>
                  </a:lnTo>
                  <a:lnTo>
                    <a:pt x="60751" y="66942"/>
                  </a:lnTo>
                  <a:lnTo>
                    <a:pt x="52569" y="865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orme libre : forme 5709">
              <a:extLst>
                <a:ext uri="{FF2B5EF4-FFF2-40B4-BE49-F238E27FC236}">
                  <a16:creationId xmlns:a16="http://schemas.microsoft.com/office/drawing/2014/main" id="{95BEF991-4464-5167-3523-0D913A3972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734249" y="4446360"/>
              <a:ext cx="114966" cy="171192"/>
            </a:xfrm>
            <a:custGeom>
              <a:avLst/>
              <a:gdLst>
                <a:gd name="connsiteX0" fmla="*/ 114967 w 114966"/>
                <a:gd name="connsiteY0" fmla="*/ 138731 h 171192"/>
                <a:gd name="connsiteX1" fmla="*/ 73095 w 114966"/>
                <a:gd name="connsiteY1" fmla="*/ 154333 h 171192"/>
                <a:gd name="connsiteX2" fmla="*/ 58245 w 114966"/>
                <a:gd name="connsiteY2" fmla="*/ 163468 h 171192"/>
                <a:gd name="connsiteX3" fmla="*/ 34176 w 114966"/>
                <a:gd name="connsiteY3" fmla="*/ 171193 h 171192"/>
                <a:gd name="connsiteX4" fmla="*/ 10373 w 114966"/>
                <a:gd name="connsiteY4" fmla="*/ 163630 h 171192"/>
                <a:gd name="connsiteX5" fmla="*/ 11582 w 114966"/>
                <a:gd name="connsiteY5" fmla="*/ 153124 h 171192"/>
                <a:gd name="connsiteX6" fmla="*/ 0 w 114966"/>
                <a:gd name="connsiteY6" fmla="*/ 130149 h 171192"/>
                <a:gd name="connsiteX7" fmla="*/ 6963 w 114966"/>
                <a:gd name="connsiteY7" fmla="*/ 99974 h 171192"/>
                <a:gd name="connsiteX8" fmla="*/ 18221 w 114966"/>
                <a:gd name="connsiteY8" fmla="*/ 77486 h 171192"/>
                <a:gd name="connsiteX9" fmla="*/ 11135 w 114966"/>
                <a:gd name="connsiteY9" fmla="*/ 39271 h 171192"/>
                <a:gd name="connsiteX10" fmla="*/ 7486 w 114966"/>
                <a:gd name="connsiteY10" fmla="*/ 18983 h 171192"/>
                <a:gd name="connsiteX11" fmla="*/ 8115 w 114966"/>
                <a:gd name="connsiteY11" fmla="*/ 3667 h 171192"/>
                <a:gd name="connsiteX12" fmla="*/ 54512 w 114966"/>
                <a:gd name="connsiteY12" fmla="*/ 2391 h 171192"/>
                <a:gd name="connsiteX13" fmla="*/ 66313 w 114966"/>
                <a:gd name="connsiteY13" fmla="*/ 4362 h 171192"/>
                <a:gd name="connsiteX14" fmla="*/ 74933 w 114966"/>
                <a:gd name="connsiteY14" fmla="*/ 0 h 171192"/>
                <a:gd name="connsiteX15" fmla="*/ 87287 w 114966"/>
                <a:gd name="connsiteY15" fmla="*/ 2152 h 171192"/>
                <a:gd name="connsiteX16" fmla="*/ 85315 w 114966"/>
                <a:gd name="connsiteY16" fmla="*/ 10573 h 171192"/>
                <a:gd name="connsiteX17" fmla="*/ 96469 w 114966"/>
                <a:gd name="connsiteY17" fmla="*/ 24489 h 171192"/>
                <a:gd name="connsiteX18" fmla="*/ 96421 w 114966"/>
                <a:gd name="connsiteY18" fmla="*/ 44044 h 171192"/>
                <a:gd name="connsiteX19" fmla="*/ 98965 w 114966"/>
                <a:gd name="connsiteY19" fmla="*/ 65208 h 171192"/>
                <a:gd name="connsiteX20" fmla="*/ 105670 w 114966"/>
                <a:gd name="connsiteY20" fmla="*/ 74990 h 171192"/>
                <a:gd name="connsiteX21" fmla="*/ 99755 w 114966"/>
                <a:gd name="connsiteY21" fmla="*/ 99117 h 171192"/>
                <a:gd name="connsiteX22" fmla="*/ 101879 w 114966"/>
                <a:gd name="connsiteY22" fmla="*/ 112423 h 171192"/>
                <a:gd name="connsiteX23" fmla="*/ 109004 w 114966"/>
                <a:gd name="connsiteY23" fmla="*/ 129359 h 17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4966" h="171192">
                  <a:moveTo>
                    <a:pt x="114967" y="138731"/>
                  </a:moveTo>
                  <a:lnTo>
                    <a:pt x="73095" y="154333"/>
                  </a:lnTo>
                  <a:lnTo>
                    <a:pt x="58245" y="163468"/>
                  </a:lnTo>
                  <a:lnTo>
                    <a:pt x="34176" y="171193"/>
                  </a:lnTo>
                  <a:lnTo>
                    <a:pt x="10373" y="163630"/>
                  </a:lnTo>
                  <a:lnTo>
                    <a:pt x="11582" y="153124"/>
                  </a:lnTo>
                  <a:lnTo>
                    <a:pt x="0" y="130149"/>
                  </a:lnTo>
                  <a:lnTo>
                    <a:pt x="6963" y="99974"/>
                  </a:lnTo>
                  <a:lnTo>
                    <a:pt x="18221" y="77486"/>
                  </a:lnTo>
                  <a:lnTo>
                    <a:pt x="11135" y="39271"/>
                  </a:lnTo>
                  <a:lnTo>
                    <a:pt x="7486" y="18983"/>
                  </a:lnTo>
                  <a:lnTo>
                    <a:pt x="8115" y="3667"/>
                  </a:lnTo>
                  <a:lnTo>
                    <a:pt x="54512" y="2391"/>
                  </a:lnTo>
                  <a:lnTo>
                    <a:pt x="66313" y="4362"/>
                  </a:lnTo>
                  <a:lnTo>
                    <a:pt x="74933" y="0"/>
                  </a:lnTo>
                  <a:lnTo>
                    <a:pt x="87287" y="2152"/>
                  </a:lnTo>
                  <a:lnTo>
                    <a:pt x="85315" y="10573"/>
                  </a:lnTo>
                  <a:lnTo>
                    <a:pt x="96469" y="24489"/>
                  </a:lnTo>
                  <a:lnTo>
                    <a:pt x="96421" y="44044"/>
                  </a:lnTo>
                  <a:lnTo>
                    <a:pt x="98965" y="65208"/>
                  </a:lnTo>
                  <a:lnTo>
                    <a:pt x="105670" y="74990"/>
                  </a:lnTo>
                  <a:lnTo>
                    <a:pt x="99755" y="99117"/>
                  </a:lnTo>
                  <a:lnTo>
                    <a:pt x="101879" y="112423"/>
                  </a:lnTo>
                  <a:lnTo>
                    <a:pt x="109004" y="12935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orme libre : forme 5710">
              <a:extLst>
                <a:ext uri="{FF2B5EF4-FFF2-40B4-BE49-F238E27FC236}">
                  <a16:creationId xmlns:a16="http://schemas.microsoft.com/office/drawing/2014/main" id="{D9F0C223-8839-A14E-6731-225D494CEA5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863378" y="328912"/>
              <a:ext cx="1631470" cy="2405481"/>
            </a:xfrm>
            <a:custGeom>
              <a:avLst/>
              <a:gdLst>
                <a:gd name="connsiteX0" fmla="*/ 708612 w 1631470"/>
                <a:gd name="connsiteY0" fmla="*/ 227714 h 2405481"/>
                <a:gd name="connsiteX1" fmla="*/ 798281 w 1631470"/>
                <a:gd name="connsiteY1" fmla="*/ 98127 h 2405481"/>
                <a:gd name="connsiteX2" fmla="*/ 891987 w 1631470"/>
                <a:gd name="connsiteY2" fmla="*/ 108280 h 2405481"/>
                <a:gd name="connsiteX3" fmla="*/ 926049 w 1631470"/>
                <a:gd name="connsiteY3" fmla="*/ 23012 h 2405481"/>
                <a:gd name="connsiteX4" fmla="*/ 1020442 w 1631470"/>
                <a:gd name="connsiteY4" fmla="*/ 0 h 2405481"/>
                <a:gd name="connsiteX5" fmla="*/ 1233754 w 1631470"/>
                <a:gd name="connsiteY5" fmla="*/ 29975 h 2405481"/>
                <a:gd name="connsiteX6" fmla="*/ 1400813 w 1631470"/>
                <a:gd name="connsiteY6" fmla="*/ 207026 h 2405481"/>
                <a:gd name="connsiteX7" fmla="*/ 1351493 w 1631470"/>
                <a:gd name="connsiteY7" fmla="*/ 286179 h 2405481"/>
                <a:gd name="connsiteX8" fmla="*/ 1249328 w 1631470"/>
                <a:gd name="connsiteY8" fmla="*/ 294970 h 2405481"/>
                <a:gd name="connsiteX9" fmla="*/ 1105576 w 1631470"/>
                <a:gd name="connsiteY9" fmla="*/ 314306 h 2405481"/>
                <a:gd name="connsiteX10" fmla="*/ 1119025 w 1631470"/>
                <a:gd name="connsiteY10" fmla="*/ 349025 h 2405481"/>
                <a:gd name="connsiteX11" fmla="*/ 1213561 w 1631470"/>
                <a:gd name="connsiteY11" fmla="*/ 327660 h 2405481"/>
                <a:gd name="connsiteX12" fmla="*/ 1294009 w 1631470"/>
                <a:gd name="connsiteY12" fmla="*/ 393506 h 2405481"/>
                <a:gd name="connsiteX13" fmla="*/ 1345854 w 1631470"/>
                <a:gd name="connsiteY13" fmla="*/ 335175 h 2405481"/>
                <a:gd name="connsiteX14" fmla="*/ 1368057 w 1631470"/>
                <a:gd name="connsiteY14" fmla="*/ 403279 h 2405481"/>
                <a:gd name="connsiteX15" fmla="*/ 1338739 w 1631470"/>
                <a:gd name="connsiteY15" fmla="*/ 507740 h 2405481"/>
                <a:gd name="connsiteX16" fmla="*/ 1406728 w 1631470"/>
                <a:gd name="connsiteY16" fmla="*/ 441779 h 2405481"/>
                <a:gd name="connsiteX17" fmla="*/ 1536411 w 1631470"/>
                <a:gd name="connsiteY17" fmla="*/ 369865 h 2405481"/>
                <a:gd name="connsiteX18" fmla="*/ 1616469 w 1631470"/>
                <a:gd name="connsiteY18" fmla="*/ 406184 h 2405481"/>
                <a:gd name="connsiteX19" fmla="*/ 1631471 w 1631470"/>
                <a:gd name="connsiteY19" fmla="*/ 483441 h 2405481"/>
                <a:gd name="connsiteX20" fmla="*/ 1522590 w 1631470"/>
                <a:gd name="connsiteY20" fmla="*/ 604104 h 2405481"/>
                <a:gd name="connsiteX21" fmla="*/ 1507512 w 1631470"/>
                <a:gd name="connsiteY21" fmla="*/ 641185 h 2405481"/>
                <a:gd name="connsiteX22" fmla="*/ 1422149 w 1631470"/>
                <a:gd name="connsiteY22" fmla="*/ 668484 h 2405481"/>
                <a:gd name="connsiteX23" fmla="*/ 1484005 w 1631470"/>
                <a:gd name="connsiteY23" fmla="*/ 675970 h 2405481"/>
                <a:gd name="connsiteX24" fmla="*/ 1452763 w 1631470"/>
                <a:gd name="connsiteY24" fmla="*/ 785584 h 2405481"/>
                <a:gd name="connsiteX25" fmla="*/ 1431264 w 1631470"/>
                <a:gd name="connsiteY25" fmla="*/ 877005 h 2405481"/>
                <a:gd name="connsiteX26" fmla="*/ 1432103 w 1631470"/>
                <a:gd name="connsiteY26" fmla="*/ 1022328 h 2405481"/>
                <a:gd name="connsiteX27" fmla="*/ 1464173 w 1631470"/>
                <a:gd name="connsiteY27" fmla="*/ 1101709 h 2405481"/>
                <a:gd name="connsiteX28" fmla="*/ 1422454 w 1631470"/>
                <a:gd name="connsiteY28" fmla="*/ 1106596 h 2405481"/>
                <a:gd name="connsiteX29" fmla="*/ 1378534 w 1631470"/>
                <a:gd name="connsiteY29" fmla="*/ 1143552 h 2405481"/>
                <a:gd name="connsiteX30" fmla="*/ 1427816 w 1631470"/>
                <a:gd name="connsiteY30" fmla="*/ 1203560 h 2405481"/>
                <a:gd name="connsiteX31" fmla="*/ 1434093 w 1631470"/>
                <a:gd name="connsiteY31" fmla="*/ 1295248 h 2405481"/>
                <a:gd name="connsiteX32" fmla="*/ 1405538 w 1631470"/>
                <a:gd name="connsiteY32" fmla="*/ 1304925 h 2405481"/>
                <a:gd name="connsiteX33" fmla="*/ 1440142 w 1631470"/>
                <a:gd name="connsiteY33" fmla="*/ 1392117 h 2405481"/>
                <a:gd name="connsiteX34" fmla="*/ 1380811 w 1631470"/>
                <a:gd name="connsiteY34" fmla="*/ 1399184 h 2405481"/>
                <a:gd name="connsiteX35" fmla="*/ 1411786 w 1631470"/>
                <a:gd name="connsiteY35" fmla="*/ 1438618 h 2405481"/>
                <a:gd name="connsiteX36" fmla="*/ 1403032 w 1631470"/>
                <a:gd name="connsiteY36" fmla="*/ 1472041 h 2405481"/>
                <a:gd name="connsiteX37" fmla="*/ 1365371 w 1631470"/>
                <a:gd name="connsiteY37" fmla="*/ 1486500 h 2405481"/>
                <a:gd name="connsiteX38" fmla="*/ 1328156 w 1631470"/>
                <a:gd name="connsiteY38" fmla="*/ 1486767 h 2405481"/>
                <a:gd name="connsiteX39" fmla="*/ 1361608 w 1631470"/>
                <a:gd name="connsiteY39" fmla="*/ 1548498 h 2405481"/>
                <a:gd name="connsiteX40" fmla="*/ 1361980 w 1631470"/>
                <a:gd name="connsiteY40" fmla="*/ 1587818 h 2405481"/>
                <a:gd name="connsiteX41" fmla="*/ 1309125 w 1631470"/>
                <a:gd name="connsiteY41" fmla="*/ 1551308 h 2405481"/>
                <a:gd name="connsiteX42" fmla="*/ 1295381 w 1631470"/>
                <a:gd name="connsiteY42" fmla="*/ 1575016 h 2405481"/>
                <a:gd name="connsiteX43" fmla="*/ 1331433 w 1631470"/>
                <a:gd name="connsiteY43" fmla="*/ 1596857 h 2405481"/>
                <a:gd name="connsiteX44" fmla="*/ 1366428 w 1631470"/>
                <a:gd name="connsiteY44" fmla="*/ 1649016 h 2405481"/>
                <a:gd name="connsiteX45" fmla="*/ 1376553 w 1631470"/>
                <a:gd name="connsiteY45" fmla="*/ 1715262 h 2405481"/>
                <a:gd name="connsiteX46" fmla="*/ 1328947 w 1631470"/>
                <a:gd name="connsiteY46" fmla="*/ 1730721 h 2405481"/>
                <a:gd name="connsiteX47" fmla="*/ 1308364 w 1631470"/>
                <a:gd name="connsiteY47" fmla="*/ 1699641 h 2405481"/>
                <a:gd name="connsiteX48" fmla="*/ 1275340 w 1631470"/>
                <a:gd name="connsiteY48" fmla="*/ 1652207 h 2405481"/>
                <a:gd name="connsiteX49" fmla="*/ 1284475 w 1631470"/>
                <a:gd name="connsiteY49" fmla="*/ 1708109 h 2405481"/>
                <a:gd name="connsiteX50" fmla="*/ 1253452 w 1631470"/>
                <a:gd name="connsiteY50" fmla="*/ 1750124 h 2405481"/>
                <a:gd name="connsiteX51" fmla="*/ 1323842 w 1631470"/>
                <a:gd name="connsiteY51" fmla="*/ 1753467 h 2405481"/>
                <a:gd name="connsiteX52" fmla="*/ 1360656 w 1631470"/>
                <a:gd name="connsiteY52" fmla="*/ 1757763 h 2405481"/>
                <a:gd name="connsiteX53" fmla="*/ 1289075 w 1631470"/>
                <a:gd name="connsiteY53" fmla="*/ 1824714 h 2405481"/>
                <a:gd name="connsiteX54" fmla="*/ 1216485 w 1631470"/>
                <a:gd name="connsiteY54" fmla="*/ 1883064 h 2405481"/>
                <a:gd name="connsiteX55" fmla="*/ 1138333 w 1631470"/>
                <a:gd name="connsiteY55" fmla="*/ 1907981 h 2405481"/>
                <a:gd name="connsiteX56" fmla="*/ 1108872 w 1631470"/>
                <a:gd name="connsiteY56" fmla="*/ 1908296 h 2405481"/>
                <a:gd name="connsiteX57" fmla="*/ 1081249 w 1631470"/>
                <a:gd name="connsiteY57" fmla="*/ 1935652 h 2405481"/>
                <a:gd name="connsiteX58" fmla="*/ 1044092 w 1631470"/>
                <a:gd name="connsiteY58" fmla="*/ 2008375 h 2405481"/>
                <a:gd name="connsiteX59" fmla="*/ 986657 w 1631470"/>
                <a:gd name="connsiteY59" fmla="*/ 2054943 h 2405481"/>
                <a:gd name="connsiteX60" fmla="*/ 968207 w 1631470"/>
                <a:gd name="connsiteY60" fmla="*/ 2057638 h 2405481"/>
                <a:gd name="connsiteX61" fmla="*/ 932650 w 1631470"/>
                <a:gd name="connsiteY61" fmla="*/ 2073631 h 2405481"/>
                <a:gd name="connsiteX62" fmla="*/ 894264 w 1631470"/>
                <a:gd name="connsiteY62" fmla="*/ 2088709 h 2405481"/>
                <a:gd name="connsiteX63" fmla="*/ 871385 w 1631470"/>
                <a:gd name="connsiteY63" fmla="*/ 2127971 h 2405481"/>
                <a:gd name="connsiteX64" fmla="*/ 871023 w 1631470"/>
                <a:gd name="connsiteY64" fmla="*/ 2171386 h 2405481"/>
                <a:gd name="connsiteX65" fmla="*/ 857507 w 1631470"/>
                <a:gd name="connsiteY65" fmla="*/ 2211067 h 2405481"/>
                <a:gd name="connsiteX66" fmla="*/ 813959 w 1631470"/>
                <a:gd name="connsiteY66" fmla="*/ 2258206 h 2405481"/>
                <a:gd name="connsiteX67" fmla="*/ 824712 w 1631470"/>
                <a:gd name="connsiteY67" fmla="*/ 2303021 h 2405481"/>
                <a:gd name="connsiteX68" fmla="*/ 812711 w 1631470"/>
                <a:gd name="connsiteY68" fmla="*/ 2349217 h 2405481"/>
                <a:gd name="connsiteX69" fmla="*/ 799024 w 1631470"/>
                <a:gd name="connsiteY69" fmla="*/ 2402224 h 2405481"/>
                <a:gd name="connsiteX70" fmla="*/ 761390 w 1631470"/>
                <a:gd name="connsiteY70" fmla="*/ 2405482 h 2405481"/>
                <a:gd name="connsiteX71" fmla="*/ 721976 w 1631470"/>
                <a:gd name="connsiteY71" fmla="*/ 2361343 h 2405481"/>
                <a:gd name="connsiteX72" fmla="*/ 668579 w 1631470"/>
                <a:gd name="connsiteY72" fmla="*/ 2361067 h 2405481"/>
                <a:gd name="connsiteX73" fmla="*/ 642661 w 1631470"/>
                <a:gd name="connsiteY73" fmla="*/ 2330777 h 2405481"/>
                <a:gd name="connsiteX74" fmla="*/ 624849 w 1631470"/>
                <a:gd name="connsiteY74" fmla="*/ 2275484 h 2405481"/>
                <a:gd name="connsiteX75" fmla="*/ 578567 w 1631470"/>
                <a:gd name="connsiteY75" fmla="*/ 2202418 h 2405481"/>
                <a:gd name="connsiteX76" fmla="*/ 565032 w 1631470"/>
                <a:gd name="connsiteY76" fmla="*/ 2162832 h 2405481"/>
                <a:gd name="connsiteX77" fmla="*/ 561384 w 1631470"/>
                <a:gd name="connsiteY77" fmla="*/ 2106711 h 2405481"/>
                <a:gd name="connsiteX78" fmla="*/ 524389 w 1631470"/>
                <a:gd name="connsiteY78" fmla="*/ 2047018 h 2405481"/>
                <a:gd name="connsiteX79" fmla="*/ 534010 w 1631470"/>
                <a:gd name="connsiteY79" fmla="*/ 1997774 h 2405481"/>
                <a:gd name="connsiteX80" fmla="*/ 516188 w 1631470"/>
                <a:gd name="connsiteY80" fmla="*/ 1973694 h 2405481"/>
                <a:gd name="connsiteX81" fmla="*/ 542592 w 1631470"/>
                <a:gd name="connsiteY81" fmla="*/ 1891246 h 2405481"/>
                <a:gd name="connsiteX82" fmla="*/ 582787 w 1631470"/>
                <a:gd name="connsiteY82" fmla="*/ 1864119 h 2405481"/>
                <a:gd name="connsiteX83" fmla="*/ 593331 w 1631470"/>
                <a:gd name="connsiteY83" fmla="*/ 1833058 h 2405481"/>
                <a:gd name="connsiteX84" fmla="*/ 598922 w 1631470"/>
                <a:gd name="connsiteY84" fmla="*/ 1773412 h 2405481"/>
                <a:gd name="connsiteX85" fmla="*/ 568414 w 1631470"/>
                <a:gd name="connsiteY85" fmla="*/ 1800720 h 2405481"/>
                <a:gd name="connsiteX86" fmla="*/ 553869 w 1631470"/>
                <a:gd name="connsiteY86" fmla="*/ 1812055 h 2405481"/>
                <a:gd name="connsiteX87" fmla="*/ 529885 w 1631470"/>
                <a:gd name="connsiteY87" fmla="*/ 1822847 h 2405481"/>
                <a:gd name="connsiteX88" fmla="*/ 497109 w 1631470"/>
                <a:gd name="connsiteY88" fmla="*/ 1798034 h 2405481"/>
                <a:gd name="connsiteX89" fmla="*/ 495329 w 1631470"/>
                <a:gd name="connsiteY89" fmla="*/ 1745161 h 2405481"/>
                <a:gd name="connsiteX90" fmla="*/ 505777 w 1631470"/>
                <a:gd name="connsiteY90" fmla="*/ 1702508 h 2405481"/>
                <a:gd name="connsiteX91" fmla="*/ 530542 w 1631470"/>
                <a:gd name="connsiteY91" fmla="*/ 1701336 h 2405481"/>
                <a:gd name="connsiteX92" fmla="*/ 585063 w 1631470"/>
                <a:gd name="connsiteY92" fmla="*/ 1722815 h 2405481"/>
                <a:gd name="connsiteX93" fmla="*/ 539144 w 1631470"/>
                <a:gd name="connsiteY93" fmla="*/ 1671047 h 2405481"/>
                <a:gd name="connsiteX94" fmla="*/ 515245 w 1631470"/>
                <a:gd name="connsiteY94" fmla="*/ 1642434 h 2405481"/>
                <a:gd name="connsiteX95" fmla="*/ 488651 w 1631470"/>
                <a:gd name="connsiteY95" fmla="*/ 1654254 h 2405481"/>
                <a:gd name="connsiteX96" fmla="*/ 466363 w 1631470"/>
                <a:gd name="connsiteY96" fmla="*/ 1633366 h 2405481"/>
                <a:gd name="connsiteX97" fmla="*/ 496176 w 1631470"/>
                <a:gd name="connsiteY97" fmla="*/ 1552346 h 2405481"/>
                <a:gd name="connsiteX98" fmla="*/ 479936 w 1631470"/>
                <a:gd name="connsiteY98" fmla="*/ 1518790 h 2405481"/>
                <a:gd name="connsiteX99" fmla="*/ 458743 w 1631470"/>
                <a:gd name="connsiteY99" fmla="*/ 1454563 h 2405481"/>
                <a:gd name="connsiteX100" fmla="*/ 426596 w 1631470"/>
                <a:gd name="connsiteY100" fmla="*/ 1350683 h 2405481"/>
                <a:gd name="connsiteX101" fmla="*/ 392592 w 1631470"/>
                <a:gd name="connsiteY101" fmla="*/ 1310878 h 2405481"/>
                <a:gd name="connsiteX102" fmla="*/ 392906 w 1631470"/>
                <a:gd name="connsiteY102" fmla="*/ 1266806 h 2405481"/>
                <a:gd name="connsiteX103" fmla="*/ 321240 w 1631470"/>
                <a:gd name="connsiteY103" fmla="*/ 1203084 h 2405481"/>
                <a:gd name="connsiteX104" fmla="*/ 264538 w 1631470"/>
                <a:gd name="connsiteY104" fmla="*/ 1194968 h 2405481"/>
                <a:gd name="connsiteX105" fmla="*/ 193167 w 1631470"/>
                <a:gd name="connsiteY105" fmla="*/ 1199464 h 2405481"/>
                <a:gd name="connsiteX106" fmla="*/ 127997 w 1631470"/>
                <a:gd name="connsiteY106" fmla="*/ 1207627 h 2405481"/>
                <a:gd name="connsiteX107" fmla="*/ 97003 w 1631470"/>
                <a:gd name="connsiteY107" fmla="*/ 1171947 h 2405481"/>
                <a:gd name="connsiteX108" fmla="*/ 50597 w 1631470"/>
                <a:gd name="connsiteY108" fmla="*/ 1098985 h 2405481"/>
                <a:gd name="connsiteX109" fmla="*/ 120720 w 1631470"/>
                <a:gd name="connsiteY109" fmla="*/ 1061180 h 2405481"/>
                <a:gd name="connsiteX110" fmla="*/ 174479 w 1631470"/>
                <a:gd name="connsiteY110" fmla="*/ 1054741 h 2405481"/>
                <a:gd name="connsiteX111" fmla="*/ 60198 w 1631470"/>
                <a:gd name="connsiteY111" fmla="*/ 1022652 h 2405481"/>
                <a:gd name="connsiteX112" fmla="*/ 0 w 1631470"/>
                <a:gd name="connsiteY112" fmla="*/ 970902 h 2405481"/>
                <a:gd name="connsiteX113" fmla="*/ 3677 w 1631470"/>
                <a:gd name="connsiteY113" fmla="*/ 920010 h 2405481"/>
                <a:gd name="connsiteX114" fmla="*/ 104784 w 1631470"/>
                <a:gd name="connsiteY114" fmla="*/ 854593 h 2405481"/>
                <a:gd name="connsiteX115" fmla="*/ 202606 w 1631470"/>
                <a:gd name="connsiteY115" fmla="*/ 786403 h 2405481"/>
                <a:gd name="connsiteX116" fmla="*/ 212931 w 1631470"/>
                <a:gd name="connsiteY116" fmla="*/ 732711 h 2405481"/>
                <a:gd name="connsiteX117" fmla="*/ 140846 w 1631470"/>
                <a:gd name="connsiteY117" fmla="*/ 677828 h 2405481"/>
                <a:gd name="connsiteX118" fmla="*/ 164135 w 1631470"/>
                <a:gd name="connsiteY118" fmla="*/ 614543 h 2405481"/>
                <a:gd name="connsiteX119" fmla="*/ 256594 w 1631470"/>
                <a:gd name="connsiteY119" fmla="*/ 497072 h 2405481"/>
                <a:gd name="connsiteX120" fmla="*/ 295446 w 1631470"/>
                <a:gd name="connsiteY120" fmla="*/ 478222 h 2405481"/>
                <a:gd name="connsiteX121" fmla="*/ 284312 w 1631470"/>
                <a:gd name="connsiteY121" fmla="*/ 396592 h 2405481"/>
                <a:gd name="connsiteX122" fmla="*/ 347577 w 1631470"/>
                <a:gd name="connsiteY122" fmla="*/ 346691 h 2405481"/>
                <a:gd name="connsiteX123" fmla="*/ 429701 w 1631470"/>
                <a:gd name="connsiteY123" fmla="*/ 316116 h 2405481"/>
                <a:gd name="connsiteX124" fmla="*/ 511768 w 1631470"/>
                <a:gd name="connsiteY124" fmla="*/ 314373 h 2405481"/>
                <a:gd name="connsiteX125" fmla="*/ 540906 w 1631470"/>
                <a:gd name="connsiteY125" fmla="*/ 374437 h 2405481"/>
                <a:gd name="connsiteX126" fmla="*/ 611753 w 1631470"/>
                <a:gd name="connsiteY126" fmla="*/ 266576 h 2405481"/>
                <a:gd name="connsiteX127" fmla="*/ 675494 w 1631470"/>
                <a:gd name="connsiteY127" fmla="*/ 340681 h 2405481"/>
                <a:gd name="connsiteX128" fmla="*/ 712994 w 1631470"/>
                <a:gd name="connsiteY128" fmla="*/ 355854 h 2405481"/>
                <a:gd name="connsiteX129" fmla="*/ 768458 w 1631470"/>
                <a:gd name="connsiteY129" fmla="*/ 416928 h 2405481"/>
                <a:gd name="connsiteX130" fmla="*/ 704955 w 1631470"/>
                <a:gd name="connsiteY130" fmla="*/ 314344 h 2405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631470" h="2405481">
                  <a:moveTo>
                    <a:pt x="708612" y="227714"/>
                  </a:moveTo>
                  <a:lnTo>
                    <a:pt x="798281" y="98127"/>
                  </a:lnTo>
                  <a:lnTo>
                    <a:pt x="891987" y="108280"/>
                  </a:lnTo>
                  <a:lnTo>
                    <a:pt x="926049" y="23012"/>
                  </a:lnTo>
                  <a:lnTo>
                    <a:pt x="1020442" y="0"/>
                  </a:lnTo>
                  <a:lnTo>
                    <a:pt x="1233754" y="29975"/>
                  </a:lnTo>
                  <a:lnTo>
                    <a:pt x="1400813" y="207026"/>
                  </a:lnTo>
                  <a:lnTo>
                    <a:pt x="1351493" y="286179"/>
                  </a:lnTo>
                  <a:lnTo>
                    <a:pt x="1249328" y="294970"/>
                  </a:lnTo>
                  <a:lnTo>
                    <a:pt x="1105576" y="314306"/>
                  </a:lnTo>
                  <a:lnTo>
                    <a:pt x="1119025" y="349025"/>
                  </a:lnTo>
                  <a:lnTo>
                    <a:pt x="1213561" y="327660"/>
                  </a:lnTo>
                  <a:lnTo>
                    <a:pt x="1294009" y="393506"/>
                  </a:lnTo>
                  <a:lnTo>
                    <a:pt x="1345854" y="335175"/>
                  </a:lnTo>
                  <a:lnTo>
                    <a:pt x="1368057" y="403279"/>
                  </a:lnTo>
                  <a:lnTo>
                    <a:pt x="1338739" y="507740"/>
                  </a:lnTo>
                  <a:lnTo>
                    <a:pt x="1406728" y="441779"/>
                  </a:lnTo>
                  <a:lnTo>
                    <a:pt x="1536411" y="369865"/>
                  </a:lnTo>
                  <a:lnTo>
                    <a:pt x="1616469" y="406184"/>
                  </a:lnTo>
                  <a:lnTo>
                    <a:pt x="1631471" y="483441"/>
                  </a:lnTo>
                  <a:lnTo>
                    <a:pt x="1522590" y="604104"/>
                  </a:lnTo>
                  <a:lnTo>
                    <a:pt x="1507512" y="641185"/>
                  </a:lnTo>
                  <a:lnTo>
                    <a:pt x="1422149" y="668484"/>
                  </a:lnTo>
                  <a:lnTo>
                    <a:pt x="1484005" y="675970"/>
                  </a:lnTo>
                  <a:lnTo>
                    <a:pt x="1452763" y="785584"/>
                  </a:lnTo>
                  <a:lnTo>
                    <a:pt x="1431264" y="877005"/>
                  </a:lnTo>
                  <a:lnTo>
                    <a:pt x="1432103" y="1022328"/>
                  </a:lnTo>
                  <a:lnTo>
                    <a:pt x="1464173" y="1101709"/>
                  </a:lnTo>
                  <a:lnTo>
                    <a:pt x="1422454" y="1106596"/>
                  </a:lnTo>
                  <a:lnTo>
                    <a:pt x="1378534" y="1143552"/>
                  </a:lnTo>
                  <a:lnTo>
                    <a:pt x="1427816" y="1203560"/>
                  </a:lnTo>
                  <a:lnTo>
                    <a:pt x="1434093" y="1295248"/>
                  </a:lnTo>
                  <a:lnTo>
                    <a:pt x="1405538" y="1304925"/>
                  </a:lnTo>
                  <a:lnTo>
                    <a:pt x="1440142" y="1392117"/>
                  </a:lnTo>
                  <a:lnTo>
                    <a:pt x="1380811" y="1399184"/>
                  </a:lnTo>
                  <a:lnTo>
                    <a:pt x="1411786" y="1438618"/>
                  </a:lnTo>
                  <a:lnTo>
                    <a:pt x="1403032" y="1472041"/>
                  </a:lnTo>
                  <a:lnTo>
                    <a:pt x="1365371" y="1486500"/>
                  </a:lnTo>
                  <a:lnTo>
                    <a:pt x="1328156" y="1486767"/>
                  </a:lnTo>
                  <a:lnTo>
                    <a:pt x="1361608" y="1548498"/>
                  </a:lnTo>
                  <a:lnTo>
                    <a:pt x="1361980" y="1587818"/>
                  </a:lnTo>
                  <a:lnTo>
                    <a:pt x="1309125" y="1551308"/>
                  </a:lnTo>
                  <a:lnTo>
                    <a:pt x="1295381" y="1575016"/>
                  </a:lnTo>
                  <a:lnTo>
                    <a:pt x="1331433" y="1596857"/>
                  </a:lnTo>
                  <a:lnTo>
                    <a:pt x="1366428" y="1649016"/>
                  </a:lnTo>
                  <a:lnTo>
                    <a:pt x="1376553" y="1715262"/>
                  </a:lnTo>
                  <a:lnTo>
                    <a:pt x="1328947" y="1730721"/>
                  </a:lnTo>
                  <a:lnTo>
                    <a:pt x="1308364" y="1699641"/>
                  </a:lnTo>
                  <a:lnTo>
                    <a:pt x="1275340" y="1652207"/>
                  </a:lnTo>
                  <a:lnTo>
                    <a:pt x="1284475" y="1708109"/>
                  </a:lnTo>
                  <a:lnTo>
                    <a:pt x="1253452" y="1750124"/>
                  </a:lnTo>
                  <a:lnTo>
                    <a:pt x="1323842" y="1753467"/>
                  </a:lnTo>
                  <a:lnTo>
                    <a:pt x="1360656" y="1757763"/>
                  </a:lnTo>
                  <a:lnTo>
                    <a:pt x="1289075" y="1824714"/>
                  </a:lnTo>
                  <a:lnTo>
                    <a:pt x="1216485" y="1883064"/>
                  </a:lnTo>
                  <a:lnTo>
                    <a:pt x="1138333" y="1907981"/>
                  </a:lnTo>
                  <a:lnTo>
                    <a:pt x="1108872" y="1908296"/>
                  </a:lnTo>
                  <a:lnTo>
                    <a:pt x="1081249" y="1935652"/>
                  </a:lnTo>
                  <a:lnTo>
                    <a:pt x="1044092" y="2008375"/>
                  </a:lnTo>
                  <a:lnTo>
                    <a:pt x="986657" y="2054943"/>
                  </a:lnTo>
                  <a:lnTo>
                    <a:pt x="968207" y="2057638"/>
                  </a:lnTo>
                  <a:lnTo>
                    <a:pt x="932650" y="2073631"/>
                  </a:lnTo>
                  <a:lnTo>
                    <a:pt x="894264" y="2088709"/>
                  </a:lnTo>
                  <a:lnTo>
                    <a:pt x="871385" y="2127971"/>
                  </a:lnTo>
                  <a:lnTo>
                    <a:pt x="871023" y="2171386"/>
                  </a:lnTo>
                  <a:lnTo>
                    <a:pt x="857507" y="2211067"/>
                  </a:lnTo>
                  <a:lnTo>
                    <a:pt x="813959" y="2258206"/>
                  </a:lnTo>
                  <a:lnTo>
                    <a:pt x="824712" y="2303021"/>
                  </a:lnTo>
                  <a:lnTo>
                    <a:pt x="812711" y="2349217"/>
                  </a:lnTo>
                  <a:lnTo>
                    <a:pt x="799024" y="2402224"/>
                  </a:lnTo>
                  <a:lnTo>
                    <a:pt x="761390" y="2405482"/>
                  </a:lnTo>
                  <a:lnTo>
                    <a:pt x="721976" y="2361343"/>
                  </a:lnTo>
                  <a:lnTo>
                    <a:pt x="668579" y="2361067"/>
                  </a:lnTo>
                  <a:lnTo>
                    <a:pt x="642661" y="2330777"/>
                  </a:lnTo>
                  <a:lnTo>
                    <a:pt x="624849" y="2275484"/>
                  </a:lnTo>
                  <a:lnTo>
                    <a:pt x="578567" y="2202418"/>
                  </a:lnTo>
                  <a:lnTo>
                    <a:pt x="565032" y="2162832"/>
                  </a:lnTo>
                  <a:lnTo>
                    <a:pt x="561384" y="2106711"/>
                  </a:lnTo>
                  <a:lnTo>
                    <a:pt x="524389" y="2047018"/>
                  </a:lnTo>
                  <a:lnTo>
                    <a:pt x="534010" y="1997774"/>
                  </a:lnTo>
                  <a:lnTo>
                    <a:pt x="516188" y="1973694"/>
                  </a:lnTo>
                  <a:lnTo>
                    <a:pt x="542592" y="1891246"/>
                  </a:lnTo>
                  <a:lnTo>
                    <a:pt x="582787" y="1864119"/>
                  </a:lnTo>
                  <a:lnTo>
                    <a:pt x="593331" y="1833058"/>
                  </a:lnTo>
                  <a:lnTo>
                    <a:pt x="598922" y="1773412"/>
                  </a:lnTo>
                  <a:lnTo>
                    <a:pt x="568414" y="1800720"/>
                  </a:lnTo>
                  <a:lnTo>
                    <a:pt x="553869" y="1812055"/>
                  </a:lnTo>
                  <a:lnTo>
                    <a:pt x="529885" y="1822847"/>
                  </a:lnTo>
                  <a:lnTo>
                    <a:pt x="497109" y="1798034"/>
                  </a:lnTo>
                  <a:lnTo>
                    <a:pt x="495329" y="1745161"/>
                  </a:lnTo>
                  <a:lnTo>
                    <a:pt x="505777" y="1702508"/>
                  </a:lnTo>
                  <a:lnTo>
                    <a:pt x="530542" y="1701336"/>
                  </a:lnTo>
                  <a:lnTo>
                    <a:pt x="585063" y="1722815"/>
                  </a:lnTo>
                  <a:lnTo>
                    <a:pt x="539144" y="1671047"/>
                  </a:lnTo>
                  <a:lnTo>
                    <a:pt x="515245" y="1642434"/>
                  </a:lnTo>
                  <a:lnTo>
                    <a:pt x="488651" y="1654254"/>
                  </a:lnTo>
                  <a:lnTo>
                    <a:pt x="466363" y="1633366"/>
                  </a:lnTo>
                  <a:lnTo>
                    <a:pt x="496176" y="1552346"/>
                  </a:lnTo>
                  <a:lnTo>
                    <a:pt x="479936" y="1518790"/>
                  </a:lnTo>
                  <a:lnTo>
                    <a:pt x="458743" y="1454563"/>
                  </a:lnTo>
                  <a:lnTo>
                    <a:pt x="426596" y="1350683"/>
                  </a:lnTo>
                  <a:lnTo>
                    <a:pt x="392592" y="1310878"/>
                  </a:lnTo>
                  <a:lnTo>
                    <a:pt x="392906" y="1266806"/>
                  </a:lnTo>
                  <a:lnTo>
                    <a:pt x="321240" y="1203084"/>
                  </a:lnTo>
                  <a:lnTo>
                    <a:pt x="264538" y="1194968"/>
                  </a:lnTo>
                  <a:lnTo>
                    <a:pt x="193167" y="1199464"/>
                  </a:lnTo>
                  <a:lnTo>
                    <a:pt x="127997" y="1207627"/>
                  </a:lnTo>
                  <a:lnTo>
                    <a:pt x="97003" y="1171947"/>
                  </a:lnTo>
                  <a:lnTo>
                    <a:pt x="50597" y="1098985"/>
                  </a:lnTo>
                  <a:lnTo>
                    <a:pt x="120720" y="1061180"/>
                  </a:lnTo>
                  <a:lnTo>
                    <a:pt x="174479" y="1054741"/>
                  </a:lnTo>
                  <a:lnTo>
                    <a:pt x="60198" y="1022652"/>
                  </a:lnTo>
                  <a:lnTo>
                    <a:pt x="0" y="970902"/>
                  </a:lnTo>
                  <a:lnTo>
                    <a:pt x="3677" y="920010"/>
                  </a:lnTo>
                  <a:lnTo>
                    <a:pt x="104784" y="854593"/>
                  </a:lnTo>
                  <a:lnTo>
                    <a:pt x="202606" y="786403"/>
                  </a:lnTo>
                  <a:lnTo>
                    <a:pt x="212931" y="732711"/>
                  </a:lnTo>
                  <a:lnTo>
                    <a:pt x="140846" y="677828"/>
                  </a:lnTo>
                  <a:lnTo>
                    <a:pt x="164135" y="614543"/>
                  </a:lnTo>
                  <a:lnTo>
                    <a:pt x="256594" y="497072"/>
                  </a:lnTo>
                  <a:lnTo>
                    <a:pt x="295446" y="478222"/>
                  </a:lnTo>
                  <a:lnTo>
                    <a:pt x="284312" y="396592"/>
                  </a:lnTo>
                  <a:lnTo>
                    <a:pt x="347577" y="346691"/>
                  </a:lnTo>
                  <a:lnTo>
                    <a:pt x="429701" y="316116"/>
                  </a:lnTo>
                  <a:lnTo>
                    <a:pt x="511768" y="314373"/>
                  </a:lnTo>
                  <a:lnTo>
                    <a:pt x="540906" y="374437"/>
                  </a:lnTo>
                  <a:lnTo>
                    <a:pt x="611753" y="266576"/>
                  </a:lnTo>
                  <a:lnTo>
                    <a:pt x="675494" y="340681"/>
                  </a:lnTo>
                  <a:lnTo>
                    <a:pt x="712994" y="355854"/>
                  </a:lnTo>
                  <a:lnTo>
                    <a:pt x="768458" y="416928"/>
                  </a:lnTo>
                  <a:lnTo>
                    <a:pt x="704955" y="3143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orme libre : forme 5711">
              <a:extLst>
                <a:ext uri="{FF2B5EF4-FFF2-40B4-BE49-F238E27FC236}">
                  <a16:creationId xmlns:a16="http://schemas.microsoft.com/office/drawing/2014/main" id="{8D5982E2-CF75-4C54-5732-4A0EF802FD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371118" y="4370845"/>
              <a:ext cx="80028" cy="20364"/>
            </a:xfrm>
            <a:custGeom>
              <a:avLst/>
              <a:gdLst>
                <a:gd name="connsiteX0" fmla="*/ 0 w 80028"/>
                <a:gd name="connsiteY0" fmla="*/ 19783 h 20364"/>
                <a:gd name="connsiteX1" fmla="*/ 3410 w 80028"/>
                <a:gd name="connsiteY1" fmla="*/ 7687 h 20364"/>
                <a:gd name="connsiteX2" fmla="*/ 32499 w 80028"/>
                <a:gd name="connsiteY2" fmla="*/ 6906 h 20364"/>
                <a:gd name="connsiteX3" fmla="*/ 38528 w 80028"/>
                <a:gd name="connsiteY3" fmla="*/ 438 h 20364"/>
                <a:gd name="connsiteX4" fmla="*/ 46996 w 80028"/>
                <a:gd name="connsiteY4" fmla="*/ 0 h 20364"/>
                <a:gd name="connsiteX5" fmla="*/ 57540 w 80028"/>
                <a:gd name="connsiteY5" fmla="*/ 6725 h 20364"/>
                <a:gd name="connsiteX6" fmla="*/ 65827 w 80028"/>
                <a:gd name="connsiteY6" fmla="*/ 6848 h 20364"/>
                <a:gd name="connsiteX7" fmla="*/ 74628 w 80028"/>
                <a:gd name="connsiteY7" fmla="*/ 2248 h 20364"/>
                <a:gd name="connsiteX8" fmla="*/ 80029 w 80028"/>
                <a:gd name="connsiteY8" fmla="*/ 10144 h 20364"/>
                <a:gd name="connsiteX9" fmla="*/ 68466 w 80028"/>
                <a:gd name="connsiteY9" fmla="*/ 16269 h 20364"/>
                <a:gd name="connsiteX10" fmla="*/ 56864 w 80028"/>
                <a:gd name="connsiteY10" fmla="*/ 15783 h 20364"/>
                <a:gd name="connsiteX11" fmla="*/ 45406 w 80028"/>
                <a:gd name="connsiteY11" fmla="*/ 10020 h 20364"/>
                <a:gd name="connsiteX12" fmla="*/ 35509 w 80028"/>
                <a:gd name="connsiteY12" fmla="*/ 16316 h 20364"/>
                <a:gd name="connsiteX13" fmla="*/ 30727 w 80028"/>
                <a:gd name="connsiteY13" fmla="*/ 16545 h 20364"/>
                <a:gd name="connsiteX14" fmla="*/ 24308 w 80028"/>
                <a:gd name="connsiteY14" fmla="*/ 20364 h 2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28" h="20364">
                  <a:moveTo>
                    <a:pt x="0" y="19783"/>
                  </a:moveTo>
                  <a:lnTo>
                    <a:pt x="3410" y="7687"/>
                  </a:lnTo>
                  <a:lnTo>
                    <a:pt x="32499" y="6906"/>
                  </a:lnTo>
                  <a:lnTo>
                    <a:pt x="38528" y="438"/>
                  </a:lnTo>
                  <a:lnTo>
                    <a:pt x="46996" y="0"/>
                  </a:lnTo>
                  <a:lnTo>
                    <a:pt x="57540" y="6725"/>
                  </a:lnTo>
                  <a:lnTo>
                    <a:pt x="65827" y="6848"/>
                  </a:lnTo>
                  <a:lnTo>
                    <a:pt x="74628" y="2248"/>
                  </a:lnTo>
                  <a:lnTo>
                    <a:pt x="80029" y="10144"/>
                  </a:lnTo>
                  <a:lnTo>
                    <a:pt x="68466" y="16269"/>
                  </a:lnTo>
                  <a:lnTo>
                    <a:pt x="56864" y="15783"/>
                  </a:lnTo>
                  <a:lnTo>
                    <a:pt x="45406" y="10020"/>
                  </a:lnTo>
                  <a:lnTo>
                    <a:pt x="35509" y="16316"/>
                  </a:lnTo>
                  <a:lnTo>
                    <a:pt x="30727" y="16545"/>
                  </a:lnTo>
                  <a:lnTo>
                    <a:pt x="24308" y="203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orme libre : forme 5712">
              <a:extLst>
                <a:ext uri="{FF2B5EF4-FFF2-40B4-BE49-F238E27FC236}">
                  <a16:creationId xmlns:a16="http://schemas.microsoft.com/office/drawing/2014/main" id="{185B70D5-B381-F437-EE77-DB5A0325D3E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416819" y="4406011"/>
              <a:ext cx="194910" cy="142217"/>
            </a:xfrm>
            <a:custGeom>
              <a:avLst/>
              <a:gdLst>
                <a:gd name="connsiteX0" fmla="*/ 178689 w 194910"/>
                <a:gd name="connsiteY0" fmla="*/ 132131 h 142217"/>
                <a:gd name="connsiteX1" fmla="*/ 171136 w 194910"/>
                <a:gd name="connsiteY1" fmla="*/ 131436 h 142217"/>
                <a:gd name="connsiteX2" fmla="*/ 165697 w 194910"/>
                <a:gd name="connsiteY2" fmla="*/ 142218 h 142217"/>
                <a:gd name="connsiteX3" fmla="*/ 158144 w 194910"/>
                <a:gd name="connsiteY3" fmla="*/ 142085 h 142217"/>
                <a:gd name="connsiteX4" fmla="*/ 152943 w 194910"/>
                <a:gd name="connsiteY4" fmla="*/ 136388 h 142217"/>
                <a:gd name="connsiteX5" fmla="*/ 154715 w 194910"/>
                <a:gd name="connsiteY5" fmla="*/ 125635 h 142217"/>
                <a:gd name="connsiteX6" fmla="*/ 143542 w 194910"/>
                <a:gd name="connsiteY6" fmla="*/ 109214 h 142217"/>
                <a:gd name="connsiteX7" fmla="*/ 136570 w 194910"/>
                <a:gd name="connsiteY7" fmla="*/ 112233 h 142217"/>
                <a:gd name="connsiteX8" fmla="*/ 130864 w 194910"/>
                <a:gd name="connsiteY8" fmla="*/ 112833 h 142217"/>
                <a:gd name="connsiteX9" fmla="*/ 123511 w 194910"/>
                <a:gd name="connsiteY9" fmla="*/ 114367 h 142217"/>
                <a:gd name="connsiteX10" fmla="*/ 123816 w 194910"/>
                <a:gd name="connsiteY10" fmla="*/ 104527 h 142217"/>
                <a:gd name="connsiteX11" fmla="*/ 119520 w 194910"/>
                <a:gd name="connsiteY11" fmla="*/ 97507 h 142217"/>
                <a:gd name="connsiteX12" fmla="*/ 120387 w 194910"/>
                <a:gd name="connsiteY12" fmla="*/ 89688 h 142217"/>
                <a:gd name="connsiteX13" fmla="*/ 114595 w 194910"/>
                <a:gd name="connsiteY13" fmla="*/ 78381 h 142217"/>
                <a:gd name="connsiteX14" fmla="*/ 107166 w 194910"/>
                <a:gd name="connsiteY14" fmla="*/ 68752 h 142217"/>
                <a:gd name="connsiteX15" fmla="*/ 85811 w 194910"/>
                <a:gd name="connsiteY15" fmla="*/ 68723 h 142217"/>
                <a:gd name="connsiteX16" fmla="*/ 79581 w 194910"/>
                <a:gd name="connsiteY16" fmla="*/ 73800 h 142217"/>
                <a:gd name="connsiteX17" fmla="*/ 72228 w 194910"/>
                <a:gd name="connsiteY17" fmla="*/ 74409 h 142217"/>
                <a:gd name="connsiteX18" fmla="*/ 67666 w 194910"/>
                <a:gd name="connsiteY18" fmla="*/ 80220 h 142217"/>
                <a:gd name="connsiteX19" fmla="*/ 64579 w 194910"/>
                <a:gd name="connsiteY19" fmla="*/ 87678 h 142217"/>
                <a:gd name="connsiteX20" fmla="*/ 50311 w 194910"/>
                <a:gd name="connsiteY20" fmla="*/ 99498 h 142217"/>
                <a:gd name="connsiteX21" fmla="*/ 38595 w 194910"/>
                <a:gd name="connsiteY21" fmla="*/ 83591 h 142217"/>
                <a:gd name="connsiteX22" fmla="*/ 28213 w 194910"/>
                <a:gd name="connsiteY22" fmla="*/ 73057 h 142217"/>
                <a:gd name="connsiteX23" fmla="*/ 21374 w 194910"/>
                <a:gd name="connsiteY23" fmla="*/ 69571 h 142217"/>
                <a:gd name="connsiteX24" fmla="*/ 14707 w 194910"/>
                <a:gd name="connsiteY24" fmla="*/ 64208 h 142217"/>
                <a:gd name="connsiteX25" fmla="*/ 11668 w 194910"/>
                <a:gd name="connsiteY25" fmla="*/ 52292 h 142217"/>
                <a:gd name="connsiteX26" fmla="*/ 7763 w 194910"/>
                <a:gd name="connsiteY26" fmla="*/ 46339 h 142217"/>
                <a:gd name="connsiteX27" fmla="*/ 0 w 194910"/>
                <a:gd name="connsiteY27" fmla="*/ 41910 h 142217"/>
                <a:gd name="connsiteX28" fmla="*/ 11878 w 194910"/>
                <a:gd name="connsiteY28" fmla="*/ 28728 h 142217"/>
                <a:gd name="connsiteX29" fmla="*/ 19974 w 194910"/>
                <a:gd name="connsiteY29" fmla="*/ 29223 h 142217"/>
                <a:gd name="connsiteX30" fmla="*/ 26946 w 194910"/>
                <a:gd name="connsiteY30" fmla="*/ 24679 h 142217"/>
                <a:gd name="connsiteX31" fmla="*/ 32833 w 194910"/>
                <a:gd name="connsiteY31" fmla="*/ 24632 h 142217"/>
                <a:gd name="connsiteX32" fmla="*/ 37043 w 194910"/>
                <a:gd name="connsiteY32" fmla="*/ 21041 h 142217"/>
                <a:gd name="connsiteX33" fmla="*/ 34766 w 194910"/>
                <a:gd name="connsiteY33" fmla="*/ 12059 h 142217"/>
                <a:gd name="connsiteX34" fmla="*/ 37700 w 194910"/>
                <a:gd name="connsiteY34" fmla="*/ 9220 h 142217"/>
                <a:gd name="connsiteX35" fmla="*/ 38186 w 194910"/>
                <a:gd name="connsiteY35" fmla="*/ 0 h 142217"/>
                <a:gd name="connsiteX36" fmla="*/ 51073 w 194910"/>
                <a:gd name="connsiteY36" fmla="*/ 286 h 142217"/>
                <a:gd name="connsiteX37" fmla="*/ 70276 w 194910"/>
                <a:gd name="connsiteY37" fmla="*/ 6915 h 142217"/>
                <a:gd name="connsiteX38" fmla="*/ 76162 w 194910"/>
                <a:gd name="connsiteY38" fmla="*/ 6306 h 142217"/>
                <a:gd name="connsiteX39" fmla="*/ 78162 w 194910"/>
                <a:gd name="connsiteY39" fmla="*/ 3277 h 142217"/>
                <a:gd name="connsiteX40" fmla="*/ 92726 w 194910"/>
                <a:gd name="connsiteY40" fmla="*/ 5429 h 142217"/>
                <a:gd name="connsiteX41" fmla="*/ 96584 w 194910"/>
                <a:gd name="connsiteY41" fmla="*/ 3896 h 142217"/>
                <a:gd name="connsiteX42" fmla="*/ 98117 w 194910"/>
                <a:gd name="connsiteY42" fmla="*/ 13840 h 142217"/>
                <a:gd name="connsiteX43" fmla="*/ 102356 w 194910"/>
                <a:gd name="connsiteY43" fmla="*/ 13811 h 142217"/>
                <a:gd name="connsiteX44" fmla="*/ 109328 w 194910"/>
                <a:gd name="connsiteY44" fmla="*/ 10192 h 142217"/>
                <a:gd name="connsiteX45" fmla="*/ 113757 w 194910"/>
                <a:gd name="connsiteY45" fmla="*/ 11097 h 142217"/>
                <a:gd name="connsiteX46" fmla="*/ 121168 w 194910"/>
                <a:gd name="connsiteY46" fmla="*/ 17983 h 142217"/>
                <a:gd name="connsiteX47" fmla="*/ 132598 w 194910"/>
                <a:gd name="connsiteY47" fmla="*/ 20155 h 142217"/>
                <a:gd name="connsiteX48" fmla="*/ 139922 w 194910"/>
                <a:gd name="connsiteY48" fmla="*/ 14288 h 142217"/>
                <a:gd name="connsiteX49" fmla="*/ 148552 w 194910"/>
                <a:gd name="connsiteY49" fmla="*/ 10649 h 142217"/>
                <a:gd name="connsiteX50" fmla="*/ 154972 w 194910"/>
                <a:gd name="connsiteY50" fmla="*/ 6848 h 142217"/>
                <a:gd name="connsiteX51" fmla="*/ 160316 w 194910"/>
                <a:gd name="connsiteY51" fmla="*/ 7563 h 142217"/>
                <a:gd name="connsiteX52" fmla="*/ 166249 w 194910"/>
                <a:gd name="connsiteY52" fmla="*/ 13526 h 142217"/>
                <a:gd name="connsiteX53" fmla="*/ 169431 w 194910"/>
                <a:gd name="connsiteY53" fmla="*/ 21012 h 142217"/>
                <a:gd name="connsiteX54" fmla="*/ 180375 w 194910"/>
                <a:gd name="connsiteY54" fmla="*/ 32356 h 142217"/>
                <a:gd name="connsiteX55" fmla="*/ 174898 w 194910"/>
                <a:gd name="connsiteY55" fmla="*/ 39319 h 142217"/>
                <a:gd name="connsiteX56" fmla="*/ 173860 w 194910"/>
                <a:gd name="connsiteY56" fmla="*/ 48111 h 142217"/>
                <a:gd name="connsiteX57" fmla="*/ 179546 w 194910"/>
                <a:gd name="connsiteY57" fmla="*/ 45453 h 142217"/>
                <a:gd name="connsiteX58" fmla="*/ 182880 w 194910"/>
                <a:gd name="connsiteY58" fmla="*/ 48606 h 142217"/>
                <a:gd name="connsiteX59" fmla="*/ 181470 w 194910"/>
                <a:gd name="connsiteY59" fmla="*/ 56645 h 142217"/>
                <a:gd name="connsiteX60" fmla="*/ 189624 w 194910"/>
                <a:gd name="connsiteY60" fmla="*/ 64427 h 142217"/>
                <a:gd name="connsiteX61" fmla="*/ 184299 w 194910"/>
                <a:gd name="connsiteY61" fmla="*/ 66513 h 142217"/>
                <a:gd name="connsiteX62" fmla="*/ 182156 w 194910"/>
                <a:gd name="connsiteY62" fmla="*/ 75657 h 142217"/>
                <a:gd name="connsiteX63" fmla="*/ 188309 w 194910"/>
                <a:gd name="connsiteY63" fmla="*/ 86782 h 142217"/>
                <a:gd name="connsiteX64" fmla="*/ 194910 w 194910"/>
                <a:gd name="connsiteY64" fmla="*/ 108280 h 142217"/>
                <a:gd name="connsiteX65" fmla="*/ 184985 w 194910"/>
                <a:gd name="connsiteY65" fmla="*/ 111509 h 142217"/>
                <a:gd name="connsiteX66" fmla="*/ 182432 w 194910"/>
                <a:gd name="connsiteY66" fmla="*/ 115234 h 142217"/>
                <a:gd name="connsiteX67" fmla="*/ 184500 w 194910"/>
                <a:gd name="connsiteY67" fmla="*/ 120415 h 142217"/>
                <a:gd name="connsiteX68" fmla="*/ 182928 w 194910"/>
                <a:gd name="connsiteY68" fmla="*/ 132093 h 142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94910" h="142217">
                  <a:moveTo>
                    <a:pt x="178689" y="132131"/>
                  </a:moveTo>
                  <a:lnTo>
                    <a:pt x="171136" y="131436"/>
                  </a:lnTo>
                  <a:lnTo>
                    <a:pt x="165697" y="142218"/>
                  </a:lnTo>
                  <a:lnTo>
                    <a:pt x="158144" y="142085"/>
                  </a:lnTo>
                  <a:lnTo>
                    <a:pt x="152943" y="136388"/>
                  </a:lnTo>
                  <a:lnTo>
                    <a:pt x="154715" y="125635"/>
                  </a:lnTo>
                  <a:lnTo>
                    <a:pt x="143542" y="109214"/>
                  </a:lnTo>
                  <a:lnTo>
                    <a:pt x="136570" y="112233"/>
                  </a:lnTo>
                  <a:lnTo>
                    <a:pt x="130864" y="112833"/>
                  </a:lnTo>
                  <a:lnTo>
                    <a:pt x="123511" y="114367"/>
                  </a:lnTo>
                  <a:lnTo>
                    <a:pt x="123816" y="104527"/>
                  </a:lnTo>
                  <a:lnTo>
                    <a:pt x="119520" y="97507"/>
                  </a:lnTo>
                  <a:lnTo>
                    <a:pt x="120387" y="89688"/>
                  </a:lnTo>
                  <a:lnTo>
                    <a:pt x="114595" y="78381"/>
                  </a:lnTo>
                  <a:lnTo>
                    <a:pt x="107166" y="68752"/>
                  </a:lnTo>
                  <a:lnTo>
                    <a:pt x="85811" y="68723"/>
                  </a:lnTo>
                  <a:lnTo>
                    <a:pt x="79581" y="73800"/>
                  </a:lnTo>
                  <a:lnTo>
                    <a:pt x="72228" y="74409"/>
                  </a:lnTo>
                  <a:lnTo>
                    <a:pt x="67666" y="80220"/>
                  </a:lnTo>
                  <a:lnTo>
                    <a:pt x="64579" y="87678"/>
                  </a:lnTo>
                  <a:lnTo>
                    <a:pt x="50311" y="99498"/>
                  </a:lnTo>
                  <a:lnTo>
                    <a:pt x="38595" y="83591"/>
                  </a:lnTo>
                  <a:lnTo>
                    <a:pt x="28213" y="73057"/>
                  </a:lnTo>
                  <a:lnTo>
                    <a:pt x="21374" y="69571"/>
                  </a:lnTo>
                  <a:lnTo>
                    <a:pt x="14707" y="64208"/>
                  </a:lnTo>
                  <a:lnTo>
                    <a:pt x="11668" y="52292"/>
                  </a:lnTo>
                  <a:lnTo>
                    <a:pt x="7763" y="46339"/>
                  </a:lnTo>
                  <a:lnTo>
                    <a:pt x="0" y="41910"/>
                  </a:lnTo>
                  <a:lnTo>
                    <a:pt x="11878" y="28728"/>
                  </a:lnTo>
                  <a:lnTo>
                    <a:pt x="19974" y="29223"/>
                  </a:lnTo>
                  <a:lnTo>
                    <a:pt x="26946" y="24679"/>
                  </a:lnTo>
                  <a:lnTo>
                    <a:pt x="32833" y="24632"/>
                  </a:lnTo>
                  <a:lnTo>
                    <a:pt x="37043" y="21041"/>
                  </a:lnTo>
                  <a:lnTo>
                    <a:pt x="34766" y="12059"/>
                  </a:lnTo>
                  <a:lnTo>
                    <a:pt x="37700" y="9220"/>
                  </a:lnTo>
                  <a:lnTo>
                    <a:pt x="38186" y="0"/>
                  </a:lnTo>
                  <a:lnTo>
                    <a:pt x="51073" y="286"/>
                  </a:lnTo>
                  <a:lnTo>
                    <a:pt x="70276" y="6915"/>
                  </a:lnTo>
                  <a:lnTo>
                    <a:pt x="76162" y="6306"/>
                  </a:lnTo>
                  <a:lnTo>
                    <a:pt x="78162" y="3277"/>
                  </a:lnTo>
                  <a:lnTo>
                    <a:pt x="92726" y="5429"/>
                  </a:lnTo>
                  <a:lnTo>
                    <a:pt x="96584" y="3896"/>
                  </a:lnTo>
                  <a:lnTo>
                    <a:pt x="98117" y="13840"/>
                  </a:lnTo>
                  <a:lnTo>
                    <a:pt x="102356" y="13811"/>
                  </a:lnTo>
                  <a:lnTo>
                    <a:pt x="109328" y="10192"/>
                  </a:lnTo>
                  <a:lnTo>
                    <a:pt x="113757" y="11097"/>
                  </a:lnTo>
                  <a:lnTo>
                    <a:pt x="121168" y="17983"/>
                  </a:lnTo>
                  <a:lnTo>
                    <a:pt x="132598" y="20155"/>
                  </a:lnTo>
                  <a:lnTo>
                    <a:pt x="139922" y="14288"/>
                  </a:lnTo>
                  <a:lnTo>
                    <a:pt x="148552" y="10649"/>
                  </a:lnTo>
                  <a:lnTo>
                    <a:pt x="154972" y="6848"/>
                  </a:lnTo>
                  <a:lnTo>
                    <a:pt x="160316" y="7563"/>
                  </a:lnTo>
                  <a:lnTo>
                    <a:pt x="166249" y="13526"/>
                  </a:lnTo>
                  <a:lnTo>
                    <a:pt x="169431" y="21012"/>
                  </a:lnTo>
                  <a:lnTo>
                    <a:pt x="180375" y="32356"/>
                  </a:lnTo>
                  <a:lnTo>
                    <a:pt x="174898" y="39319"/>
                  </a:lnTo>
                  <a:lnTo>
                    <a:pt x="173860" y="48111"/>
                  </a:lnTo>
                  <a:lnTo>
                    <a:pt x="179546" y="45453"/>
                  </a:lnTo>
                  <a:lnTo>
                    <a:pt x="182880" y="48606"/>
                  </a:lnTo>
                  <a:lnTo>
                    <a:pt x="181470" y="56645"/>
                  </a:lnTo>
                  <a:lnTo>
                    <a:pt x="189624" y="64427"/>
                  </a:lnTo>
                  <a:lnTo>
                    <a:pt x="184299" y="66513"/>
                  </a:lnTo>
                  <a:lnTo>
                    <a:pt x="182156" y="75657"/>
                  </a:lnTo>
                  <a:lnTo>
                    <a:pt x="188309" y="86782"/>
                  </a:lnTo>
                  <a:lnTo>
                    <a:pt x="194910" y="108280"/>
                  </a:lnTo>
                  <a:lnTo>
                    <a:pt x="184985" y="111509"/>
                  </a:lnTo>
                  <a:lnTo>
                    <a:pt x="182432" y="115234"/>
                  </a:lnTo>
                  <a:lnTo>
                    <a:pt x="184500" y="120415"/>
                  </a:lnTo>
                  <a:lnTo>
                    <a:pt x="182928" y="1320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orme libre : forme 5713">
              <a:extLst>
                <a:ext uri="{FF2B5EF4-FFF2-40B4-BE49-F238E27FC236}">
                  <a16:creationId xmlns:a16="http://schemas.microsoft.com/office/drawing/2014/main" id="{6257E654-AA75-367F-4EA5-FAD187B0A89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069425" y="4682046"/>
              <a:ext cx="52863" cy="33813"/>
            </a:xfrm>
            <a:custGeom>
              <a:avLst/>
              <a:gdLst>
                <a:gd name="connsiteX0" fmla="*/ 5001 w 52863"/>
                <a:gd name="connsiteY0" fmla="*/ 33814 h 33813"/>
                <a:gd name="connsiteX1" fmla="*/ 0 w 52863"/>
                <a:gd name="connsiteY1" fmla="*/ 29813 h 33813"/>
                <a:gd name="connsiteX2" fmla="*/ 9173 w 52863"/>
                <a:gd name="connsiteY2" fmla="*/ 0 h 33813"/>
                <a:gd name="connsiteX3" fmla="*/ 52635 w 52863"/>
                <a:gd name="connsiteY3" fmla="*/ 610 h 33813"/>
                <a:gd name="connsiteX4" fmla="*/ 52864 w 52863"/>
                <a:gd name="connsiteY4" fmla="*/ 32547 h 33813"/>
                <a:gd name="connsiteX5" fmla="*/ 14002 w 52863"/>
                <a:gd name="connsiteY5" fmla="*/ 32280 h 33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863" h="33813">
                  <a:moveTo>
                    <a:pt x="5001" y="33814"/>
                  </a:moveTo>
                  <a:lnTo>
                    <a:pt x="0" y="29813"/>
                  </a:lnTo>
                  <a:lnTo>
                    <a:pt x="9173" y="0"/>
                  </a:lnTo>
                  <a:lnTo>
                    <a:pt x="52635" y="610"/>
                  </a:lnTo>
                  <a:lnTo>
                    <a:pt x="52864" y="32547"/>
                  </a:lnTo>
                  <a:lnTo>
                    <a:pt x="14002" y="3228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orme libre : forme 5714">
              <a:extLst>
                <a:ext uri="{FF2B5EF4-FFF2-40B4-BE49-F238E27FC236}">
                  <a16:creationId xmlns:a16="http://schemas.microsoft.com/office/drawing/2014/main" id="{E39ACA7A-C133-43BF-0DDA-D7A15BD77EB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59071" y="3517481"/>
              <a:ext cx="172335" cy="234696"/>
            </a:xfrm>
            <a:custGeom>
              <a:avLst/>
              <a:gdLst>
                <a:gd name="connsiteX0" fmla="*/ 94773 w 172335"/>
                <a:gd name="connsiteY0" fmla="*/ 209112 h 234696"/>
                <a:gd name="connsiteX1" fmla="*/ 109375 w 172335"/>
                <a:gd name="connsiteY1" fmla="*/ 220123 h 234696"/>
                <a:gd name="connsiteX2" fmla="*/ 130159 w 172335"/>
                <a:gd name="connsiteY2" fmla="*/ 218265 h 234696"/>
                <a:gd name="connsiteX3" fmla="*/ 150028 w 172335"/>
                <a:gd name="connsiteY3" fmla="*/ 220580 h 234696"/>
                <a:gd name="connsiteX4" fmla="*/ 149390 w 172335"/>
                <a:gd name="connsiteY4" fmla="*/ 226247 h 234696"/>
                <a:gd name="connsiteX5" fmla="*/ 163944 w 172335"/>
                <a:gd name="connsiteY5" fmla="*/ 222342 h 234696"/>
                <a:gd name="connsiteX6" fmla="*/ 160601 w 172335"/>
                <a:gd name="connsiteY6" fmla="*/ 231934 h 234696"/>
                <a:gd name="connsiteX7" fmla="*/ 122139 w 172335"/>
                <a:gd name="connsiteY7" fmla="*/ 234696 h 234696"/>
                <a:gd name="connsiteX8" fmla="*/ 122405 w 172335"/>
                <a:gd name="connsiteY8" fmla="*/ 229333 h 234696"/>
                <a:gd name="connsiteX9" fmla="*/ 89821 w 172335"/>
                <a:gd name="connsiteY9" fmla="*/ 222990 h 234696"/>
                <a:gd name="connsiteX10" fmla="*/ 94773 w 172335"/>
                <a:gd name="connsiteY10" fmla="*/ 209112 h 234696"/>
                <a:gd name="connsiteX11" fmla="*/ 172335 w 172335"/>
                <a:gd name="connsiteY11" fmla="*/ 9487 h 234696"/>
                <a:gd name="connsiteX12" fmla="*/ 164068 w 172335"/>
                <a:gd name="connsiteY12" fmla="*/ 31633 h 234696"/>
                <a:gd name="connsiteX13" fmla="*/ 157724 w 172335"/>
                <a:gd name="connsiteY13" fmla="*/ 35576 h 234696"/>
                <a:gd name="connsiteX14" fmla="*/ 141455 w 172335"/>
                <a:gd name="connsiteY14" fmla="*/ 34585 h 234696"/>
                <a:gd name="connsiteX15" fmla="*/ 127521 w 172335"/>
                <a:gd name="connsiteY15" fmla="*/ 31252 h 234696"/>
                <a:gd name="connsiteX16" fmla="*/ 95173 w 172335"/>
                <a:gd name="connsiteY16" fmla="*/ 40386 h 234696"/>
                <a:gd name="connsiteX17" fmla="*/ 113690 w 172335"/>
                <a:gd name="connsiteY17" fmla="*/ 60027 h 234696"/>
                <a:gd name="connsiteX18" fmla="*/ 100126 w 172335"/>
                <a:gd name="connsiteY18" fmla="*/ 65684 h 234696"/>
                <a:gd name="connsiteX19" fmla="*/ 85248 w 172335"/>
                <a:gd name="connsiteY19" fmla="*/ 65722 h 234696"/>
                <a:gd name="connsiteX20" fmla="*/ 71123 w 172335"/>
                <a:gd name="connsiteY20" fmla="*/ 47777 h 234696"/>
                <a:gd name="connsiteX21" fmla="*/ 66113 w 172335"/>
                <a:gd name="connsiteY21" fmla="*/ 55436 h 234696"/>
                <a:gd name="connsiteX22" fmla="*/ 72075 w 172335"/>
                <a:gd name="connsiteY22" fmla="*/ 76162 h 234696"/>
                <a:gd name="connsiteX23" fmla="*/ 85439 w 172335"/>
                <a:gd name="connsiteY23" fmla="*/ 92326 h 234696"/>
                <a:gd name="connsiteX24" fmla="*/ 75371 w 172335"/>
                <a:gd name="connsiteY24" fmla="*/ 99832 h 234696"/>
                <a:gd name="connsiteX25" fmla="*/ 90249 w 172335"/>
                <a:gd name="connsiteY25" fmla="*/ 115548 h 234696"/>
                <a:gd name="connsiteX26" fmla="*/ 103470 w 172335"/>
                <a:gd name="connsiteY26" fmla="*/ 125387 h 234696"/>
                <a:gd name="connsiteX27" fmla="*/ 103870 w 172335"/>
                <a:gd name="connsiteY27" fmla="*/ 144437 h 234696"/>
                <a:gd name="connsiteX28" fmla="*/ 90935 w 172335"/>
                <a:gd name="connsiteY28" fmla="*/ 133522 h 234696"/>
                <a:gd name="connsiteX29" fmla="*/ 79162 w 172335"/>
                <a:gd name="connsiteY29" fmla="*/ 135512 h 234696"/>
                <a:gd name="connsiteX30" fmla="*/ 87039 w 172335"/>
                <a:gd name="connsiteY30" fmla="*/ 152648 h 234696"/>
                <a:gd name="connsiteX31" fmla="*/ 78305 w 172335"/>
                <a:gd name="connsiteY31" fmla="*/ 154457 h 234696"/>
                <a:gd name="connsiteX32" fmla="*/ 68780 w 172335"/>
                <a:gd name="connsiteY32" fmla="*/ 147847 h 234696"/>
                <a:gd name="connsiteX33" fmla="*/ 80210 w 172335"/>
                <a:gd name="connsiteY33" fmla="*/ 185490 h 234696"/>
                <a:gd name="connsiteX34" fmla="*/ 74656 w 172335"/>
                <a:gd name="connsiteY34" fmla="*/ 185623 h 234696"/>
                <a:gd name="connsiteX35" fmla="*/ 70408 w 172335"/>
                <a:gd name="connsiteY35" fmla="*/ 173593 h 234696"/>
                <a:gd name="connsiteX36" fmla="*/ 64951 w 172335"/>
                <a:gd name="connsiteY36" fmla="*/ 173355 h 234696"/>
                <a:gd name="connsiteX37" fmla="*/ 62474 w 172335"/>
                <a:gd name="connsiteY37" fmla="*/ 185909 h 234696"/>
                <a:gd name="connsiteX38" fmla="*/ 58150 w 172335"/>
                <a:gd name="connsiteY38" fmla="*/ 183061 h 234696"/>
                <a:gd name="connsiteX39" fmla="*/ 59121 w 172335"/>
                <a:gd name="connsiteY39" fmla="*/ 176022 h 234696"/>
                <a:gd name="connsiteX40" fmla="*/ 53778 w 172335"/>
                <a:gd name="connsiteY40" fmla="*/ 166068 h 234696"/>
                <a:gd name="connsiteX41" fmla="*/ 47710 w 172335"/>
                <a:gd name="connsiteY41" fmla="*/ 166068 h 234696"/>
                <a:gd name="connsiteX42" fmla="*/ 48834 w 172335"/>
                <a:gd name="connsiteY42" fmla="*/ 174098 h 234696"/>
                <a:gd name="connsiteX43" fmla="*/ 46453 w 172335"/>
                <a:gd name="connsiteY43" fmla="*/ 176641 h 234696"/>
                <a:gd name="connsiteX44" fmla="*/ 40586 w 172335"/>
                <a:gd name="connsiteY44" fmla="*/ 171498 h 234696"/>
                <a:gd name="connsiteX45" fmla="*/ 36938 w 172335"/>
                <a:gd name="connsiteY45" fmla="*/ 161773 h 234696"/>
                <a:gd name="connsiteX46" fmla="*/ 41881 w 172335"/>
                <a:gd name="connsiteY46" fmla="*/ 156353 h 234696"/>
                <a:gd name="connsiteX47" fmla="*/ 38481 w 172335"/>
                <a:gd name="connsiteY47" fmla="*/ 149305 h 234696"/>
                <a:gd name="connsiteX48" fmla="*/ 34594 w 172335"/>
                <a:gd name="connsiteY48" fmla="*/ 145666 h 234696"/>
                <a:gd name="connsiteX49" fmla="*/ 30566 w 172335"/>
                <a:gd name="connsiteY49" fmla="*/ 144771 h 234696"/>
                <a:gd name="connsiteX50" fmla="*/ 25889 w 172335"/>
                <a:gd name="connsiteY50" fmla="*/ 135789 h 234696"/>
                <a:gd name="connsiteX51" fmla="*/ 31442 w 172335"/>
                <a:gd name="connsiteY51" fmla="*/ 130845 h 234696"/>
                <a:gd name="connsiteX52" fmla="*/ 34842 w 172335"/>
                <a:gd name="connsiteY52" fmla="*/ 126235 h 234696"/>
                <a:gd name="connsiteX53" fmla="*/ 40186 w 172335"/>
                <a:gd name="connsiteY53" fmla="*/ 127206 h 234696"/>
                <a:gd name="connsiteX54" fmla="*/ 42576 w 172335"/>
                <a:gd name="connsiteY54" fmla="*/ 123301 h 234696"/>
                <a:gd name="connsiteX55" fmla="*/ 48196 w 172335"/>
                <a:gd name="connsiteY55" fmla="*/ 121749 h 234696"/>
                <a:gd name="connsiteX56" fmla="*/ 54702 w 172335"/>
                <a:gd name="connsiteY56" fmla="*/ 126140 h 234696"/>
                <a:gd name="connsiteX57" fmla="*/ 59969 w 172335"/>
                <a:gd name="connsiteY57" fmla="*/ 127749 h 234696"/>
                <a:gd name="connsiteX58" fmla="*/ 63646 w 172335"/>
                <a:gd name="connsiteY58" fmla="*/ 121825 h 234696"/>
                <a:gd name="connsiteX59" fmla="*/ 54711 w 172335"/>
                <a:gd name="connsiteY59" fmla="*/ 121025 h 234696"/>
                <a:gd name="connsiteX60" fmla="*/ 49425 w 172335"/>
                <a:gd name="connsiteY60" fmla="*/ 119177 h 234696"/>
                <a:gd name="connsiteX61" fmla="*/ 37519 w 172335"/>
                <a:gd name="connsiteY61" fmla="*/ 121844 h 234696"/>
                <a:gd name="connsiteX62" fmla="*/ 25908 w 172335"/>
                <a:gd name="connsiteY62" fmla="*/ 122301 h 234696"/>
                <a:gd name="connsiteX63" fmla="*/ 15497 w 172335"/>
                <a:gd name="connsiteY63" fmla="*/ 106671 h 234696"/>
                <a:gd name="connsiteX64" fmla="*/ 13773 w 172335"/>
                <a:gd name="connsiteY64" fmla="*/ 104251 h 234696"/>
                <a:gd name="connsiteX65" fmla="*/ 15364 w 172335"/>
                <a:gd name="connsiteY65" fmla="*/ 98136 h 234696"/>
                <a:gd name="connsiteX66" fmla="*/ 1809 w 172335"/>
                <a:gd name="connsiteY66" fmla="*/ 87135 h 234696"/>
                <a:gd name="connsiteX67" fmla="*/ 0 w 172335"/>
                <a:gd name="connsiteY67" fmla="*/ 77324 h 234696"/>
                <a:gd name="connsiteX68" fmla="*/ 12420 w 172335"/>
                <a:gd name="connsiteY68" fmla="*/ 60512 h 234696"/>
                <a:gd name="connsiteX69" fmla="*/ 14021 w 172335"/>
                <a:gd name="connsiteY69" fmla="*/ 49178 h 234696"/>
                <a:gd name="connsiteX70" fmla="*/ 22698 w 172335"/>
                <a:gd name="connsiteY70" fmla="*/ 44101 h 234696"/>
                <a:gd name="connsiteX71" fmla="*/ 23231 w 172335"/>
                <a:gd name="connsiteY71" fmla="*/ 34881 h 234696"/>
                <a:gd name="connsiteX72" fmla="*/ 40700 w 172335"/>
                <a:gd name="connsiteY72" fmla="*/ 31766 h 234696"/>
                <a:gd name="connsiteX73" fmla="*/ 50882 w 172335"/>
                <a:gd name="connsiteY73" fmla="*/ 24051 h 234696"/>
                <a:gd name="connsiteX74" fmla="*/ 65361 w 172335"/>
                <a:gd name="connsiteY74" fmla="*/ 24737 h 234696"/>
                <a:gd name="connsiteX75" fmla="*/ 69752 w 172335"/>
                <a:gd name="connsiteY75" fmla="*/ 18574 h 234696"/>
                <a:gd name="connsiteX76" fmla="*/ 74838 w 172335"/>
                <a:gd name="connsiteY76" fmla="*/ 17393 h 234696"/>
                <a:gd name="connsiteX77" fmla="*/ 94592 w 172335"/>
                <a:gd name="connsiteY77" fmla="*/ 18412 h 234696"/>
                <a:gd name="connsiteX78" fmla="*/ 115976 w 172335"/>
                <a:gd name="connsiteY78" fmla="*/ 8658 h 234696"/>
                <a:gd name="connsiteX79" fmla="*/ 134798 w 172335"/>
                <a:gd name="connsiteY79" fmla="*/ 21050 h 234696"/>
                <a:gd name="connsiteX80" fmla="*/ 159067 w 172335"/>
                <a:gd name="connsiteY80" fmla="*/ 17707 h 234696"/>
                <a:gd name="connsiteX81" fmla="*/ 159362 w 172335"/>
                <a:gd name="connsiteY81" fmla="*/ 0 h 234696"/>
                <a:gd name="connsiteX82" fmla="*/ 172335 w 172335"/>
                <a:gd name="connsiteY82" fmla="*/ 9487 h 23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72335" h="234696">
                  <a:moveTo>
                    <a:pt x="94773" y="209112"/>
                  </a:moveTo>
                  <a:lnTo>
                    <a:pt x="109375" y="220123"/>
                  </a:lnTo>
                  <a:lnTo>
                    <a:pt x="130159" y="218265"/>
                  </a:lnTo>
                  <a:lnTo>
                    <a:pt x="150028" y="220580"/>
                  </a:lnTo>
                  <a:lnTo>
                    <a:pt x="149390" y="226247"/>
                  </a:lnTo>
                  <a:lnTo>
                    <a:pt x="163944" y="222342"/>
                  </a:lnTo>
                  <a:lnTo>
                    <a:pt x="160601" y="231934"/>
                  </a:lnTo>
                  <a:lnTo>
                    <a:pt x="122139" y="234696"/>
                  </a:lnTo>
                  <a:lnTo>
                    <a:pt x="122405" y="229333"/>
                  </a:lnTo>
                  <a:lnTo>
                    <a:pt x="89821" y="222990"/>
                  </a:lnTo>
                  <a:lnTo>
                    <a:pt x="94773" y="209112"/>
                  </a:lnTo>
                  <a:close/>
                  <a:moveTo>
                    <a:pt x="172335" y="9487"/>
                  </a:moveTo>
                  <a:lnTo>
                    <a:pt x="164068" y="31633"/>
                  </a:lnTo>
                  <a:lnTo>
                    <a:pt x="157724" y="35576"/>
                  </a:lnTo>
                  <a:lnTo>
                    <a:pt x="141455" y="34585"/>
                  </a:lnTo>
                  <a:lnTo>
                    <a:pt x="127521" y="31252"/>
                  </a:lnTo>
                  <a:lnTo>
                    <a:pt x="95173" y="40386"/>
                  </a:lnTo>
                  <a:lnTo>
                    <a:pt x="113690" y="60027"/>
                  </a:lnTo>
                  <a:lnTo>
                    <a:pt x="100126" y="65684"/>
                  </a:lnTo>
                  <a:lnTo>
                    <a:pt x="85248" y="65722"/>
                  </a:lnTo>
                  <a:lnTo>
                    <a:pt x="71123" y="47777"/>
                  </a:lnTo>
                  <a:lnTo>
                    <a:pt x="66113" y="55436"/>
                  </a:lnTo>
                  <a:lnTo>
                    <a:pt x="72075" y="76162"/>
                  </a:lnTo>
                  <a:lnTo>
                    <a:pt x="85439" y="92326"/>
                  </a:lnTo>
                  <a:lnTo>
                    <a:pt x="75371" y="99832"/>
                  </a:lnTo>
                  <a:lnTo>
                    <a:pt x="90249" y="115548"/>
                  </a:lnTo>
                  <a:lnTo>
                    <a:pt x="103470" y="125387"/>
                  </a:lnTo>
                  <a:lnTo>
                    <a:pt x="103870" y="144437"/>
                  </a:lnTo>
                  <a:lnTo>
                    <a:pt x="90935" y="133522"/>
                  </a:lnTo>
                  <a:lnTo>
                    <a:pt x="79162" y="135512"/>
                  </a:lnTo>
                  <a:lnTo>
                    <a:pt x="87039" y="152648"/>
                  </a:lnTo>
                  <a:lnTo>
                    <a:pt x="78305" y="154457"/>
                  </a:lnTo>
                  <a:lnTo>
                    <a:pt x="68780" y="147847"/>
                  </a:lnTo>
                  <a:lnTo>
                    <a:pt x="80210" y="185490"/>
                  </a:lnTo>
                  <a:lnTo>
                    <a:pt x="74656" y="185623"/>
                  </a:lnTo>
                  <a:lnTo>
                    <a:pt x="70408" y="173593"/>
                  </a:lnTo>
                  <a:lnTo>
                    <a:pt x="64951" y="173355"/>
                  </a:lnTo>
                  <a:lnTo>
                    <a:pt x="62474" y="185909"/>
                  </a:lnTo>
                  <a:lnTo>
                    <a:pt x="58150" y="183061"/>
                  </a:lnTo>
                  <a:lnTo>
                    <a:pt x="59121" y="176022"/>
                  </a:lnTo>
                  <a:lnTo>
                    <a:pt x="53778" y="166068"/>
                  </a:lnTo>
                  <a:lnTo>
                    <a:pt x="47710" y="166068"/>
                  </a:lnTo>
                  <a:lnTo>
                    <a:pt x="48834" y="174098"/>
                  </a:lnTo>
                  <a:lnTo>
                    <a:pt x="46453" y="176641"/>
                  </a:lnTo>
                  <a:lnTo>
                    <a:pt x="40586" y="171498"/>
                  </a:lnTo>
                  <a:lnTo>
                    <a:pt x="36938" y="161773"/>
                  </a:lnTo>
                  <a:lnTo>
                    <a:pt x="41881" y="156353"/>
                  </a:lnTo>
                  <a:lnTo>
                    <a:pt x="38481" y="149305"/>
                  </a:lnTo>
                  <a:lnTo>
                    <a:pt x="34594" y="145666"/>
                  </a:lnTo>
                  <a:lnTo>
                    <a:pt x="30566" y="144771"/>
                  </a:lnTo>
                  <a:lnTo>
                    <a:pt x="25889" y="135789"/>
                  </a:lnTo>
                  <a:lnTo>
                    <a:pt x="31442" y="130845"/>
                  </a:lnTo>
                  <a:lnTo>
                    <a:pt x="34842" y="126235"/>
                  </a:lnTo>
                  <a:lnTo>
                    <a:pt x="40186" y="127206"/>
                  </a:lnTo>
                  <a:lnTo>
                    <a:pt x="42576" y="123301"/>
                  </a:lnTo>
                  <a:lnTo>
                    <a:pt x="48196" y="121749"/>
                  </a:lnTo>
                  <a:lnTo>
                    <a:pt x="54702" y="126140"/>
                  </a:lnTo>
                  <a:lnTo>
                    <a:pt x="59969" y="127749"/>
                  </a:lnTo>
                  <a:lnTo>
                    <a:pt x="63646" y="121825"/>
                  </a:lnTo>
                  <a:lnTo>
                    <a:pt x="54711" y="121025"/>
                  </a:lnTo>
                  <a:lnTo>
                    <a:pt x="49425" y="119177"/>
                  </a:lnTo>
                  <a:lnTo>
                    <a:pt x="37519" y="121844"/>
                  </a:lnTo>
                  <a:lnTo>
                    <a:pt x="25908" y="122301"/>
                  </a:lnTo>
                  <a:lnTo>
                    <a:pt x="15497" y="106671"/>
                  </a:lnTo>
                  <a:lnTo>
                    <a:pt x="13773" y="104251"/>
                  </a:lnTo>
                  <a:lnTo>
                    <a:pt x="15364" y="98136"/>
                  </a:lnTo>
                  <a:lnTo>
                    <a:pt x="1809" y="87135"/>
                  </a:lnTo>
                  <a:lnTo>
                    <a:pt x="0" y="77324"/>
                  </a:lnTo>
                  <a:lnTo>
                    <a:pt x="12420" y="60512"/>
                  </a:lnTo>
                  <a:lnTo>
                    <a:pt x="14021" y="49178"/>
                  </a:lnTo>
                  <a:lnTo>
                    <a:pt x="22698" y="44101"/>
                  </a:lnTo>
                  <a:lnTo>
                    <a:pt x="23231" y="34881"/>
                  </a:lnTo>
                  <a:lnTo>
                    <a:pt x="40700" y="31766"/>
                  </a:lnTo>
                  <a:lnTo>
                    <a:pt x="50882" y="24051"/>
                  </a:lnTo>
                  <a:lnTo>
                    <a:pt x="65361" y="24737"/>
                  </a:lnTo>
                  <a:lnTo>
                    <a:pt x="69752" y="18574"/>
                  </a:lnTo>
                  <a:lnTo>
                    <a:pt x="74838" y="17393"/>
                  </a:lnTo>
                  <a:lnTo>
                    <a:pt x="94592" y="18412"/>
                  </a:lnTo>
                  <a:lnTo>
                    <a:pt x="115976" y="8658"/>
                  </a:lnTo>
                  <a:lnTo>
                    <a:pt x="134798" y="21050"/>
                  </a:lnTo>
                  <a:lnTo>
                    <a:pt x="159067" y="17707"/>
                  </a:lnTo>
                  <a:lnTo>
                    <a:pt x="159362" y="0"/>
                  </a:lnTo>
                  <a:lnTo>
                    <a:pt x="172335" y="94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orme libre : forme 5715">
              <a:extLst>
                <a:ext uri="{FF2B5EF4-FFF2-40B4-BE49-F238E27FC236}">
                  <a16:creationId xmlns:a16="http://schemas.microsoft.com/office/drawing/2014/main" id="{1BEA5217-F18D-9CFA-996F-39DA8280B7F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357762" y="4262032"/>
              <a:ext cx="106937" cy="112661"/>
            </a:xfrm>
            <a:custGeom>
              <a:avLst/>
              <a:gdLst>
                <a:gd name="connsiteX0" fmla="*/ 56979 w 106937"/>
                <a:gd name="connsiteY0" fmla="*/ 112662 h 112661"/>
                <a:gd name="connsiteX1" fmla="*/ 43282 w 106937"/>
                <a:gd name="connsiteY1" fmla="*/ 107899 h 112661"/>
                <a:gd name="connsiteX2" fmla="*/ 26622 w 106937"/>
                <a:gd name="connsiteY2" fmla="*/ 107404 h 112661"/>
                <a:gd name="connsiteX3" fmla="*/ 14402 w 106937"/>
                <a:gd name="connsiteY3" fmla="*/ 101975 h 112661"/>
                <a:gd name="connsiteX4" fmla="*/ 38 w 106937"/>
                <a:gd name="connsiteY4" fmla="*/ 90678 h 112661"/>
                <a:gd name="connsiteX5" fmla="*/ 695 w 106937"/>
                <a:gd name="connsiteY5" fmla="*/ 82687 h 112661"/>
                <a:gd name="connsiteX6" fmla="*/ 3791 w 106937"/>
                <a:gd name="connsiteY6" fmla="*/ 76248 h 112661"/>
                <a:gd name="connsiteX7" fmla="*/ 0 w 106937"/>
                <a:gd name="connsiteY7" fmla="*/ 71104 h 112661"/>
                <a:gd name="connsiteX8" fmla="*/ 12849 w 106937"/>
                <a:gd name="connsiteY8" fmla="*/ 48635 h 112661"/>
                <a:gd name="connsiteX9" fmla="*/ 47130 w 106937"/>
                <a:gd name="connsiteY9" fmla="*/ 48549 h 112661"/>
                <a:gd name="connsiteX10" fmla="*/ 47815 w 106937"/>
                <a:gd name="connsiteY10" fmla="*/ 39138 h 112661"/>
                <a:gd name="connsiteX11" fmla="*/ 43491 w 106937"/>
                <a:gd name="connsiteY11" fmla="*/ 37462 h 112661"/>
                <a:gd name="connsiteX12" fmla="*/ 40519 w 106937"/>
                <a:gd name="connsiteY12" fmla="*/ 31461 h 112661"/>
                <a:gd name="connsiteX13" fmla="*/ 30651 w 106937"/>
                <a:gd name="connsiteY13" fmla="*/ 25060 h 112661"/>
                <a:gd name="connsiteX14" fmla="*/ 20707 w 106937"/>
                <a:gd name="connsiteY14" fmla="*/ 15783 h 112661"/>
                <a:gd name="connsiteX15" fmla="*/ 32766 w 106937"/>
                <a:gd name="connsiteY15" fmla="*/ 15716 h 112661"/>
                <a:gd name="connsiteX16" fmla="*/ 32785 w 106937"/>
                <a:gd name="connsiteY16" fmla="*/ 48 h 112661"/>
                <a:gd name="connsiteX17" fmla="*/ 57721 w 106937"/>
                <a:gd name="connsiteY17" fmla="*/ 0 h 112661"/>
                <a:gd name="connsiteX18" fmla="*/ 82420 w 106937"/>
                <a:gd name="connsiteY18" fmla="*/ 305 h 112661"/>
                <a:gd name="connsiteX19" fmla="*/ 82210 w 106937"/>
                <a:gd name="connsiteY19" fmla="*/ 22355 h 112661"/>
                <a:gd name="connsiteX20" fmla="*/ 80124 w 106937"/>
                <a:gd name="connsiteY20" fmla="*/ 53597 h 112661"/>
                <a:gd name="connsiteX21" fmla="*/ 88097 w 106937"/>
                <a:gd name="connsiteY21" fmla="*/ 53588 h 112661"/>
                <a:gd name="connsiteX22" fmla="*/ 96803 w 106937"/>
                <a:gd name="connsiteY22" fmla="*/ 58579 h 112661"/>
                <a:gd name="connsiteX23" fmla="*/ 99108 w 106937"/>
                <a:gd name="connsiteY23" fmla="*/ 54473 h 112661"/>
                <a:gd name="connsiteX24" fmla="*/ 106937 w 106937"/>
                <a:gd name="connsiteY24" fmla="*/ 57988 h 112661"/>
                <a:gd name="connsiteX25" fmla="*/ 94764 w 106937"/>
                <a:gd name="connsiteY25" fmla="*/ 68494 h 112661"/>
                <a:gd name="connsiteX26" fmla="*/ 82105 w 106937"/>
                <a:gd name="connsiteY26" fmla="*/ 76190 h 112661"/>
                <a:gd name="connsiteX27" fmla="*/ 80229 w 106937"/>
                <a:gd name="connsiteY27" fmla="*/ 81467 h 112661"/>
                <a:gd name="connsiteX28" fmla="*/ 82353 w 106937"/>
                <a:gd name="connsiteY28" fmla="*/ 86859 h 112661"/>
                <a:gd name="connsiteX29" fmla="*/ 76800 w 106937"/>
                <a:gd name="connsiteY29" fmla="*/ 93821 h 112661"/>
                <a:gd name="connsiteX30" fmla="*/ 70552 w 106937"/>
                <a:gd name="connsiteY30" fmla="*/ 95507 h 112661"/>
                <a:gd name="connsiteX31" fmla="*/ 71971 w 106937"/>
                <a:gd name="connsiteY31" fmla="*/ 98736 h 112661"/>
                <a:gd name="connsiteX32" fmla="*/ 66961 w 106937"/>
                <a:gd name="connsiteY32" fmla="*/ 101756 h 112661"/>
                <a:gd name="connsiteX33" fmla="*/ 57807 w 106937"/>
                <a:gd name="connsiteY33" fmla="*/ 108661 h 11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937" h="112661">
                  <a:moveTo>
                    <a:pt x="56979" y="112662"/>
                  </a:moveTo>
                  <a:lnTo>
                    <a:pt x="43282" y="107899"/>
                  </a:lnTo>
                  <a:lnTo>
                    <a:pt x="26622" y="107404"/>
                  </a:lnTo>
                  <a:lnTo>
                    <a:pt x="14402" y="101975"/>
                  </a:lnTo>
                  <a:lnTo>
                    <a:pt x="38" y="90678"/>
                  </a:lnTo>
                  <a:lnTo>
                    <a:pt x="695" y="82687"/>
                  </a:lnTo>
                  <a:lnTo>
                    <a:pt x="3791" y="76248"/>
                  </a:lnTo>
                  <a:lnTo>
                    <a:pt x="0" y="71104"/>
                  </a:lnTo>
                  <a:lnTo>
                    <a:pt x="12849" y="48635"/>
                  </a:lnTo>
                  <a:lnTo>
                    <a:pt x="47130" y="48549"/>
                  </a:lnTo>
                  <a:lnTo>
                    <a:pt x="47815" y="39138"/>
                  </a:lnTo>
                  <a:lnTo>
                    <a:pt x="43491" y="37462"/>
                  </a:lnTo>
                  <a:lnTo>
                    <a:pt x="40519" y="31461"/>
                  </a:lnTo>
                  <a:lnTo>
                    <a:pt x="30651" y="25060"/>
                  </a:lnTo>
                  <a:lnTo>
                    <a:pt x="20707" y="15783"/>
                  </a:lnTo>
                  <a:lnTo>
                    <a:pt x="32766" y="15716"/>
                  </a:lnTo>
                  <a:lnTo>
                    <a:pt x="32785" y="48"/>
                  </a:lnTo>
                  <a:lnTo>
                    <a:pt x="57721" y="0"/>
                  </a:lnTo>
                  <a:lnTo>
                    <a:pt x="82420" y="305"/>
                  </a:lnTo>
                  <a:lnTo>
                    <a:pt x="82210" y="22355"/>
                  </a:lnTo>
                  <a:lnTo>
                    <a:pt x="80124" y="53597"/>
                  </a:lnTo>
                  <a:lnTo>
                    <a:pt x="88097" y="53588"/>
                  </a:lnTo>
                  <a:lnTo>
                    <a:pt x="96803" y="58579"/>
                  </a:lnTo>
                  <a:lnTo>
                    <a:pt x="99108" y="54473"/>
                  </a:lnTo>
                  <a:lnTo>
                    <a:pt x="106937" y="57988"/>
                  </a:lnTo>
                  <a:lnTo>
                    <a:pt x="94764" y="68494"/>
                  </a:lnTo>
                  <a:lnTo>
                    <a:pt x="82105" y="76190"/>
                  </a:lnTo>
                  <a:lnTo>
                    <a:pt x="80229" y="81467"/>
                  </a:lnTo>
                  <a:lnTo>
                    <a:pt x="82353" y="86859"/>
                  </a:lnTo>
                  <a:lnTo>
                    <a:pt x="76800" y="93821"/>
                  </a:lnTo>
                  <a:lnTo>
                    <a:pt x="70552" y="95507"/>
                  </a:lnTo>
                  <a:lnTo>
                    <a:pt x="71971" y="98736"/>
                  </a:lnTo>
                  <a:lnTo>
                    <a:pt x="66961" y="101756"/>
                  </a:lnTo>
                  <a:lnTo>
                    <a:pt x="57807" y="10866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orme libre : forme 5716">
              <a:extLst>
                <a:ext uri="{FF2B5EF4-FFF2-40B4-BE49-F238E27FC236}">
                  <a16:creationId xmlns:a16="http://schemas.microsoft.com/office/drawing/2014/main" id="{8E48D236-815F-AEA5-708A-6E89ED9CFB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375500" y="4404878"/>
              <a:ext cx="79505" cy="43043"/>
            </a:xfrm>
            <a:custGeom>
              <a:avLst/>
              <a:gdLst>
                <a:gd name="connsiteX0" fmla="*/ 41319 w 79505"/>
                <a:gd name="connsiteY0" fmla="*/ 43043 h 43043"/>
                <a:gd name="connsiteX1" fmla="*/ 27061 w 79505"/>
                <a:gd name="connsiteY1" fmla="*/ 31737 h 43043"/>
                <a:gd name="connsiteX2" fmla="*/ 15812 w 79505"/>
                <a:gd name="connsiteY2" fmla="*/ 29937 h 43043"/>
                <a:gd name="connsiteX3" fmla="*/ 9687 w 79505"/>
                <a:gd name="connsiteY3" fmla="*/ 22308 h 43043"/>
                <a:gd name="connsiteX4" fmla="*/ 9839 w 79505"/>
                <a:gd name="connsiteY4" fmla="*/ 18183 h 43043"/>
                <a:gd name="connsiteX5" fmla="*/ 1696 w 79505"/>
                <a:gd name="connsiteY5" fmla="*/ 12420 h 43043"/>
                <a:gd name="connsiteX6" fmla="*/ 0 w 79505"/>
                <a:gd name="connsiteY6" fmla="*/ 6610 h 43043"/>
                <a:gd name="connsiteX7" fmla="*/ 14144 w 79505"/>
                <a:gd name="connsiteY7" fmla="*/ 2181 h 43043"/>
                <a:gd name="connsiteX8" fmla="*/ 22993 w 79505"/>
                <a:gd name="connsiteY8" fmla="*/ 3057 h 43043"/>
                <a:gd name="connsiteX9" fmla="*/ 30147 w 79505"/>
                <a:gd name="connsiteY9" fmla="*/ 0 h 43043"/>
                <a:gd name="connsiteX10" fmla="*/ 79505 w 79505"/>
                <a:gd name="connsiteY10" fmla="*/ 1133 h 43043"/>
                <a:gd name="connsiteX11" fmla="*/ 79019 w 79505"/>
                <a:gd name="connsiteY11" fmla="*/ 10354 h 43043"/>
                <a:gd name="connsiteX12" fmla="*/ 76086 w 79505"/>
                <a:gd name="connsiteY12" fmla="*/ 13192 h 43043"/>
                <a:gd name="connsiteX13" fmla="*/ 78362 w 79505"/>
                <a:gd name="connsiteY13" fmla="*/ 22174 h 43043"/>
                <a:gd name="connsiteX14" fmla="*/ 74152 w 79505"/>
                <a:gd name="connsiteY14" fmla="*/ 25765 h 43043"/>
                <a:gd name="connsiteX15" fmla="*/ 68266 w 79505"/>
                <a:gd name="connsiteY15" fmla="*/ 25813 h 43043"/>
                <a:gd name="connsiteX16" fmla="*/ 61293 w 79505"/>
                <a:gd name="connsiteY16" fmla="*/ 30356 h 43043"/>
                <a:gd name="connsiteX17" fmla="*/ 53197 w 79505"/>
                <a:gd name="connsiteY17" fmla="*/ 29861 h 43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505" h="43043">
                  <a:moveTo>
                    <a:pt x="41319" y="43043"/>
                  </a:moveTo>
                  <a:lnTo>
                    <a:pt x="27061" y="31737"/>
                  </a:lnTo>
                  <a:lnTo>
                    <a:pt x="15812" y="29937"/>
                  </a:lnTo>
                  <a:lnTo>
                    <a:pt x="9687" y="22308"/>
                  </a:lnTo>
                  <a:lnTo>
                    <a:pt x="9839" y="18183"/>
                  </a:lnTo>
                  <a:lnTo>
                    <a:pt x="1696" y="12420"/>
                  </a:lnTo>
                  <a:lnTo>
                    <a:pt x="0" y="6610"/>
                  </a:lnTo>
                  <a:lnTo>
                    <a:pt x="14144" y="2181"/>
                  </a:lnTo>
                  <a:lnTo>
                    <a:pt x="22993" y="3057"/>
                  </a:lnTo>
                  <a:lnTo>
                    <a:pt x="30147" y="0"/>
                  </a:lnTo>
                  <a:lnTo>
                    <a:pt x="79505" y="1133"/>
                  </a:lnTo>
                  <a:lnTo>
                    <a:pt x="79019" y="10354"/>
                  </a:lnTo>
                  <a:lnTo>
                    <a:pt x="76086" y="13192"/>
                  </a:lnTo>
                  <a:lnTo>
                    <a:pt x="78362" y="22174"/>
                  </a:lnTo>
                  <a:lnTo>
                    <a:pt x="74152" y="25765"/>
                  </a:lnTo>
                  <a:lnTo>
                    <a:pt x="68266" y="25813"/>
                  </a:lnTo>
                  <a:lnTo>
                    <a:pt x="61293" y="30356"/>
                  </a:lnTo>
                  <a:lnTo>
                    <a:pt x="53197" y="2986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orme libre : forme 5717">
              <a:extLst>
                <a:ext uri="{FF2B5EF4-FFF2-40B4-BE49-F238E27FC236}">
                  <a16:creationId xmlns:a16="http://schemas.microsoft.com/office/drawing/2014/main" id="{FBD869DB-611B-21C2-2623-2F2046734D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180827" y="4519892"/>
              <a:ext cx="130092" cy="189118"/>
            </a:xfrm>
            <a:custGeom>
              <a:avLst/>
              <a:gdLst>
                <a:gd name="connsiteX0" fmla="*/ 44130 w 130092"/>
                <a:gd name="connsiteY0" fmla="*/ 0 h 189118"/>
                <a:gd name="connsiteX1" fmla="*/ 61665 w 130092"/>
                <a:gd name="connsiteY1" fmla="*/ 9858 h 189118"/>
                <a:gd name="connsiteX2" fmla="*/ 78181 w 130092"/>
                <a:gd name="connsiteY2" fmla="*/ 27299 h 189118"/>
                <a:gd name="connsiteX3" fmla="*/ 78934 w 130092"/>
                <a:gd name="connsiteY3" fmla="*/ 41072 h 189118"/>
                <a:gd name="connsiteX4" fmla="*/ 89002 w 130092"/>
                <a:gd name="connsiteY4" fmla="*/ 41701 h 189118"/>
                <a:gd name="connsiteX5" fmla="*/ 103308 w 130092"/>
                <a:gd name="connsiteY5" fmla="*/ 54731 h 189118"/>
                <a:gd name="connsiteX6" fmla="*/ 113852 w 130092"/>
                <a:gd name="connsiteY6" fmla="*/ 64018 h 189118"/>
                <a:gd name="connsiteX7" fmla="*/ 109585 w 130092"/>
                <a:gd name="connsiteY7" fmla="*/ 87992 h 189118"/>
                <a:gd name="connsiteX8" fmla="*/ 93374 w 130092"/>
                <a:gd name="connsiteY8" fmla="*/ 94945 h 189118"/>
                <a:gd name="connsiteX9" fmla="*/ 94812 w 130092"/>
                <a:gd name="connsiteY9" fmla="*/ 101222 h 189118"/>
                <a:gd name="connsiteX10" fmla="*/ 89888 w 130092"/>
                <a:gd name="connsiteY10" fmla="*/ 114948 h 189118"/>
                <a:gd name="connsiteX11" fmla="*/ 101727 w 130092"/>
                <a:gd name="connsiteY11" fmla="*/ 134255 h 189118"/>
                <a:gd name="connsiteX12" fmla="*/ 110280 w 130092"/>
                <a:gd name="connsiteY12" fmla="*/ 134284 h 189118"/>
                <a:gd name="connsiteX13" fmla="*/ 113786 w 130092"/>
                <a:gd name="connsiteY13" fmla="*/ 149276 h 189118"/>
                <a:gd name="connsiteX14" fmla="*/ 130093 w 130092"/>
                <a:gd name="connsiteY14" fmla="*/ 172364 h 189118"/>
                <a:gd name="connsiteX15" fmla="*/ 123587 w 130092"/>
                <a:gd name="connsiteY15" fmla="*/ 173317 h 189118"/>
                <a:gd name="connsiteX16" fmla="*/ 108823 w 130092"/>
                <a:gd name="connsiteY16" fmla="*/ 171060 h 189118"/>
                <a:gd name="connsiteX17" fmla="*/ 100136 w 130092"/>
                <a:gd name="connsiteY17" fmla="*/ 178118 h 189118"/>
                <a:gd name="connsiteX18" fmla="*/ 88059 w 130092"/>
                <a:gd name="connsiteY18" fmla="*/ 182775 h 189118"/>
                <a:gd name="connsiteX19" fmla="*/ 79610 w 130092"/>
                <a:gd name="connsiteY19" fmla="*/ 183928 h 189118"/>
                <a:gd name="connsiteX20" fmla="*/ 76657 w 130092"/>
                <a:gd name="connsiteY20" fmla="*/ 189119 h 189118"/>
                <a:gd name="connsiteX21" fmla="*/ 63551 w 130092"/>
                <a:gd name="connsiteY21" fmla="*/ 187805 h 189118"/>
                <a:gd name="connsiteX22" fmla="*/ 47120 w 130092"/>
                <a:gd name="connsiteY22" fmla="*/ 175355 h 189118"/>
                <a:gd name="connsiteX23" fmla="*/ 45187 w 130092"/>
                <a:gd name="connsiteY23" fmla="*/ 163068 h 189118"/>
                <a:gd name="connsiteX24" fmla="*/ 38348 w 130092"/>
                <a:gd name="connsiteY24" fmla="*/ 149638 h 189118"/>
                <a:gd name="connsiteX25" fmla="*/ 42606 w 130092"/>
                <a:gd name="connsiteY25" fmla="*/ 127026 h 189118"/>
                <a:gd name="connsiteX26" fmla="*/ 50006 w 130092"/>
                <a:gd name="connsiteY26" fmla="*/ 117663 h 189118"/>
                <a:gd name="connsiteX27" fmla="*/ 43882 w 130092"/>
                <a:gd name="connsiteY27" fmla="*/ 105299 h 189118"/>
                <a:gd name="connsiteX28" fmla="*/ 34700 w 130092"/>
                <a:gd name="connsiteY28" fmla="*/ 101270 h 189118"/>
                <a:gd name="connsiteX29" fmla="*/ 38176 w 130092"/>
                <a:gd name="connsiteY29" fmla="*/ 89573 h 189118"/>
                <a:gd name="connsiteX30" fmla="*/ 31966 w 130092"/>
                <a:gd name="connsiteY30" fmla="*/ 83439 h 189118"/>
                <a:gd name="connsiteX31" fmla="*/ 18079 w 130092"/>
                <a:gd name="connsiteY31" fmla="*/ 84620 h 189118"/>
                <a:gd name="connsiteX32" fmla="*/ 0 w 130092"/>
                <a:gd name="connsiteY32" fmla="*/ 64389 h 189118"/>
                <a:gd name="connsiteX33" fmla="*/ 7239 w 130092"/>
                <a:gd name="connsiteY33" fmla="*/ 57045 h 189118"/>
                <a:gd name="connsiteX34" fmla="*/ 6706 w 130092"/>
                <a:gd name="connsiteY34" fmla="*/ 44720 h 189118"/>
                <a:gd name="connsiteX35" fmla="*/ 23146 w 130092"/>
                <a:gd name="connsiteY35" fmla="*/ 40434 h 189118"/>
                <a:gd name="connsiteX36" fmla="*/ 29775 w 130092"/>
                <a:gd name="connsiteY36" fmla="*/ 35424 h 189118"/>
                <a:gd name="connsiteX37" fmla="*/ 20631 w 130092"/>
                <a:gd name="connsiteY37" fmla="*/ 25498 h 189118"/>
                <a:gd name="connsiteX38" fmla="*/ 22965 w 130092"/>
                <a:gd name="connsiteY38" fmla="*/ 15735 h 18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30092" h="189118">
                  <a:moveTo>
                    <a:pt x="44130" y="0"/>
                  </a:moveTo>
                  <a:lnTo>
                    <a:pt x="61665" y="9858"/>
                  </a:lnTo>
                  <a:lnTo>
                    <a:pt x="78181" y="27299"/>
                  </a:lnTo>
                  <a:lnTo>
                    <a:pt x="78934" y="41072"/>
                  </a:lnTo>
                  <a:lnTo>
                    <a:pt x="89002" y="41701"/>
                  </a:lnTo>
                  <a:lnTo>
                    <a:pt x="103308" y="54731"/>
                  </a:lnTo>
                  <a:lnTo>
                    <a:pt x="113852" y="64018"/>
                  </a:lnTo>
                  <a:lnTo>
                    <a:pt x="109585" y="87992"/>
                  </a:lnTo>
                  <a:lnTo>
                    <a:pt x="93374" y="94945"/>
                  </a:lnTo>
                  <a:lnTo>
                    <a:pt x="94812" y="101222"/>
                  </a:lnTo>
                  <a:lnTo>
                    <a:pt x="89888" y="114948"/>
                  </a:lnTo>
                  <a:lnTo>
                    <a:pt x="101727" y="134255"/>
                  </a:lnTo>
                  <a:lnTo>
                    <a:pt x="110280" y="134284"/>
                  </a:lnTo>
                  <a:lnTo>
                    <a:pt x="113786" y="149276"/>
                  </a:lnTo>
                  <a:lnTo>
                    <a:pt x="130093" y="172364"/>
                  </a:lnTo>
                  <a:lnTo>
                    <a:pt x="123587" y="173317"/>
                  </a:lnTo>
                  <a:lnTo>
                    <a:pt x="108823" y="171060"/>
                  </a:lnTo>
                  <a:lnTo>
                    <a:pt x="100136" y="178118"/>
                  </a:lnTo>
                  <a:lnTo>
                    <a:pt x="88059" y="182775"/>
                  </a:lnTo>
                  <a:lnTo>
                    <a:pt x="79610" y="183928"/>
                  </a:lnTo>
                  <a:lnTo>
                    <a:pt x="76657" y="189119"/>
                  </a:lnTo>
                  <a:lnTo>
                    <a:pt x="63551" y="187805"/>
                  </a:lnTo>
                  <a:lnTo>
                    <a:pt x="47120" y="175355"/>
                  </a:lnTo>
                  <a:lnTo>
                    <a:pt x="45187" y="163068"/>
                  </a:lnTo>
                  <a:lnTo>
                    <a:pt x="38348" y="149638"/>
                  </a:lnTo>
                  <a:lnTo>
                    <a:pt x="42606" y="127026"/>
                  </a:lnTo>
                  <a:lnTo>
                    <a:pt x="50006" y="117663"/>
                  </a:lnTo>
                  <a:lnTo>
                    <a:pt x="43882" y="105299"/>
                  </a:lnTo>
                  <a:lnTo>
                    <a:pt x="34700" y="101270"/>
                  </a:lnTo>
                  <a:lnTo>
                    <a:pt x="38176" y="89573"/>
                  </a:lnTo>
                  <a:lnTo>
                    <a:pt x="31966" y="83439"/>
                  </a:lnTo>
                  <a:lnTo>
                    <a:pt x="18079" y="84620"/>
                  </a:lnTo>
                  <a:lnTo>
                    <a:pt x="0" y="64389"/>
                  </a:lnTo>
                  <a:lnTo>
                    <a:pt x="7239" y="57045"/>
                  </a:lnTo>
                  <a:lnTo>
                    <a:pt x="6706" y="44720"/>
                  </a:lnTo>
                  <a:lnTo>
                    <a:pt x="23146" y="40434"/>
                  </a:lnTo>
                  <a:lnTo>
                    <a:pt x="29775" y="35424"/>
                  </a:lnTo>
                  <a:lnTo>
                    <a:pt x="20631" y="25498"/>
                  </a:lnTo>
                  <a:lnTo>
                    <a:pt x="22965" y="1573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orme libre : forme 5718">
              <a:extLst>
                <a:ext uri="{FF2B5EF4-FFF2-40B4-BE49-F238E27FC236}">
                  <a16:creationId xmlns:a16="http://schemas.microsoft.com/office/drawing/2014/main" id="{EE943A80-D9AD-C09A-CE32-FF824BA8EF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434562" y="4312352"/>
              <a:ext cx="165754" cy="82819"/>
            </a:xfrm>
            <a:custGeom>
              <a:avLst/>
              <a:gdLst>
                <a:gd name="connsiteX0" fmla="*/ 54397 w 165754"/>
                <a:gd name="connsiteY0" fmla="*/ 82820 h 82819"/>
                <a:gd name="connsiteX1" fmla="*/ 49787 w 165754"/>
                <a:gd name="connsiteY1" fmla="*/ 74295 h 82819"/>
                <a:gd name="connsiteX2" fmla="*/ 41672 w 165754"/>
                <a:gd name="connsiteY2" fmla="*/ 71923 h 82819"/>
                <a:gd name="connsiteX3" fmla="*/ 43529 w 165754"/>
                <a:gd name="connsiteY3" fmla="*/ 60988 h 82819"/>
                <a:gd name="connsiteX4" fmla="*/ 39900 w 165754"/>
                <a:gd name="connsiteY4" fmla="*/ 58026 h 82819"/>
                <a:gd name="connsiteX5" fmla="*/ 34404 w 165754"/>
                <a:gd name="connsiteY5" fmla="*/ 56083 h 82819"/>
                <a:gd name="connsiteX6" fmla="*/ 22689 w 165754"/>
                <a:gd name="connsiteY6" fmla="*/ 59331 h 82819"/>
                <a:gd name="connsiteX7" fmla="*/ 21698 w 165754"/>
                <a:gd name="connsiteY7" fmla="*/ 55654 h 82819"/>
                <a:gd name="connsiteX8" fmla="*/ 13630 w 165754"/>
                <a:gd name="connsiteY8" fmla="*/ 51263 h 82819"/>
                <a:gd name="connsiteX9" fmla="*/ 7877 w 165754"/>
                <a:gd name="connsiteY9" fmla="*/ 45806 h 82819"/>
                <a:gd name="connsiteX10" fmla="*/ 0 w 165754"/>
                <a:gd name="connsiteY10" fmla="*/ 43501 h 82819"/>
                <a:gd name="connsiteX11" fmla="*/ 5553 w 165754"/>
                <a:gd name="connsiteY11" fmla="*/ 36538 h 82819"/>
                <a:gd name="connsiteX12" fmla="*/ 3429 w 165754"/>
                <a:gd name="connsiteY12" fmla="*/ 31147 h 82819"/>
                <a:gd name="connsiteX13" fmla="*/ 5305 w 165754"/>
                <a:gd name="connsiteY13" fmla="*/ 25870 h 82819"/>
                <a:gd name="connsiteX14" fmla="*/ 17964 w 165754"/>
                <a:gd name="connsiteY14" fmla="*/ 18174 h 82819"/>
                <a:gd name="connsiteX15" fmla="*/ 30137 w 165754"/>
                <a:gd name="connsiteY15" fmla="*/ 7668 h 82819"/>
                <a:gd name="connsiteX16" fmla="*/ 32909 w 165754"/>
                <a:gd name="connsiteY16" fmla="*/ 8744 h 82819"/>
                <a:gd name="connsiteX17" fmla="*/ 38767 w 165754"/>
                <a:gd name="connsiteY17" fmla="*/ 3896 h 82819"/>
                <a:gd name="connsiteX18" fmla="*/ 46406 w 165754"/>
                <a:gd name="connsiteY18" fmla="*/ 3505 h 82819"/>
                <a:gd name="connsiteX19" fmla="*/ 48892 w 165754"/>
                <a:gd name="connsiteY19" fmla="*/ 5753 h 82819"/>
                <a:gd name="connsiteX20" fmla="*/ 53035 w 165754"/>
                <a:gd name="connsiteY20" fmla="*/ 4381 h 82819"/>
                <a:gd name="connsiteX21" fmla="*/ 65437 w 165754"/>
                <a:gd name="connsiteY21" fmla="*/ 6867 h 82819"/>
                <a:gd name="connsiteX22" fmla="*/ 77781 w 165754"/>
                <a:gd name="connsiteY22" fmla="*/ 6144 h 82819"/>
                <a:gd name="connsiteX23" fmla="*/ 86373 w 165754"/>
                <a:gd name="connsiteY23" fmla="*/ 3095 h 82819"/>
                <a:gd name="connsiteX24" fmla="*/ 89506 w 165754"/>
                <a:gd name="connsiteY24" fmla="*/ 0 h 82819"/>
                <a:gd name="connsiteX25" fmla="*/ 98022 w 165754"/>
                <a:gd name="connsiteY25" fmla="*/ 1429 h 82819"/>
                <a:gd name="connsiteX26" fmla="*/ 104413 w 165754"/>
                <a:gd name="connsiteY26" fmla="*/ 3315 h 82819"/>
                <a:gd name="connsiteX27" fmla="*/ 111395 w 165754"/>
                <a:gd name="connsiteY27" fmla="*/ 2667 h 82819"/>
                <a:gd name="connsiteX28" fmla="*/ 116700 w 165754"/>
                <a:gd name="connsiteY28" fmla="*/ 267 h 82819"/>
                <a:gd name="connsiteX29" fmla="*/ 128902 w 165754"/>
                <a:gd name="connsiteY29" fmla="*/ 4096 h 82819"/>
                <a:gd name="connsiteX30" fmla="*/ 133141 w 165754"/>
                <a:gd name="connsiteY30" fmla="*/ 4705 h 82819"/>
                <a:gd name="connsiteX31" fmla="*/ 141294 w 165754"/>
                <a:gd name="connsiteY31" fmla="*/ 9858 h 82819"/>
                <a:gd name="connsiteX32" fmla="*/ 149009 w 165754"/>
                <a:gd name="connsiteY32" fmla="*/ 16040 h 82819"/>
                <a:gd name="connsiteX33" fmla="*/ 158715 w 165754"/>
                <a:gd name="connsiteY33" fmla="*/ 20250 h 82819"/>
                <a:gd name="connsiteX34" fmla="*/ 165754 w 165754"/>
                <a:gd name="connsiteY34" fmla="*/ 27813 h 82819"/>
                <a:gd name="connsiteX35" fmla="*/ 156591 w 165754"/>
                <a:gd name="connsiteY35" fmla="*/ 27251 h 82819"/>
                <a:gd name="connsiteX36" fmla="*/ 152895 w 165754"/>
                <a:gd name="connsiteY36" fmla="*/ 30994 h 82819"/>
                <a:gd name="connsiteX37" fmla="*/ 143618 w 165754"/>
                <a:gd name="connsiteY37" fmla="*/ 34576 h 82819"/>
                <a:gd name="connsiteX38" fmla="*/ 136874 w 165754"/>
                <a:gd name="connsiteY38" fmla="*/ 34595 h 82819"/>
                <a:gd name="connsiteX39" fmla="*/ 130978 w 165754"/>
                <a:gd name="connsiteY39" fmla="*/ 38090 h 82819"/>
                <a:gd name="connsiteX40" fmla="*/ 125625 w 165754"/>
                <a:gd name="connsiteY40" fmla="*/ 36843 h 82819"/>
                <a:gd name="connsiteX41" fmla="*/ 121072 w 165754"/>
                <a:gd name="connsiteY41" fmla="*/ 32651 h 82819"/>
                <a:gd name="connsiteX42" fmla="*/ 118281 w 165754"/>
                <a:gd name="connsiteY42" fmla="*/ 33452 h 82819"/>
                <a:gd name="connsiteX43" fmla="*/ 114852 w 165754"/>
                <a:gd name="connsiteY43" fmla="*/ 40005 h 82819"/>
                <a:gd name="connsiteX44" fmla="*/ 112290 w 165754"/>
                <a:gd name="connsiteY44" fmla="*/ 39767 h 82819"/>
                <a:gd name="connsiteX45" fmla="*/ 111852 w 165754"/>
                <a:gd name="connsiteY45" fmla="*/ 45415 h 82819"/>
                <a:gd name="connsiteX46" fmla="*/ 102527 w 165754"/>
                <a:gd name="connsiteY46" fmla="*/ 52949 h 82819"/>
                <a:gd name="connsiteX47" fmla="*/ 97612 w 165754"/>
                <a:gd name="connsiteY47" fmla="*/ 56197 h 82819"/>
                <a:gd name="connsiteX48" fmla="*/ 94869 w 165754"/>
                <a:gd name="connsiteY48" fmla="*/ 59588 h 82819"/>
                <a:gd name="connsiteX49" fmla="*/ 86992 w 165754"/>
                <a:gd name="connsiteY49" fmla="*/ 54064 h 82819"/>
                <a:gd name="connsiteX50" fmla="*/ 81229 w 165754"/>
                <a:gd name="connsiteY50" fmla="*/ 61360 h 82819"/>
                <a:gd name="connsiteX51" fmla="*/ 75657 w 165754"/>
                <a:gd name="connsiteY51" fmla="*/ 61170 h 82819"/>
                <a:gd name="connsiteX52" fmla="*/ 69390 w 165754"/>
                <a:gd name="connsiteY52" fmla="*/ 61808 h 82819"/>
                <a:gd name="connsiteX53" fmla="*/ 69961 w 165754"/>
                <a:gd name="connsiteY53" fmla="*/ 75228 h 82819"/>
                <a:gd name="connsiteX54" fmla="*/ 66046 w 165754"/>
                <a:gd name="connsiteY54" fmla="*/ 75476 h 82819"/>
                <a:gd name="connsiteX55" fmla="*/ 62703 w 165754"/>
                <a:gd name="connsiteY55" fmla="*/ 81705 h 8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65754" h="82819">
                  <a:moveTo>
                    <a:pt x="54397" y="82820"/>
                  </a:moveTo>
                  <a:lnTo>
                    <a:pt x="49787" y="74295"/>
                  </a:lnTo>
                  <a:lnTo>
                    <a:pt x="41672" y="71923"/>
                  </a:lnTo>
                  <a:lnTo>
                    <a:pt x="43529" y="60988"/>
                  </a:lnTo>
                  <a:lnTo>
                    <a:pt x="39900" y="58026"/>
                  </a:lnTo>
                  <a:lnTo>
                    <a:pt x="34404" y="56083"/>
                  </a:lnTo>
                  <a:lnTo>
                    <a:pt x="22689" y="59331"/>
                  </a:lnTo>
                  <a:lnTo>
                    <a:pt x="21698" y="55654"/>
                  </a:lnTo>
                  <a:lnTo>
                    <a:pt x="13630" y="51263"/>
                  </a:lnTo>
                  <a:lnTo>
                    <a:pt x="7877" y="45806"/>
                  </a:lnTo>
                  <a:lnTo>
                    <a:pt x="0" y="43501"/>
                  </a:lnTo>
                  <a:lnTo>
                    <a:pt x="5553" y="36538"/>
                  </a:lnTo>
                  <a:lnTo>
                    <a:pt x="3429" y="31147"/>
                  </a:lnTo>
                  <a:lnTo>
                    <a:pt x="5305" y="25870"/>
                  </a:lnTo>
                  <a:lnTo>
                    <a:pt x="17964" y="18174"/>
                  </a:lnTo>
                  <a:lnTo>
                    <a:pt x="30137" y="7668"/>
                  </a:lnTo>
                  <a:lnTo>
                    <a:pt x="32909" y="8744"/>
                  </a:lnTo>
                  <a:lnTo>
                    <a:pt x="38767" y="3896"/>
                  </a:lnTo>
                  <a:lnTo>
                    <a:pt x="46406" y="3505"/>
                  </a:lnTo>
                  <a:lnTo>
                    <a:pt x="48892" y="5753"/>
                  </a:lnTo>
                  <a:lnTo>
                    <a:pt x="53035" y="4381"/>
                  </a:lnTo>
                  <a:lnTo>
                    <a:pt x="65437" y="6867"/>
                  </a:lnTo>
                  <a:lnTo>
                    <a:pt x="77781" y="6144"/>
                  </a:lnTo>
                  <a:lnTo>
                    <a:pt x="86373" y="3095"/>
                  </a:lnTo>
                  <a:lnTo>
                    <a:pt x="89506" y="0"/>
                  </a:lnTo>
                  <a:lnTo>
                    <a:pt x="98022" y="1429"/>
                  </a:lnTo>
                  <a:lnTo>
                    <a:pt x="104413" y="3315"/>
                  </a:lnTo>
                  <a:lnTo>
                    <a:pt x="111395" y="2667"/>
                  </a:lnTo>
                  <a:lnTo>
                    <a:pt x="116700" y="267"/>
                  </a:lnTo>
                  <a:lnTo>
                    <a:pt x="128902" y="4096"/>
                  </a:lnTo>
                  <a:lnTo>
                    <a:pt x="133141" y="4705"/>
                  </a:lnTo>
                  <a:lnTo>
                    <a:pt x="141294" y="9858"/>
                  </a:lnTo>
                  <a:lnTo>
                    <a:pt x="149009" y="16040"/>
                  </a:lnTo>
                  <a:lnTo>
                    <a:pt x="158715" y="20250"/>
                  </a:lnTo>
                  <a:lnTo>
                    <a:pt x="165754" y="27813"/>
                  </a:lnTo>
                  <a:lnTo>
                    <a:pt x="156591" y="27251"/>
                  </a:lnTo>
                  <a:lnTo>
                    <a:pt x="152895" y="30994"/>
                  </a:lnTo>
                  <a:lnTo>
                    <a:pt x="143618" y="34576"/>
                  </a:lnTo>
                  <a:lnTo>
                    <a:pt x="136874" y="34595"/>
                  </a:lnTo>
                  <a:lnTo>
                    <a:pt x="130978" y="38090"/>
                  </a:lnTo>
                  <a:lnTo>
                    <a:pt x="125625" y="36843"/>
                  </a:lnTo>
                  <a:lnTo>
                    <a:pt x="121072" y="32651"/>
                  </a:lnTo>
                  <a:lnTo>
                    <a:pt x="118281" y="33452"/>
                  </a:lnTo>
                  <a:lnTo>
                    <a:pt x="114852" y="40005"/>
                  </a:lnTo>
                  <a:lnTo>
                    <a:pt x="112290" y="39767"/>
                  </a:lnTo>
                  <a:lnTo>
                    <a:pt x="111852" y="45415"/>
                  </a:lnTo>
                  <a:lnTo>
                    <a:pt x="102527" y="52949"/>
                  </a:lnTo>
                  <a:lnTo>
                    <a:pt x="97612" y="56197"/>
                  </a:lnTo>
                  <a:lnTo>
                    <a:pt x="94869" y="59588"/>
                  </a:lnTo>
                  <a:lnTo>
                    <a:pt x="86992" y="54064"/>
                  </a:lnTo>
                  <a:lnTo>
                    <a:pt x="81229" y="61360"/>
                  </a:lnTo>
                  <a:lnTo>
                    <a:pt x="75657" y="61170"/>
                  </a:lnTo>
                  <a:lnTo>
                    <a:pt x="69390" y="61808"/>
                  </a:lnTo>
                  <a:lnTo>
                    <a:pt x="69961" y="75228"/>
                  </a:lnTo>
                  <a:lnTo>
                    <a:pt x="66046" y="75476"/>
                  </a:lnTo>
                  <a:lnTo>
                    <a:pt x="62703" y="817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orme libre : forme 5719">
              <a:extLst>
                <a:ext uri="{FF2B5EF4-FFF2-40B4-BE49-F238E27FC236}">
                  <a16:creationId xmlns:a16="http://schemas.microsoft.com/office/drawing/2014/main" id="{5166F628-2003-32B1-8AA4-DE8B3E4AF2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185629" y="3343869"/>
              <a:ext cx="153123" cy="150228"/>
            </a:xfrm>
            <a:custGeom>
              <a:avLst/>
              <a:gdLst>
                <a:gd name="connsiteX0" fmla="*/ 138151 w 153123"/>
                <a:gd name="connsiteY0" fmla="*/ 22888 h 150228"/>
                <a:gd name="connsiteX1" fmla="*/ 144637 w 153123"/>
                <a:gd name="connsiteY1" fmla="*/ 37652 h 150228"/>
                <a:gd name="connsiteX2" fmla="*/ 153124 w 153123"/>
                <a:gd name="connsiteY2" fmla="*/ 48454 h 150228"/>
                <a:gd name="connsiteX3" fmla="*/ 142847 w 153123"/>
                <a:gd name="connsiteY3" fmla="*/ 62627 h 150228"/>
                <a:gd name="connsiteX4" fmla="*/ 130759 w 153123"/>
                <a:gd name="connsiteY4" fmla="*/ 54302 h 150228"/>
                <a:gd name="connsiteX5" fmla="*/ 112300 w 153123"/>
                <a:gd name="connsiteY5" fmla="*/ 54826 h 150228"/>
                <a:gd name="connsiteX6" fmla="*/ 89335 w 153123"/>
                <a:gd name="connsiteY6" fmla="*/ 48558 h 150228"/>
                <a:gd name="connsiteX7" fmla="*/ 76858 w 153123"/>
                <a:gd name="connsiteY7" fmla="*/ 49397 h 150228"/>
                <a:gd name="connsiteX8" fmla="*/ 71076 w 153123"/>
                <a:gd name="connsiteY8" fmla="*/ 57226 h 150228"/>
                <a:gd name="connsiteX9" fmla="*/ 61484 w 153123"/>
                <a:gd name="connsiteY9" fmla="*/ 48558 h 150228"/>
                <a:gd name="connsiteX10" fmla="*/ 55902 w 153123"/>
                <a:gd name="connsiteY10" fmla="*/ 64189 h 150228"/>
                <a:gd name="connsiteX11" fmla="*/ 68980 w 153123"/>
                <a:gd name="connsiteY11" fmla="*/ 81658 h 150228"/>
                <a:gd name="connsiteX12" fmla="*/ 74772 w 153123"/>
                <a:gd name="connsiteY12" fmla="*/ 93173 h 150228"/>
                <a:gd name="connsiteX13" fmla="*/ 87049 w 153123"/>
                <a:gd name="connsiteY13" fmla="*/ 106956 h 150228"/>
                <a:gd name="connsiteX14" fmla="*/ 97222 w 153123"/>
                <a:gd name="connsiteY14" fmla="*/ 115081 h 150228"/>
                <a:gd name="connsiteX15" fmla="*/ 107309 w 153123"/>
                <a:gd name="connsiteY15" fmla="*/ 130340 h 150228"/>
                <a:gd name="connsiteX16" fmla="*/ 130940 w 153123"/>
                <a:gd name="connsiteY16" fmla="*/ 144085 h 150228"/>
                <a:gd name="connsiteX17" fmla="*/ 128007 w 153123"/>
                <a:gd name="connsiteY17" fmla="*/ 150228 h 150228"/>
                <a:gd name="connsiteX18" fmla="*/ 102899 w 153123"/>
                <a:gd name="connsiteY18" fmla="*/ 136827 h 150228"/>
                <a:gd name="connsiteX19" fmla="*/ 87411 w 153123"/>
                <a:gd name="connsiteY19" fmla="*/ 123730 h 150228"/>
                <a:gd name="connsiteX20" fmla="*/ 62989 w 153123"/>
                <a:gd name="connsiteY20" fmla="*/ 112852 h 150228"/>
                <a:gd name="connsiteX21" fmla="*/ 40529 w 153123"/>
                <a:gd name="connsiteY21" fmla="*/ 85677 h 150228"/>
                <a:gd name="connsiteX22" fmla="*/ 45920 w 153123"/>
                <a:gd name="connsiteY22" fmla="*/ 82896 h 150228"/>
                <a:gd name="connsiteX23" fmla="*/ 33737 w 153123"/>
                <a:gd name="connsiteY23" fmla="*/ 67199 h 150228"/>
                <a:gd name="connsiteX24" fmla="*/ 33242 w 153123"/>
                <a:gd name="connsiteY24" fmla="*/ 54512 h 150228"/>
                <a:gd name="connsiteX25" fmla="*/ 16069 w 153123"/>
                <a:gd name="connsiteY25" fmla="*/ 48558 h 150228"/>
                <a:gd name="connsiteX26" fmla="*/ 7887 w 153123"/>
                <a:gd name="connsiteY26" fmla="*/ 64808 h 150228"/>
                <a:gd name="connsiteX27" fmla="*/ 0 w 153123"/>
                <a:gd name="connsiteY27" fmla="*/ 52216 h 150228"/>
                <a:gd name="connsiteX28" fmla="*/ 600 w 153123"/>
                <a:gd name="connsiteY28" fmla="*/ 39071 h 150228"/>
                <a:gd name="connsiteX29" fmla="*/ 1553 w 153123"/>
                <a:gd name="connsiteY29" fmla="*/ 38462 h 150228"/>
                <a:gd name="connsiteX30" fmla="*/ 20164 w 153123"/>
                <a:gd name="connsiteY30" fmla="*/ 39757 h 150228"/>
                <a:gd name="connsiteX31" fmla="*/ 25051 w 153123"/>
                <a:gd name="connsiteY31" fmla="*/ 33338 h 150228"/>
                <a:gd name="connsiteX32" fmla="*/ 34138 w 153123"/>
                <a:gd name="connsiteY32" fmla="*/ 39548 h 150228"/>
                <a:gd name="connsiteX33" fmla="*/ 44615 w 153123"/>
                <a:gd name="connsiteY33" fmla="*/ 40281 h 150228"/>
                <a:gd name="connsiteX34" fmla="*/ 44520 w 153123"/>
                <a:gd name="connsiteY34" fmla="*/ 29651 h 150228"/>
                <a:gd name="connsiteX35" fmla="*/ 53797 w 153123"/>
                <a:gd name="connsiteY35" fmla="*/ 25746 h 150228"/>
                <a:gd name="connsiteX36" fmla="*/ 56398 w 153123"/>
                <a:gd name="connsiteY36" fmla="*/ 10249 h 150228"/>
                <a:gd name="connsiteX37" fmla="*/ 77657 w 153123"/>
                <a:gd name="connsiteY37" fmla="*/ 0 h 150228"/>
                <a:gd name="connsiteX38" fmla="*/ 86144 w 153123"/>
                <a:gd name="connsiteY38" fmla="*/ 4763 h 150228"/>
                <a:gd name="connsiteX39" fmla="*/ 106109 w 153123"/>
                <a:gd name="connsiteY39" fmla="*/ 21250 h 150228"/>
                <a:gd name="connsiteX40" fmla="*/ 128168 w 153123"/>
                <a:gd name="connsiteY40" fmla="*/ 28594 h 15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53123" h="150228">
                  <a:moveTo>
                    <a:pt x="138151" y="22888"/>
                  </a:moveTo>
                  <a:lnTo>
                    <a:pt x="144637" y="37652"/>
                  </a:lnTo>
                  <a:lnTo>
                    <a:pt x="153124" y="48454"/>
                  </a:lnTo>
                  <a:lnTo>
                    <a:pt x="142847" y="62627"/>
                  </a:lnTo>
                  <a:lnTo>
                    <a:pt x="130759" y="54302"/>
                  </a:lnTo>
                  <a:lnTo>
                    <a:pt x="112300" y="54826"/>
                  </a:lnTo>
                  <a:lnTo>
                    <a:pt x="89335" y="48558"/>
                  </a:lnTo>
                  <a:lnTo>
                    <a:pt x="76858" y="49397"/>
                  </a:lnTo>
                  <a:lnTo>
                    <a:pt x="71076" y="57226"/>
                  </a:lnTo>
                  <a:lnTo>
                    <a:pt x="61484" y="48558"/>
                  </a:lnTo>
                  <a:lnTo>
                    <a:pt x="55902" y="64189"/>
                  </a:lnTo>
                  <a:lnTo>
                    <a:pt x="68980" y="81658"/>
                  </a:lnTo>
                  <a:lnTo>
                    <a:pt x="74772" y="93173"/>
                  </a:lnTo>
                  <a:lnTo>
                    <a:pt x="87049" y="106956"/>
                  </a:lnTo>
                  <a:lnTo>
                    <a:pt x="97222" y="115081"/>
                  </a:lnTo>
                  <a:lnTo>
                    <a:pt x="107309" y="130340"/>
                  </a:lnTo>
                  <a:lnTo>
                    <a:pt x="130940" y="144085"/>
                  </a:lnTo>
                  <a:lnTo>
                    <a:pt x="128007" y="150228"/>
                  </a:lnTo>
                  <a:lnTo>
                    <a:pt x="102899" y="136827"/>
                  </a:lnTo>
                  <a:lnTo>
                    <a:pt x="87411" y="123730"/>
                  </a:lnTo>
                  <a:lnTo>
                    <a:pt x="62989" y="112852"/>
                  </a:lnTo>
                  <a:lnTo>
                    <a:pt x="40529" y="85677"/>
                  </a:lnTo>
                  <a:lnTo>
                    <a:pt x="45920" y="82896"/>
                  </a:lnTo>
                  <a:lnTo>
                    <a:pt x="33737" y="67199"/>
                  </a:lnTo>
                  <a:lnTo>
                    <a:pt x="33242" y="54512"/>
                  </a:lnTo>
                  <a:lnTo>
                    <a:pt x="16069" y="48558"/>
                  </a:lnTo>
                  <a:lnTo>
                    <a:pt x="7887" y="64808"/>
                  </a:lnTo>
                  <a:lnTo>
                    <a:pt x="0" y="52216"/>
                  </a:lnTo>
                  <a:lnTo>
                    <a:pt x="600" y="39071"/>
                  </a:lnTo>
                  <a:lnTo>
                    <a:pt x="1553" y="38462"/>
                  </a:lnTo>
                  <a:lnTo>
                    <a:pt x="20164" y="39757"/>
                  </a:lnTo>
                  <a:lnTo>
                    <a:pt x="25051" y="33338"/>
                  </a:lnTo>
                  <a:lnTo>
                    <a:pt x="34138" y="39548"/>
                  </a:lnTo>
                  <a:lnTo>
                    <a:pt x="44615" y="40281"/>
                  </a:lnTo>
                  <a:lnTo>
                    <a:pt x="44520" y="29651"/>
                  </a:lnTo>
                  <a:lnTo>
                    <a:pt x="53797" y="25746"/>
                  </a:lnTo>
                  <a:lnTo>
                    <a:pt x="56398" y="10249"/>
                  </a:lnTo>
                  <a:lnTo>
                    <a:pt x="77657" y="0"/>
                  </a:lnTo>
                  <a:lnTo>
                    <a:pt x="86144" y="4763"/>
                  </a:lnTo>
                  <a:lnTo>
                    <a:pt x="106109" y="21250"/>
                  </a:lnTo>
                  <a:lnTo>
                    <a:pt x="128168" y="2859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orme libre : forme 5720">
              <a:extLst>
                <a:ext uri="{FF2B5EF4-FFF2-40B4-BE49-F238E27FC236}">
                  <a16:creationId xmlns:a16="http://schemas.microsoft.com/office/drawing/2014/main" id="{1915E964-F25B-6CB6-C363-7FC535F59B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832364" y="4203215"/>
              <a:ext cx="75666" cy="52911"/>
            </a:xfrm>
            <a:custGeom>
              <a:avLst/>
              <a:gdLst>
                <a:gd name="connsiteX0" fmla="*/ 33880 w 75666"/>
                <a:gd name="connsiteY0" fmla="*/ 0 h 52911"/>
                <a:gd name="connsiteX1" fmla="*/ 50168 w 75666"/>
                <a:gd name="connsiteY1" fmla="*/ 1248 h 52911"/>
                <a:gd name="connsiteX2" fmla="*/ 73333 w 75666"/>
                <a:gd name="connsiteY2" fmla="*/ 5686 h 52911"/>
                <a:gd name="connsiteX3" fmla="*/ 75667 w 75666"/>
                <a:gd name="connsiteY3" fmla="*/ 21012 h 52911"/>
                <a:gd name="connsiteX4" fmla="*/ 73628 w 75666"/>
                <a:gd name="connsiteY4" fmla="*/ 31804 h 52911"/>
                <a:gd name="connsiteX5" fmla="*/ 67113 w 75666"/>
                <a:gd name="connsiteY5" fmla="*/ 36528 h 52911"/>
                <a:gd name="connsiteX6" fmla="*/ 73990 w 75666"/>
                <a:gd name="connsiteY6" fmla="*/ 44929 h 52911"/>
                <a:gd name="connsiteX7" fmla="*/ 73438 w 75666"/>
                <a:gd name="connsiteY7" fmla="*/ 52521 h 52911"/>
                <a:gd name="connsiteX8" fmla="*/ 55702 w 75666"/>
                <a:gd name="connsiteY8" fmla="*/ 47777 h 52911"/>
                <a:gd name="connsiteX9" fmla="*/ 43101 w 75666"/>
                <a:gd name="connsiteY9" fmla="*/ 49711 h 52911"/>
                <a:gd name="connsiteX10" fmla="*/ 26803 w 75666"/>
                <a:gd name="connsiteY10" fmla="*/ 47692 h 52911"/>
                <a:gd name="connsiteX11" fmla="*/ 14306 w 75666"/>
                <a:gd name="connsiteY11" fmla="*/ 52911 h 52911"/>
                <a:gd name="connsiteX12" fmla="*/ 0 w 75666"/>
                <a:gd name="connsiteY12" fmla="*/ 44205 h 52911"/>
                <a:gd name="connsiteX13" fmla="*/ 2353 w 75666"/>
                <a:gd name="connsiteY13" fmla="*/ 35185 h 52911"/>
                <a:gd name="connsiteX14" fmla="*/ 26946 w 75666"/>
                <a:gd name="connsiteY14" fmla="*/ 39071 h 52911"/>
                <a:gd name="connsiteX15" fmla="*/ 47092 w 75666"/>
                <a:gd name="connsiteY15" fmla="*/ 41319 h 52911"/>
                <a:gd name="connsiteX16" fmla="*/ 56712 w 75666"/>
                <a:gd name="connsiteY16" fmla="*/ 35090 h 52911"/>
                <a:gd name="connsiteX17" fmla="*/ 44510 w 75666"/>
                <a:gd name="connsiteY17" fmla="*/ 22927 h 52911"/>
                <a:gd name="connsiteX18" fmla="*/ 44710 w 75666"/>
                <a:gd name="connsiteY18" fmla="*/ 12182 h 52911"/>
                <a:gd name="connsiteX19" fmla="*/ 27861 w 75666"/>
                <a:gd name="connsiteY19" fmla="*/ 7791 h 5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5666" h="52911">
                  <a:moveTo>
                    <a:pt x="33880" y="0"/>
                  </a:moveTo>
                  <a:lnTo>
                    <a:pt x="50168" y="1248"/>
                  </a:lnTo>
                  <a:lnTo>
                    <a:pt x="73333" y="5686"/>
                  </a:lnTo>
                  <a:lnTo>
                    <a:pt x="75667" y="21012"/>
                  </a:lnTo>
                  <a:lnTo>
                    <a:pt x="73628" y="31804"/>
                  </a:lnTo>
                  <a:lnTo>
                    <a:pt x="67113" y="36528"/>
                  </a:lnTo>
                  <a:lnTo>
                    <a:pt x="73990" y="44929"/>
                  </a:lnTo>
                  <a:lnTo>
                    <a:pt x="73438" y="52521"/>
                  </a:lnTo>
                  <a:lnTo>
                    <a:pt x="55702" y="47777"/>
                  </a:lnTo>
                  <a:lnTo>
                    <a:pt x="43101" y="49711"/>
                  </a:lnTo>
                  <a:lnTo>
                    <a:pt x="26803" y="47692"/>
                  </a:lnTo>
                  <a:lnTo>
                    <a:pt x="14306" y="52911"/>
                  </a:lnTo>
                  <a:lnTo>
                    <a:pt x="0" y="44205"/>
                  </a:lnTo>
                  <a:lnTo>
                    <a:pt x="2353" y="35185"/>
                  </a:lnTo>
                  <a:lnTo>
                    <a:pt x="26946" y="39071"/>
                  </a:lnTo>
                  <a:lnTo>
                    <a:pt x="47092" y="41319"/>
                  </a:lnTo>
                  <a:lnTo>
                    <a:pt x="56712" y="35090"/>
                  </a:lnTo>
                  <a:lnTo>
                    <a:pt x="44510" y="22927"/>
                  </a:lnTo>
                  <a:lnTo>
                    <a:pt x="44710" y="12182"/>
                  </a:lnTo>
                  <a:lnTo>
                    <a:pt x="27861" y="77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orme libre : forme 5721">
              <a:extLst>
                <a:ext uri="{FF2B5EF4-FFF2-40B4-BE49-F238E27FC236}">
                  <a16:creationId xmlns:a16="http://schemas.microsoft.com/office/drawing/2014/main" id="{FD12E09C-86AA-7BDB-827D-B250BDE359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253610" y="3260202"/>
              <a:ext cx="173812" cy="112261"/>
            </a:xfrm>
            <a:custGeom>
              <a:avLst/>
              <a:gdLst>
                <a:gd name="connsiteX0" fmla="*/ 0 w 173812"/>
                <a:gd name="connsiteY0" fmla="*/ 70142 h 112261"/>
                <a:gd name="connsiteX1" fmla="*/ 8867 w 173812"/>
                <a:gd name="connsiteY1" fmla="*/ 44929 h 112261"/>
                <a:gd name="connsiteX2" fmla="*/ 3686 w 173812"/>
                <a:gd name="connsiteY2" fmla="*/ 36366 h 112261"/>
                <a:gd name="connsiteX3" fmla="*/ 18726 w 173812"/>
                <a:gd name="connsiteY3" fmla="*/ 36290 h 112261"/>
                <a:gd name="connsiteX4" fmla="*/ 20755 w 173812"/>
                <a:gd name="connsiteY4" fmla="*/ 20060 h 112261"/>
                <a:gd name="connsiteX5" fmla="*/ 34347 w 173812"/>
                <a:gd name="connsiteY5" fmla="*/ 30242 h 112261"/>
                <a:gd name="connsiteX6" fmla="*/ 44196 w 173812"/>
                <a:gd name="connsiteY6" fmla="*/ 34566 h 112261"/>
                <a:gd name="connsiteX7" fmla="*/ 66608 w 173812"/>
                <a:gd name="connsiteY7" fmla="*/ 29708 h 112261"/>
                <a:gd name="connsiteX8" fmla="*/ 68761 w 173812"/>
                <a:gd name="connsiteY8" fmla="*/ 21717 h 112261"/>
                <a:gd name="connsiteX9" fmla="*/ 79372 w 173812"/>
                <a:gd name="connsiteY9" fmla="*/ 20536 h 112261"/>
                <a:gd name="connsiteX10" fmla="*/ 92373 w 173812"/>
                <a:gd name="connsiteY10" fmla="*/ 14335 h 112261"/>
                <a:gd name="connsiteX11" fmla="*/ 95269 w 173812"/>
                <a:gd name="connsiteY11" fmla="*/ 16897 h 112261"/>
                <a:gd name="connsiteX12" fmla="*/ 107804 w 173812"/>
                <a:gd name="connsiteY12" fmla="*/ 11906 h 112261"/>
                <a:gd name="connsiteX13" fmla="*/ 114072 w 173812"/>
                <a:gd name="connsiteY13" fmla="*/ 2457 h 112261"/>
                <a:gd name="connsiteX14" fmla="*/ 122825 w 173812"/>
                <a:gd name="connsiteY14" fmla="*/ 0 h 112261"/>
                <a:gd name="connsiteX15" fmla="*/ 151429 w 173812"/>
                <a:gd name="connsiteY15" fmla="*/ 12202 h 112261"/>
                <a:gd name="connsiteX16" fmla="*/ 157124 w 173812"/>
                <a:gd name="connsiteY16" fmla="*/ 8106 h 112261"/>
                <a:gd name="connsiteX17" fmla="*/ 171945 w 173812"/>
                <a:gd name="connsiteY17" fmla="*/ 18993 h 112261"/>
                <a:gd name="connsiteX18" fmla="*/ 173812 w 173812"/>
                <a:gd name="connsiteY18" fmla="*/ 29661 h 112261"/>
                <a:gd name="connsiteX19" fmla="*/ 157496 w 173812"/>
                <a:gd name="connsiteY19" fmla="*/ 37967 h 112261"/>
                <a:gd name="connsiteX20" fmla="*/ 144866 w 173812"/>
                <a:gd name="connsiteY20" fmla="*/ 64618 h 112261"/>
                <a:gd name="connsiteX21" fmla="*/ 128711 w 173812"/>
                <a:gd name="connsiteY21" fmla="*/ 90916 h 112261"/>
                <a:gd name="connsiteX22" fmla="*/ 107299 w 173812"/>
                <a:gd name="connsiteY22" fmla="*/ 98174 h 112261"/>
                <a:gd name="connsiteX23" fmla="*/ 90631 w 173812"/>
                <a:gd name="connsiteY23" fmla="*/ 96469 h 112261"/>
                <a:gd name="connsiteX24" fmla="*/ 70171 w 173812"/>
                <a:gd name="connsiteY24" fmla="*/ 106556 h 112261"/>
                <a:gd name="connsiteX25" fmla="*/ 60188 w 173812"/>
                <a:gd name="connsiteY25" fmla="*/ 112261 h 112261"/>
                <a:gd name="connsiteX26" fmla="*/ 38128 w 173812"/>
                <a:gd name="connsiteY26" fmla="*/ 104918 h 112261"/>
                <a:gd name="connsiteX27" fmla="*/ 18164 w 173812"/>
                <a:gd name="connsiteY27" fmla="*/ 88430 h 112261"/>
                <a:gd name="connsiteX28" fmla="*/ 9677 w 173812"/>
                <a:gd name="connsiteY28" fmla="*/ 83668 h 112261"/>
                <a:gd name="connsiteX29" fmla="*/ 4486 w 173812"/>
                <a:gd name="connsiteY29" fmla="*/ 70571 h 112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3812" h="112261">
                  <a:moveTo>
                    <a:pt x="0" y="70142"/>
                  </a:moveTo>
                  <a:lnTo>
                    <a:pt x="8867" y="44929"/>
                  </a:lnTo>
                  <a:lnTo>
                    <a:pt x="3686" y="36366"/>
                  </a:lnTo>
                  <a:lnTo>
                    <a:pt x="18726" y="36290"/>
                  </a:lnTo>
                  <a:lnTo>
                    <a:pt x="20755" y="20060"/>
                  </a:lnTo>
                  <a:lnTo>
                    <a:pt x="34347" y="30242"/>
                  </a:lnTo>
                  <a:lnTo>
                    <a:pt x="44196" y="34566"/>
                  </a:lnTo>
                  <a:lnTo>
                    <a:pt x="66608" y="29708"/>
                  </a:lnTo>
                  <a:lnTo>
                    <a:pt x="68761" y="21717"/>
                  </a:lnTo>
                  <a:lnTo>
                    <a:pt x="79372" y="20536"/>
                  </a:lnTo>
                  <a:lnTo>
                    <a:pt x="92373" y="14335"/>
                  </a:lnTo>
                  <a:lnTo>
                    <a:pt x="95269" y="16897"/>
                  </a:lnTo>
                  <a:lnTo>
                    <a:pt x="107804" y="11906"/>
                  </a:lnTo>
                  <a:lnTo>
                    <a:pt x="114072" y="2457"/>
                  </a:lnTo>
                  <a:lnTo>
                    <a:pt x="122825" y="0"/>
                  </a:lnTo>
                  <a:lnTo>
                    <a:pt x="151429" y="12202"/>
                  </a:lnTo>
                  <a:lnTo>
                    <a:pt x="157124" y="8106"/>
                  </a:lnTo>
                  <a:lnTo>
                    <a:pt x="171945" y="18993"/>
                  </a:lnTo>
                  <a:lnTo>
                    <a:pt x="173812" y="29661"/>
                  </a:lnTo>
                  <a:lnTo>
                    <a:pt x="157496" y="37967"/>
                  </a:lnTo>
                  <a:lnTo>
                    <a:pt x="144866" y="64618"/>
                  </a:lnTo>
                  <a:lnTo>
                    <a:pt x="128711" y="90916"/>
                  </a:lnTo>
                  <a:lnTo>
                    <a:pt x="107299" y="98174"/>
                  </a:lnTo>
                  <a:lnTo>
                    <a:pt x="90631" y="96469"/>
                  </a:lnTo>
                  <a:lnTo>
                    <a:pt x="70171" y="106556"/>
                  </a:lnTo>
                  <a:lnTo>
                    <a:pt x="60188" y="112261"/>
                  </a:lnTo>
                  <a:lnTo>
                    <a:pt x="38128" y="104918"/>
                  </a:lnTo>
                  <a:lnTo>
                    <a:pt x="18164" y="88430"/>
                  </a:lnTo>
                  <a:lnTo>
                    <a:pt x="9677" y="83668"/>
                  </a:lnTo>
                  <a:lnTo>
                    <a:pt x="4486" y="705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orme libre : forme 5722">
              <a:extLst>
                <a:ext uri="{FF2B5EF4-FFF2-40B4-BE49-F238E27FC236}">
                  <a16:creationId xmlns:a16="http://schemas.microsoft.com/office/drawing/2014/main" id="{888BB5E4-DB76-1171-DBBB-92FECA71F33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365864" y="4597074"/>
              <a:ext cx="1221581" cy="421938"/>
            </a:xfrm>
            <a:custGeom>
              <a:avLst/>
              <a:gdLst>
                <a:gd name="connsiteX0" fmla="*/ 678952 w 1221581"/>
                <a:gd name="connsiteY0" fmla="*/ 418690 h 421938"/>
                <a:gd name="connsiteX1" fmla="*/ 667712 w 1221581"/>
                <a:gd name="connsiteY1" fmla="*/ 419205 h 421938"/>
                <a:gd name="connsiteX2" fmla="*/ 632270 w 1221581"/>
                <a:gd name="connsiteY2" fmla="*/ 400336 h 421938"/>
                <a:gd name="connsiteX3" fmla="*/ 657168 w 1221581"/>
                <a:gd name="connsiteY3" fmla="*/ 395049 h 421938"/>
                <a:gd name="connsiteX4" fmla="*/ 671208 w 1221581"/>
                <a:gd name="connsiteY4" fmla="*/ 403241 h 421938"/>
                <a:gd name="connsiteX5" fmla="*/ 680542 w 1221581"/>
                <a:gd name="connsiteY5" fmla="*/ 411413 h 421938"/>
                <a:gd name="connsiteX6" fmla="*/ 678952 w 1221581"/>
                <a:gd name="connsiteY6" fmla="*/ 418690 h 421938"/>
                <a:gd name="connsiteX7" fmla="*/ 778307 w 1221581"/>
                <a:gd name="connsiteY7" fmla="*/ 416004 h 421938"/>
                <a:gd name="connsiteX8" fmla="*/ 755447 w 1221581"/>
                <a:gd name="connsiteY8" fmla="*/ 421938 h 421938"/>
                <a:gd name="connsiteX9" fmla="*/ 752247 w 1221581"/>
                <a:gd name="connsiteY9" fmla="*/ 418700 h 421938"/>
                <a:gd name="connsiteX10" fmla="*/ 754647 w 1221581"/>
                <a:gd name="connsiteY10" fmla="*/ 409537 h 421938"/>
                <a:gd name="connsiteX11" fmla="*/ 766134 w 1221581"/>
                <a:gd name="connsiteY11" fmla="*/ 393116 h 421938"/>
                <a:gd name="connsiteX12" fmla="*/ 792528 w 1221581"/>
                <a:gd name="connsiteY12" fmla="*/ 382448 h 421938"/>
                <a:gd name="connsiteX13" fmla="*/ 795233 w 1221581"/>
                <a:gd name="connsiteY13" fmla="*/ 387743 h 421938"/>
                <a:gd name="connsiteX14" fmla="*/ 795728 w 1221581"/>
                <a:gd name="connsiteY14" fmla="*/ 395897 h 421938"/>
                <a:gd name="connsiteX15" fmla="*/ 778307 w 1221581"/>
                <a:gd name="connsiteY15" fmla="*/ 416004 h 421938"/>
                <a:gd name="connsiteX16" fmla="*/ 603752 w 1221581"/>
                <a:gd name="connsiteY16" fmla="*/ 361074 h 421938"/>
                <a:gd name="connsiteX17" fmla="*/ 613382 w 1221581"/>
                <a:gd name="connsiteY17" fmla="*/ 368217 h 421938"/>
                <a:gd name="connsiteX18" fmla="*/ 629879 w 1221581"/>
                <a:gd name="connsiteY18" fmla="*/ 366027 h 421938"/>
                <a:gd name="connsiteX19" fmla="*/ 636499 w 1221581"/>
                <a:gd name="connsiteY19" fmla="*/ 377428 h 421938"/>
                <a:gd name="connsiteX20" fmla="*/ 605628 w 1221581"/>
                <a:gd name="connsiteY20" fmla="*/ 382819 h 421938"/>
                <a:gd name="connsiteX21" fmla="*/ 587130 w 1221581"/>
                <a:gd name="connsiteY21" fmla="*/ 386420 h 421938"/>
                <a:gd name="connsiteX22" fmla="*/ 572777 w 1221581"/>
                <a:gd name="connsiteY22" fmla="*/ 386210 h 421938"/>
                <a:gd name="connsiteX23" fmla="*/ 581949 w 1221581"/>
                <a:gd name="connsiteY23" fmla="*/ 370751 h 421938"/>
                <a:gd name="connsiteX24" fmla="*/ 596598 w 1221581"/>
                <a:gd name="connsiteY24" fmla="*/ 370541 h 421938"/>
                <a:gd name="connsiteX25" fmla="*/ 603752 w 1221581"/>
                <a:gd name="connsiteY25" fmla="*/ 361074 h 421938"/>
                <a:gd name="connsiteX26" fmla="*/ 737378 w 1221581"/>
                <a:gd name="connsiteY26" fmla="*/ 361036 h 421938"/>
                <a:gd name="connsiteX27" fmla="*/ 733463 w 1221581"/>
                <a:gd name="connsiteY27" fmla="*/ 375933 h 421938"/>
                <a:gd name="connsiteX28" fmla="*/ 693334 w 1221581"/>
                <a:gd name="connsiteY28" fmla="*/ 383552 h 421938"/>
                <a:gd name="connsiteX29" fmla="*/ 657816 w 1221581"/>
                <a:gd name="connsiteY29" fmla="*/ 380238 h 421938"/>
                <a:gd name="connsiteX30" fmla="*/ 657720 w 1221581"/>
                <a:gd name="connsiteY30" fmla="*/ 370427 h 421938"/>
                <a:gd name="connsiteX31" fmla="*/ 678942 w 1221581"/>
                <a:gd name="connsiteY31" fmla="*/ 364855 h 421938"/>
                <a:gd name="connsiteX32" fmla="*/ 695678 w 1221581"/>
                <a:gd name="connsiteY32" fmla="*/ 372894 h 421938"/>
                <a:gd name="connsiteX33" fmla="*/ 713451 w 1221581"/>
                <a:gd name="connsiteY33" fmla="*/ 370856 h 421938"/>
                <a:gd name="connsiteX34" fmla="*/ 737378 w 1221581"/>
                <a:gd name="connsiteY34" fmla="*/ 361036 h 421938"/>
                <a:gd name="connsiteX35" fmla="*/ 356007 w 1221581"/>
                <a:gd name="connsiteY35" fmla="*/ 325803 h 421938"/>
                <a:gd name="connsiteX36" fmla="*/ 407165 w 1221581"/>
                <a:gd name="connsiteY36" fmla="*/ 328470 h 421938"/>
                <a:gd name="connsiteX37" fmla="*/ 413052 w 1221581"/>
                <a:gd name="connsiteY37" fmla="*/ 317459 h 421938"/>
                <a:gd name="connsiteX38" fmla="*/ 462592 w 1221581"/>
                <a:gd name="connsiteY38" fmla="*/ 330308 h 421938"/>
                <a:gd name="connsiteX39" fmla="*/ 472317 w 1221581"/>
                <a:gd name="connsiteY39" fmla="*/ 347643 h 421938"/>
                <a:gd name="connsiteX40" fmla="*/ 512388 w 1221581"/>
                <a:gd name="connsiteY40" fmla="*/ 352530 h 421938"/>
                <a:gd name="connsiteX41" fmla="*/ 545135 w 1221581"/>
                <a:gd name="connsiteY41" fmla="*/ 368455 h 421938"/>
                <a:gd name="connsiteX42" fmla="*/ 514665 w 1221581"/>
                <a:gd name="connsiteY42" fmla="*/ 378676 h 421938"/>
                <a:gd name="connsiteX43" fmla="*/ 485299 w 1221581"/>
                <a:gd name="connsiteY43" fmla="*/ 367865 h 421938"/>
                <a:gd name="connsiteX44" fmla="*/ 461125 w 1221581"/>
                <a:gd name="connsiteY44" fmla="*/ 368598 h 421938"/>
                <a:gd name="connsiteX45" fmla="*/ 433416 w 1221581"/>
                <a:gd name="connsiteY45" fmla="*/ 366617 h 421938"/>
                <a:gd name="connsiteX46" fmla="*/ 408423 w 1221581"/>
                <a:gd name="connsiteY46" fmla="*/ 361807 h 421938"/>
                <a:gd name="connsiteX47" fmla="*/ 377486 w 1221581"/>
                <a:gd name="connsiteY47" fmla="*/ 351577 h 421938"/>
                <a:gd name="connsiteX48" fmla="*/ 357874 w 1221581"/>
                <a:gd name="connsiteY48" fmla="*/ 348929 h 421938"/>
                <a:gd name="connsiteX49" fmla="*/ 346767 w 1221581"/>
                <a:gd name="connsiteY49" fmla="*/ 352282 h 421938"/>
                <a:gd name="connsiteX50" fmla="*/ 298066 w 1221581"/>
                <a:gd name="connsiteY50" fmla="*/ 341261 h 421938"/>
                <a:gd name="connsiteX51" fmla="*/ 293437 w 1221581"/>
                <a:gd name="connsiteY51" fmla="*/ 329765 h 421938"/>
                <a:gd name="connsiteX52" fmla="*/ 269005 w 1221581"/>
                <a:gd name="connsiteY52" fmla="*/ 327803 h 421938"/>
                <a:gd name="connsiteX53" fmla="*/ 287331 w 1221581"/>
                <a:gd name="connsiteY53" fmla="*/ 302295 h 421938"/>
                <a:gd name="connsiteX54" fmla="*/ 319726 w 1221581"/>
                <a:gd name="connsiteY54" fmla="*/ 303876 h 421938"/>
                <a:gd name="connsiteX55" fmla="*/ 341290 w 1221581"/>
                <a:gd name="connsiteY55" fmla="*/ 314306 h 421938"/>
                <a:gd name="connsiteX56" fmla="*/ 352359 w 1221581"/>
                <a:gd name="connsiteY56" fmla="*/ 316344 h 421938"/>
                <a:gd name="connsiteX57" fmla="*/ 356007 w 1221581"/>
                <a:gd name="connsiteY57" fmla="*/ 325803 h 421938"/>
                <a:gd name="connsiteX58" fmla="*/ 1053084 w 1221581"/>
                <a:gd name="connsiteY58" fmla="*/ 310772 h 421938"/>
                <a:gd name="connsiteX59" fmla="*/ 1039349 w 1221581"/>
                <a:gd name="connsiteY59" fmla="*/ 328955 h 421938"/>
                <a:gd name="connsiteX60" fmla="*/ 1036749 w 1221581"/>
                <a:gd name="connsiteY60" fmla="*/ 308858 h 421938"/>
                <a:gd name="connsiteX61" fmla="*/ 1041492 w 1221581"/>
                <a:gd name="connsiteY61" fmla="*/ 299266 h 421938"/>
                <a:gd name="connsiteX62" fmla="*/ 1047083 w 1221581"/>
                <a:gd name="connsiteY62" fmla="*/ 290255 h 421938"/>
                <a:gd name="connsiteX63" fmla="*/ 1053160 w 1221581"/>
                <a:gd name="connsiteY63" fmla="*/ 298056 h 421938"/>
                <a:gd name="connsiteX64" fmla="*/ 1053084 w 1221581"/>
                <a:gd name="connsiteY64" fmla="*/ 310772 h 421938"/>
                <a:gd name="connsiteX65" fmla="*/ 853440 w 1221581"/>
                <a:gd name="connsiteY65" fmla="*/ 237401 h 421938"/>
                <a:gd name="connsiteX66" fmla="*/ 843439 w 1221581"/>
                <a:gd name="connsiteY66" fmla="*/ 246221 h 421938"/>
                <a:gd name="connsiteX67" fmla="*/ 824979 w 1221581"/>
                <a:gd name="connsiteY67" fmla="*/ 241335 h 421938"/>
                <a:gd name="connsiteX68" fmla="*/ 819779 w 1221581"/>
                <a:gd name="connsiteY68" fmla="*/ 229905 h 421938"/>
                <a:gd name="connsiteX69" fmla="*/ 846792 w 1221581"/>
                <a:gd name="connsiteY69" fmla="*/ 228628 h 421938"/>
                <a:gd name="connsiteX70" fmla="*/ 853440 w 1221581"/>
                <a:gd name="connsiteY70" fmla="*/ 237401 h 421938"/>
                <a:gd name="connsiteX71" fmla="*/ 939489 w 1221581"/>
                <a:gd name="connsiteY71" fmla="*/ 227695 h 421938"/>
                <a:gd name="connsiteX72" fmla="*/ 949204 w 1221581"/>
                <a:gd name="connsiteY72" fmla="*/ 248021 h 421938"/>
                <a:gd name="connsiteX73" fmla="*/ 926659 w 1221581"/>
                <a:gd name="connsiteY73" fmla="*/ 237068 h 421938"/>
                <a:gd name="connsiteX74" fmla="*/ 904342 w 1221581"/>
                <a:gd name="connsiteY74" fmla="*/ 234848 h 421938"/>
                <a:gd name="connsiteX75" fmla="*/ 889273 w 1221581"/>
                <a:gd name="connsiteY75" fmla="*/ 236601 h 421938"/>
                <a:gd name="connsiteX76" fmla="*/ 870795 w 1221581"/>
                <a:gd name="connsiteY76" fmla="*/ 235667 h 421938"/>
                <a:gd name="connsiteX77" fmla="*/ 877129 w 1221581"/>
                <a:gd name="connsiteY77" fmla="*/ 221056 h 421938"/>
                <a:gd name="connsiteX78" fmla="*/ 910114 w 1221581"/>
                <a:gd name="connsiteY78" fmla="*/ 219951 h 421938"/>
                <a:gd name="connsiteX79" fmla="*/ 939489 w 1221581"/>
                <a:gd name="connsiteY79" fmla="*/ 227695 h 421938"/>
                <a:gd name="connsiteX80" fmla="*/ 1037558 w 1221581"/>
                <a:gd name="connsiteY80" fmla="*/ 176136 h 421938"/>
                <a:gd name="connsiteX81" fmla="*/ 1045016 w 1221581"/>
                <a:gd name="connsiteY81" fmla="*/ 219065 h 421938"/>
                <a:gd name="connsiteX82" fmla="*/ 1072649 w 1221581"/>
                <a:gd name="connsiteY82" fmla="*/ 234963 h 421938"/>
                <a:gd name="connsiteX83" fmla="*/ 1094975 w 1221581"/>
                <a:gd name="connsiteY83" fmla="*/ 206788 h 421938"/>
                <a:gd name="connsiteX84" fmla="*/ 1125617 w 1221581"/>
                <a:gd name="connsiteY84" fmla="*/ 190767 h 421938"/>
                <a:gd name="connsiteX85" fmla="*/ 1149363 w 1221581"/>
                <a:gd name="connsiteY85" fmla="*/ 190748 h 421938"/>
                <a:gd name="connsiteX86" fmla="*/ 1172194 w 1221581"/>
                <a:gd name="connsiteY86" fmla="*/ 200006 h 421938"/>
                <a:gd name="connsiteX87" fmla="*/ 1192006 w 1221581"/>
                <a:gd name="connsiteY87" fmla="*/ 209502 h 421938"/>
                <a:gd name="connsiteX88" fmla="*/ 1220677 w 1221581"/>
                <a:gd name="connsiteY88" fmla="*/ 214579 h 421938"/>
                <a:gd name="connsiteX89" fmla="*/ 1221124 w 1221581"/>
                <a:gd name="connsiteY89" fmla="*/ 301285 h 421938"/>
                <a:gd name="connsiteX90" fmla="*/ 1221581 w 1221581"/>
                <a:gd name="connsiteY90" fmla="*/ 388506 h 421938"/>
                <a:gd name="connsiteX91" fmla="*/ 1197797 w 1221581"/>
                <a:gd name="connsiteY91" fmla="*/ 366474 h 421938"/>
                <a:gd name="connsiteX92" fmla="*/ 1170670 w 1221581"/>
                <a:gd name="connsiteY92" fmla="*/ 361083 h 421938"/>
                <a:gd name="connsiteX93" fmla="*/ 1164098 w 1221581"/>
                <a:gd name="connsiteY93" fmla="*/ 368722 h 421938"/>
                <a:gd name="connsiteX94" fmla="*/ 1130256 w 1221581"/>
                <a:gd name="connsiteY94" fmla="*/ 369541 h 421938"/>
                <a:gd name="connsiteX95" fmla="*/ 1141591 w 1221581"/>
                <a:gd name="connsiteY95" fmla="*/ 347739 h 421938"/>
                <a:gd name="connsiteX96" fmla="*/ 1158412 w 1221581"/>
                <a:gd name="connsiteY96" fmla="*/ 340309 h 421938"/>
                <a:gd name="connsiteX97" fmla="*/ 1151449 w 1221581"/>
                <a:gd name="connsiteY97" fmla="*/ 311258 h 421938"/>
                <a:gd name="connsiteX98" fmla="*/ 1138628 w 1221581"/>
                <a:gd name="connsiteY98" fmla="*/ 288874 h 421938"/>
                <a:gd name="connsiteX99" fmla="*/ 1086851 w 1221581"/>
                <a:gd name="connsiteY99" fmla="*/ 266319 h 421938"/>
                <a:gd name="connsiteX100" fmla="*/ 1064819 w 1221581"/>
                <a:gd name="connsiteY100" fmla="*/ 264100 h 421938"/>
                <a:gd name="connsiteX101" fmla="*/ 1024719 w 1221581"/>
                <a:gd name="connsiteY101" fmla="*/ 239525 h 421938"/>
                <a:gd name="connsiteX102" fmla="*/ 1016832 w 1221581"/>
                <a:gd name="connsiteY102" fmla="*/ 252441 h 421938"/>
                <a:gd name="connsiteX103" fmla="*/ 1006583 w 1221581"/>
                <a:gd name="connsiteY103" fmla="*/ 254784 h 421938"/>
                <a:gd name="connsiteX104" fmla="*/ 1000516 w 1221581"/>
                <a:gd name="connsiteY104" fmla="*/ 245030 h 421938"/>
                <a:gd name="connsiteX105" fmla="*/ 1000430 w 1221581"/>
                <a:gd name="connsiteY105" fmla="*/ 233486 h 421938"/>
                <a:gd name="connsiteX106" fmla="*/ 980027 w 1221581"/>
                <a:gd name="connsiteY106" fmla="*/ 220437 h 421938"/>
                <a:gd name="connsiteX107" fmla="*/ 1008793 w 1221581"/>
                <a:gd name="connsiteY107" fmla="*/ 210874 h 421938"/>
                <a:gd name="connsiteX108" fmla="*/ 1027843 w 1221581"/>
                <a:gd name="connsiteY108" fmla="*/ 211388 h 421938"/>
                <a:gd name="connsiteX109" fmla="*/ 1025605 w 1221581"/>
                <a:gd name="connsiteY109" fmla="*/ 204340 h 421938"/>
                <a:gd name="connsiteX110" fmla="*/ 986514 w 1221581"/>
                <a:gd name="connsiteY110" fmla="*/ 204292 h 421938"/>
                <a:gd name="connsiteX111" fmla="*/ 975941 w 1221581"/>
                <a:gd name="connsiteY111" fmla="*/ 188490 h 421938"/>
                <a:gd name="connsiteX112" fmla="*/ 952081 w 1221581"/>
                <a:gd name="connsiteY112" fmla="*/ 183594 h 421938"/>
                <a:gd name="connsiteX113" fmla="*/ 940775 w 1221581"/>
                <a:gd name="connsiteY113" fmla="*/ 170469 h 421938"/>
                <a:gd name="connsiteX114" fmla="*/ 976770 w 1221581"/>
                <a:gd name="connsiteY114" fmla="*/ 164039 h 421938"/>
                <a:gd name="connsiteX115" fmla="*/ 990467 w 1221581"/>
                <a:gd name="connsiteY115" fmla="*/ 155391 h 421938"/>
                <a:gd name="connsiteX116" fmla="*/ 1033339 w 1221581"/>
                <a:gd name="connsiteY116" fmla="*/ 166287 h 421938"/>
                <a:gd name="connsiteX117" fmla="*/ 1037558 w 1221581"/>
                <a:gd name="connsiteY117" fmla="*/ 176136 h 421938"/>
                <a:gd name="connsiteX118" fmla="*/ 799795 w 1221581"/>
                <a:gd name="connsiteY118" fmla="*/ 107918 h 421938"/>
                <a:gd name="connsiteX119" fmla="*/ 778336 w 1221581"/>
                <a:gd name="connsiteY119" fmla="*/ 134236 h 421938"/>
                <a:gd name="connsiteX120" fmla="*/ 758267 w 1221581"/>
                <a:gd name="connsiteY120" fmla="*/ 139341 h 421938"/>
                <a:gd name="connsiteX121" fmla="*/ 732568 w 1221581"/>
                <a:gd name="connsiteY121" fmla="*/ 134160 h 421938"/>
                <a:gd name="connsiteX122" fmla="*/ 688057 w 1221581"/>
                <a:gd name="connsiteY122" fmla="*/ 135484 h 421938"/>
                <a:gd name="connsiteX123" fmla="*/ 664731 w 1221581"/>
                <a:gd name="connsiteY123" fmla="*/ 139303 h 421938"/>
                <a:gd name="connsiteX124" fmla="*/ 660940 w 1221581"/>
                <a:gd name="connsiteY124" fmla="*/ 159382 h 421938"/>
                <a:gd name="connsiteX125" fmla="*/ 684848 w 1221581"/>
                <a:gd name="connsiteY125" fmla="*/ 182975 h 421938"/>
                <a:gd name="connsiteX126" fmla="*/ 699268 w 1221581"/>
                <a:gd name="connsiteY126" fmla="*/ 170955 h 421938"/>
                <a:gd name="connsiteX127" fmla="*/ 749075 w 1221581"/>
                <a:gd name="connsiteY127" fmla="*/ 161925 h 421938"/>
                <a:gd name="connsiteX128" fmla="*/ 746884 w 1221581"/>
                <a:gd name="connsiteY128" fmla="*/ 174145 h 421938"/>
                <a:gd name="connsiteX129" fmla="*/ 735245 w 1221581"/>
                <a:gd name="connsiteY129" fmla="*/ 170288 h 421938"/>
                <a:gd name="connsiteX130" fmla="*/ 723643 w 1221581"/>
                <a:gd name="connsiteY130" fmla="*/ 185833 h 421938"/>
                <a:gd name="connsiteX131" fmla="*/ 700135 w 1221581"/>
                <a:gd name="connsiteY131" fmla="*/ 196120 h 421938"/>
                <a:gd name="connsiteX132" fmla="*/ 725405 w 1221581"/>
                <a:gd name="connsiteY132" fmla="*/ 230153 h 421938"/>
                <a:gd name="connsiteX133" fmla="*/ 720519 w 1221581"/>
                <a:gd name="connsiteY133" fmla="*/ 239277 h 421938"/>
                <a:gd name="connsiteX134" fmla="*/ 744531 w 1221581"/>
                <a:gd name="connsiteY134" fmla="*/ 269977 h 421938"/>
                <a:gd name="connsiteX135" fmla="*/ 744303 w 1221581"/>
                <a:gd name="connsiteY135" fmla="*/ 287474 h 421938"/>
                <a:gd name="connsiteX136" fmla="*/ 730044 w 1221581"/>
                <a:gd name="connsiteY136" fmla="*/ 295304 h 421938"/>
                <a:gd name="connsiteX137" fmla="*/ 719567 w 1221581"/>
                <a:gd name="connsiteY137" fmla="*/ 285931 h 421938"/>
                <a:gd name="connsiteX138" fmla="*/ 732473 w 1221581"/>
                <a:gd name="connsiteY138" fmla="*/ 264128 h 421938"/>
                <a:gd name="connsiteX139" fmla="*/ 706260 w 1221581"/>
                <a:gd name="connsiteY139" fmla="*/ 274434 h 421938"/>
                <a:gd name="connsiteX140" fmla="*/ 699621 w 1221581"/>
                <a:gd name="connsiteY140" fmla="*/ 267072 h 421938"/>
                <a:gd name="connsiteX141" fmla="*/ 703079 w 1221581"/>
                <a:gd name="connsiteY141" fmla="*/ 256794 h 421938"/>
                <a:gd name="connsiteX142" fmla="*/ 683829 w 1221581"/>
                <a:gd name="connsiteY142" fmla="*/ 241202 h 421938"/>
                <a:gd name="connsiteX143" fmla="*/ 685810 w 1221581"/>
                <a:gd name="connsiteY143" fmla="*/ 215312 h 421938"/>
                <a:gd name="connsiteX144" fmla="*/ 667998 w 1221581"/>
                <a:gd name="connsiteY144" fmla="*/ 223390 h 421938"/>
                <a:gd name="connsiteX145" fmla="*/ 670256 w 1221581"/>
                <a:gd name="connsiteY145" fmla="*/ 254375 h 421938"/>
                <a:gd name="connsiteX146" fmla="*/ 671341 w 1221581"/>
                <a:gd name="connsiteY146" fmla="*/ 292465 h 421938"/>
                <a:gd name="connsiteX147" fmla="*/ 654406 w 1221581"/>
                <a:gd name="connsiteY147" fmla="*/ 296332 h 421938"/>
                <a:gd name="connsiteX148" fmla="*/ 642938 w 1221581"/>
                <a:gd name="connsiteY148" fmla="*/ 288512 h 421938"/>
                <a:gd name="connsiteX149" fmla="*/ 650596 w 1221581"/>
                <a:gd name="connsiteY149" fmla="*/ 264004 h 421938"/>
                <a:gd name="connsiteX150" fmla="*/ 646462 w 1221581"/>
                <a:gd name="connsiteY150" fmla="*/ 238344 h 421938"/>
                <a:gd name="connsiteX151" fmla="*/ 635222 w 1221581"/>
                <a:gd name="connsiteY151" fmla="*/ 238144 h 421938"/>
                <a:gd name="connsiteX152" fmla="*/ 626926 w 1221581"/>
                <a:gd name="connsiteY152" fmla="*/ 219942 h 421938"/>
                <a:gd name="connsiteX153" fmla="*/ 637966 w 1221581"/>
                <a:gd name="connsiteY153" fmla="*/ 202549 h 421938"/>
                <a:gd name="connsiteX154" fmla="*/ 641766 w 1221581"/>
                <a:gd name="connsiteY154" fmla="*/ 181480 h 421938"/>
                <a:gd name="connsiteX155" fmla="*/ 655187 w 1221581"/>
                <a:gd name="connsiteY155" fmla="*/ 141484 h 421938"/>
                <a:gd name="connsiteX156" fmla="*/ 660788 w 1221581"/>
                <a:gd name="connsiteY156" fmla="*/ 130550 h 421938"/>
                <a:gd name="connsiteX157" fmla="*/ 683495 w 1221581"/>
                <a:gd name="connsiteY157" fmla="*/ 110842 h 421938"/>
                <a:gd name="connsiteX158" fmla="*/ 704345 w 1221581"/>
                <a:gd name="connsiteY158" fmla="*/ 118681 h 421938"/>
                <a:gd name="connsiteX159" fmla="*/ 738016 w 1221581"/>
                <a:gd name="connsiteY159" fmla="*/ 122368 h 421938"/>
                <a:gd name="connsiteX160" fmla="*/ 768735 w 1221581"/>
                <a:gd name="connsiteY160" fmla="*/ 121253 h 421938"/>
                <a:gd name="connsiteX161" fmla="*/ 795128 w 1221581"/>
                <a:gd name="connsiteY161" fmla="*/ 101984 h 421938"/>
                <a:gd name="connsiteX162" fmla="*/ 799795 w 1221581"/>
                <a:gd name="connsiteY162" fmla="*/ 107918 h 421938"/>
                <a:gd name="connsiteX163" fmla="*/ 891873 w 1221581"/>
                <a:gd name="connsiteY163" fmla="*/ 115538 h 421938"/>
                <a:gd name="connsiteX164" fmla="*/ 890483 w 1221581"/>
                <a:gd name="connsiteY164" fmla="*/ 138722 h 421938"/>
                <a:gd name="connsiteX165" fmla="*/ 876710 w 1221581"/>
                <a:gd name="connsiteY165" fmla="*/ 136131 h 421938"/>
                <a:gd name="connsiteX166" fmla="*/ 872643 w 1221581"/>
                <a:gd name="connsiteY166" fmla="*/ 152276 h 421938"/>
                <a:gd name="connsiteX167" fmla="*/ 883644 w 1221581"/>
                <a:gd name="connsiteY167" fmla="*/ 166278 h 421938"/>
                <a:gd name="connsiteX168" fmla="*/ 876167 w 1221581"/>
                <a:gd name="connsiteY168" fmla="*/ 169459 h 421938"/>
                <a:gd name="connsiteX169" fmla="*/ 865384 w 1221581"/>
                <a:gd name="connsiteY169" fmla="*/ 152657 h 421938"/>
                <a:gd name="connsiteX170" fmla="*/ 857450 w 1221581"/>
                <a:gd name="connsiteY170" fmla="*/ 118738 h 421938"/>
                <a:gd name="connsiteX171" fmla="*/ 862822 w 1221581"/>
                <a:gd name="connsiteY171" fmla="*/ 97536 h 421938"/>
                <a:gd name="connsiteX172" fmla="*/ 871681 w 1221581"/>
                <a:gd name="connsiteY172" fmla="*/ 87877 h 421938"/>
                <a:gd name="connsiteX173" fmla="*/ 873605 w 1221581"/>
                <a:gd name="connsiteY173" fmla="*/ 102375 h 421938"/>
                <a:gd name="connsiteX174" fmla="*/ 889368 w 1221581"/>
                <a:gd name="connsiteY174" fmla="*/ 104699 h 421938"/>
                <a:gd name="connsiteX175" fmla="*/ 891873 w 1221581"/>
                <a:gd name="connsiteY175" fmla="*/ 115538 h 421938"/>
                <a:gd name="connsiteX176" fmla="*/ 603104 w 1221581"/>
                <a:gd name="connsiteY176" fmla="*/ 97088 h 421938"/>
                <a:gd name="connsiteX177" fmla="*/ 633051 w 1221581"/>
                <a:gd name="connsiteY177" fmla="*/ 121644 h 421938"/>
                <a:gd name="connsiteX178" fmla="*/ 601409 w 1221581"/>
                <a:gd name="connsiteY178" fmla="*/ 124777 h 421938"/>
                <a:gd name="connsiteX179" fmla="*/ 592494 w 1221581"/>
                <a:gd name="connsiteY179" fmla="*/ 142856 h 421938"/>
                <a:gd name="connsiteX180" fmla="*/ 593656 w 1221581"/>
                <a:gd name="connsiteY180" fmla="*/ 166897 h 421938"/>
                <a:gd name="connsiteX181" fmla="*/ 567976 w 1221581"/>
                <a:gd name="connsiteY181" fmla="*/ 185042 h 421938"/>
                <a:gd name="connsiteX182" fmla="*/ 567271 w 1221581"/>
                <a:gd name="connsiteY182" fmla="*/ 211474 h 421938"/>
                <a:gd name="connsiteX183" fmla="*/ 556975 w 1221581"/>
                <a:gd name="connsiteY183" fmla="*/ 252108 h 421938"/>
                <a:gd name="connsiteX184" fmla="*/ 553041 w 1221581"/>
                <a:gd name="connsiteY184" fmla="*/ 242649 h 421938"/>
                <a:gd name="connsiteX185" fmla="*/ 522694 w 1221581"/>
                <a:gd name="connsiteY185" fmla="*/ 254613 h 421938"/>
                <a:gd name="connsiteX186" fmla="*/ 512121 w 1221581"/>
                <a:gd name="connsiteY186" fmla="*/ 238353 h 421938"/>
                <a:gd name="connsiteX187" fmla="*/ 493081 w 1221581"/>
                <a:gd name="connsiteY187" fmla="*/ 236849 h 421938"/>
                <a:gd name="connsiteX188" fmla="*/ 479765 w 1221581"/>
                <a:gd name="connsiteY188" fmla="*/ 228333 h 421938"/>
                <a:gd name="connsiteX189" fmla="*/ 448018 w 1221581"/>
                <a:gd name="connsiteY189" fmla="*/ 237887 h 421938"/>
                <a:gd name="connsiteX190" fmla="*/ 438274 w 1221581"/>
                <a:gd name="connsiteY190" fmla="*/ 225028 h 421938"/>
                <a:gd name="connsiteX191" fmla="*/ 420786 w 1221581"/>
                <a:gd name="connsiteY191" fmla="*/ 226495 h 421938"/>
                <a:gd name="connsiteX192" fmla="*/ 398765 w 1221581"/>
                <a:gd name="connsiteY192" fmla="*/ 223428 h 421938"/>
                <a:gd name="connsiteX193" fmla="*/ 394678 w 1221581"/>
                <a:gd name="connsiteY193" fmla="*/ 187823 h 421938"/>
                <a:gd name="connsiteX194" fmla="*/ 381353 w 1221581"/>
                <a:gd name="connsiteY194" fmla="*/ 180451 h 421938"/>
                <a:gd name="connsiteX195" fmla="*/ 368532 w 1221581"/>
                <a:gd name="connsiteY195" fmla="*/ 157753 h 421938"/>
                <a:gd name="connsiteX196" fmla="*/ 364808 w 1221581"/>
                <a:gd name="connsiteY196" fmla="*/ 134541 h 421938"/>
                <a:gd name="connsiteX197" fmla="*/ 367913 w 1221581"/>
                <a:gd name="connsiteY197" fmla="*/ 109956 h 421938"/>
                <a:gd name="connsiteX198" fmla="*/ 383781 w 1221581"/>
                <a:gd name="connsiteY198" fmla="*/ 92316 h 421938"/>
                <a:gd name="connsiteX199" fmla="*/ 388249 w 1221581"/>
                <a:gd name="connsiteY199" fmla="*/ 110052 h 421938"/>
                <a:gd name="connsiteX200" fmla="*/ 406508 w 1221581"/>
                <a:gd name="connsiteY200" fmla="*/ 125044 h 421938"/>
                <a:gd name="connsiteX201" fmla="*/ 423739 w 1221581"/>
                <a:gd name="connsiteY201" fmla="*/ 119653 h 421938"/>
                <a:gd name="connsiteX202" fmla="*/ 440789 w 1221581"/>
                <a:gd name="connsiteY202" fmla="*/ 121568 h 421938"/>
                <a:gd name="connsiteX203" fmla="*/ 456352 w 1221581"/>
                <a:gd name="connsiteY203" fmla="*/ 108147 h 421938"/>
                <a:gd name="connsiteX204" fmla="*/ 469164 w 1221581"/>
                <a:gd name="connsiteY204" fmla="*/ 105823 h 421938"/>
                <a:gd name="connsiteX205" fmla="*/ 494424 w 1221581"/>
                <a:gd name="connsiteY205" fmla="*/ 113262 h 421938"/>
                <a:gd name="connsiteX206" fmla="*/ 516207 w 1221581"/>
                <a:gd name="connsiteY206" fmla="*/ 107604 h 421938"/>
                <a:gd name="connsiteX207" fmla="*/ 529904 w 1221581"/>
                <a:gd name="connsiteY207" fmla="*/ 70685 h 421938"/>
                <a:gd name="connsiteX208" fmla="*/ 540182 w 1221581"/>
                <a:gd name="connsiteY208" fmla="*/ 61446 h 421938"/>
                <a:gd name="connsiteX209" fmla="*/ 549440 w 1221581"/>
                <a:gd name="connsiteY209" fmla="*/ 31204 h 421938"/>
                <a:gd name="connsiteX210" fmla="*/ 580149 w 1221581"/>
                <a:gd name="connsiteY210" fmla="*/ 31213 h 421938"/>
                <a:gd name="connsiteX211" fmla="*/ 603295 w 1221581"/>
                <a:gd name="connsiteY211" fmla="*/ 35700 h 421938"/>
                <a:gd name="connsiteX212" fmla="*/ 588103 w 1221581"/>
                <a:gd name="connsiteY212" fmla="*/ 59712 h 421938"/>
                <a:gd name="connsiteX213" fmla="*/ 607743 w 1221581"/>
                <a:gd name="connsiteY213" fmla="*/ 84858 h 421938"/>
                <a:gd name="connsiteX214" fmla="*/ 603104 w 1221581"/>
                <a:gd name="connsiteY214" fmla="*/ 97088 h 421938"/>
                <a:gd name="connsiteX215" fmla="*/ 281074 w 1221581"/>
                <a:gd name="connsiteY215" fmla="*/ 301104 h 421938"/>
                <a:gd name="connsiteX216" fmla="*/ 251508 w 1221581"/>
                <a:gd name="connsiteY216" fmla="*/ 301666 h 421938"/>
                <a:gd name="connsiteX217" fmla="*/ 229019 w 1221581"/>
                <a:gd name="connsiteY217" fmla="*/ 279387 h 421938"/>
                <a:gd name="connsiteX218" fmla="*/ 194720 w 1221581"/>
                <a:gd name="connsiteY218" fmla="*/ 257642 h 421938"/>
                <a:gd name="connsiteX219" fmla="*/ 183290 w 1221581"/>
                <a:gd name="connsiteY219" fmla="*/ 241525 h 421938"/>
                <a:gd name="connsiteX220" fmla="*/ 163078 w 1221581"/>
                <a:gd name="connsiteY220" fmla="*/ 219894 h 421938"/>
                <a:gd name="connsiteX221" fmla="*/ 149809 w 1221581"/>
                <a:gd name="connsiteY221" fmla="*/ 199996 h 421938"/>
                <a:gd name="connsiteX222" fmla="*/ 129493 w 1221581"/>
                <a:gd name="connsiteY222" fmla="*/ 162849 h 421938"/>
                <a:gd name="connsiteX223" fmla="*/ 106042 w 1221581"/>
                <a:gd name="connsiteY223" fmla="*/ 140741 h 421938"/>
                <a:gd name="connsiteX224" fmla="*/ 98193 w 1221581"/>
                <a:gd name="connsiteY224" fmla="*/ 117929 h 421938"/>
                <a:gd name="connsiteX225" fmla="*/ 88354 w 1221581"/>
                <a:gd name="connsiteY225" fmla="*/ 97212 h 421938"/>
                <a:gd name="connsiteX226" fmla="*/ 64275 w 1221581"/>
                <a:gd name="connsiteY226" fmla="*/ 80496 h 421938"/>
                <a:gd name="connsiteX227" fmla="*/ 50311 w 1221581"/>
                <a:gd name="connsiteY227" fmla="*/ 57769 h 421938"/>
                <a:gd name="connsiteX228" fmla="*/ 30204 w 1221581"/>
                <a:gd name="connsiteY228" fmla="*/ 42881 h 421938"/>
                <a:gd name="connsiteX229" fmla="*/ 2343 w 1221581"/>
                <a:gd name="connsiteY229" fmla="*/ 13563 h 421938"/>
                <a:gd name="connsiteX230" fmla="*/ 0 w 1221581"/>
                <a:gd name="connsiteY230" fmla="*/ 0 h 421938"/>
                <a:gd name="connsiteX231" fmla="*/ 17202 w 1221581"/>
                <a:gd name="connsiteY231" fmla="*/ 1076 h 421938"/>
                <a:gd name="connsiteX232" fmla="*/ 58541 w 1221581"/>
                <a:gd name="connsiteY232" fmla="*/ 6229 h 421938"/>
                <a:gd name="connsiteX233" fmla="*/ 82153 w 1221581"/>
                <a:gd name="connsiteY233" fmla="*/ 32261 h 421938"/>
                <a:gd name="connsiteX234" fmla="*/ 102813 w 1221581"/>
                <a:gd name="connsiteY234" fmla="*/ 50292 h 421938"/>
                <a:gd name="connsiteX235" fmla="*/ 117539 w 1221581"/>
                <a:gd name="connsiteY235" fmla="*/ 61350 h 421938"/>
                <a:gd name="connsiteX236" fmla="*/ 142837 w 1221581"/>
                <a:gd name="connsiteY236" fmla="*/ 89897 h 421938"/>
                <a:gd name="connsiteX237" fmla="*/ 169993 w 1221581"/>
                <a:gd name="connsiteY237" fmla="*/ 90306 h 421938"/>
                <a:gd name="connsiteX238" fmla="*/ 192424 w 1221581"/>
                <a:gd name="connsiteY238" fmla="*/ 108490 h 421938"/>
                <a:gd name="connsiteX239" fmla="*/ 207883 w 1221581"/>
                <a:gd name="connsiteY239" fmla="*/ 130712 h 421938"/>
                <a:gd name="connsiteX240" fmla="*/ 228219 w 1221581"/>
                <a:gd name="connsiteY240" fmla="*/ 142827 h 421938"/>
                <a:gd name="connsiteX241" fmla="*/ 217523 w 1221581"/>
                <a:gd name="connsiteY241" fmla="*/ 164487 h 421938"/>
                <a:gd name="connsiteX242" fmla="*/ 232820 w 1221581"/>
                <a:gd name="connsiteY242" fmla="*/ 173698 h 421938"/>
                <a:gd name="connsiteX243" fmla="*/ 242411 w 1221581"/>
                <a:gd name="connsiteY243" fmla="*/ 174374 h 421938"/>
                <a:gd name="connsiteX244" fmla="*/ 246945 w 1221581"/>
                <a:gd name="connsiteY244" fmla="*/ 192881 h 421938"/>
                <a:gd name="connsiteX245" fmla="*/ 256251 w 1221581"/>
                <a:gd name="connsiteY245" fmla="*/ 207693 h 421938"/>
                <a:gd name="connsiteX246" fmla="*/ 275863 w 1221581"/>
                <a:gd name="connsiteY246" fmla="*/ 210045 h 421938"/>
                <a:gd name="connsiteX247" fmla="*/ 288856 w 1221581"/>
                <a:gd name="connsiteY247" fmla="*/ 226857 h 421938"/>
                <a:gd name="connsiteX248" fmla="*/ 282150 w 1221581"/>
                <a:gd name="connsiteY248" fmla="*/ 259918 h 421938"/>
                <a:gd name="connsiteX249" fmla="*/ 281074 w 1221581"/>
                <a:gd name="connsiteY249" fmla="*/ 301104 h 42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</a:cxnLst>
              <a:rect l="l" t="t" r="r" b="b"/>
              <a:pathLst>
                <a:path w="1221581" h="421938">
                  <a:moveTo>
                    <a:pt x="678952" y="418690"/>
                  </a:moveTo>
                  <a:lnTo>
                    <a:pt x="667712" y="419205"/>
                  </a:lnTo>
                  <a:lnTo>
                    <a:pt x="632270" y="400336"/>
                  </a:lnTo>
                  <a:lnTo>
                    <a:pt x="657168" y="395049"/>
                  </a:lnTo>
                  <a:lnTo>
                    <a:pt x="671208" y="403241"/>
                  </a:lnTo>
                  <a:lnTo>
                    <a:pt x="680542" y="411413"/>
                  </a:lnTo>
                  <a:lnTo>
                    <a:pt x="678952" y="418690"/>
                  </a:lnTo>
                  <a:close/>
                  <a:moveTo>
                    <a:pt x="778307" y="416004"/>
                  </a:moveTo>
                  <a:lnTo>
                    <a:pt x="755447" y="421938"/>
                  </a:lnTo>
                  <a:lnTo>
                    <a:pt x="752247" y="418700"/>
                  </a:lnTo>
                  <a:lnTo>
                    <a:pt x="754647" y="409537"/>
                  </a:lnTo>
                  <a:lnTo>
                    <a:pt x="766134" y="393116"/>
                  </a:lnTo>
                  <a:lnTo>
                    <a:pt x="792528" y="382448"/>
                  </a:lnTo>
                  <a:lnTo>
                    <a:pt x="795233" y="387743"/>
                  </a:lnTo>
                  <a:lnTo>
                    <a:pt x="795728" y="395897"/>
                  </a:lnTo>
                  <a:lnTo>
                    <a:pt x="778307" y="416004"/>
                  </a:lnTo>
                  <a:close/>
                  <a:moveTo>
                    <a:pt x="603752" y="361074"/>
                  </a:moveTo>
                  <a:lnTo>
                    <a:pt x="613382" y="368217"/>
                  </a:lnTo>
                  <a:lnTo>
                    <a:pt x="629879" y="366027"/>
                  </a:lnTo>
                  <a:lnTo>
                    <a:pt x="636499" y="377428"/>
                  </a:lnTo>
                  <a:lnTo>
                    <a:pt x="605628" y="382819"/>
                  </a:lnTo>
                  <a:lnTo>
                    <a:pt x="587130" y="386420"/>
                  </a:lnTo>
                  <a:lnTo>
                    <a:pt x="572777" y="386210"/>
                  </a:lnTo>
                  <a:lnTo>
                    <a:pt x="581949" y="370751"/>
                  </a:lnTo>
                  <a:lnTo>
                    <a:pt x="596598" y="370541"/>
                  </a:lnTo>
                  <a:lnTo>
                    <a:pt x="603752" y="361074"/>
                  </a:lnTo>
                  <a:close/>
                  <a:moveTo>
                    <a:pt x="737378" y="361036"/>
                  </a:moveTo>
                  <a:lnTo>
                    <a:pt x="733463" y="375933"/>
                  </a:lnTo>
                  <a:lnTo>
                    <a:pt x="693334" y="383552"/>
                  </a:lnTo>
                  <a:lnTo>
                    <a:pt x="657816" y="380238"/>
                  </a:lnTo>
                  <a:lnTo>
                    <a:pt x="657720" y="370427"/>
                  </a:lnTo>
                  <a:lnTo>
                    <a:pt x="678942" y="364855"/>
                  </a:lnTo>
                  <a:lnTo>
                    <a:pt x="695678" y="372894"/>
                  </a:lnTo>
                  <a:lnTo>
                    <a:pt x="713451" y="370856"/>
                  </a:lnTo>
                  <a:lnTo>
                    <a:pt x="737378" y="361036"/>
                  </a:lnTo>
                  <a:close/>
                  <a:moveTo>
                    <a:pt x="356007" y="325803"/>
                  </a:moveTo>
                  <a:lnTo>
                    <a:pt x="407165" y="328470"/>
                  </a:lnTo>
                  <a:lnTo>
                    <a:pt x="413052" y="317459"/>
                  </a:lnTo>
                  <a:lnTo>
                    <a:pt x="462592" y="330308"/>
                  </a:lnTo>
                  <a:lnTo>
                    <a:pt x="472317" y="347643"/>
                  </a:lnTo>
                  <a:lnTo>
                    <a:pt x="512388" y="352530"/>
                  </a:lnTo>
                  <a:lnTo>
                    <a:pt x="545135" y="368455"/>
                  </a:lnTo>
                  <a:lnTo>
                    <a:pt x="514665" y="378676"/>
                  </a:lnTo>
                  <a:lnTo>
                    <a:pt x="485299" y="367865"/>
                  </a:lnTo>
                  <a:lnTo>
                    <a:pt x="461125" y="368598"/>
                  </a:lnTo>
                  <a:lnTo>
                    <a:pt x="433416" y="366617"/>
                  </a:lnTo>
                  <a:lnTo>
                    <a:pt x="408423" y="361807"/>
                  </a:lnTo>
                  <a:lnTo>
                    <a:pt x="377486" y="351577"/>
                  </a:lnTo>
                  <a:lnTo>
                    <a:pt x="357874" y="348929"/>
                  </a:lnTo>
                  <a:lnTo>
                    <a:pt x="346767" y="352282"/>
                  </a:lnTo>
                  <a:lnTo>
                    <a:pt x="298066" y="341261"/>
                  </a:lnTo>
                  <a:lnTo>
                    <a:pt x="293437" y="329765"/>
                  </a:lnTo>
                  <a:lnTo>
                    <a:pt x="269005" y="327803"/>
                  </a:lnTo>
                  <a:lnTo>
                    <a:pt x="287331" y="302295"/>
                  </a:lnTo>
                  <a:lnTo>
                    <a:pt x="319726" y="303876"/>
                  </a:lnTo>
                  <a:lnTo>
                    <a:pt x="341290" y="314306"/>
                  </a:lnTo>
                  <a:lnTo>
                    <a:pt x="352359" y="316344"/>
                  </a:lnTo>
                  <a:lnTo>
                    <a:pt x="356007" y="325803"/>
                  </a:lnTo>
                  <a:close/>
                  <a:moveTo>
                    <a:pt x="1053084" y="310772"/>
                  </a:moveTo>
                  <a:lnTo>
                    <a:pt x="1039349" y="328955"/>
                  </a:lnTo>
                  <a:lnTo>
                    <a:pt x="1036749" y="308858"/>
                  </a:lnTo>
                  <a:lnTo>
                    <a:pt x="1041492" y="299266"/>
                  </a:lnTo>
                  <a:lnTo>
                    <a:pt x="1047083" y="290255"/>
                  </a:lnTo>
                  <a:lnTo>
                    <a:pt x="1053160" y="298056"/>
                  </a:lnTo>
                  <a:lnTo>
                    <a:pt x="1053084" y="310772"/>
                  </a:lnTo>
                  <a:close/>
                  <a:moveTo>
                    <a:pt x="853440" y="237401"/>
                  </a:moveTo>
                  <a:lnTo>
                    <a:pt x="843439" y="246221"/>
                  </a:lnTo>
                  <a:lnTo>
                    <a:pt x="824979" y="241335"/>
                  </a:lnTo>
                  <a:lnTo>
                    <a:pt x="819779" y="229905"/>
                  </a:lnTo>
                  <a:lnTo>
                    <a:pt x="846792" y="228628"/>
                  </a:lnTo>
                  <a:lnTo>
                    <a:pt x="853440" y="237401"/>
                  </a:lnTo>
                  <a:close/>
                  <a:moveTo>
                    <a:pt x="939489" y="227695"/>
                  </a:moveTo>
                  <a:lnTo>
                    <a:pt x="949204" y="248021"/>
                  </a:lnTo>
                  <a:lnTo>
                    <a:pt x="926659" y="237068"/>
                  </a:lnTo>
                  <a:lnTo>
                    <a:pt x="904342" y="234848"/>
                  </a:lnTo>
                  <a:lnTo>
                    <a:pt x="889273" y="236601"/>
                  </a:lnTo>
                  <a:lnTo>
                    <a:pt x="870795" y="235667"/>
                  </a:lnTo>
                  <a:lnTo>
                    <a:pt x="877129" y="221056"/>
                  </a:lnTo>
                  <a:lnTo>
                    <a:pt x="910114" y="219951"/>
                  </a:lnTo>
                  <a:lnTo>
                    <a:pt x="939489" y="227695"/>
                  </a:lnTo>
                  <a:close/>
                  <a:moveTo>
                    <a:pt x="1037558" y="176136"/>
                  </a:moveTo>
                  <a:lnTo>
                    <a:pt x="1045016" y="219065"/>
                  </a:lnTo>
                  <a:lnTo>
                    <a:pt x="1072649" y="234963"/>
                  </a:lnTo>
                  <a:lnTo>
                    <a:pt x="1094975" y="206788"/>
                  </a:lnTo>
                  <a:lnTo>
                    <a:pt x="1125617" y="190767"/>
                  </a:lnTo>
                  <a:lnTo>
                    <a:pt x="1149363" y="190748"/>
                  </a:lnTo>
                  <a:lnTo>
                    <a:pt x="1172194" y="200006"/>
                  </a:lnTo>
                  <a:lnTo>
                    <a:pt x="1192006" y="209502"/>
                  </a:lnTo>
                  <a:lnTo>
                    <a:pt x="1220677" y="214579"/>
                  </a:lnTo>
                  <a:lnTo>
                    <a:pt x="1221124" y="301285"/>
                  </a:lnTo>
                  <a:lnTo>
                    <a:pt x="1221581" y="388506"/>
                  </a:lnTo>
                  <a:lnTo>
                    <a:pt x="1197797" y="366474"/>
                  </a:lnTo>
                  <a:lnTo>
                    <a:pt x="1170670" y="361083"/>
                  </a:lnTo>
                  <a:lnTo>
                    <a:pt x="1164098" y="368722"/>
                  </a:lnTo>
                  <a:lnTo>
                    <a:pt x="1130256" y="369541"/>
                  </a:lnTo>
                  <a:lnTo>
                    <a:pt x="1141591" y="347739"/>
                  </a:lnTo>
                  <a:lnTo>
                    <a:pt x="1158412" y="340309"/>
                  </a:lnTo>
                  <a:lnTo>
                    <a:pt x="1151449" y="311258"/>
                  </a:lnTo>
                  <a:lnTo>
                    <a:pt x="1138628" y="288874"/>
                  </a:lnTo>
                  <a:lnTo>
                    <a:pt x="1086851" y="266319"/>
                  </a:lnTo>
                  <a:lnTo>
                    <a:pt x="1064819" y="264100"/>
                  </a:lnTo>
                  <a:lnTo>
                    <a:pt x="1024719" y="239525"/>
                  </a:lnTo>
                  <a:lnTo>
                    <a:pt x="1016832" y="252441"/>
                  </a:lnTo>
                  <a:lnTo>
                    <a:pt x="1006583" y="254784"/>
                  </a:lnTo>
                  <a:lnTo>
                    <a:pt x="1000516" y="245030"/>
                  </a:lnTo>
                  <a:lnTo>
                    <a:pt x="1000430" y="233486"/>
                  </a:lnTo>
                  <a:lnTo>
                    <a:pt x="980027" y="220437"/>
                  </a:lnTo>
                  <a:lnTo>
                    <a:pt x="1008793" y="210874"/>
                  </a:lnTo>
                  <a:lnTo>
                    <a:pt x="1027843" y="211388"/>
                  </a:lnTo>
                  <a:lnTo>
                    <a:pt x="1025605" y="204340"/>
                  </a:lnTo>
                  <a:lnTo>
                    <a:pt x="986514" y="204292"/>
                  </a:lnTo>
                  <a:lnTo>
                    <a:pt x="975941" y="188490"/>
                  </a:lnTo>
                  <a:lnTo>
                    <a:pt x="952081" y="183594"/>
                  </a:lnTo>
                  <a:lnTo>
                    <a:pt x="940775" y="170469"/>
                  </a:lnTo>
                  <a:lnTo>
                    <a:pt x="976770" y="164039"/>
                  </a:lnTo>
                  <a:lnTo>
                    <a:pt x="990467" y="155391"/>
                  </a:lnTo>
                  <a:lnTo>
                    <a:pt x="1033339" y="166287"/>
                  </a:lnTo>
                  <a:lnTo>
                    <a:pt x="1037558" y="176136"/>
                  </a:lnTo>
                  <a:close/>
                  <a:moveTo>
                    <a:pt x="799795" y="107918"/>
                  </a:moveTo>
                  <a:lnTo>
                    <a:pt x="778336" y="134236"/>
                  </a:lnTo>
                  <a:lnTo>
                    <a:pt x="758267" y="139341"/>
                  </a:lnTo>
                  <a:lnTo>
                    <a:pt x="732568" y="134160"/>
                  </a:lnTo>
                  <a:lnTo>
                    <a:pt x="688057" y="135484"/>
                  </a:lnTo>
                  <a:lnTo>
                    <a:pt x="664731" y="139303"/>
                  </a:lnTo>
                  <a:lnTo>
                    <a:pt x="660940" y="159382"/>
                  </a:lnTo>
                  <a:lnTo>
                    <a:pt x="684848" y="182975"/>
                  </a:lnTo>
                  <a:lnTo>
                    <a:pt x="699268" y="170955"/>
                  </a:lnTo>
                  <a:lnTo>
                    <a:pt x="749075" y="161925"/>
                  </a:lnTo>
                  <a:lnTo>
                    <a:pt x="746884" y="174145"/>
                  </a:lnTo>
                  <a:lnTo>
                    <a:pt x="735245" y="170288"/>
                  </a:lnTo>
                  <a:lnTo>
                    <a:pt x="723643" y="185833"/>
                  </a:lnTo>
                  <a:lnTo>
                    <a:pt x="700135" y="196120"/>
                  </a:lnTo>
                  <a:lnTo>
                    <a:pt x="725405" y="230153"/>
                  </a:lnTo>
                  <a:lnTo>
                    <a:pt x="720519" y="239277"/>
                  </a:lnTo>
                  <a:lnTo>
                    <a:pt x="744531" y="269977"/>
                  </a:lnTo>
                  <a:lnTo>
                    <a:pt x="744303" y="287474"/>
                  </a:lnTo>
                  <a:lnTo>
                    <a:pt x="730044" y="295304"/>
                  </a:lnTo>
                  <a:lnTo>
                    <a:pt x="719567" y="285931"/>
                  </a:lnTo>
                  <a:lnTo>
                    <a:pt x="732473" y="264128"/>
                  </a:lnTo>
                  <a:lnTo>
                    <a:pt x="706260" y="274434"/>
                  </a:lnTo>
                  <a:lnTo>
                    <a:pt x="699621" y="267072"/>
                  </a:lnTo>
                  <a:lnTo>
                    <a:pt x="703079" y="256794"/>
                  </a:lnTo>
                  <a:lnTo>
                    <a:pt x="683829" y="241202"/>
                  </a:lnTo>
                  <a:lnTo>
                    <a:pt x="685810" y="215312"/>
                  </a:lnTo>
                  <a:lnTo>
                    <a:pt x="667998" y="223390"/>
                  </a:lnTo>
                  <a:lnTo>
                    <a:pt x="670256" y="254375"/>
                  </a:lnTo>
                  <a:lnTo>
                    <a:pt x="671341" y="292465"/>
                  </a:lnTo>
                  <a:lnTo>
                    <a:pt x="654406" y="296332"/>
                  </a:lnTo>
                  <a:lnTo>
                    <a:pt x="642938" y="288512"/>
                  </a:lnTo>
                  <a:lnTo>
                    <a:pt x="650596" y="264004"/>
                  </a:lnTo>
                  <a:lnTo>
                    <a:pt x="646462" y="238344"/>
                  </a:lnTo>
                  <a:lnTo>
                    <a:pt x="635222" y="238144"/>
                  </a:lnTo>
                  <a:lnTo>
                    <a:pt x="626926" y="219942"/>
                  </a:lnTo>
                  <a:lnTo>
                    <a:pt x="637966" y="202549"/>
                  </a:lnTo>
                  <a:lnTo>
                    <a:pt x="641766" y="181480"/>
                  </a:lnTo>
                  <a:lnTo>
                    <a:pt x="655187" y="141484"/>
                  </a:lnTo>
                  <a:lnTo>
                    <a:pt x="660788" y="130550"/>
                  </a:lnTo>
                  <a:lnTo>
                    <a:pt x="683495" y="110842"/>
                  </a:lnTo>
                  <a:lnTo>
                    <a:pt x="704345" y="118681"/>
                  </a:lnTo>
                  <a:lnTo>
                    <a:pt x="738016" y="122368"/>
                  </a:lnTo>
                  <a:lnTo>
                    <a:pt x="768735" y="121253"/>
                  </a:lnTo>
                  <a:lnTo>
                    <a:pt x="795128" y="101984"/>
                  </a:lnTo>
                  <a:lnTo>
                    <a:pt x="799795" y="107918"/>
                  </a:lnTo>
                  <a:close/>
                  <a:moveTo>
                    <a:pt x="891873" y="115538"/>
                  </a:moveTo>
                  <a:lnTo>
                    <a:pt x="890483" y="138722"/>
                  </a:lnTo>
                  <a:lnTo>
                    <a:pt x="876710" y="136131"/>
                  </a:lnTo>
                  <a:lnTo>
                    <a:pt x="872643" y="152276"/>
                  </a:lnTo>
                  <a:lnTo>
                    <a:pt x="883644" y="166278"/>
                  </a:lnTo>
                  <a:lnTo>
                    <a:pt x="876167" y="169459"/>
                  </a:lnTo>
                  <a:lnTo>
                    <a:pt x="865384" y="152657"/>
                  </a:lnTo>
                  <a:lnTo>
                    <a:pt x="857450" y="118738"/>
                  </a:lnTo>
                  <a:lnTo>
                    <a:pt x="862822" y="97536"/>
                  </a:lnTo>
                  <a:lnTo>
                    <a:pt x="871681" y="87877"/>
                  </a:lnTo>
                  <a:lnTo>
                    <a:pt x="873605" y="102375"/>
                  </a:lnTo>
                  <a:lnTo>
                    <a:pt x="889368" y="104699"/>
                  </a:lnTo>
                  <a:lnTo>
                    <a:pt x="891873" y="115538"/>
                  </a:lnTo>
                  <a:close/>
                  <a:moveTo>
                    <a:pt x="603104" y="97088"/>
                  </a:moveTo>
                  <a:lnTo>
                    <a:pt x="633051" y="121644"/>
                  </a:lnTo>
                  <a:lnTo>
                    <a:pt x="601409" y="124777"/>
                  </a:lnTo>
                  <a:lnTo>
                    <a:pt x="592494" y="142856"/>
                  </a:lnTo>
                  <a:lnTo>
                    <a:pt x="593656" y="166897"/>
                  </a:lnTo>
                  <a:lnTo>
                    <a:pt x="567976" y="185042"/>
                  </a:lnTo>
                  <a:lnTo>
                    <a:pt x="567271" y="211474"/>
                  </a:lnTo>
                  <a:lnTo>
                    <a:pt x="556975" y="252108"/>
                  </a:lnTo>
                  <a:lnTo>
                    <a:pt x="553041" y="242649"/>
                  </a:lnTo>
                  <a:lnTo>
                    <a:pt x="522694" y="254613"/>
                  </a:lnTo>
                  <a:lnTo>
                    <a:pt x="512121" y="238353"/>
                  </a:lnTo>
                  <a:lnTo>
                    <a:pt x="493081" y="236849"/>
                  </a:lnTo>
                  <a:lnTo>
                    <a:pt x="479765" y="228333"/>
                  </a:lnTo>
                  <a:lnTo>
                    <a:pt x="448018" y="237887"/>
                  </a:lnTo>
                  <a:lnTo>
                    <a:pt x="438274" y="225028"/>
                  </a:lnTo>
                  <a:lnTo>
                    <a:pt x="420786" y="226495"/>
                  </a:lnTo>
                  <a:lnTo>
                    <a:pt x="398765" y="223428"/>
                  </a:lnTo>
                  <a:lnTo>
                    <a:pt x="394678" y="187823"/>
                  </a:lnTo>
                  <a:lnTo>
                    <a:pt x="381353" y="180451"/>
                  </a:lnTo>
                  <a:lnTo>
                    <a:pt x="368532" y="157753"/>
                  </a:lnTo>
                  <a:lnTo>
                    <a:pt x="364808" y="134541"/>
                  </a:lnTo>
                  <a:lnTo>
                    <a:pt x="367913" y="109956"/>
                  </a:lnTo>
                  <a:lnTo>
                    <a:pt x="383781" y="92316"/>
                  </a:lnTo>
                  <a:lnTo>
                    <a:pt x="388249" y="110052"/>
                  </a:lnTo>
                  <a:lnTo>
                    <a:pt x="406508" y="125044"/>
                  </a:lnTo>
                  <a:lnTo>
                    <a:pt x="423739" y="119653"/>
                  </a:lnTo>
                  <a:lnTo>
                    <a:pt x="440789" y="121568"/>
                  </a:lnTo>
                  <a:lnTo>
                    <a:pt x="456352" y="108147"/>
                  </a:lnTo>
                  <a:lnTo>
                    <a:pt x="469164" y="105823"/>
                  </a:lnTo>
                  <a:lnTo>
                    <a:pt x="494424" y="113262"/>
                  </a:lnTo>
                  <a:lnTo>
                    <a:pt x="516207" y="107604"/>
                  </a:lnTo>
                  <a:lnTo>
                    <a:pt x="529904" y="70685"/>
                  </a:lnTo>
                  <a:lnTo>
                    <a:pt x="540182" y="61446"/>
                  </a:lnTo>
                  <a:lnTo>
                    <a:pt x="549440" y="31204"/>
                  </a:lnTo>
                  <a:lnTo>
                    <a:pt x="580149" y="31213"/>
                  </a:lnTo>
                  <a:lnTo>
                    <a:pt x="603295" y="35700"/>
                  </a:lnTo>
                  <a:lnTo>
                    <a:pt x="588103" y="59712"/>
                  </a:lnTo>
                  <a:lnTo>
                    <a:pt x="607743" y="84858"/>
                  </a:lnTo>
                  <a:lnTo>
                    <a:pt x="603104" y="97088"/>
                  </a:lnTo>
                  <a:close/>
                  <a:moveTo>
                    <a:pt x="281074" y="301104"/>
                  </a:moveTo>
                  <a:lnTo>
                    <a:pt x="251508" y="301666"/>
                  </a:lnTo>
                  <a:lnTo>
                    <a:pt x="229019" y="279387"/>
                  </a:lnTo>
                  <a:lnTo>
                    <a:pt x="194720" y="257642"/>
                  </a:lnTo>
                  <a:lnTo>
                    <a:pt x="183290" y="241525"/>
                  </a:lnTo>
                  <a:lnTo>
                    <a:pt x="163078" y="219894"/>
                  </a:lnTo>
                  <a:lnTo>
                    <a:pt x="149809" y="199996"/>
                  </a:lnTo>
                  <a:lnTo>
                    <a:pt x="129493" y="162849"/>
                  </a:lnTo>
                  <a:lnTo>
                    <a:pt x="106042" y="140741"/>
                  </a:lnTo>
                  <a:lnTo>
                    <a:pt x="98193" y="117929"/>
                  </a:lnTo>
                  <a:lnTo>
                    <a:pt x="88354" y="97212"/>
                  </a:lnTo>
                  <a:lnTo>
                    <a:pt x="64275" y="80496"/>
                  </a:lnTo>
                  <a:lnTo>
                    <a:pt x="50311" y="57769"/>
                  </a:lnTo>
                  <a:lnTo>
                    <a:pt x="30204" y="42881"/>
                  </a:lnTo>
                  <a:lnTo>
                    <a:pt x="2343" y="13563"/>
                  </a:lnTo>
                  <a:lnTo>
                    <a:pt x="0" y="0"/>
                  </a:lnTo>
                  <a:lnTo>
                    <a:pt x="17202" y="1076"/>
                  </a:lnTo>
                  <a:lnTo>
                    <a:pt x="58541" y="6229"/>
                  </a:lnTo>
                  <a:lnTo>
                    <a:pt x="82153" y="32261"/>
                  </a:lnTo>
                  <a:lnTo>
                    <a:pt x="102813" y="50292"/>
                  </a:lnTo>
                  <a:lnTo>
                    <a:pt x="117539" y="61350"/>
                  </a:lnTo>
                  <a:lnTo>
                    <a:pt x="142837" y="89897"/>
                  </a:lnTo>
                  <a:lnTo>
                    <a:pt x="169993" y="90306"/>
                  </a:lnTo>
                  <a:lnTo>
                    <a:pt x="192424" y="108490"/>
                  </a:lnTo>
                  <a:lnTo>
                    <a:pt x="207883" y="130712"/>
                  </a:lnTo>
                  <a:lnTo>
                    <a:pt x="228219" y="142827"/>
                  </a:lnTo>
                  <a:lnTo>
                    <a:pt x="217523" y="164487"/>
                  </a:lnTo>
                  <a:lnTo>
                    <a:pt x="232820" y="173698"/>
                  </a:lnTo>
                  <a:lnTo>
                    <a:pt x="242411" y="174374"/>
                  </a:lnTo>
                  <a:lnTo>
                    <a:pt x="246945" y="192881"/>
                  </a:lnTo>
                  <a:lnTo>
                    <a:pt x="256251" y="207693"/>
                  </a:lnTo>
                  <a:lnTo>
                    <a:pt x="275863" y="210045"/>
                  </a:lnTo>
                  <a:lnTo>
                    <a:pt x="288856" y="226857"/>
                  </a:lnTo>
                  <a:lnTo>
                    <a:pt x="282150" y="259918"/>
                  </a:lnTo>
                  <a:lnTo>
                    <a:pt x="281074" y="3011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orme libre : forme 5723">
              <a:extLst>
                <a:ext uri="{FF2B5EF4-FFF2-40B4-BE49-F238E27FC236}">
                  <a16:creationId xmlns:a16="http://schemas.microsoft.com/office/drawing/2014/main" id="{B5A443E2-481D-BB5F-B412-B509B644C7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554446" y="2978747"/>
              <a:ext cx="105327" cy="154828"/>
            </a:xfrm>
            <a:custGeom>
              <a:avLst/>
              <a:gdLst>
                <a:gd name="connsiteX0" fmla="*/ 100927 w 105327"/>
                <a:gd name="connsiteY0" fmla="*/ 58007 h 154828"/>
                <a:gd name="connsiteX1" fmla="*/ 105328 w 105327"/>
                <a:gd name="connsiteY1" fmla="*/ 90011 h 154828"/>
                <a:gd name="connsiteX2" fmla="*/ 85144 w 105327"/>
                <a:gd name="connsiteY2" fmla="*/ 129283 h 154828"/>
                <a:gd name="connsiteX3" fmla="*/ 37805 w 105327"/>
                <a:gd name="connsiteY3" fmla="*/ 154829 h 154828"/>
                <a:gd name="connsiteX4" fmla="*/ 0 w 105327"/>
                <a:gd name="connsiteY4" fmla="*/ 148323 h 154828"/>
                <a:gd name="connsiteX5" fmla="*/ 21650 w 105327"/>
                <a:gd name="connsiteY5" fmla="*/ 102794 h 154828"/>
                <a:gd name="connsiteX6" fmla="*/ 7706 w 105327"/>
                <a:gd name="connsiteY6" fmla="*/ 57388 h 154828"/>
                <a:gd name="connsiteX7" fmla="*/ 44034 w 105327"/>
                <a:gd name="connsiteY7" fmla="*/ 21641 h 154828"/>
                <a:gd name="connsiteX8" fmla="*/ 64218 w 105327"/>
                <a:gd name="connsiteY8" fmla="*/ 0 h 154828"/>
                <a:gd name="connsiteX9" fmla="*/ 69733 w 105327"/>
                <a:gd name="connsiteY9" fmla="*/ 24803 h 154828"/>
                <a:gd name="connsiteX10" fmla="*/ 64218 w 105327"/>
                <a:gd name="connsiteY10" fmla="*/ 49292 h 154828"/>
                <a:gd name="connsiteX11" fmla="*/ 80744 w 105327"/>
                <a:gd name="connsiteY11" fmla="*/ 48673 h 154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327" h="154828">
                  <a:moveTo>
                    <a:pt x="100927" y="58007"/>
                  </a:moveTo>
                  <a:lnTo>
                    <a:pt x="105328" y="90011"/>
                  </a:lnTo>
                  <a:lnTo>
                    <a:pt x="85144" y="129283"/>
                  </a:lnTo>
                  <a:lnTo>
                    <a:pt x="37805" y="154829"/>
                  </a:lnTo>
                  <a:lnTo>
                    <a:pt x="0" y="148323"/>
                  </a:lnTo>
                  <a:lnTo>
                    <a:pt x="21650" y="102794"/>
                  </a:lnTo>
                  <a:lnTo>
                    <a:pt x="7706" y="57388"/>
                  </a:lnTo>
                  <a:lnTo>
                    <a:pt x="44034" y="21641"/>
                  </a:lnTo>
                  <a:lnTo>
                    <a:pt x="64218" y="0"/>
                  </a:lnTo>
                  <a:lnTo>
                    <a:pt x="69733" y="24803"/>
                  </a:lnTo>
                  <a:lnTo>
                    <a:pt x="64218" y="49292"/>
                  </a:lnTo>
                  <a:lnTo>
                    <a:pt x="80744" y="486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orme libre : forme 5724">
              <a:extLst>
                <a:ext uri="{FF2B5EF4-FFF2-40B4-BE49-F238E27FC236}">
                  <a16:creationId xmlns:a16="http://schemas.microsoft.com/office/drawing/2014/main" id="{21155ABE-7CC8-11A5-31A1-73063CDC6C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736013" y="3804908"/>
              <a:ext cx="41957" cy="117595"/>
            </a:xfrm>
            <a:custGeom>
              <a:avLst/>
              <a:gdLst>
                <a:gd name="connsiteX0" fmla="*/ 38843 w 41957"/>
                <a:gd name="connsiteY0" fmla="*/ 18012 h 117595"/>
                <a:gd name="connsiteX1" fmla="*/ 34195 w 41957"/>
                <a:gd name="connsiteY1" fmla="*/ 27947 h 117595"/>
                <a:gd name="connsiteX2" fmla="*/ 24527 w 41957"/>
                <a:gd name="connsiteY2" fmla="*/ 23584 h 117595"/>
                <a:gd name="connsiteX3" fmla="*/ 18945 w 41957"/>
                <a:gd name="connsiteY3" fmla="*/ 44501 h 117595"/>
                <a:gd name="connsiteX4" fmla="*/ 25651 w 41957"/>
                <a:gd name="connsiteY4" fmla="*/ 48016 h 117595"/>
                <a:gd name="connsiteX5" fmla="*/ 18831 w 41957"/>
                <a:gd name="connsiteY5" fmla="*/ 52311 h 117595"/>
                <a:gd name="connsiteX6" fmla="*/ 17679 w 41957"/>
                <a:gd name="connsiteY6" fmla="*/ 60512 h 117595"/>
                <a:gd name="connsiteX7" fmla="*/ 30232 w 41957"/>
                <a:gd name="connsiteY7" fmla="*/ 56293 h 117595"/>
                <a:gd name="connsiteX8" fmla="*/ 30861 w 41957"/>
                <a:gd name="connsiteY8" fmla="*/ 68390 h 117595"/>
                <a:gd name="connsiteX9" fmla="*/ 17555 w 41957"/>
                <a:gd name="connsiteY9" fmla="*/ 117596 h 117595"/>
                <a:gd name="connsiteX10" fmla="*/ 0 w 41957"/>
                <a:gd name="connsiteY10" fmla="*/ 64684 h 117595"/>
                <a:gd name="connsiteX11" fmla="*/ 7772 w 41957"/>
                <a:gd name="connsiteY11" fmla="*/ 54426 h 117595"/>
                <a:gd name="connsiteX12" fmla="*/ 5953 w 41957"/>
                <a:gd name="connsiteY12" fmla="*/ 52654 h 117595"/>
                <a:gd name="connsiteX13" fmla="*/ 13011 w 41957"/>
                <a:gd name="connsiteY13" fmla="*/ 38033 h 117595"/>
                <a:gd name="connsiteX14" fmla="*/ 18431 w 41957"/>
                <a:gd name="connsiteY14" fmla="*/ 14278 h 117595"/>
                <a:gd name="connsiteX15" fmla="*/ 22250 w 41957"/>
                <a:gd name="connsiteY15" fmla="*/ 6248 h 117595"/>
                <a:gd name="connsiteX16" fmla="*/ 22984 w 41957"/>
                <a:gd name="connsiteY16" fmla="*/ 5925 h 117595"/>
                <a:gd name="connsiteX17" fmla="*/ 31928 w 41957"/>
                <a:gd name="connsiteY17" fmla="*/ 5982 h 117595"/>
                <a:gd name="connsiteX18" fmla="*/ 34385 w 41957"/>
                <a:gd name="connsiteY18" fmla="*/ 419 h 117595"/>
                <a:gd name="connsiteX19" fmla="*/ 41548 w 41957"/>
                <a:gd name="connsiteY19" fmla="*/ 0 h 117595"/>
                <a:gd name="connsiteX20" fmla="*/ 41957 w 41957"/>
                <a:gd name="connsiteY20" fmla="*/ 12983 h 117595"/>
                <a:gd name="connsiteX21" fmla="*/ 38338 w 41957"/>
                <a:gd name="connsiteY21" fmla="*/ 17793 h 117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1957" h="117595">
                  <a:moveTo>
                    <a:pt x="38843" y="18012"/>
                  </a:moveTo>
                  <a:lnTo>
                    <a:pt x="34195" y="27947"/>
                  </a:lnTo>
                  <a:lnTo>
                    <a:pt x="24527" y="23584"/>
                  </a:lnTo>
                  <a:lnTo>
                    <a:pt x="18945" y="44501"/>
                  </a:lnTo>
                  <a:lnTo>
                    <a:pt x="25651" y="48016"/>
                  </a:lnTo>
                  <a:lnTo>
                    <a:pt x="18831" y="52311"/>
                  </a:lnTo>
                  <a:lnTo>
                    <a:pt x="17679" y="60512"/>
                  </a:lnTo>
                  <a:lnTo>
                    <a:pt x="30232" y="56293"/>
                  </a:lnTo>
                  <a:lnTo>
                    <a:pt x="30861" y="68390"/>
                  </a:lnTo>
                  <a:lnTo>
                    <a:pt x="17555" y="117596"/>
                  </a:lnTo>
                  <a:lnTo>
                    <a:pt x="0" y="64684"/>
                  </a:lnTo>
                  <a:lnTo>
                    <a:pt x="7772" y="54426"/>
                  </a:lnTo>
                  <a:lnTo>
                    <a:pt x="5953" y="52654"/>
                  </a:lnTo>
                  <a:lnTo>
                    <a:pt x="13011" y="38033"/>
                  </a:lnTo>
                  <a:lnTo>
                    <a:pt x="18431" y="14278"/>
                  </a:lnTo>
                  <a:lnTo>
                    <a:pt x="22250" y="6248"/>
                  </a:lnTo>
                  <a:lnTo>
                    <a:pt x="22984" y="5925"/>
                  </a:lnTo>
                  <a:lnTo>
                    <a:pt x="31928" y="5982"/>
                  </a:lnTo>
                  <a:lnTo>
                    <a:pt x="34385" y="419"/>
                  </a:lnTo>
                  <a:lnTo>
                    <a:pt x="41548" y="0"/>
                  </a:lnTo>
                  <a:lnTo>
                    <a:pt x="41957" y="12983"/>
                  </a:lnTo>
                  <a:lnTo>
                    <a:pt x="38338" y="177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orme libre : forme 5725">
              <a:extLst>
                <a:ext uri="{FF2B5EF4-FFF2-40B4-BE49-F238E27FC236}">
                  <a16:creationId xmlns:a16="http://schemas.microsoft.com/office/drawing/2014/main" id="{ACCBFD59-0B1F-87A0-1EAC-D1A76A82E5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641668" y="3679406"/>
              <a:ext cx="780526" cy="851249"/>
            </a:xfrm>
            <a:custGeom>
              <a:avLst/>
              <a:gdLst>
                <a:gd name="connsiteX0" fmla="*/ 258013 w 780526"/>
                <a:gd name="connsiteY0" fmla="*/ 54093 h 851249"/>
                <a:gd name="connsiteX1" fmla="*/ 280264 w 780526"/>
                <a:gd name="connsiteY1" fmla="*/ 42786 h 851249"/>
                <a:gd name="connsiteX2" fmla="*/ 295342 w 780526"/>
                <a:gd name="connsiteY2" fmla="*/ 39814 h 851249"/>
                <a:gd name="connsiteX3" fmla="*/ 312211 w 780526"/>
                <a:gd name="connsiteY3" fmla="*/ 44968 h 851249"/>
                <a:gd name="connsiteX4" fmla="*/ 322336 w 780526"/>
                <a:gd name="connsiteY4" fmla="*/ 53302 h 851249"/>
                <a:gd name="connsiteX5" fmla="*/ 316173 w 780526"/>
                <a:gd name="connsiteY5" fmla="*/ 75533 h 851249"/>
                <a:gd name="connsiteX6" fmla="*/ 298914 w 780526"/>
                <a:gd name="connsiteY6" fmla="*/ 100136 h 851249"/>
                <a:gd name="connsiteX7" fmla="*/ 288598 w 780526"/>
                <a:gd name="connsiteY7" fmla="*/ 99536 h 851249"/>
                <a:gd name="connsiteX8" fmla="*/ 286808 w 780526"/>
                <a:gd name="connsiteY8" fmla="*/ 101527 h 851249"/>
                <a:gd name="connsiteX9" fmla="*/ 290189 w 780526"/>
                <a:gd name="connsiteY9" fmla="*/ 112633 h 851249"/>
                <a:gd name="connsiteX10" fmla="*/ 286017 w 780526"/>
                <a:gd name="connsiteY10" fmla="*/ 112833 h 851249"/>
                <a:gd name="connsiteX11" fmla="*/ 286617 w 780526"/>
                <a:gd name="connsiteY11" fmla="*/ 119777 h 851249"/>
                <a:gd name="connsiteX12" fmla="*/ 291379 w 780526"/>
                <a:gd name="connsiteY12" fmla="*/ 123749 h 851249"/>
                <a:gd name="connsiteX13" fmla="*/ 298314 w 780526"/>
                <a:gd name="connsiteY13" fmla="*/ 124349 h 851249"/>
                <a:gd name="connsiteX14" fmla="*/ 298714 w 780526"/>
                <a:gd name="connsiteY14" fmla="*/ 135455 h 851249"/>
                <a:gd name="connsiteX15" fmla="*/ 303676 w 780526"/>
                <a:gd name="connsiteY15" fmla="*/ 141408 h 851249"/>
                <a:gd name="connsiteX16" fmla="*/ 302486 w 780526"/>
                <a:gd name="connsiteY16" fmla="*/ 145380 h 851249"/>
                <a:gd name="connsiteX17" fmla="*/ 297332 w 780526"/>
                <a:gd name="connsiteY17" fmla="*/ 149743 h 851249"/>
                <a:gd name="connsiteX18" fmla="*/ 293761 w 780526"/>
                <a:gd name="connsiteY18" fmla="*/ 150619 h 851249"/>
                <a:gd name="connsiteX19" fmla="*/ 274597 w 780526"/>
                <a:gd name="connsiteY19" fmla="*/ 146380 h 851249"/>
                <a:gd name="connsiteX20" fmla="*/ 282083 w 780526"/>
                <a:gd name="connsiteY20" fmla="*/ 180956 h 851249"/>
                <a:gd name="connsiteX21" fmla="*/ 308325 w 780526"/>
                <a:gd name="connsiteY21" fmla="*/ 200625 h 851249"/>
                <a:gd name="connsiteX22" fmla="*/ 345443 w 780526"/>
                <a:gd name="connsiteY22" fmla="*/ 222199 h 851249"/>
                <a:gd name="connsiteX23" fmla="*/ 328489 w 780526"/>
                <a:gd name="connsiteY23" fmla="*/ 236115 h 851249"/>
                <a:gd name="connsiteX24" fmla="*/ 318126 w 780526"/>
                <a:gd name="connsiteY24" fmla="*/ 264605 h 851249"/>
                <a:gd name="connsiteX25" fmla="*/ 343996 w 780526"/>
                <a:gd name="connsiteY25" fmla="*/ 276054 h 851249"/>
                <a:gd name="connsiteX26" fmla="*/ 369180 w 780526"/>
                <a:gd name="connsiteY26" fmla="*/ 290836 h 851249"/>
                <a:gd name="connsiteX27" fmla="*/ 404013 w 780526"/>
                <a:gd name="connsiteY27" fmla="*/ 307667 h 851249"/>
                <a:gd name="connsiteX28" fmla="*/ 440617 w 780526"/>
                <a:gd name="connsiteY28" fmla="*/ 311534 h 851249"/>
                <a:gd name="connsiteX29" fmla="*/ 456019 w 780526"/>
                <a:gd name="connsiteY29" fmla="*/ 326708 h 851249"/>
                <a:gd name="connsiteX30" fmla="*/ 476660 w 780526"/>
                <a:gd name="connsiteY30" fmla="*/ 329527 h 851249"/>
                <a:gd name="connsiteX31" fmla="*/ 508788 w 780526"/>
                <a:gd name="connsiteY31" fmla="*/ 336452 h 851249"/>
                <a:gd name="connsiteX32" fmla="*/ 531029 w 780526"/>
                <a:gd name="connsiteY32" fmla="*/ 335956 h 851249"/>
                <a:gd name="connsiteX33" fmla="*/ 534086 w 780526"/>
                <a:gd name="connsiteY33" fmla="*/ 324193 h 851249"/>
                <a:gd name="connsiteX34" fmla="*/ 530571 w 780526"/>
                <a:gd name="connsiteY34" fmla="*/ 305229 h 851249"/>
                <a:gd name="connsiteX35" fmla="*/ 532638 w 780526"/>
                <a:gd name="connsiteY35" fmla="*/ 292313 h 851249"/>
                <a:gd name="connsiteX36" fmla="*/ 548926 w 780526"/>
                <a:gd name="connsiteY36" fmla="*/ 285979 h 851249"/>
                <a:gd name="connsiteX37" fmla="*/ 551165 w 780526"/>
                <a:gd name="connsiteY37" fmla="*/ 309610 h 851249"/>
                <a:gd name="connsiteX38" fmla="*/ 551736 w 780526"/>
                <a:gd name="connsiteY38" fmla="*/ 315601 h 851249"/>
                <a:gd name="connsiteX39" fmla="*/ 576015 w 780526"/>
                <a:gd name="connsiteY39" fmla="*/ 326908 h 851249"/>
                <a:gd name="connsiteX40" fmla="*/ 592798 w 780526"/>
                <a:gd name="connsiteY40" fmla="*/ 322250 h 851249"/>
                <a:gd name="connsiteX41" fmla="*/ 615353 w 780526"/>
                <a:gd name="connsiteY41" fmla="*/ 324250 h 851249"/>
                <a:gd name="connsiteX42" fmla="*/ 637137 w 780526"/>
                <a:gd name="connsiteY42" fmla="*/ 323364 h 851249"/>
                <a:gd name="connsiteX43" fmla="*/ 639013 w 780526"/>
                <a:gd name="connsiteY43" fmla="*/ 305029 h 851249"/>
                <a:gd name="connsiteX44" fmla="*/ 628136 w 780526"/>
                <a:gd name="connsiteY44" fmla="*/ 295456 h 851249"/>
                <a:gd name="connsiteX45" fmla="*/ 649681 w 780526"/>
                <a:gd name="connsiteY45" fmla="*/ 291703 h 851249"/>
                <a:gd name="connsiteX46" fmla="*/ 673989 w 780526"/>
                <a:gd name="connsiteY46" fmla="*/ 269262 h 851249"/>
                <a:gd name="connsiteX47" fmla="*/ 704774 w 780526"/>
                <a:gd name="connsiteY47" fmla="*/ 249927 h 851249"/>
                <a:gd name="connsiteX48" fmla="*/ 727177 w 780526"/>
                <a:gd name="connsiteY48" fmla="*/ 257404 h 851249"/>
                <a:gd name="connsiteX49" fmla="*/ 746217 w 780526"/>
                <a:gd name="connsiteY49" fmla="*/ 244583 h 851249"/>
                <a:gd name="connsiteX50" fmla="*/ 758733 w 780526"/>
                <a:gd name="connsiteY50" fmla="*/ 263490 h 851249"/>
                <a:gd name="connsiteX51" fmla="*/ 749713 w 780526"/>
                <a:gd name="connsiteY51" fmla="*/ 276206 h 851249"/>
                <a:gd name="connsiteX52" fmla="*/ 778516 w 780526"/>
                <a:gd name="connsiteY52" fmla="*/ 280711 h 851249"/>
                <a:gd name="connsiteX53" fmla="*/ 780526 w 780526"/>
                <a:gd name="connsiteY53" fmla="*/ 292132 h 851249"/>
                <a:gd name="connsiteX54" fmla="*/ 771163 w 780526"/>
                <a:gd name="connsiteY54" fmla="*/ 297637 h 851249"/>
                <a:gd name="connsiteX55" fmla="*/ 773364 w 780526"/>
                <a:gd name="connsiteY55" fmla="*/ 316049 h 851249"/>
                <a:gd name="connsiteX56" fmla="*/ 754276 w 780526"/>
                <a:gd name="connsiteY56" fmla="*/ 310648 h 851249"/>
                <a:gd name="connsiteX57" fmla="*/ 719700 w 780526"/>
                <a:gd name="connsiteY57" fmla="*/ 331241 h 851249"/>
                <a:gd name="connsiteX58" fmla="*/ 720510 w 780526"/>
                <a:gd name="connsiteY58" fmla="*/ 348186 h 851249"/>
                <a:gd name="connsiteX59" fmla="*/ 705774 w 780526"/>
                <a:gd name="connsiteY59" fmla="*/ 372894 h 851249"/>
                <a:gd name="connsiteX60" fmla="*/ 704412 w 780526"/>
                <a:gd name="connsiteY60" fmla="*/ 387163 h 851249"/>
                <a:gd name="connsiteX61" fmla="*/ 692506 w 780526"/>
                <a:gd name="connsiteY61" fmla="*/ 411185 h 851249"/>
                <a:gd name="connsiteX62" fmla="*/ 671636 w 780526"/>
                <a:gd name="connsiteY62" fmla="*/ 404555 h 851249"/>
                <a:gd name="connsiteX63" fmla="*/ 670599 w 780526"/>
                <a:gd name="connsiteY63" fmla="*/ 434540 h 851249"/>
                <a:gd name="connsiteX64" fmla="*/ 664569 w 780526"/>
                <a:gd name="connsiteY64" fmla="*/ 444360 h 851249"/>
                <a:gd name="connsiteX65" fmla="*/ 667388 w 780526"/>
                <a:gd name="connsiteY65" fmla="*/ 456562 h 851249"/>
                <a:gd name="connsiteX66" fmla="*/ 654215 w 780526"/>
                <a:gd name="connsiteY66" fmla="*/ 463363 h 851249"/>
                <a:gd name="connsiteX67" fmla="*/ 640147 w 780526"/>
                <a:gd name="connsiteY67" fmla="*/ 417652 h 851249"/>
                <a:gd name="connsiteX68" fmla="*/ 632775 w 780526"/>
                <a:gd name="connsiteY68" fmla="*/ 417747 h 851249"/>
                <a:gd name="connsiteX69" fmla="*/ 628412 w 780526"/>
                <a:gd name="connsiteY69" fmla="*/ 436226 h 851249"/>
                <a:gd name="connsiteX70" fmla="*/ 613791 w 780526"/>
                <a:gd name="connsiteY70" fmla="*/ 421253 h 851249"/>
                <a:gd name="connsiteX71" fmla="*/ 622031 w 780526"/>
                <a:gd name="connsiteY71" fmla="*/ 404736 h 851249"/>
                <a:gd name="connsiteX72" fmla="*/ 633984 w 780526"/>
                <a:gd name="connsiteY72" fmla="*/ 403050 h 851249"/>
                <a:gd name="connsiteX73" fmla="*/ 646291 w 780526"/>
                <a:gd name="connsiteY73" fmla="*/ 378343 h 851249"/>
                <a:gd name="connsiteX74" fmla="*/ 630898 w 780526"/>
                <a:gd name="connsiteY74" fmla="*/ 373332 h 851249"/>
                <a:gd name="connsiteX75" fmla="*/ 606123 w 780526"/>
                <a:gd name="connsiteY75" fmla="*/ 373771 h 851249"/>
                <a:gd name="connsiteX76" fmla="*/ 580711 w 780526"/>
                <a:gd name="connsiteY76" fmla="*/ 369741 h 851249"/>
                <a:gd name="connsiteX77" fmla="*/ 578358 w 780526"/>
                <a:gd name="connsiteY77" fmla="*/ 349263 h 851249"/>
                <a:gd name="connsiteX78" fmla="*/ 565604 w 780526"/>
                <a:gd name="connsiteY78" fmla="*/ 347806 h 851249"/>
                <a:gd name="connsiteX79" fmla="*/ 544449 w 780526"/>
                <a:gd name="connsiteY79" fmla="*/ 335013 h 851249"/>
                <a:gd name="connsiteX80" fmla="*/ 535020 w 780526"/>
                <a:gd name="connsiteY80" fmla="*/ 355082 h 851249"/>
                <a:gd name="connsiteX81" fmla="*/ 554298 w 780526"/>
                <a:gd name="connsiteY81" fmla="*/ 370656 h 851249"/>
                <a:gd name="connsiteX82" fmla="*/ 537601 w 780526"/>
                <a:gd name="connsiteY82" fmla="*/ 381581 h 851249"/>
                <a:gd name="connsiteX83" fmla="*/ 531676 w 780526"/>
                <a:gd name="connsiteY83" fmla="*/ 392239 h 851249"/>
                <a:gd name="connsiteX84" fmla="*/ 548107 w 780526"/>
                <a:gd name="connsiteY84" fmla="*/ 400040 h 851249"/>
                <a:gd name="connsiteX85" fmla="*/ 543573 w 780526"/>
                <a:gd name="connsiteY85" fmla="*/ 417557 h 851249"/>
                <a:gd name="connsiteX86" fmla="*/ 552822 w 780526"/>
                <a:gd name="connsiteY86" fmla="*/ 439284 h 851249"/>
                <a:gd name="connsiteX87" fmla="*/ 556984 w 780526"/>
                <a:gd name="connsiteY87" fmla="*/ 462953 h 851249"/>
                <a:gd name="connsiteX88" fmla="*/ 553155 w 780526"/>
                <a:gd name="connsiteY88" fmla="*/ 473393 h 851249"/>
                <a:gd name="connsiteX89" fmla="*/ 534981 w 780526"/>
                <a:gd name="connsiteY89" fmla="*/ 473040 h 851249"/>
                <a:gd name="connsiteX90" fmla="*/ 502063 w 780526"/>
                <a:gd name="connsiteY90" fmla="*/ 478965 h 851249"/>
                <a:gd name="connsiteX91" fmla="*/ 503597 w 780526"/>
                <a:gd name="connsiteY91" fmla="*/ 500377 h 851249"/>
                <a:gd name="connsiteX92" fmla="*/ 489338 w 780526"/>
                <a:gd name="connsiteY92" fmla="*/ 517141 h 851249"/>
                <a:gd name="connsiteX93" fmla="*/ 450904 w 780526"/>
                <a:gd name="connsiteY93" fmla="*/ 536134 h 851249"/>
                <a:gd name="connsiteX94" fmla="*/ 421015 w 780526"/>
                <a:gd name="connsiteY94" fmla="*/ 569147 h 851249"/>
                <a:gd name="connsiteX95" fmla="*/ 400936 w 780526"/>
                <a:gd name="connsiteY95" fmla="*/ 586750 h 851249"/>
                <a:gd name="connsiteX96" fmla="*/ 374323 w 780526"/>
                <a:gd name="connsiteY96" fmla="*/ 604961 h 851249"/>
                <a:gd name="connsiteX97" fmla="*/ 374285 w 780526"/>
                <a:gd name="connsiteY97" fmla="*/ 617706 h 851249"/>
                <a:gd name="connsiteX98" fmla="*/ 360979 w 780526"/>
                <a:gd name="connsiteY98" fmla="*/ 624526 h 851249"/>
                <a:gd name="connsiteX99" fmla="*/ 336918 w 780526"/>
                <a:gd name="connsiteY99" fmla="*/ 634422 h 851249"/>
                <a:gd name="connsiteX100" fmla="*/ 324441 w 780526"/>
                <a:gd name="connsiteY100" fmla="*/ 635889 h 851249"/>
                <a:gd name="connsiteX101" fmla="*/ 316440 w 780526"/>
                <a:gd name="connsiteY101" fmla="*/ 656892 h 851249"/>
                <a:gd name="connsiteX102" fmla="*/ 321993 w 780526"/>
                <a:gd name="connsiteY102" fmla="*/ 692544 h 851249"/>
                <a:gd name="connsiteX103" fmla="*/ 323412 w 780526"/>
                <a:gd name="connsiteY103" fmla="*/ 715175 h 851249"/>
                <a:gd name="connsiteX104" fmla="*/ 312097 w 780526"/>
                <a:gd name="connsiteY104" fmla="*/ 741007 h 851249"/>
                <a:gd name="connsiteX105" fmla="*/ 311973 w 780526"/>
                <a:gd name="connsiteY105" fmla="*/ 786965 h 851249"/>
                <a:gd name="connsiteX106" fmla="*/ 298152 w 780526"/>
                <a:gd name="connsiteY106" fmla="*/ 788270 h 851249"/>
                <a:gd name="connsiteX107" fmla="*/ 285998 w 780526"/>
                <a:gd name="connsiteY107" fmla="*/ 808815 h 851249"/>
                <a:gd name="connsiteX108" fmla="*/ 294123 w 780526"/>
                <a:gd name="connsiteY108" fmla="*/ 817683 h 851249"/>
                <a:gd name="connsiteX109" fmla="*/ 269767 w 780526"/>
                <a:gd name="connsiteY109" fmla="*/ 825294 h 851249"/>
                <a:gd name="connsiteX110" fmla="*/ 260776 w 780526"/>
                <a:gd name="connsiteY110" fmla="*/ 843544 h 851249"/>
                <a:gd name="connsiteX111" fmla="*/ 250060 w 780526"/>
                <a:gd name="connsiteY111" fmla="*/ 851249 h 851249"/>
                <a:gd name="connsiteX112" fmla="*/ 224780 w 780526"/>
                <a:gd name="connsiteY112" fmla="*/ 826208 h 851249"/>
                <a:gd name="connsiteX113" fmla="*/ 212417 w 780526"/>
                <a:gd name="connsiteY113" fmla="*/ 788518 h 851249"/>
                <a:gd name="connsiteX114" fmla="*/ 202168 w 780526"/>
                <a:gd name="connsiteY114" fmla="*/ 761276 h 851249"/>
                <a:gd name="connsiteX115" fmla="*/ 192805 w 780526"/>
                <a:gd name="connsiteY115" fmla="*/ 748456 h 851249"/>
                <a:gd name="connsiteX116" fmla="*/ 178623 w 780526"/>
                <a:gd name="connsiteY116" fmla="*/ 722376 h 851249"/>
                <a:gd name="connsiteX117" fmla="*/ 171993 w 780526"/>
                <a:gd name="connsiteY117" fmla="*/ 688257 h 851249"/>
                <a:gd name="connsiteX118" fmla="*/ 167374 w 780526"/>
                <a:gd name="connsiteY118" fmla="*/ 671151 h 851249"/>
                <a:gd name="connsiteX119" fmla="*/ 143085 w 780526"/>
                <a:gd name="connsiteY119" fmla="*/ 633356 h 851249"/>
                <a:gd name="connsiteX120" fmla="*/ 132026 w 780526"/>
                <a:gd name="connsiteY120" fmla="*/ 579577 h 851249"/>
                <a:gd name="connsiteX121" fmla="*/ 124035 w 780526"/>
                <a:gd name="connsiteY121" fmla="*/ 543744 h 851249"/>
                <a:gd name="connsiteX122" fmla="*/ 124130 w 780526"/>
                <a:gd name="connsiteY122" fmla="*/ 509559 h 851249"/>
                <a:gd name="connsiteX123" fmla="*/ 118949 w 780526"/>
                <a:gd name="connsiteY123" fmla="*/ 482946 h 851249"/>
                <a:gd name="connsiteX124" fmla="*/ 80086 w 780526"/>
                <a:gd name="connsiteY124" fmla="*/ 499977 h 851249"/>
                <a:gd name="connsiteX125" fmla="*/ 61265 w 780526"/>
                <a:gd name="connsiteY125" fmla="*/ 496576 h 851249"/>
                <a:gd name="connsiteX126" fmla="*/ 26375 w 780526"/>
                <a:gd name="connsiteY126" fmla="*/ 461991 h 851249"/>
                <a:gd name="connsiteX127" fmla="*/ 39214 w 780526"/>
                <a:gd name="connsiteY127" fmla="*/ 451618 h 851249"/>
                <a:gd name="connsiteX128" fmla="*/ 31328 w 780526"/>
                <a:gd name="connsiteY128" fmla="*/ 440322 h 851249"/>
                <a:gd name="connsiteX129" fmla="*/ 0 w 780526"/>
                <a:gd name="connsiteY129" fmla="*/ 415795 h 851249"/>
                <a:gd name="connsiteX130" fmla="*/ 17783 w 780526"/>
                <a:gd name="connsiteY130" fmla="*/ 396392 h 851249"/>
                <a:gd name="connsiteX131" fmla="*/ 76553 w 780526"/>
                <a:gd name="connsiteY131" fmla="*/ 396469 h 851249"/>
                <a:gd name="connsiteX132" fmla="*/ 71257 w 780526"/>
                <a:gd name="connsiteY132" fmla="*/ 371351 h 851249"/>
                <a:gd name="connsiteX133" fmla="*/ 56245 w 780526"/>
                <a:gd name="connsiteY133" fmla="*/ 356435 h 851249"/>
                <a:gd name="connsiteX134" fmla="*/ 53207 w 780526"/>
                <a:gd name="connsiteY134" fmla="*/ 333661 h 851249"/>
                <a:gd name="connsiteX135" fmla="*/ 35729 w 780526"/>
                <a:gd name="connsiteY135" fmla="*/ 320307 h 851249"/>
                <a:gd name="connsiteX136" fmla="*/ 65161 w 780526"/>
                <a:gd name="connsiteY136" fmla="*/ 288922 h 851249"/>
                <a:gd name="connsiteX137" fmla="*/ 96174 w 780526"/>
                <a:gd name="connsiteY137" fmla="*/ 291208 h 851249"/>
                <a:gd name="connsiteX138" fmla="*/ 124111 w 780526"/>
                <a:gd name="connsiteY138" fmla="*/ 259528 h 851249"/>
                <a:gd name="connsiteX139" fmla="*/ 140847 w 780526"/>
                <a:gd name="connsiteY139" fmla="*/ 228562 h 851249"/>
                <a:gd name="connsiteX140" fmla="*/ 166783 w 780526"/>
                <a:gd name="connsiteY140" fmla="*/ 197615 h 851249"/>
                <a:gd name="connsiteX141" fmla="*/ 166364 w 780526"/>
                <a:gd name="connsiteY141" fmla="*/ 175441 h 851249"/>
                <a:gd name="connsiteX142" fmla="*/ 189148 w 780526"/>
                <a:gd name="connsiteY142" fmla="*/ 157315 h 851249"/>
                <a:gd name="connsiteX143" fmla="*/ 167583 w 780526"/>
                <a:gd name="connsiteY143" fmla="*/ 141751 h 851249"/>
                <a:gd name="connsiteX144" fmla="*/ 143742 w 780526"/>
                <a:gd name="connsiteY144" fmla="*/ 131293 h 851249"/>
                <a:gd name="connsiteX145" fmla="*/ 138770 w 780526"/>
                <a:gd name="connsiteY145" fmla="*/ 85849 h 851249"/>
                <a:gd name="connsiteX146" fmla="*/ 144532 w 780526"/>
                <a:gd name="connsiteY146" fmla="*/ 85649 h 851249"/>
                <a:gd name="connsiteX147" fmla="*/ 145523 w 780526"/>
                <a:gd name="connsiteY147" fmla="*/ 79296 h 851249"/>
                <a:gd name="connsiteX148" fmla="*/ 152467 w 780526"/>
                <a:gd name="connsiteY148" fmla="*/ 77114 h 851249"/>
                <a:gd name="connsiteX149" fmla="*/ 156439 w 780526"/>
                <a:gd name="connsiteY149" fmla="*/ 68980 h 851249"/>
                <a:gd name="connsiteX150" fmla="*/ 145523 w 780526"/>
                <a:gd name="connsiteY150" fmla="*/ 62627 h 851249"/>
                <a:gd name="connsiteX151" fmla="*/ 131036 w 780526"/>
                <a:gd name="connsiteY151" fmla="*/ 50530 h 851249"/>
                <a:gd name="connsiteX152" fmla="*/ 125282 w 780526"/>
                <a:gd name="connsiteY152" fmla="*/ 44377 h 851249"/>
                <a:gd name="connsiteX153" fmla="*/ 118529 w 780526"/>
                <a:gd name="connsiteY153" fmla="*/ 46158 h 851249"/>
                <a:gd name="connsiteX154" fmla="*/ 114567 w 780526"/>
                <a:gd name="connsiteY154" fmla="*/ 43186 h 851249"/>
                <a:gd name="connsiteX155" fmla="*/ 115167 w 780526"/>
                <a:gd name="connsiteY155" fmla="*/ 33461 h 851249"/>
                <a:gd name="connsiteX156" fmla="*/ 126683 w 780526"/>
                <a:gd name="connsiteY156" fmla="*/ 13735 h 851249"/>
                <a:gd name="connsiteX157" fmla="*/ 157334 w 780526"/>
                <a:gd name="connsiteY157" fmla="*/ 9878 h 851249"/>
                <a:gd name="connsiteX158" fmla="*/ 170908 w 780526"/>
                <a:gd name="connsiteY158" fmla="*/ 3734 h 851249"/>
                <a:gd name="connsiteX159" fmla="*/ 186452 w 780526"/>
                <a:gd name="connsiteY159" fmla="*/ 0 h 851249"/>
                <a:gd name="connsiteX160" fmla="*/ 206188 w 780526"/>
                <a:gd name="connsiteY160" fmla="*/ 15497 h 851249"/>
                <a:gd name="connsiteX161" fmla="*/ 210417 w 780526"/>
                <a:gd name="connsiteY161" fmla="*/ 29099 h 851249"/>
                <a:gd name="connsiteX162" fmla="*/ 224304 w 780526"/>
                <a:gd name="connsiteY162" fmla="*/ 34852 h 851249"/>
                <a:gd name="connsiteX163" fmla="*/ 227476 w 780526"/>
                <a:gd name="connsiteY163" fmla="*/ 44177 h 85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780526" h="851249">
                  <a:moveTo>
                    <a:pt x="258013" y="54093"/>
                  </a:moveTo>
                  <a:lnTo>
                    <a:pt x="280264" y="42786"/>
                  </a:lnTo>
                  <a:lnTo>
                    <a:pt x="295342" y="39814"/>
                  </a:lnTo>
                  <a:lnTo>
                    <a:pt x="312211" y="44968"/>
                  </a:lnTo>
                  <a:lnTo>
                    <a:pt x="322336" y="53302"/>
                  </a:lnTo>
                  <a:lnTo>
                    <a:pt x="316173" y="75533"/>
                  </a:lnTo>
                  <a:lnTo>
                    <a:pt x="298914" y="100136"/>
                  </a:lnTo>
                  <a:lnTo>
                    <a:pt x="288598" y="99536"/>
                  </a:lnTo>
                  <a:lnTo>
                    <a:pt x="286808" y="101527"/>
                  </a:lnTo>
                  <a:lnTo>
                    <a:pt x="290189" y="112633"/>
                  </a:lnTo>
                  <a:lnTo>
                    <a:pt x="286017" y="112833"/>
                  </a:lnTo>
                  <a:lnTo>
                    <a:pt x="286617" y="119777"/>
                  </a:lnTo>
                  <a:lnTo>
                    <a:pt x="291379" y="123749"/>
                  </a:lnTo>
                  <a:lnTo>
                    <a:pt x="298314" y="124349"/>
                  </a:lnTo>
                  <a:lnTo>
                    <a:pt x="298714" y="135455"/>
                  </a:lnTo>
                  <a:lnTo>
                    <a:pt x="303676" y="141408"/>
                  </a:lnTo>
                  <a:lnTo>
                    <a:pt x="302486" y="145380"/>
                  </a:lnTo>
                  <a:lnTo>
                    <a:pt x="297332" y="149743"/>
                  </a:lnTo>
                  <a:lnTo>
                    <a:pt x="293761" y="150619"/>
                  </a:lnTo>
                  <a:lnTo>
                    <a:pt x="274597" y="146380"/>
                  </a:lnTo>
                  <a:lnTo>
                    <a:pt x="282083" y="180956"/>
                  </a:lnTo>
                  <a:lnTo>
                    <a:pt x="308325" y="200625"/>
                  </a:lnTo>
                  <a:lnTo>
                    <a:pt x="345443" y="222199"/>
                  </a:lnTo>
                  <a:lnTo>
                    <a:pt x="328489" y="236115"/>
                  </a:lnTo>
                  <a:lnTo>
                    <a:pt x="318126" y="264605"/>
                  </a:lnTo>
                  <a:lnTo>
                    <a:pt x="343996" y="276054"/>
                  </a:lnTo>
                  <a:lnTo>
                    <a:pt x="369180" y="290836"/>
                  </a:lnTo>
                  <a:lnTo>
                    <a:pt x="404013" y="307667"/>
                  </a:lnTo>
                  <a:lnTo>
                    <a:pt x="440617" y="311534"/>
                  </a:lnTo>
                  <a:lnTo>
                    <a:pt x="456019" y="326708"/>
                  </a:lnTo>
                  <a:lnTo>
                    <a:pt x="476660" y="329527"/>
                  </a:lnTo>
                  <a:lnTo>
                    <a:pt x="508788" y="336452"/>
                  </a:lnTo>
                  <a:lnTo>
                    <a:pt x="531029" y="335956"/>
                  </a:lnTo>
                  <a:lnTo>
                    <a:pt x="534086" y="324193"/>
                  </a:lnTo>
                  <a:lnTo>
                    <a:pt x="530571" y="305229"/>
                  </a:lnTo>
                  <a:lnTo>
                    <a:pt x="532638" y="292313"/>
                  </a:lnTo>
                  <a:lnTo>
                    <a:pt x="548926" y="285979"/>
                  </a:lnTo>
                  <a:lnTo>
                    <a:pt x="551165" y="309610"/>
                  </a:lnTo>
                  <a:lnTo>
                    <a:pt x="551736" y="315601"/>
                  </a:lnTo>
                  <a:lnTo>
                    <a:pt x="576015" y="326908"/>
                  </a:lnTo>
                  <a:lnTo>
                    <a:pt x="592798" y="322250"/>
                  </a:lnTo>
                  <a:lnTo>
                    <a:pt x="615353" y="324250"/>
                  </a:lnTo>
                  <a:lnTo>
                    <a:pt x="637137" y="323364"/>
                  </a:lnTo>
                  <a:lnTo>
                    <a:pt x="639013" y="305029"/>
                  </a:lnTo>
                  <a:lnTo>
                    <a:pt x="628136" y="295456"/>
                  </a:lnTo>
                  <a:lnTo>
                    <a:pt x="649681" y="291703"/>
                  </a:lnTo>
                  <a:lnTo>
                    <a:pt x="673989" y="269262"/>
                  </a:lnTo>
                  <a:lnTo>
                    <a:pt x="704774" y="249927"/>
                  </a:lnTo>
                  <a:lnTo>
                    <a:pt x="727177" y="257404"/>
                  </a:lnTo>
                  <a:lnTo>
                    <a:pt x="746217" y="244583"/>
                  </a:lnTo>
                  <a:lnTo>
                    <a:pt x="758733" y="263490"/>
                  </a:lnTo>
                  <a:lnTo>
                    <a:pt x="749713" y="276206"/>
                  </a:lnTo>
                  <a:lnTo>
                    <a:pt x="778516" y="280711"/>
                  </a:lnTo>
                  <a:lnTo>
                    <a:pt x="780526" y="292132"/>
                  </a:lnTo>
                  <a:lnTo>
                    <a:pt x="771163" y="297637"/>
                  </a:lnTo>
                  <a:lnTo>
                    <a:pt x="773364" y="316049"/>
                  </a:lnTo>
                  <a:lnTo>
                    <a:pt x="754276" y="310648"/>
                  </a:lnTo>
                  <a:lnTo>
                    <a:pt x="719700" y="331241"/>
                  </a:lnTo>
                  <a:lnTo>
                    <a:pt x="720510" y="348186"/>
                  </a:lnTo>
                  <a:lnTo>
                    <a:pt x="705774" y="372894"/>
                  </a:lnTo>
                  <a:lnTo>
                    <a:pt x="704412" y="387163"/>
                  </a:lnTo>
                  <a:lnTo>
                    <a:pt x="692506" y="411185"/>
                  </a:lnTo>
                  <a:lnTo>
                    <a:pt x="671636" y="404555"/>
                  </a:lnTo>
                  <a:lnTo>
                    <a:pt x="670599" y="434540"/>
                  </a:lnTo>
                  <a:lnTo>
                    <a:pt x="664569" y="444360"/>
                  </a:lnTo>
                  <a:lnTo>
                    <a:pt x="667388" y="456562"/>
                  </a:lnTo>
                  <a:lnTo>
                    <a:pt x="654215" y="463363"/>
                  </a:lnTo>
                  <a:lnTo>
                    <a:pt x="640147" y="417652"/>
                  </a:lnTo>
                  <a:lnTo>
                    <a:pt x="632775" y="417747"/>
                  </a:lnTo>
                  <a:lnTo>
                    <a:pt x="628412" y="436226"/>
                  </a:lnTo>
                  <a:lnTo>
                    <a:pt x="613791" y="421253"/>
                  </a:lnTo>
                  <a:lnTo>
                    <a:pt x="622031" y="404736"/>
                  </a:lnTo>
                  <a:lnTo>
                    <a:pt x="633984" y="403050"/>
                  </a:lnTo>
                  <a:lnTo>
                    <a:pt x="646291" y="378343"/>
                  </a:lnTo>
                  <a:lnTo>
                    <a:pt x="630898" y="373332"/>
                  </a:lnTo>
                  <a:lnTo>
                    <a:pt x="606123" y="373771"/>
                  </a:lnTo>
                  <a:lnTo>
                    <a:pt x="580711" y="369741"/>
                  </a:lnTo>
                  <a:lnTo>
                    <a:pt x="578358" y="349263"/>
                  </a:lnTo>
                  <a:lnTo>
                    <a:pt x="565604" y="347806"/>
                  </a:lnTo>
                  <a:lnTo>
                    <a:pt x="544449" y="335013"/>
                  </a:lnTo>
                  <a:lnTo>
                    <a:pt x="535020" y="355082"/>
                  </a:lnTo>
                  <a:lnTo>
                    <a:pt x="554298" y="370656"/>
                  </a:lnTo>
                  <a:lnTo>
                    <a:pt x="537601" y="381581"/>
                  </a:lnTo>
                  <a:lnTo>
                    <a:pt x="531676" y="392239"/>
                  </a:lnTo>
                  <a:lnTo>
                    <a:pt x="548107" y="400040"/>
                  </a:lnTo>
                  <a:lnTo>
                    <a:pt x="543573" y="417557"/>
                  </a:lnTo>
                  <a:lnTo>
                    <a:pt x="552822" y="439284"/>
                  </a:lnTo>
                  <a:lnTo>
                    <a:pt x="556984" y="462953"/>
                  </a:lnTo>
                  <a:lnTo>
                    <a:pt x="553155" y="473393"/>
                  </a:lnTo>
                  <a:lnTo>
                    <a:pt x="534981" y="473040"/>
                  </a:lnTo>
                  <a:lnTo>
                    <a:pt x="502063" y="478965"/>
                  </a:lnTo>
                  <a:lnTo>
                    <a:pt x="503597" y="500377"/>
                  </a:lnTo>
                  <a:lnTo>
                    <a:pt x="489338" y="517141"/>
                  </a:lnTo>
                  <a:lnTo>
                    <a:pt x="450904" y="536134"/>
                  </a:lnTo>
                  <a:lnTo>
                    <a:pt x="421015" y="569147"/>
                  </a:lnTo>
                  <a:lnTo>
                    <a:pt x="400936" y="586750"/>
                  </a:lnTo>
                  <a:lnTo>
                    <a:pt x="374323" y="604961"/>
                  </a:lnTo>
                  <a:lnTo>
                    <a:pt x="374285" y="617706"/>
                  </a:lnTo>
                  <a:lnTo>
                    <a:pt x="360979" y="624526"/>
                  </a:lnTo>
                  <a:lnTo>
                    <a:pt x="336918" y="634422"/>
                  </a:lnTo>
                  <a:lnTo>
                    <a:pt x="324441" y="635889"/>
                  </a:lnTo>
                  <a:lnTo>
                    <a:pt x="316440" y="656892"/>
                  </a:lnTo>
                  <a:lnTo>
                    <a:pt x="321993" y="692544"/>
                  </a:lnTo>
                  <a:lnTo>
                    <a:pt x="323412" y="715175"/>
                  </a:lnTo>
                  <a:lnTo>
                    <a:pt x="312097" y="741007"/>
                  </a:lnTo>
                  <a:lnTo>
                    <a:pt x="311973" y="786965"/>
                  </a:lnTo>
                  <a:lnTo>
                    <a:pt x="298152" y="788270"/>
                  </a:lnTo>
                  <a:lnTo>
                    <a:pt x="285998" y="808815"/>
                  </a:lnTo>
                  <a:lnTo>
                    <a:pt x="294123" y="817683"/>
                  </a:lnTo>
                  <a:lnTo>
                    <a:pt x="269767" y="825294"/>
                  </a:lnTo>
                  <a:lnTo>
                    <a:pt x="260776" y="843544"/>
                  </a:lnTo>
                  <a:lnTo>
                    <a:pt x="250060" y="851249"/>
                  </a:lnTo>
                  <a:lnTo>
                    <a:pt x="224780" y="826208"/>
                  </a:lnTo>
                  <a:lnTo>
                    <a:pt x="212417" y="788518"/>
                  </a:lnTo>
                  <a:lnTo>
                    <a:pt x="202168" y="761276"/>
                  </a:lnTo>
                  <a:lnTo>
                    <a:pt x="192805" y="748456"/>
                  </a:lnTo>
                  <a:lnTo>
                    <a:pt x="178623" y="722376"/>
                  </a:lnTo>
                  <a:lnTo>
                    <a:pt x="171993" y="688257"/>
                  </a:lnTo>
                  <a:lnTo>
                    <a:pt x="167374" y="671151"/>
                  </a:lnTo>
                  <a:lnTo>
                    <a:pt x="143085" y="633356"/>
                  </a:lnTo>
                  <a:lnTo>
                    <a:pt x="132026" y="579577"/>
                  </a:lnTo>
                  <a:lnTo>
                    <a:pt x="124035" y="543744"/>
                  </a:lnTo>
                  <a:lnTo>
                    <a:pt x="124130" y="509559"/>
                  </a:lnTo>
                  <a:lnTo>
                    <a:pt x="118949" y="482946"/>
                  </a:lnTo>
                  <a:lnTo>
                    <a:pt x="80086" y="499977"/>
                  </a:lnTo>
                  <a:lnTo>
                    <a:pt x="61265" y="496576"/>
                  </a:lnTo>
                  <a:lnTo>
                    <a:pt x="26375" y="461991"/>
                  </a:lnTo>
                  <a:lnTo>
                    <a:pt x="39214" y="451618"/>
                  </a:lnTo>
                  <a:lnTo>
                    <a:pt x="31328" y="440322"/>
                  </a:lnTo>
                  <a:lnTo>
                    <a:pt x="0" y="415795"/>
                  </a:lnTo>
                  <a:lnTo>
                    <a:pt x="17783" y="396392"/>
                  </a:lnTo>
                  <a:lnTo>
                    <a:pt x="76553" y="396469"/>
                  </a:lnTo>
                  <a:lnTo>
                    <a:pt x="71257" y="371351"/>
                  </a:lnTo>
                  <a:lnTo>
                    <a:pt x="56245" y="356435"/>
                  </a:lnTo>
                  <a:lnTo>
                    <a:pt x="53207" y="333661"/>
                  </a:lnTo>
                  <a:lnTo>
                    <a:pt x="35729" y="320307"/>
                  </a:lnTo>
                  <a:lnTo>
                    <a:pt x="65161" y="288922"/>
                  </a:lnTo>
                  <a:lnTo>
                    <a:pt x="96174" y="291208"/>
                  </a:lnTo>
                  <a:lnTo>
                    <a:pt x="124111" y="259528"/>
                  </a:lnTo>
                  <a:lnTo>
                    <a:pt x="140847" y="228562"/>
                  </a:lnTo>
                  <a:lnTo>
                    <a:pt x="166783" y="197615"/>
                  </a:lnTo>
                  <a:lnTo>
                    <a:pt x="166364" y="175441"/>
                  </a:lnTo>
                  <a:lnTo>
                    <a:pt x="189148" y="157315"/>
                  </a:lnTo>
                  <a:lnTo>
                    <a:pt x="167583" y="141751"/>
                  </a:lnTo>
                  <a:lnTo>
                    <a:pt x="143742" y="131293"/>
                  </a:lnTo>
                  <a:lnTo>
                    <a:pt x="138770" y="85849"/>
                  </a:lnTo>
                  <a:lnTo>
                    <a:pt x="144532" y="85649"/>
                  </a:lnTo>
                  <a:lnTo>
                    <a:pt x="145523" y="79296"/>
                  </a:lnTo>
                  <a:lnTo>
                    <a:pt x="152467" y="77114"/>
                  </a:lnTo>
                  <a:lnTo>
                    <a:pt x="156439" y="68980"/>
                  </a:lnTo>
                  <a:lnTo>
                    <a:pt x="145523" y="62627"/>
                  </a:lnTo>
                  <a:lnTo>
                    <a:pt x="131036" y="50530"/>
                  </a:lnTo>
                  <a:lnTo>
                    <a:pt x="125282" y="44377"/>
                  </a:lnTo>
                  <a:lnTo>
                    <a:pt x="118529" y="46158"/>
                  </a:lnTo>
                  <a:lnTo>
                    <a:pt x="114567" y="43186"/>
                  </a:lnTo>
                  <a:lnTo>
                    <a:pt x="115167" y="33461"/>
                  </a:lnTo>
                  <a:lnTo>
                    <a:pt x="126683" y="13735"/>
                  </a:lnTo>
                  <a:lnTo>
                    <a:pt x="157334" y="9878"/>
                  </a:lnTo>
                  <a:lnTo>
                    <a:pt x="170908" y="3734"/>
                  </a:lnTo>
                  <a:lnTo>
                    <a:pt x="186452" y="0"/>
                  </a:lnTo>
                  <a:lnTo>
                    <a:pt x="206188" y="15497"/>
                  </a:lnTo>
                  <a:lnTo>
                    <a:pt x="210417" y="29099"/>
                  </a:lnTo>
                  <a:lnTo>
                    <a:pt x="224304" y="34852"/>
                  </a:lnTo>
                  <a:lnTo>
                    <a:pt x="227476" y="44177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orme libre : forme 5726">
              <a:extLst>
                <a:ext uri="{FF2B5EF4-FFF2-40B4-BE49-F238E27FC236}">
                  <a16:creationId xmlns:a16="http://schemas.microsoft.com/office/drawing/2014/main" id="{68A5EB06-C597-7362-58A0-3552B2B3D0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856913" y="3670977"/>
              <a:ext cx="261070" cy="263785"/>
            </a:xfrm>
            <a:custGeom>
              <a:avLst/>
              <a:gdLst>
                <a:gd name="connsiteX0" fmla="*/ 177012 w 261070"/>
                <a:gd name="connsiteY0" fmla="*/ 46673 h 263785"/>
                <a:gd name="connsiteX1" fmla="*/ 194529 w 261070"/>
                <a:gd name="connsiteY1" fmla="*/ 56522 h 263785"/>
                <a:gd name="connsiteX2" fmla="*/ 196548 w 261070"/>
                <a:gd name="connsiteY2" fmla="*/ 75572 h 263785"/>
                <a:gd name="connsiteX3" fmla="*/ 183109 w 261070"/>
                <a:gd name="connsiteY3" fmla="*/ 86763 h 263785"/>
                <a:gd name="connsiteX4" fmla="*/ 176917 w 261070"/>
                <a:gd name="connsiteY4" fmla="*/ 111890 h 263785"/>
                <a:gd name="connsiteX5" fmla="*/ 195415 w 261070"/>
                <a:gd name="connsiteY5" fmla="*/ 142189 h 263785"/>
                <a:gd name="connsiteX6" fmla="*/ 228133 w 261070"/>
                <a:gd name="connsiteY6" fmla="*/ 159515 h 263785"/>
                <a:gd name="connsiteX7" fmla="*/ 241878 w 261070"/>
                <a:gd name="connsiteY7" fmla="*/ 183356 h 263785"/>
                <a:gd name="connsiteX8" fmla="*/ 237506 w 261070"/>
                <a:gd name="connsiteY8" fmla="*/ 205893 h 263785"/>
                <a:gd name="connsiteX9" fmla="*/ 246031 w 261070"/>
                <a:gd name="connsiteY9" fmla="*/ 205883 h 263785"/>
                <a:gd name="connsiteX10" fmla="*/ 246298 w 261070"/>
                <a:gd name="connsiteY10" fmla="*/ 222352 h 263785"/>
                <a:gd name="connsiteX11" fmla="*/ 261071 w 261070"/>
                <a:gd name="connsiteY11" fmla="*/ 238516 h 263785"/>
                <a:gd name="connsiteX12" fmla="*/ 245231 w 261070"/>
                <a:gd name="connsiteY12" fmla="*/ 237011 h 263785"/>
                <a:gd name="connsiteX13" fmla="*/ 227276 w 261070"/>
                <a:gd name="connsiteY13" fmla="*/ 234448 h 263785"/>
                <a:gd name="connsiteX14" fmla="*/ 207683 w 261070"/>
                <a:gd name="connsiteY14" fmla="*/ 263785 h 263785"/>
                <a:gd name="connsiteX15" fmla="*/ 158029 w 261070"/>
                <a:gd name="connsiteY15" fmla="*/ 261357 h 263785"/>
                <a:gd name="connsiteX16" fmla="*/ 82725 w 261070"/>
                <a:gd name="connsiteY16" fmla="*/ 199530 h 263785"/>
                <a:gd name="connsiteX17" fmla="*/ 42929 w 261070"/>
                <a:gd name="connsiteY17" fmla="*/ 177698 h 263785"/>
                <a:gd name="connsiteX18" fmla="*/ 10763 w 261070"/>
                <a:gd name="connsiteY18" fmla="*/ 169202 h 263785"/>
                <a:gd name="connsiteX19" fmla="*/ 0 w 261070"/>
                <a:gd name="connsiteY19" fmla="*/ 130712 h 263785"/>
                <a:gd name="connsiteX20" fmla="*/ 59122 w 261070"/>
                <a:gd name="connsiteY20" fmla="*/ 97384 h 263785"/>
                <a:gd name="connsiteX21" fmla="*/ 69218 w 261070"/>
                <a:gd name="connsiteY21" fmla="*/ 58131 h 263785"/>
                <a:gd name="connsiteX22" fmla="*/ 66694 w 261070"/>
                <a:gd name="connsiteY22" fmla="*/ 34119 h 263785"/>
                <a:gd name="connsiteX23" fmla="*/ 81315 w 261070"/>
                <a:gd name="connsiteY23" fmla="*/ 25956 h 263785"/>
                <a:gd name="connsiteX24" fmla="*/ 95002 w 261070"/>
                <a:gd name="connsiteY24" fmla="*/ 5191 h 263785"/>
                <a:gd name="connsiteX25" fmla="*/ 106470 w 261070"/>
                <a:gd name="connsiteY25" fmla="*/ 0 h 263785"/>
                <a:gd name="connsiteX26" fmla="*/ 137532 w 261070"/>
                <a:gd name="connsiteY26" fmla="*/ 4315 h 263785"/>
                <a:gd name="connsiteX27" fmla="*/ 146914 w 261070"/>
                <a:gd name="connsiteY27" fmla="*/ 12811 h 263785"/>
                <a:gd name="connsiteX28" fmla="*/ 159715 w 261070"/>
                <a:gd name="connsiteY28" fmla="*/ 7182 h 263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61070" h="263785">
                  <a:moveTo>
                    <a:pt x="177012" y="46673"/>
                  </a:moveTo>
                  <a:lnTo>
                    <a:pt x="194529" y="56522"/>
                  </a:lnTo>
                  <a:lnTo>
                    <a:pt x="196548" y="75572"/>
                  </a:lnTo>
                  <a:lnTo>
                    <a:pt x="183109" y="86763"/>
                  </a:lnTo>
                  <a:lnTo>
                    <a:pt x="176917" y="111890"/>
                  </a:lnTo>
                  <a:lnTo>
                    <a:pt x="195415" y="142189"/>
                  </a:lnTo>
                  <a:lnTo>
                    <a:pt x="228133" y="159515"/>
                  </a:lnTo>
                  <a:lnTo>
                    <a:pt x="241878" y="183356"/>
                  </a:lnTo>
                  <a:lnTo>
                    <a:pt x="237506" y="205893"/>
                  </a:lnTo>
                  <a:lnTo>
                    <a:pt x="246031" y="205883"/>
                  </a:lnTo>
                  <a:lnTo>
                    <a:pt x="246298" y="222352"/>
                  </a:lnTo>
                  <a:lnTo>
                    <a:pt x="261071" y="238516"/>
                  </a:lnTo>
                  <a:lnTo>
                    <a:pt x="245231" y="237011"/>
                  </a:lnTo>
                  <a:lnTo>
                    <a:pt x="227276" y="234448"/>
                  </a:lnTo>
                  <a:lnTo>
                    <a:pt x="207683" y="263785"/>
                  </a:lnTo>
                  <a:lnTo>
                    <a:pt x="158029" y="261357"/>
                  </a:lnTo>
                  <a:lnTo>
                    <a:pt x="82725" y="199530"/>
                  </a:lnTo>
                  <a:lnTo>
                    <a:pt x="42929" y="177698"/>
                  </a:lnTo>
                  <a:lnTo>
                    <a:pt x="10763" y="169202"/>
                  </a:lnTo>
                  <a:lnTo>
                    <a:pt x="0" y="130712"/>
                  </a:lnTo>
                  <a:lnTo>
                    <a:pt x="59122" y="97384"/>
                  </a:lnTo>
                  <a:lnTo>
                    <a:pt x="69218" y="58131"/>
                  </a:lnTo>
                  <a:lnTo>
                    <a:pt x="66694" y="34119"/>
                  </a:lnTo>
                  <a:lnTo>
                    <a:pt x="81315" y="25956"/>
                  </a:lnTo>
                  <a:lnTo>
                    <a:pt x="95002" y="5191"/>
                  </a:lnTo>
                  <a:lnTo>
                    <a:pt x="106470" y="0"/>
                  </a:lnTo>
                  <a:lnTo>
                    <a:pt x="137532" y="4315"/>
                  </a:lnTo>
                  <a:lnTo>
                    <a:pt x="146914" y="12811"/>
                  </a:lnTo>
                  <a:lnTo>
                    <a:pt x="159715" y="71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orme libre : forme 5727">
              <a:extLst>
                <a:ext uri="{FF2B5EF4-FFF2-40B4-BE49-F238E27FC236}">
                  <a16:creationId xmlns:a16="http://schemas.microsoft.com/office/drawing/2014/main" id="{CD2112D3-399D-CE62-B53F-DDE5A4E29E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998912" y="3591805"/>
              <a:ext cx="512959" cy="462972"/>
            </a:xfrm>
            <a:custGeom>
              <a:avLst/>
              <a:gdLst>
                <a:gd name="connsiteX0" fmla="*/ 262051 w 512959"/>
                <a:gd name="connsiteY0" fmla="*/ 85401 h 462972"/>
                <a:gd name="connsiteX1" fmla="*/ 285522 w 512959"/>
                <a:gd name="connsiteY1" fmla="*/ 78934 h 462972"/>
                <a:gd name="connsiteX2" fmla="*/ 304514 w 512959"/>
                <a:gd name="connsiteY2" fmla="*/ 59722 h 462972"/>
                <a:gd name="connsiteX3" fmla="*/ 322373 w 512959"/>
                <a:gd name="connsiteY3" fmla="*/ 60703 h 462972"/>
                <a:gd name="connsiteX4" fmla="*/ 334099 w 512959"/>
                <a:gd name="connsiteY4" fmla="*/ 54407 h 462972"/>
                <a:gd name="connsiteX5" fmla="*/ 353092 w 512959"/>
                <a:gd name="connsiteY5" fmla="*/ 57521 h 462972"/>
                <a:gd name="connsiteX6" fmla="*/ 382628 w 512959"/>
                <a:gd name="connsiteY6" fmla="*/ 74581 h 462972"/>
                <a:gd name="connsiteX7" fmla="*/ 403955 w 512959"/>
                <a:gd name="connsiteY7" fmla="*/ 78238 h 462972"/>
                <a:gd name="connsiteX8" fmla="*/ 434473 w 512959"/>
                <a:gd name="connsiteY8" fmla="*/ 107718 h 462972"/>
                <a:gd name="connsiteX9" fmla="*/ 454380 w 512959"/>
                <a:gd name="connsiteY9" fmla="*/ 108909 h 462972"/>
                <a:gd name="connsiteX10" fmla="*/ 456724 w 512959"/>
                <a:gd name="connsiteY10" fmla="*/ 136588 h 462972"/>
                <a:gd name="connsiteX11" fmla="*/ 445837 w 512959"/>
                <a:gd name="connsiteY11" fmla="*/ 177041 h 462972"/>
                <a:gd name="connsiteX12" fmla="*/ 438502 w 512959"/>
                <a:gd name="connsiteY12" fmla="*/ 200387 h 462972"/>
                <a:gd name="connsiteX13" fmla="*/ 450132 w 512959"/>
                <a:gd name="connsiteY13" fmla="*/ 205102 h 462972"/>
                <a:gd name="connsiteX14" fmla="*/ 438702 w 512959"/>
                <a:gd name="connsiteY14" fmla="*/ 222504 h 462972"/>
                <a:gd name="connsiteX15" fmla="*/ 447447 w 512959"/>
                <a:gd name="connsiteY15" fmla="*/ 247688 h 462972"/>
                <a:gd name="connsiteX16" fmla="*/ 449542 w 512959"/>
                <a:gd name="connsiteY16" fmla="*/ 267548 h 462972"/>
                <a:gd name="connsiteX17" fmla="*/ 469773 w 512959"/>
                <a:gd name="connsiteY17" fmla="*/ 272805 h 462972"/>
                <a:gd name="connsiteX18" fmla="*/ 471964 w 512959"/>
                <a:gd name="connsiteY18" fmla="*/ 292770 h 462972"/>
                <a:gd name="connsiteX19" fmla="*/ 447741 w 512959"/>
                <a:gd name="connsiteY19" fmla="*/ 320678 h 462972"/>
                <a:gd name="connsiteX20" fmla="*/ 460953 w 512959"/>
                <a:gd name="connsiteY20" fmla="*/ 336737 h 462972"/>
                <a:gd name="connsiteX21" fmla="*/ 471707 w 512959"/>
                <a:gd name="connsiteY21" fmla="*/ 355082 h 462972"/>
                <a:gd name="connsiteX22" fmla="*/ 497243 w 512959"/>
                <a:gd name="connsiteY22" fmla="*/ 368379 h 462972"/>
                <a:gd name="connsiteX23" fmla="*/ 497977 w 512959"/>
                <a:gd name="connsiteY23" fmla="*/ 394830 h 462972"/>
                <a:gd name="connsiteX24" fmla="*/ 510759 w 512959"/>
                <a:gd name="connsiteY24" fmla="*/ 399669 h 462972"/>
                <a:gd name="connsiteX25" fmla="*/ 512959 w 512959"/>
                <a:gd name="connsiteY25" fmla="*/ 413404 h 462972"/>
                <a:gd name="connsiteX26" fmla="*/ 474440 w 512959"/>
                <a:gd name="connsiteY26" fmla="*/ 428730 h 462972"/>
                <a:gd name="connsiteX27" fmla="*/ 464382 w 512959"/>
                <a:gd name="connsiteY27" fmla="*/ 462972 h 462972"/>
                <a:gd name="connsiteX28" fmla="*/ 414138 w 512959"/>
                <a:gd name="connsiteY28" fmla="*/ 454104 h 462972"/>
                <a:gd name="connsiteX29" fmla="*/ 385020 w 512959"/>
                <a:gd name="connsiteY29" fmla="*/ 447342 h 462972"/>
                <a:gd name="connsiteX30" fmla="*/ 354882 w 512959"/>
                <a:gd name="connsiteY30" fmla="*/ 443512 h 462972"/>
                <a:gd name="connsiteX31" fmla="*/ 343481 w 512959"/>
                <a:gd name="connsiteY31" fmla="*/ 407165 h 462972"/>
                <a:gd name="connsiteX32" fmla="*/ 330698 w 512959"/>
                <a:gd name="connsiteY32" fmla="*/ 401869 h 462972"/>
                <a:gd name="connsiteX33" fmla="*/ 310182 w 512959"/>
                <a:gd name="connsiteY33" fmla="*/ 407203 h 462972"/>
                <a:gd name="connsiteX34" fmla="*/ 283245 w 512959"/>
                <a:gd name="connsiteY34" fmla="*/ 421596 h 462972"/>
                <a:gd name="connsiteX35" fmla="*/ 250603 w 512959"/>
                <a:gd name="connsiteY35" fmla="*/ 411737 h 462972"/>
                <a:gd name="connsiteX36" fmla="*/ 223647 w 512959"/>
                <a:gd name="connsiteY36" fmla="*/ 388782 h 462972"/>
                <a:gd name="connsiteX37" fmla="*/ 197939 w 512959"/>
                <a:gd name="connsiteY37" fmla="*/ 380238 h 462972"/>
                <a:gd name="connsiteX38" fmla="*/ 180098 w 512959"/>
                <a:gd name="connsiteY38" fmla="*/ 351596 h 462972"/>
                <a:gd name="connsiteX39" fmla="*/ 160391 w 512959"/>
                <a:gd name="connsiteY39" fmla="*/ 310896 h 462972"/>
                <a:gd name="connsiteX40" fmla="*/ 146018 w 512959"/>
                <a:gd name="connsiteY40" fmla="*/ 315878 h 462972"/>
                <a:gd name="connsiteX41" fmla="*/ 129044 w 512959"/>
                <a:gd name="connsiteY41" fmla="*/ 305695 h 462972"/>
                <a:gd name="connsiteX42" fmla="*/ 119072 w 512959"/>
                <a:gd name="connsiteY42" fmla="*/ 317687 h 462972"/>
                <a:gd name="connsiteX43" fmla="*/ 104299 w 512959"/>
                <a:gd name="connsiteY43" fmla="*/ 301523 h 462972"/>
                <a:gd name="connsiteX44" fmla="*/ 104032 w 512959"/>
                <a:gd name="connsiteY44" fmla="*/ 285055 h 462972"/>
                <a:gd name="connsiteX45" fmla="*/ 95507 w 512959"/>
                <a:gd name="connsiteY45" fmla="*/ 285064 h 462972"/>
                <a:gd name="connsiteX46" fmla="*/ 99879 w 512959"/>
                <a:gd name="connsiteY46" fmla="*/ 262528 h 462972"/>
                <a:gd name="connsiteX47" fmla="*/ 86134 w 512959"/>
                <a:gd name="connsiteY47" fmla="*/ 238687 h 462972"/>
                <a:gd name="connsiteX48" fmla="*/ 53416 w 512959"/>
                <a:gd name="connsiteY48" fmla="*/ 221361 h 462972"/>
                <a:gd name="connsiteX49" fmla="*/ 34918 w 512959"/>
                <a:gd name="connsiteY49" fmla="*/ 191062 h 462972"/>
                <a:gd name="connsiteX50" fmla="*/ 41110 w 512959"/>
                <a:gd name="connsiteY50" fmla="*/ 165935 h 462972"/>
                <a:gd name="connsiteX51" fmla="*/ 54550 w 512959"/>
                <a:gd name="connsiteY51" fmla="*/ 154743 h 462972"/>
                <a:gd name="connsiteX52" fmla="*/ 52530 w 512959"/>
                <a:gd name="connsiteY52" fmla="*/ 135693 h 462972"/>
                <a:gd name="connsiteX53" fmla="*/ 35014 w 512959"/>
                <a:gd name="connsiteY53" fmla="*/ 125844 h 462972"/>
                <a:gd name="connsiteX54" fmla="*/ 17716 w 512959"/>
                <a:gd name="connsiteY54" fmla="*/ 86344 h 462972"/>
                <a:gd name="connsiteX55" fmla="*/ 3105 w 512959"/>
                <a:gd name="connsiteY55" fmla="*/ 59474 h 462972"/>
                <a:gd name="connsiteX56" fmla="*/ 8334 w 512959"/>
                <a:gd name="connsiteY56" fmla="*/ 48996 h 462972"/>
                <a:gd name="connsiteX57" fmla="*/ 0 w 512959"/>
                <a:gd name="connsiteY57" fmla="*/ 9830 h 462972"/>
                <a:gd name="connsiteX58" fmla="*/ 18288 w 512959"/>
                <a:gd name="connsiteY58" fmla="*/ 0 h 462972"/>
                <a:gd name="connsiteX59" fmla="*/ 22517 w 512959"/>
                <a:gd name="connsiteY59" fmla="*/ 13002 h 462972"/>
                <a:gd name="connsiteX60" fmla="*/ 36014 w 512959"/>
                <a:gd name="connsiteY60" fmla="*/ 28823 h 462972"/>
                <a:gd name="connsiteX61" fmla="*/ 54330 w 512959"/>
                <a:gd name="connsiteY61" fmla="*/ 33366 h 462972"/>
                <a:gd name="connsiteX62" fmla="*/ 63998 w 512959"/>
                <a:gd name="connsiteY62" fmla="*/ 32356 h 462972"/>
                <a:gd name="connsiteX63" fmla="*/ 95498 w 512959"/>
                <a:gd name="connsiteY63" fmla="*/ 7058 h 462972"/>
                <a:gd name="connsiteX64" fmla="*/ 105508 w 512959"/>
                <a:gd name="connsiteY64" fmla="*/ 4515 h 462972"/>
                <a:gd name="connsiteX65" fmla="*/ 113405 w 512959"/>
                <a:gd name="connsiteY65" fmla="*/ 14621 h 462972"/>
                <a:gd name="connsiteX66" fmla="*/ 104194 w 512959"/>
                <a:gd name="connsiteY66" fmla="*/ 31566 h 462972"/>
                <a:gd name="connsiteX67" fmla="*/ 120853 w 512959"/>
                <a:gd name="connsiteY67" fmla="*/ 49368 h 462972"/>
                <a:gd name="connsiteX68" fmla="*/ 127492 w 512959"/>
                <a:gd name="connsiteY68" fmla="*/ 47673 h 462972"/>
                <a:gd name="connsiteX69" fmla="*/ 135941 w 512959"/>
                <a:gd name="connsiteY69" fmla="*/ 72552 h 462972"/>
                <a:gd name="connsiteX70" fmla="*/ 161267 w 512959"/>
                <a:gd name="connsiteY70" fmla="*/ 79534 h 462972"/>
                <a:gd name="connsiteX71" fmla="*/ 179822 w 512959"/>
                <a:gd name="connsiteY71" fmla="*/ 96260 h 462972"/>
                <a:gd name="connsiteX72" fmla="*/ 217789 w 512959"/>
                <a:gd name="connsiteY72" fmla="*/ 101994 h 462972"/>
                <a:gd name="connsiteX73" fmla="*/ 259499 w 512959"/>
                <a:gd name="connsiteY73" fmla="*/ 93193 h 462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512959" h="462972">
                  <a:moveTo>
                    <a:pt x="262051" y="85401"/>
                  </a:moveTo>
                  <a:lnTo>
                    <a:pt x="285522" y="78934"/>
                  </a:lnTo>
                  <a:lnTo>
                    <a:pt x="304514" y="59722"/>
                  </a:lnTo>
                  <a:lnTo>
                    <a:pt x="322373" y="60703"/>
                  </a:lnTo>
                  <a:lnTo>
                    <a:pt x="334099" y="54407"/>
                  </a:lnTo>
                  <a:lnTo>
                    <a:pt x="353092" y="57521"/>
                  </a:lnTo>
                  <a:lnTo>
                    <a:pt x="382628" y="74581"/>
                  </a:lnTo>
                  <a:lnTo>
                    <a:pt x="403955" y="78238"/>
                  </a:lnTo>
                  <a:lnTo>
                    <a:pt x="434473" y="107718"/>
                  </a:lnTo>
                  <a:lnTo>
                    <a:pt x="454380" y="108909"/>
                  </a:lnTo>
                  <a:lnTo>
                    <a:pt x="456724" y="136588"/>
                  </a:lnTo>
                  <a:lnTo>
                    <a:pt x="445837" y="177041"/>
                  </a:lnTo>
                  <a:lnTo>
                    <a:pt x="438502" y="200387"/>
                  </a:lnTo>
                  <a:lnTo>
                    <a:pt x="450132" y="205102"/>
                  </a:lnTo>
                  <a:lnTo>
                    <a:pt x="438702" y="222504"/>
                  </a:lnTo>
                  <a:lnTo>
                    <a:pt x="447447" y="247688"/>
                  </a:lnTo>
                  <a:lnTo>
                    <a:pt x="449542" y="267548"/>
                  </a:lnTo>
                  <a:lnTo>
                    <a:pt x="469773" y="272805"/>
                  </a:lnTo>
                  <a:lnTo>
                    <a:pt x="471964" y="292770"/>
                  </a:lnTo>
                  <a:lnTo>
                    <a:pt x="447741" y="320678"/>
                  </a:lnTo>
                  <a:lnTo>
                    <a:pt x="460953" y="336737"/>
                  </a:lnTo>
                  <a:lnTo>
                    <a:pt x="471707" y="355082"/>
                  </a:lnTo>
                  <a:lnTo>
                    <a:pt x="497243" y="368379"/>
                  </a:lnTo>
                  <a:lnTo>
                    <a:pt x="497977" y="394830"/>
                  </a:lnTo>
                  <a:lnTo>
                    <a:pt x="510759" y="399669"/>
                  </a:lnTo>
                  <a:lnTo>
                    <a:pt x="512959" y="413404"/>
                  </a:lnTo>
                  <a:lnTo>
                    <a:pt x="474440" y="428730"/>
                  </a:lnTo>
                  <a:lnTo>
                    <a:pt x="464382" y="462972"/>
                  </a:lnTo>
                  <a:lnTo>
                    <a:pt x="414138" y="454104"/>
                  </a:lnTo>
                  <a:lnTo>
                    <a:pt x="385020" y="447342"/>
                  </a:lnTo>
                  <a:lnTo>
                    <a:pt x="354882" y="443512"/>
                  </a:lnTo>
                  <a:lnTo>
                    <a:pt x="343481" y="407165"/>
                  </a:lnTo>
                  <a:lnTo>
                    <a:pt x="330698" y="401869"/>
                  </a:lnTo>
                  <a:lnTo>
                    <a:pt x="310182" y="407203"/>
                  </a:lnTo>
                  <a:lnTo>
                    <a:pt x="283245" y="421596"/>
                  </a:lnTo>
                  <a:lnTo>
                    <a:pt x="250603" y="411737"/>
                  </a:lnTo>
                  <a:lnTo>
                    <a:pt x="223647" y="388782"/>
                  </a:lnTo>
                  <a:lnTo>
                    <a:pt x="197939" y="380238"/>
                  </a:lnTo>
                  <a:lnTo>
                    <a:pt x="180098" y="351596"/>
                  </a:lnTo>
                  <a:lnTo>
                    <a:pt x="160391" y="310896"/>
                  </a:lnTo>
                  <a:lnTo>
                    <a:pt x="146018" y="315878"/>
                  </a:lnTo>
                  <a:lnTo>
                    <a:pt x="129044" y="305695"/>
                  </a:lnTo>
                  <a:lnTo>
                    <a:pt x="119072" y="317687"/>
                  </a:lnTo>
                  <a:lnTo>
                    <a:pt x="104299" y="301523"/>
                  </a:lnTo>
                  <a:lnTo>
                    <a:pt x="104032" y="285055"/>
                  </a:lnTo>
                  <a:lnTo>
                    <a:pt x="95507" y="285064"/>
                  </a:lnTo>
                  <a:lnTo>
                    <a:pt x="99879" y="262528"/>
                  </a:lnTo>
                  <a:lnTo>
                    <a:pt x="86134" y="238687"/>
                  </a:lnTo>
                  <a:lnTo>
                    <a:pt x="53416" y="221361"/>
                  </a:lnTo>
                  <a:lnTo>
                    <a:pt x="34918" y="191062"/>
                  </a:lnTo>
                  <a:lnTo>
                    <a:pt x="41110" y="165935"/>
                  </a:lnTo>
                  <a:lnTo>
                    <a:pt x="54550" y="154743"/>
                  </a:lnTo>
                  <a:lnTo>
                    <a:pt x="52530" y="135693"/>
                  </a:lnTo>
                  <a:lnTo>
                    <a:pt x="35014" y="125844"/>
                  </a:lnTo>
                  <a:lnTo>
                    <a:pt x="17716" y="86344"/>
                  </a:lnTo>
                  <a:lnTo>
                    <a:pt x="3105" y="59474"/>
                  </a:lnTo>
                  <a:lnTo>
                    <a:pt x="8334" y="48996"/>
                  </a:lnTo>
                  <a:lnTo>
                    <a:pt x="0" y="9830"/>
                  </a:lnTo>
                  <a:lnTo>
                    <a:pt x="18288" y="0"/>
                  </a:lnTo>
                  <a:lnTo>
                    <a:pt x="22517" y="13002"/>
                  </a:lnTo>
                  <a:lnTo>
                    <a:pt x="36014" y="28823"/>
                  </a:lnTo>
                  <a:lnTo>
                    <a:pt x="54330" y="33366"/>
                  </a:lnTo>
                  <a:lnTo>
                    <a:pt x="63998" y="32356"/>
                  </a:lnTo>
                  <a:lnTo>
                    <a:pt x="95498" y="7058"/>
                  </a:lnTo>
                  <a:lnTo>
                    <a:pt x="105508" y="4515"/>
                  </a:lnTo>
                  <a:lnTo>
                    <a:pt x="113405" y="14621"/>
                  </a:lnTo>
                  <a:lnTo>
                    <a:pt x="104194" y="31566"/>
                  </a:lnTo>
                  <a:lnTo>
                    <a:pt x="120853" y="49368"/>
                  </a:lnTo>
                  <a:lnTo>
                    <a:pt x="127492" y="47673"/>
                  </a:lnTo>
                  <a:lnTo>
                    <a:pt x="135941" y="72552"/>
                  </a:lnTo>
                  <a:lnTo>
                    <a:pt x="161267" y="79534"/>
                  </a:lnTo>
                  <a:lnTo>
                    <a:pt x="179822" y="96260"/>
                  </a:lnTo>
                  <a:lnTo>
                    <a:pt x="217789" y="101994"/>
                  </a:lnTo>
                  <a:lnTo>
                    <a:pt x="259499" y="931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orme libre : forme 5728">
              <a:extLst>
                <a:ext uri="{FF2B5EF4-FFF2-40B4-BE49-F238E27FC236}">
                  <a16:creationId xmlns:a16="http://schemas.microsoft.com/office/drawing/2014/main" id="{6BE2F5E7-5300-7A1E-40E2-EF2C15AF7C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71227" y="2347564"/>
              <a:ext cx="286197" cy="191576"/>
            </a:xfrm>
            <a:custGeom>
              <a:avLst/>
              <a:gdLst>
                <a:gd name="connsiteX0" fmla="*/ 262195 w 286197"/>
                <a:gd name="connsiteY0" fmla="*/ 4734 h 191576"/>
                <a:gd name="connsiteX1" fmla="*/ 256022 w 286197"/>
                <a:gd name="connsiteY1" fmla="*/ 47406 h 191576"/>
                <a:gd name="connsiteX2" fmla="*/ 286198 w 286197"/>
                <a:gd name="connsiteY2" fmla="*/ 91230 h 191576"/>
                <a:gd name="connsiteX3" fmla="*/ 251479 w 286197"/>
                <a:gd name="connsiteY3" fmla="*/ 138913 h 191576"/>
                <a:gd name="connsiteX4" fmla="*/ 174441 w 286197"/>
                <a:gd name="connsiteY4" fmla="*/ 180642 h 191576"/>
                <a:gd name="connsiteX5" fmla="*/ 151419 w 286197"/>
                <a:gd name="connsiteY5" fmla="*/ 191576 h 191576"/>
                <a:gd name="connsiteX6" fmla="*/ 116262 w 286197"/>
                <a:gd name="connsiteY6" fmla="*/ 182756 h 191576"/>
                <a:gd name="connsiteX7" fmla="*/ 41748 w 286197"/>
                <a:gd name="connsiteY7" fmla="*/ 163630 h 191576"/>
                <a:gd name="connsiteX8" fmla="*/ 68037 w 286197"/>
                <a:gd name="connsiteY8" fmla="*/ 136569 h 191576"/>
                <a:gd name="connsiteX9" fmla="*/ 9906 w 286197"/>
                <a:gd name="connsiteY9" fmla="*/ 106099 h 191576"/>
                <a:gd name="connsiteX10" fmla="*/ 57198 w 286197"/>
                <a:gd name="connsiteY10" fmla="*/ 93878 h 191576"/>
                <a:gd name="connsiteX11" fmla="*/ 56055 w 286197"/>
                <a:gd name="connsiteY11" fmla="*/ 75181 h 191576"/>
                <a:gd name="connsiteX12" fmla="*/ 0 w 286197"/>
                <a:gd name="connsiteY12" fmla="*/ 60217 h 191576"/>
                <a:gd name="connsiteX13" fmla="*/ 18040 w 286197"/>
                <a:gd name="connsiteY13" fmla="*/ 17602 h 191576"/>
                <a:gd name="connsiteX14" fmla="*/ 58522 w 286197"/>
                <a:gd name="connsiteY14" fmla="*/ 7772 h 191576"/>
                <a:gd name="connsiteX15" fmla="*/ 100146 w 286197"/>
                <a:gd name="connsiteY15" fmla="*/ 52388 h 191576"/>
                <a:gd name="connsiteX16" fmla="*/ 140723 w 286197"/>
                <a:gd name="connsiteY16" fmla="*/ 16669 h 191576"/>
                <a:gd name="connsiteX17" fmla="*/ 174327 w 286197"/>
                <a:gd name="connsiteY17" fmla="*/ 35309 h 191576"/>
                <a:gd name="connsiteX18" fmla="*/ 217884 w 286197"/>
                <a:gd name="connsiteY18" fmla="*/ 0 h 19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6197" h="191576">
                  <a:moveTo>
                    <a:pt x="262195" y="4734"/>
                  </a:moveTo>
                  <a:lnTo>
                    <a:pt x="256022" y="47406"/>
                  </a:lnTo>
                  <a:lnTo>
                    <a:pt x="286198" y="91230"/>
                  </a:lnTo>
                  <a:lnTo>
                    <a:pt x="251479" y="138913"/>
                  </a:lnTo>
                  <a:lnTo>
                    <a:pt x="174441" y="180642"/>
                  </a:lnTo>
                  <a:lnTo>
                    <a:pt x="151419" y="191576"/>
                  </a:lnTo>
                  <a:lnTo>
                    <a:pt x="116262" y="182756"/>
                  </a:lnTo>
                  <a:lnTo>
                    <a:pt x="41748" y="163630"/>
                  </a:lnTo>
                  <a:lnTo>
                    <a:pt x="68037" y="136569"/>
                  </a:lnTo>
                  <a:lnTo>
                    <a:pt x="9906" y="106099"/>
                  </a:lnTo>
                  <a:lnTo>
                    <a:pt x="57198" y="93878"/>
                  </a:lnTo>
                  <a:lnTo>
                    <a:pt x="56055" y="75181"/>
                  </a:lnTo>
                  <a:lnTo>
                    <a:pt x="0" y="60217"/>
                  </a:lnTo>
                  <a:lnTo>
                    <a:pt x="18040" y="17602"/>
                  </a:lnTo>
                  <a:lnTo>
                    <a:pt x="58522" y="7772"/>
                  </a:lnTo>
                  <a:lnTo>
                    <a:pt x="100146" y="52388"/>
                  </a:lnTo>
                  <a:lnTo>
                    <a:pt x="140723" y="16669"/>
                  </a:lnTo>
                  <a:lnTo>
                    <a:pt x="174327" y="35309"/>
                  </a:lnTo>
                  <a:lnTo>
                    <a:pt x="217884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orme libre : forme 5729">
              <a:extLst>
                <a:ext uri="{FF2B5EF4-FFF2-40B4-BE49-F238E27FC236}">
                  <a16:creationId xmlns:a16="http://schemas.microsoft.com/office/drawing/2014/main" id="{BDA6877B-8B17-BE30-1854-2A6FB4B7318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001149" y="3320076"/>
              <a:ext cx="313286" cy="376380"/>
            </a:xfrm>
            <a:custGeom>
              <a:avLst/>
              <a:gdLst>
                <a:gd name="connsiteX0" fmla="*/ 234249 w 313286"/>
                <a:gd name="connsiteY0" fmla="*/ 322421 h 376380"/>
                <a:gd name="connsiteX1" fmla="*/ 224628 w 313286"/>
                <a:gd name="connsiteY1" fmla="*/ 348929 h 376380"/>
                <a:gd name="connsiteX2" fmla="*/ 228619 w 313286"/>
                <a:gd name="connsiteY2" fmla="*/ 359283 h 376380"/>
                <a:gd name="connsiteX3" fmla="*/ 223018 w 313286"/>
                <a:gd name="connsiteY3" fmla="*/ 376381 h 376380"/>
                <a:gd name="connsiteX4" fmla="*/ 202587 w 313286"/>
                <a:gd name="connsiteY4" fmla="*/ 363874 h 376380"/>
                <a:gd name="connsiteX5" fmla="*/ 189005 w 313286"/>
                <a:gd name="connsiteY5" fmla="*/ 360283 h 376380"/>
                <a:gd name="connsiteX6" fmla="*/ 151724 w 313286"/>
                <a:gd name="connsiteY6" fmla="*/ 343272 h 376380"/>
                <a:gd name="connsiteX7" fmla="*/ 155467 w 313286"/>
                <a:gd name="connsiteY7" fmla="*/ 325974 h 376380"/>
                <a:gd name="connsiteX8" fmla="*/ 186719 w 313286"/>
                <a:gd name="connsiteY8" fmla="*/ 329060 h 376380"/>
                <a:gd name="connsiteX9" fmla="*/ 213960 w 313286"/>
                <a:gd name="connsiteY9" fmla="*/ 325374 h 376380"/>
                <a:gd name="connsiteX10" fmla="*/ 234249 w 313286"/>
                <a:gd name="connsiteY10" fmla="*/ 322421 h 376380"/>
                <a:gd name="connsiteX11" fmla="*/ 65722 w 313286"/>
                <a:gd name="connsiteY11" fmla="*/ 219380 h 376380"/>
                <a:gd name="connsiteX12" fmla="*/ 81744 w 313286"/>
                <a:gd name="connsiteY12" fmla="*/ 244355 h 376380"/>
                <a:gd name="connsiteX13" fmla="*/ 77991 w 313286"/>
                <a:gd name="connsiteY13" fmla="*/ 290179 h 376380"/>
                <a:gd name="connsiteX14" fmla="*/ 65846 w 313286"/>
                <a:gd name="connsiteY14" fmla="*/ 288007 h 376380"/>
                <a:gd name="connsiteX15" fmla="*/ 54950 w 313286"/>
                <a:gd name="connsiteY15" fmla="*/ 299447 h 376380"/>
                <a:gd name="connsiteX16" fmla="*/ 44834 w 313286"/>
                <a:gd name="connsiteY16" fmla="*/ 290360 h 376380"/>
                <a:gd name="connsiteX17" fmla="*/ 43767 w 313286"/>
                <a:gd name="connsiteY17" fmla="*/ 248603 h 376380"/>
                <a:gd name="connsiteX18" fmla="*/ 37671 w 313286"/>
                <a:gd name="connsiteY18" fmla="*/ 228553 h 376380"/>
                <a:gd name="connsiteX19" fmla="*/ 52359 w 313286"/>
                <a:gd name="connsiteY19" fmla="*/ 230315 h 376380"/>
                <a:gd name="connsiteX20" fmla="*/ 65722 w 313286"/>
                <a:gd name="connsiteY20" fmla="*/ 219380 h 376380"/>
                <a:gd name="connsiteX21" fmla="*/ 150285 w 313286"/>
                <a:gd name="connsiteY21" fmla="*/ 13573 h 376380"/>
                <a:gd name="connsiteX22" fmla="*/ 188481 w 313286"/>
                <a:gd name="connsiteY22" fmla="*/ 23584 h 376380"/>
                <a:gd name="connsiteX23" fmla="*/ 185585 w 313286"/>
                <a:gd name="connsiteY23" fmla="*/ 42548 h 376380"/>
                <a:gd name="connsiteX24" fmla="*/ 191976 w 313286"/>
                <a:gd name="connsiteY24" fmla="*/ 58807 h 376380"/>
                <a:gd name="connsiteX25" fmla="*/ 170716 w 313286"/>
                <a:gd name="connsiteY25" fmla="*/ 53254 h 376380"/>
                <a:gd name="connsiteX26" fmla="*/ 149000 w 313286"/>
                <a:gd name="connsiteY26" fmla="*/ 66751 h 376380"/>
                <a:gd name="connsiteX27" fmla="*/ 150476 w 313286"/>
                <a:gd name="connsiteY27" fmla="*/ 85477 h 376380"/>
                <a:gd name="connsiteX28" fmla="*/ 147209 w 313286"/>
                <a:gd name="connsiteY28" fmla="*/ 96155 h 376380"/>
                <a:gd name="connsiteX29" fmla="*/ 155962 w 313286"/>
                <a:gd name="connsiteY29" fmla="*/ 115100 h 376380"/>
                <a:gd name="connsiteX30" fmla="*/ 181003 w 313286"/>
                <a:gd name="connsiteY30" fmla="*/ 133683 h 376380"/>
                <a:gd name="connsiteX31" fmla="*/ 194434 w 313286"/>
                <a:gd name="connsiteY31" fmla="*/ 163849 h 376380"/>
                <a:gd name="connsiteX32" fmla="*/ 224152 w 313286"/>
                <a:gd name="connsiteY32" fmla="*/ 192872 h 376380"/>
                <a:gd name="connsiteX33" fmla="*/ 245078 w 313286"/>
                <a:gd name="connsiteY33" fmla="*/ 192653 h 376380"/>
                <a:gd name="connsiteX34" fmla="*/ 251584 w 313286"/>
                <a:gd name="connsiteY34" fmla="*/ 200549 h 376380"/>
                <a:gd name="connsiteX35" fmla="*/ 244087 w 313286"/>
                <a:gd name="connsiteY35" fmla="*/ 207645 h 376380"/>
                <a:gd name="connsiteX36" fmla="*/ 268005 w 313286"/>
                <a:gd name="connsiteY36" fmla="*/ 220456 h 376380"/>
                <a:gd name="connsiteX37" fmla="*/ 287617 w 313286"/>
                <a:gd name="connsiteY37" fmla="*/ 231124 h 376380"/>
                <a:gd name="connsiteX38" fmla="*/ 310515 w 313286"/>
                <a:gd name="connsiteY38" fmla="*/ 249403 h 376380"/>
                <a:gd name="connsiteX39" fmla="*/ 313287 w 313286"/>
                <a:gd name="connsiteY39" fmla="*/ 255908 h 376380"/>
                <a:gd name="connsiteX40" fmla="*/ 308296 w 313286"/>
                <a:gd name="connsiteY40" fmla="*/ 268348 h 376380"/>
                <a:gd name="connsiteX41" fmla="*/ 293475 w 313286"/>
                <a:gd name="connsiteY41" fmla="*/ 252117 h 376380"/>
                <a:gd name="connsiteX42" fmla="*/ 270272 w 313286"/>
                <a:gd name="connsiteY42" fmla="*/ 246374 h 376380"/>
                <a:gd name="connsiteX43" fmla="*/ 259032 w 313286"/>
                <a:gd name="connsiteY43" fmla="*/ 268872 h 376380"/>
                <a:gd name="connsiteX44" fmla="*/ 278330 w 313286"/>
                <a:gd name="connsiteY44" fmla="*/ 281674 h 376380"/>
                <a:gd name="connsiteX45" fmla="*/ 275158 w 313286"/>
                <a:gd name="connsiteY45" fmla="*/ 299571 h 376380"/>
                <a:gd name="connsiteX46" fmla="*/ 264004 w 313286"/>
                <a:gd name="connsiteY46" fmla="*/ 301600 h 376380"/>
                <a:gd name="connsiteX47" fmla="*/ 249736 w 313286"/>
                <a:gd name="connsiteY47" fmla="*/ 330718 h 376380"/>
                <a:gd name="connsiteX48" fmla="*/ 238611 w 313286"/>
                <a:gd name="connsiteY48" fmla="*/ 333308 h 376380"/>
                <a:gd name="connsiteX49" fmla="*/ 238716 w 313286"/>
                <a:gd name="connsiteY49" fmla="*/ 322983 h 376380"/>
                <a:gd name="connsiteX50" fmla="*/ 244164 w 313286"/>
                <a:gd name="connsiteY50" fmla="*/ 304762 h 376380"/>
                <a:gd name="connsiteX51" fmla="*/ 249964 w 313286"/>
                <a:gd name="connsiteY51" fmla="*/ 297466 h 376380"/>
                <a:gd name="connsiteX52" fmla="*/ 239535 w 313286"/>
                <a:gd name="connsiteY52" fmla="*/ 277559 h 376380"/>
                <a:gd name="connsiteX53" fmla="*/ 231391 w 313286"/>
                <a:gd name="connsiteY53" fmla="*/ 260099 h 376380"/>
                <a:gd name="connsiteX54" fmla="*/ 220304 w 313286"/>
                <a:gd name="connsiteY54" fmla="*/ 255766 h 376380"/>
                <a:gd name="connsiteX55" fmla="*/ 212417 w 313286"/>
                <a:gd name="connsiteY55" fmla="*/ 240687 h 376380"/>
                <a:gd name="connsiteX56" fmla="*/ 195253 w 313286"/>
                <a:gd name="connsiteY56" fmla="*/ 234305 h 376380"/>
                <a:gd name="connsiteX57" fmla="*/ 183699 w 313286"/>
                <a:gd name="connsiteY57" fmla="*/ 220142 h 376380"/>
                <a:gd name="connsiteX58" fmla="*/ 163935 w 313286"/>
                <a:gd name="connsiteY58" fmla="*/ 217846 h 376380"/>
                <a:gd name="connsiteX59" fmla="*/ 143065 w 313286"/>
                <a:gd name="connsiteY59" fmla="*/ 201816 h 376380"/>
                <a:gd name="connsiteX60" fmla="*/ 118634 w 313286"/>
                <a:gd name="connsiteY60" fmla="*/ 178499 h 376380"/>
                <a:gd name="connsiteX61" fmla="*/ 100479 w 313286"/>
                <a:gd name="connsiteY61" fmla="*/ 157658 h 376380"/>
                <a:gd name="connsiteX62" fmla="*/ 92145 w 313286"/>
                <a:gd name="connsiteY62" fmla="*/ 121434 h 376380"/>
                <a:gd name="connsiteX63" fmla="*/ 78857 w 313286"/>
                <a:gd name="connsiteY63" fmla="*/ 117129 h 376380"/>
                <a:gd name="connsiteX64" fmla="*/ 57131 w 313286"/>
                <a:gd name="connsiteY64" fmla="*/ 104870 h 376380"/>
                <a:gd name="connsiteX65" fmla="*/ 44834 w 313286"/>
                <a:gd name="connsiteY65" fmla="*/ 109900 h 376380"/>
                <a:gd name="connsiteX66" fmla="*/ 29404 w 313286"/>
                <a:gd name="connsiteY66" fmla="*/ 127063 h 376380"/>
                <a:gd name="connsiteX67" fmla="*/ 18307 w 313286"/>
                <a:gd name="connsiteY67" fmla="*/ 129769 h 376380"/>
                <a:gd name="connsiteX68" fmla="*/ 21365 w 313286"/>
                <a:gd name="connsiteY68" fmla="*/ 113729 h 376380"/>
                <a:gd name="connsiteX69" fmla="*/ 6886 w 313286"/>
                <a:gd name="connsiteY69" fmla="*/ 109023 h 376380"/>
                <a:gd name="connsiteX70" fmla="*/ 0 w 313286"/>
                <a:gd name="connsiteY70" fmla="*/ 80077 h 376380"/>
                <a:gd name="connsiteX71" fmla="*/ 9258 w 313286"/>
                <a:gd name="connsiteY71" fmla="*/ 68571 h 376380"/>
                <a:gd name="connsiteX72" fmla="*/ 1400 w 313286"/>
                <a:gd name="connsiteY72" fmla="*/ 54302 h 376380"/>
                <a:gd name="connsiteX73" fmla="*/ 2505 w 313286"/>
                <a:gd name="connsiteY73" fmla="*/ 43501 h 376380"/>
                <a:gd name="connsiteX74" fmla="*/ 14002 w 313286"/>
                <a:gd name="connsiteY74" fmla="*/ 51692 h 376380"/>
                <a:gd name="connsiteX75" fmla="*/ 26879 w 313286"/>
                <a:gd name="connsiteY75" fmla="*/ 49882 h 376380"/>
                <a:gd name="connsiteX76" fmla="*/ 41853 w 313286"/>
                <a:gd name="connsiteY76" fmla="*/ 36890 h 376380"/>
                <a:gd name="connsiteX77" fmla="*/ 46482 w 313286"/>
                <a:gd name="connsiteY77" fmla="*/ 42977 h 376380"/>
                <a:gd name="connsiteX78" fmla="*/ 59198 w 313286"/>
                <a:gd name="connsiteY78" fmla="*/ 41758 h 376380"/>
                <a:gd name="connsiteX79" fmla="*/ 64979 w 313286"/>
                <a:gd name="connsiteY79" fmla="*/ 26232 h 376380"/>
                <a:gd name="connsiteX80" fmla="*/ 84744 w 313286"/>
                <a:gd name="connsiteY80" fmla="*/ 31071 h 376380"/>
                <a:gd name="connsiteX81" fmla="*/ 96507 w 313286"/>
                <a:gd name="connsiteY81" fmla="*/ 24555 h 376380"/>
                <a:gd name="connsiteX82" fmla="*/ 98622 w 313286"/>
                <a:gd name="connsiteY82" fmla="*/ 8649 h 376380"/>
                <a:gd name="connsiteX83" fmla="*/ 114805 w 313286"/>
                <a:gd name="connsiteY83" fmla="*/ 14183 h 376380"/>
                <a:gd name="connsiteX84" fmla="*/ 117910 w 313286"/>
                <a:gd name="connsiteY84" fmla="*/ 6782 h 376380"/>
                <a:gd name="connsiteX85" fmla="*/ 144304 w 313286"/>
                <a:gd name="connsiteY85" fmla="*/ 0 h 376380"/>
                <a:gd name="connsiteX86" fmla="*/ 150285 w 313286"/>
                <a:gd name="connsiteY86" fmla="*/ 13573 h 37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13286" h="376380">
                  <a:moveTo>
                    <a:pt x="234249" y="322421"/>
                  </a:moveTo>
                  <a:lnTo>
                    <a:pt x="224628" y="348929"/>
                  </a:lnTo>
                  <a:lnTo>
                    <a:pt x="228619" y="359283"/>
                  </a:lnTo>
                  <a:lnTo>
                    <a:pt x="223018" y="376381"/>
                  </a:lnTo>
                  <a:lnTo>
                    <a:pt x="202587" y="363874"/>
                  </a:lnTo>
                  <a:lnTo>
                    <a:pt x="189005" y="360283"/>
                  </a:lnTo>
                  <a:lnTo>
                    <a:pt x="151724" y="343272"/>
                  </a:lnTo>
                  <a:lnTo>
                    <a:pt x="155467" y="325974"/>
                  </a:lnTo>
                  <a:lnTo>
                    <a:pt x="186719" y="329060"/>
                  </a:lnTo>
                  <a:lnTo>
                    <a:pt x="213960" y="325374"/>
                  </a:lnTo>
                  <a:lnTo>
                    <a:pt x="234249" y="322421"/>
                  </a:lnTo>
                  <a:close/>
                  <a:moveTo>
                    <a:pt x="65722" y="219380"/>
                  </a:moveTo>
                  <a:lnTo>
                    <a:pt x="81744" y="244355"/>
                  </a:lnTo>
                  <a:lnTo>
                    <a:pt x="77991" y="290179"/>
                  </a:lnTo>
                  <a:lnTo>
                    <a:pt x="65846" y="288007"/>
                  </a:lnTo>
                  <a:lnTo>
                    <a:pt x="54950" y="299447"/>
                  </a:lnTo>
                  <a:lnTo>
                    <a:pt x="44834" y="290360"/>
                  </a:lnTo>
                  <a:lnTo>
                    <a:pt x="43767" y="248603"/>
                  </a:lnTo>
                  <a:lnTo>
                    <a:pt x="37671" y="228553"/>
                  </a:lnTo>
                  <a:lnTo>
                    <a:pt x="52359" y="230315"/>
                  </a:lnTo>
                  <a:lnTo>
                    <a:pt x="65722" y="219380"/>
                  </a:lnTo>
                  <a:close/>
                  <a:moveTo>
                    <a:pt x="150285" y="13573"/>
                  </a:moveTo>
                  <a:lnTo>
                    <a:pt x="188481" y="23584"/>
                  </a:lnTo>
                  <a:lnTo>
                    <a:pt x="185585" y="42548"/>
                  </a:lnTo>
                  <a:lnTo>
                    <a:pt x="191976" y="58807"/>
                  </a:lnTo>
                  <a:lnTo>
                    <a:pt x="170716" y="53254"/>
                  </a:lnTo>
                  <a:lnTo>
                    <a:pt x="149000" y="66751"/>
                  </a:lnTo>
                  <a:lnTo>
                    <a:pt x="150476" y="85477"/>
                  </a:lnTo>
                  <a:lnTo>
                    <a:pt x="147209" y="96155"/>
                  </a:lnTo>
                  <a:lnTo>
                    <a:pt x="155962" y="115100"/>
                  </a:lnTo>
                  <a:lnTo>
                    <a:pt x="181003" y="133683"/>
                  </a:lnTo>
                  <a:lnTo>
                    <a:pt x="194434" y="163849"/>
                  </a:lnTo>
                  <a:lnTo>
                    <a:pt x="224152" y="192872"/>
                  </a:lnTo>
                  <a:lnTo>
                    <a:pt x="245078" y="192653"/>
                  </a:lnTo>
                  <a:lnTo>
                    <a:pt x="251584" y="200549"/>
                  </a:lnTo>
                  <a:lnTo>
                    <a:pt x="244087" y="207645"/>
                  </a:lnTo>
                  <a:lnTo>
                    <a:pt x="268005" y="220456"/>
                  </a:lnTo>
                  <a:lnTo>
                    <a:pt x="287617" y="231124"/>
                  </a:lnTo>
                  <a:lnTo>
                    <a:pt x="310515" y="249403"/>
                  </a:lnTo>
                  <a:lnTo>
                    <a:pt x="313287" y="255908"/>
                  </a:lnTo>
                  <a:lnTo>
                    <a:pt x="308296" y="268348"/>
                  </a:lnTo>
                  <a:lnTo>
                    <a:pt x="293475" y="252117"/>
                  </a:lnTo>
                  <a:lnTo>
                    <a:pt x="270272" y="246374"/>
                  </a:lnTo>
                  <a:lnTo>
                    <a:pt x="259032" y="268872"/>
                  </a:lnTo>
                  <a:lnTo>
                    <a:pt x="278330" y="281674"/>
                  </a:lnTo>
                  <a:lnTo>
                    <a:pt x="275158" y="299571"/>
                  </a:lnTo>
                  <a:lnTo>
                    <a:pt x="264004" y="301600"/>
                  </a:lnTo>
                  <a:lnTo>
                    <a:pt x="249736" y="330718"/>
                  </a:lnTo>
                  <a:lnTo>
                    <a:pt x="238611" y="333308"/>
                  </a:lnTo>
                  <a:lnTo>
                    <a:pt x="238716" y="322983"/>
                  </a:lnTo>
                  <a:lnTo>
                    <a:pt x="244164" y="304762"/>
                  </a:lnTo>
                  <a:lnTo>
                    <a:pt x="249964" y="297466"/>
                  </a:lnTo>
                  <a:lnTo>
                    <a:pt x="239535" y="277559"/>
                  </a:lnTo>
                  <a:lnTo>
                    <a:pt x="231391" y="260099"/>
                  </a:lnTo>
                  <a:lnTo>
                    <a:pt x="220304" y="255766"/>
                  </a:lnTo>
                  <a:lnTo>
                    <a:pt x="212417" y="240687"/>
                  </a:lnTo>
                  <a:lnTo>
                    <a:pt x="195253" y="234305"/>
                  </a:lnTo>
                  <a:lnTo>
                    <a:pt x="183699" y="220142"/>
                  </a:lnTo>
                  <a:lnTo>
                    <a:pt x="163935" y="217846"/>
                  </a:lnTo>
                  <a:lnTo>
                    <a:pt x="143065" y="201816"/>
                  </a:lnTo>
                  <a:lnTo>
                    <a:pt x="118634" y="178499"/>
                  </a:lnTo>
                  <a:lnTo>
                    <a:pt x="100479" y="157658"/>
                  </a:lnTo>
                  <a:lnTo>
                    <a:pt x="92145" y="121434"/>
                  </a:lnTo>
                  <a:lnTo>
                    <a:pt x="78857" y="117129"/>
                  </a:lnTo>
                  <a:lnTo>
                    <a:pt x="57131" y="104870"/>
                  </a:lnTo>
                  <a:lnTo>
                    <a:pt x="44834" y="109900"/>
                  </a:lnTo>
                  <a:lnTo>
                    <a:pt x="29404" y="127063"/>
                  </a:lnTo>
                  <a:lnTo>
                    <a:pt x="18307" y="129769"/>
                  </a:lnTo>
                  <a:lnTo>
                    <a:pt x="21365" y="113729"/>
                  </a:lnTo>
                  <a:lnTo>
                    <a:pt x="6886" y="109023"/>
                  </a:lnTo>
                  <a:lnTo>
                    <a:pt x="0" y="80077"/>
                  </a:lnTo>
                  <a:lnTo>
                    <a:pt x="9258" y="68571"/>
                  </a:lnTo>
                  <a:lnTo>
                    <a:pt x="1400" y="54302"/>
                  </a:lnTo>
                  <a:lnTo>
                    <a:pt x="2505" y="43501"/>
                  </a:lnTo>
                  <a:lnTo>
                    <a:pt x="14002" y="51692"/>
                  </a:lnTo>
                  <a:lnTo>
                    <a:pt x="26879" y="49882"/>
                  </a:lnTo>
                  <a:lnTo>
                    <a:pt x="41853" y="36890"/>
                  </a:lnTo>
                  <a:lnTo>
                    <a:pt x="46482" y="42977"/>
                  </a:lnTo>
                  <a:lnTo>
                    <a:pt x="59198" y="41758"/>
                  </a:lnTo>
                  <a:lnTo>
                    <a:pt x="64979" y="26232"/>
                  </a:lnTo>
                  <a:lnTo>
                    <a:pt x="84744" y="31071"/>
                  </a:lnTo>
                  <a:lnTo>
                    <a:pt x="96507" y="24555"/>
                  </a:lnTo>
                  <a:lnTo>
                    <a:pt x="98622" y="8649"/>
                  </a:lnTo>
                  <a:lnTo>
                    <a:pt x="114805" y="14183"/>
                  </a:lnTo>
                  <a:lnTo>
                    <a:pt x="117910" y="6782"/>
                  </a:lnTo>
                  <a:lnTo>
                    <a:pt x="144304" y="0"/>
                  </a:lnTo>
                  <a:lnTo>
                    <a:pt x="150285" y="13573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orme libre : forme 5730">
              <a:extLst>
                <a:ext uri="{FF2B5EF4-FFF2-40B4-BE49-F238E27FC236}">
                  <a16:creationId xmlns:a16="http://schemas.microsoft.com/office/drawing/2014/main" id="{7BC9A2BE-B7A6-75A8-6EED-F80AB9F800D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728751" y="4242334"/>
              <a:ext cx="57112" cy="22993"/>
            </a:xfrm>
            <a:custGeom>
              <a:avLst/>
              <a:gdLst>
                <a:gd name="connsiteX0" fmla="*/ 20517 w 57112"/>
                <a:gd name="connsiteY0" fmla="*/ 953 h 22993"/>
                <a:gd name="connsiteX1" fmla="*/ 38491 w 57112"/>
                <a:gd name="connsiteY1" fmla="*/ 3458 h 22993"/>
                <a:gd name="connsiteX2" fmla="*/ 52683 w 57112"/>
                <a:gd name="connsiteY2" fmla="*/ 10173 h 22993"/>
                <a:gd name="connsiteX3" fmla="*/ 57112 w 57112"/>
                <a:gd name="connsiteY3" fmla="*/ 17821 h 22993"/>
                <a:gd name="connsiteX4" fmla="*/ 38329 w 57112"/>
                <a:gd name="connsiteY4" fmla="*/ 18336 h 22993"/>
                <a:gd name="connsiteX5" fmla="*/ 30223 w 57112"/>
                <a:gd name="connsiteY5" fmla="*/ 22993 h 22993"/>
                <a:gd name="connsiteX6" fmla="*/ 15269 w 57112"/>
                <a:gd name="connsiteY6" fmla="*/ 18517 h 22993"/>
                <a:gd name="connsiteX7" fmla="*/ 0 w 57112"/>
                <a:gd name="connsiteY7" fmla="*/ 8344 h 22993"/>
                <a:gd name="connsiteX8" fmla="*/ 3210 w 57112"/>
                <a:gd name="connsiteY8" fmla="*/ 1952 h 22993"/>
                <a:gd name="connsiteX9" fmla="*/ 14440 w 57112"/>
                <a:gd name="connsiteY9" fmla="*/ 0 h 2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112" h="22993">
                  <a:moveTo>
                    <a:pt x="20517" y="953"/>
                  </a:moveTo>
                  <a:lnTo>
                    <a:pt x="38491" y="3458"/>
                  </a:lnTo>
                  <a:lnTo>
                    <a:pt x="52683" y="10173"/>
                  </a:lnTo>
                  <a:lnTo>
                    <a:pt x="57112" y="17821"/>
                  </a:lnTo>
                  <a:lnTo>
                    <a:pt x="38329" y="18336"/>
                  </a:lnTo>
                  <a:lnTo>
                    <a:pt x="30223" y="22993"/>
                  </a:lnTo>
                  <a:lnTo>
                    <a:pt x="15269" y="18517"/>
                  </a:lnTo>
                  <a:lnTo>
                    <a:pt x="0" y="8344"/>
                  </a:lnTo>
                  <a:lnTo>
                    <a:pt x="3210" y="1952"/>
                  </a:lnTo>
                  <a:lnTo>
                    <a:pt x="14440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orme libre : forme 5731">
              <a:extLst>
                <a:ext uri="{FF2B5EF4-FFF2-40B4-BE49-F238E27FC236}">
                  <a16:creationId xmlns:a16="http://schemas.microsoft.com/office/drawing/2014/main" id="{8C486C62-D8A5-5626-1484-A62251B62F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753567" y="3801688"/>
              <a:ext cx="114109" cy="130073"/>
            </a:xfrm>
            <a:custGeom>
              <a:avLst/>
              <a:gdLst>
                <a:gd name="connsiteX0" fmla="*/ 16640 w 114109"/>
                <a:gd name="connsiteY0" fmla="*/ 31166 h 130073"/>
                <a:gd name="connsiteX1" fmla="*/ 21288 w 114109"/>
                <a:gd name="connsiteY1" fmla="*/ 21231 h 130073"/>
                <a:gd name="connsiteX2" fmla="*/ 51045 w 114109"/>
                <a:gd name="connsiteY2" fmla="*/ 33718 h 130073"/>
                <a:gd name="connsiteX3" fmla="*/ 103346 w 114109"/>
                <a:gd name="connsiteY3" fmla="*/ 0 h 130073"/>
                <a:gd name="connsiteX4" fmla="*/ 114109 w 114109"/>
                <a:gd name="connsiteY4" fmla="*/ 38490 h 130073"/>
                <a:gd name="connsiteX5" fmla="*/ 109023 w 114109"/>
                <a:gd name="connsiteY5" fmla="*/ 43224 h 130073"/>
                <a:gd name="connsiteX6" fmla="*/ 55530 w 114109"/>
                <a:gd name="connsiteY6" fmla="*/ 58903 h 130073"/>
                <a:gd name="connsiteX7" fmla="*/ 82153 w 114109"/>
                <a:gd name="connsiteY7" fmla="*/ 89916 h 130073"/>
                <a:gd name="connsiteX8" fmla="*/ 73323 w 114109"/>
                <a:gd name="connsiteY8" fmla="*/ 95145 h 130073"/>
                <a:gd name="connsiteX9" fmla="*/ 68923 w 114109"/>
                <a:gd name="connsiteY9" fmla="*/ 105442 h 130073"/>
                <a:gd name="connsiteX10" fmla="*/ 48549 w 114109"/>
                <a:gd name="connsiteY10" fmla="*/ 109680 h 130073"/>
                <a:gd name="connsiteX11" fmla="*/ 42157 w 114109"/>
                <a:gd name="connsiteY11" fmla="*/ 120701 h 130073"/>
                <a:gd name="connsiteX12" fmla="*/ 30613 w 114109"/>
                <a:gd name="connsiteY12" fmla="*/ 130073 h 130073"/>
                <a:gd name="connsiteX13" fmla="*/ 895 w 114109"/>
                <a:gd name="connsiteY13" fmla="*/ 125235 h 130073"/>
                <a:gd name="connsiteX14" fmla="*/ 0 w 114109"/>
                <a:gd name="connsiteY14" fmla="*/ 120815 h 130073"/>
                <a:gd name="connsiteX15" fmla="*/ 13306 w 114109"/>
                <a:gd name="connsiteY15" fmla="*/ 71609 h 130073"/>
                <a:gd name="connsiteX16" fmla="*/ 12678 w 114109"/>
                <a:gd name="connsiteY16" fmla="*/ 59512 h 130073"/>
                <a:gd name="connsiteX17" fmla="*/ 16630 w 114109"/>
                <a:gd name="connsiteY17" fmla="*/ 50349 h 130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4109" h="130073">
                  <a:moveTo>
                    <a:pt x="16640" y="31166"/>
                  </a:moveTo>
                  <a:lnTo>
                    <a:pt x="21288" y="21231"/>
                  </a:lnTo>
                  <a:lnTo>
                    <a:pt x="51045" y="33718"/>
                  </a:lnTo>
                  <a:lnTo>
                    <a:pt x="103346" y="0"/>
                  </a:lnTo>
                  <a:lnTo>
                    <a:pt x="114109" y="38490"/>
                  </a:lnTo>
                  <a:lnTo>
                    <a:pt x="109023" y="43224"/>
                  </a:lnTo>
                  <a:lnTo>
                    <a:pt x="55530" y="58903"/>
                  </a:lnTo>
                  <a:lnTo>
                    <a:pt x="82153" y="89916"/>
                  </a:lnTo>
                  <a:lnTo>
                    <a:pt x="73323" y="95145"/>
                  </a:lnTo>
                  <a:lnTo>
                    <a:pt x="68923" y="105442"/>
                  </a:lnTo>
                  <a:lnTo>
                    <a:pt x="48549" y="109680"/>
                  </a:lnTo>
                  <a:lnTo>
                    <a:pt x="42157" y="120701"/>
                  </a:lnTo>
                  <a:lnTo>
                    <a:pt x="30613" y="130073"/>
                  </a:lnTo>
                  <a:lnTo>
                    <a:pt x="895" y="125235"/>
                  </a:lnTo>
                  <a:lnTo>
                    <a:pt x="0" y="120815"/>
                  </a:lnTo>
                  <a:lnTo>
                    <a:pt x="13306" y="71609"/>
                  </a:lnTo>
                  <a:lnTo>
                    <a:pt x="12678" y="59512"/>
                  </a:lnTo>
                  <a:lnTo>
                    <a:pt x="16630" y="503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orme libre : forme 5732">
              <a:extLst>
                <a:ext uri="{FF2B5EF4-FFF2-40B4-BE49-F238E27FC236}">
                  <a16:creationId xmlns:a16="http://schemas.microsoft.com/office/drawing/2014/main" id="{C126F9E9-D736-96BD-707B-74E18FB012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276978" y="3380398"/>
              <a:ext cx="430891" cy="495080"/>
            </a:xfrm>
            <a:custGeom>
              <a:avLst/>
              <a:gdLst>
                <a:gd name="connsiteX0" fmla="*/ 139675 w 430891"/>
                <a:gd name="connsiteY0" fmla="*/ 396650 h 495080"/>
                <a:gd name="connsiteX1" fmla="*/ 143084 w 430891"/>
                <a:gd name="connsiteY1" fmla="*/ 407641 h 495080"/>
                <a:gd name="connsiteX2" fmla="*/ 128045 w 430891"/>
                <a:gd name="connsiteY2" fmla="*/ 426929 h 495080"/>
                <a:gd name="connsiteX3" fmla="*/ 117091 w 430891"/>
                <a:gd name="connsiteY3" fmla="*/ 416719 h 495080"/>
                <a:gd name="connsiteX4" fmla="*/ 103394 w 430891"/>
                <a:gd name="connsiteY4" fmla="*/ 424120 h 495080"/>
                <a:gd name="connsiteX5" fmla="*/ 96307 w 430891"/>
                <a:gd name="connsiteY5" fmla="*/ 442655 h 495080"/>
                <a:gd name="connsiteX6" fmla="*/ 78905 w 430891"/>
                <a:gd name="connsiteY6" fmla="*/ 433645 h 495080"/>
                <a:gd name="connsiteX7" fmla="*/ 79114 w 430891"/>
                <a:gd name="connsiteY7" fmla="*/ 418567 h 495080"/>
                <a:gd name="connsiteX8" fmla="*/ 93888 w 430891"/>
                <a:gd name="connsiteY8" fmla="*/ 399488 h 495080"/>
                <a:gd name="connsiteX9" fmla="*/ 109080 w 430891"/>
                <a:gd name="connsiteY9" fmla="*/ 403203 h 495080"/>
                <a:gd name="connsiteX10" fmla="*/ 120053 w 430891"/>
                <a:gd name="connsiteY10" fmla="*/ 389706 h 495080"/>
                <a:gd name="connsiteX11" fmla="*/ 139675 w 430891"/>
                <a:gd name="connsiteY11" fmla="*/ 396650 h 495080"/>
                <a:gd name="connsiteX12" fmla="*/ 308934 w 430891"/>
                <a:gd name="connsiteY12" fmla="*/ 298704 h 495080"/>
                <a:gd name="connsiteX13" fmla="*/ 298866 w 430891"/>
                <a:gd name="connsiteY13" fmla="*/ 325193 h 495080"/>
                <a:gd name="connsiteX14" fmla="*/ 303523 w 430891"/>
                <a:gd name="connsiteY14" fmla="*/ 341681 h 495080"/>
                <a:gd name="connsiteX15" fmla="*/ 289607 w 430891"/>
                <a:gd name="connsiteY15" fmla="*/ 364693 h 495080"/>
                <a:gd name="connsiteX16" fmla="*/ 255489 w 430891"/>
                <a:gd name="connsiteY16" fmla="*/ 379952 h 495080"/>
                <a:gd name="connsiteX17" fmla="*/ 208540 w 430891"/>
                <a:gd name="connsiteY17" fmla="*/ 381933 h 495080"/>
                <a:gd name="connsiteX18" fmla="*/ 170488 w 430891"/>
                <a:gd name="connsiteY18" fmla="*/ 418548 h 495080"/>
                <a:gd name="connsiteX19" fmla="*/ 152543 w 430891"/>
                <a:gd name="connsiteY19" fmla="*/ 406279 h 495080"/>
                <a:gd name="connsiteX20" fmla="*/ 151438 w 430891"/>
                <a:gd name="connsiteY20" fmla="*/ 382248 h 495080"/>
                <a:gd name="connsiteX21" fmla="*/ 104984 w 430891"/>
                <a:gd name="connsiteY21" fmla="*/ 389363 h 495080"/>
                <a:gd name="connsiteX22" fmla="*/ 73380 w 430891"/>
                <a:gd name="connsiteY22" fmla="*/ 404489 h 495080"/>
                <a:gd name="connsiteX23" fmla="*/ 42120 w 430891"/>
                <a:gd name="connsiteY23" fmla="*/ 405098 h 495080"/>
                <a:gd name="connsiteX24" fmla="*/ 69199 w 430891"/>
                <a:gd name="connsiteY24" fmla="*/ 428558 h 495080"/>
                <a:gd name="connsiteX25" fmla="*/ 51378 w 430891"/>
                <a:gd name="connsiteY25" fmla="*/ 482003 h 495080"/>
                <a:gd name="connsiteX26" fmla="*/ 34109 w 430891"/>
                <a:gd name="connsiteY26" fmla="*/ 495081 h 495080"/>
                <a:gd name="connsiteX27" fmla="*/ 21193 w 430891"/>
                <a:gd name="connsiteY27" fmla="*/ 483003 h 495080"/>
                <a:gd name="connsiteX28" fmla="*/ 27746 w 430891"/>
                <a:gd name="connsiteY28" fmla="*/ 454800 h 495080"/>
                <a:gd name="connsiteX29" fmla="*/ 10849 w 430891"/>
                <a:gd name="connsiteY29" fmla="*/ 445637 h 495080"/>
                <a:gd name="connsiteX30" fmla="*/ 0 w 430891"/>
                <a:gd name="connsiteY30" fmla="*/ 423910 h 495080"/>
                <a:gd name="connsiteX31" fmla="*/ 25241 w 430891"/>
                <a:gd name="connsiteY31" fmla="*/ 414099 h 495080"/>
                <a:gd name="connsiteX32" fmla="*/ 39252 w 430891"/>
                <a:gd name="connsiteY32" fmla="*/ 393963 h 495080"/>
                <a:gd name="connsiteX33" fmla="*/ 66113 w 430891"/>
                <a:gd name="connsiteY33" fmla="*/ 377295 h 495080"/>
                <a:gd name="connsiteX34" fmla="*/ 85706 w 430891"/>
                <a:gd name="connsiteY34" fmla="*/ 355073 h 495080"/>
                <a:gd name="connsiteX35" fmla="*/ 138865 w 430891"/>
                <a:gd name="connsiteY35" fmla="*/ 345329 h 495080"/>
                <a:gd name="connsiteX36" fmla="*/ 167421 w 430891"/>
                <a:gd name="connsiteY36" fmla="*/ 352015 h 495080"/>
                <a:gd name="connsiteX37" fmla="*/ 195367 w 430891"/>
                <a:gd name="connsiteY37" fmla="*/ 293265 h 495080"/>
                <a:gd name="connsiteX38" fmla="*/ 213170 w 430891"/>
                <a:gd name="connsiteY38" fmla="*/ 309181 h 495080"/>
                <a:gd name="connsiteX39" fmla="*/ 252346 w 430891"/>
                <a:gd name="connsiteY39" fmla="*/ 275730 h 495080"/>
                <a:gd name="connsiteX40" fmla="*/ 267538 w 430891"/>
                <a:gd name="connsiteY40" fmla="*/ 262614 h 495080"/>
                <a:gd name="connsiteX41" fmla="*/ 284331 w 430891"/>
                <a:gd name="connsiteY41" fmla="*/ 220866 h 495080"/>
                <a:gd name="connsiteX42" fmla="*/ 279749 w 430891"/>
                <a:gd name="connsiteY42" fmla="*/ 181813 h 495080"/>
                <a:gd name="connsiteX43" fmla="*/ 291036 w 430891"/>
                <a:gd name="connsiteY43" fmla="*/ 159591 h 495080"/>
                <a:gd name="connsiteX44" fmla="*/ 319431 w 430891"/>
                <a:gd name="connsiteY44" fmla="*/ 153095 h 495080"/>
                <a:gd name="connsiteX45" fmla="*/ 333984 w 430891"/>
                <a:gd name="connsiteY45" fmla="*/ 201749 h 495080"/>
                <a:gd name="connsiteX46" fmla="*/ 333194 w 430891"/>
                <a:gd name="connsiteY46" fmla="*/ 229733 h 495080"/>
                <a:gd name="connsiteX47" fmla="*/ 308486 w 430891"/>
                <a:gd name="connsiteY47" fmla="*/ 264043 h 495080"/>
                <a:gd name="connsiteX48" fmla="*/ 308934 w 430891"/>
                <a:gd name="connsiteY48" fmla="*/ 298704 h 495080"/>
                <a:gd name="connsiteX49" fmla="*/ 387286 w 430891"/>
                <a:gd name="connsiteY49" fmla="*/ 51711 h 495080"/>
                <a:gd name="connsiteX50" fmla="*/ 406070 w 430891"/>
                <a:gd name="connsiteY50" fmla="*/ 59607 h 495080"/>
                <a:gd name="connsiteX51" fmla="*/ 424958 w 430891"/>
                <a:gd name="connsiteY51" fmla="*/ 43882 h 495080"/>
                <a:gd name="connsiteX52" fmla="*/ 430892 w 430891"/>
                <a:gd name="connsiteY52" fmla="*/ 85297 h 495080"/>
                <a:gd name="connsiteX53" fmla="*/ 391277 w 430891"/>
                <a:gd name="connsiteY53" fmla="*/ 95278 h 495080"/>
                <a:gd name="connsiteX54" fmla="*/ 367893 w 430891"/>
                <a:gd name="connsiteY54" fmla="*/ 131121 h 495080"/>
                <a:gd name="connsiteX55" fmla="*/ 325898 w 430891"/>
                <a:gd name="connsiteY55" fmla="*/ 106518 h 495080"/>
                <a:gd name="connsiteX56" fmla="*/ 311372 w 430891"/>
                <a:gd name="connsiteY56" fmla="*/ 145780 h 495080"/>
                <a:gd name="connsiteX57" fmla="*/ 281664 w 430891"/>
                <a:gd name="connsiteY57" fmla="*/ 146313 h 495080"/>
                <a:gd name="connsiteX58" fmla="*/ 277987 w 430891"/>
                <a:gd name="connsiteY58" fmla="*/ 110680 h 495080"/>
                <a:gd name="connsiteX59" fmla="*/ 291199 w 430891"/>
                <a:gd name="connsiteY59" fmla="*/ 82706 h 495080"/>
                <a:gd name="connsiteX60" fmla="*/ 319735 w 430891"/>
                <a:gd name="connsiteY60" fmla="*/ 80677 h 495080"/>
                <a:gd name="connsiteX61" fmla="*/ 327517 w 430891"/>
                <a:gd name="connsiteY61" fmla="*/ 29423 h 495080"/>
                <a:gd name="connsiteX62" fmla="*/ 335413 w 430891"/>
                <a:gd name="connsiteY62" fmla="*/ 0 h 495080"/>
                <a:gd name="connsiteX63" fmla="*/ 366798 w 430891"/>
                <a:gd name="connsiteY63" fmla="*/ 39214 h 495080"/>
                <a:gd name="connsiteX64" fmla="*/ 387286 w 430891"/>
                <a:gd name="connsiteY64" fmla="*/ 51711 h 495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30891" h="495080">
                  <a:moveTo>
                    <a:pt x="139675" y="396650"/>
                  </a:moveTo>
                  <a:lnTo>
                    <a:pt x="143084" y="407641"/>
                  </a:lnTo>
                  <a:lnTo>
                    <a:pt x="128045" y="426929"/>
                  </a:lnTo>
                  <a:lnTo>
                    <a:pt x="117091" y="416719"/>
                  </a:lnTo>
                  <a:lnTo>
                    <a:pt x="103394" y="424120"/>
                  </a:lnTo>
                  <a:lnTo>
                    <a:pt x="96307" y="442655"/>
                  </a:lnTo>
                  <a:lnTo>
                    <a:pt x="78905" y="433645"/>
                  </a:lnTo>
                  <a:lnTo>
                    <a:pt x="79114" y="418567"/>
                  </a:lnTo>
                  <a:lnTo>
                    <a:pt x="93888" y="399488"/>
                  </a:lnTo>
                  <a:lnTo>
                    <a:pt x="109080" y="403203"/>
                  </a:lnTo>
                  <a:lnTo>
                    <a:pt x="120053" y="389706"/>
                  </a:lnTo>
                  <a:lnTo>
                    <a:pt x="139675" y="396650"/>
                  </a:lnTo>
                  <a:close/>
                  <a:moveTo>
                    <a:pt x="308934" y="298704"/>
                  </a:moveTo>
                  <a:lnTo>
                    <a:pt x="298866" y="325193"/>
                  </a:lnTo>
                  <a:lnTo>
                    <a:pt x="303523" y="341681"/>
                  </a:lnTo>
                  <a:lnTo>
                    <a:pt x="289607" y="364693"/>
                  </a:lnTo>
                  <a:lnTo>
                    <a:pt x="255489" y="379952"/>
                  </a:lnTo>
                  <a:lnTo>
                    <a:pt x="208540" y="381933"/>
                  </a:lnTo>
                  <a:lnTo>
                    <a:pt x="170488" y="418548"/>
                  </a:lnTo>
                  <a:lnTo>
                    <a:pt x="152543" y="406279"/>
                  </a:lnTo>
                  <a:lnTo>
                    <a:pt x="151438" y="382248"/>
                  </a:lnTo>
                  <a:lnTo>
                    <a:pt x="104984" y="389363"/>
                  </a:lnTo>
                  <a:lnTo>
                    <a:pt x="73380" y="404489"/>
                  </a:lnTo>
                  <a:lnTo>
                    <a:pt x="42120" y="405098"/>
                  </a:lnTo>
                  <a:lnTo>
                    <a:pt x="69199" y="428558"/>
                  </a:lnTo>
                  <a:lnTo>
                    <a:pt x="51378" y="482003"/>
                  </a:lnTo>
                  <a:lnTo>
                    <a:pt x="34109" y="495081"/>
                  </a:lnTo>
                  <a:lnTo>
                    <a:pt x="21193" y="483003"/>
                  </a:lnTo>
                  <a:lnTo>
                    <a:pt x="27746" y="454800"/>
                  </a:lnTo>
                  <a:lnTo>
                    <a:pt x="10849" y="445637"/>
                  </a:lnTo>
                  <a:lnTo>
                    <a:pt x="0" y="423910"/>
                  </a:lnTo>
                  <a:lnTo>
                    <a:pt x="25241" y="414099"/>
                  </a:lnTo>
                  <a:lnTo>
                    <a:pt x="39252" y="393963"/>
                  </a:lnTo>
                  <a:lnTo>
                    <a:pt x="66113" y="377295"/>
                  </a:lnTo>
                  <a:lnTo>
                    <a:pt x="85706" y="355073"/>
                  </a:lnTo>
                  <a:lnTo>
                    <a:pt x="138865" y="345329"/>
                  </a:lnTo>
                  <a:lnTo>
                    <a:pt x="167421" y="352015"/>
                  </a:lnTo>
                  <a:lnTo>
                    <a:pt x="195367" y="293265"/>
                  </a:lnTo>
                  <a:lnTo>
                    <a:pt x="213170" y="309181"/>
                  </a:lnTo>
                  <a:lnTo>
                    <a:pt x="252346" y="275730"/>
                  </a:lnTo>
                  <a:lnTo>
                    <a:pt x="267538" y="262614"/>
                  </a:lnTo>
                  <a:lnTo>
                    <a:pt x="284331" y="220866"/>
                  </a:lnTo>
                  <a:lnTo>
                    <a:pt x="279749" y="181813"/>
                  </a:lnTo>
                  <a:lnTo>
                    <a:pt x="291036" y="159591"/>
                  </a:lnTo>
                  <a:lnTo>
                    <a:pt x="319431" y="153095"/>
                  </a:lnTo>
                  <a:lnTo>
                    <a:pt x="333984" y="201749"/>
                  </a:lnTo>
                  <a:lnTo>
                    <a:pt x="333194" y="229733"/>
                  </a:lnTo>
                  <a:lnTo>
                    <a:pt x="308486" y="264043"/>
                  </a:lnTo>
                  <a:lnTo>
                    <a:pt x="308934" y="298704"/>
                  </a:lnTo>
                  <a:close/>
                  <a:moveTo>
                    <a:pt x="387286" y="51711"/>
                  </a:moveTo>
                  <a:lnTo>
                    <a:pt x="406070" y="59607"/>
                  </a:lnTo>
                  <a:lnTo>
                    <a:pt x="424958" y="43882"/>
                  </a:lnTo>
                  <a:lnTo>
                    <a:pt x="430892" y="85297"/>
                  </a:lnTo>
                  <a:lnTo>
                    <a:pt x="391277" y="95278"/>
                  </a:lnTo>
                  <a:lnTo>
                    <a:pt x="367893" y="131121"/>
                  </a:lnTo>
                  <a:lnTo>
                    <a:pt x="325898" y="106518"/>
                  </a:lnTo>
                  <a:lnTo>
                    <a:pt x="311372" y="145780"/>
                  </a:lnTo>
                  <a:lnTo>
                    <a:pt x="281664" y="146313"/>
                  </a:lnTo>
                  <a:lnTo>
                    <a:pt x="277987" y="110680"/>
                  </a:lnTo>
                  <a:lnTo>
                    <a:pt x="291199" y="82706"/>
                  </a:lnTo>
                  <a:lnTo>
                    <a:pt x="319735" y="80677"/>
                  </a:lnTo>
                  <a:lnTo>
                    <a:pt x="327517" y="29423"/>
                  </a:lnTo>
                  <a:lnTo>
                    <a:pt x="335413" y="0"/>
                  </a:lnTo>
                  <a:lnTo>
                    <a:pt x="366798" y="39214"/>
                  </a:lnTo>
                  <a:lnTo>
                    <a:pt x="387286" y="517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orme libre : forme 5733">
              <a:extLst>
                <a:ext uri="{FF2B5EF4-FFF2-40B4-BE49-F238E27FC236}">
                  <a16:creationId xmlns:a16="http://schemas.microsoft.com/office/drawing/2014/main" id="{67813814-D992-E660-A0E6-5971B516AB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726088" y="4596359"/>
              <a:ext cx="212616" cy="270500"/>
            </a:xfrm>
            <a:custGeom>
              <a:avLst/>
              <a:gdLst>
                <a:gd name="connsiteX0" fmla="*/ 189595 w 212616"/>
                <a:gd name="connsiteY0" fmla="*/ 169059 h 270500"/>
                <a:gd name="connsiteX1" fmla="*/ 205416 w 212616"/>
                <a:gd name="connsiteY1" fmla="*/ 190957 h 270500"/>
                <a:gd name="connsiteX2" fmla="*/ 186709 w 212616"/>
                <a:gd name="connsiteY2" fmla="*/ 201559 h 270500"/>
                <a:gd name="connsiteX3" fmla="*/ 180108 w 212616"/>
                <a:gd name="connsiteY3" fmla="*/ 212636 h 270500"/>
                <a:gd name="connsiteX4" fmla="*/ 170107 w 212616"/>
                <a:gd name="connsiteY4" fmla="*/ 214579 h 270500"/>
                <a:gd name="connsiteX5" fmla="*/ 166316 w 212616"/>
                <a:gd name="connsiteY5" fmla="*/ 233296 h 270500"/>
                <a:gd name="connsiteX6" fmla="*/ 157743 w 212616"/>
                <a:gd name="connsiteY6" fmla="*/ 244021 h 270500"/>
                <a:gd name="connsiteX7" fmla="*/ 152524 w 212616"/>
                <a:gd name="connsiteY7" fmla="*/ 261709 h 270500"/>
                <a:gd name="connsiteX8" fmla="*/ 141770 w 212616"/>
                <a:gd name="connsiteY8" fmla="*/ 270500 h 270500"/>
                <a:gd name="connsiteX9" fmla="*/ 103441 w 212616"/>
                <a:gd name="connsiteY9" fmla="*/ 243907 h 270500"/>
                <a:gd name="connsiteX10" fmla="*/ 101622 w 212616"/>
                <a:gd name="connsiteY10" fmla="*/ 228495 h 270500"/>
                <a:gd name="connsiteX11" fmla="*/ 4782 w 212616"/>
                <a:gd name="connsiteY11" fmla="*/ 174412 h 270500"/>
                <a:gd name="connsiteX12" fmla="*/ 267 w 212616"/>
                <a:gd name="connsiteY12" fmla="*/ 171498 h 270500"/>
                <a:gd name="connsiteX13" fmla="*/ 0 w 212616"/>
                <a:gd name="connsiteY13" fmla="*/ 143380 h 270500"/>
                <a:gd name="connsiteX14" fmla="*/ 7648 w 212616"/>
                <a:gd name="connsiteY14" fmla="*/ 132636 h 270500"/>
                <a:gd name="connsiteX15" fmla="*/ 20784 w 212616"/>
                <a:gd name="connsiteY15" fmla="*/ 115071 h 270500"/>
                <a:gd name="connsiteX16" fmla="*/ 30509 w 212616"/>
                <a:gd name="connsiteY16" fmla="*/ 95726 h 270500"/>
                <a:gd name="connsiteX17" fmla="*/ 18755 w 212616"/>
                <a:gd name="connsiteY17" fmla="*/ 65246 h 270500"/>
                <a:gd name="connsiteX18" fmla="*/ 15630 w 212616"/>
                <a:gd name="connsiteY18" fmla="*/ 51911 h 270500"/>
                <a:gd name="connsiteX19" fmla="*/ 2972 w 212616"/>
                <a:gd name="connsiteY19" fmla="*/ 33452 h 270500"/>
                <a:gd name="connsiteX20" fmla="*/ 19402 w 212616"/>
                <a:gd name="connsiteY20" fmla="*/ 17554 h 270500"/>
                <a:gd name="connsiteX21" fmla="*/ 37509 w 212616"/>
                <a:gd name="connsiteY21" fmla="*/ 0 h 270500"/>
                <a:gd name="connsiteX22" fmla="*/ 51378 w 212616"/>
                <a:gd name="connsiteY22" fmla="*/ 4477 h 270500"/>
                <a:gd name="connsiteX23" fmla="*/ 51378 w 212616"/>
                <a:gd name="connsiteY23" fmla="*/ 19421 h 270500"/>
                <a:gd name="connsiteX24" fmla="*/ 60503 w 212616"/>
                <a:gd name="connsiteY24" fmla="*/ 28184 h 270500"/>
                <a:gd name="connsiteX25" fmla="*/ 79086 w 212616"/>
                <a:gd name="connsiteY25" fmla="*/ 28184 h 270500"/>
                <a:gd name="connsiteX26" fmla="*/ 112890 w 212616"/>
                <a:gd name="connsiteY26" fmla="*/ 50768 h 270500"/>
                <a:gd name="connsiteX27" fmla="*/ 121329 w 212616"/>
                <a:gd name="connsiteY27" fmla="*/ 51035 h 270500"/>
                <a:gd name="connsiteX28" fmla="*/ 127588 w 212616"/>
                <a:gd name="connsiteY28" fmla="*/ 50302 h 270500"/>
                <a:gd name="connsiteX29" fmla="*/ 133502 w 212616"/>
                <a:gd name="connsiteY29" fmla="*/ 53369 h 270500"/>
                <a:gd name="connsiteX30" fmla="*/ 151314 w 212616"/>
                <a:gd name="connsiteY30" fmla="*/ 55464 h 270500"/>
                <a:gd name="connsiteX31" fmla="*/ 159201 w 212616"/>
                <a:gd name="connsiteY31" fmla="*/ 44387 h 270500"/>
                <a:gd name="connsiteX32" fmla="*/ 183604 w 212616"/>
                <a:gd name="connsiteY32" fmla="*/ 33261 h 270500"/>
                <a:gd name="connsiteX33" fmla="*/ 194367 w 212616"/>
                <a:gd name="connsiteY33" fmla="*/ 42243 h 270500"/>
                <a:gd name="connsiteX34" fmla="*/ 212617 w 212616"/>
                <a:gd name="connsiteY34" fmla="*/ 42253 h 270500"/>
                <a:gd name="connsiteX35" fmla="*/ 189281 w 212616"/>
                <a:gd name="connsiteY35" fmla="*/ 72400 h 27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2616" h="270500">
                  <a:moveTo>
                    <a:pt x="189595" y="169059"/>
                  </a:moveTo>
                  <a:lnTo>
                    <a:pt x="205416" y="190957"/>
                  </a:lnTo>
                  <a:lnTo>
                    <a:pt x="186709" y="201559"/>
                  </a:lnTo>
                  <a:lnTo>
                    <a:pt x="180108" y="212636"/>
                  </a:lnTo>
                  <a:lnTo>
                    <a:pt x="170107" y="214579"/>
                  </a:lnTo>
                  <a:lnTo>
                    <a:pt x="166316" y="233296"/>
                  </a:lnTo>
                  <a:lnTo>
                    <a:pt x="157743" y="244021"/>
                  </a:lnTo>
                  <a:lnTo>
                    <a:pt x="152524" y="261709"/>
                  </a:lnTo>
                  <a:lnTo>
                    <a:pt x="141770" y="270500"/>
                  </a:lnTo>
                  <a:lnTo>
                    <a:pt x="103441" y="243907"/>
                  </a:lnTo>
                  <a:lnTo>
                    <a:pt x="101622" y="228495"/>
                  </a:lnTo>
                  <a:lnTo>
                    <a:pt x="4782" y="174412"/>
                  </a:lnTo>
                  <a:lnTo>
                    <a:pt x="267" y="171498"/>
                  </a:lnTo>
                  <a:lnTo>
                    <a:pt x="0" y="143380"/>
                  </a:lnTo>
                  <a:lnTo>
                    <a:pt x="7648" y="132636"/>
                  </a:lnTo>
                  <a:lnTo>
                    <a:pt x="20784" y="115071"/>
                  </a:lnTo>
                  <a:lnTo>
                    <a:pt x="30509" y="95726"/>
                  </a:lnTo>
                  <a:lnTo>
                    <a:pt x="18755" y="65246"/>
                  </a:lnTo>
                  <a:lnTo>
                    <a:pt x="15630" y="51911"/>
                  </a:lnTo>
                  <a:lnTo>
                    <a:pt x="2972" y="33452"/>
                  </a:lnTo>
                  <a:lnTo>
                    <a:pt x="19402" y="17554"/>
                  </a:lnTo>
                  <a:lnTo>
                    <a:pt x="37509" y="0"/>
                  </a:lnTo>
                  <a:lnTo>
                    <a:pt x="51378" y="4477"/>
                  </a:lnTo>
                  <a:lnTo>
                    <a:pt x="51378" y="19421"/>
                  </a:lnTo>
                  <a:lnTo>
                    <a:pt x="60503" y="28184"/>
                  </a:lnTo>
                  <a:lnTo>
                    <a:pt x="79086" y="28184"/>
                  </a:lnTo>
                  <a:lnTo>
                    <a:pt x="112890" y="50768"/>
                  </a:lnTo>
                  <a:lnTo>
                    <a:pt x="121329" y="51035"/>
                  </a:lnTo>
                  <a:lnTo>
                    <a:pt x="127588" y="50302"/>
                  </a:lnTo>
                  <a:lnTo>
                    <a:pt x="133502" y="53369"/>
                  </a:lnTo>
                  <a:lnTo>
                    <a:pt x="151314" y="55464"/>
                  </a:lnTo>
                  <a:lnTo>
                    <a:pt x="159201" y="44387"/>
                  </a:lnTo>
                  <a:lnTo>
                    <a:pt x="183604" y="33261"/>
                  </a:lnTo>
                  <a:lnTo>
                    <a:pt x="194367" y="42243"/>
                  </a:lnTo>
                  <a:lnTo>
                    <a:pt x="212617" y="42253"/>
                  </a:lnTo>
                  <a:lnTo>
                    <a:pt x="189281" y="7240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orme libre : forme 5734">
              <a:extLst>
                <a:ext uri="{FF2B5EF4-FFF2-40B4-BE49-F238E27FC236}">
                  <a16:creationId xmlns:a16="http://schemas.microsoft.com/office/drawing/2014/main" id="{9C87DA83-FDB1-416C-7342-22D12241E0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676073" y="3464370"/>
              <a:ext cx="288302" cy="142370"/>
            </a:xfrm>
            <a:custGeom>
              <a:avLst/>
              <a:gdLst>
                <a:gd name="connsiteX0" fmla="*/ 39996 w 288302"/>
                <a:gd name="connsiteY0" fmla="*/ 37424 h 142370"/>
                <a:gd name="connsiteX1" fmla="*/ 45977 w 288302"/>
                <a:gd name="connsiteY1" fmla="*/ 21612 h 142370"/>
                <a:gd name="connsiteX2" fmla="*/ 63551 w 288302"/>
                <a:gd name="connsiteY2" fmla="*/ 16497 h 142370"/>
                <a:gd name="connsiteX3" fmla="*/ 107499 w 288302"/>
                <a:gd name="connsiteY3" fmla="*/ 28965 h 142370"/>
                <a:gd name="connsiteX4" fmla="*/ 111643 w 288302"/>
                <a:gd name="connsiteY4" fmla="*/ 7563 h 142370"/>
                <a:gd name="connsiteX5" fmla="*/ 126807 w 288302"/>
                <a:gd name="connsiteY5" fmla="*/ 0 h 142370"/>
                <a:gd name="connsiteX6" fmla="*/ 164840 w 288302"/>
                <a:gd name="connsiteY6" fmla="*/ 15326 h 142370"/>
                <a:gd name="connsiteX7" fmla="*/ 174546 w 288302"/>
                <a:gd name="connsiteY7" fmla="*/ 11316 h 142370"/>
                <a:gd name="connsiteX8" fmla="*/ 218827 w 288302"/>
                <a:gd name="connsiteY8" fmla="*/ 12316 h 142370"/>
                <a:gd name="connsiteX9" fmla="*/ 258452 w 288302"/>
                <a:gd name="connsiteY9" fmla="*/ 16116 h 142370"/>
                <a:gd name="connsiteX10" fmla="*/ 271853 w 288302"/>
                <a:gd name="connsiteY10" fmla="*/ 29118 h 142370"/>
                <a:gd name="connsiteX11" fmla="*/ 288303 w 288302"/>
                <a:gd name="connsiteY11" fmla="*/ 34404 h 142370"/>
                <a:gd name="connsiteX12" fmla="*/ 284550 w 288302"/>
                <a:gd name="connsiteY12" fmla="*/ 42529 h 142370"/>
                <a:gd name="connsiteX13" fmla="*/ 242469 w 288302"/>
                <a:gd name="connsiteY13" fmla="*/ 61884 h 142370"/>
                <a:gd name="connsiteX14" fmla="*/ 232953 w 288302"/>
                <a:gd name="connsiteY14" fmla="*/ 75962 h 142370"/>
                <a:gd name="connsiteX15" fmla="*/ 198692 w 288302"/>
                <a:gd name="connsiteY15" fmla="*/ 80153 h 142370"/>
                <a:gd name="connsiteX16" fmla="*/ 188586 w 288302"/>
                <a:gd name="connsiteY16" fmla="*/ 102575 h 142370"/>
                <a:gd name="connsiteX17" fmla="*/ 160325 w 288302"/>
                <a:gd name="connsiteY17" fmla="*/ 97889 h 142370"/>
                <a:gd name="connsiteX18" fmla="*/ 141866 w 288302"/>
                <a:gd name="connsiteY18" fmla="*/ 104727 h 142370"/>
                <a:gd name="connsiteX19" fmla="*/ 116367 w 288302"/>
                <a:gd name="connsiteY19" fmla="*/ 121168 h 142370"/>
                <a:gd name="connsiteX20" fmla="*/ 120053 w 288302"/>
                <a:gd name="connsiteY20" fmla="*/ 129264 h 142370"/>
                <a:gd name="connsiteX21" fmla="*/ 112452 w 288302"/>
                <a:gd name="connsiteY21" fmla="*/ 137160 h 142370"/>
                <a:gd name="connsiteX22" fmla="*/ 61951 w 288302"/>
                <a:gd name="connsiteY22" fmla="*/ 142370 h 142370"/>
                <a:gd name="connsiteX23" fmla="*/ 28966 w 288302"/>
                <a:gd name="connsiteY23" fmla="*/ 131188 h 142370"/>
                <a:gd name="connsiteX24" fmla="*/ 0 w 288302"/>
                <a:gd name="connsiteY24" fmla="*/ 133864 h 142370"/>
                <a:gd name="connsiteX25" fmla="*/ 2534 w 288302"/>
                <a:gd name="connsiteY25" fmla="*/ 113900 h 142370"/>
                <a:gd name="connsiteX26" fmla="*/ 31604 w 288302"/>
                <a:gd name="connsiteY26" fmla="*/ 119710 h 142370"/>
                <a:gd name="connsiteX27" fmla="*/ 41377 w 288302"/>
                <a:gd name="connsiteY27" fmla="*/ 108985 h 142370"/>
                <a:gd name="connsiteX28" fmla="*/ 61694 w 288302"/>
                <a:gd name="connsiteY28" fmla="*/ 112414 h 142370"/>
                <a:gd name="connsiteX29" fmla="*/ 95898 w 288302"/>
                <a:gd name="connsiteY29" fmla="*/ 87220 h 142370"/>
                <a:gd name="connsiteX30" fmla="*/ 64247 w 288302"/>
                <a:gd name="connsiteY30" fmla="*/ 68609 h 142370"/>
                <a:gd name="connsiteX31" fmla="*/ 45225 w 288302"/>
                <a:gd name="connsiteY31" fmla="*/ 77438 h 142370"/>
                <a:gd name="connsiteX32" fmla="*/ 25508 w 288302"/>
                <a:gd name="connsiteY32" fmla="*/ 64094 h 142370"/>
                <a:gd name="connsiteX33" fmla="*/ 47930 w 288302"/>
                <a:gd name="connsiteY33" fmla="*/ 40957 h 14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88302" h="142370">
                  <a:moveTo>
                    <a:pt x="39996" y="37424"/>
                  </a:moveTo>
                  <a:lnTo>
                    <a:pt x="45977" y="21612"/>
                  </a:lnTo>
                  <a:lnTo>
                    <a:pt x="63551" y="16497"/>
                  </a:lnTo>
                  <a:lnTo>
                    <a:pt x="107499" y="28965"/>
                  </a:lnTo>
                  <a:lnTo>
                    <a:pt x="111643" y="7563"/>
                  </a:lnTo>
                  <a:lnTo>
                    <a:pt x="126807" y="0"/>
                  </a:lnTo>
                  <a:lnTo>
                    <a:pt x="164840" y="15326"/>
                  </a:lnTo>
                  <a:lnTo>
                    <a:pt x="174546" y="11316"/>
                  </a:lnTo>
                  <a:lnTo>
                    <a:pt x="218827" y="12316"/>
                  </a:lnTo>
                  <a:lnTo>
                    <a:pt x="258452" y="16116"/>
                  </a:lnTo>
                  <a:lnTo>
                    <a:pt x="271853" y="29118"/>
                  </a:lnTo>
                  <a:lnTo>
                    <a:pt x="288303" y="34404"/>
                  </a:lnTo>
                  <a:lnTo>
                    <a:pt x="284550" y="42529"/>
                  </a:lnTo>
                  <a:lnTo>
                    <a:pt x="242469" y="61884"/>
                  </a:lnTo>
                  <a:lnTo>
                    <a:pt x="232953" y="75962"/>
                  </a:lnTo>
                  <a:lnTo>
                    <a:pt x="198692" y="80153"/>
                  </a:lnTo>
                  <a:lnTo>
                    <a:pt x="188586" y="102575"/>
                  </a:lnTo>
                  <a:lnTo>
                    <a:pt x="160325" y="97889"/>
                  </a:lnTo>
                  <a:lnTo>
                    <a:pt x="141866" y="104727"/>
                  </a:lnTo>
                  <a:lnTo>
                    <a:pt x="116367" y="121168"/>
                  </a:lnTo>
                  <a:lnTo>
                    <a:pt x="120053" y="129264"/>
                  </a:lnTo>
                  <a:lnTo>
                    <a:pt x="112452" y="137160"/>
                  </a:lnTo>
                  <a:lnTo>
                    <a:pt x="61951" y="142370"/>
                  </a:lnTo>
                  <a:lnTo>
                    <a:pt x="28966" y="131188"/>
                  </a:lnTo>
                  <a:lnTo>
                    <a:pt x="0" y="133864"/>
                  </a:lnTo>
                  <a:lnTo>
                    <a:pt x="2534" y="113900"/>
                  </a:lnTo>
                  <a:lnTo>
                    <a:pt x="31604" y="119710"/>
                  </a:lnTo>
                  <a:lnTo>
                    <a:pt x="41377" y="108985"/>
                  </a:lnTo>
                  <a:lnTo>
                    <a:pt x="61694" y="112414"/>
                  </a:lnTo>
                  <a:lnTo>
                    <a:pt x="95898" y="87220"/>
                  </a:lnTo>
                  <a:lnTo>
                    <a:pt x="64247" y="68609"/>
                  </a:lnTo>
                  <a:lnTo>
                    <a:pt x="45225" y="77438"/>
                  </a:lnTo>
                  <a:lnTo>
                    <a:pt x="25508" y="64094"/>
                  </a:lnTo>
                  <a:lnTo>
                    <a:pt x="47930" y="4095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orme libre : forme 5735">
              <a:extLst>
                <a:ext uri="{FF2B5EF4-FFF2-40B4-BE49-F238E27FC236}">
                  <a16:creationId xmlns:a16="http://schemas.microsoft.com/office/drawing/2014/main" id="{AC64ABDB-62BD-2A3F-51FE-DC650B37336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554278" y="4351833"/>
              <a:ext cx="140646" cy="111051"/>
            </a:xfrm>
            <a:custGeom>
              <a:avLst/>
              <a:gdLst>
                <a:gd name="connsiteX0" fmla="*/ 30689 w 140646"/>
                <a:gd name="connsiteY0" fmla="*/ 107109 h 111051"/>
                <a:gd name="connsiteX1" fmla="*/ 19831 w 140646"/>
                <a:gd name="connsiteY1" fmla="*/ 93031 h 111051"/>
                <a:gd name="connsiteX2" fmla="*/ 6325 w 140646"/>
                <a:gd name="connsiteY2" fmla="*/ 65037 h 111051"/>
                <a:gd name="connsiteX3" fmla="*/ 0 w 140646"/>
                <a:gd name="connsiteY3" fmla="*/ 32175 h 111051"/>
                <a:gd name="connsiteX4" fmla="*/ 17107 w 140646"/>
                <a:gd name="connsiteY4" fmla="*/ 9458 h 111051"/>
                <a:gd name="connsiteX5" fmla="*/ 51635 w 140646"/>
                <a:gd name="connsiteY5" fmla="*/ 4220 h 111051"/>
                <a:gd name="connsiteX6" fmla="*/ 76667 w 140646"/>
                <a:gd name="connsiteY6" fmla="*/ 8153 h 111051"/>
                <a:gd name="connsiteX7" fmla="*/ 98708 w 140646"/>
                <a:gd name="connsiteY7" fmla="*/ 18878 h 111051"/>
                <a:gd name="connsiteX8" fmla="*/ 110795 w 140646"/>
                <a:gd name="connsiteY8" fmla="*/ 0 h 111051"/>
                <a:gd name="connsiteX9" fmla="*/ 134455 w 140646"/>
                <a:gd name="connsiteY9" fmla="*/ 10087 h 111051"/>
                <a:gd name="connsiteX10" fmla="*/ 140646 w 140646"/>
                <a:gd name="connsiteY10" fmla="*/ 28318 h 111051"/>
                <a:gd name="connsiteX11" fmla="*/ 137360 w 140646"/>
                <a:gd name="connsiteY11" fmla="*/ 60950 h 111051"/>
                <a:gd name="connsiteX12" fmla="*/ 92469 w 140646"/>
                <a:gd name="connsiteY12" fmla="*/ 81820 h 111051"/>
                <a:gd name="connsiteX13" fmla="*/ 104194 w 140646"/>
                <a:gd name="connsiteY13" fmla="*/ 98212 h 111051"/>
                <a:gd name="connsiteX14" fmla="*/ 76162 w 140646"/>
                <a:gd name="connsiteY14" fmla="*/ 100174 h 111051"/>
                <a:gd name="connsiteX15" fmla="*/ 53045 w 140646"/>
                <a:gd name="connsiteY15" fmla="*/ 111052 h 111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0646" h="111051">
                  <a:moveTo>
                    <a:pt x="30689" y="107109"/>
                  </a:moveTo>
                  <a:lnTo>
                    <a:pt x="19831" y="93031"/>
                  </a:lnTo>
                  <a:lnTo>
                    <a:pt x="6325" y="65037"/>
                  </a:lnTo>
                  <a:lnTo>
                    <a:pt x="0" y="32175"/>
                  </a:lnTo>
                  <a:lnTo>
                    <a:pt x="17107" y="9458"/>
                  </a:lnTo>
                  <a:lnTo>
                    <a:pt x="51635" y="4220"/>
                  </a:lnTo>
                  <a:lnTo>
                    <a:pt x="76667" y="8153"/>
                  </a:lnTo>
                  <a:lnTo>
                    <a:pt x="98708" y="18878"/>
                  </a:lnTo>
                  <a:lnTo>
                    <a:pt x="110795" y="0"/>
                  </a:lnTo>
                  <a:lnTo>
                    <a:pt x="134455" y="10087"/>
                  </a:lnTo>
                  <a:lnTo>
                    <a:pt x="140646" y="28318"/>
                  </a:lnTo>
                  <a:lnTo>
                    <a:pt x="137360" y="60950"/>
                  </a:lnTo>
                  <a:lnTo>
                    <a:pt x="92469" y="81820"/>
                  </a:lnTo>
                  <a:lnTo>
                    <a:pt x="104194" y="98212"/>
                  </a:lnTo>
                  <a:lnTo>
                    <a:pt x="76162" y="100174"/>
                  </a:lnTo>
                  <a:lnTo>
                    <a:pt x="53045" y="11105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orme libre : forme 5736">
              <a:extLst>
                <a:ext uri="{FF2B5EF4-FFF2-40B4-BE49-F238E27FC236}">
                  <a16:creationId xmlns:a16="http://schemas.microsoft.com/office/drawing/2014/main" id="{B4C9BB3E-7157-EBC8-CB35-A35AF141F3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139628" y="3475781"/>
              <a:ext cx="173964" cy="185680"/>
            </a:xfrm>
            <a:custGeom>
              <a:avLst/>
              <a:gdLst>
                <a:gd name="connsiteX0" fmla="*/ 170230 w 173964"/>
                <a:gd name="connsiteY0" fmla="*/ 21374 h 185680"/>
                <a:gd name="connsiteX1" fmla="*/ 173964 w 173964"/>
                <a:gd name="connsiteY1" fmla="*/ 27670 h 185680"/>
                <a:gd name="connsiteX2" fmla="*/ 163820 w 173964"/>
                <a:gd name="connsiteY2" fmla="*/ 25517 h 185680"/>
                <a:gd name="connsiteX3" fmla="*/ 152229 w 173964"/>
                <a:gd name="connsiteY3" fmla="*/ 37662 h 185680"/>
                <a:gd name="connsiteX4" fmla="*/ 144256 w 173964"/>
                <a:gd name="connsiteY4" fmla="*/ 49797 h 185680"/>
                <a:gd name="connsiteX5" fmla="*/ 145266 w 173964"/>
                <a:gd name="connsiteY5" fmla="*/ 75209 h 185680"/>
                <a:gd name="connsiteX6" fmla="*/ 131464 w 173964"/>
                <a:gd name="connsiteY6" fmla="*/ 82982 h 185680"/>
                <a:gd name="connsiteX7" fmla="*/ 126711 w 173964"/>
                <a:gd name="connsiteY7" fmla="*/ 89154 h 185680"/>
                <a:gd name="connsiteX8" fmla="*/ 116643 w 173964"/>
                <a:gd name="connsiteY8" fmla="*/ 99470 h 185680"/>
                <a:gd name="connsiteX9" fmla="*/ 98860 w 173964"/>
                <a:gd name="connsiteY9" fmla="*/ 105194 h 185680"/>
                <a:gd name="connsiteX10" fmla="*/ 87268 w 173964"/>
                <a:gd name="connsiteY10" fmla="*/ 114500 h 185680"/>
                <a:gd name="connsiteX11" fmla="*/ 86430 w 173964"/>
                <a:gd name="connsiteY11" fmla="*/ 129435 h 185680"/>
                <a:gd name="connsiteX12" fmla="*/ 83315 w 173964"/>
                <a:gd name="connsiteY12" fmla="*/ 133236 h 185680"/>
                <a:gd name="connsiteX13" fmla="*/ 93945 w 173964"/>
                <a:gd name="connsiteY13" fmla="*/ 138808 h 185680"/>
                <a:gd name="connsiteX14" fmla="*/ 109071 w 173964"/>
                <a:gd name="connsiteY14" fmla="*/ 153781 h 185680"/>
                <a:gd name="connsiteX15" fmla="*/ 105223 w 173964"/>
                <a:gd name="connsiteY15" fmla="*/ 162001 h 185680"/>
                <a:gd name="connsiteX16" fmla="*/ 93850 w 173964"/>
                <a:gd name="connsiteY16" fmla="*/ 164239 h 185680"/>
                <a:gd name="connsiteX17" fmla="*/ 74980 w 173964"/>
                <a:gd name="connsiteY17" fmla="*/ 165878 h 185680"/>
                <a:gd name="connsiteX18" fmla="*/ 64570 w 173964"/>
                <a:gd name="connsiteY18" fmla="*/ 181118 h 185680"/>
                <a:gd name="connsiteX19" fmla="*/ 52654 w 173964"/>
                <a:gd name="connsiteY19" fmla="*/ 179918 h 185680"/>
                <a:gd name="connsiteX20" fmla="*/ 50978 w 173964"/>
                <a:gd name="connsiteY20" fmla="*/ 182966 h 185680"/>
                <a:gd name="connsiteX21" fmla="*/ 38014 w 173964"/>
                <a:gd name="connsiteY21" fmla="*/ 176565 h 185680"/>
                <a:gd name="connsiteX22" fmla="*/ 34785 w 173964"/>
                <a:gd name="connsiteY22" fmla="*/ 182889 h 185680"/>
                <a:gd name="connsiteX23" fmla="*/ 26965 w 173964"/>
                <a:gd name="connsiteY23" fmla="*/ 185680 h 185680"/>
                <a:gd name="connsiteX24" fmla="*/ 26022 w 173964"/>
                <a:gd name="connsiteY24" fmla="*/ 179346 h 185680"/>
                <a:gd name="connsiteX25" fmla="*/ 19107 w 173964"/>
                <a:gd name="connsiteY25" fmla="*/ 176260 h 185680"/>
                <a:gd name="connsiteX26" fmla="*/ 11925 w 173964"/>
                <a:gd name="connsiteY26" fmla="*/ 170879 h 185680"/>
                <a:gd name="connsiteX27" fmla="*/ 19231 w 173964"/>
                <a:gd name="connsiteY27" fmla="*/ 155953 h 185680"/>
                <a:gd name="connsiteX28" fmla="*/ 25527 w 173964"/>
                <a:gd name="connsiteY28" fmla="*/ 151952 h 185680"/>
                <a:gd name="connsiteX29" fmla="*/ 23155 w 173964"/>
                <a:gd name="connsiteY29" fmla="*/ 145723 h 185680"/>
                <a:gd name="connsiteX30" fmla="*/ 29927 w 173964"/>
                <a:gd name="connsiteY30" fmla="*/ 127235 h 185680"/>
                <a:gd name="connsiteX31" fmla="*/ 28184 w 173964"/>
                <a:gd name="connsiteY31" fmla="*/ 121596 h 185680"/>
                <a:gd name="connsiteX32" fmla="*/ 12592 w 173964"/>
                <a:gd name="connsiteY32" fmla="*/ 117843 h 185680"/>
                <a:gd name="connsiteX33" fmla="*/ 0 w 173964"/>
                <a:gd name="connsiteY33" fmla="*/ 108556 h 185680"/>
                <a:gd name="connsiteX34" fmla="*/ 21745 w 173964"/>
                <a:gd name="connsiteY34" fmla="*/ 86201 h 185680"/>
                <a:gd name="connsiteX35" fmla="*/ 51178 w 173964"/>
                <a:gd name="connsiteY35" fmla="*/ 67304 h 185680"/>
                <a:gd name="connsiteX36" fmla="*/ 69532 w 173964"/>
                <a:gd name="connsiteY36" fmla="*/ 42120 h 185680"/>
                <a:gd name="connsiteX37" fmla="*/ 82210 w 173964"/>
                <a:gd name="connsiteY37" fmla="*/ 53283 h 185680"/>
                <a:gd name="connsiteX38" fmla="*/ 105289 w 173964"/>
                <a:gd name="connsiteY38" fmla="*/ 54578 h 185680"/>
                <a:gd name="connsiteX39" fmla="*/ 101127 w 173964"/>
                <a:gd name="connsiteY39" fmla="*/ 35766 h 185680"/>
                <a:gd name="connsiteX40" fmla="*/ 142370 w 173964"/>
                <a:gd name="connsiteY40" fmla="*/ 20298 h 185680"/>
                <a:gd name="connsiteX41" fmla="*/ 152981 w 173964"/>
                <a:gd name="connsiteY41" fmla="*/ 0 h 18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73964" h="185680">
                  <a:moveTo>
                    <a:pt x="170230" y="21374"/>
                  </a:moveTo>
                  <a:lnTo>
                    <a:pt x="173964" y="27670"/>
                  </a:lnTo>
                  <a:lnTo>
                    <a:pt x="163820" y="25517"/>
                  </a:lnTo>
                  <a:lnTo>
                    <a:pt x="152229" y="37662"/>
                  </a:lnTo>
                  <a:lnTo>
                    <a:pt x="144256" y="49797"/>
                  </a:lnTo>
                  <a:lnTo>
                    <a:pt x="145266" y="75209"/>
                  </a:lnTo>
                  <a:lnTo>
                    <a:pt x="131464" y="82982"/>
                  </a:lnTo>
                  <a:lnTo>
                    <a:pt x="126711" y="89154"/>
                  </a:lnTo>
                  <a:lnTo>
                    <a:pt x="116643" y="99470"/>
                  </a:lnTo>
                  <a:lnTo>
                    <a:pt x="98860" y="105194"/>
                  </a:lnTo>
                  <a:lnTo>
                    <a:pt x="87268" y="114500"/>
                  </a:lnTo>
                  <a:lnTo>
                    <a:pt x="86430" y="129435"/>
                  </a:lnTo>
                  <a:lnTo>
                    <a:pt x="83315" y="133236"/>
                  </a:lnTo>
                  <a:lnTo>
                    <a:pt x="93945" y="138808"/>
                  </a:lnTo>
                  <a:lnTo>
                    <a:pt x="109071" y="153781"/>
                  </a:lnTo>
                  <a:lnTo>
                    <a:pt x="105223" y="162001"/>
                  </a:lnTo>
                  <a:lnTo>
                    <a:pt x="93850" y="164239"/>
                  </a:lnTo>
                  <a:lnTo>
                    <a:pt x="74980" y="165878"/>
                  </a:lnTo>
                  <a:lnTo>
                    <a:pt x="64570" y="181118"/>
                  </a:lnTo>
                  <a:lnTo>
                    <a:pt x="52654" y="179918"/>
                  </a:lnTo>
                  <a:lnTo>
                    <a:pt x="50978" y="182966"/>
                  </a:lnTo>
                  <a:lnTo>
                    <a:pt x="38014" y="176565"/>
                  </a:lnTo>
                  <a:lnTo>
                    <a:pt x="34785" y="182889"/>
                  </a:lnTo>
                  <a:lnTo>
                    <a:pt x="26965" y="185680"/>
                  </a:lnTo>
                  <a:lnTo>
                    <a:pt x="26022" y="179346"/>
                  </a:lnTo>
                  <a:lnTo>
                    <a:pt x="19107" y="176260"/>
                  </a:lnTo>
                  <a:lnTo>
                    <a:pt x="11925" y="170879"/>
                  </a:lnTo>
                  <a:lnTo>
                    <a:pt x="19231" y="155953"/>
                  </a:lnTo>
                  <a:lnTo>
                    <a:pt x="25527" y="151952"/>
                  </a:lnTo>
                  <a:lnTo>
                    <a:pt x="23155" y="145723"/>
                  </a:lnTo>
                  <a:lnTo>
                    <a:pt x="29927" y="127235"/>
                  </a:lnTo>
                  <a:lnTo>
                    <a:pt x="28184" y="121596"/>
                  </a:lnTo>
                  <a:lnTo>
                    <a:pt x="12592" y="117843"/>
                  </a:lnTo>
                  <a:lnTo>
                    <a:pt x="0" y="108556"/>
                  </a:lnTo>
                  <a:lnTo>
                    <a:pt x="21745" y="86201"/>
                  </a:lnTo>
                  <a:lnTo>
                    <a:pt x="51178" y="67304"/>
                  </a:lnTo>
                  <a:lnTo>
                    <a:pt x="69532" y="42120"/>
                  </a:lnTo>
                  <a:lnTo>
                    <a:pt x="82210" y="53283"/>
                  </a:lnTo>
                  <a:lnTo>
                    <a:pt x="105289" y="54578"/>
                  </a:lnTo>
                  <a:lnTo>
                    <a:pt x="101127" y="35766"/>
                  </a:lnTo>
                  <a:lnTo>
                    <a:pt x="142370" y="20298"/>
                  </a:lnTo>
                  <a:lnTo>
                    <a:pt x="152981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orme libre : forme 5737">
              <a:extLst>
                <a:ext uri="{FF2B5EF4-FFF2-40B4-BE49-F238E27FC236}">
                  <a16:creationId xmlns:a16="http://schemas.microsoft.com/office/drawing/2014/main" id="{25E6E4B1-933B-E706-4B51-4CF902F5BA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189072" y="3629562"/>
              <a:ext cx="89496" cy="139741"/>
            </a:xfrm>
            <a:custGeom>
              <a:avLst/>
              <a:gdLst>
                <a:gd name="connsiteX0" fmla="*/ 59627 w 89496"/>
                <a:gd name="connsiteY0" fmla="*/ 0 h 139741"/>
                <a:gd name="connsiteX1" fmla="*/ 82677 w 89496"/>
                <a:gd name="connsiteY1" fmla="*/ 39834 h 139741"/>
                <a:gd name="connsiteX2" fmla="*/ 89288 w 89496"/>
                <a:gd name="connsiteY2" fmla="*/ 61455 h 139741"/>
                <a:gd name="connsiteX3" fmla="*/ 89497 w 89496"/>
                <a:gd name="connsiteY3" fmla="*/ 99413 h 139741"/>
                <a:gd name="connsiteX4" fmla="*/ 79429 w 89496"/>
                <a:gd name="connsiteY4" fmla="*/ 117338 h 139741"/>
                <a:gd name="connsiteX5" fmla="*/ 55245 w 89496"/>
                <a:gd name="connsiteY5" fmla="*/ 123568 h 139741"/>
                <a:gd name="connsiteX6" fmla="*/ 33900 w 89496"/>
                <a:gd name="connsiteY6" fmla="*/ 136979 h 139741"/>
                <a:gd name="connsiteX7" fmla="*/ 9840 w 89496"/>
                <a:gd name="connsiteY7" fmla="*/ 139741 h 139741"/>
                <a:gd name="connsiteX8" fmla="*/ 6858 w 89496"/>
                <a:gd name="connsiteY8" fmla="*/ 122139 h 139741"/>
                <a:gd name="connsiteX9" fmla="*/ 11802 w 89496"/>
                <a:gd name="connsiteY9" fmla="*/ 97698 h 139741"/>
                <a:gd name="connsiteX10" fmla="*/ 0 w 89496"/>
                <a:gd name="connsiteY10" fmla="*/ 63398 h 139741"/>
                <a:gd name="connsiteX11" fmla="*/ 19841 w 89496"/>
                <a:gd name="connsiteY11" fmla="*/ 57807 h 139741"/>
                <a:gd name="connsiteX12" fmla="*/ 1534 w 89496"/>
                <a:gd name="connsiteY12" fmla="*/ 29185 h 139741"/>
                <a:gd name="connsiteX13" fmla="*/ 3210 w 89496"/>
                <a:gd name="connsiteY13" fmla="*/ 26137 h 139741"/>
                <a:gd name="connsiteX14" fmla="*/ 15126 w 89496"/>
                <a:gd name="connsiteY14" fmla="*/ 27337 h 139741"/>
                <a:gd name="connsiteX15" fmla="*/ 25536 w 89496"/>
                <a:gd name="connsiteY15" fmla="*/ 12097 h 139741"/>
                <a:gd name="connsiteX16" fmla="*/ 44405 w 89496"/>
                <a:gd name="connsiteY16" fmla="*/ 10458 h 139741"/>
                <a:gd name="connsiteX17" fmla="*/ 55779 w 89496"/>
                <a:gd name="connsiteY17" fmla="*/ 8220 h 13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496" h="139741">
                  <a:moveTo>
                    <a:pt x="59627" y="0"/>
                  </a:moveTo>
                  <a:lnTo>
                    <a:pt x="82677" y="39834"/>
                  </a:lnTo>
                  <a:lnTo>
                    <a:pt x="89288" y="61455"/>
                  </a:lnTo>
                  <a:lnTo>
                    <a:pt x="89497" y="99413"/>
                  </a:lnTo>
                  <a:lnTo>
                    <a:pt x="79429" y="117338"/>
                  </a:lnTo>
                  <a:lnTo>
                    <a:pt x="55245" y="123568"/>
                  </a:lnTo>
                  <a:lnTo>
                    <a:pt x="33900" y="136979"/>
                  </a:lnTo>
                  <a:lnTo>
                    <a:pt x="9840" y="139741"/>
                  </a:lnTo>
                  <a:lnTo>
                    <a:pt x="6858" y="122139"/>
                  </a:lnTo>
                  <a:lnTo>
                    <a:pt x="11802" y="97698"/>
                  </a:lnTo>
                  <a:lnTo>
                    <a:pt x="0" y="63398"/>
                  </a:lnTo>
                  <a:lnTo>
                    <a:pt x="19841" y="57807"/>
                  </a:lnTo>
                  <a:lnTo>
                    <a:pt x="1534" y="29185"/>
                  </a:lnTo>
                  <a:lnTo>
                    <a:pt x="3210" y="26137"/>
                  </a:lnTo>
                  <a:lnTo>
                    <a:pt x="15126" y="27337"/>
                  </a:lnTo>
                  <a:lnTo>
                    <a:pt x="25536" y="12097"/>
                  </a:lnTo>
                  <a:lnTo>
                    <a:pt x="44405" y="10458"/>
                  </a:lnTo>
                  <a:lnTo>
                    <a:pt x="55779" y="822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orme libre : forme 5738">
              <a:extLst>
                <a:ext uri="{FF2B5EF4-FFF2-40B4-BE49-F238E27FC236}">
                  <a16:creationId xmlns:a16="http://schemas.microsoft.com/office/drawing/2014/main" id="{E958E0C8-81CB-9CBB-B42C-9B7890BC0C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56918" y="3465332"/>
              <a:ext cx="45519" cy="51482"/>
            </a:xfrm>
            <a:custGeom>
              <a:avLst/>
              <a:gdLst>
                <a:gd name="connsiteX0" fmla="*/ 18469 w 45519"/>
                <a:gd name="connsiteY0" fmla="*/ 44148 h 51482"/>
                <a:gd name="connsiteX1" fmla="*/ 17269 w 45519"/>
                <a:gd name="connsiteY1" fmla="*/ 51483 h 51482"/>
                <a:gd name="connsiteX2" fmla="*/ 13878 w 45519"/>
                <a:gd name="connsiteY2" fmla="*/ 51188 h 51482"/>
                <a:gd name="connsiteX3" fmla="*/ 12078 w 45519"/>
                <a:gd name="connsiteY3" fmla="*/ 38195 h 51482"/>
                <a:gd name="connsiteX4" fmla="*/ 5686 w 45519"/>
                <a:gd name="connsiteY4" fmla="*/ 34519 h 51482"/>
                <a:gd name="connsiteX5" fmla="*/ 0 w 45519"/>
                <a:gd name="connsiteY5" fmla="*/ 24841 h 51482"/>
                <a:gd name="connsiteX6" fmla="*/ 4991 w 45519"/>
                <a:gd name="connsiteY6" fmla="*/ 16726 h 51482"/>
                <a:gd name="connsiteX7" fmla="*/ 11382 w 45519"/>
                <a:gd name="connsiteY7" fmla="*/ 14116 h 51482"/>
                <a:gd name="connsiteX8" fmla="*/ 15078 w 45519"/>
                <a:gd name="connsiteY8" fmla="*/ 2019 h 51482"/>
                <a:gd name="connsiteX9" fmla="*/ 19869 w 45519"/>
                <a:gd name="connsiteY9" fmla="*/ 0 h 51482"/>
                <a:gd name="connsiteX10" fmla="*/ 23660 w 45519"/>
                <a:gd name="connsiteY10" fmla="*/ 5153 h 51482"/>
                <a:gd name="connsiteX11" fmla="*/ 28651 w 45519"/>
                <a:gd name="connsiteY11" fmla="*/ 7420 h 51482"/>
                <a:gd name="connsiteX12" fmla="*/ 32147 w 45519"/>
                <a:gd name="connsiteY12" fmla="*/ 13202 h 51482"/>
                <a:gd name="connsiteX13" fmla="*/ 36538 w 45519"/>
                <a:gd name="connsiteY13" fmla="*/ 14916 h 51482"/>
                <a:gd name="connsiteX14" fmla="*/ 41729 w 45519"/>
                <a:gd name="connsiteY14" fmla="*/ 21631 h 51482"/>
                <a:gd name="connsiteX15" fmla="*/ 45520 w 45519"/>
                <a:gd name="connsiteY15" fmla="*/ 21431 h 51482"/>
                <a:gd name="connsiteX16" fmla="*/ 42529 w 45519"/>
                <a:gd name="connsiteY16" fmla="*/ 30232 h 51482"/>
                <a:gd name="connsiteX17" fmla="*/ 39328 w 45519"/>
                <a:gd name="connsiteY17" fmla="*/ 34519 h 51482"/>
                <a:gd name="connsiteX18" fmla="*/ 40214 w 45519"/>
                <a:gd name="connsiteY18" fmla="*/ 37214 h 51482"/>
                <a:gd name="connsiteX19" fmla="*/ 34242 w 45519"/>
                <a:gd name="connsiteY19" fmla="*/ 38595 h 51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519" h="51482">
                  <a:moveTo>
                    <a:pt x="18469" y="44148"/>
                  </a:moveTo>
                  <a:lnTo>
                    <a:pt x="17269" y="51483"/>
                  </a:lnTo>
                  <a:lnTo>
                    <a:pt x="13878" y="51188"/>
                  </a:lnTo>
                  <a:lnTo>
                    <a:pt x="12078" y="38195"/>
                  </a:lnTo>
                  <a:lnTo>
                    <a:pt x="5686" y="34519"/>
                  </a:lnTo>
                  <a:lnTo>
                    <a:pt x="0" y="24841"/>
                  </a:lnTo>
                  <a:lnTo>
                    <a:pt x="4991" y="16726"/>
                  </a:lnTo>
                  <a:lnTo>
                    <a:pt x="11382" y="14116"/>
                  </a:lnTo>
                  <a:lnTo>
                    <a:pt x="15078" y="2019"/>
                  </a:lnTo>
                  <a:lnTo>
                    <a:pt x="19869" y="0"/>
                  </a:lnTo>
                  <a:lnTo>
                    <a:pt x="23660" y="5153"/>
                  </a:lnTo>
                  <a:lnTo>
                    <a:pt x="28651" y="7420"/>
                  </a:lnTo>
                  <a:lnTo>
                    <a:pt x="32147" y="13202"/>
                  </a:lnTo>
                  <a:lnTo>
                    <a:pt x="36538" y="14916"/>
                  </a:lnTo>
                  <a:lnTo>
                    <a:pt x="41729" y="21631"/>
                  </a:lnTo>
                  <a:lnTo>
                    <a:pt x="45520" y="21431"/>
                  </a:lnTo>
                  <a:lnTo>
                    <a:pt x="42529" y="30232"/>
                  </a:lnTo>
                  <a:lnTo>
                    <a:pt x="39328" y="34519"/>
                  </a:lnTo>
                  <a:lnTo>
                    <a:pt x="40214" y="37214"/>
                  </a:lnTo>
                  <a:lnTo>
                    <a:pt x="34242" y="385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orme libre : forme 5739">
              <a:extLst>
                <a:ext uri="{FF2B5EF4-FFF2-40B4-BE49-F238E27FC236}">
                  <a16:creationId xmlns:a16="http://schemas.microsoft.com/office/drawing/2014/main" id="{42540646-ECDB-BEEC-EF3B-59D0D5E3AF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064597" y="3905425"/>
              <a:ext cx="49330" cy="46710"/>
            </a:xfrm>
            <a:custGeom>
              <a:avLst/>
              <a:gdLst>
                <a:gd name="connsiteX0" fmla="*/ 37548 w 49330"/>
                <a:gd name="connsiteY0" fmla="*/ 2562 h 46710"/>
                <a:gd name="connsiteX1" fmla="*/ 43119 w 49330"/>
                <a:gd name="connsiteY1" fmla="*/ 16069 h 46710"/>
                <a:gd name="connsiteX2" fmla="*/ 40729 w 49330"/>
                <a:gd name="connsiteY2" fmla="*/ 23031 h 46710"/>
                <a:gd name="connsiteX3" fmla="*/ 49330 w 49330"/>
                <a:gd name="connsiteY3" fmla="*/ 45929 h 46710"/>
                <a:gd name="connsiteX4" fmla="*/ 30442 w 49330"/>
                <a:gd name="connsiteY4" fmla="*/ 46711 h 46710"/>
                <a:gd name="connsiteX5" fmla="*/ 23793 w 49330"/>
                <a:gd name="connsiteY5" fmla="*/ 32271 h 46710"/>
                <a:gd name="connsiteX6" fmla="*/ 0 w 49330"/>
                <a:gd name="connsiteY6" fmla="*/ 29337 h 46710"/>
                <a:gd name="connsiteX7" fmla="*/ 19593 w 49330"/>
                <a:gd name="connsiteY7" fmla="*/ 0 h 4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330" h="46710">
                  <a:moveTo>
                    <a:pt x="37548" y="2562"/>
                  </a:moveTo>
                  <a:lnTo>
                    <a:pt x="43119" y="16069"/>
                  </a:lnTo>
                  <a:lnTo>
                    <a:pt x="40729" y="23031"/>
                  </a:lnTo>
                  <a:lnTo>
                    <a:pt x="49330" y="45929"/>
                  </a:lnTo>
                  <a:lnTo>
                    <a:pt x="30442" y="46711"/>
                  </a:lnTo>
                  <a:lnTo>
                    <a:pt x="23793" y="32271"/>
                  </a:lnTo>
                  <a:lnTo>
                    <a:pt x="0" y="29337"/>
                  </a:lnTo>
                  <a:lnTo>
                    <a:pt x="1959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orme libre : forme 5740">
              <a:extLst>
                <a:ext uri="{FF2B5EF4-FFF2-40B4-BE49-F238E27FC236}">
                  <a16:creationId xmlns:a16="http://schemas.microsoft.com/office/drawing/2014/main" id="{77742495-2D1B-7BCA-056D-E0BE999FBFA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061863" y="2966889"/>
              <a:ext cx="1092126" cy="591854"/>
            </a:xfrm>
            <a:custGeom>
              <a:avLst/>
              <a:gdLst>
                <a:gd name="connsiteX0" fmla="*/ 654205 w 1092126"/>
                <a:gd name="connsiteY0" fmla="*/ 534905 h 591854"/>
                <a:gd name="connsiteX1" fmla="*/ 638889 w 1092126"/>
                <a:gd name="connsiteY1" fmla="*/ 541544 h 591854"/>
                <a:gd name="connsiteX2" fmla="*/ 603666 w 1092126"/>
                <a:gd name="connsiteY2" fmla="*/ 566395 h 591854"/>
                <a:gd name="connsiteX3" fmla="*/ 591978 w 1092126"/>
                <a:gd name="connsiteY3" fmla="*/ 591626 h 591854"/>
                <a:gd name="connsiteX4" fmla="*/ 582034 w 1092126"/>
                <a:gd name="connsiteY4" fmla="*/ 591855 h 591854"/>
                <a:gd name="connsiteX5" fmla="*/ 574710 w 1092126"/>
                <a:gd name="connsiteY5" fmla="*/ 575177 h 591854"/>
                <a:gd name="connsiteX6" fmla="*/ 540753 w 1092126"/>
                <a:gd name="connsiteY6" fmla="*/ 574034 h 591854"/>
                <a:gd name="connsiteX7" fmla="*/ 535314 w 1092126"/>
                <a:gd name="connsiteY7" fmla="*/ 544897 h 591854"/>
                <a:gd name="connsiteX8" fmla="*/ 522303 w 1092126"/>
                <a:gd name="connsiteY8" fmla="*/ 544649 h 591854"/>
                <a:gd name="connsiteX9" fmla="*/ 524294 w 1092126"/>
                <a:gd name="connsiteY9" fmla="*/ 508445 h 591854"/>
                <a:gd name="connsiteX10" fmla="*/ 492328 w 1092126"/>
                <a:gd name="connsiteY10" fmla="*/ 481708 h 591854"/>
                <a:gd name="connsiteX11" fmla="*/ 446522 w 1092126"/>
                <a:gd name="connsiteY11" fmla="*/ 484584 h 591854"/>
                <a:gd name="connsiteX12" fmla="*/ 415204 w 1092126"/>
                <a:gd name="connsiteY12" fmla="*/ 489928 h 591854"/>
                <a:gd name="connsiteX13" fmla="*/ 389696 w 1092126"/>
                <a:gd name="connsiteY13" fmla="*/ 456609 h 591854"/>
                <a:gd name="connsiteX14" fmla="*/ 367846 w 1092126"/>
                <a:gd name="connsiteY14" fmla="*/ 442474 h 591854"/>
                <a:gd name="connsiteX15" fmla="*/ 326450 w 1092126"/>
                <a:gd name="connsiteY15" fmla="*/ 415452 h 591854"/>
                <a:gd name="connsiteX16" fmla="*/ 321459 w 1092126"/>
                <a:gd name="connsiteY16" fmla="*/ 412156 h 591854"/>
                <a:gd name="connsiteX17" fmla="*/ 252707 w 1092126"/>
                <a:gd name="connsiteY17" fmla="*/ 434512 h 591854"/>
                <a:gd name="connsiteX18" fmla="*/ 253765 w 1092126"/>
                <a:gd name="connsiteY18" fmla="*/ 569071 h 591854"/>
                <a:gd name="connsiteX19" fmla="*/ 240059 w 1092126"/>
                <a:gd name="connsiteY19" fmla="*/ 570805 h 591854"/>
                <a:gd name="connsiteX20" fmla="*/ 221370 w 1092126"/>
                <a:gd name="connsiteY20" fmla="*/ 542877 h 591854"/>
                <a:gd name="connsiteX21" fmla="*/ 203320 w 1092126"/>
                <a:gd name="connsiteY21" fmla="*/ 532819 h 591854"/>
                <a:gd name="connsiteX22" fmla="*/ 173002 w 1092126"/>
                <a:gd name="connsiteY22" fmla="*/ 540296 h 591854"/>
                <a:gd name="connsiteX23" fmla="*/ 161201 w 1092126"/>
                <a:gd name="connsiteY23" fmla="*/ 552202 h 591854"/>
                <a:gd name="connsiteX24" fmla="*/ 159705 w 1092126"/>
                <a:gd name="connsiteY24" fmla="*/ 543487 h 591854"/>
                <a:gd name="connsiteX25" fmla="*/ 166268 w 1092126"/>
                <a:gd name="connsiteY25" fmla="*/ 528504 h 591854"/>
                <a:gd name="connsiteX26" fmla="*/ 161172 w 1092126"/>
                <a:gd name="connsiteY26" fmla="*/ 515912 h 591854"/>
                <a:gd name="connsiteX27" fmla="*/ 130226 w 1092126"/>
                <a:gd name="connsiteY27" fmla="*/ 503520 h 591854"/>
                <a:gd name="connsiteX28" fmla="*/ 118167 w 1092126"/>
                <a:gd name="connsiteY28" fmla="*/ 470525 h 591854"/>
                <a:gd name="connsiteX29" fmla="*/ 103422 w 1092126"/>
                <a:gd name="connsiteY29" fmla="*/ 461143 h 591854"/>
                <a:gd name="connsiteX30" fmla="*/ 102536 w 1092126"/>
                <a:gd name="connsiteY30" fmla="*/ 448989 h 591854"/>
                <a:gd name="connsiteX31" fmla="*/ 128511 w 1092126"/>
                <a:gd name="connsiteY31" fmla="*/ 452542 h 591854"/>
                <a:gd name="connsiteX32" fmla="*/ 129540 w 1092126"/>
                <a:gd name="connsiteY32" fmla="*/ 425082 h 591854"/>
                <a:gd name="connsiteX33" fmla="*/ 152247 w 1092126"/>
                <a:gd name="connsiteY33" fmla="*/ 418929 h 591854"/>
                <a:gd name="connsiteX34" fmla="*/ 175583 w 1092126"/>
                <a:gd name="connsiteY34" fmla="*/ 424586 h 591854"/>
                <a:gd name="connsiteX35" fmla="*/ 180394 w 1092126"/>
                <a:gd name="connsiteY35" fmla="*/ 387372 h 591854"/>
                <a:gd name="connsiteX36" fmla="*/ 175631 w 1092126"/>
                <a:gd name="connsiteY36" fmla="*/ 363426 h 591854"/>
                <a:gd name="connsiteX37" fmla="*/ 148904 w 1092126"/>
                <a:gd name="connsiteY37" fmla="*/ 365312 h 591854"/>
                <a:gd name="connsiteX38" fmla="*/ 126196 w 1092126"/>
                <a:gd name="connsiteY38" fmla="*/ 355797 h 591854"/>
                <a:gd name="connsiteX39" fmla="*/ 95278 w 1092126"/>
                <a:gd name="connsiteY39" fmla="*/ 372913 h 591854"/>
                <a:gd name="connsiteX40" fmla="*/ 70361 w 1092126"/>
                <a:gd name="connsiteY40" fmla="*/ 381019 h 591854"/>
                <a:gd name="connsiteX41" fmla="*/ 56797 w 1092126"/>
                <a:gd name="connsiteY41" fmla="*/ 374771 h 591854"/>
                <a:gd name="connsiteX42" fmla="*/ 59512 w 1092126"/>
                <a:gd name="connsiteY42" fmla="*/ 354749 h 591854"/>
                <a:gd name="connsiteX43" fmla="*/ 42491 w 1092126"/>
                <a:gd name="connsiteY43" fmla="*/ 328460 h 591854"/>
                <a:gd name="connsiteX44" fmla="*/ 22670 w 1092126"/>
                <a:gd name="connsiteY44" fmla="*/ 329565 h 591854"/>
                <a:gd name="connsiteX45" fmla="*/ 0 w 1092126"/>
                <a:gd name="connsiteY45" fmla="*/ 302543 h 591854"/>
                <a:gd name="connsiteX46" fmla="*/ 15411 w 1092126"/>
                <a:gd name="connsiteY46" fmla="*/ 271920 h 591854"/>
                <a:gd name="connsiteX47" fmla="*/ 7610 w 1092126"/>
                <a:gd name="connsiteY47" fmla="*/ 263595 h 591854"/>
                <a:gd name="connsiteX48" fmla="*/ 28927 w 1092126"/>
                <a:gd name="connsiteY48" fmla="*/ 218161 h 591854"/>
                <a:gd name="connsiteX49" fmla="*/ 56388 w 1092126"/>
                <a:gd name="connsiteY49" fmla="*/ 242278 h 591854"/>
                <a:gd name="connsiteX50" fmla="*/ 59712 w 1092126"/>
                <a:gd name="connsiteY50" fmla="*/ 211865 h 591854"/>
                <a:gd name="connsiteX51" fmla="*/ 114842 w 1092126"/>
                <a:gd name="connsiteY51" fmla="*/ 165678 h 591854"/>
                <a:gd name="connsiteX52" fmla="*/ 156562 w 1092126"/>
                <a:gd name="connsiteY52" fmla="*/ 164564 h 591854"/>
                <a:gd name="connsiteX53" fmla="*/ 215427 w 1092126"/>
                <a:gd name="connsiteY53" fmla="*/ 194110 h 591854"/>
                <a:gd name="connsiteX54" fmla="*/ 247049 w 1092126"/>
                <a:gd name="connsiteY54" fmla="*/ 211169 h 591854"/>
                <a:gd name="connsiteX55" fmla="*/ 275387 w 1092126"/>
                <a:gd name="connsiteY55" fmla="*/ 193377 h 591854"/>
                <a:gd name="connsiteX56" fmla="*/ 317725 w 1092126"/>
                <a:gd name="connsiteY56" fmla="*/ 192529 h 591854"/>
                <a:gd name="connsiteX57" fmla="*/ 351882 w 1092126"/>
                <a:gd name="connsiteY57" fmla="*/ 214360 h 591854"/>
                <a:gd name="connsiteX58" fmla="*/ 359645 w 1092126"/>
                <a:gd name="connsiteY58" fmla="*/ 201882 h 591854"/>
                <a:gd name="connsiteX59" fmla="*/ 397154 w 1092126"/>
                <a:gd name="connsiteY59" fmla="*/ 203702 h 591854"/>
                <a:gd name="connsiteX60" fmla="*/ 403850 w 1092126"/>
                <a:gd name="connsiteY60" fmla="*/ 183642 h 591854"/>
                <a:gd name="connsiteX61" fmla="*/ 360569 w 1092126"/>
                <a:gd name="connsiteY61" fmla="*/ 154143 h 591854"/>
                <a:gd name="connsiteX62" fmla="*/ 386200 w 1092126"/>
                <a:gd name="connsiteY62" fmla="*/ 132969 h 591854"/>
                <a:gd name="connsiteX63" fmla="*/ 381200 w 1092126"/>
                <a:gd name="connsiteY63" fmla="*/ 121025 h 591854"/>
                <a:gd name="connsiteX64" fmla="*/ 406841 w 1092126"/>
                <a:gd name="connsiteY64" fmla="*/ 109556 h 591854"/>
                <a:gd name="connsiteX65" fmla="*/ 387562 w 1092126"/>
                <a:gd name="connsiteY65" fmla="*/ 79000 h 591854"/>
                <a:gd name="connsiteX66" fmla="*/ 399802 w 1092126"/>
                <a:gd name="connsiteY66" fmla="*/ 63589 h 591854"/>
                <a:gd name="connsiteX67" fmla="*/ 499739 w 1092126"/>
                <a:gd name="connsiteY67" fmla="*/ 47749 h 591854"/>
                <a:gd name="connsiteX68" fmla="*/ 512778 w 1092126"/>
                <a:gd name="connsiteY68" fmla="*/ 36414 h 591854"/>
                <a:gd name="connsiteX69" fmla="*/ 579605 w 1092126"/>
                <a:gd name="connsiteY69" fmla="*/ 19355 h 591854"/>
                <a:gd name="connsiteX70" fmla="*/ 603618 w 1092126"/>
                <a:gd name="connsiteY70" fmla="*/ 0 h 591854"/>
                <a:gd name="connsiteX71" fmla="*/ 651614 w 1092126"/>
                <a:gd name="connsiteY71" fmla="*/ 10077 h 591854"/>
                <a:gd name="connsiteX72" fmla="*/ 660025 w 1092126"/>
                <a:gd name="connsiteY72" fmla="*/ 57817 h 591854"/>
                <a:gd name="connsiteX73" fmla="*/ 687905 w 1092126"/>
                <a:gd name="connsiteY73" fmla="*/ 46720 h 591854"/>
                <a:gd name="connsiteX74" fmla="*/ 722204 w 1092126"/>
                <a:gd name="connsiteY74" fmla="*/ 62256 h 591854"/>
                <a:gd name="connsiteX75" fmla="*/ 719994 w 1092126"/>
                <a:gd name="connsiteY75" fmla="*/ 86858 h 591854"/>
                <a:gd name="connsiteX76" fmla="*/ 745607 w 1092126"/>
                <a:gd name="connsiteY76" fmla="*/ 84306 h 591854"/>
                <a:gd name="connsiteX77" fmla="*/ 812539 w 1092126"/>
                <a:gd name="connsiteY77" fmla="*/ 41500 h 591854"/>
                <a:gd name="connsiteX78" fmla="*/ 802767 w 1092126"/>
                <a:gd name="connsiteY78" fmla="*/ 55826 h 591854"/>
                <a:gd name="connsiteX79" fmla="*/ 836847 w 1092126"/>
                <a:gd name="connsiteY79" fmla="*/ 90678 h 591854"/>
                <a:gd name="connsiteX80" fmla="*/ 896521 w 1092126"/>
                <a:gd name="connsiteY80" fmla="*/ 200939 h 591854"/>
                <a:gd name="connsiteX81" fmla="*/ 910752 w 1092126"/>
                <a:gd name="connsiteY81" fmla="*/ 178718 h 591854"/>
                <a:gd name="connsiteX82" fmla="*/ 947547 w 1092126"/>
                <a:gd name="connsiteY82" fmla="*/ 203149 h 591854"/>
                <a:gd name="connsiteX83" fmla="*/ 985923 w 1092126"/>
                <a:gd name="connsiteY83" fmla="*/ 192291 h 591854"/>
                <a:gd name="connsiteX84" fmla="*/ 1000667 w 1092126"/>
                <a:gd name="connsiteY84" fmla="*/ 199901 h 591854"/>
                <a:gd name="connsiteX85" fmla="*/ 1013517 w 1092126"/>
                <a:gd name="connsiteY85" fmla="*/ 224152 h 591854"/>
                <a:gd name="connsiteX86" fmla="*/ 1032186 w 1092126"/>
                <a:gd name="connsiteY86" fmla="*/ 232229 h 591854"/>
                <a:gd name="connsiteX87" fmla="*/ 1043559 w 1092126"/>
                <a:gd name="connsiteY87" fmla="*/ 249784 h 591854"/>
                <a:gd name="connsiteX88" fmla="*/ 1077963 w 1092126"/>
                <a:gd name="connsiteY88" fmla="*/ 244269 h 591854"/>
                <a:gd name="connsiteX89" fmla="*/ 1092127 w 1092126"/>
                <a:gd name="connsiteY89" fmla="*/ 269357 h 591854"/>
                <a:gd name="connsiteX90" fmla="*/ 1071800 w 1092126"/>
                <a:gd name="connsiteY90" fmla="*/ 296323 h 591854"/>
                <a:gd name="connsiteX91" fmla="*/ 1049617 w 1092126"/>
                <a:gd name="connsiteY91" fmla="*/ 300076 h 591854"/>
                <a:gd name="connsiteX92" fmla="*/ 1048350 w 1092126"/>
                <a:gd name="connsiteY92" fmla="*/ 339947 h 591854"/>
                <a:gd name="connsiteX93" fmla="*/ 1033491 w 1092126"/>
                <a:gd name="connsiteY93" fmla="*/ 357664 h 591854"/>
                <a:gd name="connsiteX94" fmla="*/ 980513 w 1092126"/>
                <a:gd name="connsiteY94" fmla="*/ 344776 h 591854"/>
                <a:gd name="connsiteX95" fmla="*/ 961244 w 1092126"/>
                <a:gd name="connsiteY95" fmla="*/ 413947 h 591854"/>
                <a:gd name="connsiteX96" fmla="*/ 947575 w 1092126"/>
                <a:gd name="connsiteY96" fmla="*/ 422386 h 591854"/>
                <a:gd name="connsiteX97" fmla="*/ 894664 w 1092126"/>
                <a:gd name="connsiteY97" fmla="*/ 437455 h 591854"/>
                <a:gd name="connsiteX98" fmla="*/ 918705 w 1092126"/>
                <a:gd name="connsiteY98" fmla="*/ 501787 h 591854"/>
                <a:gd name="connsiteX99" fmla="*/ 900379 w 1092126"/>
                <a:gd name="connsiteY99" fmla="*/ 511264 h 591854"/>
                <a:gd name="connsiteX100" fmla="*/ 902512 w 1092126"/>
                <a:gd name="connsiteY100" fmla="*/ 531886 h 591854"/>
                <a:gd name="connsiteX101" fmla="*/ 886063 w 1092126"/>
                <a:gd name="connsiteY101" fmla="*/ 526599 h 591854"/>
                <a:gd name="connsiteX102" fmla="*/ 872661 w 1092126"/>
                <a:gd name="connsiteY102" fmla="*/ 513597 h 591854"/>
                <a:gd name="connsiteX103" fmla="*/ 833037 w 1092126"/>
                <a:gd name="connsiteY103" fmla="*/ 509797 h 591854"/>
                <a:gd name="connsiteX104" fmla="*/ 788755 w 1092126"/>
                <a:gd name="connsiteY104" fmla="*/ 508797 h 591854"/>
                <a:gd name="connsiteX105" fmla="*/ 779050 w 1092126"/>
                <a:gd name="connsiteY105" fmla="*/ 512807 h 591854"/>
                <a:gd name="connsiteX106" fmla="*/ 741016 w 1092126"/>
                <a:gd name="connsiteY106" fmla="*/ 497481 h 591854"/>
                <a:gd name="connsiteX107" fmla="*/ 725852 w 1092126"/>
                <a:gd name="connsiteY107" fmla="*/ 505044 h 591854"/>
                <a:gd name="connsiteX108" fmla="*/ 721709 w 1092126"/>
                <a:gd name="connsiteY108" fmla="*/ 526447 h 591854"/>
                <a:gd name="connsiteX109" fmla="*/ 677760 w 1092126"/>
                <a:gd name="connsiteY109" fmla="*/ 513979 h 591854"/>
                <a:gd name="connsiteX110" fmla="*/ 660187 w 1092126"/>
                <a:gd name="connsiteY110" fmla="*/ 519093 h 59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1092126" h="591854">
                  <a:moveTo>
                    <a:pt x="654205" y="534905"/>
                  </a:moveTo>
                  <a:lnTo>
                    <a:pt x="638889" y="541544"/>
                  </a:lnTo>
                  <a:lnTo>
                    <a:pt x="603666" y="566395"/>
                  </a:lnTo>
                  <a:lnTo>
                    <a:pt x="591978" y="591626"/>
                  </a:lnTo>
                  <a:lnTo>
                    <a:pt x="582034" y="591855"/>
                  </a:lnTo>
                  <a:lnTo>
                    <a:pt x="574710" y="575177"/>
                  </a:lnTo>
                  <a:lnTo>
                    <a:pt x="540753" y="574034"/>
                  </a:lnTo>
                  <a:lnTo>
                    <a:pt x="535314" y="544897"/>
                  </a:lnTo>
                  <a:lnTo>
                    <a:pt x="522303" y="544649"/>
                  </a:lnTo>
                  <a:lnTo>
                    <a:pt x="524294" y="508445"/>
                  </a:lnTo>
                  <a:lnTo>
                    <a:pt x="492328" y="481708"/>
                  </a:lnTo>
                  <a:lnTo>
                    <a:pt x="446522" y="484584"/>
                  </a:lnTo>
                  <a:lnTo>
                    <a:pt x="415204" y="489928"/>
                  </a:lnTo>
                  <a:lnTo>
                    <a:pt x="389696" y="456609"/>
                  </a:lnTo>
                  <a:lnTo>
                    <a:pt x="367846" y="442474"/>
                  </a:lnTo>
                  <a:lnTo>
                    <a:pt x="326450" y="415452"/>
                  </a:lnTo>
                  <a:lnTo>
                    <a:pt x="321459" y="412156"/>
                  </a:lnTo>
                  <a:lnTo>
                    <a:pt x="252707" y="434512"/>
                  </a:lnTo>
                  <a:lnTo>
                    <a:pt x="253765" y="569071"/>
                  </a:lnTo>
                  <a:lnTo>
                    <a:pt x="240059" y="570805"/>
                  </a:lnTo>
                  <a:lnTo>
                    <a:pt x="221370" y="542877"/>
                  </a:lnTo>
                  <a:lnTo>
                    <a:pt x="203320" y="532819"/>
                  </a:lnTo>
                  <a:lnTo>
                    <a:pt x="173002" y="540296"/>
                  </a:lnTo>
                  <a:lnTo>
                    <a:pt x="161201" y="552202"/>
                  </a:lnTo>
                  <a:lnTo>
                    <a:pt x="159705" y="543487"/>
                  </a:lnTo>
                  <a:lnTo>
                    <a:pt x="166268" y="528504"/>
                  </a:lnTo>
                  <a:lnTo>
                    <a:pt x="161172" y="515912"/>
                  </a:lnTo>
                  <a:lnTo>
                    <a:pt x="130226" y="503520"/>
                  </a:lnTo>
                  <a:lnTo>
                    <a:pt x="118167" y="470525"/>
                  </a:lnTo>
                  <a:lnTo>
                    <a:pt x="103422" y="461143"/>
                  </a:lnTo>
                  <a:lnTo>
                    <a:pt x="102536" y="448989"/>
                  </a:lnTo>
                  <a:lnTo>
                    <a:pt x="128511" y="452542"/>
                  </a:lnTo>
                  <a:lnTo>
                    <a:pt x="129540" y="425082"/>
                  </a:lnTo>
                  <a:lnTo>
                    <a:pt x="152247" y="418929"/>
                  </a:lnTo>
                  <a:lnTo>
                    <a:pt x="175583" y="424586"/>
                  </a:lnTo>
                  <a:lnTo>
                    <a:pt x="180394" y="387372"/>
                  </a:lnTo>
                  <a:lnTo>
                    <a:pt x="175631" y="363426"/>
                  </a:lnTo>
                  <a:lnTo>
                    <a:pt x="148904" y="365312"/>
                  </a:lnTo>
                  <a:lnTo>
                    <a:pt x="126196" y="355797"/>
                  </a:lnTo>
                  <a:lnTo>
                    <a:pt x="95278" y="372913"/>
                  </a:lnTo>
                  <a:lnTo>
                    <a:pt x="70361" y="381019"/>
                  </a:lnTo>
                  <a:lnTo>
                    <a:pt x="56797" y="374771"/>
                  </a:lnTo>
                  <a:lnTo>
                    <a:pt x="59512" y="354749"/>
                  </a:lnTo>
                  <a:lnTo>
                    <a:pt x="42491" y="328460"/>
                  </a:lnTo>
                  <a:lnTo>
                    <a:pt x="22670" y="329565"/>
                  </a:lnTo>
                  <a:lnTo>
                    <a:pt x="0" y="302543"/>
                  </a:lnTo>
                  <a:lnTo>
                    <a:pt x="15411" y="271920"/>
                  </a:lnTo>
                  <a:lnTo>
                    <a:pt x="7610" y="263595"/>
                  </a:lnTo>
                  <a:lnTo>
                    <a:pt x="28927" y="218161"/>
                  </a:lnTo>
                  <a:lnTo>
                    <a:pt x="56388" y="242278"/>
                  </a:lnTo>
                  <a:lnTo>
                    <a:pt x="59712" y="211865"/>
                  </a:lnTo>
                  <a:lnTo>
                    <a:pt x="114842" y="165678"/>
                  </a:lnTo>
                  <a:lnTo>
                    <a:pt x="156562" y="164564"/>
                  </a:lnTo>
                  <a:lnTo>
                    <a:pt x="215427" y="194110"/>
                  </a:lnTo>
                  <a:lnTo>
                    <a:pt x="247049" y="211169"/>
                  </a:lnTo>
                  <a:lnTo>
                    <a:pt x="275387" y="193377"/>
                  </a:lnTo>
                  <a:lnTo>
                    <a:pt x="317725" y="192529"/>
                  </a:lnTo>
                  <a:lnTo>
                    <a:pt x="351882" y="214360"/>
                  </a:lnTo>
                  <a:lnTo>
                    <a:pt x="359645" y="201882"/>
                  </a:lnTo>
                  <a:lnTo>
                    <a:pt x="397154" y="203702"/>
                  </a:lnTo>
                  <a:lnTo>
                    <a:pt x="403850" y="183642"/>
                  </a:lnTo>
                  <a:lnTo>
                    <a:pt x="360569" y="154143"/>
                  </a:lnTo>
                  <a:lnTo>
                    <a:pt x="386200" y="132969"/>
                  </a:lnTo>
                  <a:lnTo>
                    <a:pt x="381200" y="121025"/>
                  </a:lnTo>
                  <a:lnTo>
                    <a:pt x="406841" y="109556"/>
                  </a:lnTo>
                  <a:lnTo>
                    <a:pt x="387562" y="79000"/>
                  </a:lnTo>
                  <a:lnTo>
                    <a:pt x="399802" y="63589"/>
                  </a:lnTo>
                  <a:lnTo>
                    <a:pt x="499739" y="47749"/>
                  </a:lnTo>
                  <a:lnTo>
                    <a:pt x="512778" y="36414"/>
                  </a:lnTo>
                  <a:lnTo>
                    <a:pt x="579605" y="19355"/>
                  </a:lnTo>
                  <a:lnTo>
                    <a:pt x="603618" y="0"/>
                  </a:lnTo>
                  <a:lnTo>
                    <a:pt x="651614" y="10077"/>
                  </a:lnTo>
                  <a:lnTo>
                    <a:pt x="660025" y="57817"/>
                  </a:lnTo>
                  <a:lnTo>
                    <a:pt x="687905" y="46720"/>
                  </a:lnTo>
                  <a:lnTo>
                    <a:pt x="722204" y="62256"/>
                  </a:lnTo>
                  <a:lnTo>
                    <a:pt x="719994" y="86858"/>
                  </a:lnTo>
                  <a:lnTo>
                    <a:pt x="745607" y="84306"/>
                  </a:lnTo>
                  <a:lnTo>
                    <a:pt x="812539" y="41500"/>
                  </a:lnTo>
                  <a:lnTo>
                    <a:pt x="802767" y="55826"/>
                  </a:lnTo>
                  <a:lnTo>
                    <a:pt x="836847" y="90678"/>
                  </a:lnTo>
                  <a:lnTo>
                    <a:pt x="896521" y="200939"/>
                  </a:lnTo>
                  <a:lnTo>
                    <a:pt x="910752" y="178718"/>
                  </a:lnTo>
                  <a:lnTo>
                    <a:pt x="947547" y="203149"/>
                  </a:lnTo>
                  <a:lnTo>
                    <a:pt x="985923" y="192291"/>
                  </a:lnTo>
                  <a:lnTo>
                    <a:pt x="1000667" y="199901"/>
                  </a:lnTo>
                  <a:lnTo>
                    <a:pt x="1013517" y="224152"/>
                  </a:lnTo>
                  <a:lnTo>
                    <a:pt x="1032186" y="232229"/>
                  </a:lnTo>
                  <a:lnTo>
                    <a:pt x="1043559" y="249784"/>
                  </a:lnTo>
                  <a:lnTo>
                    <a:pt x="1077963" y="244269"/>
                  </a:lnTo>
                  <a:lnTo>
                    <a:pt x="1092127" y="269357"/>
                  </a:lnTo>
                  <a:lnTo>
                    <a:pt x="1071800" y="296323"/>
                  </a:lnTo>
                  <a:lnTo>
                    <a:pt x="1049617" y="300076"/>
                  </a:lnTo>
                  <a:lnTo>
                    <a:pt x="1048350" y="339947"/>
                  </a:lnTo>
                  <a:lnTo>
                    <a:pt x="1033491" y="357664"/>
                  </a:lnTo>
                  <a:lnTo>
                    <a:pt x="980513" y="344776"/>
                  </a:lnTo>
                  <a:lnTo>
                    <a:pt x="961244" y="413947"/>
                  </a:lnTo>
                  <a:lnTo>
                    <a:pt x="947575" y="422386"/>
                  </a:lnTo>
                  <a:lnTo>
                    <a:pt x="894664" y="437455"/>
                  </a:lnTo>
                  <a:lnTo>
                    <a:pt x="918705" y="501787"/>
                  </a:lnTo>
                  <a:lnTo>
                    <a:pt x="900379" y="511264"/>
                  </a:lnTo>
                  <a:lnTo>
                    <a:pt x="902512" y="531886"/>
                  </a:lnTo>
                  <a:lnTo>
                    <a:pt x="886063" y="526599"/>
                  </a:lnTo>
                  <a:lnTo>
                    <a:pt x="872661" y="513597"/>
                  </a:lnTo>
                  <a:lnTo>
                    <a:pt x="833037" y="509797"/>
                  </a:lnTo>
                  <a:lnTo>
                    <a:pt x="788755" y="508797"/>
                  </a:lnTo>
                  <a:lnTo>
                    <a:pt x="779050" y="512807"/>
                  </a:lnTo>
                  <a:lnTo>
                    <a:pt x="741016" y="497481"/>
                  </a:lnTo>
                  <a:lnTo>
                    <a:pt x="725852" y="505044"/>
                  </a:lnTo>
                  <a:lnTo>
                    <a:pt x="721709" y="526447"/>
                  </a:lnTo>
                  <a:lnTo>
                    <a:pt x="677760" y="513979"/>
                  </a:lnTo>
                  <a:lnTo>
                    <a:pt x="660187" y="5190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orme libre : forme 5741">
              <a:extLst>
                <a:ext uri="{FF2B5EF4-FFF2-40B4-BE49-F238E27FC236}">
                  <a16:creationId xmlns:a16="http://schemas.microsoft.com/office/drawing/2014/main" id="{C889276B-4DA7-02C1-F2FD-BCE3D404D4A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494670" y="4130615"/>
              <a:ext cx="198920" cy="240096"/>
            </a:xfrm>
            <a:custGeom>
              <a:avLst/>
              <a:gdLst>
                <a:gd name="connsiteX0" fmla="*/ 136274 w 198920"/>
                <a:gd name="connsiteY0" fmla="*/ 229371 h 240096"/>
                <a:gd name="connsiteX1" fmla="*/ 144971 w 198920"/>
                <a:gd name="connsiteY1" fmla="*/ 217018 h 240096"/>
                <a:gd name="connsiteX2" fmla="*/ 146161 w 198920"/>
                <a:gd name="connsiteY2" fmla="*/ 193748 h 240096"/>
                <a:gd name="connsiteX3" fmla="*/ 124539 w 198920"/>
                <a:gd name="connsiteY3" fmla="*/ 169678 h 240096"/>
                <a:gd name="connsiteX4" fmla="*/ 122873 w 198920"/>
                <a:gd name="connsiteY4" fmla="*/ 142294 h 240096"/>
                <a:gd name="connsiteX5" fmla="*/ 102556 w 198920"/>
                <a:gd name="connsiteY5" fmla="*/ 119644 h 240096"/>
                <a:gd name="connsiteX6" fmla="*/ 82363 w 198920"/>
                <a:gd name="connsiteY6" fmla="*/ 117729 h 240096"/>
                <a:gd name="connsiteX7" fmla="*/ 76981 w 198920"/>
                <a:gd name="connsiteY7" fmla="*/ 127445 h 240096"/>
                <a:gd name="connsiteX8" fmla="*/ 61341 w 198920"/>
                <a:gd name="connsiteY8" fmla="*/ 128254 h 240096"/>
                <a:gd name="connsiteX9" fmla="*/ 53340 w 198920"/>
                <a:gd name="connsiteY9" fmla="*/ 123330 h 240096"/>
                <a:gd name="connsiteX10" fmla="*/ 25194 w 198920"/>
                <a:gd name="connsiteY10" fmla="*/ 139960 h 240096"/>
                <a:gd name="connsiteX11" fmla="*/ 24565 w 198920"/>
                <a:gd name="connsiteY11" fmla="*/ 114948 h 240096"/>
                <a:gd name="connsiteX12" fmla="*/ 31128 w 198920"/>
                <a:gd name="connsiteY12" fmla="*/ 85382 h 240096"/>
                <a:gd name="connsiteX13" fmla="*/ 13088 w 198920"/>
                <a:gd name="connsiteY13" fmla="*/ 84087 h 240096"/>
                <a:gd name="connsiteX14" fmla="*/ 11554 w 198920"/>
                <a:gd name="connsiteY14" fmla="*/ 67132 h 240096"/>
                <a:gd name="connsiteX15" fmla="*/ 0 w 198920"/>
                <a:gd name="connsiteY15" fmla="*/ 58398 h 240096"/>
                <a:gd name="connsiteX16" fmla="*/ 5686 w 198920"/>
                <a:gd name="connsiteY16" fmla="*/ 47958 h 240096"/>
                <a:gd name="connsiteX17" fmla="*/ 28413 w 198920"/>
                <a:gd name="connsiteY17" fmla="*/ 29442 h 240096"/>
                <a:gd name="connsiteX18" fmla="*/ 30813 w 198920"/>
                <a:gd name="connsiteY18" fmla="*/ 36138 h 240096"/>
                <a:gd name="connsiteX19" fmla="*/ 45053 w 198920"/>
                <a:gd name="connsiteY19" fmla="*/ 36909 h 240096"/>
                <a:gd name="connsiteX20" fmla="*/ 41024 w 198920"/>
                <a:gd name="connsiteY20" fmla="*/ 4210 h 240096"/>
                <a:gd name="connsiteX21" fmla="*/ 54864 w 198920"/>
                <a:gd name="connsiteY21" fmla="*/ 0 h 240096"/>
                <a:gd name="connsiteX22" fmla="*/ 70466 w 198920"/>
                <a:gd name="connsiteY22" fmla="*/ 22631 h 240096"/>
                <a:gd name="connsiteX23" fmla="*/ 82458 w 198920"/>
                <a:gd name="connsiteY23" fmla="*/ 48511 h 240096"/>
                <a:gd name="connsiteX24" fmla="*/ 115338 w 198920"/>
                <a:gd name="connsiteY24" fmla="*/ 48730 h 240096"/>
                <a:gd name="connsiteX25" fmla="*/ 125692 w 198920"/>
                <a:gd name="connsiteY25" fmla="*/ 73419 h 240096"/>
                <a:gd name="connsiteX26" fmla="*/ 108623 w 198920"/>
                <a:gd name="connsiteY26" fmla="*/ 80810 h 240096"/>
                <a:gd name="connsiteX27" fmla="*/ 100955 w 198920"/>
                <a:gd name="connsiteY27" fmla="*/ 90935 h 240096"/>
                <a:gd name="connsiteX28" fmla="*/ 132959 w 198920"/>
                <a:gd name="connsiteY28" fmla="*/ 107718 h 240096"/>
                <a:gd name="connsiteX29" fmla="*/ 155153 w 198920"/>
                <a:gd name="connsiteY29" fmla="*/ 140723 h 240096"/>
                <a:gd name="connsiteX30" fmla="*/ 171993 w 198920"/>
                <a:gd name="connsiteY30" fmla="*/ 165183 h 240096"/>
                <a:gd name="connsiteX31" fmla="*/ 192196 w 198920"/>
                <a:gd name="connsiteY31" fmla="*/ 184413 h 240096"/>
                <a:gd name="connsiteX32" fmla="*/ 198920 w 198920"/>
                <a:gd name="connsiteY32" fmla="*/ 203873 h 240096"/>
                <a:gd name="connsiteX33" fmla="*/ 194063 w 198920"/>
                <a:gd name="connsiteY33" fmla="*/ 231305 h 240096"/>
                <a:gd name="connsiteX34" fmla="*/ 170402 w 198920"/>
                <a:gd name="connsiteY34" fmla="*/ 221218 h 240096"/>
                <a:gd name="connsiteX35" fmla="*/ 158315 w 198920"/>
                <a:gd name="connsiteY35" fmla="*/ 240097 h 24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8920" h="240096">
                  <a:moveTo>
                    <a:pt x="136274" y="229371"/>
                  </a:moveTo>
                  <a:lnTo>
                    <a:pt x="144971" y="217018"/>
                  </a:lnTo>
                  <a:lnTo>
                    <a:pt x="146161" y="193748"/>
                  </a:lnTo>
                  <a:lnTo>
                    <a:pt x="124539" y="169678"/>
                  </a:lnTo>
                  <a:lnTo>
                    <a:pt x="122873" y="142294"/>
                  </a:lnTo>
                  <a:lnTo>
                    <a:pt x="102556" y="119644"/>
                  </a:lnTo>
                  <a:lnTo>
                    <a:pt x="82363" y="117729"/>
                  </a:lnTo>
                  <a:lnTo>
                    <a:pt x="76981" y="127445"/>
                  </a:lnTo>
                  <a:lnTo>
                    <a:pt x="61341" y="128254"/>
                  </a:lnTo>
                  <a:lnTo>
                    <a:pt x="53340" y="123330"/>
                  </a:lnTo>
                  <a:lnTo>
                    <a:pt x="25194" y="139960"/>
                  </a:lnTo>
                  <a:lnTo>
                    <a:pt x="24565" y="114948"/>
                  </a:lnTo>
                  <a:lnTo>
                    <a:pt x="31128" y="85382"/>
                  </a:lnTo>
                  <a:lnTo>
                    <a:pt x="13088" y="84087"/>
                  </a:lnTo>
                  <a:lnTo>
                    <a:pt x="11554" y="67132"/>
                  </a:lnTo>
                  <a:lnTo>
                    <a:pt x="0" y="58398"/>
                  </a:lnTo>
                  <a:lnTo>
                    <a:pt x="5686" y="47958"/>
                  </a:lnTo>
                  <a:lnTo>
                    <a:pt x="28413" y="29442"/>
                  </a:lnTo>
                  <a:lnTo>
                    <a:pt x="30813" y="36138"/>
                  </a:lnTo>
                  <a:lnTo>
                    <a:pt x="45053" y="36909"/>
                  </a:lnTo>
                  <a:lnTo>
                    <a:pt x="41024" y="4210"/>
                  </a:lnTo>
                  <a:lnTo>
                    <a:pt x="54864" y="0"/>
                  </a:lnTo>
                  <a:lnTo>
                    <a:pt x="70466" y="22631"/>
                  </a:lnTo>
                  <a:lnTo>
                    <a:pt x="82458" y="48511"/>
                  </a:lnTo>
                  <a:lnTo>
                    <a:pt x="115338" y="48730"/>
                  </a:lnTo>
                  <a:lnTo>
                    <a:pt x="125692" y="73419"/>
                  </a:lnTo>
                  <a:lnTo>
                    <a:pt x="108623" y="80810"/>
                  </a:lnTo>
                  <a:lnTo>
                    <a:pt x="100955" y="90935"/>
                  </a:lnTo>
                  <a:lnTo>
                    <a:pt x="132959" y="107718"/>
                  </a:lnTo>
                  <a:lnTo>
                    <a:pt x="155153" y="140723"/>
                  </a:lnTo>
                  <a:lnTo>
                    <a:pt x="171993" y="165183"/>
                  </a:lnTo>
                  <a:lnTo>
                    <a:pt x="192196" y="184413"/>
                  </a:lnTo>
                  <a:lnTo>
                    <a:pt x="198920" y="203873"/>
                  </a:lnTo>
                  <a:lnTo>
                    <a:pt x="194063" y="231305"/>
                  </a:lnTo>
                  <a:lnTo>
                    <a:pt x="170402" y="221218"/>
                  </a:lnTo>
                  <a:lnTo>
                    <a:pt x="158315" y="24009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orme libre : forme 5742">
              <a:extLst>
                <a:ext uri="{FF2B5EF4-FFF2-40B4-BE49-F238E27FC236}">
                  <a16:creationId xmlns:a16="http://schemas.microsoft.com/office/drawing/2014/main" id="{94FD5E8E-628C-0080-3752-E3316A85820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758997" y="3761074"/>
              <a:ext cx="39680" cy="49815"/>
            </a:xfrm>
            <a:custGeom>
              <a:avLst/>
              <a:gdLst>
                <a:gd name="connsiteX0" fmla="*/ 18564 w 39680"/>
                <a:gd name="connsiteY0" fmla="*/ 43834 h 49815"/>
                <a:gd name="connsiteX1" fmla="*/ 11401 w 39680"/>
                <a:gd name="connsiteY1" fmla="*/ 44253 h 49815"/>
                <a:gd name="connsiteX2" fmla="*/ 8944 w 39680"/>
                <a:gd name="connsiteY2" fmla="*/ 49816 h 49815"/>
                <a:gd name="connsiteX3" fmla="*/ 0 w 39680"/>
                <a:gd name="connsiteY3" fmla="*/ 49759 h 49815"/>
                <a:gd name="connsiteX4" fmla="*/ 9515 w 39680"/>
                <a:gd name="connsiteY4" fmla="*/ 23793 h 49815"/>
                <a:gd name="connsiteX5" fmla="*/ 22793 w 39680"/>
                <a:gd name="connsiteY5" fmla="*/ 1133 h 49815"/>
                <a:gd name="connsiteX6" fmla="*/ 23298 w 39680"/>
                <a:gd name="connsiteY6" fmla="*/ 0 h 49815"/>
                <a:gd name="connsiteX7" fmla="*/ 35309 w 39680"/>
                <a:gd name="connsiteY7" fmla="*/ 1648 h 49815"/>
                <a:gd name="connsiteX8" fmla="*/ 39681 w 39680"/>
                <a:gd name="connsiteY8" fmla="*/ 14288 h 49815"/>
                <a:gd name="connsiteX9" fmla="*/ 25117 w 39680"/>
                <a:gd name="connsiteY9" fmla="*/ 26375 h 49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80" h="49815">
                  <a:moveTo>
                    <a:pt x="18564" y="43834"/>
                  </a:moveTo>
                  <a:lnTo>
                    <a:pt x="11401" y="44253"/>
                  </a:lnTo>
                  <a:lnTo>
                    <a:pt x="8944" y="49816"/>
                  </a:lnTo>
                  <a:lnTo>
                    <a:pt x="0" y="49759"/>
                  </a:lnTo>
                  <a:lnTo>
                    <a:pt x="9515" y="23793"/>
                  </a:lnTo>
                  <a:lnTo>
                    <a:pt x="22793" y="1133"/>
                  </a:lnTo>
                  <a:lnTo>
                    <a:pt x="23298" y="0"/>
                  </a:lnTo>
                  <a:lnTo>
                    <a:pt x="35309" y="1648"/>
                  </a:lnTo>
                  <a:lnTo>
                    <a:pt x="39681" y="14288"/>
                  </a:lnTo>
                  <a:lnTo>
                    <a:pt x="25117" y="2637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orme libre : forme 5743">
              <a:extLst>
                <a:ext uri="{FF2B5EF4-FFF2-40B4-BE49-F238E27FC236}">
                  <a16:creationId xmlns:a16="http://schemas.microsoft.com/office/drawing/2014/main" id="{C15E9926-D605-C710-3606-7BBBE005101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949288" y="4480745"/>
              <a:ext cx="55892" cy="103289"/>
            </a:xfrm>
            <a:custGeom>
              <a:avLst/>
              <a:gdLst>
                <a:gd name="connsiteX0" fmla="*/ 55893 w 55892"/>
                <a:gd name="connsiteY0" fmla="*/ 61760 h 103289"/>
                <a:gd name="connsiteX1" fmla="*/ 51873 w 55892"/>
                <a:gd name="connsiteY1" fmla="*/ 89592 h 103289"/>
                <a:gd name="connsiteX2" fmla="*/ 40681 w 55892"/>
                <a:gd name="connsiteY2" fmla="*/ 97184 h 103289"/>
                <a:gd name="connsiteX3" fmla="*/ 17450 w 55892"/>
                <a:gd name="connsiteY3" fmla="*/ 103289 h 103289"/>
                <a:gd name="connsiteX4" fmla="*/ 4734 w 55892"/>
                <a:gd name="connsiteY4" fmla="*/ 82067 h 103289"/>
                <a:gd name="connsiteX5" fmla="*/ 0 w 55892"/>
                <a:gd name="connsiteY5" fmla="*/ 43605 h 103289"/>
                <a:gd name="connsiteX6" fmla="*/ 12097 w 55892"/>
                <a:gd name="connsiteY6" fmla="*/ 0 h 103289"/>
                <a:gd name="connsiteX7" fmla="*/ 30547 w 55892"/>
                <a:gd name="connsiteY7" fmla="*/ 14945 h 103289"/>
                <a:gd name="connsiteX8" fmla="*/ 42986 w 55892"/>
                <a:gd name="connsiteY8" fmla="*/ 33852 h 10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892" h="103289">
                  <a:moveTo>
                    <a:pt x="55893" y="61760"/>
                  </a:moveTo>
                  <a:lnTo>
                    <a:pt x="51873" y="89592"/>
                  </a:lnTo>
                  <a:lnTo>
                    <a:pt x="40681" y="97184"/>
                  </a:lnTo>
                  <a:lnTo>
                    <a:pt x="17450" y="103289"/>
                  </a:lnTo>
                  <a:lnTo>
                    <a:pt x="4734" y="82067"/>
                  </a:lnTo>
                  <a:lnTo>
                    <a:pt x="0" y="43605"/>
                  </a:lnTo>
                  <a:lnTo>
                    <a:pt x="12097" y="0"/>
                  </a:lnTo>
                  <a:lnTo>
                    <a:pt x="30547" y="14945"/>
                  </a:lnTo>
                  <a:lnTo>
                    <a:pt x="42986" y="3385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orme libre : forme 5744">
              <a:extLst>
                <a:ext uri="{FF2B5EF4-FFF2-40B4-BE49-F238E27FC236}">
                  <a16:creationId xmlns:a16="http://schemas.microsoft.com/office/drawing/2014/main" id="{16924D0E-7C08-F3C7-0BDB-C1125EA5E9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515403" y="4515225"/>
              <a:ext cx="104136" cy="111766"/>
            </a:xfrm>
            <a:custGeom>
              <a:avLst/>
              <a:gdLst>
                <a:gd name="connsiteX0" fmla="*/ 99527 w 104136"/>
                <a:gd name="connsiteY0" fmla="*/ 111538 h 111766"/>
                <a:gd name="connsiteX1" fmla="*/ 92535 w 104136"/>
                <a:gd name="connsiteY1" fmla="*/ 111766 h 111766"/>
                <a:gd name="connsiteX2" fmla="*/ 65008 w 104136"/>
                <a:gd name="connsiteY2" fmla="*/ 99079 h 111766"/>
                <a:gd name="connsiteX3" fmla="*/ 40739 w 104136"/>
                <a:gd name="connsiteY3" fmla="*/ 78800 h 111766"/>
                <a:gd name="connsiteX4" fmla="*/ 17983 w 104136"/>
                <a:gd name="connsiteY4" fmla="*/ 64218 h 111766"/>
                <a:gd name="connsiteX5" fmla="*/ 0 w 104136"/>
                <a:gd name="connsiteY5" fmla="*/ 46987 h 111766"/>
                <a:gd name="connsiteX6" fmla="*/ 6391 w 104136"/>
                <a:gd name="connsiteY6" fmla="*/ 38433 h 111766"/>
                <a:gd name="connsiteX7" fmla="*/ 7801 w 104136"/>
                <a:gd name="connsiteY7" fmla="*/ 30661 h 111766"/>
                <a:gd name="connsiteX8" fmla="*/ 19850 w 104136"/>
                <a:gd name="connsiteY8" fmla="*/ 16126 h 111766"/>
                <a:gd name="connsiteX9" fmla="*/ 32280 w 104136"/>
                <a:gd name="connsiteY9" fmla="*/ 3620 h 111766"/>
                <a:gd name="connsiteX10" fmla="*/ 37986 w 104136"/>
                <a:gd name="connsiteY10" fmla="*/ 3020 h 111766"/>
                <a:gd name="connsiteX11" fmla="*/ 44958 w 104136"/>
                <a:gd name="connsiteY11" fmla="*/ 0 h 111766"/>
                <a:gd name="connsiteX12" fmla="*/ 56131 w 104136"/>
                <a:gd name="connsiteY12" fmla="*/ 16421 h 111766"/>
                <a:gd name="connsiteX13" fmla="*/ 54359 w 104136"/>
                <a:gd name="connsiteY13" fmla="*/ 27175 h 111766"/>
                <a:gd name="connsiteX14" fmla="*/ 59560 w 104136"/>
                <a:gd name="connsiteY14" fmla="*/ 32871 h 111766"/>
                <a:gd name="connsiteX15" fmla="*/ 67113 w 104136"/>
                <a:gd name="connsiteY15" fmla="*/ 33004 h 111766"/>
                <a:gd name="connsiteX16" fmla="*/ 72552 w 104136"/>
                <a:gd name="connsiteY16" fmla="*/ 22222 h 111766"/>
                <a:gd name="connsiteX17" fmla="*/ 80105 w 104136"/>
                <a:gd name="connsiteY17" fmla="*/ 22917 h 111766"/>
                <a:gd name="connsiteX18" fmla="*/ 78877 w 104136"/>
                <a:gd name="connsiteY18" fmla="*/ 30690 h 111766"/>
                <a:gd name="connsiteX19" fmla="*/ 81544 w 104136"/>
                <a:gd name="connsiteY19" fmla="*/ 43625 h 111766"/>
                <a:gd name="connsiteX20" fmla="*/ 75743 w 104136"/>
                <a:gd name="connsiteY20" fmla="*/ 55483 h 111766"/>
                <a:gd name="connsiteX21" fmla="*/ 83525 w 104136"/>
                <a:gd name="connsiteY21" fmla="*/ 62817 h 111766"/>
                <a:gd name="connsiteX22" fmla="*/ 92012 w 104136"/>
                <a:gd name="connsiteY22" fmla="*/ 64599 h 111766"/>
                <a:gd name="connsiteX23" fmla="*/ 103318 w 104136"/>
                <a:gd name="connsiteY23" fmla="*/ 75772 h 111766"/>
                <a:gd name="connsiteX24" fmla="*/ 104137 w 104136"/>
                <a:gd name="connsiteY24" fmla="*/ 86268 h 111766"/>
                <a:gd name="connsiteX25" fmla="*/ 101584 w 104136"/>
                <a:gd name="connsiteY25" fmla="*/ 89611 h 11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04136" h="111766">
                  <a:moveTo>
                    <a:pt x="99527" y="111538"/>
                  </a:moveTo>
                  <a:lnTo>
                    <a:pt x="92535" y="111766"/>
                  </a:lnTo>
                  <a:lnTo>
                    <a:pt x="65008" y="99079"/>
                  </a:lnTo>
                  <a:lnTo>
                    <a:pt x="40739" y="78800"/>
                  </a:lnTo>
                  <a:lnTo>
                    <a:pt x="17983" y="64218"/>
                  </a:lnTo>
                  <a:lnTo>
                    <a:pt x="0" y="46987"/>
                  </a:lnTo>
                  <a:lnTo>
                    <a:pt x="6391" y="38433"/>
                  </a:lnTo>
                  <a:lnTo>
                    <a:pt x="7801" y="30661"/>
                  </a:lnTo>
                  <a:lnTo>
                    <a:pt x="19850" y="16126"/>
                  </a:lnTo>
                  <a:lnTo>
                    <a:pt x="32280" y="3620"/>
                  </a:lnTo>
                  <a:lnTo>
                    <a:pt x="37986" y="3020"/>
                  </a:lnTo>
                  <a:lnTo>
                    <a:pt x="44958" y="0"/>
                  </a:lnTo>
                  <a:lnTo>
                    <a:pt x="56131" y="16421"/>
                  </a:lnTo>
                  <a:lnTo>
                    <a:pt x="54359" y="27175"/>
                  </a:lnTo>
                  <a:lnTo>
                    <a:pt x="59560" y="32871"/>
                  </a:lnTo>
                  <a:lnTo>
                    <a:pt x="67113" y="33004"/>
                  </a:lnTo>
                  <a:lnTo>
                    <a:pt x="72552" y="22222"/>
                  </a:lnTo>
                  <a:lnTo>
                    <a:pt x="80105" y="22917"/>
                  </a:lnTo>
                  <a:lnTo>
                    <a:pt x="78877" y="30690"/>
                  </a:lnTo>
                  <a:lnTo>
                    <a:pt x="81544" y="43625"/>
                  </a:lnTo>
                  <a:lnTo>
                    <a:pt x="75743" y="55483"/>
                  </a:lnTo>
                  <a:lnTo>
                    <a:pt x="83525" y="62817"/>
                  </a:lnTo>
                  <a:lnTo>
                    <a:pt x="92012" y="64599"/>
                  </a:lnTo>
                  <a:lnTo>
                    <a:pt x="103318" y="75772"/>
                  </a:lnTo>
                  <a:lnTo>
                    <a:pt x="104137" y="86268"/>
                  </a:lnTo>
                  <a:lnTo>
                    <a:pt x="101584" y="896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orme libre : forme 5745">
              <a:extLst>
                <a:ext uri="{FF2B5EF4-FFF2-40B4-BE49-F238E27FC236}">
                  <a16:creationId xmlns:a16="http://schemas.microsoft.com/office/drawing/2014/main" id="{6337F045-B498-CA93-04DD-871C64C5125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541960" y="5536848"/>
              <a:ext cx="62121" cy="61083"/>
            </a:xfrm>
            <a:custGeom>
              <a:avLst/>
              <a:gdLst>
                <a:gd name="connsiteX0" fmla="*/ 52854 w 62121"/>
                <a:gd name="connsiteY0" fmla="*/ 9344 h 61083"/>
                <a:gd name="connsiteX1" fmla="*/ 62122 w 62121"/>
                <a:gd name="connsiteY1" fmla="*/ 18516 h 61083"/>
                <a:gd name="connsiteX2" fmla="*/ 53921 w 62121"/>
                <a:gd name="connsiteY2" fmla="*/ 33366 h 61083"/>
                <a:gd name="connsiteX3" fmla="*/ 49387 w 62121"/>
                <a:gd name="connsiteY3" fmla="*/ 43367 h 61083"/>
                <a:gd name="connsiteX4" fmla="*/ 34500 w 62121"/>
                <a:gd name="connsiteY4" fmla="*/ 48168 h 61083"/>
                <a:gd name="connsiteX5" fmla="*/ 29594 w 62121"/>
                <a:gd name="connsiteY5" fmla="*/ 58007 h 61083"/>
                <a:gd name="connsiteX6" fmla="*/ 20031 w 62121"/>
                <a:gd name="connsiteY6" fmla="*/ 61083 h 61083"/>
                <a:gd name="connsiteX7" fmla="*/ 0 w 62121"/>
                <a:gd name="connsiteY7" fmla="*/ 37414 h 61083"/>
                <a:gd name="connsiteX8" fmla="*/ 14240 w 62121"/>
                <a:gd name="connsiteY8" fmla="*/ 18069 h 61083"/>
                <a:gd name="connsiteX9" fmla="*/ 28708 w 62121"/>
                <a:gd name="connsiteY9" fmla="*/ 6182 h 61083"/>
                <a:gd name="connsiteX10" fmla="*/ 41196 w 62121"/>
                <a:gd name="connsiteY10" fmla="*/ 0 h 61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121" h="61083">
                  <a:moveTo>
                    <a:pt x="52854" y="9344"/>
                  </a:moveTo>
                  <a:lnTo>
                    <a:pt x="62122" y="18516"/>
                  </a:lnTo>
                  <a:lnTo>
                    <a:pt x="53921" y="33366"/>
                  </a:lnTo>
                  <a:lnTo>
                    <a:pt x="49387" y="43367"/>
                  </a:lnTo>
                  <a:lnTo>
                    <a:pt x="34500" y="48168"/>
                  </a:lnTo>
                  <a:lnTo>
                    <a:pt x="29594" y="58007"/>
                  </a:lnTo>
                  <a:lnTo>
                    <a:pt x="20031" y="61083"/>
                  </a:lnTo>
                  <a:lnTo>
                    <a:pt x="0" y="37414"/>
                  </a:lnTo>
                  <a:lnTo>
                    <a:pt x="14240" y="18069"/>
                  </a:lnTo>
                  <a:lnTo>
                    <a:pt x="28708" y="6182"/>
                  </a:lnTo>
                  <a:lnTo>
                    <a:pt x="41196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orme libre : forme 5746">
              <a:extLst>
                <a:ext uri="{FF2B5EF4-FFF2-40B4-BE49-F238E27FC236}">
                  <a16:creationId xmlns:a16="http://schemas.microsoft.com/office/drawing/2014/main" id="{47E747BA-D406-4290-2325-1518A9BF3F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83235" y="2919978"/>
              <a:ext cx="147751" cy="115052"/>
            </a:xfrm>
            <a:custGeom>
              <a:avLst/>
              <a:gdLst>
                <a:gd name="connsiteX0" fmla="*/ 44739 w 147751"/>
                <a:gd name="connsiteY0" fmla="*/ 95878 h 115052"/>
                <a:gd name="connsiteX1" fmla="*/ 42596 w 147751"/>
                <a:gd name="connsiteY1" fmla="*/ 84182 h 115052"/>
                <a:gd name="connsiteX2" fmla="*/ 45453 w 147751"/>
                <a:gd name="connsiteY2" fmla="*/ 71542 h 115052"/>
                <a:gd name="connsiteX3" fmla="*/ 33642 w 147751"/>
                <a:gd name="connsiteY3" fmla="*/ 64179 h 115052"/>
                <a:gd name="connsiteX4" fmla="*/ 5677 w 147751"/>
                <a:gd name="connsiteY4" fmla="*/ 56026 h 115052"/>
                <a:gd name="connsiteX5" fmla="*/ 0 w 147751"/>
                <a:gd name="connsiteY5" fmla="*/ 16364 h 115052"/>
                <a:gd name="connsiteX6" fmla="*/ 30585 w 147751"/>
                <a:gd name="connsiteY6" fmla="*/ 1667 h 115052"/>
                <a:gd name="connsiteX7" fmla="*/ 75371 w 147751"/>
                <a:gd name="connsiteY7" fmla="*/ 4753 h 115052"/>
                <a:gd name="connsiteX8" fmla="*/ 101603 w 147751"/>
                <a:gd name="connsiteY8" fmla="*/ 0 h 115052"/>
                <a:gd name="connsiteX9" fmla="*/ 105356 w 147751"/>
                <a:gd name="connsiteY9" fmla="*/ 9982 h 115052"/>
                <a:gd name="connsiteX10" fmla="*/ 119567 w 147751"/>
                <a:gd name="connsiteY10" fmla="*/ 13049 h 115052"/>
                <a:gd name="connsiteX11" fmla="*/ 145237 w 147751"/>
                <a:gd name="connsiteY11" fmla="*/ 36090 h 115052"/>
                <a:gd name="connsiteX12" fmla="*/ 147751 w 147751"/>
                <a:gd name="connsiteY12" fmla="*/ 57112 h 115052"/>
                <a:gd name="connsiteX13" fmla="*/ 125854 w 147751"/>
                <a:gd name="connsiteY13" fmla="*/ 71990 h 115052"/>
                <a:gd name="connsiteX14" fmla="*/ 119653 w 147751"/>
                <a:gd name="connsiteY14" fmla="*/ 97936 h 115052"/>
                <a:gd name="connsiteX15" fmla="*/ 90659 w 147751"/>
                <a:gd name="connsiteY15" fmla="*/ 115052 h 115052"/>
                <a:gd name="connsiteX16" fmla="*/ 64846 w 147751"/>
                <a:gd name="connsiteY16" fmla="*/ 114748 h 115052"/>
                <a:gd name="connsiteX17" fmla="*/ 58436 w 147751"/>
                <a:gd name="connsiteY17" fmla="*/ 100755 h 115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7751" h="115052">
                  <a:moveTo>
                    <a:pt x="44739" y="95878"/>
                  </a:moveTo>
                  <a:lnTo>
                    <a:pt x="42596" y="84182"/>
                  </a:lnTo>
                  <a:lnTo>
                    <a:pt x="45453" y="71542"/>
                  </a:lnTo>
                  <a:lnTo>
                    <a:pt x="33642" y="64179"/>
                  </a:lnTo>
                  <a:lnTo>
                    <a:pt x="5677" y="56026"/>
                  </a:lnTo>
                  <a:lnTo>
                    <a:pt x="0" y="16364"/>
                  </a:lnTo>
                  <a:lnTo>
                    <a:pt x="30585" y="1667"/>
                  </a:lnTo>
                  <a:lnTo>
                    <a:pt x="75371" y="4753"/>
                  </a:lnTo>
                  <a:lnTo>
                    <a:pt x="101603" y="0"/>
                  </a:lnTo>
                  <a:lnTo>
                    <a:pt x="105356" y="9982"/>
                  </a:lnTo>
                  <a:lnTo>
                    <a:pt x="119567" y="13049"/>
                  </a:lnTo>
                  <a:lnTo>
                    <a:pt x="145237" y="36090"/>
                  </a:lnTo>
                  <a:lnTo>
                    <a:pt x="147751" y="57112"/>
                  </a:lnTo>
                  <a:lnTo>
                    <a:pt x="125854" y="71990"/>
                  </a:lnTo>
                  <a:lnTo>
                    <a:pt x="119653" y="97936"/>
                  </a:lnTo>
                  <a:lnTo>
                    <a:pt x="90659" y="115052"/>
                  </a:lnTo>
                  <a:lnTo>
                    <a:pt x="64846" y="114748"/>
                  </a:lnTo>
                  <a:lnTo>
                    <a:pt x="58436" y="10075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orme libre : forme 5747">
              <a:extLst>
                <a:ext uri="{FF2B5EF4-FFF2-40B4-BE49-F238E27FC236}">
                  <a16:creationId xmlns:a16="http://schemas.microsoft.com/office/drawing/2014/main" id="{35D0AC05-BB3A-CADF-912A-967DE3D608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972431" y="3198670"/>
              <a:ext cx="15192" cy="28270"/>
            </a:xfrm>
            <a:custGeom>
              <a:avLst/>
              <a:gdLst>
                <a:gd name="connsiteX0" fmla="*/ 9858 w 15192"/>
                <a:gd name="connsiteY0" fmla="*/ 0 h 28270"/>
                <a:gd name="connsiteX1" fmla="*/ 15192 w 15192"/>
                <a:gd name="connsiteY1" fmla="*/ 9363 h 28270"/>
                <a:gd name="connsiteX2" fmla="*/ 13688 w 15192"/>
                <a:gd name="connsiteY2" fmla="*/ 27413 h 28270"/>
                <a:gd name="connsiteX3" fmla="*/ 5982 w 15192"/>
                <a:gd name="connsiteY3" fmla="*/ 28270 h 28270"/>
                <a:gd name="connsiteX4" fmla="*/ 0 w 15192"/>
                <a:gd name="connsiteY4" fmla="*/ 24717 h 28270"/>
                <a:gd name="connsiteX5" fmla="*/ 2896 w 15192"/>
                <a:gd name="connsiteY5" fmla="*/ 1572 h 28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92" h="28270">
                  <a:moveTo>
                    <a:pt x="9858" y="0"/>
                  </a:moveTo>
                  <a:lnTo>
                    <a:pt x="15192" y="9363"/>
                  </a:lnTo>
                  <a:lnTo>
                    <a:pt x="13688" y="27413"/>
                  </a:lnTo>
                  <a:lnTo>
                    <a:pt x="5982" y="28270"/>
                  </a:lnTo>
                  <a:lnTo>
                    <a:pt x="0" y="24717"/>
                  </a:lnTo>
                  <a:lnTo>
                    <a:pt x="2896" y="1572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orme libre : forme 5748">
              <a:extLst>
                <a:ext uri="{FF2B5EF4-FFF2-40B4-BE49-F238E27FC236}">
                  <a16:creationId xmlns:a16="http://schemas.microsoft.com/office/drawing/2014/main" id="{22157187-7902-3F9C-96CA-F65A4838EC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83235" y="2841416"/>
              <a:ext cx="190166" cy="114652"/>
            </a:xfrm>
            <a:custGeom>
              <a:avLst/>
              <a:gdLst>
                <a:gd name="connsiteX0" fmla="*/ 0 w 190166"/>
                <a:gd name="connsiteY0" fmla="*/ 94926 h 114652"/>
                <a:gd name="connsiteX1" fmla="*/ 914 w 190166"/>
                <a:gd name="connsiteY1" fmla="*/ 58655 h 114652"/>
                <a:gd name="connsiteX2" fmla="*/ 14040 w 190166"/>
                <a:gd name="connsiteY2" fmla="*/ 27842 h 114652"/>
                <a:gd name="connsiteX3" fmla="*/ 39214 w 190166"/>
                <a:gd name="connsiteY3" fmla="*/ 10859 h 114652"/>
                <a:gd name="connsiteX4" fmla="*/ 60417 w 190166"/>
                <a:gd name="connsiteY4" fmla="*/ 47806 h 114652"/>
                <a:gd name="connsiteX5" fmla="*/ 81848 w 190166"/>
                <a:gd name="connsiteY5" fmla="*/ 46854 h 114652"/>
                <a:gd name="connsiteX6" fmla="*/ 86982 w 190166"/>
                <a:gd name="connsiteY6" fmla="*/ 8858 h 114652"/>
                <a:gd name="connsiteX7" fmla="*/ 109728 w 190166"/>
                <a:gd name="connsiteY7" fmla="*/ 0 h 114652"/>
                <a:gd name="connsiteX8" fmla="*/ 121434 w 190166"/>
                <a:gd name="connsiteY8" fmla="*/ 6153 h 114652"/>
                <a:gd name="connsiteX9" fmla="*/ 144418 w 190166"/>
                <a:gd name="connsiteY9" fmla="*/ 24651 h 114652"/>
                <a:gd name="connsiteX10" fmla="*/ 166440 w 190166"/>
                <a:gd name="connsiteY10" fmla="*/ 24737 h 114652"/>
                <a:gd name="connsiteX11" fmla="*/ 179308 w 190166"/>
                <a:gd name="connsiteY11" fmla="*/ 36119 h 114652"/>
                <a:gd name="connsiteX12" fmla="*/ 181584 w 190166"/>
                <a:gd name="connsiteY12" fmla="*/ 59845 h 114652"/>
                <a:gd name="connsiteX13" fmla="*/ 190166 w 190166"/>
                <a:gd name="connsiteY13" fmla="*/ 88325 h 114652"/>
                <a:gd name="connsiteX14" fmla="*/ 161477 w 190166"/>
                <a:gd name="connsiteY14" fmla="*/ 106699 h 114652"/>
                <a:gd name="connsiteX15" fmla="*/ 145237 w 190166"/>
                <a:gd name="connsiteY15" fmla="*/ 114652 h 114652"/>
                <a:gd name="connsiteX16" fmla="*/ 119567 w 190166"/>
                <a:gd name="connsiteY16" fmla="*/ 91612 h 114652"/>
                <a:gd name="connsiteX17" fmla="*/ 105356 w 190166"/>
                <a:gd name="connsiteY17" fmla="*/ 88544 h 114652"/>
                <a:gd name="connsiteX18" fmla="*/ 101603 w 190166"/>
                <a:gd name="connsiteY18" fmla="*/ 78562 h 114652"/>
                <a:gd name="connsiteX19" fmla="*/ 75371 w 190166"/>
                <a:gd name="connsiteY19" fmla="*/ 83315 h 114652"/>
                <a:gd name="connsiteX20" fmla="*/ 30585 w 190166"/>
                <a:gd name="connsiteY20" fmla="*/ 80229 h 11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0166" h="114652">
                  <a:moveTo>
                    <a:pt x="0" y="94926"/>
                  </a:moveTo>
                  <a:lnTo>
                    <a:pt x="914" y="58655"/>
                  </a:lnTo>
                  <a:lnTo>
                    <a:pt x="14040" y="27842"/>
                  </a:lnTo>
                  <a:lnTo>
                    <a:pt x="39214" y="10859"/>
                  </a:lnTo>
                  <a:lnTo>
                    <a:pt x="60417" y="47806"/>
                  </a:lnTo>
                  <a:lnTo>
                    <a:pt x="81848" y="46854"/>
                  </a:lnTo>
                  <a:lnTo>
                    <a:pt x="86982" y="8858"/>
                  </a:lnTo>
                  <a:lnTo>
                    <a:pt x="109728" y="0"/>
                  </a:lnTo>
                  <a:lnTo>
                    <a:pt x="121434" y="6153"/>
                  </a:lnTo>
                  <a:lnTo>
                    <a:pt x="144418" y="24651"/>
                  </a:lnTo>
                  <a:lnTo>
                    <a:pt x="166440" y="24737"/>
                  </a:lnTo>
                  <a:lnTo>
                    <a:pt x="179308" y="36119"/>
                  </a:lnTo>
                  <a:lnTo>
                    <a:pt x="181584" y="59845"/>
                  </a:lnTo>
                  <a:lnTo>
                    <a:pt x="190166" y="88325"/>
                  </a:lnTo>
                  <a:lnTo>
                    <a:pt x="161477" y="106699"/>
                  </a:lnTo>
                  <a:lnTo>
                    <a:pt x="145237" y="114652"/>
                  </a:lnTo>
                  <a:lnTo>
                    <a:pt x="119567" y="91612"/>
                  </a:lnTo>
                  <a:lnTo>
                    <a:pt x="105356" y="88544"/>
                  </a:lnTo>
                  <a:lnTo>
                    <a:pt x="101603" y="78562"/>
                  </a:lnTo>
                  <a:lnTo>
                    <a:pt x="75371" y="83315"/>
                  </a:lnTo>
                  <a:lnTo>
                    <a:pt x="30585" y="802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orme libre : forme 5749">
              <a:extLst>
                <a:ext uri="{FF2B5EF4-FFF2-40B4-BE49-F238E27FC236}">
                  <a16:creationId xmlns:a16="http://schemas.microsoft.com/office/drawing/2014/main" id="{0B830D0A-2888-4ED7-AC34-81C7059D274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069787" y="3809366"/>
              <a:ext cx="423186" cy="403307"/>
            </a:xfrm>
            <a:custGeom>
              <a:avLst/>
              <a:gdLst>
                <a:gd name="connsiteX0" fmla="*/ 147742 w 423186"/>
                <a:gd name="connsiteY0" fmla="*/ 309801 h 403307"/>
                <a:gd name="connsiteX1" fmla="*/ 128844 w 423186"/>
                <a:gd name="connsiteY1" fmla="*/ 320497 h 403307"/>
                <a:gd name="connsiteX2" fmla="*/ 113824 w 423186"/>
                <a:gd name="connsiteY2" fmla="*/ 304676 h 403307"/>
                <a:gd name="connsiteX3" fmla="*/ 71581 w 423186"/>
                <a:gd name="connsiteY3" fmla="*/ 292217 h 403307"/>
                <a:gd name="connsiteX4" fmla="*/ 59855 w 423186"/>
                <a:gd name="connsiteY4" fmla="*/ 274034 h 403307"/>
                <a:gd name="connsiteX5" fmla="*/ 38776 w 423186"/>
                <a:gd name="connsiteY5" fmla="*/ 260499 h 403307"/>
                <a:gd name="connsiteX6" fmla="*/ 26299 w 423186"/>
                <a:gd name="connsiteY6" fmla="*/ 265843 h 403307"/>
                <a:gd name="connsiteX7" fmla="*/ 16793 w 423186"/>
                <a:gd name="connsiteY7" fmla="*/ 249546 h 403307"/>
                <a:gd name="connsiteX8" fmla="*/ 15792 w 423186"/>
                <a:gd name="connsiteY8" fmla="*/ 236972 h 403307"/>
                <a:gd name="connsiteX9" fmla="*/ 0 w 423186"/>
                <a:gd name="connsiteY9" fmla="*/ 215484 h 403307"/>
                <a:gd name="connsiteX10" fmla="*/ 10601 w 423186"/>
                <a:gd name="connsiteY10" fmla="*/ 203102 h 403307"/>
                <a:gd name="connsiteX11" fmla="*/ 8268 w 423186"/>
                <a:gd name="connsiteY11" fmla="*/ 184385 h 403307"/>
                <a:gd name="connsiteX12" fmla="*/ 11668 w 423186"/>
                <a:gd name="connsiteY12" fmla="*/ 168011 h 403307"/>
                <a:gd name="connsiteX13" fmla="*/ 9735 w 423186"/>
                <a:gd name="connsiteY13" fmla="*/ 154296 h 403307"/>
                <a:gd name="connsiteX14" fmla="*/ 14440 w 423186"/>
                <a:gd name="connsiteY14" fmla="*/ 129626 h 403307"/>
                <a:gd name="connsiteX15" fmla="*/ 12992 w 423186"/>
                <a:gd name="connsiteY15" fmla="*/ 115481 h 403307"/>
                <a:gd name="connsiteX16" fmla="*/ 4343 w 423186"/>
                <a:gd name="connsiteY16" fmla="*/ 88430 h 403307"/>
                <a:gd name="connsiteX17" fmla="*/ 17383 w 423186"/>
                <a:gd name="connsiteY17" fmla="*/ 81286 h 403307"/>
                <a:gd name="connsiteX18" fmla="*/ 19688 w 423186"/>
                <a:gd name="connsiteY18" fmla="*/ 68218 h 403307"/>
                <a:gd name="connsiteX19" fmla="*/ 16850 w 423186"/>
                <a:gd name="connsiteY19" fmla="*/ 55350 h 403307"/>
                <a:gd name="connsiteX20" fmla="*/ 35185 w 423186"/>
                <a:gd name="connsiteY20" fmla="*/ 43329 h 403307"/>
                <a:gd name="connsiteX21" fmla="*/ 43405 w 423186"/>
                <a:gd name="connsiteY21" fmla="*/ 33299 h 403307"/>
                <a:gd name="connsiteX22" fmla="*/ 56426 w 423186"/>
                <a:gd name="connsiteY22" fmla="*/ 24279 h 403307"/>
                <a:gd name="connsiteX23" fmla="*/ 57941 w 423186"/>
                <a:gd name="connsiteY23" fmla="*/ 0 h 403307"/>
                <a:gd name="connsiteX24" fmla="*/ 89306 w 423186"/>
                <a:gd name="connsiteY24" fmla="*/ 10906 h 403307"/>
                <a:gd name="connsiteX25" fmla="*/ 100527 w 423186"/>
                <a:gd name="connsiteY25" fmla="*/ 8191 h 403307"/>
                <a:gd name="connsiteX26" fmla="*/ 122834 w 423186"/>
                <a:gd name="connsiteY26" fmla="*/ 13459 h 403307"/>
                <a:gd name="connsiteX27" fmla="*/ 158277 w 423186"/>
                <a:gd name="connsiteY27" fmla="*/ 27546 h 403307"/>
                <a:gd name="connsiteX28" fmla="*/ 170783 w 423186"/>
                <a:gd name="connsiteY28" fmla="*/ 55340 h 403307"/>
                <a:gd name="connsiteX29" fmla="*/ 194758 w 423186"/>
                <a:gd name="connsiteY29" fmla="*/ 61379 h 403307"/>
                <a:gd name="connsiteX30" fmla="*/ 232391 w 423186"/>
                <a:gd name="connsiteY30" fmla="*/ 74352 h 403307"/>
                <a:gd name="connsiteX31" fmla="*/ 260852 w 423186"/>
                <a:gd name="connsiteY31" fmla="*/ 89687 h 403307"/>
                <a:gd name="connsiteX32" fmla="*/ 273872 w 423186"/>
                <a:gd name="connsiteY32" fmla="*/ 81696 h 403307"/>
                <a:gd name="connsiteX33" fmla="*/ 286664 w 423186"/>
                <a:gd name="connsiteY33" fmla="*/ 67475 h 403307"/>
                <a:gd name="connsiteX34" fmla="*/ 280445 w 423186"/>
                <a:gd name="connsiteY34" fmla="*/ 43634 h 403307"/>
                <a:gd name="connsiteX35" fmla="*/ 288827 w 423186"/>
                <a:gd name="connsiteY35" fmla="*/ 28384 h 403307"/>
                <a:gd name="connsiteX36" fmla="*/ 308067 w 423186"/>
                <a:gd name="connsiteY36" fmla="*/ 13630 h 403307"/>
                <a:gd name="connsiteX37" fmla="*/ 326450 w 423186"/>
                <a:gd name="connsiteY37" fmla="*/ 9315 h 403307"/>
                <a:gd name="connsiteX38" fmla="*/ 362578 w 423186"/>
                <a:gd name="connsiteY38" fmla="*/ 15783 h 403307"/>
                <a:gd name="connsiteX39" fmla="*/ 371685 w 423186"/>
                <a:gd name="connsiteY39" fmla="*/ 29861 h 403307"/>
                <a:gd name="connsiteX40" fmla="*/ 381628 w 423186"/>
                <a:gd name="connsiteY40" fmla="*/ 29985 h 403307"/>
                <a:gd name="connsiteX41" fmla="*/ 390134 w 423186"/>
                <a:gd name="connsiteY41" fmla="*/ 35338 h 403307"/>
                <a:gd name="connsiteX42" fmla="*/ 416671 w 423186"/>
                <a:gd name="connsiteY42" fmla="*/ 39014 h 403307"/>
                <a:gd name="connsiteX43" fmla="*/ 423186 w 423186"/>
                <a:gd name="connsiteY43" fmla="*/ 49339 h 403307"/>
                <a:gd name="connsiteX44" fmla="*/ 413509 w 423186"/>
                <a:gd name="connsiteY44" fmla="*/ 64265 h 403307"/>
                <a:gd name="connsiteX45" fmla="*/ 417643 w 423186"/>
                <a:gd name="connsiteY45" fmla="*/ 77505 h 403307"/>
                <a:gd name="connsiteX46" fmla="*/ 410766 w 423186"/>
                <a:gd name="connsiteY46" fmla="*/ 96517 h 403307"/>
                <a:gd name="connsiteX47" fmla="*/ 418776 w 423186"/>
                <a:gd name="connsiteY47" fmla="*/ 121148 h 403307"/>
                <a:gd name="connsiteX48" fmla="*/ 418776 w 423186"/>
                <a:gd name="connsiteY48" fmla="*/ 227638 h 403307"/>
                <a:gd name="connsiteX49" fmla="*/ 418776 w 423186"/>
                <a:gd name="connsiteY49" fmla="*/ 334585 h 403307"/>
                <a:gd name="connsiteX50" fmla="*/ 418776 w 423186"/>
                <a:gd name="connsiteY50" fmla="*/ 391382 h 403307"/>
                <a:gd name="connsiteX51" fmla="*/ 388068 w 423186"/>
                <a:gd name="connsiteY51" fmla="*/ 391468 h 403307"/>
                <a:gd name="connsiteX52" fmla="*/ 387734 w 423186"/>
                <a:gd name="connsiteY52" fmla="*/ 403307 h 403307"/>
                <a:gd name="connsiteX53" fmla="*/ 281216 w 423186"/>
                <a:gd name="connsiteY53" fmla="*/ 349025 h 403307"/>
                <a:gd name="connsiteX54" fmla="*/ 174707 w 423186"/>
                <a:gd name="connsiteY54" fmla="*/ 294008 h 403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23186" h="403307">
                  <a:moveTo>
                    <a:pt x="147742" y="309801"/>
                  </a:moveTo>
                  <a:lnTo>
                    <a:pt x="128844" y="320497"/>
                  </a:lnTo>
                  <a:lnTo>
                    <a:pt x="113824" y="304676"/>
                  </a:lnTo>
                  <a:lnTo>
                    <a:pt x="71581" y="292217"/>
                  </a:lnTo>
                  <a:lnTo>
                    <a:pt x="59855" y="274034"/>
                  </a:lnTo>
                  <a:lnTo>
                    <a:pt x="38776" y="260499"/>
                  </a:lnTo>
                  <a:lnTo>
                    <a:pt x="26299" y="265843"/>
                  </a:lnTo>
                  <a:lnTo>
                    <a:pt x="16793" y="249546"/>
                  </a:lnTo>
                  <a:lnTo>
                    <a:pt x="15792" y="236972"/>
                  </a:lnTo>
                  <a:lnTo>
                    <a:pt x="0" y="215484"/>
                  </a:lnTo>
                  <a:lnTo>
                    <a:pt x="10601" y="203102"/>
                  </a:lnTo>
                  <a:lnTo>
                    <a:pt x="8268" y="184385"/>
                  </a:lnTo>
                  <a:lnTo>
                    <a:pt x="11668" y="168011"/>
                  </a:lnTo>
                  <a:lnTo>
                    <a:pt x="9735" y="154296"/>
                  </a:lnTo>
                  <a:lnTo>
                    <a:pt x="14440" y="129626"/>
                  </a:lnTo>
                  <a:lnTo>
                    <a:pt x="12992" y="115481"/>
                  </a:lnTo>
                  <a:lnTo>
                    <a:pt x="4343" y="88430"/>
                  </a:lnTo>
                  <a:lnTo>
                    <a:pt x="17383" y="81286"/>
                  </a:lnTo>
                  <a:lnTo>
                    <a:pt x="19688" y="68218"/>
                  </a:lnTo>
                  <a:lnTo>
                    <a:pt x="16850" y="55350"/>
                  </a:lnTo>
                  <a:lnTo>
                    <a:pt x="35185" y="43329"/>
                  </a:lnTo>
                  <a:lnTo>
                    <a:pt x="43405" y="33299"/>
                  </a:lnTo>
                  <a:lnTo>
                    <a:pt x="56426" y="24279"/>
                  </a:lnTo>
                  <a:lnTo>
                    <a:pt x="57941" y="0"/>
                  </a:lnTo>
                  <a:lnTo>
                    <a:pt x="89306" y="10906"/>
                  </a:lnTo>
                  <a:lnTo>
                    <a:pt x="100527" y="8191"/>
                  </a:lnTo>
                  <a:lnTo>
                    <a:pt x="122834" y="13459"/>
                  </a:lnTo>
                  <a:lnTo>
                    <a:pt x="158277" y="27546"/>
                  </a:lnTo>
                  <a:lnTo>
                    <a:pt x="170783" y="55340"/>
                  </a:lnTo>
                  <a:lnTo>
                    <a:pt x="194758" y="61379"/>
                  </a:lnTo>
                  <a:lnTo>
                    <a:pt x="232391" y="74352"/>
                  </a:lnTo>
                  <a:lnTo>
                    <a:pt x="260852" y="89687"/>
                  </a:lnTo>
                  <a:lnTo>
                    <a:pt x="273872" y="81696"/>
                  </a:lnTo>
                  <a:lnTo>
                    <a:pt x="286664" y="67475"/>
                  </a:lnTo>
                  <a:lnTo>
                    <a:pt x="280445" y="43634"/>
                  </a:lnTo>
                  <a:lnTo>
                    <a:pt x="288827" y="28384"/>
                  </a:lnTo>
                  <a:lnTo>
                    <a:pt x="308067" y="13630"/>
                  </a:lnTo>
                  <a:lnTo>
                    <a:pt x="326450" y="9315"/>
                  </a:lnTo>
                  <a:lnTo>
                    <a:pt x="362578" y="15783"/>
                  </a:lnTo>
                  <a:lnTo>
                    <a:pt x="371685" y="29861"/>
                  </a:lnTo>
                  <a:lnTo>
                    <a:pt x="381628" y="29985"/>
                  </a:lnTo>
                  <a:lnTo>
                    <a:pt x="390134" y="35338"/>
                  </a:lnTo>
                  <a:lnTo>
                    <a:pt x="416671" y="39014"/>
                  </a:lnTo>
                  <a:lnTo>
                    <a:pt x="423186" y="49339"/>
                  </a:lnTo>
                  <a:lnTo>
                    <a:pt x="413509" y="64265"/>
                  </a:lnTo>
                  <a:lnTo>
                    <a:pt x="417643" y="77505"/>
                  </a:lnTo>
                  <a:lnTo>
                    <a:pt x="410766" y="96517"/>
                  </a:lnTo>
                  <a:lnTo>
                    <a:pt x="418776" y="121148"/>
                  </a:lnTo>
                  <a:lnTo>
                    <a:pt x="418776" y="227638"/>
                  </a:lnTo>
                  <a:lnTo>
                    <a:pt x="418776" y="334585"/>
                  </a:lnTo>
                  <a:lnTo>
                    <a:pt x="418776" y="391382"/>
                  </a:lnTo>
                  <a:lnTo>
                    <a:pt x="388068" y="391468"/>
                  </a:lnTo>
                  <a:lnTo>
                    <a:pt x="387734" y="403307"/>
                  </a:lnTo>
                  <a:lnTo>
                    <a:pt x="281216" y="349025"/>
                  </a:lnTo>
                  <a:lnTo>
                    <a:pt x="174707" y="2940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orme libre : forme 5750">
              <a:extLst>
                <a:ext uri="{FF2B5EF4-FFF2-40B4-BE49-F238E27FC236}">
                  <a16:creationId xmlns:a16="http://schemas.microsoft.com/office/drawing/2014/main" id="{F41E122D-729C-FE83-6C4E-F4DE465095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365194" y="3724793"/>
              <a:ext cx="425672" cy="447703"/>
            </a:xfrm>
            <a:custGeom>
              <a:avLst/>
              <a:gdLst>
                <a:gd name="connsiteX0" fmla="*/ 418633 w 425672"/>
                <a:gd name="connsiteY0" fmla="*/ 93231 h 447703"/>
                <a:gd name="connsiteX1" fmla="*/ 409413 w 425672"/>
                <a:gd name="connsiteY1" fmla="*/ 59617 h 447703"/>
                <a:gd name="connsiteX2" fmla="*/ 407823 w 425672"/>
                <a:gd name="connsiteY2" fmla="*/ 40062 h 447703"/>
                <a:gd name="connsiteX3" fmla="*/ 397755 w 425672"/>
                <a:gd name="connsiteY3" fmla="*/ 19317 h 447703"/>
                <a:gd name="connsiteX4" fmla="*/ 386153 w 425672"/>
                <a:gd name="connsiteY4" fmla="*/ 18964 h 447703"/>
                <a:gd name="connsiteX5" fmla="*/ 358492 w 425672"/>
                <a:gd name="connsiteY5" fmla="*/ 11773 h 447703"/>
                <a:gd name="connsiteX6" fmla="*/ 333089 w 425672"/>
                <a:gd name="connsiteY6" fmla="*/ 14030 h 447703"/>
                <a:gd name="connsiteX7" fmla="*/ 316992 w 425672"/>
                <a:gd name="connsiteY7" fmla="*/ 162 h 447703"/>
                <a:gd name="connsiteX8" fmla="*/ 297332 w 425672"/>
                <a:gd name="connsiteY8" fmla="*/ 0 h 447703"/>
                <a:gd name="connsiteX9" fmla="*/ 288941 w 425672"/>
                <a:gd name="connsiteY9" fmla="*/ 20041 h 447703"/>
                <a:gd name="connsiteX10" fmla="*/ 271091 w 425672"/>
                <a:gd name="connsiteY10" fmla="*/ 53502 h 447703"/>
                <a:gd name="connsiteX11" fmla="*/ 251288 w 425672"/>
                <a:gd name="connsiteY11" fmla="*/ 66742 h 447703"/>
                <a:gd name="connsiteX12" fmla="*/ 224495 w 425672"/>
                <a:gd name="connsiteY12" fmla="*/ 81296 h 447703"/>
                <a:gd name="connsiteX13" fmla="*/ 207311 w 425672"/>
                <a:gd name="connsiteY13" fmla="*/ 102689 h 447703"/>
                <a:gd name="connsiteX14" fmla="*/ 203730 w 425672"/>
                <a:gd name="connsiteY14" fmla="*/ 119243 h 447703"/>
                <a:gd name="connsiteX15" fmla="*/ 193586 w 425672"/>
                <a:gd name="connsiteY15" fmla="*/ 146094 h 447703"/>
                <a:gd name="connsiteX16" fmla="*/ 200263 w 425672"/>
                <a:gd name="connsiteY16" fmla="*/ 184490 h 447703"/>
                <a:gd name="connsiteX17" fmla="*/ 177965 w 425672"/>
                <a:gd name="connsiteY17" fmla="*/ 209978 h 447703"/>
                <a:gd name="connsiteX18" fmla="*/ 164573 w 425672"/>
                <a:gd name="connsiteY18" fmla="*/ 218075 h 447703"/>
                <a:gd name="connsiteX19" fmla="*/ 143532 w 425672"/>
                <a:gd name="connsiteY19" fmla="*/ 238735 h 447703"/>
                <a:gd name="connsiteX20" fmla="*/ 118701 w 425672"/>
                <a:gd name="connsiteY20" fmla="*/ 242068 h 447703"/>
                <a:gd name="connsiteX21" fmla="*/ 105270 w 425672"/>
                <a:gd name="connsiteY21" fmla="*/ 253603 h 447703"/>
                <a:gd name="connsiteX22" fmla="*/ 104785 w 425672"/>
                <a:gd name="connsiteY22" fmla="*/ 254022 h 447703"/>
                <a:gd name="connsiteX23" fmla="*/ 87849 w 425672"/>
                <a:gd name="connsiteY23" fmla="*/ 284502 h 447703"/>
                <a:gd name="connsiteX24" fmla="*/ 70066 w 425672"/>
                <a:gd name="connsiteY24" fmla="*/ 295313 h 447703"/>
                <a:gd name="connsiteX25" fmla="*/ 60417 w 425672"/>
                <a:gd name="connsiteY25" fmla="*/ 313572 h 447703"/>
                <a:gd name="connsiteX26" fmla="*/ 59789 w 425672"/>
                <a:gd name="connsiteY26" fmla="*/ 329232 h 447703"/>
                <a:gd name="connsiteX27" fmla="*/ 52721 w 425672"/>
                <a:gd name="connsiteY27" fmla="*/ 346300 h 447703"/>
                <a:gd name="connsiteX28" fmla="*/ 43729 w 425672"/>
                <a:gd name="connsiteY28" fmla="*/ 351006 h 447703"/>
                <a:gd name="connsiteX29" fmla="*/ 28861 w 425672"/>
                <a:gd name="connsiteY29" fmla="*/ 369494 h 447703"/>
                <a:gd name="connsiteX30" fmla="*/ 19679 w 425672"/>
                <a:gd name="connsiteY30" fmla="*/ 389906 h 447703"/>
                <a:gd name="connsiteX31" fmla="*/ 21403 w 425672"/>
                <a:gd name="connsiteY31" fmla="*/ 399659 h 447703"/>
                <a:gd name="connsiteX32" fmla="*/ 12659 w 425672"/>
                <a:gd name="connsiteY32" fmla="*/ 414623 h 447703"/>
                <a:gd name="connsiteX33" fmla="*/ 2410 w 425672"/>
                <a:gd name="connsiteY33" fmla="*/ 422434 h 447703"/>
                <a:gd name="connsiteX34" fmla="*/ 1143 w 425672"/>
                <a:gd name="connsiteY34" fmla="*/ 435673 h 447703"/>
                <a:gd name="connsiteX35" fmla="*/ 0 w 425672"/>
                <a:gd name="connsiteY35" fmla="*/ 447704 h 447703"/>
                <a:gd name="connsiteX36" fmla="*/ 5820 w 425672"/>
                <a:gd name="connsiteY36" fmla="*/ 438207 h 447703"/>
                <a:gd name="connsiteX37" fmla="*/ 110404 w 425672"/>
                <a:gd name="connsiteY37" fmla="*/ 438388 h 447703"/>
                <a:gd name="connsiteX38" fmla="*/ 105346 w 425672"/>
                <a:gd name="connsiteY38" fmla="*/ 397012 h 447703"/>
                <a:gd name="connsiteX39" fmla="*/ 111881 w 425672"/>
                <a:gd name="connsiteY39" fmla="*/ 382191 h 447703"/>
                <a:gd name="connsiteX40" fmla="*/ 136903 w 425672"/>
                <a:gd name="connsiteY40" fmla="*/ 379590 h 447703"/>
                <a:gd name="connsiteX41" fmla="*/ 136036 w 425672"/>
                <a:gd name="connsiteY41" fmla="*/ 304809 h 447703"/>
                <a:gd name="connsiteX42" fmla="*/ 223694 w 425672"/>
                <a:gd name="connsiteY42" fmla="*/ 306362 h 447703"/>
                <a:gd name="connsiteX43" fmla="*/ 223771 w 425672"/>
                <a:gd name="connsiteY43" fmla="*/ 261337 h 447703"/>
                <a:gd name="connsiteX44" fmla="*/ 224285 w 425672"/>
                <a:gd name="connsiteY44" fmla="*/ 255546 h 447703"/>
                <a:gd name="connsiteX45" fmla="*/ 224276 w 425672"/>
                <a:gd name="connsiteY45" fmla="*/ 253536 h 447703"/>
                <a:gd name="connsiteX46" fmla="*/ 224047 w 425672"/>
                <a:gd name="connsiteY46" fmla="*/ 217799 h 447703"/>
                <a:gd name="connsiteX47" fmla="*/ 267176 w 425672"/>
                <a:gd name="connsiteY47" fmla="*/ 195329 h 447703"/>
                <a:gd name="connsiteX48" fmla="*/ 293846 w 425672"/>
                <a:gd name="connsiteY48" fmla="*/ 190671 h 447703"/>
                <a:gd name="connsiteX49" fmla="*/ 315706 w 425672"/>
                <a:gd name="connsiteY49" fmla="*/ 182432 h 447703"/>
                <a:gd name="connsiteX50" fmla="*/ 325917 w 425672"/>
                <a:gd name="connsiteY50" fmla="*/ 167030 h 447703"/>
                <a:gd name="connsiteX51" fmla="*/ 357140 w 425672"/>
                <a:gd name="connsiteY51" fmla="*/ 154800 h 447703"/>
                <a:gd name="connsiteX52" fmla="*/ 358292 w 425672"/>
                <a:gd name="connsiteY52" fmla="*/ 131778 h 447703"/>
                <a:gd name="connsiteX53" fmla="*/ 373742 w 425672"/>
                <a:gd name="connsiteY53" fmla="*/ 129054 h 447703"/>
                <a:gd name="connsiteX54" fmla="*/ 385829 w 425672"/>
                <a:gd name="connsiteY54" fmla="*/ 117472 h 447703"/>
                <a:gd name="connsiteX55" fmla="*/ 420776 w 425672"/>
                <a:gd name="connsiteY55" fmla="*/ 112185 h 447703"/>
                <a:gd name="connsiteX56" fmla="*/ 425672 w 425672"/>
                <a:gd name="connsiteY56" fmla="*/ 99946 h 447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5672" h="447703">
                  <a:moveTo>
                    <a:pt x="418633" y="93231"/>
                  </a:moveTo>
                  <a:lnTo>
                    <a:pt x="409413" y="59617"/>
                  </a:lnTo>
                  <a:lnTo>
                    <a:pt x="407823" y="40062"/>
                  </a:lnTo>
                  <a:lnTo>
                    <a:pt x="397755" y="19317"/>
                  </a:lnTo>
                  <a:lnTo>
                    <a:pt x="386153" y="18964"/>
                  </a:lnTo>
                  <a:lnTo>
                    <a:pt x="358492" y="11773"/>
                  </a:lnTo>
                  <a:lnTo>
                    <a:pt x="333089" y="14030"/>
                  </a:lnTo>
                  <a:lnTo>
                    <a:pt x="316992" y="162"/>
                  </a:lnTo>
                  <a:lnTo>
                    <a:pt x="297332" y="0"/>
                  </a:lnTo>
                  <a:lnTo>
                    <a:pt x="288941" y="20041"/>
                  </a:lnTo>
                  <a:lnTo>
                    <a:pt x="271091" y="53502"/>
                  </a:lnTo>
                  <a:lnTo>
                    <a:pt x="251288" y="66742"/>
                  </a:lnTo>
                  <a:lnTo>
                    <a:pt x="224495" y="81296"/>
                  </a:lnTo>
                  <a:lnTo>
                    <a:pt x="207311" y="102689"/>
                  </a:lnTo>
                  <a:lnTo>
                    <a:pt x="203730" y="119243"/>
                  </a:lnTo>
                  <a:lnTo>
                    <a:pt x="193586" y="146094"/>
                  </a:lnTo>
                  <a:lnTo>
                    <a:pt x="200263" y="184490"/>
                  </a:lnTo>
                  <a:lnTo>
                    <a:pt x="177965" y="209978"/>
                  </a:lnTo>
                  <a:lnTo>
                    <a:pt x="164573" y="218075"/>
                  </a:lnTo>
                  <a:lnTo>
                    <a:pt x="143532" y="238735"/>
                  </a:lnTo>
                  <a:lnTo>
                    <a:pt x="118701" y="242068"/>
                  </a:lnTo>
                  <a:lnTo>
                    <a:pt x="105270" y="253603"/>
                  </a:lnTo>
                  <a:lnTo>
                    <a:pt x="104785" y="254022"/>
                  </a:lnTo>
                  <a:lnTo>
                    <a:pt x="87849" y="284502"/>
                  </a:lnTo>
                  <a:lnTo>
                    <a:pt x="70066" y="295313"/>
                  </a:lnTo>
                  <a:lnTo>
                    <a:pt x="60417" y="313572"/>
                  </a:lnTo>
                  <a:lnTo>
                    <a:pt x="59789" y="329232"/>
                  </a:lnTo>
                  <a:lnTo>
                    <a:pt x="52721" y="346300"/>
                  </a:lnTo>
                  <a:lnTo>
                    <a:pt x="43729" y="351006"/>
                  </a:lnTo>
                  <a:lnTo>
                    <a:pt x="28861" y="369494"/>
                  </a:lnTo>
                  <a:lnTo>
                    <a:pt x="19679" y="389906"/>
                  </a:lnTo>
                  <a:lnTo>
                    <a:pt x="21403" y="399659"/>
                  </a:lnTo>
                  <a:lnTo>
                    <a:pt x="12659" y="414623"/>
                  </a:lnTo>
                  <a:lnTo>
                    <a:pt x="2410" y="422434"/>
                  </a:lnTo>
                  <a:lnTo>
                    <a:pt x="1143" y="435673"/>
                  </a:lnTo>
                  <a:lnTo>
                    <a:pt x="0" y="447704"/>
                  </a:lnTo>
                  <a:lnTo>
                    <a:pt x="5820" y="438207"/>
                  </a:lnTo>
                  <a:lnTo>
                    <a:pt x="110404" y="438388"/>
                  </a:lnTo>
                  <a:lnTo>
                    <a:pt x="105346" y="397012"/>
                  </a:lnTo>
                  <a:lnTo>
                    <a:pt x="111881" y="382191"/>
                  </a:lnTo>
                  <a:lnTo>
                    <a:pt x="136903" y="379590"/>
                  </a:lnTo>
                  <a:lnTo>
                    <a:pt x="136036" y="304809"/>
                  </a:lnTo>
                  <a:lnTo>
                    <a:pt x="223694" y="306362"/>
                  </a:lnTo>
                  <a:lnTo>
                    <a:pt x="223771" y="261337"/>
                  </a:lnTo>
                  <a:lnTo>
                    <a:pt x="224285" y="255546"/>
                  </a:lnTo>
                  <a:lnTo>
                    <a:pt x="224276" y="253536"/>
                  </a:lnTo>
                  <a:lnTo>
                    <a:pt x="224047" y="217799"/>
                  </a:lnTo>
                  <a:lnTo>
                    <a:pt x="267176" y="195329"/>
                  </a:lnTo>
                  <a:lnTo>
                    <a:pt x="293846" y="190671"/>
                  </a:lnTo>
                  <a:lnTo>
                    <a:pt x="315706" y="182432"/>
                  </a:lnTo>
                  <a:lnTo>
                    <a:pt x="325917" y="167030"/>
                  </a:lnTo>
                  <a:lnTo>
                    <a:pt x="357140" y="154800"/>
                  </a:lnTo>
                  <a:lnTo>
                    <a:pt x="358292" y="131778"/>
                  </a:lnTo>
                  <a:lnTo>
                    <a:pt x="373742" y="129054"/>
                  </a:lnTo>
                  <a:lnTo>
                    <a:pt x="385829" y="117472"/>
                  </a:lnTo>
                  <a:lnTo>
                    <a:pt x="420776" y="112185"/>
                  </a:lnTo>
                  <a:lnTo>
                    <a:pt x="425672" y="99946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orme libre : forme 5751">
              <a:extLst>
                <a:ext uri="{FF2B5EF4-FFF2-40B4-BE49-F238E27FC236}">
                  <a16:creationId xmlns:a16="http://schemas.microsoft.com/office/drawing/2014/main" id="{37AD58CE-DC47-AB41-C4F8-E6E423DC20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531816" y="3266507"/>
              <a:ext cx="90944" cy="116281"/>
            </a:xfrm>
            <a:custGeom>
              <a:avLst/>
              <a:gdLst>
                <a:gd name="connsiteX0" fmla="*/ 0 w 90944"/>
                <a:gd name="connsiteY0" fmla="*/ 9868 h 116281"/>
                <a:gd name="connsiteX1" fmla="*/ 6372 w 90944"/>
                <a:gd name="connsiteY1" fmla="*/ 3972 h 116281"/>
                <a:gd name="connsiteX2" fmla="*/ 24117 w 90944"/>
                <a:gd name="connsiteY2" fmla="*/ 0 h 116281"/>
                <a:gd name="connsiteX3" fmla="*/ 43805 w 90944"/>
                <a:gd name="connsiteY3" fmla="*/ 12468 h 116281"/>
                <a:gd name="connsiteX4" fmla="*/ 54788 w 90944"/>
                <a:gd name="connsiteY4" fmla="*/ 13964 h 116281"/>
                <a:gd name="connsiteX5" fmla="*/ 66856 w 90944"/>
                <a:gd name="connsiteY5" fmla="*/ 24670 h 116281"/>
                <a:gd name="connsiteX6" fmla="*/ 64941 w 90944"/>
                <a:gd name="connsiteY6" fmla="*/ 38072 h 116281"/>
                <a:gd name="connsiteX7" fmla="*/ 74666 w 90944"/>
                <a:gd name="connsiteY7" fmla="*/ 44510 h 116281"/>
                <a:gd name="connsiteX8" fmla="*/ 78524 w 90944"/>
                <a:gd name="connsiteY8" fmla="*/ 60865 h 116281"/>
                <a:gd name="connsiteX9" fmla="*/ 87849 w 90944"/>
                <a:gd name="connsiteY9" fmla="*/ 70752 h 116281"/>
                <a:gd name="connsiteX10" fmla="*/ 85963 w 90944"/>
                <a:gd name="connsiteY10" fmla="*/ 76533 h 116281"/>
                <a:gd name="connsiteX11" fmla="*/ 90944 w 90944"/>
                <a:gd name="connsiteY11" fmla="*/ 80448 h 116281"/>
                <a:gd name="connsiteX12" fmla="*/ 83868 w 90944"/>
                <a:gd name="connsiteY12" fmla="*/ 83306 h 116281"/>
                <a:gd name="connsiteX13" fmla="*/ 68132 w 90944"/>
                <a:gd name="connsiteY13" fmla="*/ 82172 h 116281"/>
                <a:gd name="connsiteX14" fmla="*/ 65504 w 90944"/>
                <a:gd name="connsiteY14" fmla="*/ 76829 h 116281"/>
                <a:gd name="connsiteX15" fmla="*/ 59922 w 90944"/>
                <a:gd name="connsiteY15" fmla="*/ 79915 h 116281"/>
                <a:gd name="connsiteX16" fmla="*/ 61808 w 90944"/>
                <a:gd name="connsiteY16" fmla="*/ 86811 h 116281"/>
                <a:gd name="connsiteX17" fmla="*/ 54493 w 90944"/>
                <a:gd name="connsiteY17" fmla="*/ 99060 h 116281"/>
                <a:gd name="connsiteX18" fmla="*/ 49835 w 90944"/>
                <a:gd name="connsiteY18" fmla="*/ 112157 h 116281"/>
                <a:gd name="connsiteX19" fmla="*/ 43110 w 90944"/>
                <a:gd name="connsiteY19" fmla="*/ 116281 h 116281"/>
                <a:gd name="connsiteX20" fmla="*/ 38328 w 90944"/>
                <a:gd name="connsiteY20" fmla="*/ 98888 h 116281"/>
                <a:gd name="connsiteX21" fmla="*/ 41138 w 90944"/>
                <a:gd name="connsiteY21" fmla="*/ 82467 h 116281"/>
                <a:gd name="connsiteX22" fmla="*/ 40291 w 90944"/>
                <a:gd name="connsiteY22" fmla="*/ 65465 h 116281"/>
                <a:gd name="connsiteX23" fmla="*/ 24879 w 90944"/>
                <a:gd name="connsiteY23" fmla="*/ 42205 h 116281"/>
                <a:gd name="connsiteX24" fmla="*/ 16411 w 90944"/>
                <a:gd name="connsiteY24" fmla="*/ 25556 h 116281"/>
                <a:gd name="connsiteX25" fmla="*/ 8134 w 90944"/>
                <a:gd name="connsiteY25" fmla="*/ 13764 h 11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944" h="116281">
                  <a:moveTo>
                    <a:pt x="0" y="9868"/>
                  </a:moveTo>
                  <a:lnTo>
                    <a:pt x="6372" y="3972"/>
                  </a:lnTo>
                  <a:lnTo>
                    <a:pt x="24117" y="0"/>
                  </a:lnTo>
                  <a:lnTo>
                    <a:pt x="43805" y="12468"/>
                  </a:lnTo>
                  <a:lnTo>
                    <a:pt x="54788" y="13964"/>
                  </a:lnTo>
                  <a:lnTo>
                    <a:pt x="66856" y="24670"/>
                  </a:lnTo>
                  <a:lnTo>
                    <a:pt x="64941" y="38072"/>
                  </a:lnTo>
                  <a:lnTo>
                    <a:pt x="74666" y="44510"/>
                  </a:lnTo>
                  <a:lnTo>
                    <a:pt x="78524" y="60865"/>
                  </a:lnTo>
                  <a:lnTo>
                    <a:pt x="87849" y="70752"/>
                  </a:lnTo>
                  <a:lnTo>
                    <a:pt x="85963" y="76533"/>
                  </a:lnTo>
                  <a:lnTo>
                    <a:pt x="90944" y="80448"/>
                  </a:lnTo>
                  <a:lnTo>
                    <a:pt x="83868" y="83306"/>
                  </a:lnTo>
                  <a:lnTo>
                    <a:pt x="68132" y="82172"/>
                  </a:lnTo>
                  <a:lnTo>
                    <a:pt x="65504" y="76829"/>
                  </a:lnTo>
                  <a:lnTo>
                    <a:pt x="59922" y="79915"/>
                  </a:lnTo>
                  <a:lnTo>
                    <a:pt x="61808" y="86811"/>
                  </a:lnTo>
                  <a:lnTo>
                    <a:pt x="54493" y="99060"/>
                  </a:lnTo>
                  <a:lnTo>
                    <a:pt x="49835" y="112157"/>
                  </a:lnTo>
                  <a:lnTo>
                    <a:pt x="43110" y="116281"/>
                  </a:lnTo>
                  <a:lnTo>
                    <a:pt x="38328" y="98888"/>
                  </a:lnTo>
                  <a:lnTo>
                    <a:pt x="41138" y="82467"/>
                  </a:lnTo>
                  <a:lnTo>
                    <a:pt x="40291" y="65465"/>
                  </a:lnTo>
                  <a:lnTo>
                    <a:pt x="24879" y="42205"/>
                  </a:lnTo>
                  <a:lnTo>
                    <a:pt x="16411" y="25556"/>
                  </a:lnTo>
                  <a:lnTo>
                    <a:pt x="8134" y="137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orme libre : forme 5752">
              <a:extLst>
                <a:ext uri="{FF2B5EF4-FFF2-40B4-BE49-F238E27FC236}">
                  <a16:creationId xmlns:a16="http://schemas.microsoft.com/office/drawing/2014/main" id="{10040301-5501-53CB-5E1E-210EB4D207C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13636" y="3456102"/>
              <a:ext cx="50473" cy="59617"/>
            </a:xfrm>
            <a:custGeom>
              <a:avLst/>
              <a:gdLst>
                <a:gd name="connsiteX0" fmla="*/ 36100 w 50473"/>
                <a:gd name="connsiteY0" fmla="*/ 37271 h 59617"/>
                <a:gd name="connsiteX1" fmla="*/ 34404 w 50473"/>
                <a:gd name="connsiteY1" fmla="*/ 30461 h 59617"/>
                <a:gd name="connsiteX2" fmla="*/ 22822 w 50473"/>
                <a:gd name="connsiteY2" fmla="*/ 48225 h 59617"/>
                <a:gd name="connsiteX3" fmla="*/ 24612 w 50473"/>
                <a:gd name="connsiteY3" fmla="*/ 59617 h 59617"/>
                <a:gd name="connsiteX4" fmla="*/ 19022 w 50473"/>
                <a:gd name="connsiteY4" fmla="*/ 56855 h 59617"/>
                <a:gd name="connsiteX5" fmla="*/ 11544 w 50473"/>
                <a:gd name="connsiteY5" fmla="*/ 45139 h 59617"/>
                <a:gd name="connsiteX6" fmla="*/ 0 w 50473"/>
                <a:gd name="connsiteY6" fmla="*/ 37986 h 59617"/>
                <a:gd name="connsiteX7" fmla="*/ 2934 w 50473"/>
                <a:gd name="connsiteY7" fmla="*/ 31852 h 59617"/>
                <a:gd name="connsiteX8" fmla="*/ 6848 w 50473"/>
                <a:gd name="connsiteY8" fmla="*/ 11859 h 59617"/>
                <a:gd name="connsiteX9" fmla="*/ 15535 w 50473"/>
                <a:gd name="connsiteY9" fmla="*/ 3353 h 59617"/>
                <a:gd name="connsiteX10" fmla="*/ 20526 w 50473"/>
                <a:gd name="connsiteY10" fmla="*/ 0 h 59617"/>
                <a:gd name="connsiteX11" fmla="*/ 27613 w 50473"/>
                <a:gd name="connsiteY11" fmla="*/ 6296 h 59617"/>
                <a:gd name="connsiteX12" fmla="*/ 31509 w 50473"/>
                <a:gd name="connsiteY12" fmla="*/ 11354 h 59617"/>
                <a:gd name="connsiteX13" fmla="*/ 40291 w 50473"/>
                <a:gd name="connsiteY13" fmla="*/ 15288 h 59617"/>
                <a:gd name="connsiteX14" fmla="*/ 50473 w 50473"/>
                <a:gd name="connsiteY14" fmla="*/ 22841 h 59617"/>
                <a:gd name="connsiteX15" fmla="*/ 48273 w 50473"/>
                <a:gd name="connsiteY15" fmla="*/ 25956 h 59617"/>
                <a:gd name="connsiteX16" fmla="*/ 43282 w 50473"/>
                <a:gd name="connsiteY16" fmla="*/ 34071 h 5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0473" h="59617">
                  <a:moveTo>
                    <a:pt x="36100" y="37271"/>
                  </a:moveTo>
                  <a:lnTo>
                    <a:pt x="34404" y="30461"/>
                  </a:lnTo>
                  <a:lnTo>
                    <a:pt x="22822" y="48225"/>
                  </a:lnTo>
                  <a:lnTo>
                    <a:pt x="24612" y="59617"/>
                  </a:lnTo>
                  <a:lnTo>
                    <a:pt x="19022" y="56855"/>
                  </a:lnTo>
                  <a:lnTo>
                    <a:pt x="11544" y="45139"/>
                  </a:lnTo>
                  <a:lnTo>
                    <a:pt x="0" y="37986"/>
                  </a:lnTo>
                  <a:lnTo>
                    <a:pt x="2934" y="31852"/>
                  </a:lnTo>
                  <a:lnTo>
                    <a:pt x="6848" y="11859"/>
                  </a:lnTo>
                  <a:lnTo>
                    <a:pt x="15535" y="3353"/>
                  </a:lnTo>
                  <a:lnTo>
                    <a:pt x="20526" y="0"/>
                  </a:lnTo>
                  <a:lnTo>
                    <a:pt x="27613" y="6296"/>
                  </a:lnTo>
                  <a:lnTo>
                    <a:pt x="31509" y="11354"/>
                  </a:lnTo>
                  <a:lnTo>
                    <a:pt x="40291" y="15288"/>
                  </a:lnTo>
                  <a:lnTo>
                    <a:pt x="50473" y="22841"/>
                  </a:lnTo>
                  <a:lnTo>
                    <a:pt x="48273" y="25956"/>
                  </a:lnTo>
                  <a:lnTo>
                    <a:pt x="43282" y="340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orme libre : forme 5753">
              <a:extLst>
                <a:ext uri="{FF2B5EF4-FFF2-40B4-BE49-F238E27FC236}">
                  <a16:creationId xmlns:a16="http://schemas.microsoft.com/office/drawing/2014/main" id="{D072BDBB-9428-46EE-5954-60ECC27ACD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976071" y="5064475"/>
              <a:ext cx="192881" cy="381438"/>
            </a:xfrm>
            <a:custGeom>
              <a:avLst/>
              <a:gdLst>
                <a:gd name="connsiteX0" fmla="*/ 167973 w 192881"/>
                <a:gd name="connsiteY0" fmla="*/ 11659 h 381438"/>
                <a:gd name="connsiteX1" fmla="*/ 175060 w 192881"/>
                <a:gd name="connsiteY1" fmla="*/ 23231 h 381438"/>
                <a:gd name="connsiteX2" fmla="*/ 181670 w 192881"/>
                <a:gd name="connsiteY2" fmla="*/ 41234 h 381438"/>
                <a:gd name="connsiteX3" fmla="*/ 185976 w 192881"/>
                <a:gd name="connsiteY3" fmla="*/ 74162 h 381438"/>
                <a:gd name="connsiteX4" fmla="*/ 192881 w 192881"/>
                <a:gd name="connsiteY4" fmla="*/ 87011 h 381438"/>
                <a:gd name="connsiteX5" fmla="*/ 190233 w 192881"/>
                <a:gd name="connsiteY5" fmla="*/ 100212 h 381438"/>
                <a:gd name="connsiteX6" fmla="*/ 185509 w 192881"/>
                <a:gd name="connsiteY6" fmla="*/ 108337 h 381438"/>
                <a:gd name="connsiteX7" fmla="*/ 176441 w 192881"/>
                <a:gd name="connsiteY7" fmla="*/ 92183 h 381438"/>
                <a:gd name="connsiteX8" fmla="*/ 171412 w 192881"/>
                <a:gd name="connsiteY8" fmla="*/ 100336 h 381438"/>
                <a:gd name="connsiteX9" fmla="*/ 176517 w 192881"/>
                <a:gd name="connsiteY9" fmla="*/ 120796 h 381438"/>
                <a:gd name="connsiteX10" fmla="*/ 174136 w 192881"/>
                <a:gd name="connsiteY10" fmla="*/ 132540 h 381438"/>
                <a:gd name="connsiteX11" fmla="*/ 166773 w 192881"/>
                <a:gd name="connsiteY11" fmla="*/ 138951 h 381438"/>
                <a:gd name="connsiteX12" fmla="*/ 165087 w 192881"/>
                <a:gd name="connsiteY12" fmla="*/ 162535 h 381438"/>
                <a:gd name="connsiteX13" fmla="*/ 154571 w 192881"/>
                <a:gd name="connsiteY13" fmla="*/ 195177 h 381438"/>
                <a:gd name="connsiteX14" fmla="*/ 141398 w 192881"/>
                <a:gd name="connsiteY14" fmla="*/ 234058 h 381438"/>
                <a:gd name="connsiteX15" fmla="*/ 124901 w 192881"/>
                <a:gd name="connsiteY15" fmla="*/ 288112 h 381438"/>
                <a:gd name="connsiteX16" fmla="*/ 114671 w 192881"/>
                <a:gd name="connsiteY16" fmla="*/ 328250 h 381438"/>
                <a:gd name="connsiteX17" fmla="*/ 102603 w 192881"/>
                <a:gd name="connsiteY17" fmla="*/ 362065 h 381438"/>
                <a:gd name="connsiteX18" fmla="*/ 80876 w 192881"/>
                <a:gd name="connsiteY18" fmla="*/ 369008 h 381438"/>
                <a:gd name="connsiteX19" fmla="*/ 57569 w 192881"/>
                <a:gd name="connsiteY19" fmla="*/ 381438 h 381438"/>
                <a:gd name="connsiteX20" fmla="*/ 42186 w 192881"/>
                <a:gd name="connsiteY20" fmla="*/ 373932 h 381438"/>
                <a:gd name="connsiteX21" fmla="*/ 20984 w 192881"/>
                <a:gd name="connsiteY21" fmla="*/ 363427 h 381438"/>
                <a:gd name="connsiteX22" fmla="*/ 13611 w 192881"/>
                <a:gd name="connsiteY22" fmla="*/ 348006 h 381438"/>
                <a:gd name="connsiteX23" fmla="*/ 11849 w 192881"/>
                <a:gd name="connsiteY23" fmla="*/ 322221 h 381438"/>
                <a:gd name="connsiteX24" fmla="*/ 2448 w 192881"/>
                <a:gd name="connsiteY24" fmla="*/ 299190 h 381438"/>
                <a:gd name="connsiteX25" fmla="*/ 0 w 192881"/>
                <a:gd name="connsiteY25" fmla="*/ 278530 h 381438"/>
                <a:gd name="connsiteX26" fmla="*/ 4791 w 192881"/>
                <a:gd name="connsiteY26" fmla="*/ 257927 h 381438"/>
                <a:gd name="connsiteX27" fmla="*/ 17078 w 192881"/>
                <a:gd name="connsiteY27" fmla="*/ 252993 h 381438"/>
                <a:gd name="connsiteX28" fmla="*/ 17154 w 192881"/>
                <a:gd name="connsiteY28" fmla="*/ 243526 h 381438"/>
                <a:gd name="connsiteX29" fmla="*/ 29918 w 192881"/>
                <a:gd name="connsiteY29" fmla="*/ 222047 h 381438"/>
                <a:gd name="connsiteX30" fmla="*/ 32328 w 192881"/>
                <a:gd name="connsiteY30" fmla="*/ 204083 h 381438"/>
                <a:gd name="connsiteX31" fmla="*/ 26127 w 192881"/>
                <a:gd name="connsiteY31" fmla="*/ 190767 h 381438"/>
                <a:gd name="connsiteX32" fmla="*/ 21069 w 192881"/>
                <a:gd name="connsiteY32" fmla="*/ 173098 h 381438"/>
                <a:gd name="connsiteX33" fmla="*/ 18935 w 192881"/>
                <a:gd name="connsiteY33" fmla="*/ 147399 h 381438"/>
                <a:gd name="connsiteX34" fmla="*/ 28270 w 192881"/>
                <a:gd name="connsiteY34" fmla="*/ 131864 h 381438"/>
                <a:gd name="connsiteX35" fmla="*/ 31852 w 192881"/>
                <a:gd name="connsiteY35" fmla="*/ 114300 h 381438"/>
                <a:gd name="connsiteX36" fmla="*/ 45158 w 192881"/>
                <a:gd name="connsiteY36" fmla="*/ 113281 h 381438"/>
                <a:gd name="connsiteX37" fmla="*/ 60055 w 192881"/>
                <a:gd name="connsiteY37" fmla="*/ 107623 h 381438"/>
                <a:gd name="connsiteX38" fmla="*/ 69942 w 192881"/>
                <a:gd name="connsiteY38" fmla="*/ 102632 h 381438"/>
                <a:gd name="connsiteX39" fmla="*/ 81667 w 192881"/>
                <a:gd name="connsiteY39" fmla="*/ 102260 h 381438"/>
                <a:gd name="connsiteX40" fmla="*/ 96898 w 192881"/>
                <a:gd name="connsiteY40" fmla="*/ 86563 h 381438"/>
                <a:gd name="connsiteX41" fmla="*/ 118872 w 192881"/>
                <a:gd name="connsiteY41" fmla="*/ 69647 h 381438"/>
                <a:gd name="connsiteX42" fmla="*/ 126892 w 192881"/>
                <a:gd name="connsiteY42" fmla="*/ 55874 h 381438"/>
                <a:gd name="connsiteX43" fmla="*/ 123254 w 192881"/>
                <a:gd name="connsiteY43" fmla="*/ 44187 h 381438"/>
                <a:gd name="connsiteX44" fmla="*/ 134598 w 192881"/>
                <a:gd name="connsiteY44" fmla="*/ 47473 h 381438"/>
                <a:gd name="connsiteX45" fmla="*/ 149314 w 192881"/>
                <a:gd name="connsiteY45" fmla="*/ 28508 h 381438"/>
                <a:gd name="connsiteX46" fmla="*/ 149809 w 192881"/>
                <a:gd name="connsiteY46" fmla="*/ 12144 h 381438"/>
                <a:gd name="connsiteX47" fmla="*/ 158658 w 192881"/>
                <a:gd name="connsiteY47" fmla="*/ 0 h 381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92881" h="381438">
                  <a:moveTo>
                    <a:pt x="167973" y="11659"/>
                  </a:moveTo>
                  <a:lnTo>
                    <a:pt x="175060" y="23231"/>
                  </a:lnTo>
                  <a:lnTo>
                    <a:pt x="181670" y="41234"/>
                  </a:lnTo>
                  <a:lnTo>
                    <a:pt x="185976" y="74162"/>
                  </a:lnTo>
                  <a:lnTo>
                    <a:pt x="192881" y="87011"/>
                  </a:lnTo>
                  <a:lnTo>
                    <a:pt x="190233" y="100212"/>
                  </a:lnTo>
                  <a:lnTo>
                    <a:pt x="185509" y="108337"/>
                  </a:lnTo>
                  <a:lnTo>
                    <a:pt x="176441" y="92183"/>
                  </a:lnTo>
                  <a:lnTo>
                    <a:pt x="171412" y="100336"/>
                  </a:lnTo>
                  <a:lnTo>
                    <a:pt x="176517" y="120796"/>
                  </a:lnTo>
                  <a:lnTo>
                    <a:pt x="174136" y="132540"/>
                  </a:lnTo>
                  <a:lnTo>
                    <a:pt x="166773" y="138951"/>
                  </a:lnTo>
                  <a:lnTo>
                    <a:pt x="165087" y="162535"/>
                  </a:lnTo>
                  <a:lnTo>
                    <a:pt x="154571" y="195177"/>
                  </a:lnTo>
                  <a:lnTo>
                    <a:pt x="141398" y="234058"/>
                  </a:lnTo>
                  <a:lnTo>
                    <a:pt x="124901" y="288112"/>
                  </a:lnTo>
                  <a:lnTo>
                    <a:pt x="114671" y="328250"/>
                  </a:lnTo>
                  <a:lnTo>
                    <a:pt x="102603" y="362065"/>
                  </a:lnTo>
                  <a:lnTo>
                    <a:pt x="80876" y="369008"/>
                  </a:lnTo>
                  <a:lnTo>
                    <a:pt x="57569" y="381438"/>
                  </a:lnTo>
                  <a:lnTo>
                    <a:pt x="42186" y="373932"/>
                  </a:lnTo>
                  <a:lnTo>
                    <a:pt x="20984" y="363427"/>
                  </a:lnTo>
                  <a:lnTo>
                    <a:pt x="13611" y="348006"/>
                  </a:lnTo>
                  <a:lnTo>
                    <a:pt x="11849" y="322221"/>
                  </a:lnTo>
                  <a:lnTo>
                    <a:pt x="2448" y="299190"/>
                  </a:lnTo>
                  <a:lnTo>
                    <a:pt x="0" y="278530"/>
                  </a:lnTo>
                  <a:lnTo>
                    <a:pt x="4791" y="257927"/>
                  </a:lnTo>
                  <a:lnTo>
                    <a:pt x="17078" y="252993"/>
                  </a:lnTo>
                  <a:lnTo>
                    <a:pt x="17154" y="243526"/>
                  </a:lnTo>
                  <a:lnTo>
                    <a:pt x="29918" y="222047"/>
                  </a:lnTo>
                  <a:lnTo>
                    <a:pt x="32328" y="204083"/>
                  </a:lnTo>
                  <a:lnTo>
                    <a:pt x="26127" y="190767"/>
                  </a:lnTo>
                  <a:lnTo>
                    <a:pt x="21069" y="173098"/>
                  </a:lnTo>
                  <a:lnTo>
                    <a:pt x="18935" y="147399"/>
                  </a:lnTo>
                  <a:lnTo>
                    <a:pt x="28270" y="131864"/>
                  </a:lnTo>
                  <a:lnTo>
                    <a:pt x="31852" y="114300"/>
                  </a:lnTo>
                  <a:lnTo>
                    <a:pt x="45158" y="113281"/>
                  </a:lnTo>
                  <a:lnTo>
                    <a:pt x="60055" y="107623"/>
                  </a:lnTo>
                  <a:lnTo>
                    <a:pt x="69942" y="102632"/>
                  </a:lnTo>
                  <a:lnTo>
                    <a:pt x="81667" y="102260"/>
                  </a:lnTo>
                  <a:lnTo>
                    <a:pt x="96898" y="86563"/>
                  </a:lnTo>
                  <a:lnTo>
                    <a:pt x="118872" y="69647"/>
                  </a:lnTo>
                  <a:lnTo>
                    <a:pt x="126892" y="55874"/>
                  </a:lnTo>
                  <a:lnTo>
                    <a:pt x="123254" y="44187"/>
                  </a:lnTo>
                  <a:lnTo>
                    <a:pt x="134598" y="47473"/>
                  </a:lnTo>
                  <a:lnTo>
                    <a:pt x="149314" y="28508"/>
                  </a:lnTo>
                  <a:lnTo>
                    <a:pt x="149809" y="12144"/>
                  </a:lnTo>
                  <a:lnTo>
                    <a:pt x="158658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orme libre : forme 5754">
              <a:extLst>
                <a:ext uri="{FF2B5EF4-FFF2-40B4-BE49-F238E27FC236}">
                  <a16:creationId xmlns:a16="http://schemas.microsoft.com/office/drawing/2014/main" id="{1176A265-BA33-B445-A74E-85E64B7885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67395" y="3499851"/>
              <a:ext cx="66484" cy="52558"/>
            </a:xfrm>
            <a:custGeom>
              <a:avLst/>
              <a:gdLst>
                <a:gd name="connsiteX0" fmla="*/ 3400 w 66484"/>
                <a:gd name="connsiteY0" fmla="*/ 16669 h 52558"/>
                <a:gd name="connsiteX1" fmla="*/ 6791 w 66484"/>
                <a:gd name="connsiteY1" fmla="*/ 16964 h 52558"/>
                <a:gd name="connsiteX2" fmla="*/ 7991 w 66484"/>
                <a:gd name="connsiteY2" fmla="*/ 9630 h 52558"/>
                <a:gd name="connsiteX3" fmla="*/ 23765 w 66484"/>
                <a:gd name="connsiteY3" fmla="*/ 4076 h 52558"/>
                <a:gd name="connsiteX4" fmla="*/ 29737 w 66484"/>
                <a:gd name="connsiteY4" fmla="*/ 2695 h 52558"/>
                <a:gd name="connsiteX5" fmla="*/ 38834 w 66484"/>
                <a:gd name="connsiteY5" fmla="*/ 600 h 52558"/>
                <a:gd name="connsiteX6" fmla="*/ 51216 w 66484"/>
                <a:gd name="connsiteY6" fmla="*/ 0 h 52558"/>
                <a:gd name="connsiteX7" fmla="*/ 64589 w 66484"/>
                <a:gd name="connsiteY7" fmla="*/ 11516 h 52558"/>
                <a:gd name="connsiteX8" fmla="*/ 66484 w 66484"/>
                <a:gd name="connsiteY8" fmla="*/ 35071 h 52558"/>
                <a:gd name="connsiteX9" fmla="*/ 61398 w 66484"/>
                <a:gd name="connsiteY9" fmla="*/ 36252 h 52558"/>
                <a:gd name="connsiteX10" fmla="*/ 56998 w 66484"/>
                <a:gd name="connsiteY10" fmla="*/ 42415 h 52558"/>
                <a:gd name="connsiteX11" fmla="*/ 42529 w 66484"/>
                <a:gd name="connsiteY11" fmla="*/ 41729 h 52558"/>
                <a:gd name="connsiteX12" fmla="*/ 32347 w 66484"/>
                <a:gd name="connsiteY12" fmla="*/ 49444 h 52558"/>
                <a:gd name="connsiteX13" fmla="*/ 14878 w 66484"/>
                <a:gd name="connsiteY13" fmla="*/ 52559 h 52558"/>
                <a:gd name="connsiteX14" fmla="*/ 3800 w 66484"/>
                <a:gd name="connsiteY14" fmla="*/ 43977 h 52558"/>
                <a:gd name="connsiteX15" fmla="*/ 0 w 66484"/>
                <a:gd name="connsiteY15" fmla="*/ 28794 h 52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484" h="52558">
                  <a:moveTo>
                    <a:pt x="3400" y="16669"/>
                  </a:moveTo>
                  <a:lnTo>
                    <a:pt x="6791" y="16964"/>
                  </a:lnTo>
                  <a:lnTo>
                    <a:pt x="7991" y="9630"/>
                  </a:lnTo>
                  <a:lnTo>
                    <a:pt x="23765" y="4076"/>
                  </a:lnTo>
                  <a:lnTo>
                    <a:pt x="29737" y="2695"/>
                  </a:lnTo>
                  <a:lnTo>
                    <a:pt x="38834" y="600"/>
                  </a:lnTo>
                  <a:lnTo>
                    <a:pt x="51216" y="0"/>
                  </a:lnTo>
                  <a:lnTo>
                    <a:pt x="64589" y="11516"/>
                  </a:lnTo>
                  <a:lnTo>
                    <a:pt x="66484" y="35071"/>
                  </a:lnTo>
                  <a:lnTo>
                    <a:pt x="61398" y="36252"/>
                  </a:lnTo>
                  <a:lnTo>
                    <a:pt x="56998" y="42415"/>
                  </a:lnTo>
                  <a:lnTo>
                    <a:pt x="42529" y="41729"/>
                  </a:lnTo>
                  <a:lnTo>
                    <a:pt x="32347" y="49444"/>
                  </a:lnTo>
                  <a:lnTo>
                    <a:pt x="14878" y="52559"/>
                  </a:lnTo>
                  <a:lnTo>
                    <a:pt x="3800" y="43977"/>
                  </a:lnTo>
                  <a:lnTo>
                    <a:pt x="0" y="2879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orme libre : forme 5755">
              <a:extLst>
                <a:ext uri="{FF2B5EF4-FFF2-40B4-BE49-F238E27FC236}">
                  <a16:creationId xmlns:a16="http://schemas.microsoft.com/office/drawing/2014/main" id="{34206A05-8F33-A0DA-EA6D-ACD03258D9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495858" y="4057806"/>
              <a:ext cx="439083" cy="415594"/>
            </a:xfrm>
            <a:custGeom>
              <a:avLst/>
              <a:gdLst>
                <a:gd name="connsiteX0" fmla="*/ 0 w 439083"/>
                <a:gd name="connsiteY0" fmla="*/ 292761 h 415594"/>
                <a:gd name="connsiteX1" fmla="*/ 8992 w 439083"/>
                <a:gd name="connsiteY1" fmla="*/ 287760 h 415594"/>
                <a:gd name="connsiteX2" fmla="*/ 13478 w 439083"/>
                <a:gd name="connsiteY2" fmla="*/ 271567 h 415594"/>
                <a:gd name="connsiteX3" fmla="*/ 21946 w 439083"/>
                <a:gd name="connsiteY3" fmla="*/ 270939 h 415594"/>
                <a:gd name="connsiteX4" fmla="*/ 40596 w 439083"/>
                <a:gd name="connsiteY4" fmla="*/ 278597 h 415594"/>
                <a:gd name="connsiteX5" fmla="*/ 55655 w 439083"/>
                <a:gd name="connsiteY5" fmla="*/ 273158 h 415594"/>
                <a:gd name="connsiteX6" fmla="*/ 65980 w 439083"/>
                <a:gd name="connsiteY6" fmla="*/ 274977 h 415594"/>
                <a:gd name="connsiteX7" fmla="*/ 69990 w 439083"/>
                <a:gd name="connsiteY7" fmla="*/ 268862 h 415594"/>
                <a:gd name="connsiteX8" fmla="*/ 177146 w 439083"/>
                <a:gd name="connsiteY8" fmla="*/ 268443 h 415594"/>
                <a:gd name="connsiteX9" fmla="*/ 183090 w 439083"/>
                <a:gd name="connsiteY9" fmla="*/ 249127 h 415594"/>
                <a:gd name="connsiteX10" fmla="*/ 178461 w 439083"/>
                <a:gd name="connsiteY10" fmla="*/ 245717 h 415594"/>
                <a:gd name="connsiteX11" fmla="*/ 165573 w 439083"/>
                <a:gd name="connsiteY11" fmla="*/ 124892 h 415594"/>
                <a:gd name="connsiteX12" fmla="*/ 152686 w 439083"/>
                <a:gd name="connsiteY12" fmla="*/ 533 h 415594"/>
                <a:gd name="connsiteX13" fmla="*/ 193558 w 439083"/>
                <a:gd name="connsiteY13" fmla="*/ 0 h 415594"/>
                <a:gd name="connsiteX14" fmla="*/ 283645 w 439083"/>
                <a:gd name="connsiteY14" fmla="*/ 63380 h 415594"/>
                <a:gd name="connsiteX15" fmla="*/ 373732 w 439083"/>
                <a:gd name="connsiteY15" fmla="*/ 125740 h 415594"/>
                <a:gd name="connsiteX16" fmla="*/ 380086 w 439083"/>
                <a:gd name="connsiteY16" fmla="*/ 139008 h 415594"/>
                <a:gd name="connsiteX17" fmla="*/ 396707 w 439083"/>
                <a:gd name="connsiteY17" fmla="*/ 147095 h 415594"/>
                <a:gd name="connsiteX18" fmla="*/ 409080 w 439083"/>
                <a:gd name="connsiteY18" fmla="*/ 151676 h 415594"/>
                <a:gd name="connsiteX19" fmla="*/ 409385 w 439083"/>
                <a:gd name="connsiteY19" fmla="*/ 169583 h 415594"/>
                <a:gd name="connsiteX20" fmla="*/ 439007 w 439083"/>
                <a:gd name="connsiteY20" fmla="*/ 166831 h 415594"/>
                <a:gd name="connsiteX21" fmla="*/ 439084 w 439083"/>
                <a:gd name="connsiteY21" fmla="*/ 231124 h 415594"/>
                <a:gd name="connsiteX22" fmla="*/ 424482 w 439083"/>
                <a:gd name="connsiteY22" fmla="*/ 249612 h 415594"/>
                <a:gd name="connsiteX23" fmla="*/ 422205 w 439083"/>
                <a:gd name="connsiteY23" fmla="*/ 266615 h 415594"/>
                <a:gd name="connsiteX24" fmla="*/ 398479 w 439083"/>
                <a:gd name="connsiteY24" fmla="*/ 270986 h 415594"/>
                <a:gd name="connsiteX25" fmla="*/ 362045 w 439083"/>
                <a:gd name="connsiteY25" fmla="*/ 273349 h 415594"/>
                <a:gd name="connsiteX26" fmla="*/ 352168 w 439083"/>
                <a:gd name="connsiteY26" fmla="*/ 283112 h 415594"/>
                <a:gd name="connsiteX27" fmla="*/ 335051 w 439083"/>
                <a:gd name="connsiteY27" fmla="*/ 284197 h 415594"/>
                <a:gd name="connsiteX28" fmla="*/ 317926 w 439083"/>
                <a:gd name="connsiteY28" fmla="*/ 284321 h 415594"/>
                <a:gd name="connsiteX29" fmla="*/ 311268 w 439083"/>
                <a:gd name="connsiteY29" fmla="*/ 279054 h 415594"/>
                <a:gd name="connsiteX30" fmla="*/ 296561 w 439083"/>
                <a:gd name="connsiteY30" fmla="*/ 282959 h 415594"/>
                <a:gd name="connsiteX31" fmla="*/ 271606 w 439083"/>
                <a:gd name="connsiteY31" fmla="*/ 294351 h 415594"/>
                <a:gd name="connsiteX32" fmla="*/ 266500 w 439083"/>
                <a:gd name="connsiteY32" fmla="*/ 302914 h 415594"/>
                <a:gd name="connsiteX33" fmla="*/ 245783 w 439083"/>
                <a:gd name="connsiteY33" fmla="*/ 315173 h 415594"/>
                <a:gd name="connsiteX34" fmla="*/ 242154 w 439083"/>
                <a:gd name="connsiteY34" fmla="*/ 322193 h 415594"/>
                <a:gd name="connsiteX35" fmla="*/ 230953 w 439083"/>
                <a:gd name="connsiteY35" fmla="*/ 327746 h 415594"/>
                <a:gd name="connsiteX36" fmla="*/ 218046 w 439083"/>
                <a:gd name="connsiteY36" fmla="*/ 324069 h 415594"/>
                <a:gd name="connsiteX37" fmla="*/ 210722 w 439083"/>
                <a:gd name="connsiteY37" fmla="*/ 330727 h 415594"/>
                <a:gd name="connsiteX38" fmla="*/ 206807 w 439083"/>
                <a:gd name="connsiteY38" fmla="*/ 349396 h 415594"/>
                <a:gd name="connsiteX39" fmla="*/ 185604 w 439083"/>
                <a:gd name="connsiteY39" fmla="*/ 371885 h 415594"/>
                <a:gd name="connsiteX40" fmla="*/ 186223 w 439083"/>
                <a:gd name="connsiteY40" fmla="*/ 381057 h 415594"/>
                <a:gd name="connsiteX41" fmla="*/ 178937 w 439083"/>
                <a:gd name="connsiteY41" fmla="*/ 392525 h 415594"/>
                <a:gd name="connsiteX42" fmla="*/ 180708 w 439083"/>
                <a:gd name="connsiteY42" fmla="*/ 408204 h 415594"/>
                <a:gd name="connsiteX43" fmla="*/ 169688 w 439083"/>
                <a:gd name="connsiteY43" fmla="*/ 412195 h 415594"/>
                <a:gd name="connsiteX44" fmla="*/ 163459 w 439083"/>
                <a:gd name="connsiteY44" fmla="*/ 415595 h 415594"/>
                <a:gd name="connsiteX45" fmla="*/ 159315 w 439083"/>
                <a:gd name="connsiteY45" fmla="*/ 404060 h 415594"/>
                <a:gd name="connsiteX46" fmla="*/ 151610 w 439083"/>
                <a:gd name="connsiteY46" fmla="*/ 407108 h 415594"/>
                <a:gd name="connsiteX47" fmla="*/ 146999 w 439083"/>
                <a:gd name="connsiteY47" fmla="*/ 406575 h 415594"/>
                <a:gd name="connsiteX48" fmla="*/ 142085 w 439083"/>
                <a:gd name="connsiteY48" fmla="*/ 414452 h 415594"/>
                <a:gd name="connsiteX49" fmla="*/ 121463 w 439083"/>
                <a:gd name="connsiteY49" fmla="*/ 414233 h 415594"/>
                <a:gd name="connsiteX50" fmla="*/ 114072 w 439083"/>
                <a:gd name="connsiteY50" fmla="*/ 410175 h 415594"/>
                <a:gd name="connsiteX51" fmla="*/ 110585 w 439083"/>
                <a:gd name="connsiteY51" fmla="*/ 412633 h 415594"/>
                <a:gd name="connsiteX52" fmla="*/ 102432 w 439083"/>
                <a:gd name="connsiteY52" fmla="*/ 404851 h 415594"/>
                <a:gd name="connsiteX53" fmla="*/ 103842 w 439083"/>
                <a:gd name="connsiteY53" fmla="*/ 396812 h 415594"/>
                <a:gd name="connsiteX54" fmla="*/ 100508 w 439083"/>
                <a:gd name="connsiteY54" fmla="*/ 393659 h 415594"/>
                <a:gd name="connsiteX55" fmla="*/ 94822 w 439083"/>
                <a:gd name="connsiteY55" fmla="*/ 396316 h 415594"/>
                <a:gd name="connsiteX56" fmla="*/ 95860 w 439083"/>
                <a:gd name="connsiteY56" fmla="*/ 387525 h 415594"/>
                <a:gd name="connsiteX57" fmla="*/ 101337 w 439083"/>
                <a:gd name="connsiteY57" fmla="*/ 380562 h 415594"/>
                <a:gd name="connsiteX58" fmla="*/ 90392 w 439083"/>
                <a:gd name="connsiteY58" fmla="*/ 369218 h 415594"/>
                <a:gd name="connsiteX59" fmla="*/ 87211 w 439083"/>
                <a:gd name="connsiteY59" fmla="*/ 361731 h 415594"/>
                <a:gd name="connsiteX60" fmla="*/ 81277 w 439083"/>
                <a:gd name="connsiteY60" fmla="*/ 355768 h 415594"/>
                <a:gd name="connsiteX61" fmla="*/ 75933 w 439083"/>
                <a:gd name="connsiteY61" fmla="*/ 355054 h 415594"/>
                <a:gd name="connsiteX62" fmla="*/ 69513 w 439083"/>
                <a:gd name="connsiteY62" fmla="*/ 358855 h 415594"/>
                <a:gd name="connsiteX63" fmla="*/ 60884 w 439083"/>
                <a:gd name="connsiteY63" fmla="*/ 362493 h 415594"/>
                <a:gd name="connsiteX64" fmla="*/ 53559 w 439083"/>
                <a:gd name="connsiteY64" fmla="*/ 368360 h 415594"/>
                <a:gd name="connsiteX65" fmla="*/ 42129 w 439083"/>
                <a:gd name="connsiteY65" fmla="*/ 366189 h 415594"/>
                <a:gd name="connsiteX66" fmla="*/ 34719 w 439083"/>
                <a:gd name="connsiteY66" fmla="*/ 359302 h 415594"/>
                <a:gd name="connsiteX67" fmla="*/ 30290 w 439083"/>
                <a:gd name="connsiteY67" fmla="*/ 358397 h 415594"/>
                <a:gd name="connsiteX68" fmla="*/ 23317 w 439083"/>
                <a:gd name="connsiteY68" fmla="*/ 362017 h 415594"/>
                <a:gd name="connsiteX69" fmla="*/ 19079 w 439083"/>
                <a:gd name="connsiteY69" fmla="*/ 362045 h 415594"/>
                <a:gd name="connsiteX70" fmla="*/ 17545 w 439083"/>
                <a:gd name="connsiteY70" fmla="*/ 352101 h 415594"/>
                <a:gd name="connsiteX71" fmla="*/ 18774 w 439083"/>
                <a:gd name="connsiteY71" fmla="*/ 343634 h 415594"/>
                <a:gd name="connsiteX72" fmla="*/ 16488 w 439083"/>
                <a:gd name="connsiteY72" fmla="*/ 333099 h 415594"/>
                <a:gd name="connsiteX73" fmla="*/ 6496 w 439083"/>
                <a:gd name="connsiteY73" fmla="*/ 325441 h 415594"/>
                <a:gd name="connsiteX74" fmla="*/ 1219 w 439083"/>
                <a:gd name="connsiteY74" fmla="*/ 309801 h 415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439083" h="415594">
                  <a:moveTo>
                    <a:pt x="0" y="292761"/>
                  </a:moveTo>
                  <a:lnTo>
                    <a:pt x="8992" y="287760"/>
                  </a:lnTo>
                  <a:lnTo>
                    <a:pt x="13478" y="271567"/>
                  </a:lnTo>
                  <a:lnTo>
                    <a:pt x="21946" y="270939"/>
                  </a:lnTo>
                  <a:lnTo>
                    <a:pt x="40596" y="278597"/>
                  </a:lnTo>
                  <a:lnTo>
                    <a:pt x="55655" y="273158"/>
                  </a:lnTo>
                  <a:lnTo>
                    <a:pt x="65980" y="274977"/>
                  </a:lnTo>
                  <a:lnTo>
                    <a:pt x="69990" y="268862"/>
                  </a:lnTo>
                  <a:lnTo>
                    <a:pt x="177146" y="268443"/>
                  </a:lnTo>
                  <a:lnTo>
                    <a:pt x="183090" y="249127"/>
                  </a:lnTo>
                  <a:lnTo>
                    <a:pt x="178461" y="245717"/>
                  </a:lnTo>
                  <a:lnTo>
                    <a:pt x="165573" y="124892"/>
                  </a:lnTo>
                  <a:lnTo>
                    <a:pt x="152686" y="533"/>
                  </a:lnTo>
                  <a:lnTo>
                    <a:pt x="193558" y="0"/>
                  </a:lnTo>
                  <a:lnTo>
                    <a:pt x="283645" y="63380"/>
                  </a:lnTo>
                  <a:lnTo>
                    <a:pt x="373732" y="125740"/>
                  </a:lnTo>
                  <a:lnTo>
                    <a:pt x="380086" y="139008"/>
                  </a:lnTo>
                  <a:lnTo>
                    <a:pt x="396707" y="147095"/>
                  </a:lnTo>
                  <a:lnTo>
                    <a:pt x="409080" y="151676"/>
                  </a:lnTo>
                  <a:lnTo>
                    <a:pt x="409385" y="169583"/>
                  </a:lnTo>
                  <a:lnTo>
                    <a:pt x="439007" y="166831"/>
                  </a:lnTo>
                  <a:lnTo>
                    <a:pt x="439084" y="231124"/>
                  </a:lnTo>
                  <a:lnTo>
                    <a:pt x="424482" y="249612"/>
                  </a:lnTo>
                  <a:lnTo>
                    <a:pt x="422205" y="266615"/>
                  </a:lnTo>
                  <a:lnTo>
                    <a:pt x="398479" y="270986"/>
                  </a:lnTo>
                  <a:lnTo>
                    <a:pt x="362045" y="273349"/>
                  </a:lnTo>
                  <a:lnTo>
                    <a:pt x="352168" y="283112"/>
                  </a:lnTo>
                  <a:lnTo>
                    <a:pt x="335051" y="284197"/>
                  </a:lnTo>
                  <a:lnTo>
                    <a:pt x="317926" y="284321"/>
                  </a:lnTo>
                  <a:lnTo>
                    <a:pt x="311268" y="279054"/>
                  </a:lnTo>
                  <a:lnTo>
                    <a:pt x="296561" y="282959"/>
                  </a:lnTo>
                  <a:lnTo>
                    <a:pt x="271606" y="294351"/>
                  </a:lnTo>
                  <a:lnTo>
                    <a:pt x="266500" y="302914"/>
                  </a:lnTo>
                  <a:lnTo>
                    <a:pt x="245783" y="315173"/>
                  </a:lnTo>
                  <a:lnTo>
                    <a:pt x="242154" y="322193"/>
                  </a:lnTo>
                  <a:lnTo>
                    <a:pt x="230953" y="327746"/>
                  </a:lnTo>
                  <a:lnTo>
                    <a:pt x="218046" y="324069"/>
                  </a:lnTo>
                  <a:lnTo>
                    <a:pt x="210722" y="330727"/>
                  </a:lnTo>
                  <a:lnTo>
                    <a:pt x="206807" y="349396"/>
                  </a:lnTo>
                  <a:lnTo>
                    <a:pt x="185604" y="371885"/>
                  </a:lnTo>
                  <a:lnTo>
                    <a:pt x="186223" y="381057"/>
                  </a:lnTo>
                  <a:lnTo>
                    <a:pt x="178937" y="392525"/>
                  </a:lnTo>
                  <a:lnTo>
                    <a:pt x="180708" y="408204"/>
                  </a:lnTo>
                  <a:lnTo>
                    <a:pt x="169688" y="412195"/>
                  </a:lnTo>
                  <a:lnTo>
                    <a:pt x="163459" y="415595"/>
                  </a:lnTo>
                  <a:lnTo>
                    <a:pt x="159315" y="404060"/>
                  </a:lnTo>
                  <a:lnTo>
                    <a:pt x="151610" y="407108"/>
                  </a:lnTo>
                  <a:lnTo>
                    <a:pt x="146999" y="406575"/>
                  </a:lnTo>
                  <a:lnTo>
                    <a:pt x="142085" y="414452"/>
                  </a:lnTo>
                  <a:lnTo>
                    <a:pt x="121463" y="414233"/>
                  </a:lnTo>
                  <a:lnTo>
                    <a:pt x="114072" y="410175"/>
                  </a:lnTo>
                  <a:lnTo>
                    <a:pt x="110585" y="412633"/>
                  </a:lnTo>
                  <a:lnTo>
                    <a:pt x="102432" y="404851"/>
                  </a:lnTo>
                  <a:lnTo>
                    <a:pt x="103842" y="396812"/>
                  </a:lnTo>
                  <a:lnTo>
                    <a:pt x="100508" y="393659"/>
                  </a:lnTo>
                  <a:lnTo>
                    <a:pt x="94822" y="396316"/>
                  </a:lnTo>
                  <a:lnTo>
                    <a:pt x="95860" y="387525"/>
                  </a:lnTo>
                  <a:lnTo>
                    <a:pt x="101337" y="380562"/>
                  </a:lnTo>
                  <a:lnTo>
                    <a:pt x="90392" y="369218"/>
                  </a:lnTo>
                  <a:lnTo>
                    <a:pt x="87211" y="361731"/>
                  </a:lnTo>
                  <a:lnTo>
                    <a:pt x="81277" y="355768"/>
                  </a:lnTo>
                  <a:lnTo>
                    <a:pt x="75933" y="355054"/>
                  </a:lnTo>
                  <a:lnTo>
                    <a:pt x="69513" y="358855"/>
                  </a:lnTo>
                  <a:lnTo>
                    <a:pt x="60884" y="362493"/>
                  </a:lnTo>
                  <a:lnTo>
                    <a:pt x="53559" y="368360"/>
                  </a:lnTo>
                  <a:lnTo>
                    <a:pt x="42129" y="366189"/>
                  </a:lnTo>
                  <a:lnTo>
                    <a:pt x="34719" y="359302"/>
                  </a:lnTo>
                  <a:lnTo>
                    <a:pt x="30290" y="358397"/>
                  </a:lnTo>
                  <a:lnTo>
                    <a:pt x="23317" y="362017"/>
                  </a:lnTo>
                  <a:lnTo>
                    <a:pt x="19079" y="362045"/>
                  </a:lnTo>
                  <a:lnTo>
                    <a:pt x="17545" y="352101"/>
                  </a:lnTo>
                  <a:lnTo>
                    <a:pt x="18774" y="343634"/>
                  </a:lnTo>
                  <a:lnTo>
                    <a:pt x="16488" y="333099"/>
                  </a:lnTo>
                  <a:lnTo>
                    <a:pt x="6496" y="325441"/>
                  </a:lnTo>
                  <a:lnTo>
                    <a:pt x="1219" y="3098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orme libre : forme 5756">
              <a:extLst>
                <a:ext uri="{FF2B5EF4-FFF2-40B4-BE49-F238E27FC236}">
                  <a16:creationId xmlns:a16="http://schemas.microsoft.com/office/drawing/2014/main" id="{74AC3D83-06EE-77A7-41C8-0C70AB8A86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286016" y="3957879"/>
              <a:ext cx="237068" cy="519931"/>
            </a:xfrm>
            <a:custGeom>
              <a:avLst/>
              <a:gdLst>
                <a:gd name="connsiteX0" fmla="*/ 193348 w 237068"/>
                <a:gd name="connsiteY0" fmla="*/ 237677 h 519931"/>
                <a:gd name="connsiteX1" fmla="*/ 177775 w 237068"/>
                <a:gd name="connsiteY1" fmla="*/ 249927 h 519931"/>
                <a:gd name="connsiteX2" fmla="*/ 158915 w 237068"/>
                <a:gd name="connsiteY2" fmla="*/ 251193 h 519931"/>
                <a:gd name="connsiteX3" fmla="*/ 146742 w 237068"/>
                <a:gd name="connsiteY3" fmla="*/ 281578 h 519931"/>
                <a:gd name="connsiteX4" fmla="*/ 135465 w 237068"/>
                <a:gd name="connsiteY4" fmla="*/ 286664 h 519931"/>
                <a:gd name="connsiteX5" fmla="*/ 148380 w 237068"/>
                <a:gd name="connsiteY5" fmla="*/ 311163 h 519931"/>
                <a:gd name="connsiteX6" fmla="*/ 165325 w 237068"/>
                <a:gd name="connsiteY6" fmla="*/ 331451 h 519931"/>
                <a:gd name="connsiteX7" fmla="*/ 176260 w 237068"/>
                <a:gd name="connsiteY7" fmla="*/ 349711 h 519931"/>
                <a:gd name="connsiteX8" fmla="*/ 166488 w 237068"/>
                <a:gd name="connsiteY8" fmla="*/ 373694 h 519931"/>
                <a:gd name="connsiteX9" fmla="*/ 157267 w 237068"/>
                <a:gd name="connsiteY9" fmla="*/ 378771 h 519931"/>
                <a:gd name="connsiteX10" fmla="*/ 163639 w 237068"/>
                <a:gd name="connsiteY10" fmla="*/ 392544 h 519931"/>
                <a:gd name="connsiteX11" fmla="*/ 181451 w 237068"/>
                <a:gd name="connsiteY11" fmla="*/ 414299 h 519931"/>
                <a:gd name="connsiteX12" fmla="*/ 184509 w 237068"/>
                <a:gd name="connsiteY12" fmla="*/ 429539 h 519931"/>
                <a:gd name="connsiteX13" fmla="*/ 184090 w 237068"/>
                <a:gd name="connsiteY13" fmla="*/ 442189 h 519931"/>
                <a:gd name="connsiteX14" fmla="*/ 194529 w 237068"/>
                <a:gd name="connsiteY14" fmla="*/ 466963 h 519931"/>
                <a:gd name="connsiteX15" fmla="*/ 179861 w 237068"/>
                <a:gd name="connsiteY15" fmla="*/ 492205 h 519931"/>
                <a:gd name="connsiteX16" fmla="*/ 166926 w 237068"/>
                <a:gd name="connsiteY16" fmla="*/ 519932 h 519931"/>
                <a:gd name="connsiteX17" fmla="*/ 164354 w 237068"/>
                <a:gd name="connsiteY17" fmla="*/ 499910 h 519931"/>
                <a:gd name="connsiteX18" fmla="*/ 172555 w 237068"/>
                <a:gd name="connsiteY18" fmla="*/ 479203 h 519931"/>
                <a:gd name="connsiteX19" fmla="*/ 163573 w 237068"/>
                <a:gd name="connsiteY19" fmla="*/ 463163 h 519931"/>
                <a:gd name="connsiteX20" fmla="*/ 165745 w 237068"/>
                <a:gd name="connsiteY20" fmla="*/ 433540 h 519931"/>
                <a:gd name="connsiteX21" fmla="*/ 154905 w 237068"/>
                <a:gd name="connsiteY21" fmla="*/ 419405 h 519931"/>
                <a:gd name="connsiteX22" fmla="*/ 146199 w 237068"/>
                <a:gd name="connsiteY22" fmla="*/ 386639 h 519931"/>
                <a:gd name="connsiteX23" fmla="*/ 141370 w 237068"/>
                <a:gd name="connsiteY23" fmla="*/ 351854 h 519931"/>
                <a:gd name="connsiteX24" fmla="*/ 129826 w 237068"/>
                <a:gd name="connsiteY24" fmla="*/ 328917 h 519931"/>
                <a:gd name="connsiteX25" fmla="*/ 112233 w 237068"/>
                <a:gd name="connsiteY25" fmla="*/ 342814 h 519931"/>
                <a:gd name="connsiteX26" fmla="*/ 81877 w 237068"/>
                <a:gd name="connsiteY26" fmla="*/ 362512 h 519931"/>
                <a:gd name="connsiteX27" fmla="*/ 66903 w 237068"/>
                <a:gd name="connsiteY27" fmla="*/ 360055 h 519931"/>
                <a:gd name="connsiteX28" fmla="*/ 50359 w 237068"/>
                <a:gd name="connsiteY28" fmla="*/ 353578 h 519931"/>
                <a:gd name="connsiteX29" fmla="*/ 59560 w 237068"/>
                <a:gd name="connsiteY29" fmla="*/ 319249 h 519931"/>
                <a:gd name="connsiteX30" fmla="*/ 53988 w 237068"/>
                <a:gd name="connsiteY30" fmla="*/ 293151 h 519931"/>
                <a:gd name="connsiteX31" fmla="*/ 33052 w 237068"/>
                <a:gd name="connsiteY31" fmla="*/ 260814 h 519931"/>
                <a:gd name="connsiteX32" fmla="*/ 36319 w 237068"/>
                <a:gd name="connsiteY32" fmla="*/ 250670 h 519931"/>
                <a:gd name="connsiteX33" fmla="*/ 20688 w 237068"/>
                <a:gd name="connsiteY33" fmla="*/ 247050 h 519931"/>
                <a:gd name="connsiteX34" fmla="*/ 1743 w 237068"/>
                <a:gd name="connsiteY34" fmla="*/ 223961 h 519931"/>
                <a:gd name="connsiteX35" fmla="*/ 0 w 237068"/>
                <a:gd name="connsiteY35" fmla="*/ 201073 h 519931"/>
                <a:gd name="connsiteX36" fmla="*/ 9316 w 237068"/>
                <a:gd name="connsiteY36" fmla="*/ 205388 h 519931"/>
                <a:gd name="connsiteX37" fmla="*/ 9868 w 237068"/>
                <a:gd name="connsiteY37" fmla="*/ 184890 h 519931"/>
                <a:gd name="connsiteX38" fmla="*/ 23041 w 237068"/>
                <a:gd name="connsiteY38" fmla="*/ 178089 h 519931"/>
                <a:gd name="connsiteX39" fmla="*/ 20222 w 237068"/>
                <a:gd name="connsiteY39" fmla="*/ 165888 h 519931"/>
                <a:gd name="connsiteX40" fmla="*/ 26251 w 237068"/>
                <a:gd name="connsiteY40" fmla="*/ 156067 h 519931"/>
                <a:gd name="connsiteX41" fmla="*/ 27289 w 237068"/>
                <a:gd name="connsiteY41" fmla="*/ 126082 h 519931"/>
                <a:gd name="connsiteX42" fmla="*/ 48159 w 237068"/>
                <a:gd name="connsiteY42" fmla="*/ 132712 h 519931"/>
                <a:gd name="connsiteX43" fmla="*/ 60065 w 237068"/>
                <a:gd name="connsiteY43" fmla="*/ 108690 h 519931"/>
                <a:gd name="connsiteX44" fmla="*/ 61427 w 237068"/>
                <a:gd name="connsiteY44" fmla="*/ 94422 h 519931"/>
                <a:gd name="connsiteX45" fmla="*/ 76162 w 237068"/>
                <a:gd name="connsiteY45" fmla="*/ 69713 h 519931"/>
                <a:gd name="connsiteX46" fmla="*/ 75352 w 237068"/>
                <a:gd name="connsiteY46" fmla="*/ 52769 h 519931"/>
                <a:gd name="connsiteX47" fmla="*/ 109928 w 237068"/>
                <a:gd name="connsiteY47" fmla="*/ 32176 h 519931"/>
                <a:gd name="connsiteX48" fmla="*/ 129017 w 237068"/>
                <a:gd name="connsiteY48" fmla="*/ 37576 h 519931"/>
                <a:gd name="connsiteX49" fmla="*/ 126816 w 237068"/>
                <a:gd name="connsiteY49" fmla="*/ 19165 h 519931"/>
                <a:gd name="connsiteX50" fmla="*/ 136179 w 237068"/>
                <a:gd name="connsiteY50" fmla="*/ 13659 h 519931"/>
                <a:gd name="connsiteX51" fmla="*/ 134169 w 237068"/>
                <a:gd name="connsiteY51" fmla="*/ 2239 h 519931"/>
                <a:gd name="connsiteX52" fmla="*/ 149790 w 237068"/>
                <a:gd name="connsiteY52" fmla="*/ 0 h 519931"/>
                <a:gd name="connsiteX53" fmla="*/ 158715 w 237068"/>
                <a:gd name="connsiteY53" fmla="*/ 17717 h 519931"/>
                <a:gd name="connsiteX54" fmla="*/ 170364 w 237068"/>
                <a:gd name="connsiteY54" fmla="*/ 24870 h 519931"/>
                <a:gd name="connsiteX55" fmla="*/ 171155 w 237068"/>
                <a:gd name="connsiteY55" fmla="*/ 47711 h 519931"/>
                <a:gd name="connsiteX56" fmla="*/ 170079 w 237068"/>
                <a:gd name="connsiteY56" fmla="*/ 72162 h 519931"/>
                <a:gd name="connsiteX57" fmla="*/ 144789 w 237068"/>
                <a:gd name="connsiteY57" fmla="*/ 96736 h 519931"/>
                <a:gd name="connsiteX58" fmla="*/ 141580 w 237068"/>
                <a:gd name="connsiteY58" fmla="*/ 131359 h 519931"/>
                <a:gd name="connsiteX59" fmla="*/ 169774 w 237068"/>
                <a:gd name="connsiteY59" fmla="*/ 126530 h 519931"/>
                <a:gd name="connsiteX60" fmla="*/ 176146 w 237068"/>
                <a:gd name="connsiteY60" fmla="*/ 153210 h 519931"/>
                <a:gd name="connsiteX61" fmla="*/ 193053 w 237068"/>
                <a:gd name="connsiteY61" fmla="*/ 158801 h 519931"/>
                <a:gd name="connsiteX62" fmla="*/ 185281 w 237068"/>
                <a:gd name="connsiteY62" fmla="*/ 182680 h 519931"/>
                <a:gd name="connsiteX63" fmla="*/ 205111 w 237068"/>
                <a:gd name="connsiteY63" fmla="*/ 193424 h 519931"/>
                <a:gd name="connsiteX64" fmla="*/ 216675 w 237068"/>
                <a:gd name="connsiteY64" fmla="*/ 198692 h 519931"/>
                <a:gd name="connsiteX65" fmla="*/ 236258 w 237068"/>
                <a:gd name="connsiteY65" fmla="*/ 190367 h 519931"/>
                <a:gd name="connsiteX66" fmla="*/ 237068 w 237068"/>
                <a:gd name="connsiteY66" fmla="*/ 202178 h 519931"/>
                <a:gd name="connsiteX67" fmla="*/ 214341 w 237068"/>
                <a:gd name="connsiteY67" fmla="*/ 220694 h 519931"/>
                <a:gd name="connsiteX68" fmla="*/ 208655 w 237068"/>
                <a:gd name="connsiteY68" fmla="*/ 231134 h 51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237068" h="519931">
                  <a:moveTo>
                    <a:pt x="193348" y="237677"/>
                  </a:moveTo>
                  <a:lnTo>
                    <a:pt x="177775" y="249927"/>
                  </a:lnTo>
                  <a:lnTo>
                    <a:pt x="158915" y="251193"/>
                  </a:lnTo>
                  <a:lnTo>
                    <a:pt x="146742" y="281578"/>
                  </a:lnTo>
                  <a:lnTo>
                    <a:pt x="135465" y="286664"/>
                  </a:lnTo>
                  <a:lnTo>
                    <a:pt x="148380" y="311163"/>
                  </a:lnTo>
                  <a:lnTo>
                    <a:pt x="165325" y="331451"/>
                  </a:lnTo>
                  <a:lnTo>
                    <a:pt x="176260" y="349711"/>
                  </a:lnTo>
                  <a:lnTo>
                    <a:pt x="166488" y="373694"/>
                  </a:lnTo>
                  <a:lnTo>
                    <a:pt x="157267" y="378771"/>
                  </a:lnTo>
                  <a:lnTo>
                    <a:pt x="163639" y="392544"/>
                  </a:lnTo>
                  <a:lnTo>
                    <a:pt x="181451" y="414299"/>
                  </a:lnTo>
                  <a:lnTo>
                    <a:pt x="184509" y="429539"/>
                  </a:lnTo>
                  <a:lnTo>
                    <a:pt x="184090" y="442189"/>
                  </a:lnTo>
                  <a:lnTo>
                    <a:pt x="194529" y="466963"/>
                  </a:lnTo>
                  <a:lnTo>
                    <a:pt x="179861" y="492205"/>
                  </a:lnTo>
                  <a:lnTo>
                    <a:pt x="166926" y="519932"/>
                  </a:lnTo>
                  <a:lnTo>
                    <a:pt x="164354" y="499910"/>
                  </a:lnTo>
                  <a:lnTo>
                    <a:pt x="172555" y="479203"/>
                  </a:lnTo>
                  <a:lnTo>
                    <a:pt x="163573" y="463163"/>
                  </a:lnTo>
                  <a:lnTo>
                    <a:pt x="165745" y="433540"/>
                  </a:lnTo>
                  <a:lnTo>
                    <a:pt x="154905" y="419405"/>
                  </a:lnTo>
                  <a:lnTo>
                    <a:pt x="146199" y="386639"/>
                  </a:lnTo>
                  <a:lnTo>
                    <a:pt x="141370" y="351854"/>
                  </a:lnTo>
                  <a:lnTo>
                    <a:pt x="129826" y="328917"/>
                  </a:lnTo>
                  <a:lnTo>
                    <a:pt x="112233" y="342814"/>
                  </a:lnTo>
                  <a:lnTo>
                    <a:pt x="81877" y="362512"/>
                  </a:lnTo>
                  <a:lnTo>
                    <a:pt x="66903" y="360055"/>
                  </a:lnTo>
                  <a:lnTo>
                    <a:pt x="50359" y="353578"/>
                  </a:lnTo>
                  <a:lnTo>
                    <a:pt x="59560" y="319249"/>
                  </a:lnTo>
                  <a:lnTo>
                    <a:pt x="53988" y="293151"/>
                  </a:lnTo>
                  <a:lnTo>
                    <a:pt x="33052" y="260814"/>
                  </a:lnTo>
                  <a:lnTo>
                    <a:pt x="36319" y="250670"/>
                  </a:lnTo>
                  <a:lnTo>
                    <a:pt x="20688" y="247050"/>
                  </a:lnTo>
                  <a:lnTo>
                    <a:pt x="1743" y="223961"/>
                  </a:lnTo>
                  <a:lnTo>
                    <a:pt x="0" y="201073"/>
                  </a:lnTo>
                  <a:lnTo>
                    <a:pt x="9316" y="205388"/>
                  </a:lnTo>
                  <a:lnTo>
                    <a:pt x="9868" y="184890"/>
                  </a:lnTo>
                  <a:lnTo>
                    <a:pt x="23041" y="178089"/>
                  </a:lnTo>
                  <a:lnTo>
                    <a:pt x="20222" y="165888"/>
                  </a:lnTo>
                  <a:lnTo>
                    <a:pt x="26251" y="156067"/>
                  </a:lnTo>
                  <a:lnTo>
                    <a:pt x="27289" y="126082"/>
                  </a:lnTo>
                  <a:lnTo>
                    <a:pt x="48159" y="132712"/>
                  </a:lnTo>
                  <a:lnTo>
                    <a:pt x="60065" y="108690"/>
                  </a:lnTo>
                  <a:lnTo>
                    <a:pt x="61427" y="94422"/>
                  </a:lnTo>
                  <a:lnTo>
                    <a:pt x="76162" y="69713"/>
                  </a:lnTo>
                  <a:lnTo>
                    <a:pt x="75352" y="52769"/>
                  </a:lnTo>
                  <a:lnTo>
                    <a:pt x="109928" y="32176"/>
                  </a:lnTo>
                  <a:lnTo>
                    <a:pt x="129017" y="37576"/>
                  </a:lnTo>
                  <a:lnTo>
                    <a:pt x="126816" y="19165"/>
                  </a:lnTo>
                  <a:lnTo>
                    <a:pt x="136179" y="13659"/>
                  </a:lnTo>
                  <a:lnTo>
                    <a:pt x="134169" y="2239"/>
                  </a:lnTo>
                  <a:lnTo>
                    <a:pt x="149790" y="0"/>
                  </a:lnTo>
                  <a:lnTo>
                    <a:pt x="158715" y="17717"/>
                  </a:lnTo>
                  <a:lnTo>
                    <a:pt x="170364" y="24870"/>
                  </a:lnTo>
                  <a:lnTo>
                    <a:pt x="171155" y="47711"/>
                  </a:lnTo>
                  <a:lnTo>
                    <a:pt x="170079" y="72162"/>
                  </a:lnTo>
                  <a:lnTo>
                    <a:pt x="144789" y="96736"/>
                  </a:lnTo>
                  <a:lnTo>
                    <a:pt x="141580" y="131359"/>
                  </a:lnTo>
                  <a:lnTo>
                    <a:pt x="169774" y="126530"/>
                  </a:lnTo>
                  <a:lnTo>
                    <a:pt x="176146" y="153210"/>
                  </a:lnTo>
                  <a:lnTo>
                    <a:pt x="193053" y="158801"/>
                  </a:lnTo>
                  <a:lnTo>
                    <a:pt x="185281" y="182680"/>
                  </a:lnTo>
                  <a:lnTo>
                    <a:pt x="205111" y="193424"/>
                  </a:lnTo>
                  <a:lnTo>
                    <a:pt x="216675" y="198692"/>
                  </a:lnTo>
                  <a:lnTo>
                    <a:pt x="236258" y="190367"/>
                  </a:lnTo>
                  <a:lnTo>
                    <a:pt x="237068" y="202178"/>
                  </a:lnTo>
                  <a:lnTo>
                    <a:pt x="214341" y="220694"/>
                  </a:lnTo>
                  <a:lnTo>
                    <a:pt x="208655" y="23113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orme libre : forme 5757">
              <a:extLst>
                <a:ext uri="{FF2B5EF4-FFF2-40B4-BE49-F238E27FC236}">
                  <a16:creationId xmlns:a16="http://schemas.microsoft.com/office/drawing/2014/main" id="{61270F0B-FEE4-1B14-6C62-B125D2FD2D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164448" y="3117269"/>
              <a:ext cx="855183" cy="408441"/>
            </a:xfrm>
            <a:custGeom>
              <a:avLst/>
              <a:gdLst>
                <a:gd name="connsiteX0" fmla="*/ 0 w 855183"/>
                <a:gd name="connsiteY0" fmla="*/ 115624 h 408441"/>
                <a:gd name="connsiteX1" fmla="*/ 28156 w 855183"/>
                <a:gd name="connsiteY1" fmla="*/ 108537 h 408441"/>
                <a:gd name="connsiteX2" fmla="*/ 79115 w 855183"/>
                <a:gd name="connsiteY2" fmla="*/ 72914 h 408441"/>
                <a:gd name="connsiteX3" fmla="*/ 119729 w 855183"/>
                <a:gd name="connsiteY3" fmla="*/ 53197 h 408441"/>
                <a:gd name="connsiteX4" fmla="*/ 142961 w 855183"/>
                <a:gd name="connsiteY4" fmla="*/ 66084 h 408441"/>
                <a:gd name="connsiteX5" fmla="*/ 170822 w 855183"/>
                <a:gd name="connsiteY5" fmla="*/ 66703 h 408441"/>
                <a:gd name="connsiteX6" fmla="*/ 188672 w 855183"/>
                <a:gd name="connsiteY6" fmla="*/ 86163 h 408441"/>
                <a:gd name="connsiteX7" fmla="*/ 215322 w 855183"/>
                <a:gd name="connsiteY7" fmla="*/ 87649 h 408441"/>
                <a:gd name="connsiteX8" fmla="*/ 253937 w 855183"/>
                <a:gd name="connsiteY8" fmla="*/ 98031 h 408441"/>
                <a:gd name="connsiteX9" fmla="*/ 279902 w 855183"/>
                <a:gd name="connsiteY9" fmla="*/ 69142 h 408441"/>
                <a:gd name="connsiteX10" fmla="*/ 269053 w 855183"/>
                <a:gd name="connsiteY10" fmla="*/ 44377 h 408441"/>
                <a:gd name="connsiteX11" fmla="*/ 296713 w 855183"/>
                <a:gd name="connsiteY11" fmla="*/ 0 h 408441"/>
                <a:gd name="connsiteX12" fmla="*/ 326631 w 855183"/>
                <a:gd name="connsiteY12" fmla="*/ 17821 h 408441"/>
                <a:gd name="connsiteX13" fmla="*/ 350873 w 855183"/>
                <a:gd name="connsiteY13" fmla="*/ 22841 h 408441"/>
                <a:gd name="connsiteX14" fmla="*/ 382277 w 855183"/>
                <a:gd name="connsiteY14" fmla="*/ 33814 h 408441"/>
                <a:gd name="connsiteX15" fmla="*/ 387372 w 855183"/>
                <a:gd name="connsiteY15" fmla="*/ 65446 h 408441"/>
                <a:gd name="connsiteX16" fmla="*/ 425301 w 855183"/>
                <a:gd name="connsiteY16" fmla="*/ 82982 h 408441"/>
                <a:gd name="connsiteX17" fmla="*/ 450552 w 855183"/>
                <a:gd name="connsiteY17" fmla="*/ 75276 h 408441"/>
                <a:gd name="connsiteX18" fmla="*/ 484337 w 855183"/>
                <a:gd name="connsiteY18" fmla="*/ 69818 h 408441"/>
                <a:gd name="connsiteX19" fmla="*/ 511093 w 855183"/>
                <a:gd name="connsiteY19" fmla="*/ 75314 h 408441"/>
                <a:gd name="connsiteX20" fmla="*/ 537248 w 855183"/>
                <a:gd name="connsiteY20" fmla="*/ 95240 h 408441"/>
                <a:gd name="connsiteX21" fmla="*/ 553460 w 855183"/>
                <a:gd name="connsiteY21" fmla="*/ 116224 h 408441"/>
                <a:gd name="connsiteX22" fmla="*/ 578225 w 855183"/>
                <a:gd name="connsiteY22" fmla="*/ 115796 h 408441"/>
                <a:gd name="connsiteX23" fmla="*/ 611867 w 855183"/>
                <a:gd name="connsiteY23" fmla="*/ 122434 h 408441"/>
                <a:gd name="connsiteX24" fmla="*/ 636413 w 855183"/>
                <a:gd name="connsiteY24" fmla="*/ 112319 h 408441"/>
                <a:gd name="connsiteX25" fmla="*/ 671579 w 855183"/>
                <a:gd name="connsiteY25" fmla="*/ 105537 h 408441"/>
                <a:gd name="connsiteX26" fmla="*/ 710689 w 855183"/>
                <a:gd name="connsiteY26" fmla="*/ 76400 h 408441"/>
                <a:gd name="connsiteX27" fmla="*/ 726710 w 855183"/>
                <a:gd name="connsiteY27" fmla="*/ 80896 h 408441"/>
                <a:gd name="connsiteX28" fmla="*/ 740693 w 855183"/>
                <a:gd name="connsiteY28" fmla="*/ 94764 h 408441"/>
                <a:gd name="connsiteX29" fmla="*/ 772554 w 855183"/>
                <a:gd name="connsiteY29" fmla="*/ 91326 h 408441"/>
                <a:gd name="connsiteX30" fmla="*/ 759553 w 855183"/>
                <a:gd name="connsiteY30" fmla="*/ 122253 h 408441"/>
                <a:gd name="connsiteX31" fmla="*/ 740683 w 855183"/>
                <a:gd name="connsiteY31" fmla="*/ 162516 h 408441"/>
                <a:gd name="connsiteX32" fmla="*/ 747560 w 855183"/>
                <a:gd name="connsiteY32" fmla="*/ 178765 h 408441"/>
                <a:gd name="connsiteX33" fmla="*/ 762677 w 855183"/>
                <a:gd name="connsiteY33" fmla="*/ 173736 h 408441"/>
                <a:gd name="connsiteX34" fmla="*/ 789023 w 855183"/>
                <a:gd name="connsiteY34" fmla="*/ 179899 h 408441"/>
                <a:gd name="connsiteX35" fmla="*/ 809549 w 855183"/>
                <a:gd name="connsiteY35" fmla="*/ 165249 h 408441"/>
                <a:gd name="connsiteX36" fmla="*/ 830980 w 855183"/>
                <a:gd name="connsiteY36" fmla="*/ 177946 h 408441"/>
                <a:gd name="connsiteX37" fmla="*/ 855183 w 855183"/>
                <a:gd name="connsiteY37" fmla="*/ 205445 h 408441"/>
                <a:gd name="connsiteX38" fmla="*/ 852259 w 855183"/>
                <a:gd name="connsiteY38" fmla="*/ 219285 h 408441"/>
                <a:gd name="connsiteX39" fmla="*/ 831190 w 855183"/>
                <a:gd name="connsiteY39" fmla="*/ 214903 h 408441"/>
                <a:gd name="connsiteX40" fmla="*/ 792395 w 855183"/>
                <a:gd name="connsiteY40" fmla="*/ 220056 h 408441"/>
                <a:gd name="connsiteX41" fmla="*/ 773602 w 855183"/>
                <a:gd name="connsiteY41" fmla="*/ 231067 h 408441"/>
                <a:gd name="connsiteX42" fmla="*/ 754028 w 855183"/>
                <a:gd name="connsiteY42" fmla="*/ 256422 h 408441"/>
                <a:gd name="connsiteX43" fmla="*/ 713308 w 855183"/>
                <a:gd name="connsiteY43" fmla="*/ 271148 h 408441"/>
                <a:gd name="connsiteX44" fmla="*/ 686695 w 855183"/>
                <a:gd name="connsiteY44" fmla="*/ 291160 h 408441"/>
                <a:gd name="connsiteX45" fmla="*/ 659245 w 855183"/>
                <a:gd name="connsiteY45" fmla="*/ 283540 h 408441"/>
                <a:gd name="connsiteX46" fmla="*/ 644223 w 855183"/>
                <a:gd name="connsiteY46" fmla="*/ 280130 h 408441"/>
                <a:gd name="connsiteX47" fmla="*/ 630193 w 855183"/>
                <a:gd name="connsiteY47" fmla="*/ 304305 h 408441"/>
                <a:gd name="connsiteX48" fmla="*/ 638728 w 855183"/>
                <a:gd name="connsiteY48" fmla="*/ 318583 h 408441"/>
                <a:gd name="connsiteX49" fmla="*/ 643052 w 855183"/>
                <a:gd name="connsiteY49" fmla="*/ 330775 h 408441"/>
                <a:gd name="connsiteX50" fmla="*/ 624354 w 855183"/>
                <a:gd name="connsiteY50" fmla="*/ 343129 h 408441"/>
                <a:gd name="connsiteX51" fmla="*/ 605190 w 855183"/>
                <a:gd name="connsiteY51" fmla="*/ 362665 h 408441"/>
                <a:gd name="connsiteX52" fmla="*/ 573987 w 855183"/>
                <a:gd name="connsiteY52" fmla="*/ 375399 h 408441"/>
                <a:gd name="connsiteX53" fmla="*/ 533962 w 855183"/>
                <a:gd name="connsiteY53" fmla="*/ 376771 h 408441"/>
                <a:gd name="connsiteX54" fmla="*/ 490814 w 855183"/>
                <a:gd name="connsiteY54" fmla="*/ 389258 h 408441"/>
                <a:gd name="connsiteX55" fmla="*/ 459724 w 855183"/>
                <a:gd name="connsiteY55" fmla="*/ 408442 h 408441"/>
                <a:gd name="connsiteX56" fmla="*/ 447894 w 855183"/>
                <a:gd name="connsiteY56" fmla="*/ 397355 h 408441"/>
                <a:gd name="connsiteX57" fmla="*/ 415586 w 855183"/>
                <a:gd name="connsiteY57" fmla="*/ 397383 h 408441"/>
                <a:gd name="connsiteX58" fmla="*/ 376066 w 855183"/>
                <a:gd name="connsiteY58" fmla="*/ 375561 h 408441"/>
                <a:gd name="connsiteX59" fmla="*/ 349711 w 855183"/>
                <a:gd name="connsiteY59" fmla="*/ 370180 h 408441"/>
                <a:gd name="connsiteX60" fmla="*/ 314183 w 855183"/>
                <a:gd name="connsiteY60" fmla="*/ 375209 h 408441"/>
                <a:gd name="connsiteX61" fmla="*/ 259061 w 855183"/>
                <a:gd name="connsiteY61" fmla="*/ 367103 h 408441"/>
                <a:gd name="connsiteX62" fmla="*/ 229619 w 855183"/>
                <a:gd name="connsiteY62" fmla="*/ 367941 h 408441"/>
                <a:gd name="connsiteX63" fmla="*/ 213951 w 855183"/>
                <a:gd name="connsiteY63" fmla="*/ 346329 h 408441"/>
                <a:gd name="connsiteX64" fmla="*/ 201778 w 855183"/>
                <a:gd name="connsiteY64" fmla="*/ 312344 h 408441"/>
                <a:gd name="connsiteX65" fmla="*/ 185281 w 855183"/>
                <a:gd name="connsiteY65" fmla="*/ 308220 h 408441"/>
                <a:gd name="connsiteX66" fmla="*/ 153010 w 855183"/>
                <a:gd name="connsiteY66" fmla="*/ 284902 h 408441"/>
                <a:gd name="connsiteX67" fmla="*/ 117043 w 855183"/>
                <a:gd name="connsiteY67" fmla="*/ 279645 h 408441"/>
                <a:gd name="connsiteX68" fmla="*/ 85306 w 855183"/>
                <a:gd name="connsiteY68" fmla="*/ 273177 h 408441"/>
                <a:gd name="connsiteX69" fmla="*/ 75695 w 855183"/>
                <a:gd name="connsiteY69" fmla="*/ 256708 h 408441"/>
                <a:gd name="connsiteX70" fmla="*/ 85973 w 855183"/>
                <a:gd name="connsiteY70" fmla="*/ 211684 h 408441"/>
                <a:gd name="connsiteX71" fmla="*/ 67552 w 855183"/>
                <a:gd name="connsiteY71" fmla="*/ 180070 h 408441"/>
                <a:gd name="connsiteX72" fmla="*/ 29461 w 855183"/>
                <a:gd name="connsiteY72" fmla="*/ 165163 h 408441"/>
                <a:gd name="connsiteX73" fmla="*/ 7011 w 855183"/>
                <a:gd name="connsiteY73" fmla="*/ 143913 h 4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855183" h="408441">
                  <a:moveTo>
                    <a:pt x="0" y="115624"/>
                  </a:moveTo>
                  <a:lnTo>
                    <a:pt x="28156" y="108537"/>
                  </a:lnTo>
                  <a:lnTo>
                    <a:pt x="79115" y="72914"/>
                  </a:lnTo>
                  <a:lnTo>
                    <a:pt x="119729" y="53197"/>
                  </a:lnTo>
                  <a:lnTo>
                    <a:pt x="142961" y="66084"/>
                  </a:lnTo>
                  <a:lnTo>
                    <a:pt x="170822" y="66703"/>
                  </a:lnTo>
                  <a:lnTo>
                    <a:pt x="188672" y="86163"/>
                  </a:lnTo>
                  <a:lnTo>
                    <a:pt x="215322" y="87649"/>
                  </a:lnTo>
                  <a:lnTo>
                    <a:pt x="253937" y="98031"/>
                  </a:lnTo>
                  <a:lnTo>
                    <a:pt x="279902" y="69142"/>
                  </a:lnTo>
                  <a:lnTo>
                    <a:pt x="269053" y="44377"/>
                  </a:lnTo>
                  <a:lnTo>
                    <a:pt x="296713" y="0"/>
                  </a:lnTo>
                  <a:lnTo>
                    <a:pt x="326631" y="17821"/>
                  </a:lnTo>
                  <a:lnTo>
                    <a:pt x="350873" y="22841"/>
                  </a:lnTo>
                  <a:lnTo>
                    <a:pt x="382277" y="33814"/>
                  </a:lnTo>
                  <a:lnTo>
                    <a:pt x="387372" y="65446"/>
                  </a:lnTo>
                  <a:lnTo>
                    <a:pt x="425301" y="82982"/>
                  </a:lnTo>
                  <a:lnTo>
                    <a:pt x="450552" y="75276"/>
                  </a:lnTo>
                  <a:lnTo>
                    <a:pt x="484337" y="69818"/>
                  </a:lnTo>
                  <a:lnTo>
                    <a:pt x="511093" y="75314"/>
                  </a:lnTo>
                  <a:lnTo>
                    <a:pt x="537248" y="95240"/>
                  </a:lnTo>
                  <a:lnTo>
                    <a:pt x="553460" y="116224"/>
                  </a:lnTo>
                  <a:lnTo>
                    <a:pt x="578225" y="115796"/>
                  </a:lnTo>
                  <a:lnTo>
                    <a:pt x="611867" y="122434"/>
                  </a:lnTo>
                  <a:lnTo>
                    <a:pt x="636413" y="112319"/>
                  </a:lnTo>
                  <a:lnTo>
                    <a:pt x="671579" y="105537"/>
                  </a:lnTo>
                  <a:lnTo>
                    <a:pt x="710689" y="76400"/>
                  </a:lnTo>
                  <a:lnTo>
                    <a:pt x="726710" y="80896"/>
                  </a:lnTo>
                  <a:lnTo>
                    <a:pt x="740693" y="94764"/>
                  </a:lnTo>
                  <a:lnTo>
                    <a:pt x="772554" y="91326"/>
                  </a:lnTo>
                  <a:lnTo>
                    <a:pt x="759553" y="122253"/>
                  </a:lnTo>
                  <a:lnTo>
                    <a:pt x="740683" y="162516"/>
                  </a:lnTo>
                  <a:lnTo>
                    <a:pt x="747560" y="178765"/>
                  </a:lnTo>
                  <a:lnTo>
                    <a:pt x="762677" y="173736"/>
                  </a:lnTo>
                  <a:lnTo>
                    <a:pt x="789023" y="179899"/>
                  </a:lnTo>
                  <a:lnTo>
                    <a:pt x="809549" y="165249"/>
                  </a:lnTo>
                  <a:lnTo>
                    <a:pt x="830980" y="177946"/>
                  </a:lnTo>
                  <a:lnTo>
                    <a:pt x="855183" y="205445"/>
                  </a:lnTo>
                  <a:lnTo>
                    <a:pt x="852259" y="219285"/>
                  </a:lnTo>
                  <a:lnTo>
                    <a:pt x="831190" y="214903"/>
                  </a:lnTo>
                  <a:lnTo>
                    <a:pt x="792395" y="220056"/>
                  </a:lnTo>
                  <a:lnTo>
                    <a:pt x="773602" y="231067"/>
                  </a:lnTo>
                  <a:lnTo>
                    <a:pt x="754028" y="256422"/>
                  </a:lnTo>
                  <a:lnTo>
                    <a:pt x="713308" y="271148"/>
                  </a:lnTo>
                  <a:lnTo>
                    <a:pt x="686695" y="291160"/>
                  </a:lnTo>
                  <a:lnTo>
                    <a:pt x="659245" y="283540"/>
                  </a:lnTo>
                  <a:lnTo>
                    <a:pt x="644223" y="280130"/>
                  </a:lnTo>
                  <a:lnTo>
                    <a:pt x="630193" y="304305"/>
                  </a:lnTo>
                  <a:lnTo>
                    <a:pt x="638728" y="318583"/>
                  </a:lnTo>
                  <a:lnTo>
                    <a:pt x="643052" y="330775"/>
                  </a:lnTo>
                  <a:lnTo>
                    <a:pt x="624354" y="343129"/>
                  </a:lnTo>
                  <a:lnTo>
                    <a:pt x="605190" y="362665"/>
                  </a:lnTo>
                  <a:lnTo>
                    <a:pt x="573987" y="375399"/>
                  </a:lnTo>
                  <a:lnTo>
                    <a:pt x="533962" y="376771"/>
                  </a:lnTo>
                  <a:lnTo>
                    <a:pt x="490814" y="389258"/>
                  </a:lnTo>
                  <a:lnTo>
                    <a:pt x="459724" y="408442"/>
                  </a:lnTo>
                  <a:lnTo>
                    <a:pt x="447894" y="397355"/>
                  </a:lnTo>
                  <a:lnTo>
                    <a:pt x="415586" y="397383"/>
                  </a:lnTo>
                  <a:lnTo>
                    <a:pt x="376066" y="375561"/>
                  </a:lnTo>
                  <a:lnTo>
                    <a:pt x="349711" y="370180"/>
                  </a:lnTo>
                  <a:lnTo>
                    <a:pt x="314183" y="375209"/>
                  </a:lnTo>
                  <a:lnTo>
                    <a:pt x="259061" y="367103"/>
                  </a:lnTo>
                  <a:lnTo>
                    <a:pt x="229619" y="367941"/>
                  </a:lnTo>
                  <a:lnTo>
                    <a:pt x="213951" y="346329"/>
                  </a:lnTo>
                  <a:lnTo>
                    <a:pt x="201778" y="312344"/>
                  </a:lnTo>
                  <a:lnTo>
                    <a:pt x="185281" y="308220"/>
                  </a:lnTo>
                  <a:lnTo>
                    <a:pt x="153010" y="284902"/>
                  </a:lnTo>
                  <a:lnTo>
                    <a:pt x="117043" y="279645"/>
                  </a:lnTo>
                  <a:lnTo>
                    <a:pt x="85306" y="273177"/>
                  </a:lnTo>
                  <a:lnTo>
                    <a:pt x="75695" y="256708"/>
                  </a:lnTo>
                  <a:lnTo>
                    <a:pt x="85973" y="211684"/>
                  </a:lnTo>
                  <a:lnTo>
                    <a:pt x="67552" y="180070"/>
                  </a:lnTo>
                  <a:lnTo>
                    <a:pt x="29461" y="165163"/>
                  </a:lnTo>
                  <a:lnTo>
                    <a:pt x="7011" y="1439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orme libre : forme 5758">
              <a:extLst>
                <a:ext uri="{FF2B5EF4-FFF2-40B4-BE49-F238E27FC236}">
                  <a16:creationId xmlns:a16="http://schemas.microsoft.com/office/drawing/2014/main" id="{97D9E2C8-6B36-54AD-091E-D26A597DAD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365194" y="3986130"/>
              <a:ext cx="324221" cy="364436"/>
            </a:xfrm>
            <a:custGeom>
              <a:avLst/>
              <a:gdLst>
                <a:gd name="connsiteX0" fmla="*/ 130664 w 324221"/>
                <a:gd name="connsiteY0" fmla="*/ 364436 h 364436"/>
                <a:gd name="connsiteX1" fmla="*/ 113043 w 324221"/>
                <a:gd name="connsiteY1" fmla="*/ 345567 h 364436"/>
                <a:gd name="connsiteX2" fmla="*/ 96879 w 324221"/>
                <a:gd name="connsiteY2" fmla="*/ 325288 h 364436"/>
                <a:gd name="connsiteX3" fmla="*/ 79153 w 324221"/>
                <a:gd name="connsiteY3" fmla="*/ 317973 h 364436"/>
                <a:gd name="connsiteX4" fmla="*/ 66389 w 324221"/>
                <a:gd name="connsiteY4" fmla="*/ 309829 h 364436"/>
                <a:gd name="connsiteX5" fmla="*/ 51473 w 324221"/>
                <a:gd name="connsiteY5" fmla="*/ 310144 h 364436"/>
                <a:gd name="connsiteX6" fmla="*/ 38443 w 324221"/>
                <a:gd name="connsiteY6" fmla="*/ 316173 h 364436"/>
                <a:gd name="connsiteX7" fmla="*/ 25175 w 324221"/>
                <a:gd name="connsiteY7" fmla="*/ 313782 h 364436"/>
                <a:gd name="connsiteX8" fmla="*/ 16030 w 324221"/>
                <a:gd name="connsiteY8" fmla="*/ 322650 h 364436"/>
                <a:gd name="connsiteX9" fmla="*/ 13716 w 324221"/>
                <a:gd name="connsiteY9" fmla="*/ 307743 h 364436"/>
                <a:gd name="connsiteX10" fmla="*/ 21174 w 324221"/>
                <a:gd name="connsiteY10" fmla="*/ 294056 h 364436"/>
                <a:gd name="connsiteX11" fmla="*/ 24489 w 324221"/>
                <a:gd name="connsiteY11" fmla="*/ 267834 h 364436"/>
                <a:gd name="connsiteX12" fmla="*/ 21536 w 324221"/>
                <a:gd name="connsiteY12" fmla="*/ 240154 h 364436"/>
                <a:gd name="connsiteX13" fmla="*/ 18317 w 324221"/>
                <a:gd name="connsiteY13" fmla="*/ 226171 h 364436"/>
                <a:gd name="connsiteX14" fmla="*/ 20974 w 324221"/>
                <a:gd name="connsiteY14" fmla="*/ 212093 h 364436"/>
                <a:gd name="connsiteX15" fmla="*/ 14078 w 324221"/>
                <a:gd name="connsiteY15" fmla="*/ 198634 h 364436"/>
                <a:gd name="connsiteX16" fmla="*/ 0 w 324221"/>
                <a:gd name="connsiteY16" fmla="*/ 186366 h 364436"/>
                <a:gd name="connsiteX17" fmla="*/ 5820 w 324221"/>
                <a:gd name="connsiteY17" fmla="*/ 176870 h 364436"/>
                <a:gd name="connsiteX18" fmla="*/ 110404 w 324221"/>
                <a:gd name="connsiteY18" fmla="*/ 177051 h 364436"/>
                <a:gd name="connsiteX19" fmla="*/ 105346 w 324221"/>
                <a:gd name="connsiteY19" fmla="*/ 135674 h 364436"/>
                <a:gd name="connsiteX20" fmla="*/ 111881 w 324221"/>
                <a:gd name="connsiteY20" fmla="*/ 120853 h 364436"/>
                <a:gd name="connsiteX21" fmla="*/ 136903 w 324221"/>
                <a:gd name="connsiteY21" fmla="*/ 118253 h 364436"/>
                <a:gd name="connsiteX22" fmla="*/ 136036 w 324221"/>
                <a:gd name="connsiteY22" fmla="*/ 43472 h 364436"/>
                <a:gd name="connsiteX23" fmla="*/ 223694 w 324221"/>
                <a:gd name="connsiteY23" fmla="*/ 45025 h 364436"/>
                <a:gd name="connsiteX24" fmla="*/ 223771 w 324221"/>
                <a:gd name="connsiteY24" fmla="*/ 0 h 364436"/>
                <a:gd name="connsiteX25" fmla="*/ 324222 w 324221"/>
                <a:gd name="connsiteY25" fmla="*/ 71676 h 364436"/>
                <a:gd name="connsiteX26" fmla="*/ 283350 w 324221"/>
                <a:gd name="connsiteY26" fmla="*/ 72209 h 364436"/>
                <a:gd name="connsiteX27" fmla="*/ 296237 w 324221"/>
                <a:gd name="connsiteY27" fmla="*/ 196567 h 364436"/>
                <a:gd name="connsiteX28" fmla="*/ 309124 w 324221"/>
                <a:gd name="connsiteY28" fmla="*/ 317392 h 364436"/>
                <a:gd name="connsiteX29" fmla="*/ 313754 w 324221"/>
                <a:gd name="connsiteY29" fmla="*/ 320802 h 364436"/>
                <a:gd name="connsiteX30" fmla="*/ 307810 w 324221"/>
                <a:gd name="connsiteY30" fmla="*/ 340119 h 364436"/>
                <a:gd name="connsiteX31" fmla="*/ 200654 w 324221"/>
                <a:gd name="connsiteY31" fmla="*/ 340538 h 364436"/>
                <a:gd name="connsiteX32" fmla="*/ 196644 w 324221"/>
                <a:gd name="connsiteY32" fmla="*/ 346653 h 364436"/>
                <a:gd name="connsiteX33" fmla="*/ 186319 w 324221"/>
                <a:gd name="connsiteY33" fmla="*/ 344834 h 364436"/>
                <a:gd name="connsiteX34" fmla="*/ 171260 w 324221"/>
                <a:gd name="connsiteY34" fmla="*/ 350273 h 364436"/>
                <a:gd name="connsiteX35" fmla="*/ 152610 w 324221"/>
                <a:gd name="connsiteY35" fmla="*/ 342614 h 364436"/>
                <a:gd name="connsiteX36" fmla="*/ 144142 w 324221"/>
                <a:gd name="connsiteY36" fmla="*/ 343243 h 364436"/>
                <a:gd name="connsiteX37" fmla="*/ 139655 w 324221"/>
                <a:gd name="connsiteY37" fmla="*/ 359436 h 364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24221" h="364436">
                  <a:moveTo>
                    <a:pt x="130664" y="364436"/>
                  </a:moveTo>
                  <a:lnTo>
                    <a:pt x="113043" y="345567"/>
                  </a:lnTo>
                  <a:lnTo>
                    <a:pt x="96879" y="325288"/>
                  </a:lnTo>
                  <a:lnTo>
                    <a:pt x="79153" y="317973"/>
                  </a:lnTo>
                  <a:lnTo>
                    <a:pt x="66389" y="309829"/>
                  </a:lnTo>
                  <a:lnTo>
                    <a:pt x="51473" y="310144"/>
                  </a:lnTo>
                  <a:lnTo>
                    <a:pt x="38443" y="316173"/>
                  </a:lnTo>
                  <a:lnTo>
                    <a:pt x="25175" y="313782"/>
                  </a:lnTo>
                  <a:lnTo>
                    <a:pt x="16030" y="322650"/>
                  </a:lnTo>
                  <a:lnTo>
                    <a:pt x="13716" y="307743"/>
                  </a:lnTo>
                  <a:lnTo>
                    <a:pt x="21174" y="294056"/>
                  </a:lnTo>
                  <a:lnTo>
                    <a:pt x="24489" y="267834"/>
                  </a:lnTo>
                  <a:lnTo>
                    <a:pt x="21536" y="240154"/>
                  </a:lnTo>
                  <a:lnTo>
                    <a:pt x="18317" y="226171"/>
                  </a:lnTo>
                  <a:lnTo>
                    <a:pt x="20974" y="212093"/>
                  </a:lnTo>
                  <a:lnTo>
                    <a:pt x="14078" y="198634"/>
                  </a:lnTo>
                  <a:lnTo>
                    <a:pt x="0" y="186366"/>
                  </a:lnTo>
                  <a:lnTo>
                    <a:pt x="5820" y="176870"/>
                  </a:lnTo>
                  <a:lnTo>
                    <a:pt x="110404" y="177051"/>
                  </a:lnTo>
                  <a:lnTo>
                    <a:pt x="105346" y="135674"/>
                  </a:lnTo>
                  <a:lnTo>
                    <a:pt x="111881" y="120853"/>
                  </a:lnTo>
                  <a:lnTo>
                    <a:pt x="136903" y="118253"/>
                  </a:lnTo>
                  <a:lnTo>
                    <a:pt x="136036" y="43472"/>
                  </a:lnTo>
                  <a:lnTo>
                    <a:pt x="223694" y="45025"/>
                  </a:lnTo>
                  <a:lnTo>
                    <a:pt x="223771" y="0"/>
                  </a:lnTo>
                  <a:lnTo>
                    <a:pt x="324222" y="71676"/>
                  </a:lnTo>
                  <a:lnTo>
                    <a:pt x="283350" y="72209"/>
                  </a:lnTo>
                  <a:lnTo>
                    <a:pt x="296237" y="196567"/>
                  </a:lnTo>
                  <a:lnTo>
                    <a:pt x="309124" y="317392"/>
                  </a:lnTo>
                  <a:lnTo>
                    <a:pt x="313754" y="320802"/>
                  </a:lnTo>
                  <a:lnTo>
                    <a:pt x="307810" y="340119"/>
                  </a:lnTo>
                  <a:lnTo>
                    <a:pt x="200654" y="340538"/>
                  </a:lnTo>
                  <a:lnTo>
                    <a:pt x="196644" y="346653"/>
                  </a:lnTo>
                  <a:lnTo>
                    <a:pt x="186319" y="344834"/>
                  </a:lnTo>
                  <a:lnTo>
                    <a:pt x="171260" y="350273"/>
                  </a:lnTo>
                  <a:lnTo>
                    <a:pt x="152610" y="342614"/>
                  </a:lnTo>
                  <a:lnTo>
                    <a:pt x="144142" y="343243"/>
                  </a:lnTo>
                  <a:lnTo>
                    <a:pt x="139655" y="3594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orme libre : forme 5759">
              <a:extLst>
                <a:ext uri="{FF2B5EF4-FFF2-40B4-BE49-F238E27FC236}">
                  <a16:creationId xmlns:a16="http://schemas.microsoft.com/office/drawing/2014/main" id="{C2D4D9B7-5180-D88C-8B5C-9AEEAD0AB5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693893" y="4988608"/>
              <a:ext cx="82353" cy="206368"/>
            </a:xfrm>
            <a:custGeom>
              <a:avLst/>
              <a:gdLst>
                <a:gd name="connsiteX0" fmla="*/ 49987 w 82353"/>
                <a:gd name="connsiteY0" fmla="*/ 61751 h 206368"/>
                <a:gd name="connsiteX1" fmla="*/ 42510 w 82353"/>
                <a:gd name="connsiteY1" fmla="*/ 82363 h 206368"/>
                <a:gd name="connsiteX2" fmla="*/ 49987 w 82353"/>
                <a:gd name="connsiteY2" fmla="*/ 117758 h 206368"/>
                <a:gd name="connsiteX3" fmla="*/ 59255 w 82353"/>
                <a:gd name="connsiteY3" fmla="*/ 117367 h 206368"/>
                <a:gd name="connsiteX4" fmla="*/ 68894 w 82353"/>
                <a:gd name="connsiteY4" fmla="*/ 126178 h 206368"/>
                <a:gd name="connsiteX5" fmla="*/ 80077 w 82353"/>
                <a:gd name="connsiteY5" fmla="*/ 145971 h 206368"/>
                <a:gd name="connsiteX6" fmla="*/ 82353 w 82353"/>
                <a:gd name="connsiteY6" fmla="*/ 181346 h 206368"/>
                <a:gd name="connsiteX7" fmla="*/ 70790 w 82353"/>
                <a:gd name="connsiteY7" fmla="*/ 187157 h 206368"/>
                <a:gd name="connsiteX8" fmla="*/ 62636 w 82353"/>
                <a:gd name="connsiteY8" fmla="*/ 206369 h 206368"/>
                <a:gd name="connsiteX9" fmla="*/ 45215 w 82353"/>
                <a:gd name="connsiteY9" fmla="*/ 189262 h 206368"/>
                <a:gd name="connsiteX10" fmla="*/ 43234 w 82353"/>
                <a:gd name="connsiteY10" fmla="*/ 169821 h 206368"/>
                <a:gd name="connsiteX11" fmla="*/ 48853 w 82353"/>
                <a:gd name="connsiteY11" fmla="*/ 157029 h 206368"/>
                <a:gd name="connsiteX12" fmla="*/ 47310 w 82353"/>
                <a:gd name="connsiteY12" fmla="*/ 146028 h 206368"/>
                <a:gd name="connsiteX13" fmla="*/ 36766 w 82353"/>
                <a:gd name="connsiteY13" fmla="*/ 139094 h 206368"/>
                <a:gd name="connsiteX14" fmla="*/ 29413 w 82353"/>
                <a:gd name="connsiteY14" fmla="*/ 141608 h 206368"/>
                <a:gd name="connsiteX15" fmla="*/ 14040 w 82353"/>
                <a:gd name="connsiteY15" fmla="*/ 128473 h 206368"/>
                <a:gd name="connsiteX16" fmla="*/ 0 w 82353"/>
                <a:gd name="connsiteY16" fmla="*/ 121386 h 206368"/>
                <a:gd name="connsiteX17" fmla="*/ 8106 w 82353"/>
                <a:gd name="connsiteY17" fmla="*/ 96060 h 206368"/>
                <a:gd name="connsiteX18" fmla="*/ 16507 w 82353"/>
                <a:gd name="connsiteY18" fmla="*/ 86601 h 206368"/>
                <a:gd name="connsiteX19" fmla="*/ 11382 w 82353"/>
                <a:gd name="connsiteY19" fmla="*/ 64113 h 206368"/>
                <a:gd name="connsiteX20" fmla="*/ 16745 w 82353"/>
                <a:gd name="connsiteY20" fmla="*/ 42186 h 206368"/>
                <a:gd name="connsiteX21" fmla="*/ 21298 w 82353"/>
                <a:gd name="connsiteY21" fmla="*/ 34871 h 206368"/>
                <a:gd name="connsiteX22" fmla="*/ 14507 w 82353"/>
                <a:gd name="connsiteY22" fmla="*/ 11992 h 206368"/>
                <a:gd name="connsiteX23" fmla="*/ 1895 w 82353"/>
                <a:gd name="connsiteY23" fmla="*/ 0 h 206368"/>
                <a:gd name="connsiteX24" fmla="*/ 28080 w 82353"/>
                <a:gd name="connsiteY24" fmla="*/ 5010 h 206368"/>
                <a:gd name="connsiteX25" fmla="*/ 33452 w 82353"/>
                <a:gd name="connsiteY25" fmla="*/ 12449 h 206368"/>
                <a:gd name="connsiteX26" fmla="*/ 42510 w 82353"/>
                <a:gd name="connsiteY26" fmla="*/ 25013 h 20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2353" h="206368">
                  <a:moveTo>
                    <a:pt x="49987" y="61751"/>
                  </a:moveTo>
                  <a:lnTo>
                    <a:pt x="42510" y="82363"/>
                  </a:lnTo>
                  <a:lnTo>
                    <a:pt x="49987" y="117758"/>
                  </a:lnTo>
                  <a:lnTo>
                    <a:pt x="59255" y="117367"/>
                  </a:lnTo>
                  <a:lnTo>
                    <a:pt x="68894" y="126178"/>
                  </a:lnTo>
                  <a:lnTo>
                    <a:pt x="80077" y="145971"/>
                  </a:lnTo>
                  <a:lnTo>
                    <a:pt x="82353" y="181346"/>
                  </a:lnTo>
                  <a:lnTo>
                    <a:pt x="70790" y="187157"/>
                  </a:lnTo>
                  <a:lnTo>
                    <a:pt x="62636" y="206369"/>
                  </a:lnTo>
                  <a:lnTo>
                    <a:pt x="45215" y="189262"/>
                  </a:lnTo>
                  <a:lnTo>
                    <a:pt x="43234" y="169821"/>
                  </a:lnTo>
                  <a:lnTo>
                    <a:pt x="48853" y="157029"/>
                  </a:lnTo>
                  <a:lnTo>
                    <a:pt x="47310" y="146028"/>
                  </a:lnTo>
                  <a:lnTo>
                    <a:pt x="36766" y="139094"/>
                  </a:lnTo>
                  <a:lnTo>
                    <a:pt x="29413" y="141608"/>
                  </a:lnTo>
                  <a:lnTo>
                    <a:pt x="14040" y="128473"/>
                  </a:lnTo>
                  <a:lnTo>
                    <a:pt x="0" y="121386"/>
                  </a:lnTo>
                  <a:lnTo>
                    <a:pt x="8106" y="96060"/>
                  </a:lnTo>
                  <a:lnTo>
                    <a:pt x="16507" y="86601"/>
                  </a:lnTo>
                  <a:lnTo>
                    <a:pt x="11382" y="64113"/>
                  </a:lnTo>
                  <a:lnTo>
                    <a:pt x="16745" y="42186"/>
                  </a:lnTo>
                  <a:lnTo>
                    <a:pt x="21298" y="34871"/>
                  </a:lnTo>
                  <a:lnTo>
                    <a:pt x="14507" y="11992"/>
                  </a:lnTo>
                  <a:lnTo>
                    <a:pt x="1895" y="0"/>
                  </a:lnTo>
                  <a:lnTo>
                    <a:pt x="28080" y="5010"/>
                  </a:lnTo>
                  <a:lnTo>
                    <a:pt x="33452" y="12449"/>
                  </a:lnTo>
                  <a:lnTo>
                    <a:pt x="42510" y="250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orme libre : forme 5760">
              <a:extLst>
                <a:ext uri="{FF2B5EF4-FFF2-40B4-BE49-F238E27FC236}">
                  <a16:creationId xmlns:a16="http://schemas.microsoft.com/office/drawing/2014/main" id="{A850E5AE-0A55-D3DD-BBCA-0F60C1CCB1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692803" y="3822548"/>
              <a:ext cx="809634" cy="530161"/>
            </a:xfrm>
            <a:custGeom>
              <a:avLst/>
              <a:gdLst>
                <a:gd name="connsiteX0" fmla="*/ 533810 w 809634"/>
                <a:gd name="connsiteY0" fmla="*/ 208931 h 530161"/>
                <a:gd name="connsiteX1" fmla="*/ 523446 w 809634"/>
                <a:gd name="connsiteY1" fmla="*/ 234753 h 530161"/>
                <a:gd name="connsiteX2" fmla="*/ 518770 w 809634"/>
                <a:gd name="connsiteY2" fmla="*/ 255775 h 530161"/>
                <a:gd name="connsiteX3" fmla="*/ 516827 w 809634"/>
                <a:gd name="connsiteY3" fmla="*/ 294608 h 530161"/>
                <a:gd name="connsiteX4" fmla="*/ 514245 w 809634"/>
                <a:gd name="connsiteY4" fmla="*/ 308658 h 530161"/>
                <a:gd name="connsiteX5" fmla="*/ 518874 w 809634"/>
                <a:gd name="connsiteY5" fmla="*/ 324307 h 530161"/>
                <a:gd name="connsiteX6" fmla="*/ 527152 w 809634"/>
                <a:gd name="connsiteY6" fmla="*/ 338233 h 530161"/>
                <a:gd name="connsiteX7" fmla="*/ 532495 w 809634"/>
                <a:gd name="connsiteY7" fmla="*/ 360293 h 530161"/>
                <a:gd name="connsiteX8" fmla="*/ 550212 w 809634"/>
                <a:gd name="connsiteY8" fmla="*/ 381372 h 530161"/>
                <a:gd name="connsiteX9" fmla="*/ 556451 w 809634"/>
                <a:gd name="connsiteY9" fmla="*/ 397450 h 530161"/>
                <a:gd name="connsiteX10" fmla="*/ 566899 w 809634"/>
                <a:gd name="connsiteY10" fmla="*/ 411280 h 530161"/>
                <a:gd name="connsiteX11" fmla="*/ 595255 w 809634"/>
                <a:gd name="connsiteY11" fmla="*/ 418709 h 530161"/>
                <a:gd name="connsiteX12" fmla="*/ 606295 w 809634"/>
                <a:gd name="connsiteY12" fmla="*/ 430416 h 530161"/>
                <a:gd name="connsiteX13" fmla="*/ 629726 w 809634"/>
                <a:gd name="connsiteY13" fmla="*/ 422596 h 530161"/>
                <a:gd name="connsiteX14" fmla="*/ 650081 w 809634"/>
                <a:gd name="connsiteY14" fmla="*/ 419767 h 530161"/>
                <a:gd name="connsiteX15" fmla="*/ 670084 w 809634"/>
                <a:gd name="connsiteY15" fmla="*/ 414737 h 530161"/>
                <a:gd name="connsiteX16" fmla="*/ 686886 w 809634"/>
                <a:gd name="connsiteY16" fmla="*/ 409927 h 530161"/>
                <a:gd name="connsiteX17" fmla="*/ 703879 w 809634"/>
                <a:gd name="connsiteY17" fmla="*/ 398469 h 530161"/>
                <a:gd name="connsiteX18" fmla="*/ 710241 w 809634"/>
                <a:gd name="connsiteY18" fmla="*/ 382038 h 530161"/>
                <a:gd name="connsiteX19" fmla="*/ 712432 w 809634"/>
                <a:gd name="connsiteY19" fmla="*/ 358254 h 530161"/>
                <a:gd name="connsiteX20" fmla="*/ 717052 w 809634"/>
                <a:gd name="connsiteY20" fmla="*/ 349948 h 530161"/>
                <a:gd name="connsiteX21" fmla="*/ 735140 w 809634"/>
                <a:gd name="connsiteY21" fmla="*/ 342490 h 530161"/>
                <a:gd name="connsiteX22" fmla="*/ 763381 w 809634"/>
                <a:gd name="connsiteY22" fmla="*/ 335880 h 530161"/>
                <a:gd name="connsiteX23" fmla="*/ 787032 w 809634"/>
                <a:gd name="connsiteY23" fmla="*/ 336871 h 530161"/>
                <a:gd name="connsiteX24" fmla="*/ 803224 w 809634"/>
                <a:gd name="connsiteY24" fmla="*/ 334451 h 530161"/>
                <a:gd name="connsiteX25" fmla="*/ 809635 w 809634"/>
                <a:gd name="connsiteY25" fmla="*/ 340500 h 530161"/>
                <a:gd name="connsiteX26" fmla="*/ 808730 w 809634"/>
                <a:gd name="connsiteY26" fmla="*/ 354216 h 530161"/>
                <a:gd name="connsiteX27" fmla="*/ 794376 w 809634"/>
                <a:gd name="connsiteY27" fmla="*/ 371065 h 530161"/>
                <a:gd name="connsiteX28" fmla="*/ 788032 w 809634"/>
                <a:gd name="connsiteY28" fmla="*/ 388258 h 530161"/>
                <a:gd name="connsiteX29" fmla="*/ 792947 w 809634"/>
                <a:gd name="connsiteY29" fmla="*/ 393163 h 530161"/>
                <a:gd name="connsiteX30" fmla="*/ 788946 w 809634"/>
                <a:gd name="connsiteY30" fmla="*/ 405327 h 530161"/>
                <a:gd name="connsiteX31" fmla="*/ 782250 w 809634"/>
                <a:gd name="connsiteY31" fmla="*/ 427187 h 530161"/>
                <a:gd name="connsiteX32" fmla="*/ 775487 w 809634"/>
                <a:gd name="connsiteY32" fmla="*/ 420005 h 530161"/>
                <a:gd name="connsiteX33" fmla="*/ 769896 w 809634"/>
                <a:gd name="connsiteY33" fmla="*/ 420471 h 530161"/>
                <a:gd name="connsiteX34" fmla="*/ 764819 w 809634"/>
                <a:gd name="connsiteY34" fmla="*/ 420833 h 530161"/>
                <a:gd name="connsiteX35" fmla="*/ 755247 w 809634"/>
                <a:gd name="connsiteY35" fmla="*/ 437702 h 530161"/>
                <a:gd name="connsiteX36" fmla="*/ 750399 w 809634"/>
                <a:gd name="connsiteY36" fmla="*/ 434407 h 530161"/>
                <a:gd name="connsiteX37" fmla="*/ 747170 w 809634"/>
                <a:gd name="connsiteY37" fmla="*/ 435683 h 530161"/>
                <a:gd name="connsiteX38" fmla="*/ 747379 w 809634"/>
                <a:gd name="connsiteY38" fmla="*/ 439788 h 530161"/>
                <a:gd name="connsiteX39" fmla="*/ 722681 w 809634"/>
                <a:gd name="connsiteY39" fmla="*/ 439483 h 530161"/>
                <a:gd name="connsiteX40" fmla="*/ 697745 w 809634"/>
                <a:gd name="connsiteY40" fmla="*/ 439531 h 530161"/>
                <a:gd name="connsiteX41" fmla="*/ 697725 w 809634"/>
                <a:gd name="connsiteY41" fmla="*/ 455200 h 530161"/>
                <a:gd name="connsiteX42" fmla="*/ 685667 w 809634"/>
                <a:gd name="connsiteY42" fmla="*/ 455266 h 530161"/>
                <a:gd name="connsiteX43" fmla="*/ 695611 w 809634"/>
                <a:gd name="connsiteY43" fmla="*/ 464544 h 530161"/>
                <a:gd name="connsiteX44" fmla="*/ 705479 w 809634"/>
                <a:gd name="connsiteY44" fmla="*/ 470945 h 530161"/>
                <a:gd name="connsiteX45" fmla="*/ 708451 w 809634"/>
                <a:gd name="connsiteY45" fmla="*/ 476945 h 530161"/>
                <a:gd name="connsiteX46" fmla="*/ 712775 w 809634"/>
                <a:gd name="connsiteY46" fmla="*/ 478622 h 530161"/>
                <a:gd name="connsiteX47" fmla="*/ 712089 w 809634"/>
                <a:gd name="connsiteY47" fmla="*/ 488032 h 530161"/>
                <a:gd name="connsiteX48" fmla="*/ 677809 w 809634"/>
                <a:gd name="connsiteY48" fmla="*/ 488118 h 530161"/>
                <a:gd name="connsiteX49" fmla="*/ 664959 w 809634"/>
                <a:gd name="connsiteY49" fmla="*/ 510587 h 530161"/>
                <a:gd name="connsiteX50" fmla="*/ 668750 w 809634"/>
                <a:gd name="connsiteY50" fmla="*/ 515731 h 530161"/>
                <a:gd name="connsiteX51" fmla="*/ 665655 w 809634"/>
                <a:gd name="connsiteY51" fmla="*/ 522170 h 530161"/>
                <a:gd name="connsiteX52" fmla="*/ 664998 w 809634"/>
                <a:gd name="connsiteY52" fmla="*/ 530162 h 530161"/>
                <a:gd name="connsiteX53" fmla="*/ 634775 w 809634"/>
                <a:gd name="connsiteY53" fmla="*/ 500567 h 530161"/>
                <a:gd name="connsiteX54" fmla="*/ 621002 w 809634"/>
                <a:gd name="connsiteY54" fmla="*/ 491614 h 530161"/>
                <a:gd name="connsiteX55" fmla="*/ 599189 w 809634"/>
                <a:gd name="connsiteY55" fmla="*/ 484413 h 530161"/>
                <a:gd name="connsiteX56" fmla="*/ 584283 w 809634"/>
                <a:gd name="connsiteY56" fmla="*/ 486413 h 530161"/>
                <a:gd name="connsiteX57" fmla="*/ 562832 w 809634"/>
                <a:gd name="connsiteY57" fmla="*/ 496795 h 530161"/>
                <a:gd name="connsiteX58" fmla="*/ 549364 w 809634"/>
                <a:gd name="connsiteY58" fmla="*/ 499520 h 530161"/>
                <a:gd name="connsiteX59" fmla="*/ 530504 w 809634"/>
                <a:gd name="connsiteY59" fmla="*/ 492252 h 530161"/>
                <a:gd name="connsiteX60" fmla="*/ 510492 w 809634"/>
                <a:gd name="connsiteY60" fmla="*/ 486994 h 530161"/>
                <a:gd name="connsiteX61" fmla="*/ 485527 w 809634"/>
                <a:gd name="connsiteY61" fmla="*/ 474307 h 530161"/>
                <a:gd name="connsiteX62" fmla="*/ 465506 w 809634"/>
                <a:gd name="connsiteY62" fmla="*/ 470430 h 530161"/>
                <a:gd name="connsiteX63" fmla="*/ 435274 w 809634"/>
                <a:gd name="connsiteY63" fmla="*/ 457524 h 530161"/>
                <a:gd name="connsiteX64" fmla="*/ 412928 w 809634"/>
                <a:gd name="connsiteY64" fmla="*/ 444227 h 530161"/>
                <a:gd name="connsiteX65" fmla="*/ 406184 w 809634"/>
                <a:gd name="connsiteY65" fmla="*/ 436788 h 530161"/>
                <a:gd name="connsiteX66" fmla="*/ 391240 w 809634"/>
                <a:gd name="connsiteY66" fmla="*/ 435121 h 530161"/>
                <a:gd name="connsiteX67" fmla="*/ 363922 w 809634"/>
                <a:gd name="connsiteY67" fmla="*/ 426282 h 530161"/>
                <a:gd name="connsiteX68" fmla="*/ 352806 w 809634"/>
                <a:gd name="connsiteY68" fmla="*/ 413509 h 530161"/>
                <a:gd name="connsiteX69" fmla="*/ 324107 w 809634"/>
                <a:gd name="connsiteY69" fmla="*/ 397564 h 530161"/>
                <a:gd name="connsiteX70" fmla="*/ 310725 w 809634"/>
                <a:gd name="connsiteY70" fmla="*/ 379790 h 530161"/>
                <a:gd name="connsiteX71" fmla="*/ 304362 w 809634"/>
                <a:gd name="connsiteY71" fmla="*/ 366008 h 530161"/>
                <a:gd name="connsiteX72" fmla="*/ 313268 w 809634"/>
                <a:gd name="connsiteY72" fmla="*/ 363236 h 530161"/>
                <a:gd name="connsiteX73" fmla="*/ 310525 w 809634"/>
                <a:gd name="connsiteY73" fmla="*/ 355149 h 530161"/>
                <a:gd name="connsiteX74" fmla="*/ 316659 w 809634"/>
                <a:gd name="connsiteY74" fmla="*/ 347767 h 530161"/>
                <a:gd name="connsiteX75" fmla="*/ 316792 w 809634"/>
                <a:gd name="connsiteY75" fmla="*/ 337918 h 530161"/>
                <a:gd name="connsiteX76" fmla="*/ 307781 w 809634"/>
                <a:gd name="connsiteY76" fmla="*/ 325098 h 530161"/>
                <a:gd name="connsiteX77" fmla="*/ 305372 w 809634"/>
                <a:gd name="connsiteY77" fmla="*/ 313696 h 530161"/>
                <a:gd name="connsiteX78" fmla="*/ 296418 w 809634"/>
                <a:gd name="connsiteY78" fmla="*/ 299180 h 530161"/>
                <a:gd name="connsiteX79" fmla="*/ 272882 w 809634"/>
                <a:gd name="connsiteY79" fmla="*/ 270453 h 530161"/>
                <a:gd name="connsiteX80" fmla="*/ 246031 w 809634"/>
                <a:gd name="connsiteY80" fmla="*/ 247707 h 530161"/>
                <a:gd name="connsiteX81" fmla="*/ 233039 w 809634"/>
                <a:gd name="connsiteY81" fmla="*/ 229467 h 530161"/>
                <a:gd name="connsiteX82" fmla="*/ 210112 w 809634"/>
                <a:gd name="connsiteY82" fmla="*/ 217465 h 530161"/>
                <a:gd name="connsiteX83" fmla="*/ 205207 w 809634"/>
                <a:gd name="connsiteY83" fmla="*/ 210255 h 530161"/>
                <a:gd name="connsiteX84" fmla="*/ 209274 w 809634"/>
                <a:gd name="connsiteY84" fmla="*/ 191976 h 530161"/>
                <a:gd name="connsiteX85" fmla="*/ 195663 w 809634"/>
                <a:gd name="connsiteY85" fmla="*/ 185042 h 530161"/>
                <a:gd name="connsiteX86" fmla="*/ 179899 w 809634"/>
                <a:gd name="connsiteY86" fmla="*/ 170564 h 530161"/>
                <a:gd name="connsiteX87" fmla="*/ 173241 w 809634"/>
                <a:gd name="connsiteY87" fmla="*/ 149676 h 530161"/>
                <a:gd name="connsiteX88" fmla="*/ 158867 w 809634"/>
                <a:gd name="connsiteY88" fmla="*/ 147228 h 530161"/>
                <a:gd name="connsiteX89" fmla="*/ 143370 w 809634"/>
                <a:gd name="connsiteY89" fmla="*/ 131350 h 530161"/>
                <a:gd name="connsiteX90" fmla="*/ 130855 w 809634"/>
                <a:gd name="connsiteY90" fmla="*/ 116605 h 530161"/>
                <a:gd name="connsiteX91" fmla="*/ 129683 w 809634"/>
                <a:gd name="connsiteY91" fmla="*/ 107109 h 530161"/>
                <a:gd name="connsiteX92" fmla="*/ 115329 w 809634"/>
                <a:gd name="connsiteY92" fmla="*/ 84048 h 530161"/>
                <a:gd name="connsiteX93" fmla="*/ 105861 w 809634"/>
                <a:gd name="connsiteY93" fmla="*/ 60455 h 530161"/>
                <a:gd name="connsiteX94" fmla="*/ 106271 w 809634"/>
                <a:gd name="connsiteY94" fmla="*/ 48549 h 530161"/>
                <a:gd name="connsiteX95" fmla="*/ 86954 w 809634"/>
                <a:gd name="connsiteY95" fmla="*/ 36195 h 530161"/>
                <a:gd name="connsiteX96" fmla="*/ 78038 w 809634"/>
                <a:gd name="connsiteY96" fmla="*/ 37557 h 530161"/>
                <a:gd name="connsiteX97" fmla="*/ 62798 w 809634"/>
                <a:gd name="connsiteY97" fmla="*/ 28956 h 530161"/>
                <a:gd name="connsiteX98" fmla="*/ 58512 w 809634"/>
                <a:gd name="connsiteY98" fmla="*/ 41624 h 530161"/>
                <a:gd name="connsiteX99" fmla="*/ 62932 w 809634"/>
                <a:gd name="connsiteY99" fmla="*/ 56531 h 530161"/>
                <a:gd name="connsiteX100" fmla="*/ 65532 w 809634"/>
                <a:gd name="connsiteY100" fmla="*/ 79696 h 530161"/>
                <a:gd name="connsiteX101" fmla="*/ 74695 w 809634"/>
                <a:gd name="connsiteY101" fmla="*/ 92335 h 530161"/>
                <a:gd name="connsiteX102" fmla="*/ 94517 w 809634"/>
                <a:gd name="connsiteY102" fmla="*/ 113357 h 530161"/>
                <a:gd name="connsiteX103" fmla="*/ 98917 w 809634"/>
                <a:gd name="connsiteY103" fmla="*/ 120501 h 530161"/>
                <a:gd name="connsiteX104" fmla="*/ 102975 w 809634"/>
                <a:gd name="connsiteY104" fmla="*/ 122663 h 530161"/>
                <a:gd name="connsiteX105" fmla="*/ 106499 w 809634"/>
                <a:gd name="connsiteY105" fmla="*/ 133055 h 530161"/>
                <a:gd name="connsiteX106" fmla="*/ 111242 w 809634"/>
                <a:gd name="connsiteY106" fmla="*/ 132636 h 530161"/>
                <a:gd name="connsiteX107" fmla="*/ 116605 w 809634"/>
                <a:gd name="connsiteY107" fmla="*/ 152057 h 530161"/>
                <a:gd name="connsiteX108" fmla="*/ 124720 w 809634"/>
                <a:gd name="connsiteY108" fmla="*/ 159696 h 530161"/>
                <a:gd name="connsiteX109" fmla="*/ 130407 w 809634"/>
                <a:gd name="connsiteY109" fmla="*/ 170288 h 530161"/>
                <a:gd name="connsiteX110" fmla="*/ 147190 w 809634"/>
                <a:gd name="connsiteY110" fmla="*/ 185442 h 530161"/>
                <a:gd name="connsiteX111" fmla="*/ 156048 w 809634"/>
                <a:gd name="connsiteY111" fmla="*/ 212979 h 530161"/>
                <a:gd name="connsiteX112" fmla="*/ 163982 w 809634"/>
                <a:gd name="connsiteY112" fmla="*/ 225876 h 530161"/>
                <a:gd name="connsiteX113" fmla="*/ 171393 w 809634"/>
                <a:gd name="connsiteY113" fmla="*/ 239611 h 530161"/>
                <a:gd name="connsiteX114" fmla="*/ 172869 w 809634"/>
                <a:gd name="connsiteY114" fmla="*/ 255013 h 530161"/>
                <a:gd name="connsiteX115" fmla="*/ 185747 w 809634"/>
                <a:gd name="connsiteY115" fmla="*/ 255975 h 530161"/>
                <a:gd name="connsiteX116" fmla="*/ 196453 w 809634"/>
                <a:gd name="connsiteY116" fmla="*/ 269186 h 530161"/>
                <a:gd name="connsiteX117" fmla="*/ 206140 w 809634"/>
                <a:gd name="connsiteY117" fmla="*/ 282130 h 530161"/>
                <a:gd name="connsiteX118" fmla="*/ 205492 w 809634"/>
                <a:gd name="connsiteY118" fmla="*/ 287303 h 530161"/>
                <a:gd name="connsiteX119" fmla="*/ 194253 w 809634"/>
                <a:gd name="connsiteY119" fmla="*/ 297904 h 530161"/>
                <a:gd name="connsiteX120" fmla="*/ 189519 w 809634"/>
                <a:gd name="connsiteY120" fmla="*/ 297761 h 530161"/>
                <a:gd name="connsiteX121" fmla="*/ 182480 w 809634"/>
                <a:gd name="connsiteY121" fmla="*/ 280206 h 530161"/>
                <a:gd name="connsiteX122" fmla="*/ 165002 w 809634"/>
                <a:gd name="connsiteY122" fmla="*/ 263680 h 530161"/>
                <a:gd name="connsiteX123" fmla="*/ 145742 w 809634"/>
                <a:gd name="connsiteY123" fmla="*/ 249593 h 530161"/>
                <a:gd name="connsiteX124" fmla="*/ 132083 w 809634"/>
                <a:gd name="connsiteY124" fmla="*/ 242173 h 530161"/>
                <a:gd name="connsiteX125" fmla="*/ 132969 w 809634"/>
                <a:gd name="connsiteY125" fmla="*/ 220713 h 530161"/>
                <a:gd name="connsiteX126" fmla="*/ 128911 w 809634"/>
                <a:gd name="connsiteY126" fmla="*/ 204730 h 530161"/>
                <a:gd name="connsiteX127" fmla="*/ 116186 w 809634"/>
                <a:gd name="connsiteY127" fmla="*/ 195558 h 530161"/>
                <a:gd name="connsiteX128" fmla="*/ 97831 w 809634"/>
                <a:gd name="connsiteY128" fmla="*/ 182308 h 530161"/>
                <a:gd name="connsiteX129" fmla="*/ 94307 w 809634"/>
                <a:gd name="connsiteY129" fmla="*/ 186137 h 530161"/>
                <a:gd name="connsiteX130" fmla="*/ 87563 w 809634"/>
                <a:gd name="connsiteY130" fmla="*/ 178384 h 530161"/>
                <a:gd name="connsiteX131" fmla="*/ 71095 w 809634"/>
                <a:gd name="connsiteY131" fmla="*/ 171164 h 530161"/>
                <a:gd name="connsiteX132" fmla="*/ 55350 w 809634"/>
                <a:gd name="connsiteY132" fmla="*/ 153791 h 530161"/>
                <a:gd name="connsiteX133" fmla="*/ 57302 w 809634"/>
                <a:gd name="connsiteY133" fmla="*/ 151524 h 530161"/>
                <a:gd name="connsiteX134" fmla="*/ 68304 w 809634"/>
                <a:gd name="connsiteY134" fmla="*/ 153228 h 530161"/>
                <a:gd name="connsiteX135" fmla="*/ 78210 w 809634"/>
                <a:gd name="connsiteY135" fmla="*/ 141989 h 530161"/>
                <a:gd name="connsiteX136" fmla="*/ 79210 w 809634"/>
                <a:gd name="connsiteY136" fmla="*/ 128378 h 530161"/>
                <a:gd name="connsiteX137" fmla="*/ 58646 w 809634"/>
                <a:gd name="connsiteY137" fmla="*/ 106718 h 530161"/>
                <a:gd name="connsiteX138" fmla="*/ 42967 w 809634"/>
                <a:gd name="connsiteY138" fmla="*/ 98279 h 530161"/>
                <a:gd name="connsiteX139" fmla="*/ 33128 w 809634"/>
                <a:gd name="connsiteY139" fmla="*/ 79143 h 530161"/>
                <a:gd name="connsiteX140" fmla="*/ 23222 w 809634"/>
                <a:gd name="connsiteY140" fmla="*/ 58921 h 530161"/>
                <a:gd name="connsiteX141" fmla="*/ 10849 w 809634"/>
                <a:gd name="connsiteY141" fmla="*/ 34071 h 530161"/>
                <a:gd name="connsiteX142" fmla="*/ 0 w 809634"/>
                <a:gd name="connsiteY142" fmla="*/ 5848 h 530161"/>
                <a:gd name="connsiteX143" fmla="*/ 30347 w 809634"/>
                <a:gd name="connsiteY143" fmla="*/ 3429 h 530161"/>
                <a:gd name="connsiteX144" fmla="*/ 64265 w 809634"/>
                <a:gd name="connsiteY144" fmla="*/ 0 h 530161"/>
                <a:gd name="connsiteX145" fmla="*/ 61770 w 809634"/>
                <a:gd name="connsiteY145" fmla="*/ 6172 h 530161"/>
                <a:gd name="connsiteX146" fmla="*/ 102099 w 809634"/>
                <a:gd name="connsiteY146" fmla="*/ 21460 h 530161"/>
                <a:gd name="connsiteX147" fmla="*/ 163020 w 809634"/>
                <a:gd name="connsiteY147" fmla="*/ 43453 h 530161"/>
                <a:gd name="connsiteX148" fmla="*/ 216132 w 809634"/>
                <a:gd name="connsiteY148" fmla="*/ 43234 h 530161"/>
                <a:gd name="connsiteX149" fmla="*/ 237306 w 809634"/>
                <a:gd name="connsiteY149" fmla="*/ 43224 h 530161"/>
                <a:gd name="connsiteX150" fmla="*/ 237363 w 809634"/>
                <a:gd name="connsiteY150" fmla="*/ 30356 h 530161"/>
                <a:gd name="connsiteX151" fmla="*/ 283635 w 809634"/>
                <a:gd name="connsiteY151" fmla="*/ 30366 h 530161"/>
                <a:gd name="connsiteX152" fmla="*/ 293370 w 809634"/>
                <a:gd name="connsiteY152" fmla="*/ 41424 h 530161"/>
                <a:gd name="connsiteX153" fmla="*/ 307029 w 809634"/>
                <a:gd name="connsiteY153" fmla="*/ 51254 h 530161"/>
                <a:gd name="connsiteX154" fmla="*/ 322898 w 809634"/>
                <a:gd name="connsiteY154" fmla="*/ 64865 h 530161"/>
                <a:gd name="connsiteX155" fmla="*/ 331746 w 809634"/>
                <a:gd name="connsiteY155" fmla="*/ 80953 h 530161"/>
                <a:gd name="connsiteX156" fmla="*/ 338395 w 809634"/>
                <a:gd name="connsiteY156" fmla="*/ 97802 h 530161"/>
                <a:gd name="connsiteX157" fmla="*/ 352197 w 809634"/>
                <a:gd name="connsiteY157" fmla="*/ 107013 h 530161"/>
                <a:gd name="connsiteX158" fmla="*/ 374371 w 809634"/>
                <a:gd name="connsiteY158" fmla="*/ 116138 h 530161"/>
                <a:gd name="connsiteX159" fmla="*/ 391192 w 809634"/>
                <a:gd name="connsiteY159" fmla="*/ 92050 h 530161"/>
                <a:gd name="connsiteX160" fmla="*/ 413033 w 809634"/>
                <a:gd name="connsiteY160" fmla="*/ 91459 h 530161"/>
                <a:gd name="connsiteX161" fmla="*/ 431854 w 809634"/>
                <a:gd name="connsiteY161" fmla="*/ 103641 h 530161"/>
                <a:gd name="connsiteX162" fmla="*/ 445256 w 809634"/>
                <a:gd name="connsiteY162" fmla="*/ 124444 h 530161"/>
                <a:gd name="connsiteX163" fmla="*/ 454486 w 809634"/>
                <a:gd name="connsiteY163" fmla="*/ 142142 h 530161"/>
                <a:gd name="connsiteX164" fmla="*/ 470240 w 809634"/>
                <a:gd name="connsiteY164" fmla="*/ 159267 h 530161"/>
                <a:gd name="connsiteX165" fmla="*/ 476126 w 809634"/>
                <a:gd name="connsiteY165" fmla="*/ 180175 h 530161"/>
                <a:gd name="connsiteX166" fmla="*/ 483603 w 809634"/>
                <a:gd name="connsiteY166" fmla="*/ 194138 h 530161"/>
                <a:gd name="connsiteX167" fmla="*/ 504434 w 809634"/>
                <a:gd name="connsiteY167" fmla="*/ 203311 h 530161"/>
                <a:gd name="connsiteX168" fmla="*/ 523389 w 809634"/>
                <a:gd name="connsiteY168" fmla="*/ 209807 h 530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809634" h="530161">
                  <a:moveTo>
                    <a:pt x="533810" y="208931"/>
                  </a:moveTo>
                  <a:lnTo>
                    <a:pt x="523446" y="234753"/>
                  </a:lnTo>
                  <a:lnTo>
                    <a:pt x="518770" y="255775"/>
                  </a:lnTo>
                  <a:lnTo>
                    <a:pt x="516827" y="294608"/>
                  </a:lnTo>
                  <a:lnTo>
                    <a:pt x="514245" y="308658"/>
                  </a:lnTo>
                  <a:lnTo>
                    <a:pt x="518874" y="324307"/>
                  </a:lnTo>
                  <a:lnTo>
                    <a:pt x="527152" y="338233"/>
                  </a:lnTo>
                  <a:lnTo>
                    <a:pt x="532495" y="360293"/>
                  </a:lnTo>
                  <a:lnTo>
                    <a:pt x="550212" y="381372"/>
                  </a:lnTo>
                  <a:lnTo>
                    <a:pt x="556451" y="397450"/>
                  </a:lnTo>
                  <a:lnTo>
                    <a:pt x="566899" y="411280"/>
                  </a:lnTo>
                  <a:lnTo>
                    <a:pt x="595255" y="418709"/>
                  </a:lnTo>
                  <a:lnTo>
                    <a:pt x="606295" y="430416"/>
                  </a:lnTo>
                  <a:lnTo>
                    <a:pt x="629726" y="422596"/>
                  </a:lnTo>
                  <a:lnTo>
                    <a:pt x="650081" y="419767"/>
                  </a:lnTo>
                  <a:lnTo>
                    <a:pt x="670084" y="414737"/>
                  </a:lnTo>
                  <a:lnTo>
                    <a:pt x="686886" y="409927"/>
                  </a:lnTo>
                  <a:lnTo>
                    <a:pt x="703879" y="398469"/>
                  </a:lnTo>
                  <a:lnTo>
                    <a:pt x="710241" y="382038"/>
                  </a:lnTo>
                  <a:lnTo>
                    <a:pt x="712432" y="358254"/>
                  </a:lnTo>
                  <a:lnTo>
                    <a:pt x="717052" y="349948"/>
                  </a:lnTo>
                  <a:lnTo>
                    <a:pt x="735140" y="342490"/>
                  </a:lnTo>
                  <a:lnTo>
                    <a:pt x="763381" y="335880"/>
                  </a:lnTo>
                  <a:lnTo>
                    <a:pt x="787032" y="336871"/>
                  </a:lnTo>
                  <a:lnTo>
                    <a:pt x="803224" y="334451"/>
                  </a:lnTo>
                  <a:lnTo>
                    <a:pt x="809635" y="340500"/>
                  </a:lnTo>
                  <a:lnTo>
                    <a:pt x="808730" y="354216"/>
                  </a:lnTo>
                  <a:lnTo>
                    <a:pt x="794376" y="371065"/>
                  </a:lnTo>
                  <a:lnTo>
                    <a:pt x="788032" y="388258"/>
                  </a:lnTo>
                  <a:lnTo>
                    <a:pt x="792947" y="393163"/>
                  </a:lnTo>
                  <a:lnTo>
                    <a:pt x="788946" y="405327"/>
                  </a:lnTo>
                  <a:lnTo>
                    <a:pt x="782250" y="427187"/>
                  </a:lnTo>
                  <a:lnTo>
                    <a:pt x="775487" y="420005"/>
                  </a:lnTo>
                  <a:lnTo>
                    <a:pt x="769896" y="420471"/>
                  </a:lnTo>
                  <a:lnTo>
                    <a:pt x="764819" y="420833"/>
                  </a:lnTo>
                  <a:lnTo>
                    <a:pt x="755247" y="437702"/>
                  </a:lnTo>
                  <a:lnTo>
                    <a:pt x="750399" y="434407"/>
                  </a:lnTo>
                  <a:lnTo>
                    <a:pt x="747170" y="435683"/>
                  </a:lnTo>
                  <a:lnTo>
                    <a:pt x="747379" y="439788"/>
                  </a:lnTo>
                  <a:lnTo>
                    <a:pt x="722681" y="439483"/>
                  </a:lnTo>
                  <a:lnTo>
                    <a:pt x="697745" y="439531"/>
                  </a:lnTo>
                  <a:lnTo>
                    <a:pt x="697725" y="455200"/>
                  </a:lnTo>
                  <a:lnTo>
                    <a:pt x="685667" y="455266"/>
                  </a:lnTo>
                  <a:lnTo>
                    <a:pt x="695611" y="464544"/>
                  </a:lnTo>
                  <a:lnTo>
                    <a:pt x="705479" y="470945"/>
                  </a:lnTo>
                  <a:lnTo>
                    <a:pt x="708451" y="476945"/>
                  </a:lnTo>
                  <a:lnTo>
                    <a:pt x="712775" y="478622"/>
                  </a:lnTo>
                  <a:lnTo>
                    <a:pt x="712089" y="488032"/>
                  </a:lnTo>
                  <a:lnTo>
                    <a:pt x="677809" y="488118"/>
                  </a:lnTo>
                  <a:lnTo>
                    <a:pt x="664959" y="510587"/>
                  </a:lnTo>
                  <a:lnTo>
                    <a:pt x="668750" y="515731"/>
                  </a:lnTo>
                  <a:lnTo>
                    <a:pt x="665655" y="522170"/>
                  </a:lnTo>
                  <a:lnTo>
                    <a:pt x="664998" y="530162"/>
                  </a:lnTo>
                  <a:lnTo>
                    <a:pt x="634775" y="500567"/>
                  </a:lnTo>
                  <a:lnTo>
                    <a:pt x="621002" y="491614"/>
                  </a:lnTo>
                  <a:lnTo>
                    <a:pt x="599189" y="484413"/>
                  </a:lnTo>
                  <a:lnTo>
                    <a:pt x="584283" y="486413"/>
                  </a:lnTo>
                  <a:lnTo>
                    <a:pt x="562832" y="496795"/>
                  </a:lnTo>
                  <a:lnTo>
                    <a:pt x="549364" y="499520"/>
                  </a:lnTo>
                  <a:lnTo>
                    <a:pt x="530504" y="492252"/>
                  </a:lnTo>
                  <a:lnTo>
                    <a:pt x="510492" y="486994"/>
                  </a:lnTo>
                  <a:lnTo>
                    <a:pt x="485527" y="474307"/>
                  </a:lnTo>
                  <a:lnTo>
                    <a:pt x="465506" y="470430"/>
                  </a:lnTo>
                  <a:lnTo>
                    <a:pt x="435274" y="457524"/>
                  </a:lnTo>
                  <a:lnTo>
                    <a:pt x="412928" y="444227"/>
                  </a:lnTo>
                  <a:lnTo>
                    <a:pt x="406184" y="436788"/>
                  </a:lnTo>
                  <a:lnTo>
                    <a:pt x="391240" y="435121"/>
                  </a:lnTo>
                  <a:lnTo>
                    <a:pt x="363922" y="426282"/>
                  </a:lnTo>
                  <a:lnTo>
                    <a:pt x="352806" y="413509"/>
                  </a:lnTo>
                  <a:lnTo>
                    <a:pt x="324107" y="397564"/>
                  </a:lnTo>
                  <a:lnTo>
                    <a:pt x="310725" y="379790"/>
                  </a:lnTo>
                  <a:lnTo>
                    <a:pt x="304362" y="366008"/>
                  </a:lnTo>
                  <a:lnTo>
                    <a:pt x="313268" y="363236"/>
                  </a:lnTo>
                  <a:lnTo>
                    <a:pt x="310525" y="355149"/>
                  </a:lnTo>
                  <a:lnTo>
                    <a:pt x="316659" y="347767"/>
                  </a:lnTo>
                  <a:lnTo>
                    <a:pt x="316792" y="337918"/>
                  </a:lnTo>
                  <a:lnTo>
                    <a:pt x="307781" y="325098"/>
                  </a:lnTo>
                  <a:lnTo>
                    <a:pt x="305372" y="313696"/>
                  </a:lnTo>
                  <a:lnTo>
                    <a:pt x="296418" y="299180"/>
                  </a:lnTo>
                  <a:lnTo>
                    <a:pt x="272882" y="270453"/>
                  </a:lnTo>
                  <a:lnTo>
                    <a:pt x="246031" y="247707"/>
                  </a:lnTo>
                  <a:lnTo>
                    <a:pt x="233039" y="229467"/>
                  </a:lnTo>
                  <a:lnTo>
                    <a:pt x="210112" y="217465"/>
                  </a:lnTo>
                  <a:lnTo>
                    <a:pt x="205207" y="210255"/>
                  </a:lnTo>
                  <a:lnTo>
                    <a:pt x="209274" y="191976"/>
                  </a:lnTo>
                  <a:lnTo>
                    <a:pt x="195663" y="185042"/>
                  </a:lnTo>
                  <a:lnTo>
                    <a:pt x="179899" y="170564"/>
                  </a:lnTo>
                  <a:lnTo>
                    <a:pt x="173241" y="149676"/>
                  </a:lnTo>
                  <a:lnTo>
                    <a:pt x="158867" y="147228"/>
                  </a:lnTo>
                  <a:lnTo>
                    <a:pt x="143370" y="131350"/>
                  </a:lnTo>
                  <a:lnTo>
                    <a:pt x="130855" y="116605"/>
                  </a:lnTo>
                  <a:lnTo>
                    <a:pt x="129683" y="107109"/>
                  </a:lnTo>
                  <a:lnTo>
                    <a:pt x="115329" y="84048"/>
                  </a:lnTo>
                  <a:lnTo>
                    <a:pt x="105861" y="60455"/>
                  </a:lnTo>
                  <a:lnTo>
                    <a:pt x="106271" y="48549"/>
                  </a:lnTo>
                  <a:lnTo>
                    <a:pt x="86954" y="36195"/>
                  </a:lnTo>
                  <a:lnTo>
                    <a:pt x="78038" y="37557"/>
                  </a:lnTo>
                  <a:lnTo>
                    <a:pt x="62798" y="28956"/>
                  </a:lnTo>
                  <a:lnTo>
                    <a:pt x="58512" y="41624"/>
                  </a:lnTo>
                  <a:lnTo>
                    <a:pt x="62932" y="56531"/>
                  </a:lnTo>
                  <a:lnTo>
                    <a:pt x="65532" y="79696"/>
                  </a:lnTo>
                  <a:lnTo>
                    <a:pt x="74695" y="92335"/>
                  </a:lnTo>
                  <a:lnTo>
                    <a:pt x="94517" y="113357"/>
                  </a:lnTo>
                  <a:lnTo>
                    <a:pt x="98917" y="120501"/>
                  </a:lnTo>
                  <a:lnTo>
                    <a:pt x="102975" y="122663"/>
                  </a:lnTo>
                  <a:lnTo>
                    <a:pt x="106499" y="133055"/>
                  </a:lnTo>
                  <a:lnTo>
                    <a:pt x="111242" y="132636"/>
                  </a:lnTo>
                  <a:lnTo>
                    <a:pt x="116605" y="152057"/>
                  </a:lnTo>
                  <a:lnTo>
                    <a:pt x="124720" y="159696"/>
                  </a:lnTo>
                  <a:lnTo>
                    <a:pt x="130407" y="170288"/>
                  </a:lnTo>
                  <a:lnTo>
                    <a:pt x="147190" y="185442"/>
                  </a:lnTo>
                  <a:lnTo>
                    <a:pt x="156048" y="212979"/>
                  </a:lnTo>
                  <a:lnTo>
                    <a:pt x="163982" y="225876"/>
                  </a:lnTo>
                  <a:lnTo>
                    <a:pt x="171393" y="239611"/>
                  </a:lnTo>
                  <a:lnTo>
                    <a:pt x="172869" y="255013"/>
                  </a:lnTo>
                  <a:lnTo>
                    <a:pt x="185747" y="255975"/>
                  </a:lnTo>
                  <a:lnTo>
                    <a:pt x="196453" y="269186"/>
                  </a:lnTo>
                  <a:lnTo>
                    <a:pt x="206140" y="282130"/>
                  </a:lnTo>
                  <a:lnTo>
                    <a:pt x="205492" y="287303"/>
                  </a:lnTo>
                  <a:lnTo>
                    <a:pt x="194253" y="297904"/>
                  </a:lnTo>
                  <a:lnTo>
                    <a:pt x="189519" y="297761"/>
                  </a:lnTo>
                  <a:lnTo>
                    <a:pt x="182480" y="280206"/>
                  </a:lnTo>
                  <a:lnTo>
                    <a:pt x="165002" y="263680"/>
                  </a:lnTo>
                  <a:lnTo>
                    <a:pt x="145742" y="249593"/>
                  </a:lnTo>
                  <a:lnTo>
                    <a:pt x="132083" y="242173"/>
                  </a:lnTo>
                  <a:lnTo>
                    <a:pt x="132969" y="220713"/>
                  </a:lnTo>
                  <a:lnTo>
                    <a:pt x="128911" y="204730"/>
                  </a:lnTo>
                  <a:lnTo>
                    <a:pt x="116186" y="195558"/>
                  </a:lnTo>
                  <a:lnTo>
                    <a:pt x="97831" y="182308"/>
                  </a:lnTo>
                  <a:lnTo>
                    <a:pt x="94307" y="186137"/>
                  </a:lnTo>
                  <a:lnTo>
                    <a:pt x="87563" y="178384"/>
                  </a:lnTo>
                  <a:lnTo>
                    <a:pt x="71095" y="171164"/>
                  </a:lnTo>
                  <a:lnTo>
                    <a:pt x="55350" y="153791"/>
                  </a:lnTo>
                  <a:lnTo>
                    <a:pt x="57302" y="151524"/>
                  </a:lnTo>
                  <a:lnTo>
                    <a:pt x="68304" y="153228"/>
                  </a:lnTo>
                  <a:lnTo>
                    <a:pt x="78210" y="141989"/>
                  </a:lnTo>
                  <a:lnTo>
                    <a:pt x="79210" y="128378"/>
                  </a:lnTo>
                  <a:lnTo>
                    <a:pt x="58646" y="106718"/>
                  </a:lnTo>
                  <a:lnTo>
                    <a:pt x="42967" y="98279"/>
                  </a:lnTo>
                  <a:lnTo>
                    <a:pt x="33128" y="79143"/>
                  </a:lnTo>
                  <a:lnTo>
                    <a:pt x="23222" y="58921"/>
                  </a:lnTo>
                  <a:lnTo>
                    <a:pt x="10849" y="34071"/>
                  </a:lnTo>
                  <a:lnTo>
                    <a:pt x="0" y="5848"/>
                  </a:lnTo>
                  <a:lnTo>
                    <a:pt x="30347" y="3429"/>
                  </a:lnTo>
                  <a:lnTo>
                    <a:pt x="64265" y="0"/>
                  </a:lnTo>
                  <a:lnTo>
                    <a:pt x="61770" y="6172"/>
                  </a:lnTo>
                  <a:lnTo>
                    <a:pt x="102099" y="21460"/>
                  </a:lnTo>
                  <a:lnTo>
                    <a:pt x="163020" y="43453"/>
                  </a:lnTo>
                  <a:lnTo>
                    <a:pt x="216132" y="43234"/>
                  </a:lnTo>
                  <a:lnTo>
                    <a:pt x="237306" y="43224"/>
                  </a:lnTo>
                  <a:lnTo>
                    <a:pt x="237363" y="30356"/>
                  </a:lnTo>
                  <a:lnTo>
                    <a:pt x="283635" y="30366"/>
                  </a:lnTo>
                  <a:lnTo>
                    <a:pt x="293370" y="41424"/>
                  </a:lnTo>
                  <a:lnTo>
                    <a:pt x="307029" y="51254"/>
                  </a:lnTo>
                  <a:lnTo>
                    <a:pt x="322898" y="64865"/>
                  </a:lnTo>
                  <a:lnTo>
                    <a:pt x="331746" y="80953"/>
                  </a:lnTo>
                  <a:lnTo>
                    <a:pt x="338395" y="97802"/>
                  </a:lnTo>
                  <a:lnTo>
                    <a:pt x="352197" y="107013"/>
                  </a:lnTo>
                  <a:lnTo>
                    <a:pt x="374371" y="116138"/>
                  </a:lnTo>
                  <a:lnTo>
                    <a:pt x="391192" y="92050"/>
                  </a:lnTo>
                  <a:lnTo>
                    <a:pt x="413033" y="91459"/>
                  </a:lnTo>
                  <a:lnTo>
                    <a:pt x="431854" y="103641"/>
                  </a:lnTo>
                  <a:lnTo>
                    <a:pt x="445256" y="124444"/>
                  </a:lnTo>
                  <a:lnTo>
                    <a:pt x="454486" y="142142"/>
                  </a:lnTo>
                  <a:lnTo>
                    <a:pt x="470240" y="159267"/>
                  </a:lnTo>
                  <a:lnTo>
                    <a:pt x="476126" y="180175"/>
                  </a:lnTo>
                  <a:lnTo>
                    <a:pt x="483603" y="194138"/>
                  </a:lnTo>
                  <a:lnTo>
                    <a:pt x="504434" y="203311"/>
                  </a:lnTo>
                  <a:lnTo>
                    <a:pt x="523389" y="20980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orme libre : forme 5761">
              <a:extLst>
                <a:ext uri="{FF2B5EF4-FFF2-40B4-BE49-F238E27FC236}">
                  <a16:creationId xmlns:a16="http://schemas.microsoft.com/office/drawing/2014/main" id="{224BD89A-E06E-5CB1-D158-69CED1E9FD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493871" y="4558411"/>
              <a:ext cx="509968" cy="163734"/>
            </a:xfrm>
            <a:custGeom>
              <a:avLst/>
              <a:gdLst>
                <a:gd name="connsiteX0" fmla="*/ 26422 w 509968"/>
                <a:gd name="connsiteY0" fmla="*/ 19317 h 163734"/>
                <a:gd name="connsiteX1" fmla="*/ 28518 w 509968"/>
                <a:gd name="connsiteY1" fmla="*/ 33014 h 163734"/>
                <a:gd name="connsiteX2" fmla="*/ 46158 w 509968"/>
                <a:gd name="connsiteY2" fmla="*/ 29832 h 163734"/>
                <a:gd name="connsiteX3" fmla="*/ 54883 w 509968"/>
                <a:gd name="connsiteY3" fmla="*/ 18878 h 163734"/>
                <a:gd name="connsiteX4" fmla="*/ 61027 w 509968"/>
                <a:gd name="connsiteY4" fmla="*/ 21374 h 163734"/>
                <a:gd name="connsiteX5" fmla="*/ 76800 w 509968"/>
                <a:gd name="connsiteY5" fmla="*/ 37472 h 163734"/>
                <a:gd name="connsiteX6" fmla="*/ 88011 w 509968"/>
                <a:gd name="connsiteY6" fmla="*/ 55312 h 163734"/>
                <a:gd name="connsiteX7" fmla="*/ 89535 w 509968"/>
                <a:gd name="connsiteY7" fmla="*/ 73228 h 163734"/>
                <a:gd name="connsiteX8" fmla="*/ 86696 w 509968"/>
                <a:gd name="connsiteY8" fmla="*/ 85325 h 163734"/>
                <a:gd name="connsiteX9" fmla="*/ 89288 w 509968"/>
                <a:gd name="connsiteY9" fmla="*/ 94460 h 163734"/>
                <a:gd name="connsiteX10" fmla="*/ 91240 w 509968"/>
                <a:gd name="connsiteY10" fmla="*/ 110185 h 163734"/>
                <a:gd name="connsiteX11" fmla="*/ 100641 w 509968"/>
                <a:gd name="connsiteY11" fmla="*/ 117500 h 163734"/>
                <a:gd name="connsiteX12" fmla="*/ 111147 w 509968"/>
                <a:gd name="connsiteY12" fmla="*/ 140979 h 163734"/>
                <a:gd name="connsiteX13" fmla="*/ 110633 w 509968"/>
                <a:gd name="connsiteY13" fmla="*/ 149952 h 163734"/>
                <a:gd name="connsiteX14" fmla="*/ 91697 w 509968"/>
                <a:gd name="connsiteY14" fmla="*/ 151724 h 163734"/>
                <a:gd name="connsiteX15" fmla="*/ 66437 w 509968"/>
                <a:gd name="connsiteY15" fmla="*/ 132064 h 163734"/>
                <a:gd name="connsiteX16" fmla="*/ 34843 w 509968"/>
                <a:gd name="connsiteY16" fmla="*/ 110995 h 163734"/>
                <a:gd name="connsiteX17" fmla="*/ 31718 w 509968"/>
                <a:gd name="connsiteY17" fmla="*/ 97460 h 163734"/>
                <a:gd name="connsiteX18" fmla="*/ 16278 w 509968"/>
                <a:gd name="connsiteY18" fmla="*/ 79686 h 163734"/>
                <a:gd name="connsiteX19" fmla="*/ 12592 w 509968"/>
                <a:gd name="connsiteY19" fmla="*/ 57655 h 163734"/>
                <a:gd name="connsiteX20" fmla="*/ 2953 w 509968"/>
                <a:gd name="connsiteY20" fmla="*/ 43139 h 163734"/>
                <a:gd name="connsiteX21" fmla="*/ 5886 w 509968"/>
                <a:gd name="connsiteY21" fmla="*/ 23727 h 163734"/>
                <a:gd name="connsiteX22" fmla="*/ 0 w 509968"/>
                <a:gd name="connsiteY22" fmla="*/ 12411 h 163734"/>
                <a:gd name="connsiteX23" fmla="*/ 4639 w 509968"/>
                <a:gd name="connsiteY23" fmla="*/ 7649 h 163734"/>
                <a:gd name="connsiteX24" fmla="*/ 26422 w 509968"/>
                <a:gd name="connsiteY24" fmla="*/ 19317 h 163734"/>
                <a:gd name="connsiteX25" fmla="*/ 494929 w 509968"/>
                <a:gd name="connsiteY25" fmla="*/ 65322 h 163734"/>
                <a:gd name="connsiteX26" fmla="*/ 475269 w 509968"/>
                <a:gd name="connsiteY26" fmla="*/ 74390 h 163734"/>
                <a:gd name="connsiteX27" fmla="*/ 452123 w 509968"/>
                <a:gd name="connsiteY27" fmla="*/ 69904 h 163734"/>
                <a:gd name="connsiteX28" fmla="*/ 421414 w 509968"/>
                <a:gd name="connsiteY28" fmla="*/ 69895 h 163734"/>
                <a:gd name="connsiteX29" fmla="*/ 412156 w 509968"/>
                <a:gd name="connsiteY29" fmla="*/ 100136 h 163734"/>
                <a:gd name="connsiteX30" fmla="*/ 401879 w 509968"/>
                <a:gd name="connsiteY30" fmla="*/ 109376 h 163734"/>
                <a:gd name="connsiteX31" fmla="*/ 388182 w 509968"/>
                <a:gd name="connsiteY31" fmla="*/ 146295 h 163734"/>
                <a:gd name="connsiteX32" fmla="*/ 366398 w 509968"/>
                <a:gd name="connsiteY32" fmla="*/ 151952 h 163734"/>
                <a:gd name="connsiteX33" fmla="*/ 341138 w 509968"/>
                <a:gd name="connsiteY33" fmla="*/ 144513 h 163734"/>
                <a:gd name="connsiteX34" fmla="*/ 328326 w 509968"/>
                <a:gd name="connsiteY34" fmla="*/ 146838 h 163734"/>
                <a:gd name="connsiteX35" fmla="*/ 312763 w 509968"/>
                <a:gd name="connsiteY35" fmla="*/ 160258 h 163734"/>
                <a:gd name="connsiteX36" fmla="*/ 295713 w 509968"/>
                <a:gd name="connsiteY36" fmla="*/ 158344 h 163734"/>
                <a:gd name="connsiteX37" fmla="*/ 278482 w 509968"/>
                <a:gd name="connsiteY37" fmla="*/ 163735 h 163734"/>
                <a:gd name="connsiteX38" fmla="*/ 260223 w 509968"/>
                <a:gd name="connsiteY38" fmla="*/ 148742 h 163734"/>
                <a:gd name="connsiteX39" fmla="*/ 255756 w 509968"/>
                <a:gd name="connsiteY39" fmla="*/ 131007 h 163734"/>
                <a:gd name="connsiteX40" fmla="*/ 275330 w 509968"/>
                <a:gd name="connsiteY40" fmla="*/ 140103 h 163734"/>
                <a:gd name="connsiteX41" fmla="*/ 295970 w 509968"/>
                <a:gd name="connsiteY41" fmla="*/ 135141 h 163734"/>
                <a:gd name="connsiteX42" fmla="*/ 301343 w 509968"/>
                <a:gd name="connsiteY42" fmla="*/ 112662 h 163734"/>
                <a:gd name="connsiteX43" fmla="*/ 312734 w 509968"/>
                <a:gd name="connsiteY43" fmla="*/ 107652 h 163734"/>
                <a:gd name="connsiteX44" fmla="*/ 344748 w 509968"/>
                <a:gd name="connsiteY44" fmla="*/ 101898 h 163734"/>
                <a:gd name="connsiteX45" fmla="*/ 363903 w 509968"/>
                <a:gd name="connsiteY45" fmla="*/ 80877 h 163734"/>
                <a:gd name="connsiteX46" fmla="*/ 377018 w 509968"/>
                <a:gd name="connsiteY46" fmla="*/ 64056 h 163734"/>
                <a:gd name="connsiteX47" fmla="*/ 389182 w 509968"/>
                <a:gd name="connsiteY47" fmla="*/ 77838 h 163734"/>
                <a:gd name="connsiteX48" fmla="*/ 394792 w 509968"/>
                <a:gd name="connsiteY48" fmla="*/ 68771 h 163734"/>
                <a:gd name="connsiteX49" fmla="*/ 407556 w 509968"/>
                <a:gd name="connsiteY49" fmla="*/ 69618 h 163734"/>
                <a:gd name="connsiteX50" fmla="*/ 409117 w 509968"/>
                <a:gd name="connsiteY50" fmla="*/ 52616 h 163734"/>
                <a:gd name="connsiteX51" fmla="*/ 410318 w 509968"/>
                <a:gd name="connsiteY51" fmla="*/ 39500 h 163734"/>
                <a:gd name="connsiteX52" fmla="*/ 430882 w 509968"/>
                <a:gd name="connsiteY52" fmla="*/ 20955 h 163734"/>
                <a:gd name="connsiteX53" fmla="*/ 444351 w 509968"/>
                <a:gd name="connsiteY53" fmla="*/ 86 h 163734"/>
                <a:gd name="connsiteX54" fmla="*/ 455152 w 509968"/>
                <a:gd name="connsiteY54" fmla="*/ 0 h 163734"/>
                <a:gd name="connsiteX55" fmla="*/ 468868 w 509968"/>
                <a:gd name="connsiteY55" fmla="*/ 13516 h 163734"/>
                <a:gd name="connsiteX56" fmla="*/ 470087 w 509968"/>
                <a:gd name="connsiteY56" fmla="*/ 25117 h 163734"/>
                <a:gd name="connsiteX57" fmla="*/ 487680 w 509968"/>
                <a:gd name="connsiteY57" fmla="*/ 32547 h 163734"/>
                <a:gd name="connsiteX58" fmla="*/ 509968 w 509968"/>
                <a:gd name="connsiteY58" fmla="*/ 40567 h 163734"/>
                <a:gd name="connsiteX59" fmla="*/ 508063 w 509968"/>
                <a:gd name="connsiteY59" fmla="*/ 50997 h 163734"/>
                <a:gd name="connsiteX60" fmla="*/ 490147 w 509968"/>
                <a:gd name="connsiteY60" fmla="*/ 52321 h 163734"/>
                <a:gd name="connsiteX61" fmla="*/ 494929 w 509968"/>
                <a:gd name="connsiteY61" fmla="*/ 65322 h 16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509968" h="163734">
                  <a:moveTo>
                    <a:pt x="26422" y="19317"/>
                  </a:moveTo>
                  <a:lnTo>
                    <a:pt x="28518" y="33014"/>
                  </a:lnTo>
                  <a:lnTo>
                    <a:pt x="46158" y="29832"/>
                  </a:lnTo>
                  <a:lnTo>
                    <a:pt x="54883" y="18878"/>
                  </a:lnTo>
                  <a:lnTo>
                    <a:pt x="61027" y="21374"/>
                  </a:lnTo>
                  <a:lnTo>
                    <a:pt x="76800" y="37472"/>
                  </a:lnTo>
                  <a:lnTo>
                    <a:pt x="88011" y="55312"/>
                  </a:lnTo>
                  <a:lnTo>
                    <a:pt x="89535" y="73228"/>
                  </a:lnTo>
                  <a:lnTo>
                    <a:pt x="86696" y="85325"/>
                  </a:lnTo>
                  <a:lnTo>
                    <a:pt x="89288" y="94460"/>
                  </a:lnTo>
                  <a:lnTo>
                    <a:pt x="91240" y="110185"/>
                  </a:lnTo>
                  <a:lnTo>
                    <a:pt x="100641" y="117500"/>
                  </a:lnTo>
                  <a:lnTo>
                    <a:pt x="111147" y="140979"/>
                  </a:lnTo>
                  <a:lnTo>
                    <a:pt x="110633" y="149952"/>
                  </a:lnTo>
                  <a:lnTo>
                    <a:pt x="91697" y="151724"/>
                  </a:lnTo>
                  <a:lnTo>
                    <a:pt x="66437" y="132064"/>
                  </a:lnTo>
                  <a:lnTo>
                    <a:pt x="34843" y="110995"/>
                  </a:lnTo>
                  <a:lnTo>
                    <a:pt x="31718" y="97460"/>
                  </a:lnTo>
                  <a:lnTo>
                    <a:pt x="16278" y="79686"/>
                  </a:lnTo>
                  <a:lnTo>
                    <a:pt x="12592" y="57655"/>
                  </a:lnTo>
                  <a:lnTo>
                    <a:pt x="2953" y="43139"/>
                  </a:lnTo>
                  <a:lnTo>
                    <a:pt x="5886" y="23727"/>
                  </a:lnTo>
                  <a:lnTo>
                    <a:pt x="0" y="12411"/>
                  </a:lnTo>
                  <a:lnTo>
                    <a:pt x="4639" y="7649"/>
                  </a:lnTo>
                  <a:lnTo>
                    <a:pt x="26422" y="19317"/>
                  </a:lnTo>
                  <a:close/>
                  <a:moveTo>
                    <a:pt x="494929" y="65322"/>
                  </a:moveTo>
                  <a:lnTo>
                    <a:pt x="475269" y="74390"/>
                  </a:lnTo>
                  <a:lnTo>
                    <a:pt x="452123" y="69904"/>
                  </a:lnTo>
                  <a:lnTo>
                    <a:pt x="421414" y="69895"/>
                  </a:lnTo>
                  <a:lnTo>
                    <a:pt x="412156" y="100136"/>
                  </a:lnTo>
                  <a:lnTo>
                    <a:pt x="401879" y="109376"/>
                  </a:lnTo>
                  <a:lnTo>
                    <a:pt x="388182" y="146295"/>
                  </a:lnTo>
                  <a:lnTo>
                    <a:pt x="366398" y="151952"/>
                  </a:lnTo>
                  <a:lnTo>
                    <a:pt x="341138" y="144513"/>
                  </a:lnTo>
                  <a:lnTo>
                    <a:pt x="328326" y="146838"/>
                  </a:lnTo>
                  <a:lnTo>
                    <a:pt x="312763" y="160258"/>
                  </a:lnTo>
                  <a:lnTo>
                    <a:pt x="295713" y="158344"/>
                  </a:lnTo>
                  <a:lnTo>
                    <a:pt x="278482" y="163735"/>
                  </a:lnTo>
                  <a:lnTo>
                    <a:pt x="260223" y="148742"/>
                  </a:lnTo>
                  <a:lnTo>
                    <a:pt x="255756" y="131007"/>
                  </a:lnTo>
                  <a:lnTo>
                    <a:pt x="275330" y="140103"/>
                  </a:lnTo>
                  <a:lnTo>
                    <a:pt x="295970" y="135141"/>
                  </a:lnTo>
                  <a:lnTo>
                    <a:pt x="301343" y="112662"/>
                  </a:lnTo>
                  <a:lnTo>
                    <a:pt x="312734" y="107652"/>
                  </a:lnTo>
                  <a:lnTo>
                    <a:pt x="344748" y="101898"/>
                  </a:lnTo>
                  <a:lnTo>
                    <a:pt x="363903" y="80877"/>
                  </a:lnTo>
                  <a:lnTo>
                    <a:pt x="377018" y="64056"/>
                  </a:lnTo>
                  <a:lnTo>
                    <a:pt x="389182" y="77838"/>
                  </a:lnTo>
                  <a:lnTo>
                    <a:pt x="394792" y="68771"/>
                  </a:lnTo>
                  <a:lnTo>
                    <a:pt x="407556" y="69618"/>
                  </a:lnTo>
                  <a:lnTo>
                    <a:pt x="409117" y="52616"/>
                  </a:lnTo>
                  <a:lnTo>
                    <a:pt x="410318" y="39500"/>
                  </a:lnTo>
                  <a:lnTo>
                    <a:pt x="430882" y="20955"/>
                  </a:lnTo>
                  <a:lnTo>
                    <a:pt x="444351" y="86"/>
                  </a:lnTo>
                  <a:lnTo>
                    <a:pt x="455152" y="0"/>
                  </a:lnTo>
                  <a:lnTo>
                    <a:pt x="468868" y="13516"/>
                  </a:lnTo>
                  <a:lnTo>
                    <a:pt x="470087" y="25117"/>
                  </a:lnTo>
                  <a:lnTo>
                    <a:pt x="487680" y="32547"/>
                  </a:lnTo>
                  <a:lnTo>
                    <a:pt x="509968" y="40567"/>
                  </a:lnTo>
                  <a:lnTo>
                    <a:pt x="508063" y="50997"/>
                  </a:lnTo>
                  <a:lnTo>
                    <a:pt x="490147" y="52321"/>
                  </a:lnTo>
                  <a:lnTo>
                    <a:pt x="494929" y="65322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orme libre : forme 5762">
              <a:extLst>
                <a:ext uri="{FF2B5EF4-FFF2-40B4-BE49-F238E27FC236}">
                  <a16:creationId xmlns:a16="http://schemas.microsoft.com/office/drawing/2014/main" id="{BAC2D97E-4784-148B-E826-4528E0476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626894" y="5017860"/>
              <a:ext cx="282987" cy="461819"/>
            </a:xfrm>
            <a:custGeom>
              <a:avLst/>
              <a:gdLst>
                <a:gd name="connsiteX0" fmla="*/ 116986 w 282987"/>
                <a:gd name="connsiteY0" fmla="*/ 32499 h 461819"/>
                <a:gd name="connsiteX1" fmla="*/ 137084 w 282987"/>
                <a:gd name="connsiteY1" fmla="*/ 30318 h 461819"/>
                <a:gd name="connsiteX2" fmla="*/ 169173 w 282987"/>
                <a:gd name="connsiteY2" fmla="*/ 37947 h 461819"/>
                <a:gd name="connsiteX3" fmla="*/ 176146 w 282987"/>
                <a:gd name="connsiteY3" fmla="*/ 34519 h 461819"/>
                <a:gd name="connsiteX4" fmla="*/ 194739 w 282987"/>
                <a:gd name="connsiteY4" fmla="*/ 33823 h 461819"/>
                <a:gd name="connsiteX5" fmla="*/ 204254 w 282987"/>
                <a:gd name="connsiteY5" fmla="*/ 25708 h 461819"/>
                <a:gd name="connsiteX6" fmla="*/ 220275 w 282987"/>
                <a:gd name="connsiteY6" fmla="*/ 26146 h 461819"/>
                <a:gd name="connsiteX7" fmla="*/ 249479 w 282987"/>
                <a:gd name="connsiteY7" fmla="*/ 15649 h 461819"/>
                <a:gd name="connsiteX8" fmla="*/ 270729 w 282987"/>
                <a:gd name="connsiteY8" fmla="*/ 0 h 461819"/>
                <a:gd name="connsiteX9" fmla="*/ 275054 w 282987"/>
                <a:gd name="connsiteY9" fmla="*/ 12097 h 461819"/>
                <a:gd name="connsiteX10" fmla="*/ 273948 w 282987"/>
                <a:gd name="connsiteY10" fmla="*/ 39052 h 461819"/>
                <a:gd name="connsiteX11" fmla="*/ 277244 w 282987"/>
                <a:gd name="connsiteY11" fmla="*/ 62874 h 461819"/>
                <a:gd name="connsiteX12" fmla="*/ 278282 w 282987"/>
                <a:gd name="connsiteY12" fmla="*/ 105508 h 461819"/>
                <a:gd name="connsiteX13" fmla="*/ 282987 w 282987"/>
                <a:gd name="connsiteY13" fmla="*/ 118939 h 461819"/>
                <a:gd name="connsiteX14" fmla="*/ 275015 w 282987"/>
                <a:gd name="connsiteY14" fmla="*/ 138579 h 461819"/>
                <a:gd name="connsiteX15" fmla="*/ 264652 w 282987"/>
                <a:gd name="connsiteY15" fmla="*/ 157724 h 461819"/>
                <a:gd name="connsiteX16" fmla="*/ 247650 w 282987"/>
                <a:gd name="connsiteY16" fmla="*/ 174888 h 461819"/>
                <a:gd name="connsiteX17" fmla="*/ 223238 w 282987"/>
                <a:gd name="connsiteY17" fmla="*/ 185433 h 461819"/>
                <a:gd name="connsiteX18" fmla="*/ 193129 w 282987"/>
                <a:gd name="connsiteY18" fmla="*/ 198930 h 461819"/>
                <a:gd name="connsiteX19" fmla="*/ 162953 w 282987"/>
                <a:gd name="connsiteY19" fmla="*/ 228905 h 461819"/>
                <a:gd name="connsiteX20" fmla="*/ 152676 w 282987"/>
                <a:gd name="connsiteY20" fmla="*/ 234029 h 461819"/>
                <a:gd name="connsiteX21" fmla="*/ 134035 w 282987"/>
                <a:gd name="connsiteY21" fmla="*/ 253993 h 461819"/>
                <a:gd name="connsiteX22" fmla="*/ 123034 w 282987"/>
                <a:gd name="connsiteY22" fmla="*/ 260518 h 461819"/>
                <a:gd name="connsiteX23" fmla="*/ 120777 w 282987"/>
                <a:gd name="connsiteY23" fmla="*/ 280682 h 461819"/>
                <a:gd name="connsiteX24" fmla="*/ 133445 w 282987"/>
                <a:gd name="connsiteY24" fmla="*/ 302200 h 461819"/>
                <a:gd name="connsiteX25" fmla="*/ 138712 w 282987"/>
                <a:gd name="connsiteY25" fmla="*/ 318945 h 461819"/>
                <a:gd name="connsiteX26" fmla="*/ 139046 w 282987"/>
                <a:gd name="connsiteY26" fmla="*/ 327507 h 461819"/>
                <a:gd name="connsiteX27" fmla="*/ 143761 w 282987"/>
                <a:gd name="connsiteY27" fmla="*/ 326079 h 461819"/>
                <a:gd name="connsiteX28" fmla="*/ 142999 w 282987"/>
                <a:gd name="connsiteY28" fmla="*/ 354282 h 461819"/>
                <a:gd name="connsiteX29" fmla="*/ 138665 w 282987"/>
                <a:gd name="connsiteY29" fmla="*/ 367712 h 461819"/>
                <a:gd name="connsiteX30" fmla="*/ 144961 w 282987"/>
                <a:gd name="connsiteY30" fmla="*/ 372675 h 461819"/>
                <a:gd name="connsiteX31" fmla="*/ 140989 w 282987"/>
                <a:gd name="connsiteY31" fmla="*/ 384762 h 461819"/>
                <a:gd name="connsiteX32" fmla="*/ 129826 w 282987"/>
                <a:gd name="connsiteY32" fmla="*/ 395135 h 461819"/>
                <a:gd name="connsiteX33" fmla="*/ 107795 w 282987"/>
                <a:gd name="connsiteY33" fmla="*/ 405003 h 461819"/>
                <a:gd name="connsiteX34" fmla="*/ 75676 w 282987"/>
                <a:gd name="connsiteY34" fmla="*/ 420881 h 461819"/>
                <a:gd name="connsiteX35" fmla="*/ 63960 w 282987"/>
                <a:gd name="connsiteY35" fmla="*/ 431759 h 461819"/>
                <a:gd name="connsiteX36" fmla="*/ 66256 w 282987"/>
                <a:gd name="connsiteY36" fmla="*/ 444208 h 461819"/>
                <a:gd name="connsiteX37" fmla="*/ 73076 w 282987"/>
                <a:gd name="connsiteY37" fmla="*/ 446198 h 461819"/>
                <a:gd name="connsiteX38" fmla="*/ 70790 w 282987"/>
                <a:gd name="connsiteY38" fmla="*/ 461820 h 461819"/>
                <a:gd name="connsiteX39" fmla="*/ 50530 w 282987"/>
                <a:gd name="connsiteY39" fmla="*/ 461572 h 461819"/>
                <a:gd name="connsiteX40" fmla="*/ 48244 w 282987"/>
                <a:gd name="connsiteY40" fmla="*/ 448446 h 461819"/>
                <a:gd name="connsiteX41" fmla="*/ 44282 w 282987"/>
                <a:gd name="connsiteY41" fmla="*/ 435187 h 461819"/>
                <a:gd name="connsiteX42" fmla="*/ 42005 w 282987"/>
                <a:gd name="connsiteY42" fmla="*/ 424605 h 461819"/>
                <a:gd name="connsiteX43" fmla="*/ 46767 w 282987"/>
                <a:gd name="connsiteY43" fmla="*/ 391953 h 461819"/>
                <a:gd name="connsiteX44" fmla="*/ 39814 w 282987"/>
                <a:gd name="connsiteY44" fmla="*/ 371294 h 461819"/>
                <a:gd name="connsiteX45" fmla="*/ 27022 w 282987"/>
                <a:gd name="connsiteY45" fmla="*/ 330708 h 461819"/>
                <a:gd name="connsiteX46" fmla="*/ 55159 w 282987"/>
                <a:gd name="connsiteY46" fmla="*/ 298275 h 461819"/>
                <a:gd name="connsiteX47" fmla="*/ 62198 w 282987"/>
                <a:gd name="connsiteY47" fmla="*/ 277796 h 461819"/>
                <a:gd name="connsiteX48" fmla="*/ 66237 w 282987"/>
                <a:gd name="connsiteY48" fmla="*/ 275215 h 461819"/>
                <a:gd name="connsiteX49" fmla="*/ 69256 w 282987"/>
                <a:gd name="connsiteY49" fmla="*/ 258585 h 461819"/>
                <a:gd name="connsiteX50" fmla="*/ 64961 w 282987"/>
                <a:gd name="connsiteY50" fmla="*/ 250241 h 461819"/>
                <a:gd name="connsiteX51" fmla="*/ 66113 w 282987"/>
                <a:gd name="connsiteY51" fmla="*/ 229257 h 461819"/>
                <a:gd name="connsiteX52" fmla="*/ 71314 w 282987"/>
                <a:gd name="connsiteY52" fmla="*/ 209874 h 461819"/>
                <a:gd name="connsiteX53" fmla="*/ 71257 w 282987"/>
                <a:gd name="connsiteY53" fmla="*/ 174679 h 461819"/>
                <a:gd name="connsiteX54" fmla="*/ 57378 w 282987"/>
                <a:gd name="connsiteY54" fmla="*/ 165783 h 461819"/>
                <a:gd name="connsiteX55" fmla="*/ 44672 w 282987"/>
                <a:gd name="connsiteY55" fmla="*/ 163773 h 461819"/>
                <a:gd name="connsiteX56" fmla="*/ 38909 w 282987"/>
                <a:gd name="connsiteY56" fmla="*/ 156934 h 461819"/>
                <a:gd name="connsiteX57" fmla="*/ 26537 w 282987"/>
                <a:gd name="connsiteY57" fmla="*/ 151104 h 461819"/>
                <a:gd name="connsiteX58" fmla="*/ 4257 w 282987"/>
                <a:gd name="connsiteY58" fmla="*/ 151657 h 461819"/>
                <a:gd name="connsiteX59" fmla="*/ 2534 w 282987"/>
                <a:gd name="connsiteY59" fmla="*/ 141370 h 461819"/>
                <a:gd name="connsiteX60" fmla="*/ 0 w 282987"/>
                <a:gd name="connsiteY60" fmla="*/ 121796 h 461819"/>
                <a:gd name="connsiteX61" fmla="*/ 81039 w 282987"/>
                <a:gd name="connsiteY61" fmla="*/ 99222 h 461819"/>
                <a:gd name="connsiteX62" fmla="*/ 96412 w 282987"/>
                <a:gd name="connsiteY62" fmla="*/ 112357 h 461819"/>
                <a:gd name="connsiteX63" fmla="*/ 103765 w 282987"/>
                <a:gd name="connsiteY63" fmla="*/ 109842 h 461819"/>
                <a:gd name="connsiteX64" fmla="*/ 114309 w 282987"/>
                <a:gd name="connsiteY64" fmla="*/ 116776 h 461819"/>
                <a:gd name="connsiteX65" fmla="*/ 115852 w 282987"/>
                <a:gd name="connsiteY65" fmla="*/ 127778 h 461819"/>
                <a:gd name="connsiteX66" fmla="*/ 110233 w 282987"/>
                <a:gd name="connsiteY66" fmla="*/ 140570 h 461819"/>
                <a:gd name="connsiteX67" fmla="*/ 112214 w 282987"/>
                <a:gd name="connsiteY67" fmla="*/ 160010 h 461819"/>
                <a:gd name="connsiteX68" fmla="*/ 129635 w 282987"/>
                <a:gd name="connsiteY68" fmla="*/ 177117 h 461819"/>
                <a:gd name="connsiteX69" fmla="*/ 137789 w 282987"/>
                <a:gd name="connsiteY69" fmla="*/ 157905 h 461819"/>
                <a:gd name="connsiteX70" fmla="*/ 149352 w 282987"/>
                <a:gd name="connsiteY70" fmla="*/ 152095 h 461819"/>
                <a:gd name="connsiteX71" fmla="*/ 147075 w 282987"/>
                <a:gd name="connsiteY71" fmla="*/ 116719 h 461819"/>
                <a:gd name="connsiteX72" fmla="*/ 135893 w 282987"/>
                <a:gd name="connsiteY72" fmla="*/ 96926 h 461819"/>
                <a:gd name="connsiteX73" fmla="*/ 126254 w 282987"/>
                <a:gd name="connsiteY73" fmla="*/ 88116 h 461819"/>
                <a:gd name="connsiteX74" fmla="*/ 116986 w 282987"/>
                <a:gd name="connsiteY74" fmla="*/ 88506 h 461819"/>
                <a:gd name="connsiteX75" fmla="*/ 109509 w 282987"/>
                <a:gd name="connsiteY75" fmla="*/ 53111 h 461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282987" h="461819">
                  <a:moveTo>
                    <a:pt x="116986" y="32499"/>
                  </a:moveTo>
                  <a:lnTo>
                    <a:pt x="137084" y="30318"/>
                  </a:lnTo>
                  <a:lnTo>
                    <a:pt x="169173" y="37947"/>
                  </a:lnTo>
                  <a:lnTo>
                    <a:pt x="176146" y="34519"/>
                  </a:lnTo>
                  <a:lnTo>
                    <a:pt x="194739" y="33823"/>
                  </a:lnTo>
                  <a:lnTo>
                    <a:pt x="204254" y="25708"/>
                  </a:lnTo>
                  <a:lnTo>
                    <a:pt x="220275" y="26146"/>
                  </a:lnTo>
                  <a:lnTo>
                    <a:pt x="249479" y="15649"/>
                  </a:lnTo>
                  <a:lnTo>
                    <a:pt x="270729" y="0"/>
                  </a:lnTo>
                  <a:lnTo>
                    <a:pt x="275054" y="12097"/>
                  </a:lnTo>
                  <a:lnTo>
                    <a:pt x="273948" y="39052"/>
                  </a:lnTo>
                  <a:lnTo>
                    <a:pt x="277244" y="62874"/>
                  </a:lnTo>
                  <a:lnTo>
                    <a:pt x="278282" y="105508"/>
                  </a:lnTo>
                  <a:lnTo>
                    <a:pt x="282987" y="118939"/>
                  </a:lnTo>
                  <a:lnTo>
                    <a:pt x="275015" y="138579"/>
                  </a:lnTo>
                  <a:lnTo>
                    <a:pt x="264652" y="157724"/>
                  </a:lnTo>
                  <a:lnTo>
                    <a:pt x="247650" y="174888"/>
                  </a:lnTo>
                  <a:lnTo>
                    <a:pt x="223238" y="185433"/>
                  </a:lnTo>
                  <a:lnTo>
                    <a:pt x="193129" y="198930"/>
                  </a:lnTo>
                  <a:lnTo>
                    <a:pt x="162953" y="228905"/>
                  </a:lnTo>
                  <a:lnTo>
                    <a:pt x="152676" y="234029"/>
                  </a:lnTo>
                  <a:lnTo>
                    <a:pt x="134035" y="253993"/>
                  </a:lnTo>
                  <a:lnTo>
                    <a:pt x="123034" y="260518"/>
                  </a:lnTo>
                  <a:lnTo>
                    <a:pt x="120777" y="280682"/>
                  </a:lnTo>
                  <a:lnTo>
                    <a:pt x="133445" y="302200"/>
                  </a:lnTo>
                  <a:lnTo>
                    <a:pt x="138712" y="318945"/>
                  </a:lnTo>
                  <a:lnTo>
                    <a:pt x="139046" y="327507"/>
                  </a:lnTo>
                  <a:lnTo>
                    <a:pt x="143761" y="326079"/>
                  </a:lnTo>
                  <a:lnTo>
                    <a:pt x="142999" y="354282"/>
                  </a:lnTo>
                  <a:lnTo>
                    <a:pt x="138665" y="367712"/>
                  </a:lnTo>
                  <a:lnTo>
                    <a:pt x="144961" y="372675"/>
                  </a:lnTo>
                  <a:lnTo>
                    <a:pt x="140989" y="384762"/>
                  </a:lnTo>
                  <a:lnTo>
                    <a:pt x="129826" y="395135"/>
                  </a:lnTo>
                  <a:lnTo>
                    <a:pt x="107795" y="405003"/>
                  </a:lnTo>
                  <a:lnTo>
                    <a:pt x="75676" y="420881"/>
                  </a:lnTo>
                  <a:lnTo>
                    <a:pt x="63960" y="431759"/>
                  </a:lnTo>
                  <a:lnTo>
                    <a:pt x="66256" y="444208"/>
                  </a:lnTo>
                  <a:lnTo>
                    <a:pt x="73076" y="446198"/>
                  </a:lnTo>
                  <a:lnTo>
                    <a:pt x="70790" y="461820"/>
                  </a:lnTo>
                  <a:lnTo>
                    <a:pt x="50530" y="461572"/>
                  </a:lnTo>
                  <a:lnTo>
                    <a:pt x="48244" y="448446"/>
                  </a:lnTo>
                  <a:lnTo>
                    <a:pt x="44282" y="435187"/>
                  </a:lnTo>
                  <a:lnTo>
                    <a:pt x="42005" y="424605"/>
                  </a:lnTo>
                  <a:lnTo>
                    <a:pt x="46767" y="391953"/>
                  </a:lnTo>
                  <a:lnTo>
                    <a:pt x="39814" y="371294"/>
                  </a:lnTo>
                  <a:lnTo>
                    <a:pt x="27022" y="330708"/>
                  </a:lnTo>
                  <a:lnTo>
                    <a:pt x="55159" y="298275"/>
                  </a:lnTo>
                  <a:lnTo>
                    <a:pt x="62198" y="277796"/>
                  </a:lnTo>
                  <a:lnTo>
                    <a:pt x="66237" y="275215"/>
                  </a:lnTo>
                  <a:lnTo>
                    <a:pt x="69256" y="258585"/>
                  </a:lnTo>
                  <a:lnTo>
                    <a:pt x="64961" y="250241"/>
                  </a:lnTo>
                  <a:lnTo>
                    <a:pt x="66113" y="229257"/>
                  </a:lnTo>
                  <a:lnTo>
                    <a:pt x="71314" y="209874"/>
                  </a:lnTo>
                  <a:lnTo>
                    <a:pt x="71257" y="174679"/>
                  </a:lnTo>
                  <a:lnTo>
                    <a:pt x="57378" y="165783"/>
                  </a:lnTo>
                  <a:lnTo>
                    <a:pt x="44672" y="163773"/>
                  </a:lnTo>
                  <a:lnTo>
                    <a:pt x="38909" y="156934"/>
                  </a:lnTo>
                  <a:lnTo>
                    <a:pt x="26537" y="151104"/>
                  </a:lnTo>
                  <a:lnTo>
                    <a:pt x="4257" y="151657"/>
                  </a:lnTo>
                  <a:lnTo>
                    <a:pt x="2534" y="141370"/>
                  </a:lnTo>
                  <a:lnTo>
                    <a:pt x="0" y="121796"/>
                  </a:lnTo>
                  <a:lnTo>
                    <a:pt x="81039" y="99222"/>
                  </a:lnTo>
                  <a:lnTo>
                    <a:pt x="96412" y="112357"/>
                  </a:lnTo>
                  <a:lnTo>
                    <a:pt x="103765" y="109842"/>
                  </a:lnTo>
                  <a:lnTo>
                    <a:pt x="114309" y="116776"/>
                  </a:lnTo>
                  <a:lnTo>
                    <a:pt x="115852" y="127778"/>
                  </a:lnTo>
                  <a:lnTo>
                    <a:pt x="110233" y="140570"/>
                  </a:lnTo>
                  <a:lnTo>
                    <a:pt x="112214" y="160010"/>
                  </a:lnTo>
                  <a:lnTo>
                    <a:pt x="129635" y="177117"/>
                  </a:lnTo>
                  <a:lnTo>
                    <a:pt x="137789" y="157905"/>
                  </a:lnTo>
                  <a:lnTo>
                    <a:pt x="149352" y="152095"/>
                  </a:lnTo>
                  <a:lnTo>
                    <a:pt x="147075" y="116719"/>
                  </a:lnTo>
                  <a:lnTo>
                    <a:pt x="135893" y="96926"/>
                  </a:lnTo>
                  <a:lnTo>
                    <a:pt x="126254" y="88116"/>
                  </a:lnTo>
                  <a:lnTo>
                    <a:pt x="116986" y="88506"/>
                  </a:lnTo>
                  <a:lnTo>
                    <a:pt x="109509" y="531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orme libre : forme 5763">
              <a:extLst>
                <a:ext uri="{FF2B5EF4-FFF2-40B4-BE49-F238E27FC236}">
                  <a16:creationId xmlns:a16="http://schemas.microsoft.com/office/drawing/2014/main" id="{69396DCC-FF45-FD84-09B4-82BC16C455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134280" y="5198853"/>
              <a:ext cx="356539" cy="350062"/>
            </a:xfrm>
            <a:custGeom>
              <a:avLst/>
              <a:gdLst>
                <a:gd name="connsiteX0" fmla="*/ 123139 w 356539"/>
                <a:gd name="connsiteY0" fmla="*/ 335851 h 350062"/>
                <a:gd name="connsiteX1" fmla="*/ 103289 w 356539"/>
                <a:gd name="connsiteY1" fmla="*/ 313077 h 350062"/>
                <a:gd name="connsiteX2" fmla="*/ 92840 w 356539"/>
                <a:gd name="connsiteY2" fmla="*/ 291217 h 350062"/>
                <a:gd name="connsiteX3" fmla="*/ 86944 w 356539"/>
                <a:gd name="connsiteY3" fmla="*/ 262290 h 350062"/>
                <a:gd name="connsiteX4" fmla="*/ 80363 w 356539"/>
                <a:gd name="connsiteY4" fmla="*/ 240925 h 350062"/>
                <a:gd name="connsiteX5" fmla="*/ 71409 w 356539"/>
                <a:gd name="connsiteY5" fmla="*/ 195939 h 350062"/>
                <a:gd name="connsiteX6" fmla="*/ 70809 w 356539"/>
                <a:gd name="connsiteY6" fmla="*/ 161353 h 350062"/>
                <a:gd name="connsiteX7" fmla="*/ 67389 w 356539"/>
                <a:gd name="connsiteY7" fmla="*/ 145694 h 350062"/>
                <a:gd name="connsiteX8" fmla="*/ 57007 w 356539"/>
                <a:gd name="connsiteY8" fmla="*/ 133893 h 350062"/>
                <a:gd name="connsiteX9" fmla="*/ 43215 w 356539"/>
                <a:gd name="connsiteY9" fmla="*/ 110347 h 350062"/>
                <a:gd name="connsiteX10" fmla="*/ 29185 w 356539"/>
                <a:gd name="connsiteY10" fmla="*/ 76400 h 350062"/>
                <a:gd name="connsiteX11" fmla="*/ 23346 w 356539"/>
                <a:gd name="connsiteY11" fmla="*/ 58731 h 350062"/>
                <a:gd name="connsiteX12" fmla="*/ 1619 w 356539"/>
                <a:gd name="connsiteY12" fmla="*/ 31394 h 350062"/>
                <a:gd name="connsiteX13" fmla="*/ 0 w 356539"/>
                <a:gd name="connsiteY13" fmla="*/ 10020 h 350062"/>
                <a:gd name="connsiteX14" fmla="*/ 12849 w 356539"/>
                <a:gd name="connsiteY14" fmla="*/ 4734 h 350062"/>
                <a:gd name="connsiteX15" fmla="*/ 28842 w 356539"/>
                <a:gd name="connsiteY15" fmla="*/ 0 h 350062"/>
                <a:gd name="connsiteX16" fmla="*/ 46158 w 356539"/>
                <a:gd name="connsiteY16" fmla="*/ 829 h 350062"/>
                <a:gd name="connsiteX17" fmla="*/ 62075 w 356539"/>
                <a:gd name="connsiteY17" fmla="*/ 13402 h 350062"/>
                <a:gd name="connsiteX18" fmla="*/ 66113 w 356539"/>
                <a:gd name="connsiteY18" fmla="*/ 11440 h 350062"/>
                <a:gd name="connsiteX19" fmla="*/ 174365 w 356539"/>
                <a:gd name="connsiteY19" fmla="*/ 10239 h 350062"/>
                <a:gd name="connsiteX20" fmla="*/ 192872 w 356539"/>
                <a:gd name="connsiteY20" fmla="*/ 23584 h 350062"/>
                <a:gd name="connsiteX21" fmla="*/ 257527 w 356539"/>
                <a:gd name="connsiteY21" fmla="*/ 27527 h 350062"/>
                <a:gd name="connsiteX22" fmla="*/ 306619 w 356539"/>
                <a:gd name="connsiteY22" fmla="*/ 16174 h 350062"/>
                <a:gd name="connsiteX23" fmla="*/ 328489 w 356539"/>
                <a:gd name="connsiteY23" fmla="*/ 9849 h 350062"/>
                <a:gd name="connsiteX24" fmla="*/ 345796 w 356539"/>
                <a:gd name="connsiteY24" fmla="*/ 11449 h 350062"/>
                <a:gd name="connsiteX25" fmla="*/ 356340 w 356539"/>
                <a:gd name="connsiteY25" fmla="*/ 17726 h 350062"/>
                <a:gd name="connsiteX26" fmla="*/ 356540 w 356539"/>
                <a:gd name="connsiteY26" fmla="*/ 20031 h 350062"/>
                <a:gd name="connsiteX27" fmla="*/ 341481 w 356539"/>
                <a:gd name="connsiteY27" fmla="*/ 26318 h 350062"/>
                <a:gd name="connsiteX28" fmla="*/ 333385 w 356539"/>
                <a:gd name="connsiteY28" fmla="*/ 26375 h 350062"/>
                <a:gd name="connsiteX29" fmla="*/ 316335 w 356539"/>
                <a:gd name="connsiteY29" fmla="*/ 37319 h 350062"/>
                <a:gd name="connsiteX30" fmla="*/ 306124 w 356539"/>
                <a:gd name="connsiteY30" fmla="*/ 25813 h 350062"/>
                <a:gd name="connsiteX31" fmla="*/ 264957 w 356539"/>
                <a:gd name="connsiteY31" fmla="*/ 35585 h 350062"/>
                <a:gd name="connsiteX32" fmla="*/ 245069 w 356539"/>
                <a:gd name="connsiteY32" fmla="*/ 36509 h 350062"/>
                <a:gd name="connsiteX33" fmla="*/ 244288 w 356539"/>
                <a:gd name="connsiteY33" fmla="*/ 137188 h 350062"/>
                <a:gd name="connsiteX34" fmla="*/ 217961 w 356539"/>
                <a:gd name="connsiteY34" fmla="*/ 138189 h 350062"/>
                <a:gd name="connsiteX35" fmla="*/ 217970 w 356539"/>
                <a:gd name="connsiteY35" fmla="*/ 222590 h 350062"/>
                <a:gd name="connsiteX36" fmla="*/ 217941 w 356539"/>
                <a:gd name="connsiteY36" fmla="*/ 332356 h 350062"/>
                <a:gd name="connsiteX37" fmla="*/ 194100 w 356539"/>
                <a:gd name="connsiteY37" fmla="*/ 347844 h 350062"/>
                <a:gd name="connsiteX38" fmla="*/ 179756 w 356539"/>
                <a:gd name="connsiteY38" fmla="*/ 350063 h 350062"/>
                <a:gd name="connsiteX39" fmla="*/ 162963 w 356539"/>
                <a:gd name="connsiteY39" fmla="*/ 344329 h 350062"/>
                <a:gd name="connsiteX40" fmla="*/ 150981 w 356539"/>
                <a:gd name="connsiteY40" fmla="*/ 342119 h 350062"/>
                <a:gd name="connsiteX41" fmla="*/ 146475 w 356539"/>
                <a:gd name="connsiteY41" fmla="*/ 329184 h 350062"/>
                <a:gd name="connsiteX42" fmla="*/ 135931 w 356539"/>
                <a:gd name="connsiteY42" fmla="*/ 320926 h 35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56539" h="350062">
                  <a:moveTo>
                    <a:pt x="123139" y="335851"/>
                  </a:moveTo>
                  <a:lnTo>
                    <a:pt x="103289" y="313077"/>
                  </a:lnTo>
                  <a:lnTo>
                    <a:pt x="92840" y="291217"/>
                  </a:lnTo>
                  <a:lnTo>
                    <a:pt x="86944" y="262290"/>
                  </a:lnTo>
                  <a:lnTo>
                    <a:pt x="80363" y="240925"/>
                  </a:lnTo>
                  <a:lnTo>
                    <a:pt x="71409" y="195939"/>
                  </a:lnTo>
                  <a:lnTo>
                    <a:pt x="70809" y="161353"/>
                  </a:lnTo>
                  <a:lnTo>
                    <a:pt x="67389" y="145694"/>
                  </a:lnTo>
                  <a:lnTo>
                    <a:pt x="57007" y="133893"/>
                  </a:lnTo>
                  <a:lnTo>
                    <a:pt x="43215" y="110347"/>
                  </a:lnTo>
                  <a:lnTo>
                    <a:pt x="29185" y="76400"/>
                  </a:lnTo>
                  <a:lnTo>
                    <a:pt x="23346" y="58731"/>
                  </a:lnTo>
                  <a:lnTo>
                    <a:pt x="1619" y="31394"/>
                  </a:lnTo>
                  <a:lnTo>
                    <a:pt x="0" y="10020"/>
                  </a:lnTo>
                  <a:lnTo>
                    <a:pt x="12849" y="4734"/>
                  </a:lnTo>
                  <a:lnTo>
                    <a:pt x="28842" y="0"/>
                  </a:lnTo>
                  <a:lnTo>
                    <a:pt x="46158" y="829"/>
                  </a:lnTo>
                  <a:lnTo>
                    <a:pt x="62075" y="13402"/>
                  </a:lnTo>
                  <a:lnTo>
                    <a:pt x="66113" y="11440"/>
                  </a:lnTo>
                  <a:lnTo>
                    <a:pt x="174365" y="10239"/>
                  </a:lnTo>
                  <a:lnTo>
                    <a:pt x="192872" y="23584"/>
                  </a:lnTo>
                  <a:lnTo>
                    <a:pt x="257527" y="27527"/>
                  </a:lnTo>
                  <a:lnTo>
                    <a:pt x="306619" y="16174"/>
                  </a:lnTo>
                  <a:lnTo>
                    <a:pt x="328489" y="9849"/>
                  </a:lnTo>
                  <a:lnTo>
                    <a:pt x="345796" y="11449"/>
                  </a:lnTo>
                  <a:lnTo>
                    <a:pt x="356340" y="17726"/>
                  </a:lnTo>
                  <a:lnTo>
                    <a:pt x="356540" y="20031"/>
                  </a:lnTo>
                  <a:lnTo>
                    <a:pt x="341481" y="26318"/>
                  </a:lnTo>
                  <a:lnTo>
                    <a:pt x="333385" y="26375"/>
                  </a:lnTo>
                  <a:lnTo>
                    <a:pt x="316335" y="37319"/>
                  </a:lnTo>
                  <a:lnTo>
                    <a:pt x="306124" y="25813"/>
                  </a:lnTo>
                  <a:lnTo>
                    <a:pt x="264957" y="35585"/>
                  </a:lnTo>
                  <a:lnTo>
                    <a:pt x="245069" y="36509"/>
                  </a:lnTo>
                  <a:lnTo>
                    <a:pt x="244288" y="137188"/>
                  </a:lnTo>
                  <a:lnTo>
                    <a:pt x="217961" y="138189"/>
                  </a:lnTo>
                  <a:lnTo>
                    <a:pt x="217970" y="222590"/>
                  </a:lnTo>
                  <a:lnTo>
                    <a:pt x="217941" y="332356"/>
                  </a:lnTo>
                  <a:lnTo>
                    <a:pt x="194100" y="347844"/>
                  </a:lnTo>
                  <a:lnTo>
                    <a:pt x="179756" y="350063"/>
                  </a:lnTo>
                  <a:lnTo>
                    <a:pt x="162963" y="344329"/>
                  </a:lnTo>
                  <a:lnTo>
                    <a:pt x="150981" y="342119"/>
                  </a:lnTo>
                  <a:lnTo>
                    <a:pt x="146475" y="329184"/>
                  </a:lnTo>
                  <a:lnTo>
                    <a:pt x="135931" y="3209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orme libre : forme 5764">
              <a:extLst>
                <a:ext uri="{FF2B5EF4-FFF2-40B4-BE49-F238E27FC236}">
                  <a16:creationId xmlns:a16="http://schemas.microsoft.com/office/drawing/2014/main" id="{D3D91F45-2DAE-7958-55AB-65F39B4993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201589" y="5287465"/>
              <a:ext cx="82533" cy="65360"/>
            </a:xfrm>
            <a:custGeom>
              <a:avLst/>
              <a:gdLst>
                <a:gd name="connsiteX0" fmla="*/ 46739 w 82533"/>
                <a:gd name="connsiteY0" fmla="*/ 27632 h 65360"/>
                <a:gd name="connsiteX1" fmla="*/ 68646 w 82533"/>
                <a:gd name="connsiteY1" fmla="*/ 45311 h 65360"/>
                <a:gd name="connsiteX2" fmla="*/ 82534 w 82533"/>
                <a:gd name="connsiteY2" fmla="*/ 58474 h 65360"/>
                <a:gd name="connsiteX3" fmla="*/ 72390 w 82533"/>
                <a:gd name="connsiteY3" fmla="*/ 65361 h 65360"/>
                <a:gd name="connsiteX4" fmla="*/ 57692 w 82533"/>
                <a:gd name="connsiteY4" fmla="*/ 57607 h 65360"/>
                <a:gd name="connsiteX5" fmla="*/ 38585 w 82533"/>
                <a:gd name="connsiteY5" fmla="*/ 44729 h 65360"/>
                <a:gd name="connsiteX6" fmla="*/ 21364 w 82533"/>
                <a:gd name="connsiteY6" fmla="*/ 29613 h 65360"/>
                <a:gd name="connsiteX7" fmla="*/ 3696 w 82533"/>
                <a:gd name="connsiteY7" fmla="*/ 9592 h 65360"/>
                <a:gd name="connsiteX8" fmla="*/ 0 w 82533"/>
                <a:gd name="connsiteY8" fmla="*/ 0 h 65360"/>
                <a:gd name="connsiteX9" fmla="*/ 11487 w 82533"/>
                <a:gd name="connsiteY9" fmla="*/ 400 h 65360"/>
                <a:gd name="connsiteX10" fmla="*/ 26451 w 82533"/>
                <a:gd name="connsiteY10" fmla="*/ 10030 h 65360"/>
                <a:gd name="connsiteX11" fmla="*/ 38205 w 82533"/>
                <a:gd name="connsiteY11" fmla="*/ 19669 h 65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2533" h="65360">
                  <a:moveTo>
                    <a:pt x="46739" y="27632"/>
                  </a:moveTo>
                  <a:lnTo>
                    <a:pt x="68646" y="45311"/>
                  </a:lnTo>
                  <a:lnTo>
                    <a:pt x="82534" y="58474"/>
                  </a:lnTo>
                  <a:lnTo>
                    <a:pt x="72390" y="65361"/>
                  </a:lnTo>
                  <a:lnTo>
                    <a:pt x="57692" y="57607"/>
                  </a:lnTo>
                  <a:lnTo>
                    <a:pt x="38585" y="44729"/>
                  </a:lnTo>
                  <a:lnTo>
                    <a:pt x="21364" y="29613"/>
                  </a:lnTo>
                  <a:lnTo>
                    <a:pt x="3696" y="9592"/>
                  </a:lnTo>
                  <a:lnTo>
                    <a:pt x="0" y="0"/>
                  </a:lnTo>
                  <a:lnTo>
                    <a:pt x="11487" y="400"/>
                  </a:lnTo>
                  <a:lnTo>
                    <a:pt x="26451" y="10030"/>
                  </a:lnTo>
                  <a:lnTo>
                    <a:pt x="38205" y="1966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orme libre : forme 5765">
              <a:extLst>
                <a:ext uri="{FF2B5EF4-FFF2-40B4-BE49-F238E27FC236}">
                  <a16:creationId xmlns:a16="http://schemas.microsoft.com/office/drawing/2014/main" id="{8DB67102-F345-DCA4-DDAC-03904E50C0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828795" y="4101583"/>
              <a:ext cx="416823" cy="329565"/>
            </a:xfrm>
            <a:custGeom>
              <a:avLst/>
              <a:gdLst>
                <a:gd name="connsiteX0" fmla="*/ 49644 w 416823"/>
                <a:gd name="connsiteY0" fmla="*/ 321974 h 329565"/>
                <a:gd name="connsiteX1" fmla="*/ 50244 w 416823"/>
                <a:gd name="connsiteY1" fmla="*/ 303381 h 329565"/>
                <a:gd name="connsiteX2" fmla="*/ 19460 w 416823"/>
                <a:gd name="connsiteY2" fmla="*/ 297209 h 329565"/>
                <a:gd name="connsiteX3" fmla="*/ 18621 w 416823"/>
                <a:gd name="connsiteY3" fmla="*/ 284016 h 329565"/>
                <a:gd name="connsiteX4" fmla="*/ 3581 w 416823"/>
                <a:gd name="connsiteY4" fmla="*/ 266186 h 329565"/>
                <a:gd name="connsiteX5" fmla="*/ 0 w 416823"/>
                <a:gd name="connsiteY5" fmla="*/ 253717 h 329565"/>
                <a:gd name="connsiteX6" fmla="*/ 2114 w 416823"/>
                <a:gd name="connsiteY6" fmla="*/ 240421 h 329565"/>
                <a:gd name="connsiteX7" fmla="*/ 19231 w 416823"/>
                <a:gd name="connsiteY7" fmla="*/ 239335 h 329565"/>
                <a:gd name="connsiteX8" fmla="*/ 29108 w 416823"/>
                <a:gd name="connsiteY8" fmla="*/ 229572 h 329565"/>
                <a:gd name="connsiteX9" fmla="*/ 65542 w 416823"/>
                <a:gd name="connsiteY9" fmla="*/ 227209 h 329565"/>
                <a:gd name="connsiteX10" fmla="*/ 89268 w 416823"/>
                <a:gd name="connsiteY10" fmla="*/ 222838 h 329565"/>
                <a:gd name="connsiteX11" fmla="*/ 91545 w 416823"/>
                <a:gd name="connsiteY11" fmla="*/ 205835 h 329565"/>
                <a:gd name="connsiteX12" fmla="*/ 106147 w 416823"/>
                <a:gd name="connsiteY12" fmla="*/ 187347 h 329565"/>
                <a:gd name="connsiteX13" fmla="*/ 106070 w 416823"/>
                <a:gd name="connsiteY13" fmla="*/ 123054 h 329565"/>
                <a:gd name="connsiteX14" fmla="*/ 143732 w 416823"/>
                <a:gd name="connsiteY14" fmla="*/ 110509 h 329565"/>
                <a:gd name="connsiteX15" fmla="*/ 221056 w 416823"/>
                <a:gd name="connsiteY15" fmla="*/ 54788 h 329565"/>
                <a:gd name="connsiteX16" fmla="*/ 312573 w 416823"/>
                <a:gd name="connsiteY16" fmla="*/ 0 h 329565"/>
                <a:gd name="connsiteX17" fmla="*/ 354816 w 416823"/>
                <a:gd name="connsiteY17" fmla="*/ 12459 h 329565"/>
                <a:gd name="connsiteX18" fmla="*/ 369836 w 416823"/>
                <a:gd name="connsiteY18" fmla="*/ 28280 h 329565"/>
                <a:gd name="connsiteX19" fmla="*/ 388734 w 416823"/>
                <a:gd name="connsiteY19" fmla="*/ 17583 h 329565"/>
                <a:gd name="connsiteX20" fmla="*/ 395297 w 416823"/>
                <a:gd name="connsiteY20" fmla="*/ 62132 h 329565"/>
                <a:gd name="connsiteX21" fmla="*/ 405289 w 416823"/>
                <a:gd name="connsiteY21" fmla="*/ 69533 h 329565"/>
                <a:gd name="connsiteX22" fmla="*/ 405717 w 416823"/>
                <a:gd name="connsiteY22" fmla="*/ 78572 h 329565"/>
                <a:gd name="connsiteX23" fmla="*/ 416824 w 416823"/>
                <a:gd name="connsiteY23" fmla="*/ 88287 h 329565"/>
                <a:gd name="connsiteX24" fmla="*/ 411013 w 416823"/>
                <a:gd name="connsiteY24" fmla="*/ 100460 h 329565"/>
                <a:gd name="connsiteX25" fmla="*/ 400726 w 416823"/>
                <a:gd name="connsiteY25" fmla="*/ 157420 h 329565"/>
                <a:gd name="connsiteX26" fmla="*/ 399317 w 416823"/>
                <a:gd name="connsiteY26" fmla="*/ 193577 h 329565"/>
                <a:gd name="connsiteX27" fmla="*/ 365255 w 416823"/>
                <a:gd name="connsiteY27" fmla="*/ 219637 h 329565"/>
                <a:gd name="connsiteX28" fmla="*/ 353721 w 416823"/>
                <a:gd name="connsiteY28" fmla="*/ 255832 h 329565"/>
                <a:gd name="connsiteX29" fmla="*/ 364845 w 416823"/>
                <a:gd name="connsiteY29" fmla="*/ 265967 h 329565"/>
                <a:gd name="connsiteX30" fmla="*/ 364779 w 416823"/>
                <a:gd name="connsiteY30" fmla="*/ 283540 h 329565"/>
                <a:gd name="connsiteX31" fmla="*/ 381905 w 416823"/>
                <a:gd name="connsiteY31" fmla="*/ 284169 h 329565"/>
                <a:gd name="connsiteX32" fmla="*/ 379238 w 416823"/>
                <a:gd name="connsiteY32" fmla="*/ 296999 h 329565"/>
                <a:gd name="connsiteX33" fmla="*/ 371694 w 416823"/>
                <a:gd name="connsiteY33" fmla="*/ 298561 h 329565"/>
                <a:gd name="connsiteX34" fmla="*/ 370837 w 416823"/>
                <a:gd name="connsiteY34" fmla="*/ 307219 h 329565"/>
                <a:gd name="connsiteX35" fmla="*/ 365874 w 416823"/>
                <a:gd name="connsiteY35" fmla="*/ 307820 h 329565"/>
                <a:gd name="connsiteX36" fmla="*/ 347805 w 416823"/>
                <a:gd name="connsiteY36" fmla="*/ 278006 h 329565"/>
                <a:gd name="connsiteX37" fmla="*/ 341528 w 416823"/>
                <a:gd name="connsiteY37" fmla="*/ 276911 h 329565"/>
                <a:gd name="connsiteX38" fmla="*/ 320650 w 416823"/>
                <a:gd name="connsiteY38" fmla="*/ 292160 h 329565"/>
                <a:gd name="connsiteX39" fmla="*/ 299971 w 416823"/>
                <a:gd name="connsiteY39" fmla="*/ 284207 h 329565"/>
                <a:gd name="connsiteX40" fmla="*/ 285598 w 416823"/>
                <a:gd name="connsiteY40" fmla="*/ 282616 h 329565"/>
                <a:gd name="connsiteX41" fmla="*/ 277892 w 416823"/>
                <a:gd name="connsiteY41" fmla="*/ 286445 h 329565"/>
                <a:gd name="connsiteX42" fmla="*/ 262233 w 416823"/>
                <a:gd name="connsiteY42" fmla="*/ 285617 h 329565"/>
                <a:gd name="connsiteX43" fmla="*/ 246479 w 416823"/>
                <a:gd name="connsiteY43" fmla="*/ 297228 h 329565"/>
                <a:gd name="connsiteX44" fmla="*/ 232858 w 416823"/>
                <a:gd name="connsiteY44" fmla="*/ 297885 h 329565"/>
                <a:gd name="connsiteX45" fmla="*/ 200539 w 416823"/>
                <a:gd name="connsiteY45" fmla="*/ 283807 h 329565"/>
                <a:gd name="connsiteX46" fmla="*/ 187881 w 416823"/>
                <a:gd name="connsiteY46" fmla="*/ 290503 h 329565"/>
                <a:gd name="connsiteX47" fmla="*/ 174250 w 416823"/>
                <a:gd name="connsiteY47" fmla="*/ 290036 h 329565"/>
                <a:gd name="connsiteX48" fmla="*/ 164240 w 416823"/>
                <a:gd name="connsiteY48" fmla="*/ 279740 h 329565"/>
                <a:gd name="connsiteX49" fmla="*/ 137474 w 416823"/>
                <a:gd name="connsiteY49" fmla="*/ 269548 h 329565"/>
                <a:gd name="connsiteX50" fmla="*/ 108766 w 416823"/>
                <a:gd name="connsiteY50" fmla="*/ 272787 h 329565"/>
                <a:gd name="connsiteX51" fmla="*/ 101813 w 416823"/>
                <a:gd name="connsiteY51" fmla="*/ 278692 h 329565"/>
                <a:gd name="connsiteX52" fmla="*/ 98050 w 416823"/>
                <a:gd name="connsiteY52" fmla="*/ 294370 h 329565"/>
                <a:gd name="connsiteX53" fmla="*/ 90402 w 416823"/>
                <a:gd name="connsiteY53" fmla="*/ 305343 h 329565"/>
                <a:gd name="connsiteX54" fmla="*/ 88544 w 416823"/>
                <a:gd name="connsiteY54" fmla="*/ 329565 h 329565"/>
                <a:gd name="connsiteX55" fmla="*/ 68180 w 416823"/>
                <a:gd name="connsiteY55" fmla="*/ 313954 h 329565"/>
                <a:gd name="connsiteX56" fmla="*/ 58607 w 416823"/>
                <a:gd name="connsiteY56" fmla="*/ 314030 h 329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16823" h="329565">
                  <a:moveTo>
                    <a:pt x="49644" y="321974"/>
                  </a:moveTo>
                  <a:lnTo>
                    <a:pt x="50244" y="303381"/>
                  </a:lnTo>
                  <a:lnTo>
                    <a:pt x="19460" y="297209"/>
                  </a:lnTo>
                  <a:lnTo>
                    <a:pt x="18621" y="284016"/>
                  </a:lnTo>
                  <a:lnTo>
                    <a:pt x="3581" y="266186"/>
                  </a:lnTo>
                  <a:lnTo>
                    <a:pt x="0" y="253717"/>
                  </a:lnTo>
                  <a:lnTo>
                    <a:pt x="2114" y="240421"/>
                  </a:lnTo>
                  <a:lnTo>
                    <a:pt x="19231" y="239335"/>
                  </a:lnTo>
                  <a:lnTo>
                    <a:pt x="29108" y="229572"/>
                  </a:lnTo>
                  <a:lnTo>
                    <a:pt x="65542" y="227209"/>
                  </a:lnTo>
                  <a:lnTo>
                    <a:pt x="89268" y="222838"/>
                  </a:lnTo>
                  <a:lnTo>
                    <a:pt x="91545" y="205835"/>
                  </a:lnTo>
                  <a:lnTo>
                    <a:pt x="106147" y="187347"/>
                  </a:lnTo>
                  <a:lnTo>
                    <a:pt x="106070" y="123054"/>
                  </a:lnTo>
                  <a:lnTo>
                    <a:pt x="143732" y="110509"/>
                  </a:lnTo>
                  <a:lnTo>
                    <a:pt x="221056" y="54788"/>
                  </a:lnTo>
                  <a:lnTo>
                    <a:pt x="312573" y="0"/>
                  </a:lnTo>
                  <a:lnTo>
                    <a:pt x="354816" y="12459"/>
                  </a:lnTo>
                  <a:lnTo>
                    <a:pt x="369836" y="28280"/>
                  </a:lnTo>
                  <a:lnTo>
                    <a:pt x="388734" y="17583"/>
                  </a:lnTo>
                  <a:lnTo>
                    <a:pt x="395297" y="62132"/>
                  </a:lnTo>
                  <a:lnTo>
                    <a:pt x="405289" y="69533"/>
                  </a:lnTo>
                  <a:lnTo>
                    <a:pt x="405717" y="78572"/>
                  </a:lnTo>
                  <a:lnTo>
                    <a:pt x="416824" y="88287"/>
                  </a:lnTo>
                  <a:lnTo>
                    <a:pt x="411013" y="100460"/>
                  </a:lnTo>
                  <a:lnTo>
                    <a:pt x="400726" y="157420"/>
                  </a:lnTo>
                  <a:lnTo>
                    <a:pt x="399317" y="193577"/>
                  </a:lnTo>
                  <a:lnTo>
                    <a:pt x="365255" y="219637"/>
                  </a:lnTo>
                  <a:lnTo>
                    <a:pt x="353721" y="255832"/>
                  </a:lnTo>
                  <a:lnTo>
                    <a:pt x="364845" y="265967"/>
                  </a:lnTo>
                  <a:lnTo>
                    <a:pt x="364779" y="283540"/>
                  </a:lnTo>
                  <a:lnTo>
                    <a:pt x="381905" y="284169"/>
                  </a:lnTo>
                  <a:lnTo>
                    <a:pt x="379238" y="296999"/>
                  </a:lnTo>
                  <a:lnTo>
                    <a:pt x="371694" y="298561"/>
                  </a:lnTo>
                  <a:lnTo>
                    <a:pt x="370837" y="307219"/>
                  </a:lnTo>
                  <a:lnTo>
                    <a:pt x="365874" y="307820"/>
                  </a:lnTo>
                  <a:lnTo>
                    <a:pt x="347805" y="278006"/>
                  </a:lnTo>
                  <a:lnTo>
                    <a:pt x="341528" y="276911"/>
                  </a:lnTo>
                  <a:lnTo>
                    <a:pt x="320650" y="292160"/>
                  </a:lnTo>
                  <a:lnTo>
                    <a:pt x="299971" y="284207"/>
                  </a:lnTo>
                  <a:lnTo>
                    <a:pt x="285598" y="282616"/>
                  </a:lnTo>
                  <a:lnTo>
                    <a:pt x="277892" y="286445"/>
                  </a:lnTo>
                  <a:lnTo>
                    <a:pt x="262233" y="285617"/>
                  </a:lnTo>
                  <a:lnTo>
                    <a:pt x="246479" y="297228"/>
                  </a:lnTo>
                  <a:lnTo>
                    <a:pt x="232858" y="297885"/>
                  </a:lnTo>
                  <a:lnTo>
                    <a:pt x="200539" y="283807"/>
                  </a:lnTo>
                  <a:lnTo>
                    <a:pt x="187881" y="290503"/>
                  </a:lnTo>
                  <a:lnTo>
                    <a:pt x="174250" y="290036"/>
                  </a:lnTo>
                  <a:lnTo>
                    <a:pt x="164240" y="279740"/>
                  </a:lnTo>
                  <a:lnTo>
                    <a:pt x="137474" y="269548"/>
                  </a:lnTo>
                  <a:lnTo>
                    <a:pt x="108766" y="272787"/>
                  </a:lnTo>
                  <a:lnTo>
                    <a:pt x="101813" y="278692"/>
                  </a:lnTo>
                  <a:lnTo>
                    <a:pt x="98050" y="294370"/>
                  </a:lnTo>
                  <a:lnTo>
                    <a:pt x="90402" y="305343"/>
                  </a:lnTo>
                  <a:lnTo>
                    <a:pt x="88544" y="329565"/>
                  </a:lnTo>
                  <a:lnTo>
                    <a:pt x="68180" y="313954"/>
                  </a:lnTo>
                  <a:lnTo>
                    <a:pt x="58607" y="31403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orme libre : forme 5766">
              <a:extLst>
                <a:ext uri="{FF2B5EF4-FFF2-40B4-BE49-F238E27FC236}">
                  <a16:creationId xmlns:a16="http://schemas.microsoft.com/office/drawing/2014/main" id="{FE483161-0828-FF23-57C0-50F9621A11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892783" y="4371131"/>
              <a:ext cx="317420" cy="258927"/>
            </a:xfrm>
            <a:custGeom>
              <a:avLst/>
              <a:gdLst>
                <a:gd name="connsiteX0" fmla="*/ 155124 w 317420"/>
                <a:gd name="connsiteY0" fmla="*/ 244783 h 258927"/>
                <a:gd name="connsiteX1" fmla="*/ 127406 w 317420"/>
                <a:gd name="connsiteY1" fmla="*/ 254365 h 258927"/>
                <a:gd name="connsiteX2" fmla="*/ 117262 w 317420"/>
                <a:gd name="connsiteY2" fmla="*/ 252965 h 258927"/>
                <a:gd name="connsiteX3" fmla="*/ 106994 w 317420"/>
                <a:gd name="connsiteY3" fmla="*/ 258928 h 258927"/>
                <a:gd name="connsiteX4" fmla="*/ 85639 w 317420"/>
                <a:gd name="connsiteY4" fmla="*/ 258346 h 258927"/>
                <a:gd name="connsiteX5" fmla="*/ 71342 w 317420"/>
                <a:gd name="connsiteY5" fmla="*/ 241697 h 258927"/>
                <a:gd name="connsiteX6" fmla="*/ 62541 w 317420"/>
                <a:gd name="connsiteY6" fmla="*/ 222409 h 258927"/>
                <a:gd name="connsiteX7" fmla="*/ 43634 w 317420"/>
                <a:gd name="connsiteY7" fmla="*/ 204835 h 258927"/>
                <a:gd name="connsiteX8" fmla="*/ 23565 w 317420"/>
                <a:gd name="connsiteY8" fmla="*/ 205169 h 258927"/>
                <a:gd name="connsiteX9" fmla="*/ 0 w 317420"/>
                <a:gd name="connsiteY9" fmla="*/ 205149 h 258927"/>
                <a:gd name="connsiteX10" fmla="*/ 1534 w 317420"/>
                <a:gd name="connsiteY10" fmla="*/ 162068 h 258927"/>
                <a:gd name="connsiteX11" fmla="*/ 858 w 317420"/>
                <a:gd name="connsiteY11" fmla="*/ 145009 h 258927"/>
                <a:gd name="connsiteX12" fmla="*/ 5887 w 317420"/>
                <a:gd name="connsiteY12" fmla="*/ 128073 h 258927"/>
                <a:gd name="connsiteX13" fmla="*/ 14116 w 317420"/>
                <a:gd name="connsiteY13" fmla="*/ 119834 h 258927"/>
                <a:gd name="connsiteX14" fmla="*/ 27080 w 317420"/>
                <a:gd name="connsiteY14" fmla="*/ 103165 h 258927"/>
                <a:gd name="connsiteX15" fmla="*/ 24260 w 317420"/>
                <a:gd name="connsiteY15" fmla="*/ 95917 h 258927"/>
                <a:gd name="connsiteX16" fmla="*/ 29518 w 317420"/>
                <a:gd name="connsiteY16" fmla="*/ 85049 h 258927"/>
                <a:gd name="connsiteX17" fmla="*/ 23517 w 317420"/>
                <a:gd name="connsiteY17" fmla="*/ 69009 h 258927"/>
                <a:gd name="connsiteX18" fmla="*/ 24555 w 317420"/>
                <a:gd name="connsiteY18" fmla="*/ 60017 h 258927"/>
                <a:gd name="connsiteX19" fmla="*/ 26413 w 317420"/>
                <a:gd name="connsiteY19" fmla="*/ 35795 h 258927"/>
                <a:gd name="connsiteX20" fmla="*/ 34062 w 317420"/>
                <a:gd name="connsiteY20" fmla="*/ 24822 h 258927"/>
                <a:gd name="connsiteX21" fmla="*/ 37824 w 317420"/>
                <a:gd name="connsiteY21" fmla="*/ 9144 h 258927"/>
                <a:gd name="connsiteX22" fmla="*/ 44777 w 317420"/>
                <a:gd name="connsiteY22" fmla="*/ 3238 h 258927"/>
                <a:gd name="connsiteX23" fmla="*/ 73486 w 317420"/>
                <a:gd name="connsiteY23" fmla="*/ 0 h 258927"/>
                <a:gd name="connsiteX24" fmla="*/ 100251 w 317420"/>
                <a:gd name="connsiteY24" fmla="*/ 10192 h 258927"/>
                <a:gd name="connsiteX25" fmla="*/ 110262 w 317420"/>
                <a:gd name="connsiteY25" fmla="*/ 20488 h 258927"/>
                <a:gd name="connsiteX26" fmla="*/ 123892 w 317420"/>
                <a:gd name="connsiteY26" fmla="*/ 20955 h 258927"/>
                <a:gd name="connsiteX27" fmla="*/ 136550 w 317420"/>
                <a:gd name="connsiteY27" fmla="*/ 14259 h 258927"/>
                <a:gd name="connsiteX28" fmla="*/ 168869 w 317420"/>
                <a:gd name="connsiteY28" fmla="*/ 28337 h 258927"/>
                <a:gd name="connsiteX29" fmla="*/ 182490 w 317420"/>
                <a:gd name="connsiteY29" fmla="*/ 27680 h 258927"/>
                <a:gd name="connsiteX30" fmla="*/ 198244 w 317420"/>
                <a:gd name="connsiteY30" fmla="*/ 16068 h 258927"/>
                <a:gd name="connsiteX31" fmla="*/ 213903 w 317420"/>
                <a:gd name="connsiteY31" fmla="*/ 16897 h 258927"/>
                <a:gd name="connsiteX32" fmla="*/ 221609 w 317420"/>
                <a:gd name="connsiteY32" fmla="*/ 13068 h 258927"/>
                <a:gd name="connsiteX33" fmla="*/ 235982 w 317420"/>
                <a:gd name="connsiteY33" fmla="*/ 14659 h 258927"/>
                <a:gd name="connsiteX34" fmla="*/ 256661 w 317420"/>
                <a:gd name="connsiteY34" fmla="*/ 22612 h 258927"/>
                <a:gd name="connsiteX35" fmla="*/ 277539 w 317420"/>
                <a:gd name="connsiteY35" fmla="*/ 7363 h 258927"/>
                <a:gd name="connsiteX36" fmla="*/ 283816 w 317420"/>
                <a:gd name="connsiteY36" fmla="*/ 8458 h 258927"/>
                <a:gd name="connsiteX37" fmla="*/ 301886 w 317420"/>
                <a:gd name="connsiteY37" fmla="*/ 38272 h 258927"/>
                <a:gd name="connsiteX38" fmla="*/ 306848 w 317420"/>
                <a:gd name="connsiteY38" fmla="*/ 37671 h 258927"/>
                <a:gd name="connsiteX39" fmla="*/ 317421 w 317420"/>
                <a:gd name="connsiteY39" fmla="*/ 48492 h 258927"/>
                <a:gd name="connsiteX40" fmla="*/ 314516 w 317420"/>
                <a:gd name="connsiteY40" fmla="*/ 53387 h 258927"/>
                <a:gd name="connsiteX41" fmla="*/ 313097 w 317420"/>
                <a:gd name="connsiteY41" fmla="*/ 62398 h 258927"/>
                <a:gd name="connsiteX42" fmla="*/ 290608 w 317420"/>
                <a:gd name="connsiteY42" fmla="*/ 83325 h 258927"/>
                <a:gd name="connsiteX43" fmla="*/ 283540 w 317420"/>
                <a:gd name="connsiteY43" fmla="*/ 100546 h 258927"/>
                <a:gd name="connsiteX44" fmla="*/ 279778 w 317420"/>
                <a:gd name="connsiteY44" fmla="*/ 114548 h 258927"/>
                <a:gd name="connsiteX45" fmla="*/ 274111 w 317420"/>
                <a:gd name="connsiteY45" fmla="*/ 120539 h 258927"/>
                <a:gd name="connsiteX46" fmla="*/ 268719 w 317420"/>
                <a:gd name="connsiteY46" fmla="*/ 139351 h 258927"/>
                <a:gd name="connsiteX47" fmla="*/ 254441 w 317420"/>
                <a:gd name="connsiteY47" fmla="*/ 150400 h 258927"/>
                <a:gd name="connsiteX48" fmla="*/ 250308 w 317420"/>
                <a:gd name="connsiteY48" fmla="*/ 163963 h 258927"/>
                <a:gd name="connsiteX49" fmla="*/ 244307 w 317420"/>
                <a:gd name="connsiteY49" fmla="*/ 174746 h 258927"/>
                <a:gd name="connsiteX50" fmla="*/ 241811 w 317420"/>
                <a:gd name="connsiteY50" fmla="*/ 185861 h 258927"/>
                <a:gd name="connsiteX51" fmla="*/ 223457 w 317420"/>
                <a:gd name="connsiteY51" fmla="*/ 194863 h 258927"/>
                <a:gd name="connsiteX52" fmla="*/ 208464 w 317420"/>
                <a:gd name="connsiteY52" fmla="*/ 183880 h 258927"/>
                <a:gd name="connsiteX53" fmla="*/ 198339 w 317420"/>
                <a:gd name="connsiteY53" fmla="*/ 184318 h 258927"/>
                <a:gd name="connsiteX54" fmla="*/ 182432 w 317420"/>
                <a:gd name="connsiteY54" fmla="*/ 199958 h 258927"/>
                <a:gd name="connsiteX55" fmla="*/ 174708 w 317420"/>
                <a:gd name="connsiteY55" fmla="*/ 200197 h 258927"/>
                <a:gd name="connsiteX56" fmla="*/ 162001 w 317420"/>
                <a:gd name="connsiteY56" fmla="*/ 225933 h 258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17420" h="258927">
                  <a:moveTo>
                    <a:pt x="155124" y="244783"/>
                  </a:moveTo>
                  <a:lnTo>
                    <a:pt x="127406" y="254365"/>
                  </a:lnTo>
                  <a:lnTo>
                    <a:pt x="117262" y="252965"/>
                  </a:lnTo>
                  <a:lnTo>
                    <a:pt x="106994" y="258928"/>
                  </a:lnTo>
                  <a:lnTo>
                    <a:pt x="85639" y="258346"/>
                  </a:lnTo>
                  <a:lnTo>
                    <a:pt x="71342" y="241697"/>
                  </a:lnTo>
                  <a:lnTo>
                    <a:pt x="62541" y="222409"/>
                  </a:lnTo>
                  <a:lnTo>
                    <a:pt x="43634" y="204835"/>
                  </a:lnTo>
                  <a:lnTo>
                    <a:pt x="23565" y="205169"/>
                  </a:lnTo>
                  <a:lnTo>
                    <a:pt x="0" y="205149"/>
                  </a:lnTo>
                  <a:lnTo>
                    <a:pt x="1534" y="162068"/>
                  </a:lnTo>
                  <a:lnTo>
                    <a:pt x="858" y="145009"/>
                  </a:lnTo>
                  <a:lnTo>
                    <a:pt x="5887" y="128073"/>
                  </a:lnTo>
                  <a:lnTo>
                    <a:pt x="14116" y="119834"/>
                  </a:lnTo>
                  <a:lnTo>
                    <a:pt x="27080" y="103165"/>
                  </a:lnTo>
                  <a:lnTo>
                    <a:pt x="24260" y="95917"/>
                  </a:lnTo>
                  <a:lnTo>
                    <a:pt x="29518" y="85049"/>
                  </a:lnTo>
                  <a:lnTo>
                    <a:pt x="23517" y="69009"/>
                  </a:lnTo>
                  <a:lnTo>
                    <a:pt x="24555" y="60017"/>
                  </a:lnTo>
                  <a:lnTo>
                    <a:pt x="26413" y="35795"/>
                  </a:lnTo>
                  <a:lnTo>
                    <a:pt x="34062" y="24822"/>
                  </a:lnTo>
                  <a:lnTo>
                    <a:pt x="37824" y="9144"/>
                  </a:lnTo>
                  <a:lnTo>
                    <a:pt x="44777" y="3238"/>
                  </a:lnTo>
                  <a:lnTo>
                    <a:pt x="73486" y="0"/>
                  </a:lnTo>
                  <a:lnTo>
                    <a:pt x="100251" y="10192"/>
                  </a:lnTo>
                  <a:lnTo>
                    <a:pt x="110262" y="20488"/>
                  </a:lnTo>
                  <a:lnTo>
                    <a:pt x="123892" y="20955"/>
                  </a:lnTo>
                  <a:lnTo>
                    <a:pt x="136550" y="14259"/>
                  </a:lnTo>
                  <a:lnTo>
                    <a:pt x="168869" y="28337"/>
                  </a:lnTo>
                  <a:lnTo>
                    <a:pt x="182490" y="27680"/>
                  </a:lnTo>
                  <a:lnTo>
                    <a:pt x="198244" y="16068"/>
                  </a:lnTo>
                  <a:lnTo>
                    <a:pt x="213903" y="16897"/>
                  </a:lnTo>
                  <a:lnTo>
                    <a:pt x="221609" y="13068"/>
                  </a:lnTo>
                  <a:lnTo>
                    <a:pt x="235982" y="14659"/>
                  </a:lnTo>
                  <a:lnTo>
                    <a:pt x="256661" y="22612"/>
                  </a:lnTo>
                  <a:lnTo>
                    <a:pt x="277539" y="7363"/>
                  </a:lnTo>
                  <a:lnTo>
                    <a:pt x="283816" y="8458"/>
                  </a:lnTo>
                  <a:lnTo>
                    <a:pt x="301886" y="38272"/>
                  </a:lnTo>
                  <a:lnTo>
                    <a:pt x="306848" y="37671"/>
                  </a:lnTo>
                  <a:lnTo>
                    <a:pt x="317421" y="48492"/>
                  </a:lnTo>
                  <a:lnTo>
                    <a:pt x="314516" y="53387"/>
                  </a:lnTo>
                  <a:lnTo>
                    <a:pt x="313097" y="62398"/>
                  </a:lnTo>
                  <a:lnTo>
                    <a:pt x="290608" y="83325"/>
                  </a:lnTo>
                  <a:lnTo>
                    <a:pt x="283540" y="100546"/>
                  </a:lnTo>
                  <a:lnTo>
                    <a:pt x="279778" y="114548"/>
                  </a:lnTo>
                  <a:lnTo>
                    <a:pt x="274111" y="120539"/>
                  </a:lnTo>
                  <a:lnTo>
                    <a:pt x="268719" y="139351"/>
                  </a:lnTo>
                  <a:lnTo>
                    <a:pt x="254441" y="150400"/>
                  </a:lnTo>
                  <a:lnTo>
                    <a:pt x="250308" y="163963"/>
                  </a:lnTo>
                  <a:lnTo>
                    <a:pt x="244307" y="174746"/>
                  </a:lnTo>
                  <a:lnTo>
                    <a:pt x="241811" y="185861"/>
                  </a:lnTo>
                  <a:lnTo>
                    <a:pt x="223457" y="194863"/>
                  </a:lnTo>
                  <a:lnTo>
                    <a:pt x="208464" y="183880"/>
                  </a:lnTo>
                  <a:lnTo>
                    <a:pt x="198339" y="184318"/>
                  </a:lnTo>
                  <a:lnTo>
                    <a:pt x="182432" y="199958"/>
                  </a:lnTo>
                  <a:lnTo>
                    <a:pt x="174708" y="200197"/>
                  </a:lnTo>
                  <a:lnTo>
                    <a:pt x="162001" y="22593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orme libre : forme 5767">
              <a:extLst>
                <a:ext uri="{FF2B5EF4-FFF2-40B4-BE49-F238E27FC236}">
                  <a16:creationId xmlns:a16="http://schemas.microsoft.com/office/drawing/2014/main" id="{007F1B73-CBF8-82FD-AA45-3AFC2EC882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479558" y="4339603"/>
              <a:ext cx="120758" cy="116795"/>
            </a:xfrm>
            <a:custGeom>
              <a:avLst/>
              <a:gdLst>
                <a:gd name="connsiteX0" fmla="*/ 52245 w 120758"/>
                <a:gd name="connsiteY0" fmla="*/ 107023 h 116795"/>
                <a:gd name="connsiteX1" fmla="*/ 43005 w 120758"/>
                <a:gd name="connsiteY1" fmla="*/ 98498 h 116795"/>
                <a:gd name="connsiteX2" fmla="*/ 30518 w 120758"/>
                <a:gd name="connsiteY2" fmla="*/ 87573 h 116795"/>
                <a:gd name="connsiteX3" fmla="*/ 24641 w 120758"/>
                <a:gd name="connsiteY3" fmla="*/ 78429 h 116795"/>
                <a:gd name="connsiteX4" fmla="*/ 13383 w 120758"/>
                <a:gd name="connsiteY4" fmla="*/ 69894 h 116795"/>
                <a:gd name="connsiteX5" fmla="*/ 0 w 120758"/>
                <a:gd name="connsiteY5" fmla="*/ 57607 h 116795"/>
                <a:gd name="connsiteX6" fmla="*/ 2972 w 120758"/>
                <a:gd name="connsiteY6" fmla="*/ 53397 h 116795"/>
                <a:gd name="connsiteX7" fmla="*/ 7382 w 120758"/>
                <a:gd name="connsiteY7" fmla="*/ 57493 h 116795"/>
                <a:gd name="connsiteX8" fmla="*/ 9401 w 120758"/>
                <a:gd name="connsiteY8" fmla="*/ 55569 h 116795"/>
                <a:gd name="connsiteX9" fmla="*/ 17707 w 120758"/>
                <a:gd name="connsiteY9" fmla="*/ 54454 h 116795"/>
                <a:gd name="connsiteX10" fmla="*/ 21050 w 120758"/>
                <a:gd name="connsiteY10" fmla="*/ 48225 h 116795"/>
                <a:gd name="connsiteX11" fmla="*/ 24965 w 120758"/>
                <a:gd name="connsiteY11" fmla="*/ 47977 h 116795"/>
                <a:gd name="connsiteX12" fmla="*/ 24394 w 120758"/>
                <a:gd name="connsiteY12" fmla="*/ 34557 h 116795"/>
                <a:gd name="connsiteX13" fmla="*/ 30661 w 120758"/>
                <a:gd name="connsiteY13" fmla="*/ 33919 h 116795"/>
                <a:gd name="connsiteX14" fmla="*/ 36233 w 120758"/>
                <a:gd name="connsiteY14" fmla="*/ 34109 h 116795"/>
                <a:gd name="connsiteX15" fmla="*/ 41996 w 120758"/>
                <a:gd name="connsiteY15" fmla="*/ 26813 h 116795"/>
                <a:gd name="connsiteX16" fmla="*/ 49873 w 120758"/>
                <a:gd name="connsiteY16" fmla="*/ 32337 h 116795"/>
                <a:gd name="connsiteX17" fmla="*/ 52616 w 120758"/>
                <a:gd name="connsiteY17" fmla="*/ 28946 h 116795"/>
                <a:gd name="connsiteX18" fmla="*/ 57531 w 120758"/>
                <a:gd name="connsiteY18" fmla="*/ 25698 h 116795"/>
                <a:gd name="connsiteX19" fmla="*/ 66856 w 120758"/>
                <a:gd name="connsiteY19" fmla="*/ 18164 h 116795"/>
                <a:gd name="connsiteX20" fmla="*/ 67294 w 120758"/>
                <a:gd name="connsiteY20" fmla="*/ 12516 h 116795"/>
                <a:gd name="connsiteX21" fmla="*/ 69856 w 120758"/>
                <a:gd name="connsiteY21" fmla="*/ 12754 h 116795"/>
                <a:gd name="connsiteX22" fmla="*/ 73285 w 120758"/>
                <a:gd name="connsiteY22" fmla="*/ 6201 h 116795"/>
                <a:gd name="connsiteX23" fmla="*/ 76076 w 120758"/>
                <a:gd name="connsiteY23" fmla="*/ 5401 h 116795"/>
                <a:gd name="connsiteX24" fmla="*/ 80629 w 120758"/>
                <a:gd name="connsiteY24" fmla="*/ 9592 h 116795"/>
                <a:gd name="connsiteX25" fmla="*/ 85982 w 120758"/>
                <a:gd name="connsiteY25" fmla="*/ 10839 h 116795"/>
                <a:gd name="connsiteX26" fmla="*/ 91878 w 120758"/>
                <a:gd name="connsiteY26" fmla="*/ 7344 h 116795"/>
                <a:gd name="connsiteX27" fmla="*/ 98622 w 120758"/>
                <a:gd name="connsiteY27" fmla="*/ 7325 h 116795"/>
                <a:gd name="connsiteX28" fmla="*/ 107899 w 120758"/>
                <a:gd name="connsiteY28" fmla="*/ 3743 h 116795"/>
                <a:gd name="connsiteX29" fmla="*/ 111595 w 120758"/>
                <a:gd name="connsiteY29" fmla="*/ 0 h 116795"/>
                <a:gd name="connsiteX30" fmla="*/ 120758 w 120758"/>
                <a:gd name="connsiteY30" fmla="*/ 562 h 116795"/>
                <a:gd name="connsiteX31" fmla="*/ 118453 w 120758"/>
                <a:gd name="connsiteY31" fmla="*/ 3200 h 116795"/>
                <a:gd name="connsiteX32" fmla="*/ 117091 w 120758"/>
                <a:gd name="connsiteY32" fmla="*/ 9325 h 116795"/>
                <a:gd name="connsiteX33" fmla="*/ 119815 w 120758"/>
                <a:gd name="connsiteY33" fmla="*/ 19355 h 116795"/>
                <a:gd name="connsiteX34" fmla="*/ 113662 w 120758"/>
                <a:gd name="connsiteY34" fmla="*/ 28680 h 116795"/>
                <a:gd name="connsiteX35" fmla="*/ 110804 w 120758"/>
                <a:gd name="connsiteY35" fmla="*/ 39671 h 116795"/>
                <a:gd name="connsiteX36" fmla="*/ 109938 w 120758"/>
                <a:gd name="connsiteY36" fmla="*/ 51692 h 116795"/>
                <a:gd name="connsiteX37" fmla="*/ 111366 w 120758"/>
                <a:gd name="connsiteY37" fmla="*/ 58712 h 116795"/>
                <a:gd name="connsiteX38" fmla="*/ 112043 w 120758"/>
                <a:gd name="connsiteY38" fmla="*/ 70961 h 116795"/>
                <a:gd name="connsiteX39" fmla="*/ 107966 w 120758"/>
                <a:gd name="connsiteY39" fmla="*/ 73619 h 116795"/>
                <a:gd name="connsiteX40" fmla="*/ 105470 w 120758"/>
                <a:gd name="connsiteY40" fmla="*/ 85230 h 116795"/>
                <a:gd name="connsiteX41" fmla="*/ 107299 w 120758"/>
                <a:gd name="connsiteY41" fmla="*/ 92392 h 116795"/>
                <a:gd name="connsiteX42" fmla="*/ 101841 w 120758"/>
                <a:gd name="connsiteY42" fmla="*/ 99317 h 116795"/>
                <a:gd name="connsiteX43" fmla="*/ 103080 w 120758"/>
                <a:gd name="connsiteY43" fmla="*/ 106623 h 116795"/>
                <a:gd name="connsiteX44" fmla="*/ 107175 w 120758"/>
                <a:gd name="connsiteY44" fmla="*/ 111062 h 116795"/>
                <a:gd name="connsiteX45" fmla="*/ 100775 w 120758"/>
                <a:gd name="connsiteY45" fmla="*/ 116795 h 116795"/>
                <a:gd name="connsiteX46" fmla="*/ 92897 w 120758"/>
                <a:gd name="connsiteY46" fmla="*/ 114995 h 116795"/>
                <a:gd name="connsiteX47" fmla="*/ 88468 w 120758"/>
                <a:gd name="connsiteY47" fmla="*/ 109433 h 116795"/>
                <a:gd name="connsiteX48" fmla="*/ 80000 w 120758"/>
                <a:gd name="connsiteY48" fmla="*/ 107175 h 116795"/>
                <a:gd name="connsiteX49" fmla="*/ 73857 w 120758"/>
                <a:gd name="connsiteY49" fmla="*/ 110699 h 116795"/>
                <a:gd name="connsiteX50" fmla="*/ 56264 w 120758"/>
                <a:gd name="connsiteY50" fmla="*/ 103537 h 116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20758" h="116795">
                  <a:moveTo>
                    <a:pt x="52245" y="107023"/>
                  </a:moveTo>
                  <a:lnTo>
                    <a:pt x="43005" y="98498"/>
                  </a:lnTo>
                  <a:lnTo>
                    <a:pt x="30518" y="87573"/>
                  </a:lnTo>
                  <a:lnTo>
                    <a:pt x="24641" y="78429"/>
                  </a:lnTo>
                  <a:lnTo>
                    <a:pt x="13383" y="69894"/>
                  </a:lnTo>
                  <a:lnTo>
                    <a:pt x="0" y="57607"/>
                  </a:lnTo>
                  <a:lnTo>
                    <a:pt x="2972" y="53397"/>
                  </a:lnTo>
                  <a:lnTo>
                    <a:pt x="7382" y="57493"/>
                  </a:lnTo>
                  <a:lnTo>
                    <a:pt x="9401" y="55569"/>
                  </a:lnTo>
                  <a:lnTo>
                    <a:pt x="17707" y="54454"/>
                  </a:lnTo>
                  <a:lnTo>
                    <a:pt x="21050" y="48225"/>
                  </a:lnTo>
                  <a:lnTo>
                    <a:pt x="24965" y="47977"/>
                  </a:lnTo>
                  <a:lnTo>
                    <a:pt x="24394" y="34557"/>
                  </a:lnTo>
                  <a:lnTo>
                    <a:pt x="30661" y="33919"/>
                  </a:lnTo>
                  <a:lnTo>
                    <a:pt x="36233" y="34109"/>
                  </a:lnTo>
                  <a:lnTo>
                    <a:pt x="41996" y="26813"/>
                  </a:lnTo>
                  <a:lnTo>
                    <a:pt x="49873" y="32337"/>
                  </a:lnTo>
                  <a:lnTo>
                    <a:pt x="52616" y="28946"/>
                  </a:lnTo>
                  <a:lnTo>
                    <a:pt x="57531" y="25698"/>
                  </a:lnTo>
                  <a:lnTo>
                    <a:pt x="66856" y="18164"/>
                  </a:lnTo>
                  <a:lnTo>
                    <a:pt x="67294" y="12516"/>
                  </a:lnTo>
                  <a:lnTo>
                    <a:pt x="69856" y="12754"/>
                  </a:lnTo>
                  <a:lnTo>
                    <a:pt x="73285" y="6201"/>
                  </a:lnTo>
                  <a:lnTo>
                    <a:pt x="76076" y="5401"/>
                  </a:lnTo>
                  <a:lnTo>
                    <a:pt x="80629" y="9592"/>
                  </a:lnTo>
                  <a:lnTo>
                    <a:pt x="85982" y="10839"/>
                  </a:lnTo>
                  <a:lnTo>
                    <a:pt x="91878" y="7344"/>
                  </a:lnTo>
                  <a:lnTo>
                    <a:pt x="98622" y="7325"/>
                  </a:lnTo>
                  <a:lnTo>
                    <a:pt x="107899" y="3743"/>
                  </a:lnTo>
                  <a:lnTo>
                    <a:pt x="111595" y="0"/>
                  </a:lnTo>
                  <a:lnTo>
                    <a:pt x="120758" y="562"/>
                  </a:lnTo>
                  <a:lnTo>
                    <a:pt x="118453" y="3200"/>
                  </a:lnTo>
                  <a:lnTo>
                    <a:pt x="117091" y="9325"/>
                  </a:lnTo>
                  <a:lnTo>
                    <a:pt x="119815" y="19355"/>
                  </a:lnTo>
                  <a:lnTo>
                    <a:pt x="113662" y="28680"/>
                  </a:lnTo>
                  <a:lnTo>
                    <a:pt x="110804" y="39671"/>
                  </a:lnTo>
                  <a:lnTo>
                    <a:pt x="109938" y="51692"/>
                  </a:lnTo>
                  <a:lnTo>
                    <a:pt x="111366" y="58712"/>
                  </a:lnTo>
                  <a:lnTo>
                    <a:pt x="112043" y="70961"/>
                  </a:lnTo>
                  <a:lnTo>
                    <a:pt x="107966" y="73619"/>
                  </a:lnTo>
                  <a:lnTo>
                    <a:pt x="105470" y="85230"/>
                  </a:lnTo>
                  <a:lnTo>
                    <a:pt x="107299" y="92392"/>
                  </a:lnTo>
                  <a:lnTo>
                    <a:pt x="101841" y="99317"/>
                  </a:lnTo>
                  <a:lnTo>
                    <a:pt x="103080" y="106623"/>
                  </a:lnTo>
                  <a:lnTo>
                    <a:pt x="107175" y="111062"/>
                  </a:lnTo>
                  <a:lnTo>
                    <a:pt x="100775" y="116795"/>
                  </a:lnTo>
                  <a:lnTo>
                    <a:pt x="92897" y="114995"/>
                  </a:lnTo>
                  <a:lnTo>
                    <a:pt x="88468" y="109433"/>
                  </a:lnTo>
                  <a:lnTo>
                    <a:pt x="80000" y="107175"/>
                  </a:lnTo>
                  <a:lnTo>
                    <a:pt x="73857" y="110699"/>
                  </a:lnTo>
                  <a:lnTo>
                    <a:pt x="56264" y="10353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orme libre : forme 5768">
              <a:extLst>
                <a:ext uri="{FF2B5EF4-FFF2-40B4-BE49-F238E27FC236}">
                  <a16:creationId xmlns:a16="http://schemas.microsoft.com/office/drawing/2014/main" id="{15E1BE1E-DC27-CF79-2FBD-3F7EE82D50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909433" y="3052823"/>
              <a:ext cx="100869" cy="117576"/>
            </a:xfrm>
            <a:custGeom>
              <a:avLst/>
              <a:gdLst>
                <a:gd name="connsiteX0" fmla="*/ 73685 w 100869"/>
                <a:gd name="connsiteY0" fmla="*/ 0 h 117576"/>
                <a:gd name="connsiteX1" fmla="*/ 95879 w 100869"/>
                <a:gd name="connsiteY1" fmla="*/ 1267 h 117576"/>
                <a:gd name="connsiteX2" fmla="*/ 100870 w 100869"/>
                <a:gd name="connsiteY2" fmla="*/ 16345 h 117576"/>
                <a:gd name="connsiteX3" fmla="*/ 94212 w 100869"/>
                <a:gd name="connsiteY3" fmla="*/ 56588 h 117576"/>
                <a:gd name="connsiteX4" fmla="*/ 87449 w 100869"/>
                <a:gd name="connsiteY4" fmla="*/ 72885 h 117576"/>
                <a:gd name="connsiteX5" fmla="*/ 71399 w 100869"/>
                <a:gd name="connsiteY5" fmla="*/ 72904 h 117576"/>
                <a:gd name="connsiteX6" fmla="*/ 75886 w 100869"/>
                <a:gd name="connsiteY6" fmla="*/ 117577 h 117576"/>
                <a:gd name="connsiteX7" fmla="*/ 61208 w 100869"/>
                <a:gd name="connsiteY7" fmla="*/ 107709 h 117576"/>
                <a:gd name="connsiteX8" fmla="*/ 44301 w 100869"/>
                <a:gd name="connsiteY8" fmla="*/ 89078 h 117576"/>
                <a:gd name="connsiteX9" fmla="*/ 19555 w 100869"/>
                <a:gd name="connsiteY9" fmla="*/ 97945 h 117576"/>
                <a:gd name="connsiteX10" fmla="*/ 0 w 100869"/>
                <a:gd name="connsiteY10" fmla="*/ 94593 h 117576"/>
                <a:gd name="connsiteX11" fmla="*/ 13764 w 100869"/>
                <a:gd name="connsiteY11" fmla="*/ 82839 h 117576"/>
                <a:gd name="connsiteX12" fmla="*/ 37147 w 100869"/>
                <a:gd name="connsiteY12" fmla="*/ 18669 h 117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869" h="117576">
                  <a:moveTo>
                    <a:pt x="73685" y="0"/>
                  </a:moveTo>
                  <a:lnTo>
                    <a:pt x="95879" y="1267"/>
                  </a:lnTo>
                  <a:lnTo>
                    <a:pt x="100870" y="16345"/>
                  </a:lnTo>
                  <a:lnTo>
                    <a:pt x="94212" y="56588"/>
                  </a:lnTo>
                  <a:lnTo>
                    <a:pt x="87449" y="72885"/>
                  </a:lnTo>
                  <a:lnTo>
                    <a:pt x="71399" y="72904"/>
                  </a:lnTo>
                  <a:lnTo>
                    <a:pt x="75886" y="117577"/>
                  </a:lnTo>
                  <a:lnTo>
                    <a:pt x="61208" y="107709"/>
                  </a:lnTo>
                  <a:lnTo>
                    <a:pt x="44301" y="89078"/>
                  </a:lnTo>
                  <a:lnTo>
                    <a:pt x="19555" y="97945"/>
                  </a:lnTo>
                  <a:lnTo>
                    <a:pt x="0" y="94593"/>
                  </a:lnTo>
                  <a:lnTo>
                    <a:pt x="13764" y="82839"/>
                  </a:lnTo>
                  <a:lnTo>
                    <a:pt x="37147" y="18669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orme libre : forme 5769">
              <a:extLst>
                <a:ext uri="{FF2B5EF4-FFF2-40B4-BE49-F238E27FC236}">
                  <a16:creationId xmlns:a16="http://schemas.microsoft.com/office/drawing/2014/main" id="{C064988D-C5DF-1F49-1A85-22CF17A327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954210" y="2001559"/>
              <a:ext cx="702430" cy="834380"/>
            </a:xfrm>
            <a:custGeom>
              <a:avLst/>
              <a:gdLst>
                <a:gd name="connsiteX0" fmla="*/ 618896 w 702430"/>
                <a:gd name="connsiteY0" fmla="*/ 0 h 834380"/>
                <a:gd name="connsiteX1" fmla="*/ 702431 w 702430"/>
                <a:gd name="connsiteY1" fmla="*/ 59436 h 834380"/>
                <a:gd name="connsiteX2" fmla="*/ 668036 w 702430"/>
                <a:gd name="connsiteY2" fmla="*/ 80639 h 834380"/>
                <a:gd name="connsiteX3" fmla="*/ 697297 w 702430"/>
                <a:gd name="connsiteY3" fmla="*/ 129359 h 834380"/>
                <a:gd name="connsiteX4" fmla="*/ 651853 w 702430"/>
                <a:gd name="connsiteY4" fmla="*/ 159725 h 834380"/>
                <a:gd name="connsiteX5" fmla="*/ 630279 w 702430"/>
                <a:gd name="connsiteY5" fmla="*/ 166621 h 834380"/>
                <a:gd name="connsiteX6" fmla="*/ 641594 w 702430"/>
                <a:gd name="connsiteY6" fmla="*/ 113357 h 834380"/>
                <a:gd name="connsiteX7" fmla="*/ 607324 w 702430"/>
                <a:gd name="connsiteY7" fmla="*/ 82382 h 834380"/>
                <a:gd name="connsiteX8" fmla="*/ 565852 w 702430"/>
                <a:gd name="connsiteY8" fmla="*/ 108814 h 834380"/>
                <a:gd name="connsiteX9" fmla="*/ 552755 w 702430"/>
                <a:gd name="connsiteY9" fmla="*/ 164573 h 834380"/>
                <a:gd name="connsiteX10" fmla="*/ 527294 w 702430"/>
                <a:gd name="connsiteY10" fmla="*/ 197329 h 834380"/>
                <a:gd name="connsiteX11" fmla="*/ 498615 w 702430"/>
                <a:gd name="connsiteY11" fmla="*/ 179518 h 834380"/>
                <a:gd name="connsiteX12" fmla="*/ 463744 w 702430"/>
                <a:gd name="connsiteY12" fmla="*/ 183175 h 834380"/>
                <a:gd name="connsiteX13" fmla="*/ 434064 w 702430"/>
                <a:gd name="connsiteY13" fmla="*/ 143618 h 834380"/>
                <a:gd name="connsiteX14" fmla="*/ 418052 w 702430"/>
                <a:gd name="connsiteY14" fmla="*/ 163506 h 834380"/>
                <a:gd name="connsiteX15" fmla="*/ 401489 w 702430"/>
                <a:gd name="connsiteY15" fmla="*/ 166583 h 834380"/>
                <a:gd name="connsiteX16" fmla="*/ 397564 w 702430"/>
                <a:gd name="connsiteY16" fmla="*/ 214998 h 834380"/>
                <a:gd name="connsiteX17" fmla="*/ 347234 w 702430"/>
                <a:gd name="connsiteY17" fmla="*/ 203340 h 834380"/>
                <a:gd name="connsiteX18" fmla="*/ 340166 w 702430"/>
                <a:gd name="connsiteY18" fmla="*/ 243507 h 834380"/>
                <a:gd name="connsiteX19" fmla="*/ 314525 w 702430"/>
                <a:gd name="connsiteY19" fmla="*/ 243268 h 834380"/>
                <a:gd name="connsiteX20" fmla="*/ 296894 w 702430"/>
                <a:gd name="connsiteY20" fmla="*/ 293208 h 834380"/>
                <a:gd name="connsiteX21" fmla="*/ 270177 w 702430"/>
                <a:gd name="connsiteY21" fmla="*/ 368141 h 834380"/>
                <a:gd name="connsiteX22" fmla="*/ 228705 w 702430"/>
                <a:gd name="connsiteY22" fmla="*/ 458629 h 834380"/>
                <a:gd name="connsiteX23" fmla="*/ 238430 w 702430"/>
                <a:gd name="connsiteY23" fmla="*/ 479889 h 834380"/>
                <a:gd name="connsiteX24" fmla="*/ 229133 w 702430"/>
                <a:gd name="connsiteY24" fmla="*/ 504215 h 834380"/>
                <a:gd name="connsiteX25" fmla="*/ 202644 w 702430"/>
                <a:gd name="connsiteY25" fmla="*/ 503177 h 834380"/>
                <a:gd name="connsiteX26" fmla="*/ 185299 w 702430"/>
                <a:gd name="connsiteY26" fmla="*/ 559432 h 834380"/>
                <a:gd name="connsiteX27" fmla="*/ 186938 w 702430"/>
                <a:gd name="connsiteY27" fmla="*/ 636051 h 834380"/>
                <a:gd name="connsiteX28" fmla="*/ 204006 w 702430"/>
                <a:gd name="connsiteY28" fmla="*/ 664416 h 834380"/>
                <a:gd name="connsiteX29" fmla="*/ 195167 w 702430"/>
                <a:gd name="connsiteY29" fmla="*/ 728491 h 834380"/>
                <a:gd name="connsiteX30" fmla="*/ 172946 w 702430"/>
                <a:gd name="connsiteY30" fmla="*/ 764800 h 834380"/>
                <a:gd name="connsiteX31" fmla="*/ 161173 w 702430"/>
                <a:gd name="connsiteY31" fmla="*/ 794757 h 834380"/>
                <a:gd name="connsiteX32" fmla="*/ 143256 w 702430"/>
                <a:gd name="connsiteY32" fmla="*/ 762838 h 834380"/>
                <a:gd name="connsiteX33" fmla="*/ 90526 w 702430"/>
                <a:gd name="connsiteY33" fmla="*/ 822522 h 834380"/>
                <a:gd name="connsiteX34" fmla="*/ 54921 w 702430"/>
                <a:gd name="connsiteY34" fmla="*/ 834380 h 834380"/>
                <a:gd name="connsiteX35" fmla="*/ 17993 w 702430"/>
                <a:gd name="connsiteY35" fmla="*/ 808520 h 834380"/>
                <a:gd name="connsiteX36" fmla="*/ 8449 w 702430"/>
                <a:gd name="connsiteY36" fmla="*/ 752666 h 834380"/>
                <a:gd name="connsiteX37" fmla="*/ 0 w 702430"/>
                <a:gd name="connsiteY37" fmla="*/ 626402 h 834380"/>
                <a:gd name="connsiteX38" fmla="*/ 24594 w 702430"/>
                <a:gd name="connsiteY38" fmla="*/ 589493 h 834380"/>
                <a:gd name="connsiteX39" fmla="*/ 95107 w 702430"/>
                <a:gd name="connsiteY39" fmla="*/ 540115 h 834380"/>
                <a:gd name="connsiteX40" fmla="*/ 147837 w 702430"/>
                <a:gd name="connsiteY40" fmla="*/ 477384 h 834380"/>
                <a:gd name="connsiteX41" fmla="*/ 196730 w 702430"/>
                <a:gd name="connsiteY41" fmla="*/ 388791 h 834380"/>
                <a:gd name="connsiteX42" fmla="*/ 260899 w 702430"/>
                <a:gd name="connsiteY42" fmla="*/ 257708 h 834380"/>
                <a:gd name="connsiteX43" fmla="*/ 305629 w 702430"/>
                <a:gd name="connsiteY43" fmla="*/ 203664 h 834380"/>
                <a:gd name="connsiteX44" fmla="*/ 379019 w 702430"/>
                <a:gd name="connsiteY44" fmla="*/ 109433 h 834380"/>
                <a:gd name="connsiteX45" fmla="*/ 437626 w 702430"/>
                <a:gd name="connsiteY45" fmla="*/ 75219 h 834380"/>
                <a:gd name="connsiteX46" fmla="*/ 481565 w 702430"/>
                <a:gd name="connsiteY46" fmla="*/ 79410 h 834380"/>
                <a:gd name="connsiteX47" fmla="*/ 522237 w 702430"/>
                <a:gd name="connsiteY47" fmla="*/ 12783 h 834380"/>
                <a:gd name="connsiteX48" fmla="*/ 570938 w 702430"/>
                <a:gd name="connsiteY48" fmla="*/ 16411 h 834380"/>
                <a:gd name="connsiteX49" fmla="*/ 618896 w 702430"/>
                <a:gd name="connsiteY49" fmla="*/ 0 h 834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702430" h="834380">
                  <a:moveTo>
                    <a:pt x="618896" y="0"/>
                  </a:moveTo>
                  <a:lnTo>
                    <a:pt x="702431" y="59436"/>
                  </a:lnTo>
                  <a:lnTo>
                    <a:pt x="668036" y="80639"/>
                  </a:lnTo>
                  <a:lnTo>
                    <a:pt x="697297" y="129359"/>
                  </a:lnTo>
                  <a:lnTo>
                    <a:pt x="651853" y="159725"/>
                  </a:lnTo>
                  <a:lnTo>
                    <a:pt x="630279" y="166621"/>
                  </a:lnTo>
                  <a:lnTo>
                    <a:pt x="641594" y="113357"/>
                  </a:lnTo>
                  <a:lnTo>
                    <a:pt x="607324" y="82382"/>
                  </a:lnTo>
                  <a:lnTo>
                    <a:pt x="565852" y="108814"/>
                  </a:lnTo>
                  <a:lnTo>
                    <a:pt x="552755" y="164573"/>
                  </a:lnTo>
                  <a:lnTo>
                    <a:pt x="527294" y="197329"/>
                  </a:lnTo>
                  <a:lnTo>
                    <a:pt x="498615" y="179518"/>
                  </a:lnTo>
                  <a:lnTo>
                    <a:pt x="463744" y="183175"/>
                  </a:lnTo>
                  <a:lnTo>
                    <a:pt x="434064" y="143618"/>
                  </a:lnTo>
                  <a:lnTo>
                    <a:pt x="418052" y="163506"/>
                  </a:lnTo>
                  <a:lnTo>
                    <a:pt x="401489" y="166583"/>
                  </a:lnTo>
                  <a:lnTo>
                    <a:pt x="397564" y="214998"/>
                  </a:lnTo>
                  <a:lnTo>
                    <a:pt x="347234" y="203340"/>
                  </a:lnTo>
                  <a:lnTo>
                    <a:pt x="340166" y="243507"/>
                  </a:lnTo>
                  <a:lnTo>
                    <a:pt x="314525" y="243268"/>
                  </a:lnTo>
                  <a:lnTo>
                    <a:pt x="296894" y="293208"/>
                  </a:lnTo>
                  <a:lnTo>
                    <a:pt x="270177" y="368141"/>
                  </a:lnTo>
                  <a:lnTo>
                    <a:pt x="228705" y="458629"/>
                  </a:lnTo>
                  <a:lnTo>
                    <a:pt x="238430" y="479889"/>
                  </a:lnTo>
                  <a:lnTo>
                    <a:pt x="229133" y="504215"/>
                  </a:lnTo>
                  <a:lnTo>
                    <a:pt x="202644" y="503177"/>
                  </a:lnTo>
                  <a:lnTo>
                    <a:pt x="185299" y="559432"/>
                  </a:lnTo>
                  <a:lnTo>
                    <a:pt x="186938" y="636051"/>
                  </a:lnTo>
                  <a:lnTo>
                    <a:pt x="204006" y="664416"/>
                  </a:lnTo>
                  <a:lnTo>
                    <a:pt x="195167" y="728491"/>
                  </a:lnTo>
                  <a:lnTo>
                    <a:pt x="172946" y="764800"/>
                  </a:lnTo>
                  <a:lnTo>
                    <a:pt x="161173" y="794757"/>
                  </a:lnTo>
                  <a:lnTo>
                    <a:pt x="143256" y="762838"/>
                  </a:lnTo>
                  <a:lnTo>
                    <a:pt x="90526" y="822522"/>
                  </a:lnTo>
                  <a:lnTo>
                    <a:pt x="54921" y="834380"/>
                  </a:lnTo>
                  <a:lnTo>
                    <a:pt x="17993" y="808520"/>
                  </a:lnTo>
                  <a:lnTo>
                    <a:pt x="8449" y="752666"/>
                  </a:lnTo>
                  <a:lnTo>
                    <a:pt x="0" y="626402"/>
                  </a:lnTo>
                  <a:lnTo>
                    <a:pt x="24594" y="589493"/>
                  </a:lnTo>
                  <a:lnTo>
                    <a:pt x="95107" y="540115"/>
                  </a:lnTo>
                  <a:lnTo>
                    <a:pt x="147837" y="477384"/>
                  </a:lnTo>
                  <a:lnTo>
                    <a:pt x="196730" y="388791"/>
                  </a:lnTo>
                  <a:lnTo>
                    <a:pt x="260899" y="257708"/>
                  </a:lnTo>
                  <a:lnTo>
                    <a:pt x="305629" y="203664"/>
                  </a:lnTo>
                  <a:lnTo>
                    <a:pt x="379019" y="109433"/>
                  </a:lnTo>
                  <a:lnTo>
                    <a:pt x="437626" y="75219"/>
                  </a:lnTo>
                  <a:lnTo>
                    <a:pt x="481565" y="79410"/>
                  </a:lnTo>
                  <a:lnTo>
                    <a:pt x="522237" y="12783"/>
                  </a:lnTo>
                  <a:lnTo>
                    <a:pt x="570938" y="16411"/>
                  </a:lnTo>
                  <a:lnTo>
                    <a:pt x="618896" y="0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orme libre : forme 5770">
              <a:extLst>
                <a:ext uri="{FF2B5EF4-FFF2-40B4-BE49-F238E27FC236}">
                  <a16:creationId xmlns:a16="http://schemas.microsoft.com/office/drawing/2014/main" id="{835005A6-1138-2DED-E203-16D5DE9092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959794" y="3894243"/>
              <a:ext cx="215960" cy="121615"/>
            </a:xfrm>
            <a:custGeom>
              <a:avLst/>
              <a:gdLst>
                <a:gd name="connsiteX0" fmla="*/ 214512 w 215960"/>
                <a:gd name="connsiteY0" fmla="*/ 77476 h 121615"/>
                <a:gd name="connsiteX1" fmla="*/ 212445 w 215960"/>
                <a:gd name="connsiteY1" fmla="*/ 90392 h 121615"/>
                <a:gd name="connsiteX2" fmla="*/ 215960 w 215960"/>
                <a:gd name="connsiteY2" fmla="*/ 109357 h 121615"/>
                <a:gd name="connsiteX3" fmla="*/ 212903 w 215960"/>
                <a:gd name="connsiteY3" fmla="*/ 121120 h 121615"/>
                <a:gd name="connsiteX4" fmla="*/ 190662 w 215960"/>
                <a:gd name="connsiteY4" fmla="*/ 121615 h 121615"/>
                <a:gd name="connsiteX5" fmla="*/ 158534 w 215960"/>
                <a:gd name="connsiteY5" fmla="*/ 114691 h 121615"/>
                <a:gd name="connsiteX6" fmla="*/ 137893 w 215960"/>
                <a:gd name="connsiteY6" fmla="*/ 111871 h 121615"/>
                <a:gd name="connsiteX7" fmla="*/ 122491 w 215960"/>
                <a:gd name="connsiteY7" fmla="*/ 96698 h 121615"/>
                <a:gd name="connsiteX8" fmla="*/ 85887 w 215960"/>
                <a:gd name="connsiteY8" fmla="*/ 92831 h 121615"/>
                <a:gd name="connsiteX9" fmla="*/ 51054 w 215960"/>
                <a:gd name="connsiteY9" fmla="*/ 76000 h 121615"/>
                <a:gd name="connsiteX10" fmla="*/ 25870 w 215960"/>
                <a:gd name="connsiteY10" fmla="*/ 61217 h 121615"/>
                <a:gd name="connsiteX11" fmla="*/ 0 w 215960"/>
                <a:gd name="connsiteY11" fmla="*/ 49768 h 121615"/>
                <a:gd name="connsiteX12" fmla="*/ 10363 w 215960"/>
                <a:gd name="connsiteY12" fmla="*/ 21279 h 121615"/>
                <a:gd name="connsiteX13" fmla="*/ 27318 w 215960"/>
                <a:gd name="connsiteY13" fmla="*/ 7363 h 121615"/>
                <a:gd name="connsiteX14" fmla="*/ 38385 w 215960"/>
                <a:gd name="connsiteY14" fmla="*/ 0 h 121615"/>
                <a:gd name="connsiteX15" fmla="*/ 59798 w 215960"/>
                <a:gd name="connsiteY15" fmla="*/ 9458 h 121615"/>
                <a:gd name="connsiteX16" fmla="*/ 86763 w 215960"/>
                <a:gd name="connsiteY16" fmla="*/ 29404 h 121615"/>
                <a:gd name="connsiteX17" fmla="*/ 101765 w 215960"/>
                <a:gd name="connsiteY17" fmla="*/ 33785 h 121615"/>
                <a:gd name="connsiteX18" fmla="*/ 110737 w 215960"/>
                <a:gd name="connsiteY18" fmla="*/ 48387 h 121615"/>
                <a:gd name="connsiteX19" fmla="*/ 131483 w 215960"/>
                <a:gd name="connsiteY19" fmla="*/ 54369 h 121615"/>
                <a:gd name="connsiteX20" fmla="*/ 153162 w 215960"/>
                <a:gd name="connsiteY20" fmla="*/ 67628 h 121615"/>
                <a:gd name="connsiteX21" fmla="*/ 183375 w 215960"/>
                <a:gd name="connsiteY21" fmla="*/ 74533 h 12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5960" h="121615">
                  <a:moveTo>
                    <a:pt x="214512" y="77476"/>
                  </a:moveTo>
                  <a:lnTo>
                    <a:pt x="212445" y="90392"/>
                  </a:lnTo>
                  <a:lnTo>
                    <a:pt x="215960" y="109357"/>
                  </a:lnTo>
                  <a:lnTo>
                    <a:pt x="212903" y="121120"/>
                  </a:lnTo>
                  <a:lnTo>
                    <a:pt x="190662" y="121615"/>
                  </a:lnTo>
                  <a:lnTo>
                    <a:pt x="158534" y="114691"/>
                  </a:lnTo>
                  <a:lnTo>
                    <a:pt x="137893" y="111871"/>
                  </a:lnTo>
                  <a:lnTo>
                    <a:pt x="122491" y="96698"/>
                  </a:lnTo>
                  <a:lnTo>
                    <a:pt x="85887" y="92831"/>
                  </a:lnTo>
                  <a:lnTo>
                    <a:pt x="51054" y="76000"/>
                  </a:lnTo>
                  <a:lnTo>
                    <a:pt x="25870" y="61217"/>
                  </a:lnTo>
                  <a:lnTo>
                    <a:pt x="0" y="49768"/>
                  </a:lnTo>
                  <a:lnTo>
                    <a:pt x="10363" y="21279"/>
                  </a:lnTo>
                  <a:lnTo>
                    <a:pt x="27318" y="7363"/>
                  </a:lnTo>
                  <a:lnTo>
                    <a:pt x="38385" y="0"/>
                  </a:lnTo>
                  <a:lnTo>
                    <a:pt x="59798" y="9458"/>
                  </a:lnTo>
                  <a:lnTo>
                    <a:pt x="86763" y="29404"/>
                  </a:lnTo>
                  <a:lnTo>
                    <a:pt x="101765" y="33785"/>
                  </a:lnTo>
                  <a:lnTo>
                    <a:pt x="110737" y="48387"/>
                  </a:lnTo>
                  <a:lnTo>
                    <a:pt x="131483" y="54369"/>
                  </a:lnTo>
                  <a:lnTo>
                    <a:pt x="153162" y="67628"/>
                  </a:lnTo>
                  <a:lnTo>
                    <a:pt x="183375" y="7453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orme libre : forme 5771">
              <a:extLst>
                <a:ext uri="{FF2B5EF4-FFF2-40B4-BE49-F238E27FC236}">
                  <a16:creationId xmlns:a16="http://schemas.microsoft.com/office/drawing/2014/main" id="{51A6F0CE-6EF7-5426-7F97-7A50B8D967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267816" y="5717966"/>
              <a:ext cx="320707" cy="428786"/>
            </a:xfrm>
            <a:custGeom>
              <a:avLst/>
              <a:gdLst>
                <a:gd name="connsiteX0" fmla="*/ 173889 w 320707"/>
                <a:gd name="connsiteY0" fmla="*/ 217618 h 428786"/>
                <a:gd name="connsiteX1" fmla="*/ 179947 w 320707"/>
                <a:gd name="connsiteY1" fmla="*/ 232200 h 428786"/>
                <a:gd name="connsiteX2" fmla="*/ 198940 w 320707"/>
                <a:gd name="connsiteY2" fmla="*/ 217884 h 428786"/>
                <a:gd name="connsiteX3" fmla="*/ 206664 w 320707"/>
                <a:gd name="connsiteY3" fmla="*/ 232810 h 428786"/>
                <a:gd name="connsiteX4" fmla="*/ 206693 w 320707"/>
                <a:gd name="connsiteY4" fmla="*/ 247774 h 428786"/>
                <a:gd name="connsiteX5" fmla="*/ 196758 w 320707"/>
                <a:gd name="connsiteY5" fmla="*/ 264357 h 428786"/>
                <a:gd name="connsiteX6" fmla="*/ 179299 w 320707"/>
                <a:gd name="connsiteY6" fmla="*/ 290998 h 428786"/>
                <a:gd name="connsiteX7" fmla="*/ 165631 w 320707"/>
                <a:gd name="connsiteY7" fmla="*/ 305676 h 428786"/>
                <a:gd name="connsiteX8" fmla="*/ 175479 w 320707"/>
                <a:gd name="connsiteY8" fmla="*/ 323355 h 428786"/>
                <a:gd name="connsiteX9" fmla="*/ 154877 w 320707"/>
                <a:gd name="connsiteY9" fmla="*/ 323812 h 428786"/>
                <a:gd name="connsiteX10" fmla="*/ 132026 w 320707"/>
                <a:gd name="connsiteY10" fmla="*/ 337766 h 428786"/>
                <a:gd name="connsiteX11" fmla="*/ 124873 w 320707"/>
                <a:gd name="connsiteY11" fmla="*/ 362226 h 428786"/>
                <a:gd name="connsiteX12" fmla="*/ 109690 w 320707"/>
                <a:gd name="connsiteY12" fmla="*/ 400583 h 428786"/>
                <a:gd name="connsiteX13" fmla="*/ 88725 w 320707"/>
                <a:gd name="connsiteY13" fmla="*/ 417747 h 428786"/>
                <a:gd name="connsiteX14" fmla="*/ 75400 w 320707"/>
                <a:gd name="connsiteY14" fmla="*/ 428787 h 428786"/>
                <a:gd name="connsiteX15" fmla="*/ 50797 w 320707"/>
                <a:gd name="connsiteY15" fmla="*/ 427967 h 428786"/>
                <a:gd name="connsiteX16" fmla="*/ 33509 w 320707"/>
                <a:gd name="connsiteY16" fmla="*/ 415223 h 428786"/>
                <a:gd name="connsiteX17" fmla="*/ 4477 w 320707"/>
                <a:gd name="connsiteY17" fmla="*/ 412518 h 428786"/>
                <a:gd name="connsiteX18" fmla="*/ 0 w 320707"/>
                <a:gd name="connsiteY18" fmla="*/ 398430 h 428786"/>
                <a:gd name="connsiteX19" fmla="*/ 14354 w 320707"/>
                <a:gd name="connsiteY19" fmla="*/ 370265 h 428786"/>
                <a:gd name="connsiteX20" fmla="*/ 47930 w 320707"/>
                <a:gd name="connsiteY20" fmla="*/ 333356 h 428786"/>
                <a:gd name="connsiteX21" fmla="*/ 65170 w 320707"/>
                <a:gd name="connsiteY21" fmla="*/ 326393 h 428786"/>
                <a:gd name="connsiteX22" fmla="*/ 84363 w 320707"/>
                <a:gd name="connsiteY22" fmla="*/ 312372 h 428786"/>
                <a:gd name="connsiteX23" fmla="*/ 107252 w 320707"/>
                <a:gd name="connsiteY23" fmla="*/ 293227 h 428786"/>
                <a:gd name="connsiteX24" fmla="*/ 123283 w 320707"/>
                <a:gd name="connsiteY24" fmla="*/ 274415 h 428786"/>
                <a:gd name="connsiteX25" fmla="*/ 135160 w 320707"/>
                <a:gd name="connsiteY25" fmla="*/ 247669 h 428786"/>
                <a:gd name="connsiteX26" fmla="*/ 145285 w 320707"/>
                <a:gd name="connsiteY26" fmla="*/ 238658 h 428786"/>
                <a:gd name="connsiteX27" fmla="*/ 149247 w 320707"/>
                <a:gd name="connsiteY27" fmla="*/ 218904 h 428786"/>
                <a:gd name="connsiteX28" fmla="*/ 167983 w 320707"/>
                <a:gd name="connsiteY28" fmla="*/ 202682 h 428786"/>
                <a:gd name="connsiteX29" fmla="*/ 173889 w 320707"/>
                <a:gd name="connsiteY29" fmla="*/ 217618 h 428786"/>
                <a:gd name="connsiteX30" fmla="*/ 216389 w 320707"/>
                <a:gd name="connsiteY30" fmla="*/ 55569 h 428786"/>
                <a:gd name="connsiteX31" fmla="*/ 235744 w 320707"/>
                <a:gd name="connsiteY31" fmla="*/ 90478 h 428786"/>
                <a:gd name="connsiteX32" fmla="*/ 236306 w 320707"/>
                <a:gd name="connsiteY32" fmla="*/ 67780 h 428786"/>
                <a:gd name="connsiteX33" fmla="*/ 248364 w 320707"/>
                <a:gd name="connsiteY33" fmla="*/ 76819 h 428786"/>
                <a:gd name="connsiteX34" fmla="*/ 252356 w 320707"/>
                <a:gd name="connsiteY34" fmla="*/ 102069 h 428786"/>
                <a:gd name="connsiteX35" fmla="*/ 273854 w 320707"/>
                <a:gd name="connsiteY35" fmla="*/ 113023 h 428786"/>
                <a:gd name="connsiteX36" fmla="*/ 291904 w 320707"/>
                <a:gd name="connsiteY36" fmla="*/ 115719 h 428786"/>
                <a:gd name="connsiteX37" fmla="*/ 307172 w 320707"/>
                <a:gd name="connsiteY37" fmla="*/ 102888 h 428786"/>
                <a:gd name="connsiteX38" fmla="*/ 320707 w 320707"/>
                <a:gd name="connsiteY38" fmla="*/ 106766 h 428786"/>
                <a:gd name="connsiteX39" fmla="*/ 314230 w 320707"/>
                <a:gd name="connsiteY39" fmla="*/ 136779 h 428786"/>
                <a:gd name="connsiteX40" fmla="*/ 306096 w 320707"/>
                <a:gd name="connsiteY40" fmla="*/ 156714 h 428786"/>
                <a:gd name="connsiteX41" fmla="*/ 285703 w 320707"/>
                <a:gd name="connsiteY41" fmla="*/ 156010 h 428786"/>
                <a:gd name="connsiteX42" fmla="*/ 278568 w 320707"/>
                <a:gd name="connsiteY42" fmla="*/ 166458 h 428786"/>
                <a:gd name="connsiteX43" fmla="*/ 281054 w 320707"/>
                <a:gd name="connsiteY43" fmla="*/ 181327 h 428786"/>
                <a:gd name="connsiteX44" fmla="*/ 277130 w 320707"/>
                <a:gd name="connsiteY44" fmla="*/ 187785 h 428786"/>
                <a:gd name="connsiteX45" fmla="*/ 267034 w 320707"/>
                <a:gd name="connsiteY45" fmla="*/ 206587 h 428786"/>
                <a:gd name="connsiteX46" fmla="*/ 253794 w 320707"/>
                <a:gd name="connsiteY46" fmla="*/ 230705 h 428786"/>
                <a:gd name="connsiteX47" fmla="*/ 233153 w 320707"/>
                <a:gd name="connsiteY47" fmla="*/ 244868 h 428786"/>
                <a:gd name="connsiteX48" fmla="*/ 228572 w 320707"/>
                <a:gd name="connsiteY48" fmla="*/ 235543 h 428786"/>
                <a:gd name="connsiteX49" fmla="*/ 217437 w 320707"/>
                <a:gd name="connsiteY49" fmla="*/ 230438 h 428786"/>
                <a:gd name="connsiteX50" fmla="*/ 232839 w 320707"/>
                <a:gd name="connsiteY50" fmla="*/ 201492 h 428786"/>
                <a:gd name="connsiteX51" fmla="*/ 224095 w 320707"/>
                <a:gd name="connsiteY51" fmla="*/ 182327 h 428786"/>
                <a:gd name="connsiteX52" fmla="*/ 195349 w 320707"/>
                <a:gd name="connsiteY52" fmla="*/ 168497 h 428786"/>
                <a:gd name="connsiteX53" fmla="*/ 196101 w 320707"/>
                <a:gd name="connsiteY53" fmla="*/ 156038 h 428786"/>
                <a:gd name="connsiteX54" fmla="*/ 215398 w 320707"/>
                <a:gd name="connsiteY54" fmla="*/ 144103 h 428786"/>
                <a:gd name="connsiteX55" fmla="*/ 219904 w 320707"/>
                <a:gd name="connsiteY55" fmla="*/ 117967 h 428786"/>
                <a:gd name="connsiteX56" fmla="*/ 218666 w 320707"/>
                <a:gd name="connsiteY56" fmla="*/ 96231 h 428786"/>
                <a:gd name="connsiteX57" fmla="*/ 207845 w 320707"/>
                <a:gd name="connsiteY57" fmla="*/ 73904 h 428786"/>
                <a:gd name="connsiteX58" fmla="*/ 208560 w 320707"/>
                <a:gd name="connsiteY58" fmla="*/ 68066 h 428786"/>
                <a:gd name="connsiteX59" fmla="*/ 195796 w 320707"/>
                <a:gd name="connsiteY59" fmla="*/ 54444 h 428786"/>
                <a:gd name="connsiteX60" fmla="*/ 174784 w 320707"/>
                <a:gd name="connsiteY60" fmla="*/ 25479 h 428786"/>
                <a:gd name="connsiteX61" fmla="*/ 163611 w 320707"/>
                <a:gd name="connsiteY61" fmla="*/ 2534 h 428786"/>
                <a:gd name="connsiteX62" fmla="*/ 173517 w 320707"/>
                <a:gd name="connsiteY62" fmla="*/ 0 h 428786"/>
                <a:gd name="connsiteX63" fmla="*/ 188052 w 320707"/>
                <a:gd name="connsiteY63" fmla="*/ 17973 h 428786"/>
                <a:gd name="connsiteX64" fmla="*/ 208836 w 320707"/>
                <a:gd name="connsiteY64" fmla="*/ 26403 h 428786"/>
                <a:gd name="connsiteX65" fmla="*/ 216389 w 320707"/>
                <a:gd name="connsiteY65" fmla="*/ 55569 h 428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320707" h="428786">
                  <a:moveTo>
                    <a:pt x="173889" y="217618"/>
                  </a:moveTo>
                  <a:lnTo>
                    <a:pt x="179947" y="232200"/>
                  </a:lnTo>
                  <a:lnTo>
                    <a:pt x="198940" y="217884"/>
                  </a:lnTo>
                  <a:lnTo>
                    <a:pt x="206664" y="232810"/>
                  </a:lnTo>
                  <a:lnTo>
                    <a:pt x="206693" y="247774"/>
                  </a:lnTo>
                  <a:lnTo>
                    <a:pt x="196758" y="264357"/>
                  </a:lnTo>
                  <a:lnTo>
                    <a:pt x="179299" y="290998"/>
                  </a:lnTo>
                  <a:lnTo>
                    <a:pt x="165631" y="305676"/>
                  </a:lnTo>
                  <a:lnTo>
                    <a:pt x="175479" y="323355"/>
                  </a:lnTo>
                  <a:lnTo>
                    <a:pt x="154877" y="323812"/>
                  </a:lnTo>
                  <a:lnTo>
                    <a:pt x="132026" y="337766"/>
                  </a:lnTo>
                  <a:lnTo>
                    <a:pt x="124873" y="362226"/>
                  </a:lnTo>
                  <a:lnTo>
                    <a:pt x="109690" y="400583"/>
                  </a:lnTo>
                  <a:lnTo>
                    <a:pt x="88725" y="417747"/>
                  </a:lnTo>
                  <a:lnTo>
                    <a:pt x="75400" y="428787"/>
                  </a:lnTo>
                  <a:lnTo>
                    <a:pt x="50797" y="427967"/>
                  </a:lnTo>
                  <a:lnTo>
                    <a:pt x="33509" y="415223"/>
                  </a:lnTo>
                  <a:lnTo>
                    <a:pt x="4477" y="412518"/>
                  </a:lnTo>
                  <a:lnTo>
                    <a:pt x="0" y="398430"/>
                  </a:lnTo>
                  <a:lnTo>
                    <a:pt x="14354" y="370265"/>
                  </a:lnTo>
                  <a:lnTo>
                    <a:pt x="47930" y="333356"/>
                  </a:lnTo>
                  <a:lnTo>
                    <a:pt x="65170" y="326393"/>
                  </a:lnTo>
                  <a:lnTo>
                    <a:pt x="84363" y="312372"/>
                  </a:lnTo>
                  <a:lnTo>
                    <a:pt x="107252" y="293227"/>
                  </a:lnTo>
                  <a:lnTo>
                    <a:pt x="123283" y="274415"/>
                  </a:lnTo>
                  <a:lnTo>
                    <a:pt x="135160" y="247669"/>
                  </a:lnTo>
                  <a:lnTo>
                    <a:pt x="145285" y="238658"/>
                  </a:lnTo>
                  <a:lnTo>
                    <a:pt x="149247" y="218904"/>
                  </a:lnTo>
                  <a:lnTo>
                    <a:pt x="167983" y="202682"/>
                  </a:lnTo>
                  <a:lnTo>
                    <a:pt x="173889" y="217618"/>
                  </a:lnTo>
                  <a:close/>
                  <a:moveTo>
                    <a:pt x="216389" y="55569"/>
                  </a:moveTo>
                  <a:lnTo>
                    <a:pt x="235744" y="90478"/>
                  </a:lnTo>
                  <a:lnTo>
                    <a:pt x="236306" y="67780"/>
                  </a:lnTo>
                  <a:lnTo>
                    <a:pt x="248364" y="76819"/>
                  </a:lnTo>
                  <a:lnTo>
                    <a:pt x="252356" y="102069"/>
                  </a:lnTo>
                  <a:lnTo>
                    <a:pt x="273854" y="113023"/>
                  </a:lnTo>
                  <a:lnTo>
                    <a:pt x="291904" y="115719"/>
                  </a:lnTo>
                  <a:lnTo>
                    <a:pt x="307172" y="102888"/>
                  </a:lnTo>
                  <a:lnTo>
                    <a:pt x="320707" y="106766"/>
                  </a:lnTo>
                  <a:lnTo>
                    <a:pt x="314230" y="136779"/>
                  </a:lnTo>
                  <a:lnTo>
                    <a:pt x="306096" y="156714"/>
                  </a:lnTo>
                  <a:lnTo>
                    <a:pt x="285703" y="156010"/>
                  </a:lnTo>
                  <a:lnTo>
                    <a:pt x="278568" y="166458"/>
                  </a:lnTo>
                  <a:lnTo>
                    <a:pt x="281054" y="181327"/>
                  </a:lnTo>
                  <a:lnTo>
                    <a:pt x="277130" y="187785"/>
                  </a:lnTo>
                  <a:lnTo>
                    <a:pt x="267034" y="206587"/>
                  </a:lnTo>
                  <a:lnTo>
                    <a:pt x="253794" y="230705"/>
                  </a:lnTo>
                  <a:lnTo>
                    <a:pt x="233153" y="244868"/>
                  </a:lnTo>
                  <a:lnTo>
                    <a:pt x="228572" y="235543"/>
                  </a:lnTo>
                  <a:lnTo>
                    <a:pt x="217437" y="230438"/>
                  </a:lnTo>
                  <a:lnTo>
                    <a:pt x="232839" y="201492"/>
                  </a:lnTo>
                  <a:lnTo>
                    <a:pt x="224095" y="182327"/>
                  </a:lnTo>
                  <a:lnTo>
                    <a:pt x="195349" y="168497"/>
                  </a:lnTo>
                  <a:lnTo>
                    <a:pt x="196101" y="156038"/>
                  </a:lnTo>
                  <a:lnTo>
                    <a:pt x="215398" y="144103"/>
                  </a:lnTo>
                  <a:lnTo>
                    <a:pt x="219904" y="117967"/>
                  </a:lnTo>
                  <a:lnTo>
                    <a:pt x="218666" y="96231"/>
                  </a:lnTo>
                  <a:lnTo>
                    <a:pt x="207845" y="73904"/>
                  </a:lnTo>
                  <a:lnTo>
                    <a:pt x="208560" y="68066"/>
                  </a:lnTo>
                  <a:lnTo>
                    <a:pt x="195796" y="54444"/>
                  </a:lnTo>
                  <a:lnTo>
                    <a:pt x="174784" y="25479"/>
                  </a:lnTo>
                  <a:lnTo>
                    <a:pt x="163611" y="2534"/>
                  </a:lnTo>
                  <a:lnTo>
                    <a:pt x="173517" y="0"/>
                  </a:lnTo>
                  <a:lnTo>
                    <a:pt x="188052" y="17973"/>
                  </a:lnTo>
                  <a:lnTo>
                    <a:pt x="208836" y="26403"/>
                  </a:lnTo>
                  <a:lnTo>
                    <a:pt x="216389" y="5556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orme libre : forme 5772">
              <a:extLst>
                <a:ext uri="{FF2B5EF4-FFF2-40B4-BE49-F238E27FC236}">
                  <a16:creationId xmlns:a16="http://schemas.microsoft.com/office/drawing/2014/main" id="{DB986995-60B1-E934-6CB3-E617ABB1660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209662" y="4015906"/>
              <a:ext cx="208530" cy="278587"/>
            </a:xfrm>
            <a:custGeom>
              <a:avLst/>
              <a:gdLst>
                <a:gd name="connsiteX0" fmla="*/ 183223 w 208530"/>
                <a:gd name="connsiteY0" fmla="*/ 153343 h 278587"/>
                <a:gd name="connsiteX1" fmla="*/ 173250 w 208530"/>
                <a:gd name="connsiteY1" fmla="*/ 172793 h 278587"/>
                <a:gd name="connsiteX2" fmla="*/ 161144 w 208530"/>
                <a:gd name="connsiteY2" fmla="*/ 171307 h 278587"/>
                <a:gd name="connsiteX3" fmla="*/ 155591 w 208530"/>
                <a:gd name="connsiteY3" fmla="*/ 178051 h 278587"/>
                <a:gd name="connsiteX4" fmla="*/ 151305 w 208530"/>
                <a:gd name="connsiteY4" fmla="*/ 192376 h 278587"/>
                <a:gd name="connsiteX5" fmla="*/ 154591 w 208530"/>
                <a:gd name="connsiteY5" fmla="*/ 211188 h 278587"/>
                <a:gd name="connsiteX6" fmla="*/ 152067 w 208530"/>
                <a:gd name="connsiteY6" fmla="*/ 214636 h 278587"/>
                <a:gd name="connsiteX7" fmla="*/ 139779 w 208530"/>
                <a:gd name="connsiteY7" fmla="*/ 214541 h 278587"/>
                <a:gd name="connsiteX8" fmla="*/ 123101 w 208530"/>
                <a:gd name="connsiteY8" fmla="*/ 225019 h 278587"/>
                <a:gd name="connsiteX9" fmla="*/ 120501 w 208530"/>
                <a:gd name="connsiteY9" fmla="*/ 238640 h 278587"/>
                <a:gd name="connsiteX10" fmla="*/ 114386 w 208530"/>
                <a:gd name="connsiteY10" fmla="*/ 244526 h 278587"/>
                <a:gd name="connsiteX11" fmla="*/ 97774 w 208530"/>
                <a:gd name="connsiteY11" fmla="*/ 244307 h 278587"/>
                <a:gd name="connsiteX12" fmla="*/ 87316 w 208530"/>
                <a:gd name="connsiteY12" fmla="*/ 251327 h 278587"/>
                <a:gd name="connsiteX13" fmla="*/ 87449 w 208530"/>
                <a:gd name="connsiteY13" fmla="*/ 262566 h 278587"/>
                <a:gd name="connsiteX14" fmla="*/ 74533 w 208530"/>
                <a:gd name="connsiteY14" fmla="*/ 270281 h 278587"/>
                <a:gd name="connsiteX15" fmla="*/ 59798 w 208530"/>
                <a:gd name="connsiteY15" fmla="*/ 267662 h 278587"/>
                <a:gd name="connsiteX16" fmla="*/ 41939 w 208530"/>
                <a:gd name="connsiteY16" fmla="*/ 277016 h 278587"/>
                <a:gd name="connsiteX17" fmla="*/ 29594 w 208530"/>
                <a:gd name="connsiteY17" fmla="*/ 278587 h 278587"/>
                <a:gd name="connsiteX18" fmla="*/ 20879 w 208530"/>
                <a:gd name="connsiteY18" fmla="*/ 259194 h 278587"/>
                <a:gd name="connsiteX19" fmla="*/ 0 w 208530"/>
                <a:gd name="connsiteY19" fmla="*/ 213084 h 278587"/>
                <a:gd name="connsiteX20" fmla="*/ 80115 w 208530"/>
                <a:gd name="connsiteY20" fmla="*/ 184918 h 278587"/>
                <a:gd name="connsiteX21" fmla="*/ 97917 w 208530"/>
                <a:gd name="connsiteY21" fmla="*/ 128035 h 278587"/>
                <a:gd name="connsiteX22" fmla="*/ 85677 w 208530"/>
                <a:gd name="connsiteY22" fmla="*/ 107699 h 278587"/>
                <a:gd name="connsiteX23" fmla="*/ 86373 w 208530"/>
                <a:gd name="connsiteY23" fmla="*/ 96088 h 278587"/>
                <a:gd name="connsiteX24" fmla="*/ 94155 w 208530"/>
                <a:gd name="connsiteY24" fmla="*/ 84125 h 278587"/>
                <a:gd name="connsiteX25" fmla="*/ 94231 w 208530"/>
                <a:gd name="connsiteY25" fmla="*/ 72266 h 278587"/>
                <a:gd name="connsiteX26" fmla="*/ 106318 w 208530"/>
                <a:gd name="connsiteY26" fmla="*/ 66542 h 278587"/>
                <a:gd name="connsiteX27" fmla="*/ 101594 w 208530"/>
                <a:gd name="connsiteY27" fmla="*/ 62494 h 278587"/>
                <a:gd name="connsiteX28" fmla="*/ 103775 w 208530"/>
                <a:gd name="connsiteY28" fmla="*/ 43472 h 278587"/>
                <a:gd name="connsiteX29" fmla="*/ 117424 w 208530"/>
                <a:gd name="connsiteY29" fmla="*/ 43358 h 278587"/>
                <a:gd name="connsiteX30" fmla="*/ 129397 w 208530"/>
                <a:gd name="connsiteY30" fmla="*/ 63313 h 278587"/>
                <a:gd name="connsiteX31" fmla="*/ 144304 w 208530"/>
                <a:gd name="connsiteY31" fmla="*/ 73866 h 278587"/>
                <a:gd name="connsiteX32" fmla="*/ 163897 w 208530"/>
                <a:gd name="connsiteY32" fmla="*/ 77657 h 278587"/>
                <a:gd name="connsiteX33" fmla="*/ 179708 w 208530"/>
                <a:gd name="connsiteY33" fmla="*/ 82944 h 278587"/>
                <a:gd name="connsiteX34" fmla="*/ 191767 w 208530"/>
                <a:gd name="connsiteY34" fmla="*/ 99517 h 278587"/>
                <a:gd name="connsiteX35" fmla="*/ 198968 w 208530"/>
                <a:gd name="connsiteY35" fmla="*/ 109090 h 278587"/>
                <a:gd name="connsiteX36" fmla="*/ 208531 w 208530"/>
                <a:gd name="connsiteY36" fmla="*/ 112728 h 278587"/>
                <a:gd name="connsiteX37" fmla="*/ 208474 w 208530"/>
                <a:gd name="connsiteY37" fmla="*/ 119139 h 278587"/>
                <a:gd name="connsiteX38" fmla="*/ 198749 w 208530"/>
                <a:gd name="connsiteY38" fmla="*/ 136207 h 278587"/>
                <a:gd name="connsiteX39" fmla="*/ 194482 w 208530"/>
                <a:gd name="connsiteY39" fmla="*/ 144218 h 278587"/>
                <a:gd name="connsiteX40" fmla="*/ 183223 w 208530"/>
                <a:gd name="connsiteY40" fmla="*/ 153343 h 278587"/>
                <a:gd name="connsiteX41" fmla="*/ 117263 w 208530"/>
                <a:gd name="connsiteY41" fmla="*/ 14802 h 278587"/>
                <a:gd name="connsiteX42" fmla="*/ 113786 w 208530"/>
                <a:gd name="connsiteY42" fmla="*/ 20155 h 278587"/>
                <a:gd name="connsiteX43" fmla="*/ 108699 w 208530"/>
                <a:gd name="connsiteY43" fmla="*/ 10087 h 278587"/>
                <a:gd name="connsiteX44" fmla="*/ 116481 w 208530"/>
                <a:gd name="connsiteY44" fmla="*/ 0 h 278587"/>
                <a:gd name="connsiteX45" fmla="*/ 119786 w 208530"/>
                <a:gd name="connsiteY45" fmla="*/ 2581 h 278587"/>
                <a:gd name="connsiteX46" fmla="*/ 117263 w 208530"/>
                <a:gd name="connsiteY46" fmla="*/ 14802 h 27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08530" h="278587">
                  <a:moveTo>
                    <a:pt x="183223" y="153343"/>
                  </a:moveTo>
                  <a:lnTo>
                    <a:pt x="173250" y="172793"/>
                  </a:lnTo>
                  <a:lnTo>
                    <a:pt x="161144" y="171307"/>
                  </a:lnTo>
                  <a:lnTo>
                    <a:pt x="155591" y="178051"/>
                  </a:lnTo>
                  <a:lnTo>
                    <a:pt x="151305" y="192376"/>
                  </a:lnTo>
                  <a:lnTo>
                    <a:pt x="154591" y="211188"/>
                  </a:lnTo>
                  <a:lnTo>
                    <a:pt x="152067" y="214636"/>
                  </a:lnTo>
                  <a:lnTo>
                    <a:pt x="139779" y="214541"/>
                  </a:lnTo>
                  <a:lnTo>
                    <a:pt x="123101" y="225019"/>
                  </a:lnTo>
                  <a:lnTo>
                    <a:pt x="120501" y="238640"/>
                  </a:lnTo>
                  <a:lnTo>
                    <a:pt x="114386" y="244526"/>
                  </a:lnTo>
                  <a:lnTo>
                    <a:pt x="97774" y="244307"/>
                  </a:lnTo>
                  <a:lnTo>
                    <a:pt x="87316" y="251327"/>
                  </a:lnTo>
                  <a:lnTo>
                    <a:pt x="87449" y="262566"/>
                  </a:lnTo>
                  <a:lnTo>
                    <a:pt x="74533" y="270281"/>
                  </a:lnTo>
                  <a:lnTo>
                    <a:pt x="59798" y="267662"/>
                  </a:lnTo>
                  <a:lnTo>
                    <a:pt x="41939" y="277016"/>
                  </a:lnTo>
                  <a:lnTo>
                    <a:pt x="29594" y="278587"/>
                  </a:lnTo>
                  <a:lnTo>
                    <a:pt x="20879" y="259194"/>
                  </a:lnTo>
                  <a:lnTo>
                    <a:pt x="0" y="213084"/>
                  </a:lnTo>
                  <a:lnTo>
                    <a:pt x="80115" y="184918"/>
                  </a:lnTo>
                  <a:lnTo>
                    <a:pt x="97917" y="128035"/>
                  </a:lnTo>
                  <a:lnTo>
                    <a:pt x="85677" y="107699"/>
                  </a:lnTo>
                  <a:lnTo>
                    <a:pt x="86373" y="96088"/>
                  </a:lnTo>
                  <a:lnTo>
                    <a:pt x="94155" y="84125"/>
                  </a:lnTo>
                  <a:lnTo>
                    <a:pt x="94231" y="72266"/>
                  </a:lnTo>
                  <a:lnTo>
                    <a:pt x="106318" y="66542"/>
                  </a:lnTo>
                  <a:lnTo>
                    <a:pt x="101594" y="62494"/>
                  </a:lnTo>
                  <a:lnTo>
                    <a:pt x="103775" y="43472"/>
                  </a:lnTo>
                  <a:lnTo>
                    <a:pt x="117424" y="43358"/>
                  </a:lnTo>
                  <a:lnTo>
                    <a:pt x="129397" y="63313"/>
                  </a:lnTo>
                  <a:lnTo>
                    <a:pt x="144304" y="73866"/>
                  </a:lnTo>
                  <a:lnTo>
                    <a:pt x="163897" y="77657"/>
                  </a:lnTo>
                  <a:lnTo>
                    <a:pt x="179708" y="82944"/>
                  </a:lnTo>
                  <a:lnTo>
                    <a:pt x="191767" y="99517"/>
                  </a:lnTo>
                  <a:lnTo>
                    <a:pt x="198968" y="109090"/>
                  </a:lnTo>
                  <a:lnTo>
                    <a:pt x="208531" y="112728"/>
                  </a:lnTo>
                  <a:lnTo>
                    <a:pt x="208474" y="119139"/>
                  </a:lnTo>
                  <a:lnTo>
                    <a:pt x="198749" y="136207"/>
                  </a:lnTo>
                  <a:lnTo>
                    <a:pt x="194482" y="144218"/>
                  </a:lnTo>
                  <a:lnTo>
                    <a:pt x="183223" y="153343"/>
                  </a:lnTo>
                  <a:close/>
                  <a:moveTo>
                    <a:pt x="117263" y="14802"/>
                  </a:moveTo>
                  <a:lnTo>
                    <a:pt x="113786" y="20155"/>
                  </a:lnTo>
                  <a:lnTo>
                    <a:pt x="108699" y="10087"/>
                  </a:lnTo>
                  <a:lnTo>
                    <a:pt x="116481" y="0"/>
                  </a:lnTo>
                  <a:lnTo>
                    <a:pt x="119786" y="2581"/>
                  </a:lnTo>
                  <a:lnTo>
                    <a:pt x="117263" y="148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orme libre : forme 5773">
              <a:extLst>
                <a:ext uri="{FF2B5EF4-FFF2-40B4-BE49-F238E27FC236}">
                  <a16:creationId xmlns:a16="http://schemas.microsoft.com/office/drawing/2014/main" id="{DD3563F9-A4E2-13B2-B65F-E1FEB54190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605155" y="4486460"/>
              <a:ext cx="152847" cy="64131"/>
            </a:xfrm>
            <a:custGeom>
              <a:avLst/>
              <a:gdLst>
                <a:gd name="connsiteX0" fmla="*/ 135789 w 152847"/>
                <a:gd name="connsiteY0" fmla="*/ 64046 h 64131"/>
                <a:gd name="connsiteX1" fmla="*/ 126883 w 152847"/>
                <a:gd name="connsiteY1" fmla="*/ 56331 h 64131"/>
                <a:gd name="connsiteX2" fmla="*/ 121158 w 152847"/>
                <a:gd name="connsiteY2" fmla="*/ 41872 h 64131"/>
                <a:gd name="connsiteX3" fmla="*/ 127759 w 152847"/>
                <a:gd name="connsiteY3" fmla="*/ 34719 h 64131"/>
                <a:gd name="connsiteX4" fmla="*/ 120996 w 152847"/>
                <a:gd name="connsiteY4" fmla="*/ 32871 h 64131"/>
                <a:gd name="connsiteX5" fmla="*/ 116005 w 152847"/>
                <a:gd name="connsiteY5" fmla="*/ 24012 h 64131"/>
                <a:gd name="connsiteX6" fmla="*/ 102699 w 152847"/>
                <a:gd name="connsiteY6" fmla="*/ 16555 h 64131"/>
                <a:gd name="connsiteX7" fmla="*/ 91021 w 152847"/>
                <a:gd name="connsiteY7" fmla="*/ 18259 h 64131"/>
                <a:gd name="connsiteX8" fmla="*/ 85601 w 152847"/>
                <a:gd name="connsiteY8" fmla="*/ 27594 h 64131"/>
                <a:gd name="connsiteX9" fmla="*/ 74809 w 152847"/>
                <a:gd name="connsiteY9" fmla="*/ 34337 h 64131"/>
                <a:gd name="connsiteX10" fmla="*/ 68990 w 152847"/>
                <a:gd name="connsiteY10" fmla="*/ 35271 h 64131"/>
                <a:gd name="connsiteX11" fmla="*/ 66370 w 152847"/>
                <a:gd name="connsiteY11" fmla="*/ 40853 h 64131"/>
                <a:gd name="connsiteX12" fmla="*/ 79115 w 152847"/>
                <a:gd name="connsiteY12" fmla="*/ 55388 h 64131"/>
                <a:gd name="connsiteX13" fmla="*/ 71819 w 152847"/>
                <a:gd name="connsiteY13" fmla="*/ 58807 h 64131"/>
                <a:gd name="connsiteX14" fmla="*/ 67961 w 152847"/>
                <a:gd name="connsiteY14" fmla="*/ 62770 h 64131"/>
                <a:gd name="connsiteX15" fmla="*/ 55531 w 152847"/>
                <a:gd name="connsiteY15" fmla="*/ 64132 h 64131"/>
                <a:gd name="connsiteX16" fmla="*/ 50911 w 152847"/>
                <a:gd name="connsiteY16" fmla="*/ 48149 h 64131"/>
                <a:gd name="connsiteX17" fmla="*/ 47434 w 152847"/>
                <a:gd name="connsiteY17" fmla="*/ 52702 h 64131"/>
                <a:gd name="connsiteX18" fmla="*/ 38624 w 152847"/>
                <a:gd name="connsiteY18" fmla="*/ 51121 h 64131"/>
                <a:gd name="connsiteX19" fmla="*/ 33242 w 152847"/>
                <a:gd name="connsiteY19" fmla="*/ 40348 h 64131"/>
                <a:gd name="connsiteX20" fmla="*/ 22288 w 152847"/>
                <a:gd name="connsiteY20" fmla="*/ 38567 h 64131"/>
                <a:gd name="connsiteX21" fmla="*/ 15354 w 152847"/>
                <a:gd name="connsiteY21" fmla="*/ 35433 h 64131"/>
                <a:gd name="connsiteX22" fmla="*/ 3896 w 152847"/>
                <a:gd name="connsiteY22" fmla="*/ 35471 h 64131"/>
                <a:gd name="connsiteX23" fmla="*/ 3067 w 152847"/>
                <a:gd name="connsiteY23" fmla="*/ 41291 h 64131"/>
                <a:gd name="connsiteX24" fmla="*/ 0 w 152847"/>
                <a:gd name="connsiteY24" fmla="*/ 37233 h 64131"/>
                <a:gd name="connsiteX25" fmla="*/ 1410 w 152847"/>
                <a:gd name="connsiteY25" fmla="*/ 31918 h 64131"/>
                <a:gd name="connsiteX26" fmla="*/ 3639 w 152847"/>
                <a:gd name="connsiteY26" fmla="*/ 26479 h 64131"/>
                <a:gd name="connsiteX27" fmla="*/ 2591 w 152847"/>
                <a:gd name="connsiteY27" fmla="*/ 21622 h 64131"/>
                <a:gd name="connsiteX28" fmla="*/ 6591 w 152847"/>
                <a:gd name="connsiteY28" fmla="*/ 18440 h 64131"/>
                <a:gd name="connsiteX29" fmla="*/ 1029 w 152847"/>
                <a:gd name="connsiteY29" fmla="*/ 14449 h 64131"/>
                <a:gd name="connsiteX30" fmla="*/ 876 w 152847"/>
                <a:gd name="connsiteY30" fmla="*/ 3629 h 64131"/>
                <a:gd name="connsiteX31" fmla="*/ 11211 w 152847"/>
                <a:gd name="connsiteY31" fmla="*/ 1219 h 64131"/>
                <a:gd name="connsiteX32" fmla="*/ 20803 w 152847"/>
                <a:gd name="connsiteY32" fmla="*/ 10868 h 64131"/>
                <a:gd name="connsiteX33" fmla="*/ 20250 w 152847"/>
                <a:gd name="connsiteY33" fmla="*/ 16564 h 64131"/>
                <a:gd name="connsiteX34" fmla="*/ 30909 w 152847"/>
                <a:gd name="connsiteY34" fmla="*/ 17774 h 64131"/>
                <a:gd name="connsiteX35" fmla="*/ 33433 w 152847"/>
                <a:gd name="connsiteY35" fmla="*/ 15583 h 64131"/>
                <a:gd name="connsiteX36" fmla="*/ 40767 w 152847"/>
                <a:gd name="connsiteY36" fmla="*/ 22184 h 64131"/>
                <a:gd name="connsiteX37" fmla="*/ 53912 w 152847"/>
                <a:gd name="connsiteY37" fmla="*/ 20241 h 64131"/>
                <a:gd name="connsiteX38" fmla="*/ 65265 w 152847"/>
                <a:gd name="connsiteY38" fmla="*/ 13459 h 64131"/>
                <a:gd name="connsiteX39" fmla="*/ 81486 w 152847"/>
                <a:gd name="connsiteY39" fmla="*/ 8039 h 64131"/>
                <a:gd name="connsiteX40" fmla="*/ 90602 w 152847"/>
                <a:gd name="connsiteY40" fmla="*/ 0 h 64131"/>
                <a:gd name="connsiteX41" fmla="*/ 105346 w 152847"/>
                <a:gd name="connsiteY41" fmla="*/ 1581 h 64131"/>
                <a:gd name="connsiteX42" fmla="*/ 104356 w 152847"/>
                <a:gd name="connsiteY42" fmla="*/ 4229 h 64131"/>
                <a:gd name="connsiteX43" fmla="*/ 119243 w 152847"/>
                <a:gd name="connsiteY43" fmla="*/ 5144 h 64131"/>
                <a:gd name="connsiteX44" fmla="*/ 131131 w 152847"/>
                <a:gd name="connsiteY44" fmla="*/ 9792 h 64131"/>
                <a:gd name="connsiteX45" fmla="*/ 139846 w 152847"/>
                <a:gd name="connsiteY45" fmla="*/ 17869 h 64131"/>
                <a:gd name="connsiteX46" fmla="*/ 149895 w 152847"/>
                <a:gd name="connsiteY46" fmla="*/ 25289 h 64131"/>
                <a:gd name="connsiteX47" fmla="*/ 146647 w 152847"/>
                <a:gd name="connsiteY47" fmla="*/ 29213 h 64131"/>
                <a:gd name="connsiteX48" fmla="*/ 152848 w 152847"/>
                <a:gd name="connsiteY48" fmla="*/ 45006 h 64131"/>
                <a:gd name="connsiteX49" fmla="*/ 147809 w 152847"/>
                <a:gd name="connsiteY49" fmla="*/ 52959 h 64131"/>
                <a:gd name="connsiteX50" fmla="*/ 139208 w 152847"/>
                <a:gd name="connsiteY50" fmla="*/ 51044 h 6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52847" h="64131">
                  <a:moveTo>
                    <a:pt x="135789" y="64046"/>
                  </a:moveTo>
                  <a:lnTo>
                    <a:pt x="126883" y="56331"/>
                  </a:lnTo>
                  <a:lnTo>
                    <a:pt x="121158" y="41872"/>
                  </a:lnTo>
                  <a:lnTo>
                    <a:pt x="127759" y="34719"/>
                  </a:lnTo>
                  <a:lnTo>
                    <a:pt x="120996" y="32871"/>
                  </a:lnTo>
                  <a:lnTo>
                    <a:pt x="116005" y="24012"/>
                  </a:lnTo>
                  <a:lnTo>
                    <a:pt x="102699" y="16555"/>
                  </a:lnTo>
                  <a:lnTo>
                    <a:pt x="91021" y="18259"/>
                  </a:lnTo>
                  <a:lnTo>
                    <a:pt x="85601" y="27594"/>
                  </a:lnTo>
                  <a:lnTo>
                    <a:pt x="74809" y="34337"/>
                  </a:lnTo>
                  <a:lnTo>
                    <a:pt x="68990" y="35271"/>
                  </a:lnTo>
                  <a:lnTo>
                    <a:pt x="66370" y="40853"/>
                  </a:lnTo>
                  <a:lnTo>
                    <a:pt x="79115" y="55388"/>
                  </a:lnTo>
                  <a:lnTo>
                    <a:pt x="71819" y="58807"/>
                  </a:lnTo>
                  <a:lnTo>
                    <a:pt x="67961" y="62770"/>
                  </a:lnTo>
                  <a:lnTo>
                    <a:pt x="55531" y="64132"/>
                  </a:lnTo>
                  <a:lnTo>
                    <a:pt x="50911" y="48149"/>
                  </a:lnTo>
                  <a:lnTo>
                    <a:pt x="47434" y="52702"/>
                  </a:lnTo>
                  <a:lnTo>
                    <a:pt x="38624" y="51121"/>
                  </a:lnTo>
                  <a:lnTo>
                    <a:pt x="33242" y="40348"/>
                  </a:lnTo>
                  <a:lnTo>
                    <a:pt x="22288" y="38567"/>
                  </a:lnTo>
                  <a:lnTo>
                    <a:pt x="15354" y="35433"/>
                  </a:lnTo>
                  <a:lnTo>
                    <a:pt x="3896" y="35471"/>
                  </a:lnTo>
                  <a:lnTo>
                    <a:pt x="3067" y="41291"/>
                  </a:lnTo>
                  <a:lnTo>
                    <a:pt x="0" y="37233"/>
                  </a:lnTo>
                  <a:lnTo>
                    <a:pt x="1410" y="31918"/>
                  </a:lnTo>
                  <a:lnTo>
                    <a:pt x="3639" y="26479"/>
                  </a:lnTo>
                  <a:lnTo>
                    <a:pt x="2591" y="21622"/>
                  </a:lnTo>
                  <a:lnTo>
                    <a:pt x="6591" y="18440"/>
                  </a:lnTo>
                  <a:lnTo>
                    <a:pt x="1029" y="14449"/>
                  </a:lnTo>
                  <a:lnTo>
                    <a:pt x="876" y="3629"/>
                  </a:lnTo>
                  <a:lnTo>
                    <a:pt x="11211" y="1219"/>
                  </a:lnTo>
                  <a:lnTo>
                    <a:pt x="20803" y="10868"/>
                  </a:lnTo>
                  <a:lnTo>
                    <a:pt x="20250" y="16564"/>
                  </a:lnTo>
                  <a:lnTo>
                    <a:pt x="30909" y="17774"/>
                  </a:lnTo>
                  <a:lnTo>
                    <a:pt x="33433" y="15583"/>
                  </a:lnTo>
                  <a:lnTo>
                    <a:pt x="40767" y="22184"/>
                  </a:lnTo>
                  <a:lnTo>
                    <a:pt x="53912" y="20241"/>
                  </a:lnTo>
                  <a:lnTo>
                    <a:pt x="65265" y="13459"/>
                  </a:lnTo>
                  <a:lnTo>
                    <a:pt x="81486" y="8039"/>
                  </a:lnTo>
                  <a:lnTo>
                    <a:pt x="90602" y="0"/>
                  </a:lnTo>
                  <a:lnTo>
                    <a:pt x="105346" y="1581"/>
                  </a:lnTo>
                  <a:lnTo>
                    <a:pt x="104356" y="4229"/>
                  </a:lnTo>
                  <a:lnTo>
                    <a:pt x="119243" y="5144"/>
                  </a:lnTo>
                  <a:lnTo>
                    <a:pt x="131131" y="9792"/>
                  </a:lnTo>
                  <a:lnTo>
                    <a:pt x="139846" y="17869"/>
                  </a:lnTo>
                  <a:lnTo>
                    <a:pt x="149895" y="25289"/>
                  </a:lnTo>
                  <a:lnTo>
                    <a:pt x="146647" y="29213"/>
                  </a:lnTo>
                  <a:lnTo>
                    <a:pt x="152848" y="45006"/>
                  </a:lnTo>
                  <a:lnTo>
                    <a:pt x="147809" y="52959"/>
                  </a:lnTo>
                  <a:lnTo>
                    <a:pt x="139208" y="510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orme libre : forme 5774">
              <a:extLst>
                <a:ext uri="{FF2B5EF4-FFF2-40B4-BE49-F238E27FC236}">
                  <a16:creationId xmlns:a16="http://schemas.microsoft.com/office/drawing/2014/main" id="{B9A2AAD1-636D-8F58-12C5-2C3702A809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646684" y="4744168"/>
              <a:ext cx="340395" cy="493871"/>
            </a:xfrm>
            <a:custGeom>
              <a:avLst/>
              <a:gdLst>
                <a:gd name="connsiteX0" fmla="*/ 315687 w 340395"/>
                <a:gd name="connsiteY0" fmla="*/ 472440 h 493871"/>
                <a:gd name="connsiteX1" fmla="*/ 308524 w 340395"/>
                <a:gd name="connsiteY1" fmla="*/ 486737 h 493871"/>
                <a:gd name="connsiteX2" fmla="*/ 294789 w 340395"/>
                <a:gd name="connsiteY2" fmla="*/ 493871 h 493871"/>
                <a:gd name="connsiteX3" fmla="*/ 268015 w 340395"/>
                <a:gd name="connsiteY3" fmla="*/ 477841 h 493871"/>
                <a:gd name="connsiteX4" fmla="*/ 265700 w 340395"/>
                <a:gd name="connsiteY4" fmla="*/ 466420 h 493871"/>
                <a:gd name="connsiteX5" fmla="*/ 212751 w 340395"/>
                <a:gd name="connsiteY5" fmla="*/ 438569 h 493871"/>
                <a:gd name="connsiteX6" fmla="*/ 164859 w 340395"/>
                <a:gd name="connsiteY6" fmla="*/ 408394 h 493871"/>
                <a:gd name="connsiteX7" fmla="*/ 144256 w 340395"/>
                <a:gd name="connsiteY7" fmla="*/ 391468 h 493871"/>
                <a:gd name="connsiteX8" fmla="*/ 133198 w 340395"/>
                <a:gd name="connsiteY8" fmla="*/ 368846 h 493871"/>
                <a:gd name="connsiteX9" fmla="*/ 137579 w 340395"/>
                <a:gd name="connsiteY9" fmla="*/ 360969 h 493871"/>
                <a:gd name="connsiteX10" fmla="*/ 114967 w 340395"/>
                <a:gd name="connsiteY10" fmla="*/ 325250 h 493871"/>
                <a:gd name="connsiteX11" fmla="*/ 88630 w 340395"/>
                <a:gd name="connsiteY11" fmla="*/ 275320 h 493871"/>
                <a:gd name="connsiteX12" fmla="*/ 63398 w 340395"/>
                <a:gd name="connsiteY12" fmla="*/ 221770 h 493871"/>
                <a:gd name="connsiteX13" fmla="*/ 52483 w 340395"/>
                <a:gd name="connsiteY13" fmla="*/ 209560 h 493871"/>
                <a:gd name="connsiteX14" fmla="*/ 44072 w 340395"/>
                <a:gd name="connsiteY14" fmla="*/ 189852 h 493871"/>
                <a:gd name="connsiteX15" fmla="*/ 23327 w 340395"/>
                <a:gd name="connsiteY15" fmla="*/ 172412 h 493871"/>
                <a:gd name="connsiteX16" fmla="*/ 4296 w 340395"/>
                <a:gd name="connsiteY16" fmla="*/ 161601 h 493871"/>
                <a:gd name="connsiteX17" fmla="*/ 12945 w 340395"/>
                <a:gd name="connsiteY17" fmla="*/ 149695 h 493871"/>
                <a:gd name="connsiteX18" fmla="*/ 0 w 340395"/>
                <a:gd name="connsiteY18" fmla="*/ 124292 h 493871"/>
                <a:gd name="connsiteX19" fmla="*/ 8306 w 340395"/>
                <a:gd name="connsiteY19" fmla="*/ 105651 h 493871"/>
                <a:gd name="connsiteX20" fmla="*/ 29604 w 340395"/>
                <a:gd name="connsiteY20" fmla="*/ 88868 h 493871"/>
                <a:gd name="connsiteX21" fmla="*/ 32766 w 340395"/>
                <a:gd name="connsiteY21" fmla="*/ 99927 h 493871"/>
                <a:gd name="connsiteX22" fmla="*/ 25146 w 340395"/>
                <a:gd name="connsiteY22" fmla="*/ 106261 h 493871"/>
                <a:gd name="connsiteX23" fmla="*/ 25870 w 340395"/>
                <a:gd name="connsiteY23" fmla="*/ 116014 h 493871"/>
                <a:gd name="connsiteX24" fmla="*/ 36909 w 340395"/>
                <a:gd name="connsiteY24" fmla="*/ 113890 h 493871"/>
                <a:gd name="connsiteX25" fmla="*/ 47692 w 340395"/>
                <a:gd name="connsiteY25" fmla="*/ 116767 h 493871"/>
                <a:gd name="connsiteX26" fmla="*/ 58903 w 340395"/>
                <a:gd name="connsiteY26" fmla="*/ 130207 h 493871"/>
                <a:gd name="connsiteX27" fmla="*/ 74000 w 340395"/>
                <a:gd name="connsiteY27" fmla="*/ 119253 h 493871"/>
                <a:gd name="connsiteX28" fmla="*/ 79058 w 340395"/>
                <a:gd name="connsiteY28" fmla="*/ 101317 h 493871"/>
                <a:gd name="connsiteX29" fmla="*/ 95421 w 340395"/>
                <a:gd name="connsiteY29" fmla="*/ 78191 h 493871"/>
                <a:gd name="connsiteX30" fmla="*/ 127530 w 340395"/>
                <a:gd name="connsiteY30" fmla="*/ 67713 h 493871"/>
                <a:gd name="connsiteX31" fmla="*/ 156658 w 340395"/>
                <a:gd name="connsiteY31" fmla="*/ 39919 h 493871"/>
                <a:gd name="connsiteX32" fmla="*/ 164973 w 340395"/>
                <a:gd name="connsiteY32" fmla="*/ 22670 h 493871"/>
                <a:gd name="connsiteX33" fmla="*/ 161239 w 340395"/>
                <a:gd name="connsiteY33" fmla="*/ 2524 h 493871"/>
                <a:gd name="connsiteX34" fmla="*/ 168364 w 340395"/>
                <a:gd name="connsiteY34" fmla="*/ 0 h 493871"/>
                <a:gd name="connsiteX35" fmla="*/ 186128 w 340395"/>
                <a:gd name="connsiteY35" fmla="*/ 12573 h 493871"/>
                <a:gd name="connsiteX36" fmla="*/ 194653 w 340395"/>
                <a:gd name="connsiteY36" fmla="*/ 25089 h 493871"/>
                <a:gd name="connsiteX37" fmla="*/ 207016 w 340395"/>
                <a:gd name="connsiteY37" fmla="*/ 31928 h 493871"/>
                <a:gd name="connsiteX38" fmla="*/ 222752 w 340395"/>
                <a:gd name="connsiteY38" fmla="*/ 59750 h 493871"/>
                <a:gd name="connsiteX39" fmla="*/ 242630 w 340395"/>
                <a:gd name="connsiteY39" fmla="*/ 63084 h 493871"/>
                <a:gd name="connsiteX40" fmla="*/ 257346 w 340395"/>
                <a:gd name="connsiteY40" fmla="*/ 56064 h 493871"/>
                <a:gd name="connsiteX41" fmla="*/ 266995 w 340395"/>
                <a:gd name="connsiteY41" fmla="*/ 60655 h 493871"/>
                <a:gd name="connsiteX42" fmla="*/ 283026 w 340395"/>
                <a:gd name="connsiteY42" fmla="*/ 58369 h 493871"/>
                <a:gd name="connsiteX43" fmla="*/ 303476 w 340395"/>
                <a:gd name="connsiteY43" fmla="*/ 70809 h 493871"/>
                <a:gd name="connsiteX44" fmla="*/ 286245 w 340395"/>
                <a:gd name="connsiteY44" fmla="*/ 97850 h 493871"/>
                <a:gd name="connsiteX45" fmla="*/ 294218 w 340395"/>
                <a:gd name="connsiteY45" fmla="*/ 98479 h 493871"/>
                <a:gd name="connsiteX46" fmla="*/ 307591 w 340395"/>
                <a:gd name="connsiteY46" fmla="*/ 112614 h 493871"/>
                <a:gd name="connsiteX47" fmla="*/ 283521 w 340395"/>
                <a:gd name="connsiteY47" fmla="*/ 111366 h 493871"/>
                <a:gd name="connsiteX48" fmla="*/ 279940 w 340395"/>
                <a:gd name="connsiteY48" fmla="*/ 115367 h 493871"/>
                <a:gd name="connsiteX49" fmla="*/ 258051 w 340395"/>
                <a:gd name="connsiteY49" fmla="*/ 120491 h 493871"/>
                <a:gd name="connsiteX50" fmla="*/ 227514 w 340395"/>
                <a:gd name="connsiteY50" fmla="*/ 138608 h 493871"/>
                <a:gd name="connsiteX51" fmla="*/ 225571 w 340395"/>
                <a:gd name="connsiteY51" fmla="*/ 151047 h 493871"/>
                <a:gd name="connsiteX52" fmla="*/ 218761 w 340395"/>
                <a:gd name="connsiteY52" fmla="*/ 160325 h 493871"/>
                <a:gd name="connsiteX53" fmla="*/ 221418 w 340395"/>
                <a:gd name="connsiteY53" fmla="*/ 174765 h 493871"/>
                <a:gd name="connsiteX54" fmla="*/ 205283 w 340395"/>
                <a:gd name="connsiteY54" fmla="*/ 182480 h 493871"/>
                <a:gd name="connsiteX55" fmla="*/ 205302 w 340395"/>
                <a:gd name="connsiteY55" fmla="*/ 193767 h 493871"/>
                <a:gd name="connsiteX56" fmla="*/ 198263 w 340395"/>
                <a:gd name="connsiteY56" fmla="*/ 198663 h 493871"/>
                <a:gd name="connsiteX57" fmla="*/ 209379 w 340395"/>
                <a:gd name="connsiteY57" fmla="*/ 222790 h 493871"/>
                <a:gd name="connsiteX58" fmla="*/ 224218 w 340395"/>
                <a:gd name="connsiteY58" fmla="*/ 239116 h 493871"/>
                <a:gd name="connsiteX59" fmla="*/ 218570 w 340395"/>
                <a:gd name="connsiteY59" fmla="*/ 250660 h 493871"/>
                <a:gd name="connsiteX60" fmla="*/ 236296 w 340395"/>
                <a:gd name="connsiteY60" fmla="*/ 252222 h 493871"/>
                <a:gd name="connsiteX61" fmla="*/ 246393 w 340395"/>
                <a:gd name="connsiteY61" fmla="*/ 266586 h 493871"/>
                <a:gd name="connsiteX62" fmla="*/ 269967 w 340395"/>
                <a:gd name="connsiteY62" fmla="*/ 267281 h 493871"/>
                <a:gd name="connsiteX63" fmla="*/ 291874 w 340395"/>
                <a:gd name="connsiteY63" fmla="*/ 251412 h 493871"/>
                <a:gd name="connsiteX64" fmla="*/ 290094 w 340395"/>
                <a:gd name="connsiteY64" fmla="*/ 292370 h 493871"/>
                <a:gd name="connsiteX65" fmla="*/ 302238 w 340395"/>
                <a:gd name="connsiteY65" fmla="*/ 295475 h 493871"/>
                <a:gd name="connsiteX66" fmla="*/ 317306 w 340395"/>
                <a:gd name="connsiteY66" fmla="*/ 290827 h 493871"/>
                <a:gd name="connsiteX67" fmla="*/ 340395 w 340395"/>
                <a:gd name="connsiteY67" fmla="*/ 334451 h 493871"/>
                <a:gd name="connsiteX68" fmla="*/ 334661 w 340395"/>
                <a:gd name="connsiteY68" fmla="*/ 343662 h 493871"/>
                <a:gd name="connsiteX69" fmla="*/ 333337 w 340395"/>
                <a:gd name="connsiteY69" fmla="*/ 362826 h 493871"/>
                <a:gd name="connsiteX70" fmla="*/ 332823 w 340395"/>
                <a:gd name="connsiteY70" fmla="*/ 386096 h 493871"/>
                <a:gd name="connsiteX71" fmla="*/ 322383 w 340395"/>
                <a:gd name="connsiteY71" fmla="*/ 399812 h 493871"/>
                <a:gd name="connsiteX72" fmla="*/ 327165 w 340395"/>
                <a:gd name="connsiteY72" fmla="*/ 410003 h 493871"/>
                <a:gd name="connsiteX73" fmla="*/ 321040 w 340395"/>
                <a:gd name="connsiteY73" fmla="*/ 419262 h 493871"/>
                <a:gd name="connsiteX74" fmla="*/ 332527 w 340395"/>
                <a:gd name="connsiteY74" fmla="*/ 442474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40395" h="493871">
                  <a:moveTo>
                    <a:pt x="315687" y="472440"/>
                  </a:moveTo>
                  <a:lnTo>
                    <a:pt x="308524" y="486737"/>
                  </a:lnTo>
                  <a:lnTo>
                    <a:pt x="294789" y="493871"/>
                  </a:lnTo>
                  <a:lnTo>
                    <a:pt x="268015" y="477841"/>
                  </a:lnTo>
                  <a:lnTo>
                    <a:pt x="265700" y="466420"/>
                  </a:lnTo>
                  <a:lnTo>
                    <a:pt x="212751" y="438569"/>
                  </a:lnTo>
                  <a:lnTo>
                    <a:pt x="164859" y="408394"/>
                  </a:lnTo>
                  <a:lnTo>
                    <a:pt x="144256" y="391468"/>
                  </a:lnTo>
                  <a:lnTo>
                    <a:pt x="133198" y="368846"/>
                  </a:lnTo>
                  <a:lnTo>
                    <a:pt x="137579" y="360969"/>
                  </a:lnTo>
                  <a:lnTo>
                    <a:pt x="114967" y="325250"/>
                  </a:lnTo>
                  <a:lnTo>
                    <a:pt x="88630" y="275320"/>
                  </a:lnTo>
                  <a:lnTo>
                    <a:pt x="63398" y="221770"/>
                  </a:lnTo>
                  <a:lnTo>
                    <a:pt x="52483" y="209560"/>
                  </a:lnTo>
                  <a:lnTo>
                    <a:pt x="44072" y="189852"/>
                  </a:lnTo>
                  <a:lnTo>
                    <a:pt x="23327" y="172412"/>
                  </a:lnTo>
                  <a:lnTo>
                    <a:pt x="4296" y="161601"/>
                  </a:lnTo>
                  <a:lnTo>
                    <a:pt x="12945" y="149695"/>
                  </a:lnTo>
                  <a:lnTo>
                    <a:pt x="0" y="124292"/>
                  </a:lnTo>
                  <a:lnTo>
                    <a:pt x="8306" y="105651"/>
                  </a:lnTo>
                  <a:lnTo>
                    <a:pt x="29604" y="88868"/>
                  </a:lnTo>
                  <a:lnTo>
                    <a:pt x="32766" y="99927"/>
                  </a:lnTo>
                  <a:lnTo>
                    <a:pt x="25146" y="106261"/>
                  </a:lnTo>
                  <a:lnTo>
                    <a:pt x="25870" y="116014"/>
                  </a:lnTo>
                  <a:lnTo>
                    <a:pt x="36909" y="113890"/>
                  </a:lnTo>
                  <a:lnTo>
                    <a:pt x="47692" y="116767"/>
                  </a:lnTo>
                  <a:lnTo>
                    <a:pt x="58903" y="130207"/>
                  </a:lnTo>
                  <a:lnTo>
                    <a:pt x="74000" y="119253"/>
                  </a:lnTo>
                  <a:lnTo>
                    <a:pt x="79058" y="101317"/>
                  </a:lnTo>
                  <a:lnTo>
                    <a:pt x="95421" y="78191"/>
                  </a:lnTo>
                  <a:lnTo>
                    <a:pt x="127530" y="67713"/>
                  </a:lnTo>
                  <a:lnTo>
                    <a:pt x="156658" y="39919"/>
                  </a:lnTo>
                  <a:lnTo>
                    <a:pt x="164973" y="22670"/>
                  </a:lnTo>
                  <a:lnTo>
                    <a:pt x="161239" y="2524"/>
                  </a:lnTo>
                  <a:lnTo>
                    <a:pt x="168364" y="0"/>
                  </a:lnTo>
                  <a:lnTo>
                    <a:pt x="186128" y="12573"/>
                  </a:lnTo>
                  <a:lnTo>
                    <a:pt x="194653" y="25089"/>
                  </a:lnTo>
                  <a:lnTo>
                    <a:pt x="207016" y="31928"/>
                  </a:lnTo>
                  <a:lnTo>
                    <a:pt x="222752" y="59750"/>
                  </a:lnTo>
                  <a:lnTo>
                    <a:pt x="242630" y="63084"/>
                  </a:lnTo>
                  <a:lnTo>
                    <a:pt x="257346" y="56064"/>
                  </a:lnTo>
                  <a:lnTo>
                    <a:pt x="266995" y="60655"/>
                  </a:lnTo>
                  <a:lnTo>
                    <a:pt x="283026" y="58369"/>
                  </a:lnTo>
                  <a:lnTo>
                    <a:pt x="303476" y="70809"/>
                  </a:lnTo>
                  <a:lnTo>
                    <a:pt x="286245" y="97850"/>
                  </a:lnTo>
                  <a:lnTo>
                    <a:pt x="294218" y="98479"/>
                  </a:lnTo>
                  <a:lnTo>
                    <a:pt x="307591" y="112614"/>
                  </a:lnTo>
                  <a:lnTo>
                    <a:pt x="283521" y="111366"/>
                  </a:lnTo>
                  <a:lnTo>
                    <a:pt x="279940" y="115367"/>
                  </a:lnTo>
                  <a:lnTo>
                    <a:pt x="258051" y="120491"/>
                  </a:lnTo>
                  <a:lnTo>
                    <a:pt x="227514" y="138608"/>
                  </a:lnTo>
                  <a:lnTo>
                    <a:pt x="225571" y="151047"/>
                  </a:lnTo>
                  <a:lnTo>
                    <a:pt x="218761" y="160325"/>
                  </a:lnTo>
                  <a:lnTo>
                    <a:pt x="221418" y="174765"/>
                  </a:lnTo>
                  <a:lnTo>
                    <a:pt x="205283" y="182480"/>
                  </a:lnTo>
                  <a:lnTo>
                    <a:pt x="205302" y="193767"/>
                  </a:lnTo>
                  <a:lnTo>
                    <a:pt x="198263" y="198663"/>
                  </a:lnTo>
                  <a:lnTo>
                    <a:pt x="209379" y="222790"/>
                  </a:lnTo>
                  <a:lnTo>
                    <a:pt x="224218" y="239116"/>
                  </a:lnTo>
                  <a:lnTo>
                    <a:pt x="218570" y="250660"/>
                  </a:lnTo>
                  <a:lnTo>
                    <a:pt x="236296" y="252222"/>
                  </a:lnTo>
                  <a:lnTo>
                    <a:pt x="246393" y="266586"/>
                  </a:lnTo>
                  <a:lnTo>
                    <a:pt x="269967" y="267281"/>
                  </a:lnTo>
                  <a:lnTo>
                    <a:pt x="291874" y="251412"/>
                  </a:lnTo>
                  <a:lnTo>
                    <a:pt x="290094" y="292370"/>
                  </a:lnTo>
                  <a:lnTo>
                    <a:pt x="302238" y="295475"/>
                  </a:lnTo>
                  <a:lnTo>
                    <a:pt x="317306" y="290827"/>
                  </a:lnTo>
                  <a:lnTo>
                    <a:pt x="340395" y="334451"/>
                  </a:lnTo>
                  <a:lnTo>
                    <a:pt x="334661" y="343662"/>
                  </a:lnTo>
                  <a:lnTo>
                    <a:pt x="333337" y="362826"/>
                  </a:lnTo>
                  <a:lnTo>
                    <a:pt x="332823" y="386096"/>
                  </a:lnTo>
                  <a:lnTo>
                    <a:pt x="322383" y="399812"/>
                  </a:lnTo>
                  <a:lnTo>
                    <a:pt x="327165" y="410003"/>
                  </a:lnTo>
                  <a:lnTo>
                    <a:pt x="321040" y="419262"/>
                  </a:lnTo>
                  <a:lnTo>
                    <a:pt x="332527" y="4424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orme libre : forme 5775">
              <a:extLst>
                <a:ext uri="{FF2B5EF4-FFF2-40B4-BE49-F238E27FC236}">
                  <a16:creationId xmlns:a16="http://schemas.microsoft.com/office/drawing/2014/main" id="{627ADC66-C36B-42ED-372C-6AB31BEBC81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586540" y="4808995"/>
              <a:ext cx="401126" cy="217903"/>
            </a:xfrm>
            <a:custGeom>
              <a:avLst/>
              <a:gdLst>
                <a:gd name="connsiteX0" fmla="*/ 397393 w 401126"/>
                <a:gd name="connsiteY0" fmla="*/ 115014 h 217903"/>
                <a:gd name="connsiteX1" fmla="*/ 389915 w 401126"/>
                <a:gd name="connsiteY1" fmla="*/ 117691 h 217903"/>
                <a:gd name="connsiteX2" fmla="*/ 378352 w 401126"/>
                <a:gd name="connsiteY2" fmla="*/ 107432 h 217903"/>
                <a:gd name="connsiteX3" fmla="*/ 366656 w 401126"/>
                <a:gd name="connsiteY3" fmla="*/ 90488 h 217903"/>
                <a:gd name="connsiteX4" fmla="*/ 360902 w 401126"/>
                <a:gd name="connsiteY4" fmla="*/ 70190 h 217903"/>
                <a:gd name="connsiteX5" fmla="*/ 364607 w 401126"/>
                <a:gd name="connsiteY5" fmla="*/ 67608 h 217903"/>
                <a:gd name="connsiteX6" fmla="*/ 367475 w 401126"/>
                <a:gd name="connsiteY6" fmla="*/ 75533 h 217903"/>
                <a:gd name="connsiteX7" fmla="*/ 375571 w 401126"/>
                <a:gd name="connsiteY7" fmla="*/ 81582 h 217903"/>
                <a:gd name="connsiteX8" fmla="*/ 388515 w 401126"/>
                <a:gd name="connsiteY8" fmla="*/ 98488 h 217903"/>
                <a:gd name="connsiteX9" fmla="*/ 401126 w 401126"/>
                <a:gd name="connsiteY9" fmla="*/ 107547 h 217903"/>
                <a:gd name="connsiteX10" fmla="*/ 397393 w 401126"/>
                <a:gd name="connsiteY10" fmla="*/ 115014 h 217903"/>
                <a:gd name="connsiteX11" fmla="*/ 293322 w 401126"/>
                <a:gd name="connsiteY11" fmla="*/ 79210 h 217903"/>
                <a:gd name="connsiteX12" fmla="*/ 279330 w 401126"/>
                <a:gd name="connsiteY12" fmla="*/ 81401 h 217903"/>
                <a:gd name="connsiteX13" fmla="*/ 275120 w 401126"/>
                <a:gd name="connsiteY13" fmla="*/ 88878 h 217903"/>
                <a:gd name="connsiteX14" fmla="*/ 260518 w 401126"/>
                <a:gd name="connsiteY14" fmla="*/ 95364 h 217903"/>
                <a:gd name="connsiteX15" fmla="*/ 246812 w 401126"/>
                <a:gd name="connsiteY15" fmla="*/ 101603 h 217903"/>
                <a:gd name="connsiteX16" fmla="*/ 232629 w 401126"/>
                <a:gd name="connsiteY16" fmla="*/ 101575 h 217903"/>
                <a:gd name="connsiteX17" fmla="*/ 210731 w 401126"/>
                <a:gd name="connsiteY17" fmla="*/ 93831 h 217903"/>
                <a:gd name="connsiteX18" fmla="*/ 195472 w 401126"/>
                <a:gd name="connsiteY18" fmla="*/ 86392 h 217903"/>
                <a:gd name="connsiteX19" fmla="*/ 197682 w 401126"/>
                <a:gd name="connsiteY19" fmla="*/ 78143 h 217903"/>
                <a:gd name="connsiteX20" fmla="*/ 221628 w 401126"/>
                <a:gd name="connsiteY20" fmla="*/ 82039 h 217903"/>
                <a:gd name="connsiteX21" fmla="*/ 236239 w 401126"/>
                <a:gd name="connsiteY21" fmla="*/ 79953 h 217903"/>
                <a:gd name="connsiteX22" fmla="*/ 240268 w 401126"/>
                <a:gd name="connsiteY22" fmla="*/ 67180 h 217903"/>
                <a:gd name="connsiteX23" fmla="*/ 244097 w 401126"/>
                <a:gd name="connsiteY23" fmla="*/ 66523 h 217903"/>
                <a:gd name="connsiteX24" fmla="*/ 246688 w 401126"/>
                <a:gd name="connsiteY24" fmla="*/ 80667 h 217903"/>
                <a:gd name="connsiteX25" fmla="*/ 261928 w 401126"/>
                <a:gd name="connsiteY25" fmla="*/ 78629 h 217903"/>
                <a:gd name="connsiteX26" fmla="*/ 269462 w 401126"/>
                <a:gd name="connsiteY26" fmla="*/ 69513 h 217903"/>
                <a:gd name="connsiteX27" fmla="*/ 284369 w 401126"/>
                <a:gd name="connsiteY27" fmla="*/ 60017 h 217903"/>
                <a:gd name="connsiteX28" fmla="*/ 281426 w 401126"/>
                <a:gd name="connsiteY28" fmla="*/ 44339 h 217903"/>
                <a:gd name="connsiteX29" fmla="*/ 297428 w 401126"/>
                <a:gd name="connsiteY29" fmla="*/ 43834 h 217903"/>
                <a:gd name="connsiteX30" fmla="*/ 302819 w 401126"/>
                <a:gd name="connsiteY30" fmla="*/ 48196 h 217903"/>
                <a:gd name="connsiteX31" fmla="*/ 302276 w 401126"/>
                <a:gd name="connsiteY31" fmla="*/ 62960 h 217903"/>
                <a:gd name="connsiteX32" fmla="*/ 293322 w 401126"/>
                <a:gd name="connsiteY32" fmla="*/ 79210 h 217903"/>
                <a:gd name="connsiteX33" fmla="*/ 165363 w 401126"/>
                <a:gd name="connsiteY33" fmla="*/ 130207 h 217903"/>
                <a:gd name="connsiteX34" fmla="*/ 189214 w 401126"/>
                <a:gd name="connsiteY34" fmla="*/ 147771 h 217903"/>
                <a:gd name="connsiteX35" fmla="*/ 206550 w 401126"/>
                <a:gd name="connsiteY35" fmla="*/ 176222 h 217903"/>
                <a:gd name="connsiteX36" fmla="*/ 221847 w 401126"/>
                <a:gd name="connsiteY36" fmla="*/ 175327 h 217903"/>
                <a:gd name="connsiteX37" fmla="*/ 220770 w 401126"/>
                <a:gd name="connsiteY37" fmla="*/ 187233 h 217903"/>
                <a:gd name="connsiteX38" fmla="*/ 241392 w 401126"/>
                <a:gd name="connsiteY38" fmla="*/ 191805 h 217903"/>
                <a:gd name="connsiteX39" fmla="*/ 233382 w 401126"/>
                <a:gd name="connsiteY39" fmla="*/ 196882 h 217903"/>
                <a:gd name="connsiteX40" fmla="*/ 261757 w 401126"/>
                <a:gd name="connsiteY40" fmla="*/ 208216 h 217903"/>
                <a:gd name="connsiteX41" fmla="*/ 258794 w 401126"/>
                <a:gd name="connsiteY41" fmla="*/ 216017 h 217903"/>
                <a:gd name="connsiteX42" fmla="*/ 241106 w 401126"/>
                <a:gd name="connsiteY42" fmla="*/ 217903 h 217903"/>
                <a:gd name="connsiteX43" fmla="*/ 234543 w 401126"/>
                <a:gd name="connsiteY43" fmla="*/ 210912 h 217903"/>
                <a:gd name="connsiteX44" fmla="*/ 211598 w 401126"/>
                <a:gd name="connsiteY44" fmla="*/ 207883 h 217903"/>
                <a:gd name="connsiteX45" fmla="*/ 184623 w 401126"/>
                <a:gd name="connsiteY45" fmla="*/ 203825 h 217903"/>
                <a:gd name="connsiteX46" fmla="*/ 163849 w 401126"/>
                <a:gd name="connsiteY46" fmla="*/ 186642 h 217903"/>
                <a:gd name="connsiteX47" fmla="*/ 148694 w 401126"/>
                <a:gd name="connsiteY47" fmla="*/ 171860 h 217903"/>
                <a:gd name="connsiteX48" fmla="*/ 134817 w 401126"/>
                <a:gd name="connsiteY48" fmla="*/ 148380 h 217903"/>
                <a:gd name="connsiteX49" fmla="*/ 99984 w 401126"/>
                <a:gd name="connsiteY49" fmla="*/ 136674 h 217903"/>
                <a:gd name="connsiteX50" fmla="*/ 77362 w 401126"/>
                <a:gd name="connsiteY50" fmla="*/ 144313 h 217903"/>
                <a:gd name="connsiteX51" fmla="*/ 61055 w 401126"/>
                <a:gd name="connsiteY51" fmla="*/ 153162 h 217903"/>
                <a:gd name="connsiteX52" fmla="*/ 64455 w 401126"/>
                <a:gd name="connsiteY52" fmla="*/ 172955 h 217903"/>
                <a:gd name="connsiteX53" fmla="*/ 43482 w 401126"/>
                <a:gd name="connsiteY53" fmla="*/ 182194 h 217903"/>
                <a:gd name="connsiteX54" fmla="*/ 28527 w 401126"/>
                <a:gd name="connsiteY54" fmla="*/ 177698 h 217903"/>
                <a:gd name="connsiteX55" fmla="*/ 905 w 401126"/>
                <a:gd name="connsiteY55" fmla="*/ 176574 h 217903"/>
                <a:gd name="connsiteX56" fmla="*/ 448 w 401126"/>
                <a:gd name="connsiteY56" fmla="*/ 89354 h 217903"/>
                <a:gd name="connsiteX57" fmla="*/ 0 w 401126"/>
                <a:gd name="connsiteY57" fmla="*/ 2648 h 217903"/>
                <a:gd name="connsiteX58" fmla="*/ 46339 w 401126"/>
                <a:gd name="connsiteY58" fmla="*/ 20946 h 217903"/>
                <a:gd name="connsiteX59" fmla="*/ 95717 w 401126"/>
                <a:gd name="connsiteY59" fmla="*/ 36157 h 217903"/>
                <a:gd name="connsiteX60" fmla="*/ 114119 w 401126"/>
                <a:gd name="connsiteY60" fmla="*/ 49777 h 217903"/>
                <a:gd name="connsiteX61" fmla="*/ 128997 w 401126"/>
                <a:gd name="connsiteY61" fmla="*/ 63160 h 217903"/>
                <a:gd name="connsiteX62" fmla="*/ 133055 w 401126"/>
                <a:gd name="connsiteY62" fmla="*/ 78848 h 217903"/>
                <a:gd name="connsiteX63" fmla="*/ 177555 w 401126"/>
                <a:gd name="connsiteY63" fmla="*/ 95326 h 217903"/>
                <a:gd name="connsiteX64" fmla="*/ 184052 w 401126"/>
                <a:gd name="connsiteY64" fmla="*/ 109480 h 217903"/>
                <a:gd name="connsiteX65" fmla="*/ 159477 w 401126"/>
                <a:gd name="connsiteY65" fmla="*/ 112357 h 217903"/>
                <a:gd name="connsiteX66" fmla="*/ 165363 w 401126"/>
                <a:gd name="connsiteY66" fmla="*/ 130207 h 217903"/>
                <a:gd name="connsiteX67" fmla="*/ 324222 w 401126"/>
                <a:gd name="connsiteY67" fmla="*/ 53159 h 217903"/>
                <a:gd name="connsiteX68" fmla="*/ 315868 w 401126"/>
                <a:gd name="connsiteY68" fmla="*/ 60255 h 217903"/>
                <a:gd name="connsiteX69" fmla="*/ 310839 w 401126"/>
                <a:gd name="connsiteY69" fmla="*/ 44548 h 217903"/>
                <a:gd name="connsiteX70" fmla="*/ 304629 w 401126"/>
                <a:gd name="connsiteY70" fmla="*/ 34271 h 217903"/>
                <a:gd name="connsiteX71" fmla="*/ 292532 w 401126"/>
                <a:gd name="connsiteY71" fmla="*/ 25555 h 217903"/>
                <a:gd name="connsiteX72" fmla="*/ 277330 w 401126"/>
                <a:gd name="connsiteY72" fmla="*/ 14221 h 217903"/>
                <a:gd name="connsiteX73" fmla="*/ 258051 w 401126"/>
                <a:gd name="connsiteY73" fmla="*/ 6410 h 217903"/>
                <a:gd name="connsiteX74" fmla="*/ 265471 w 401126"/>
                <a:gd name="connsiteY74" fmla="*/ 0 h 217903"/>
                <a:gd name="connsiteX75" fmla="*/ 279892 w 401126"/>
                <a:gd name="connsiteY75" fmla="*/ 7439 h 217903"/>
                <a:gd name="connsiteX76" fmla="*/ 288970 w 401126"/>
                <a:gd name="connsiteY76" fmla="*/ 13278 h 217903"/>
                <a:gd name="connsiteX77" fmla="*/ 300190 w 401126"/>
                <a:gd name="connsiteY77" fmla="*/ 19650 h 217903"/>
                <a:gd name="connsiteX78" fmla="*/ 310877 w 401126"/>
                <a:gd name="connsiteY78" fmla="*/ 30813 h 217903"/>
                <a:gd name="connsiteX79" fmla="*/ 321021 w 401126"/>
                <a:gd name="connsiteY79" fmla="*/ 39329 h 217903"/>
                <a:gd name="connsiteX80" fmla="*/ 324222 w 401126"/>
                <a:gd name="connsiteY80" fmla="*/ 53159 h 21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401126" h="217903">
                  <a:moveTo>
                    <a:pt x="397393" y="115014"/>
                  </a:moveTo>
                  <a:lnTo>
                    <a:pt x="389915" y="117691"/>
                  </a:lnTo>
                  <a:lnTo>
                    <a:pt x="378352" y="107432"/>
                  </a:lnTo>
                  <a:lnTo>
                    <a:pt x="366656" y="90488"/>
                  </a:lnTo>
                  <a:lnTo>
                    <a:pt x="360902" y="70190"/>
                  </a:lnTo>
                  <a:lnTo>
                    <a:pt x="364607" y="67608"/>
                  </a:lnTo>
                  <a:lnTo>
                    <a:pt x="367475" y="75533"/>
                  </a:lnTo>
                  <a:lnTo>
                    <a:pt x="375571" y="81582"/>
                  </a:lnTo>
                  <a:lnTo>
                    <a:pt x="388515" y="98488"/>
                  </a:lnTo>
                  <a:lnTo>
                    <a:pt x="401126" y="107547"/>
                  </a:lnTo>
                  <a:lnTo>
                    <a:pt x="397393" y="115014"/>
                  </a:lnTo>
                  <a:close/>
                  <a:moveTo>
                    <a:pt x="293322" y="79210"/>
                  </a:moveTo>
                  <a:lnTo>
                    <a:pt x="279330" y="81401"/>
                  </a:lnTo>
                  <a:lnTo>
                    <a:pt x="275120" y="88878"/>
                  </a:lnTo>
                  <a:lnTo>
                    <a:pt x="260518" y="95364"/>
                  </a:lnTo>
                  <a:lnTo>
                    <a:pt x="246812" y="101603"/>
                  </a:lnTo>
                  <a:lnTo>
                    <a:pt x="232629" y="101575"/>
                  </a:lnTo>
                  <a:lnTo>
                    <a:pt x="210731" y="93831"/>
                  </a:lnTo>
                  <a:lnTo>
                    <a:pt x="195472" y="86392"/>
                  </a:lnTo>
                  <a:lnTo>
                    <a:pt x="197682" y="78143"/>
                  </a:lnTo>
                  <a:lnTo>
                    <a:pt x="221628" y="82039"/>
                  </a:lnTo>
                  <a:lnTo>
                    <a:pt x="236239" y="79953"/>
                  </a:lnTo>
                  <a:lnTo>
                    <a:pt x="240268" y="67180"/>
                  </a:lnTo>
                  <a:lnTo>
                    <a:pt x="244097" y="66523"/>
                  </a:lnTo>
                  <a:lnTo>
                    <a:pt x="246688" y="80667"/>
                  </a:lnTo>
                  <a:lnTo>
                    <a:pt x="261928" y="78629"/>
                  </a:lnTo>
                  <a:lnTo>
                    <a:pt x="269462" y="69513"/>
                  </a:lnTo>
                  <a:lnTo>
                    <a:pt x="284369" y="60017"/>
                  </a:lnTo>
                  <a:lnTo>
                    <a:pt x="281426" y="44339"/>
                  </a:lnTo>
                  <a:lnTo>
                    <a:pt x="297428" y="43834"/>
                  </a:lnTo>
                  <a:lnTo>
                    <a:pt x="302819" y="48196"/>
                  </a:lnTo>
                  <a:lnTo>
                    <a:pt x="302276" y="62960"/>
                  </a:lnTo>
                  <a:lnTo>
                    <a:pt x="293322" y="79210"/>
                  </a:lnTo>
                  <a:close/>
                  <a:moveTo>
                    <a:pt x="165363" y="130207"/>
                  </a:moveTo>
                  <a:lnTo>
                    <a:pt x="189214" y="147771"/>
                  </a:lnTo>
                  <a:lnTo>
                    <a:pt x="206550" y="176222"/>
                  </a:lnTo>
                  <a:lnTo>
                    <a:pt x="221847" y="175327"/>
                  </a:lnTo>
                  <a:lnTo>
                    <a:pt x="220770" y="187233"/>
                  </a:lnTo>
                  <a:lnTo>
                    <a:pt x="241392" y="191805"/>
                  </a:lnTo>
                  <a:lnTo>
                    <a:pt x="233382" y="196882"/>
                  </a:lnTo>
                  <a:lnTo>
                    <a:pt x="261757" y="208216"/>
                  </a:lnTo>
                  <a:lnTo>
                    <a:pt x="258794" y="216017"/>
                  </a:lnTo>
                  <a:lnTo>
                    <a:pt x="241106" y="217903"/>
                  </a:lnTo>
                  <a:lnTo>
                    <a:pt x="234543" y="210912"/>
                  </a:lnTo>
                  <a:lnTo>
                    <a:pt x="211598" y="207883"/>
                  </a:lnTo>
                  <a:lnTo>
                    <a:pt x="184623" y="203825"/>
                  </a:lnTo>
                  <a:lnTo>
                    <a:pt x="163849" y="186642"/>
                  </a:lnTo>
                  <a:lnTo>
                    <a:pt x="148694" y="171860"/>
                  </a:lnTo>
                  <a:lnTo>
                    <a:pt x="134817" y="148380"/>
                  </a:lnTo>
                  <a:lnTo>
                    <a:pt x="99984" y="136674"/>
                  </a:lnTo>
                  <a:lnTo>
                    <a:pt x="77362" y="144313"/>
                  </a:lnTo>
                  <a:lnTo>
                    <a:pt x="61055" y="153162"/>
                  </a:lnTo>
                  <a:lnTo>
                    <a:pt x="64455" y="172955"/>
                  </a:lnTo>
                  <a:lnTo>
                    <a:pt x="43482" y="182194"/>
                  </a:lnTo>
                  <a:lnTo>
                    <a:pt x="28527" y="177698"/>
                  </a:lnTo>
                  <a:lnTo>
                    <a:pt x="905" y="176574"/>
                  </a:lnTo>
                  <a:lnTo>
                    <a:pt x="448" y="89354"/>
                  </a:lnTo>
                  <a:lnTo>
                    <a:pt x="0" y="2648"/>
                  </a:lnTo>
                  <a:lnTo>
                    <a:pt x="46339" y="20946"/>
                  </a:lnTo>
                  <a:lnTo>
                    <a:pt x="95717" y="36157"/>
                  </a:lnTo>
                  <a:lnTo>
                    <a:pt x="114119" y="49777"/>
                  </a:lnTo>
                  <a:lnTo>
                    <a:pt x="128997" y="63160"/>
                  </a:lnTo>
                  <a:lnTo>
                    <a:pt x="133055" y="78848"/>
                  </a:lnTo>
                  <a:lnTo>
                    <a:pt x="177555" y="95326"/>
                  </a:lnTo>
                  <a:lnTo>
                    <a:pt x="184052" y="109480"/>
                  </a:lnTo>
                  <a:lnTo>
                    <a:pt x="159477" y="112357"/>
                  </a:lnTo>
                  <a:lnTo>
                    <a:pt x="165363" y="130207"/>
                  </a:lnTo>
                  <a:close/>
                  <a:moveTo>
                    <a:pt x="324222" y="53159"/>
                  </a:moveTo>
                  <a:lnTo>
                    <a:pt x="315868" y="60255"/>
                  </a:lnTo>
                  <a:lnTo>
                    <a:pt x="310839" y="44548"/>
                  </a:lnTo>
                  <a:lnTo>
                    <a:pt x="304629" y="34271"/>
                  </a:lnTo>
                  <a:lnTo>
                    <a:pt x="292532" y="25555"/>
                  </a:lnTo>
                  <a:lnTo>
                    <a:pt x="277330" y="14221"/>
                  </a:lnTo>
                  <a:lnTo>
                    <a:pt x="258051" y="6410"/>
                  </a:lnTo>
                  <a:lnTo>
                    <a:pt x="265471" y="0"/>
                  </a:lnTo>
                  <a:lnTo>
                    <a:pt x="279892" y="7439"/>
                  </a:lnTo>
                  <a:lnTo>
                    <a:pt x="288970" y="13278"/>
                  </a:lnTo>
                  <a:lnTo>
                    <a:pt x="300190" y="19650"/>
                  </a:lnTo>
                  <a:lnTo>
                    <a:pt x="310877" y="30813"/>
                  </a:lnTo>
                  <a:lnTo>
                    <a:pt x="321021" y="39329"/>
                  </a:lnTo>
                  <a:lnTo>
                    <a:pt x="324222" y="5315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orme libre : forme 5776">
              <a:extLst>
                <a:ext uri="{FF2B5EF4-FFF2-40B4-BE49-F238E27FC236}">
                  <a16:creationId xmlns:a16="http://schemas.microsoft.com/office/drawing/2014/main" id="{F826B755-A0C9-E305-BC92-479F647442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950232" y="4242867"/>
              <a:ext cx="250059" cy="351500"/>
            </a:xfrm>
            <a:custGeom>
              <a:avLst/>
              <a:gdLst>
                <a:gd name="connsiteX0" fmla="*/ 245773 w 250059"/>
                <a:gd name="connsiteY0" fmla="*/ 275749 h 351500"/>
                <a:gd name="connsiteX1" fmla="*/ 248488 w 250059"/>
                <a:gd name="connsiteY1" fmla="*/ 293551 h 351500"/>
                <a:gd name="connsiteX2" fmla="*/ 250060 w 250059"/>
                <a:gd name="connsiteY2" fmla="*/ 308562 h 351500"/>
                <a:gd name="connsiteX3" fmla="*/ 240964 w 250059"/>
                <a:gd name="connsiteY3" fmla="*/ 333004 h 351500"/>
                <a:gd name="connsiteX4" fmla="*/ 231210 w 250059"/>
                <a:gd name="connsiteY4" fmla="*/ 305771 h 351500"/>
                <a:gd name="connsiteX5" fmla="*/ 218723 w 250059"/>
                <a:gd name="connsiteY5" fmla="*/ 319335 h 351500"/>
                <a:gd name="connsiteX6" fmla="*/ 227257 w 250059"/>
                <a:gd name="connsiteY6" fmla="*/ 339004 h 351500"/>
                <a:gd name="connsiteX7" fmla="*/ 219599 w 250059"/>
                <a:gd name="connsiteY7" fmla="*/ 351501 h 351500"/>
                <a:gd name="connsiteX8" fmla="*/ 188166 w 250059"/>
                <a:gd name="connsiteY8" fmla="*/ 336023 h 351500"/>
                <a:gd name="connsiteX9" fmla="*/ 180660 w 250059"/>
                <a:gd name="connsiteY9" fmla="*/ 316697 h 351500"/>
                <a:gd name="connsiteX10" fmla="*/ 188805 w 250059"/>
                <a:gd name="connsiteY10" fmla="*/ 303990 h 351500"/>
                <a:gd name="connsiteX11" fmla="*/ 171888 w 250059"/>
                <a:gd name="connsiteY11" fmla="*/ 291332 h 351500"/>
                <a:gd name="connsiteX12" fmla="*/ 163496 w 250059"/>
                <a:gd name="connsiteY12" fmla="*/ 302428 h 351500"/>
                <a:gd name="connsiteX13" fmla="*/ 150933 w 250059"/>
                <a:gd name="connsiteY13" fmla="*/ 301400 h 351500"/>
                <a:gd name="connsiteX14" fmla="*/ 131169 w 250059"/>
                <a:gd name="connsiteY14" fmla="*/ 316316 h 351500"/>
                <a:gd name="connsiteX15" fmla="*/ 126749 w 250059"/>
                <a:gd name="connsiteY15" fmla="*/ 308486 h 351500"/>
                <a:gd name="connsiteX16" fmla="*/ 137236 w 250059"/>
                <a:gd name="connsiteY16" fmla="*/ 285931 h 351500"/>
                <a:gd name="connsiteX17" fmla="*/ 154057 w 250059"/>
                <a:gd name="connsiteY17" fmla="*/ 278387 h 351500"/>
                <a:gd name="connsiteX18" fmla="*/ 168621 w 250059"/>
                <a:gd name="connsiteY18" fmla="*/ 268272 h 351500"/>
                <a:gd name="connsiteX19" fmla="*/ 178061 w 250059"/>
                <a:gd name="connsiteY19" fmla="*/ 280416 h 351500"/>
                <a:gd name="connsiteX20" fmla="*/ 198368 w 250059"/>
                <a:gd name="connsiteY20" fmla="*/ 273072 h 351500"/>
                <a:gd name="connsiteX21" fmla="*/ 202721 w 250059"/>
                <a:gd name="connsiteY21" fmla="*/ 261099 h 351500"/>
                <a:gd name="connsiteX22" fmla="*/ 221599 w 250059"/>
                <a:gd name="connsiteY22" fmla="*/ 260385 h 351500"/>
                <a:gd name="connsiteX23" fmla="*/ 220009 w 250059"/>
                <a:gd name="connsiteY23" fmla="*/ 239582 h 351500"/>
                <a:gd name="connsiteX24" fmla="*/ 241659 w 250059"/>
                <a:gd name="connsiteY24" fmla="*/ 252346 h 351500"/>
                <a:gd name="connsiteX25" fmla="*/ 243897 w 250059"/>
                <a:gd name="connsiteY25" fmla="*/ 265871 h 351500"/>
                <a:gd name="connsiteX26" fmla="*/ 245773 w 250059"/>
                <a:gd name="connsiteY26" fmla="*/ 275749 h 351500"/>
                <a:gd name="connsiteX27" fmla="*/ 181833 w 250059"/>
                <a:gd name="connsiteY27" fmla="*/ 225619 h 351500"/>
                <a:gd name="connsiteX28" fmla="*/ 172231 w 250059"/>
                <a:gd name="connsiteY28" fmla="*/ 234477 h 351500"/>
                <a:gd name="connsiteX29" fmla="*/ 163868 w 250059"/>
                <a:gd name="connsiteY29" fmla="*/ 251479 h 351500"/>
                <a:gd name="connsiteX30" fmla="*/ 155477 w 250059"/>
                <a:gd name="connsiteY30" fmla="*/ 259432 h 351500"/>
                <a:gd name="connsiteX31" fmla="*/ 139027 w 250059"/>
                <a:gd name="connsiteY31" fmla="*/ 240840 h 351500"/>
                <a:gd name="connsiteX32" fmla="*/ 144523 w 250059"/>
                <a:gd name="connsiteY32" fmla="*/ 233629 h 351500"/>
                <a:gd name="connsiteX33" fmla="*/ 151229 w 250059"/>
                <a:gd name="connsiteY33" fmla="*/ 226085 h 351500"/>
                <a:gd name="connsiteX34" fmla="*/ 154181 w 250059"/>
                <a:gd name="connsiteY34" fmla="*/ 209331 h 351500"/>
                <a:gd name="connsiteX35" fmla="*/ 168907 w 250059"/>
                <a:gd name="connsiteY35" fmla="*/ 207740 h 351500"/>
                <a:gd name="connsiteX36" fmla="*/ 164611 w 250059"/>
                <a:gd name="connsiteY36" fmla="*/ 225914 h 351500"/>
                <a:gd name="connsiteX37" fmla="*/ 184375 w 250059"/>
                <a:gd name="connsiteY37" fmla="*/ 199844 h 351500"/>
                <a:gd name="connsiteX38" fmla="*/ 181833 w 250059"/>
                <a:gd name="connsiteY38" fmla="*/ 225619 h 351500"/>
                <a:gd name="connsiteX39" fmla="*/ 35528 w 250059"/>
                <a:gd name="connsiteY39" fmla="*/ 251536 h 351500"/>
                <a:gd name="connsiteX40" fmla="*/ 0 w 250059"/>
                <a:gd name="connsiteY40" fmla="*/ 277016 h 351500"/>
                <a:gd name="connsiteX41" fmla="*/ 13097 w 250059"/>
                <a:gd name="connsiteY41" fmla="*/ 258242 h 351500"/>
                <a:gd name="connsiteX42" fmla="*/ 32385 w 250059"/>
                <a:gd name="connsiteY42" fmla="*/ 241640 h 351500"/>
                <a:gd name="connsiteX43" fmla="*/ 48425 w 250059"/>
                <a:gd name="connsiteY43" fmla="*/ 222999 h 351500"/>
                <a:gd name="connsiteX44" fmla="*/ 62427 w 250059"/>
                <a:gd name="connsiteY44" fmla="*/ 196158 h 351500"/>
                <a:gd name="connsiteX45" fmla="*/ 67180 w 250059"/>
                <a:gd name="connsiteY45" fmla="*/ 218199 h 351500"/>
                <a:gd name="connsiteX46" fmla="*/ 49549 w 250059"/>
                <a:gd name="connsiteY46" fmla="*/ 233048 h 351500"/>
                <a:gd name="connsiteX47" fmla="*/ 35528 w 250059"/>
                <a:gd name="connsiteY47" fmla="*/ 251536 h 351500"/>
                <a:gd name="connsiteX48" fmla="*/ 125768 w 250059"/>
                <a:gd name="connsiteY48" fmla="*/ 182004 h 351500"/>
                <a:gd name="connsiteX49" fmla="*/ 141808 w 250059"/>
                <a:gd name="connsiteY49" fmla="*/ 190395 h 351500"/>
                <a:gd name="connsiteX50" fmla="*/ 158801 w 250059"/>
                <a:gd name="connsiteY50" fmla="*/ 190357 h 351500"/>
                <a:gd name="connsiteX51" fmla="*/ 158277 w 250059"/>
                <a:gd name="connsiteY51" fmla="*/ 201663 h 351500"/>
                <a:gd name="connsiteX52" fmla="*/ 145914 w 250059"/>
                <a:gd name="connsiteY52" fmla="*/ 213141 h 351500"/>
                <a:gd name="connsiteX53" fmla="*/ 128950 w 250059"/>
                <a:gd name="connsiteY53" fmla="*/ 221247 h 351500"/>
                <a:gd name="connsiteX54" fmla="*/ 128007 w 250059"/>
                <a:gd name="connsiteY54" fmla="*/ 208702 h 351500"/>
                <a:gd name="connsiteX55" fmla="*/ 129902 w 250059"/>
                <a:gd name="connsiteY55" fmla="*/ 194910 h 351500"/>
                <a:gd name="connsiteX56" fmla="*/ 125768 w 250059"/>
                <a:gd name="connsiteY56" fmla="*/ 182004 h 351500"/>
                <a:gd name="connsiteX57" fmla="*/ 222428 w 250059"/>
                <a:gd name="connsiteY57" fmla="*/ 174650 h 351500"/>
                <a:gd name="connsiteX58" fmla="*/ 229934 w 250059"/>
                <a:gd name="connsiteY58" fmla="*/ 204892 h 351500"/>
                <a:gd name="connsiteX59" fmla="*/ 209322 w 250059"/>
                <a:gd name="connsiteY59" fmla="*/ 197720 h 351500"/>
                <a:gd name="connsiteX60" fmla="*/ 209884 w 250059"/>
                <a:gd name="connsiteY60" fmla="*/ 206797 h 351500"/>
                <a:gd name="connsiteX61" fmla="*/ 216427 w 250059"/>
                <a:gd name="connsiteY61" fmla="*/ 223456 h 351500"/>
                <a:gd name="connsiteX62" fmla="*/ 203721 w 250059"/>
                <a:gd name="connsiteY62" fmla="*/ 229495 h 351500"/>
                <a:gd name="connsiteX63" fmla="*/ 202616 w 250059"/>
                <a:gd name="connsiteY63" fmla="*/ 210521 h 351500"/>
                <a:gd name="connsiteX64" fmla="*/ 194567 w 250059"/>
                <a:gd name="connsiteY64" fmla="*/ 209121 h 351500"/>
                <a:gd name="connsiteX65" fmla="*/ 190395 w 250059"/>
                <a:gd name="connsiteY65" fmla="*/ 192748 h 351500"/>
                <a:gd name="connsiteX66" fmla="*/ 206102 w 250059"/>
                <a:gd name="connsiteY66" fmla="*/ 194910 h 351500"/>
                <a:gd name="connsiteX67" fmla="*/ 205759 w 250059"/>
                <a:gd name="connsiteY67" fmla="*/ 184652 h 351500"/>
                <a:gd name="connsiteX68" fmla="*/ 189433 w 250059"/>
                <a:gd name="connsiteY68" fmla="*/ 163925 h 351500"/>
                <a:gd name="connsiteX69" fmla="*/ 215075 w 250059"/>
                <a:gd name="connsiteY69" fmla="*/ 164525 h 351500"/>
                <a:gd name="connsiteX70" fmla="*/ 222428 w 250059"/>
                <a:gd name="connsiteY70" fmla="*/ 174650 h 351500"/>
                <a:gd name="connsiteX71" fmla="*/ 116262 w 250059"/>
                <a:gd name="connsiteY71" fmla="*/ 149990 h 351500"/>
                <a:gd name="connsiteX72" fmla="*/ 109176 w 250059"/>
                <a:gd name="connsiteY72" fmla="*/ 173488 h 351500"/>
                <a:gd name="connsiteX73" fmla="*/ 97746 w 250059"/>
                <a:gd name="connsiteY73" fmla="*/ 159934 h 351500"/>
                <a:gd name="connsiteX74" fmla="*/ 84106 w 250059"/>
                <a:gd name="connsiteY74" fmla="*/ 139179 h 351500"/>
                <a:gd name="connsiteX75" fmla="*/ 106985 w 250059"/>
                <a:gd name="connsiteY75" fmla="*/ 140180 h 351500"/>
                <a:gd name="connsiteX76" fmla="*/ 116262 w 250059"/>
                <a:gd name="connsiteY76" fmla="*/ 149990 h 351500"/>
                <a:gd name="connsiteX77" fmla="*/ 110757 w 250059"/>
                <a:gd name="connsiteY77" fmla="*/ 38 h 351500"/>
                <a:gd name="connsiteX78" fmla="*/ 127225 w 250059"/>
                <a:gd name="connsiteY78" fmla="*/ 8020 h 351500"/>
                <a:gd name="connsiteX79" fmla="*/ 135455 w 250059"/>
                <a:gd name="connsiteY79" fmla="*/ 743 h 351500"/>
                <a:gd name="connsiteX80" fmla="*/ 137884 w 250059"/>
                <a:gd name="connsiteY80" fmla="*/ 7849 h 351500"/>
                <a:gd name="connsiteX81" fmla="*/ 133541 w 250059"/>
                <a:gd name="connsiteY81" fmla="*/ 19421 h 351500"/>
                <a:gd name="connsiteX82" fmla="*/ 142656 w 250059"/>
                <a:gd name="connsiteY82" fmla="*/ 39367 h 351500"/>
                <a:gd name="connsiteX83" fmla="*/ 135627 w 250059"/>
                <a:gd name="connsiteY83" fmla="*/ 62389 h 351500"/>
                <a:gd name="connsiteX84" fmla="*/ 119882 w 250059"/>
                <a:gd name="connsiteY84" fmla="*/ 71542 h 351500"/>
                <a:gd name="connsiteX85" fmla="*/ 115681 w 250059"/>
                <a:gd name="connsiteY85" fmla="*/ 93754 h 351500"/>
                <a:gd name="connsiteX86" fmla="*/ 121654 w 250059"/>
                <a:gd name="connsiteY86" fmla="*/ 115605 h 351500"/>
                <a:gd name="connsiteX87" fmla="*/ 135807 w 250059"/>
                <a:gd name="connsiteY87" fmla="*/ 118624 h 351500"/>
                <a:gd name="connsiteX88" fmla="*/ 147618 w 250059"/>
                <a:gd name="connsiteY88" fmla="*/ 115386 h 351500"/>
                <a:gd name="connsiteX89" fmla="*/ 180975 w 250059"/>
                <a:gd name="connsiteY89" fmla="*/ 130550 h 351500"/>
                <a:gd name="connsiteX90" fmla="*/ 178432 w 250059"/>
                <a:gd name="connsiteY90" fmla="*/ 145409 h 351500"/>
                <a:gd name="connsiteX91" fmla="*/ 187147 w 250059"/>
                <a:gd name="connsiteY91" fmla="*/ 151952 h 351500"/>
                <a:gd name="connsiteX92" fmla="*/ 184366 w 250059"/>
                <a:gd name="connsiteY92" fmla="*/ 164487 h 351500"/>
                <a:gd name="connsiteX93" fmla="*/ 163554 w 250059"/>
                <a:gd name="connsiteY93" fmla="*/ 151133 h 351500"/>
                <a:gd name="connsiteX94" fmla="*/ 153686 w 250059"/>
                <a:gd name="connsiteY94" fmla="*/ 136808 h 351500"/>
                <a:gd name="connsiteX95" fmla="*/ 146809 w 250059"/>
                <a:gd name="connsiteY95" fmla="*/ 146818 h 351500"/>
                <a:gd name="connsiteX96" fmla="*/ 129807 w 250059"/>
                <a:gd name="connsiteY96" fmla="*/ 130483 h 351500"/>
                <a:gd name="connsiteX97" fmla="*/ 105546 w 250059"/>
                <a:gd name="connsiteY97" fmla="*/ 134521 h 351500"/>
                <a:gd name="connsiteX98" fmla="*/ 92250 w 250059"/>
                <a:gd name="connsiteY98" fmla="*/ 128483 h 351500"/>
                <a:gd name="connsiteX99" fmla="*/ 93612 w 250059"/>
                <a:gd name="connsiteY99" fmla="*/ 117177 h 351500"/>
                <a:gd name="connsiteX100" fmla="*/ 101955 w 250059"/>
                <a:gd name="connsiteY100" fmla="*/ 110204 h 351500"/>
                <a:gd name="connsiteX101" fmla="*/ 93983 w 250059"/>
                <a:gd name="connsiteY101" fmla="*/ 103861 h 351500"/>
                <a:gd name="connsiteX102" fmla="*/ 90535 w 250059"/>
                <a:gd name="connsiteY102" fmla="*/ 113747 h 351500"/>
                <a:gd name="connsiteX103" fmla="*/ 77353 w 250059"/>
                <a:gd name="connsiteY103" fmla="*/ 97984 h 351500"/>
                <a:gd name="connsiteX104" fmla="*/ 73352 w 250059"/>
                <a:gd name="connsiteY104" fmla="*/ 86011 h 351500"/>
                <a:gd name="connsiteX105" fmla="*/ 72361 w 250059"/>
                <a:gd name="connsiteY105" fmla="*/ 59589 h 351500"/>
                <a:gd name="connsiteX106" fmla="*/ 83115 w 250059"/>
                <a:gd name="connsiteY106" fmla="*/ 68685 h 351500"/>
                <a:gd name="connsiteX107" fmla="*/ 85877 w 250059"/>
                <a:gd name="connsiteY107" fmla="*/ 25298 h 351500"/>
                <a:gd name="connsiteX108" fmla="*/ 94583 w 250059"/>
                <a:gd name="connsiteY108" fmla="*/ 0 h 351500"/>
                <a:gd name="connsiteX109" fmla="*/ 110757 w 250059"/>
                <a:gd name="connsiteY109" fmla="*/ 38 h 35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250059" h="351500">
                  <a:moveTo>
                    <a:pt x="245773" y="275749"/>
                  </a:moveTo>
                  <a:lnTo>
                    <a:pt x="248488" y="293551"/>
                  </a:lnTo>
                  <a:lnTo>
                    <a:pt x="250060" y="308562"/>
                  </a:lnTo>
                  <a:lnTo>
                    <a:pt x="240964" y="333004"/>
                  </a:lnTo>
                  <a:lnTo>
                    <a:pt x="231210" y="305771"/>
                  </a:lnTo>
                  <a:lnTo>
                    <a:pt x="218723" y="319335"/>
                  </a:lnTo>
                  <a:lnTo>
                    <a:pt x="227257" y="339004"/>
                  </a:lnTo>
                  <a:lnTo>
                    <a:pt x="219599" y="351501"/>
                  </a:lnTo>
                  <a:lnTo>
                    <a:pt x="188166" y="336023"/>
                  </a:lnTo>
                  <a:lnTo>
                    <a:pt x="180660" y="316697"/>
                  </a:lnTo>
                  <a:lnTo>
                    <a:pt x="188805" y="303990"/>
                  </a:lnTo>
                  <a:lnTo>
                    <a:pt x="171888" y="291332"/>
                  </a:lnTo>
                  <a:lnTo>
                    <a:pt x="163496" y="302428"/>
                  </a:lnTo>
                  <a:lnTo>
                    <a:pt x="150933" y="301400"/>
                  </a:lnTo>
                  <a:lnTo>
                    <a:pt x="131169" y="316316"/>
                  </a:lnTo>
                  <a:lnTo>
                    <a:pt x="126749" y="308486"/>
                  </a:lnTo>
                  <a:lnTo>
                    <a:pt x="137236" y="285931"/>
                  </a:lnTo>
                  <a:lnTo>
                    <a:pt x="154057" y="278387"/>
                  </a:lnTo>
                  <a:lnTo>
                    <a:pt x="168621" y="268272"/>
                  </a:lnTo>
                  <a:lnTo>
                    <a:pt x="178061" y="280416"/>
                  </a:lnTo>
                  <a:lnTo>
                    <a:pt x="198368" y="273072"/>
                  </a:lnTo>
                  <a:lnTo>
                    <a:pt x="202721" y="261099"/>
                  </a:lnTo>
                  <a:lnTo>
                    <a:pt x="221599" y="260385"/>
                  </a:lnTo>
                  <a:lnTo>
                    <a:pt x="220009" y="239582"/>
                  </a:lnTo>
                  <a:lnTo>
                    <a:pt x="241659" y="252346"/>
                  </a:lnTo>
                  <a:lnTo>
                    <a:pt x="243897" y="265871"/>
                  </a:lnTo>
                  <a:lnTo>
                    <a:pt x="245773" y="275749"/>
                  </a:lnTo>
                  <a:close/>
                  <a:moveTo>
                    <a:pt x="181833" y="225619"/>
                  </a:moveTo>
                  <a:lnTo>
                    <a:pt x="172231" y="234477"/>
                  </a:lnTo>
                  <a:lnTo>
                    <a:pt x="163868" y="251479"/>
                  </a:lnTo>
                  <a:lnTo>
                    <a:pt x="155477" y="259432"/>
                  </a:lnTo>
                  <a:lnTo>
                    <a:pt x="139027" y="240840"/>
                  </a:lnTo>
                  <a:lnTo>
                    <a:pt x="144523" y="233629"/>
                  </a:lnTo>
                  <a:lnTo>
                    <a:pt x="151229" y="226085"/>
                  </a:lnTo>
                  <a:lnTo>
                    <a:pt x="154181" y="209331"/>
                  </a:lnTo>
                  <a:lnTo>
                    <a:pt x="168907" y="207740"/>
                  </a:lnTo>
                  <a:lnTo>
                    <a:pt x="164611" y="225914"/>
                  </a:lnTo>
                  <a:lnTo>
                    <a:pt x="184375" y="199844"/>
                  </a:lnTo>
                  <a:lnTo>
                    <a:pt x="181833" y="225619"/>
                  </a:lnTo>
                  <a:close/>
                  <a:moveTo>
                    <a:pt x="35528" y="251536"/>
                  </a:moveTo>
                  <a:lnTo>
                    <a:pt x="0" y="277016"/>
                  </a:lnTo>
                  <a:lnTo>
                    <a:pt x="13097" y="258242"/>
                  </a:lnTo>
                  <a:lnTo>
                    <a:pt x="32385" y="241640"/>
                  </a:lnTo>
                  <a:lnTo>
                    <a:pt x="48425" y="222999"/>
                  </a:lnTo>
                  <a:lnTo>
                    <a:pt x="62427" y="196158"/>
                  </a:lnTo>
                  <a:lnTo>
                    <a:pt x="67180" y="218199"/>
                  </a:lnTo>
                  <a:lnTo>
                    <a:pt x="49549" y="233048"/>
                  </a:lnTo>
                  <a:lnTo>
                    <a:pt x="35528" y="251536"/>
                  </a:lnTo>
                  <a:close/>
                  <a:moveTo>
                    <a:pt x="125768" y="182004"/>
                  </a:moveTo>
                  <a:lnTo>
                    <a:pt x="141808" y="190395"/>
                  </a:lnTo>
                  <a:lnTo>
                    <a:pt x="158801" y="190357"/>
                  </a:lnTo>
                  <a:lnTo>
                    <a:pt x="158277" y="201663"/>
                  </a:lnTo>
                  <a:lnTo>
                    <a:pt x="145914" y="213141"/>
                  </a:lnTo>
                  <a:lnTo>
                    <a:pt x="128950" y="221247"/>
                  </a:lnTo>
                  <a:lnTo>
                    <a:pt x="128007" y="208702"/>
                  </a:lnTo>
                  <a:lnTo>
                    <a:pt x="129902" y="194910"/>
                  </a:lnTo>
                  <a:lnTo>
                    <a:pt x="125768" y="182004"/>
                  </a:lnTo>
                  <a:close/>
                  <a:moveTo>
                    <a:pt x="222428" y="174650"/>
                  </a:moveTo>
                  <a:lnTo>
                    <a:pt x="229934" y="204892"/>
                  </a:lnTo>
                  <a:lnTo>
                    <a:pt x="209322" y="197720"/>
                  </a:lnTo>
                  <a:lnTo>
                    <a:pt x="209884" y="206797"/>
                  </a:lnTo>
                  <a:lnTo>
                    <a:pt x="216427" y="223456"/>
                  </a:lnTo>
                  <a:lnTo>
                    <a:pt x="203721" y="229495"/>
                  </a:lnTo>
                  <a:lnTo>
                    <a:pt x="202616" y="210521"/>
                  </a:lnTo>
                  <a:lnTo>
                    <a:pt x="194567" y="209121"/>
                  </a:lnTo>
                  <a:lnTo>
                    <a:pt x="190395" y="192748"/>
                  </a:lnTo>
                  <a:lnTo>
                    <a:pt x="206102" y="194910"/>
                  </a:lnTo>
                  <a:lnTo>
                    <a:pt x="205759" y="184652"/>
                  </a:lnTo>
                  <a:lnTo>
                    <a:pt x="189433" y="163925"/>
                  </a:lnTo>
                  <a:lnTo>
                    <a:pt x="215075" y="164525"/>
                  </a:lnTo>
                  <a:lnTo>
                    <a:pt x="222428" y="174650"/>
                  </a:lnTo>
                  <a:close/>
                  <a:moveTo>
                    <a:pt x="116262" y="149990"/>
                  </a:moveTo>
                  <a:lnTo>
                    <a:pt x="109176" y="173488"/>
                  </a:lnTo>
                  <a:lnTo>
                    <a:pt x="97746" y="159934"/>
                  </a:lnTo>
                  <a:lnTo>
                    <a:pt x="84106" y="139179"/>
                  </a:lnTo>
                  <a:lnTo>
                    <a:pt x="106985" y="140180"/>
                  </a:lnTo>
                  <a:lnTo>
                    <a:pt x="116262" y="149990"/>
                  </a:lnTo>
                  <a:close/>
                  <a:moveTo>
                    <a:pt x="110757" y="38"/>
                  </a:moveTo>
                  <a:lnTo>
                    <a:pt x="127225" y="8020"/>
                  </a:lnTo>
                  <a:lnTo>
                    <a:pt x="135455" y="743"/>
                  </a:lnTo>
                  <a:lnTo>
                    <a:pt x="137884" y="7849"/>
                  </a:lnTo>
                  <a:lnTo>
                    <a:pt x="133541" y="19421"/>
                  </a:lnTo>
                  <a:lnTo>
                    <a:pt x="142656" y="39367"/>
                  </a:lnTo>
                  <a:lnTo>
                    <a:pt x="135627" y="62389"/>
                  </a:lnTo>
                  <a:lnTo>
                    <a:pt x="119882" y="71542"/>
                  </a:lnTo>
                  <a:lnTo>
                    <a:pt x="115681" y="93754"/>
                  </a:lnTo>
                  <a:lnTo>
                    <a:pt x="121654" y="115605"/>
                  </a:lnTo>
                  <a:lnTo>
                    <a:pt x="135807" y="118624"/>
                  </a:lnTo>
                  <a:lnTo>
                    <a:pt x="147618" y="115386"/>
                  </a:lnTo>
                  <a:lnTo>
                    <a:pt x="180975" y="130550"/>
                  </a:lnTo>
                  <a:lnTo>
                    <a:pt x="178432" y="145409"/>
                  </a:lnTo>
                  <a:lnTo>
                    <a:pt x="187147" y="151952"/>
                  </a:lnTo>
                  <a:lnTo>
                    <a:pt x="184366" y="164487"/>
                  </a:lnTo>
                  <a:lnTo>
                    <a:pt x="163554" y="151133"/>
                  </a:lnTo>
                  <a:lnTo>
                    <a:pt x="153686" y="136808"/>
                  </a:lnTo>
                  <a:lnTo>
                    <a:pt x="146809" y="146818"/>
                  </a:lnTo>
                  <a:lnTo>
                    <a:pt x="129807" y="130483"/>
                  </a:lnTo>
                  <a:lnTo>
                    <a:pt x="105546" y="134521"/>
                  </a:lnTo>
                  <a:lnTo>
                    <a:pt x="92250" y="128483"/>
                  </a:lnTo>
                  <a:lnTo>
                    <a:pt x="93612" y="117177"/>
                  </a:lnTo>
                  <a:lnTo>
                    <a:pt x="101955" y="110204"/>
                  </a:lnTo>
                  <a:lnTo>
                    <a:pt x="93983" y="103861"/>
                  </a:lnTo>
                  <a:lnTo>
                    <a:pt x="90535" y="113747"/>
                  </a:lnTo>
                  <a:lnTo>
                    <a:pt x="77353" y="97984"/>
                  </a:lnTo>
                  <a:lnTo>
                    <a:pt x="73352" y="86011"/>
                  </a:lnTo>
                  <a:lnTo>
                    <a:pt x="72361" y="59589"/>
                  </a:lnTo>
                  <a:lnTo>
                    <a:pt x="83115" y="68685"/>
                  </a:lnTo>
                  <a:lnTo>
                    <a:pt x="85877" y="25298"/>
                  </a:lnTo>
                  <a:lnTo>
                    <a:pt x="94583" y="0"/>
                  </a:lnTo>
                  <a:lnTo>
                    <a:pt x="110757" y="3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orme libre : forme 5777">
              <a:extLst>
                <a:ext uri="{FF2B5EF4-FFF2-40B4-BE49-F238E27FC236}">
                  <a16:creationId xmlns:a16="http://schemas.microsoft.com/office/drawing/2014/main" id="{3EE07A96-C45D-A5AA-2B39-2B6AC93FBB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196783" y="2991749"/>
              <a:ext cx="265871" cy="252126"/>
            </a:xfrm>
            <a:custGeom>
              <a:avLst/>
              <a:gdLst>
                <a:gd name="connsiteX0" fmla="*/ 25165 w 265871"/>
                <a:gd name="connsiteY0" fmla="*/ 165840 h 252126"/>
                <a:gd name="connsiteX1" fmla="*/ 14221 w 265871"/>
                <a:gd name="connsiteY1" fmla="*/ 138560 h 252126"/>
                <a:gd name="connsiteX2" fmla="*/ 16307 w 265871"/>
                <a:gd name="connsiteY2" fmla="*/ 123673 h 252126"/>
                <a:gd name="connsiteX3" fmla="*/ 9697 w 265871"/>
                <a:gd name="connsiteY3" fmla="*/ 100346 h 252126"/>
                <a:gd name="connsiteX4" fmla="*/ 0 w 265871"/>
                <a:gd name="connsiteY4" fmla="*/ 84639 h 252126"/>
                <a:gd name="connsiteX5" fmla="*/ 7448 w 265871"/>
                <a:gd name="connsiteY5" fmla="*/ 72790 h 252126"/>
                <a:gd name="connsiteX6" fmla="*/ 1200 w 265871"/>
                <a:gd name="connsiteY6" fmla="*/ 49997 h 252126"/>
                <a:gd name="connsiteX7" fmla="*/ 19450 w 265871"/>
                <a:gd name="connsiteY7" fmla="*/ 36709 h 252126"/>
                <a:gd name="connsiteX8" fmla="*/ 61131 w 265871"/>
                <a:gd name="connsiteY8" fmla="*/ 15602 h 252126"/>
                <a:gd name="connsiteX9" fmla="*/ 94764 w 265871"/>
                <a:gd name="connsiteY9" fmla="*/ 0 h 252126"/>
                <a:gd name="connsiteX10" fmla="*/ 121415 w 265871"/>
                <a:gd name="connsiteY10" fmla="*/ 7811 h 252126"/>
                <a:gd name="connsiteX11" fmla="*/ 123425 w 265871"/>
                <a:gd name="connsiteY11" fmla="*/ 19022 h 252126"/>
                <a:gd name="connsiteX12" fmla="*/ 149180 w 265871"/>
                <a:gd name="connsiteY12" fmla="*/ 19593 h 252126"/>
                <a:gd name="connsiteX13" fmla="*/ 182080 w 265871"/>
                <a:gd name="connsiteY13" fmla="*/ 24794 h 252126"/>
                <a:gd name="connsiteX14" fmla="*/ 231191 w 265871"/>
                <a:gd name="connsiteY14" fmla="*/ 24108 h 252126"/>
                <a:gd name="connsiteX15" fmla="*/ 244888 w 265871"/>
                <a:gd name="connsiteY15" fmla="*/ 28985 h 252126"/>
                <a:gd name="connsiteX16" fmla="*/ 251298 w 265871"/>
                <a:gd name="connsiteY16" fmla="*/ 42977 h 252126"/>
                <a:gd name="connsiteX17" fmla="*/ 252460 w 265871"/>
                <a:gd name="connsiteY17" fmla="*/ 62884 h 252126"/>
                <a:gd name="connsiteX18" fmla="*/ 259871 w 265871"/>
                <a:gd name="connsiteY18" fmla="*/ 79829 h 252126"/>
                <a:gd name="connsiteX19" fmla="*/ 259709 w 265871"/>
                <a:gd name="connsiteY19" fmla="*/ 97431 h 252126"/>
                <a:gd name="connsiteX20" fmla="*/ 243697 w 265871"/>
                <a:gd name="connsiteY20" fmla="*/ 106385 h 252126"/>
                <a:gd name="connsiteX21" fmla="*/ 251936 w 265871"/>
                <a:gd name="connsiteY21" fmla="*/ 126549 h 252126"/>
                <a:gd name="connsiteX22" fmla="*/ 252441 w 265871"/>
                <a:gd name="connsiteY22" fmla="*/ 145723 h 252126"/>
                <a:gd name="connsiteX23" fmla="*/ 265872 w 265871"/>
                <a:gd name="connsiteY23" fmla="*/ 182785 h 252126"/>
                <a:gd name="connsiteX24" fmla="*/ 263014 w 265871"/>
                <a:gd name="connsiteY24" fmla="*/ 194548 h 252126"/>
                <a:gd name="connsiteX25" fmla="*/ 249764 w 265871"/>
                <a:gd name="connsiteY25" fmla="*/ 199415 h 252126"/>
                <a:gd name="connsiteX26" fmla="*/ 225514 w 265871"/>
                <a:gd name="connsiteY26" fmla="*/ 233791 h 252126"/>
                <a:gd name="connsiteX27" fmla="*/ 232400 w 265871"/>
                <a:gd name="connsiteY27" fmla="*/ 252127 h 252126"/>
                <a:gd name="connsiteX28" fmla="*/ 226562 w 265871"/>
                <a:gd name="connsiteY28" fmla="*/ 249765 h 252126"/>
                <a:gd name="connsiteX29" fmla="*/ 201187 w 265871"/>
                <a:gd name="connsiteY29" fmla="*/ 234067 h 252126"/>
                <a:gd name="connsiteX30" fmla="*/ 181966 w 265871"/>
                <a:gd name="connsiteY30" fmla="*/ 239859 h 252126"/>
                <a:gd name="connsiteX31" fmla="*/ 169354 w 265871"/>
                <a:gd name="connsiteY31" fmla="*/ 235658 h 252126"/>
                <a:gd name="connsiteX32" fmla="*/ 153571 w 265871"/>
                <a:gd name="connsiteY32" fmla="*/ 244412 h 252126"/>
                <a:gd name="connsiteX33" fmla="*/ 140103 w 265871"/>
                <a:gd name="connsiteY33" fmla="*/ 229905 h 252126"/>
                <a:gd name="connsiteX34" fmla="*/ 129121 w 265871"/>
                <a:gd name="connsiteY34" fmla="*/ 235477 h 252126"/>
                <a:gd name="connsiteX35" fmla="*/ 127616 w 265871"/>
                <a:gd name="connsiteY35" fmla="*/ 233001 h 252126"/>
                <a:gd name="connsiteX36" fmla="*/ 115328 w 265871"/>
                <a:gd name="connsiteY36" fmla="*/ 212712 h 252126"/>
                <a:gd name="connsiteX37" fmla="*/ 95469 w 265871"/>
                <a:gd name="connsiteY37" fmla="*/ 210198 h 252126"/>
                <a:gd name="connsiteX38" fmla="*/ 92945 w 265871"/>
                <a:gd name="connsiteY38" fmla="*/ 197177 h 252126"/>
                <a:gd name="connsiteX39" fmla="*/ 74619 w 265871"/>
                <a:gd name="connsiteY39" fmla="*/ 192500 h 252126"/>
                <a:gd name="connsiteX40" fmla="*/ 70638 w 265871"/>
                <a:gd name="connsiteY40" fmla="*/ 203273 h 252126"/>
                <a:gd name="connsiteX41" fmla="*/ 56131 w 265871"/>
                <a:gd name="connsiteY41" fmla="*/ 194653 h 252126"/>
                <a:gd name="connsiteX42" fmla="*/ 57798 w 265871"/>
                <a:gd name="connsiteY42" fmla="*/ 183118 h 252126"/>
                <a:gd name="connsiteX43" fmla="*/ 37833 w 265871"/>
                <a:gd name="connsiteY43" fmla="*/ 179451 h 252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65871" h="252126">
                  <a:moveTo>
                    <a:pt x="25165" y="165840"/>
                  </a:moveTo>
                  <a:lnTo>
                    <a:pt x="14221" y="138560"/>
                  </a:lnTo>
                  <a:lnTo>
                    <a:pt x="16307" y="123673"/>
                  </a:lnTo>
                  <a:lnTo>
                    <a:pt x="9697" y="100346"/>
                  </a:lnTo>
                  <a:lnTo>
                    <a:pt x="0" y="84639"/>
                  </a:lnTo>
                  <a:lnTo>
                    <a:pt x="7448" y="72790"/>
                  </a:lnTo>
                  <a:lnTo>
                    <a:pt x="1200" y="49997"/>
                  </a:lnTo>
                  <a:lnTo>
                    <a:pt x="19450" y="36709"/>
                  </a:lnTo>
                  <a:lnTo>
                    <a:pt x="61131" y="15602"/>
                  </a:lnTo>
                  <a:lnTo>
                    <a:pt x="94764" y="0"/>
                  </a:lnTo>
                  <a:lnTo>
                    <a:pt x="121415" y="7811"/>
                  </a:lnTo>
                  <a:lnTo>
                    <a:pt x="123425" y="19022"/>
                  </a:lnTo>
                  <a:lnTo>
                    <a:pt x="149180" y="19593"/>
                  </a:lnTo>
                  <a:lnTo>
                    <a:pt x="182080" y="24794"/>
                  </a:lnTo>
                  <a:lnTo>
                    <a:pt x="231191" y="24108"/>
                  </a:lnTo>
                  <a:lnTo>
                    <a:pt x="244888" y="28985"/>
                  </a:lnTo>
                  <a:lnTo>
                    <a:pt x="251298" y="42977"/>
                  </a:lnTo>
                  <a:lnTo>
                    <a:pt x="252460" y="62884"/>
                  </a:lnTo>
                  <a:lnTo>
                    <a:pt x="259871" y="79829"/>
                  </a:lnTo>
                  <a:lnTo>
                    <a:pt x="259709" y="97431"/>
                  </a:lnTo>
                  <a:lnTo>
                    <a:pt x="243697" y="106385"/>
                  </a:lnTo>
                  <a:lnTo>
                    <a:pt x="251936" y="126549"/>
                  </a:lnTo>
                  <a:lnTo>
                    <a:pt x="252441" y="145723"/>
                  </a:lnTo>
                  <a:lnTo>
                    <a:pt x="265872" y="182785"/>
                  </a:lnTo>
                  <a:lnTo>
                    <a:pt x="263014" y="194548"/>
                  </a:lnTo>
                  <a:lnTo>
                    <a:pt x="249764" y="199415"/>
                  </a:lnTo>
                  <a:lnTo>
                    <a:pt x="225514" y="233791"/>
                  </a:lnTo>
                  <a:lnTo>
                    <a:pt x="232400" y="252127"/>
                  </a:lnTo>
                  <a:lnTo>
                    <a:pt x="226562" y="249765"/>
                  </a:lnTo>
                  <a:lnTo>
                    <a:pt x="201187" y="234067"/>
                  </a:lnTo>
                  <a:lnTo>
                    <a:pt x="181966" y="239859"/>
                  </a:lnTo>
                  <a:lnTo>
                    <a:pt x="169354" y="235658"/>
                  </a:lnTo>
                  <a:lnTo>
                    <a:pt x="153571" y="244412"/>
                  </a:lnTo>
                  <a:lnTo>
                    <a:pt x="140103" y="229905"/>
                  </a:lnTo>
                  <a:lnTo>
                    <a:pt x="129121" y="235477"/>
                  </a:lnTo>
                  <a:lnTo>
                    <a:pt x="127616" y="233001"/>
                  </a:lnTo>
                  <a:lnTo>
                    <a:pt x="115328" y="212712"/>
                  </a:lnTo>
                  <a:lnTo>
                    <a:pt x="95469" y="210198"/>
                  </a:lnTo>
                  <a:lnTo>
                    <a:pt x="92945" y="197177"/>
                  </a:lnTo>
                  <a:lnTo>
                    <a:pt x="74619" y="192500"/>
                  </a:lnTo>
                  <a:lnTo>
                    <a:pt x="70638" y="203273"/>
                  </a:lnTo>
                  <a:lnTo>
                    <a:pt x="56131" y="194653"/>
                  </a:lnTo>
                  <a:lnTo>
                    <a:pt x="57798" y="183118"/>
                  </a:lnTo>
                  <a:lnTo>
                    <a:pt x="37833" y="179451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orme libre : forme 5778">
              <a:extLst>
                <a:ext uri="{FF2B5EF4-FFF2-40B4-BE49-F238E27FC236}">
                  <a16:creationId xmlns:a16="http://schemas.microsoft.com/office/drawing/2014/main" id="{56FAF52D-1750-2C30-6791-CC8DF3D52B4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446654" y="3693142"/>
              <a:ext cx="384162" cy="402059"/>
            </a:xfrm>
            <a:custGeom>
              <a:avLst/>
              <a:gdLst>
                <a:gd name="connsiteX0" fmla="*/ 321698 w 384162"/>
                <a:gd name="connsiteY0" fmla="*/ 0 h 402059"/>
                <a:gd name="connsiteX1" fmla="*/ 310182 w 384162"/>
                <a:gd name="connsiteY1" fmla="*/ 19726 h 402059"/>
                <a:gd name="connsiteX2" fmla="*/ 309582 w 384162"/>
                <a:gd name="connsiteY2" fmla="*/ 29451 h 402059"/>
                <a:gd name="connsiteX3" fmla="*/ 313544 w 384162"/>
                <a:gd name="connsiteY3" fmla="*/ 32423 h 402059"/>
                <a:gd name="connsiteX4" fmla="*/ 320297 w 384162"/>
                <a:gd name="connsiteY4" fmla="*/ 30642 h 402059"/>
                <a:gd name="connsiteX5" fmla="*/ 326050 w 384162"/>
                <a:gd name="connsiteY5" fmla="*/ 36795 h 402059"/>
                <a:gd name="connsiteX6" fmla="*/ 340538 w 384162"/>
                <a:gd name="connsiteY6" fmla="*/ 48892 h 402059"/>
                <a:gd name="connsiteX7" fmla="*/ 351454 w 384162"/>
                <a:gd name="connsiteY7" fmla="*/ 55245 h 402059"/>
                <a:gd name="connsiteX8" fmla="*/ 347482 w 384162"/>
                <a:gd name="connsiteY8" fmla="*/ 63379 h 402059"/>
                <a:gd name="connsiteX9" fmla="*/ 340538 w 384162"/>
                <a:gd name="connsiteY9" fmla="*/ 65561 h 402059"/>
                <a:gd name="connsiteX10" fmla="*/ 339547 w 384162"/>
                <a:gd name="connsiteY10" fmla="*/ 71914 h 402059"/>
                <a:gd name="connsiteX11" fmla="*/ 333785 w 384162"/>
                <a:gd name="connsiteY11" fmla="*/ 72114 h 402059"/>
                <a:gd name="connsiteX12" fmla="*/ 338757 w 384162"/>
                <a:gd name="connsiteY12" fmla="*/ 117557 h 402059"/>
                <a:gd name="connsiteX13" fmla="*/ 362598 w 384162"/>
                <a:gd name="connsiteY13" fmla="*/ 128016 h 402059"/>
                <a:gd name="connsiteX14" fmla="*/ 384163 w 384162"/>
                <a:gd name="connsiteY14" fmla="*/ 143580 h 402059"/>
                <a:gd name="connsiteX15" fmla="*/ 361379 w 384162"/>
                <a:gd name="connsiteY15" fmla="*/ 161706 h 402059"/>
                <a:gd name="connsiteX16" fmla="*/ 361798 w 384162"/>
                <a:gd name="connsiteY16" fmla="*/ 183880 h 402059"/>
                <a:gd name="connsiteX17" fmla="*/ 335861 w 384162"/>
                <a:gd name="connsiteY17" fmla="*/ 214827 h 402059"/>
                <a:gd name="connsiteX18" fmla="*/ 319126 w 384162"/>
                <a:gd name="connsiteY18" fmla="*/ 245793 h 402059"/>
                <a:gd name="connsiteX19" fmla="*/ 291189 w 384162"/>
                <a:gd name="connsiteY19" fmla="*/ 277473 h 402059"/>
                <a:gd name="connsiteX20" fmla="*/ 260175 w 384162"/>
                <a:gd name="connsiteY20" fmla="*/ 275187 h 402059"/>
                <a:gd name="connsiteX21" fmla="*/ 230743 w 384162"/>
                <a:gd name="connsiteY21" fmla="*/ 306571 h 402059"/>
                <a:gd name="connsiteX22" fmla="*/ 248221 w 384162"/>
                <a:gd name="connsiteY22" fmla="*/ 319926 h 402059"/>
                <a:gd name="connsiteX23" fmla="*/ 251260 w 384162"/>
                <a:gd name="connsiteY23" fmla="*/ 342700 h 402059"/>
                <a:gd name="connsiteX24" fmla="*/ 266272 w 384162"/>
                <a:gd name="connsiteY24" fmla="*/ 357616 h 402059"/>
                <a:gd name="connsiteX25" fmla="*/ 271568 w 384162"/>
                <a:gd name="connsiteY25" fmla="*/ 382733 h 402059"/>
                <a:gd name="connsiteX26" fmla="*/ 212798 w 384162"/>
                <a:gd name="connsiteY26" fmla="*/ 382657 h 402059"/>
                <a:gd name="connsiteX27" fmla="*/ 195015 w 384162"/>
                <a:gd name="connsiteY27" fmla="*/ 402060 h 402059"/>
                <a:gd name="connsiteX28" fmla="*/ 175441 w 384162"/>
                <a:gd name="connsiteY28" fmla="*/ 394716 h 402059"/>
                <a:gd name="connsiteX29" fmla="*/ 167478 w 384162"/>
                <a:gd name="connsiteY29" fmla="*/ 373771 h 402059"/>
                <a:gd name="connsiteX30" fmla="*/ 146847 w 384162"/>
                <a:gd name="connsiteY30" fmla="*/ 351444 h 402059"/>
                <a:gd name="connsiteX31" fmla="*/ 97641 w 384162"/>
                <a:gd name="connsiteY31" fmla="*/ 356968 h 402059"/>
                <a:gd name="connsiteX32" fmla="*/ 54245 w 384162"/>
                <a:gd name="connsiteY32" fmla="*/ 357511 h 402059"/>
                <a:gd name="connsiteX33" fmla="*/ 16640 w 384162"/>
                <a:gd name="connsiteY33" fmla="*/ 361635 h 402059"/>
                <a:gd name="connsiteX34" fmla="*/ 26699 w 384162"/>
                <a:gd name="connsiteY34" fmla="*/ 327393 h 402059"/>
                <a:gd name="connsiteX35" fmla="*/ 65218 w 384162"/>
                <a:gd name="connsiteY35" fmla="*/ 312068 h 402059"/>
                <a:gd name="connsiteX36" fmla="*/ 63018 w 384162"/>
                <a:gd name="connsiteY36" fmla="*/ 298332 h 402059"/>
                <a:gd name="connsiteX37" fmla="*/ 50235 w 384162"/>
                <a:gd name="connsiteY37" fmla="*/ 293494 h 402059"/>
                <a:gd name="connsiteX38" fmla="*/ 49502 w 384162"/>
                <a:gd name="connsiteY38" fmla="*/ 267043 h 402059"/>
                <a:gd name="connsiteX39" fmla="*/ 23965 w 384162"/>
                <a:gd name="connsiteY39" fmla="*/ 253746 h 402059"/>
                <a:gd name="connsiteX40" fmla="*/ 13211 w 384162"/>
                <a:gd name="connsiteY40" fmla="*/ 235401 h 402059"/>
                <a:gd name="connsiteX41" fmla="*/ 0 w 384162"/>
                <a:gd name="connsiteY41" fmla="*/ 219342 h 402059"/>
                <a:gd name="connsiteX42" fmla="*/ 44748 w 384162"/>
                <a:gd name="connsiteY42" fmla="*/ 234934 h 402059"/>
                <a:gd name="connsiteX43" fmla="*/ 71457 w 384162"/>
                <a:gd name="connsiteY43" fmla="*/ 230371 h 402059"/>
                <a:gd name="connsiteX44" fmla="*/ 87421 w 384162"/>
                <a:gd name="connsiteY44" fmla="*/ 234258 h 402059"/>
                <a:gd name="connsiteX45" fmla="*/ 92831 w 384162"/>
                <a:gd name="connsiteY45" fmla="*/ 227571 h 402059"/>
                <a:gd name="connsiteX46" fmla="*/ 111433 w 384162"/>
                <a:gd name="connsiteY46" fmla="*/ 230257 h 402059"/>
                <a:gd name="connsiteX47" fmla="*/ 146133 w 384162"/>
                <a:gd name="connsiteY47" fmla="*/ 217541 h 402059"/>
                <a:gd name="connsiteX48" fmla="*/ 147076 w 384162"/>
                <a:gd name="connsiteY48" fmla="*/ 191348 h 402059"/>
                <a:gd name="connsiteX49" fmla="*/ 161954 w 384162"/>
                <a:gd name="connsiteY49" fmla="*/ 173793 h 402059"/>
                <a:gd name="connsiteX50" fmla="*/ 181842 w 384162"/>
                <a:gd name="connsiteY50" fmla="*/ 173841 h 402059"/>
                <a:gd name="connsiteX51" fmla="*/ 184766 w 384162"/>
                <a:gd name="connsiteY51" fmla="*/ 165135 h 402059"/>
                <a:gd name="connsiteX52" fmla="*/ 205178 w 384162"/>
                <a:gd name="connsiteY52" fmla="*/ 161058 h 402059"/>
                <a:gd name="connsiteX53" fmla="*/ 215055 w 384162"/>
                <a:gd name="connsiteY53" fmla="*/ 163973 h 402059"/>
                <a:gd name="connsiteX54" fmla="*/ 225486 w 384162"/>
                <a:gd name="connsiteY54" fmla="*/ 155172 h 402059"/>
                <a:gd name="connsiteX55" fmla="*/ 224019 w 384162"/>
                <a:gd name="connsiteY55" fmla="*/ 136312 h 402059"/>
                <a:gd name="connsiteX56" fmla="*/ 235363 w 384162"/>
                <a:gd name="connsiteY56" fmla="*/ 117224 h 402059"/>
                <a:gd name="connsiteX57" fmla="*/ 252356 w 384162"/>
                <a:gd name="connsiteY57" fmla="*/ 109185 h 402059"/>
                <a:gd name="connsiteX58" fmla="*/ 241859 w 384162"/>
                <a:gd name="connsiteY58" fmla="*/ 88049 h 402059"/>
                <a:gd name="connsiteX59" fmla="*/ 267262 w 384162"/>
                <a:gd name="connsiteY59" fmla="*/ 89049 h 402059"/>
                <a:gd name="connsiteX60" fmla="*/ 274606 w 384162"/>
                <a:gd name="connsiteY60" fmla="*/ 77486 h 402059"/>
                <a:gd name="connsiteX61" fmla="*/ 273491 w 384162"/>
                <a:gd name="connsiteY61" fmla="*/ 65084 h 402059"/>
                <a:gd name="connsiteX62" fmla="*/ 286798 w 384162"/>
                <a:gd name="connsiteY62" fmla="*/ 51463 h 402059"/>
                <a:gd name="connsiteX63" fmla="*/ 283740 w 384162"/>
                <a:gd name="connsiteY63" fmla="*/ 35233 h 402059"/>
                <a:gd name="connsiteX64" fmla="*/ 277435 w 384162"/>
                <a:gd name="connsiteY64" fmla="*/ 21326 h 402059"/>
                <a:gd name="connsiteX65" fmla="*/ 293018 w 384162"/>
                <a:gd name="connsiteY65" fmla="*/ 6963 h 402059"/>
                <a:gd name="connsiteX66" fmla="*/ 321698 w 384162"/>
                <a:gd name="connsiteY66" fmla="*/ 0 h 40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84162" h="402059">
                  <a:moveTo>
                    <a:pt x="321698" y="0"/>
                  </a:moveTo>
                  <a:lnTo>
                    <a:pt x="310182" y="19726"/>
                  </a:lnTo>
                  <a:lnTo>
                    <a:pt x="309582" y="29451"/>
                  </a:lnTo>
                  <a:lnTo>
                    <a:pt x="313544" y="32423"/>
                  </a:lnTo>
                  <a:lnTo>
                    <a:pt x="320297" y="30642"/>
                  </a:lnTo>
                  <a:lnTo>
                    <a:pt x="326050" y="36795"/>
                  </a:lnTo>
                  <a:lnTo>
                    <a:pt x="340538" y="48892"/>
                  </a:lnTo>
                  <a:lnTo>
                    <a:pt x="351454" y="55245"/>
                  </a:lnTo>
                  <a:lnTo>
                    <a:pt x="347482" y="63379"/>
                  </a:lnTo>
                  <a:lnTo>
                    <a:pt x="340538" y="65561"/>
                  </a:lnTo>
                  <a:lnTo>
                    <a:pt x="339547" y="71914"/>
                  </a:lnTo>
                  <a:lnTo>
                    <a:pt x="333785" y="72114"/>
                  </a:lnTo>
                  <a:lnTo>
                    <a:pt x="338757" y="117557"/>
                  </a:lnTo>
                  <a:lnTo>
                    <a:pt x="362598" y="128016"/>
                  </a:lnTo>
                  <a:lnTo>
                    <a:pt x="384163" y="143580"/>
                  </a:lnTo>
                  <a:lnTo>
                    <a:pt x="361379" y="161706"/>
                  </a:lnTo>
                  <a:lnTo>
                    <a:pt x="361798" y="183880"/>
                  </a:lnTo>
                  <a:lnTo>
                    <a:pt x="335861" y="214827"/>
                  </a:lnTo>
                  <a:lnTo>
                    <a:pt x="319126" y="245793"/>
                  </a:lnTo>
                  <a:lnTo>
                    <a:pt x="291189" y="277473"/>
                  </a:lnTo>
                  <a:lnTo>
                    <a:pt x="260175" y="275187"/>
                  </a:lnTo>
                  <a:lnTo>
                    <a:pt x="230743" y="306571"/>
                  </a:lnTo>
                  <a:lnTo>
                    <a:pt x="248221" y="319926"/>
                  </a:lnTo>
                  <a:lnTo>
                    <a:pt x="251260" y="342700"/>
                  </a:lnTo>
                  <a:lnTo>
                    <a:pt x="266272" y="357616"/>
                  </a:lnTo>
                  <a:lnTo>
                    <a:pt x="271568" y="382733"/>
                  </a:lnTo>
                  <a:lnTo>
                    <a:pt x="212798" y="382657"/>
                  </a:lnTo>
                  <a:lnTo>
                    <a:pt x="195015" y="402060"/>
                  </a:lnTo>
                  <a:lnTo>
                    <a:pt x="175441" y="394716"/>
                  </a:lnTo>
                  <a:lnTo>
                    <a:pt x="167478" y="373771"/>
                  </a:lnTo>
                  <a:lnTo>
                    <a:pt x="146847" y="351444"/>
                  </a:lnTo>
                  <a:lnTo>
                    <a:pt x="97641" y="356968"/>
                  </a:lnTo>
                  <a:lnTo>
                    <a:pt x="54245" y="357511"/>
                  </a:lnTo>
                  <a:lnTo>
                    <a:pt x="16640" y="361635"/>
                  </a:lnTo>
                  <a:lnTo>
                    <a:pt x="26699" y="327393"/>
                  </a:lnTo>
                  <a:lnTo>
                    <a:pt x="65218" y="312068"/>
                  </a:lnTo>
                  <a:lnTo>
                    <a:pt x="63018" y="298332"/>
                  </a:lnTo>
                  <a:lnTo>
                    <a:pt x="50235" y="293494"/>
                  </a:lnTo>
                  <a:lnTo>
                    <a:pt x="49502" y="267043"/>
                  </a:lnTo>
                  <a:lnTo>
                    <a:pt x="23965" y="253746"/>
                  </a:lnTo>
                  <a:lnTo>
                    <a:pt x="13211" y="235401"/>
                  </a:lnTo>
                  <a:lnTo>
                    <a:pt x="0" y="219342"/>
                  </a:lnTo>
                  <a:lnTo>
                    <a:pt x="44748" y="234934"/>
                  </a:lnTo>
                  <a:lnTo>
                    <a:pt x="71457" y="230371"/>
                  </a:lnTo>
                  <a:lnTo>
                    <a:pt x="87421" y="234258"/>
                  </a:lnTo>
                  <a:lnTo>
                    <a:pt x="92831" y="227571"/>
                  </a:lnTo>
                  <a:lnTo>
                    <a:pt x="111433" y="230257"/>
                  </a:lnTo>
                  <a:lnTo>
                    <a:pt x="146133" y="217541"/>
                  </a:lnTo>
                  <a:lnTo>
                    <a:pt x="147076" y="191348"/>
                  </a:lnTo>
                  <a:lnTo>
                    <a:pt x="161954" y="173793"/>
                  </a:lnTo>
                  <a:lnTo>
                    <a:pt x="181842" y="173841"/>
                  </a:lnTo>
                  <a:lnTo>
                    <a:pt x="184766" y="165135"/>
                  </a:lnTo>
                  <a:lnTo>
                    <a:pt x="205178" y="161058"/>
                  </a:lnTo>
                  <a:lnTo>
                    <a:pt x="215055" y="163973"/>
                  </a:lnTo>
                  <a:lnTo>
                    <a:pt x="225486" y="155172"/>
                  </a:lnTo>
                  <a:lnTo>
                    <a:pt x="224019" y="136312"/>
                  </a:lnTo>
                  <a:lnTo>
                    <a:pt x="235363" y="117224"/>
                  </a:lnTo>
                  <a:lnTo>
                    <a:pt x="252356" y="109185"/>
                  </a:lnTo>
                  <a:lnTo>
                    <a:pt x="241859" y="88049"/>
                  </a:lnTo>
                  <a:lnTo>
                    <a:pt x="267262" y="89049"/>
                  </a:lnTo>
                  <a:lnTo>
                    <a:pt x="274606" y="77486"/>
                  </a:lnTo>
                  <a:lnTo>
                    <a:pt x="273491" y="65084"/>
                  </a:lnTo>
                  <a:lnTo>
                    <a:pt x="286798" y="51463"/>
                  </a:lnTo>
                  <a:lnTo>
                    <a:pt x="283740" y="35233"/>
                  </a:lnTo>
                  <a:lnTo>
                    <a:pt x="277435" y="21326"/>
                  </a:lnTo>
                  <a:lnTo>
                    <a:pt x="293018" y="6963"/>
                  </a:lnTo>
                  <a:lnTo>
                    <a:pt x="321698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orme libre : forme 5779">
              <a:extLst>
                <a:ext uri="{FF2B5EF4-FFF2-40B4-BE49-F238E27FC236}">
                  <a16:creationId xmlns:a16="http://schemas.microsoft.com/office/drawing/2014/main" id="{33C5778A-D7E1-069C-1F8A-225CEF48A1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025074" y="4242439"/>
              <a:ext cx="44110" cy="16049"/>
            </a:xfrm>
            <a:custGeom>
              <a:avLst/>
              <a:gdLst>
                <a:gd name="connsiteX0" fmla="*/ 25641 w 44110"/>
                <a:gd name="connsiteY0" fmla="*/ 162 h 16049"/>
                <a:gd name="connsiteX1" fmla="*/ 39291 w 44110"/>
                <a:gd name="connsiteY1" fmla="*/ 2629 h 16049"/>
                <a:gd name="connsiteX2" fmla="*/ 44110 w 44110"/>
                <a:gd name="connsiteY2" fmla="*/ 8192 h 16049"/>
                <a:gd name="connsiteX3" fmla="*/ 37262 w 44110"/>
                <a:gd name="connsiteY3" fmla="*/ 15230 h 16049"/>
                <a:gd name="connsiteX4" fmla="*/ 17164 w 44110"/>
                <a:gd name="connsiteY4" fmla="*/ 15059 h 16049"/>
                <a:gd name="connsiteX5" fmla="*/ 1553 w 44110"/>
                <a:gd name="connsiteY5" fmla="*/ 16050 h 16049"/>
                <a:gd name="connsiteX6" fmla="*/ 0 w 44110"/>
                <a:gd name="connsiteY6" fmla="*/ 4086 h 16049"/>
                <a:gd name="connsiteX7" fmla="*/ 3781 w 44110"/>
                <a:gd name="connsiteY7" fmla="*/ 0 h 16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10" h="16049">
                  <a:moveTo>
                    <a:pt x="25641" y="162"/>
                  </a:moveTo>
                  <a:lnTo>
                    <a:pt x="39291" y="2629"/>
                  </a:lnTo>
                  <a:lnTo>
                    <a:pt x="44110" y="8192"/>
                  </a:lnTo>
                  <a:lnTo>
                    <a:pt x="37262" y="15230"/>
                  </a:lnTo>
                  <a:lnTo>
                    <a:pt x="17164" y="15059"/>
                  </a:lnTo>
                  <a:lnTo>
                    <a:pt x="1553" y="16050"/>
                  </a:lnTo>
                  <a:lnTo>
                    <a:pt x="0" y="4086"/>
                  </a:lnTo>
                  <a:lnTo>
                    <a:pt x="3781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Forme libre : forme 5780">
              <a:extLst>
                <a:ext uri="{FF2B5EF4-FFF2-40B4-BE49-F238E27FC236}">
                  <a16:creationId xmlns:a16="http://schemas.microsoft.com/office/drawing/2014/main" id="{C5140972-1CD8-C21C-0535-A36ABB874EC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753691" y="3828492"/>
              <a:ext cx="16516" cy="36928"/>
            </a:xfrm>
            <a:custGeom>
              <a:avLst/>
              <a:gdLst>
                <a:gd name="connsiteX0" fmla="*/ 16516 w 16516"/>
                <a:gd name="connsiteY0" fmla="*/ 4363 h 36928"/>
                <a:gd name="connsiteX1" fmla="*/ 16507 w 16516"/>
                <a:gd name="connsiteY1" fmla="*/ 23546 h 36928"/>
                <a:gd name="connsiteX2" fmla="*/ 12554 w 16516"/>
                <a:gd name="connsiteY2" fmla="*/ 32709 h 36928"/>
                <a:gd name="connsiteX3" fmla="*/ 0 w 16516"/>
                <a:gd name="connsiteY3" fmla="*/ 36928 h 36928"/>
                <a:gd name="connsiteX4" fmla="*/ 1152 w 16516"/>
                <a:gd name="connsiteY4" fmla="*/ 28727 h 36928"/>
                <a:gd name="connsiteX5" fmla="*/ 7972 w 16516"/>
                <a:gd name="connsiteY5" fmla="*/ 24432 h 36928"/>
                <a:gd name="connsiteX6" fmla="*/ 1267 w 16516"/>
                <a:gd name="connsiteY6" fmla="*/ 20917 h 36928"/>
                <a:gd name="connsiteX7" fmla="*/ 6848 w 16516"/>
                <a:gd name="connsiteY7" fmla="*/ 0 h 36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16" h="36928">
                  <a:moveTo>
                    <a:pt x="16516" y="4363"/>
                  </a:moveTo>
                  <a:lnTo>
                    <a:pt x="16507" y="23546"/>
                  </a:lnTo>
                  <a:lnTo>
                    <a:pt x="12554" y="32709"/>
                  </a:lnTo>
                  <a:lnTo>
                    <a:pt x="0" y="36928"/>
                  </a:lnTo>
                  <a:lnTo>
                    <a:pt x="1152" y="28727"/>
                  </a:lnTo>
                  <a:lnTo>
                    <a:pt x="7972" y="24432"/>
                  </a:lnTo>
                  <a:lnTo>
                    <a:pt x="1267" y="20917"/>
                  </a:lnTo>
                  <a:lnTo>
                    <a:pt x="6848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orme libre : forme 5781">
              <a:extLst>
                <a:ext uri="{FF2B5EF4-FFF2-40B4-BE49-F238E27FC236}">
                  <a16:creationId xmlns:a16="http://schemas.microsoft.com/office/drawing/2014/main" id="{4F57107D-FB11-575D-F0F9-DD44BDC28D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566476" y="3501279"/>
              <a:ext cx="83791" cy="187937"/>
            </a:xfrm>
            <a:custGeom>
              <a:avLst/>
              <a:gdLst>
                <a:gd name="connsiteX0" fmla="*/ 13135 w 83791"/>
                <a:gd name="connsiteY0" fmla="*/ 14335 h 187937"/>
                <a:gd name="connsiteX1" fmla="*/ 22822 w 83791"/>
                <a:gd name="connsiteY1" fmla="*/ 5239 h 187937"/>
                <a:gd name="connsiteX2" fmla="*/ 33728 w 83791"/>
                <a:gd name="connsiteY2" fmla="*/ 0 h 187937"/>
                <a:gd name="connsiteX3" fmla="*/ 40415 w 83791"/>
                <a:gd name="connsiteY3" fmla="*/ 17536 h 187937"/>
                <a:gd name="connsiteX4" fmla="*/ 56188 w 83791"/>
                <a:gd name="connsiteY4" fmla="*/ 17497 h 187937"/>
                <a:gd name="connsiteX5" fmla="*/ 60760 w 83791"/>
                <a:gd name="connsiteY5" fmla="*/ 12983 h 187937"/>
                <a:gd name="connsiteX6" fmla="*/ 76324 w 83791"/>
                <a:gd name="connsiteY6" fmla="*/ 14240 h 187937"/>
                <a:gd name="connsiteX7" fmla="*/ 83791 w 83791"/>
                <a:gd name="connsiteY7" fmla="*/ 32090 h 187937"/>
                <a:gd name="connsiteX8" fmla="*/ 71447 w 83791"/>
                <a:gd name="connsiteY8" fmla="*/ 41672 h 187937"/>
                <a:gd name="connsiteX9" fmla="*/ 71104 w 83791"/>
                <a:gd name="connsiteY9" fmla="*/ 69056 h 187937"/>
                <a:gd name="connsiteX10" fmla="*/ 66770 w 83791"/>
                <a:gd name="connsiteY10" fmla="*/ 74161 h 187937"/>
                <a:gd name="connsiteX11" fmla="*/ 65694 w 83791"/>
                <a:gd name="connsiteY11" fmla="*/ 90554 h 187937"/>
                <a:gd name="connsiteX12" fmla="*/ 54159 w 83791"/>
                <a:gd name="connsiteY12" fmla="*/ 93402 h 187937"/>
                <a:gd name="connsiteX13" fmla="*/ 64856 w 83791"/>
                <a:gd name="connsiteY13" fmla="*/ 114024 h 187937"/>
                <a:gd name="connsiteX14" fmla="*/ 57483 w 83791"/>
                <a:gd name="connsiteY14" fmla="*/ 136407 h 187937"/>
                <a:gd name="connsiteX15" fmla="*/ 66694 w 83791"/>
                <a:gd name="connsiteY15" fmla="*/ 146475 h 187937"/>
                <a:gd name="connsiteX16" fmla="*/ 63027 w 83791"/>
                <a:gd name="connsiteY16" fmla="*/ 155648 h 187937"/>
                <a:gd name="connsiteX17" fmla="*/ 53130 w 83791"/>
                <a:gd name="connsiteY17" fmla="*/ 168240 h 187937"/>
                <a:gd name="connsiteX18" fmla="*/ 55359 w 83791"/>
                <a:gd name="connsiteY18" fmla="*/ 179299 h 187937"/>
                <a:gd name="connsiteX19" fmla="*/ 44625 w 83791"/>
                <a:gd name="connsiteY19" fmla="*/ 187938 h 187937"/>
                <a:gd name="connsiteX20" fmla="*/ 30547 w 83791"/>
                <a:gd name="connsiteY20" fmla="*/ 183261 h 187937"/>
                <a:gd name="connsiteX21" fmla="*/ 16764 w 83791"/>
                <a:gd name="connsiteY21" fmla="*/ 186928 h 187937"/>
                <a:gd name="connsiteX22" fmla="*/ 20841 w 83791"/>
                <a:gd name="connsiteY22" fmla="*/ 160782 h 187937"/>
                <a:gd name="connsiteX23" fmla="*/ 18336 w 83791"/>
                <a:gd name="connsiteY23" fmla="*/ 140037 h 187937"/>
                <a:gd name="connsiteX24" fmla="*/ 6382 w 83791"/>
                <a:gd name="connsiteY24" fmla="*/ 136912 h 187937"/>
                <a:gd name="connsiteX25" fmla="*/ 0 w 83791"/>
                <a:gd name="connsiteY25" fmla="*/ 124025 h 187937"/>
                <a:gd name="connsiteX26" fmla="*/ 2124 w 83791"/>
                <a:gd name="connsiteY26" fmla="*/ 101594 h 187937"/>
                <a:gd name="connsiteX27" fmla="*/ 12773 w 83791"/>
                <a:gd name="connsiteY27" fmla="*/ 89068 h 187937"/>
                <a:gd name="connsiteX28" fmla="*/ 14669 w 83791"/>
                <a:gd name="connsiteY28" fmla="*/ 75038 h 187937"/>
                <a:gd name="connsiteX29" fmla="*/ 20241 w 83791"/>
                <a:gd name="connsiteY29" fmla="*/ 54016 h 187937"/>
                <a:gd name="connsiteX30" fmla="*/ 19641 w 83791"/>
                <a:gd name="connsiteY30" fmla="*/ 39081 h 187937"/>
                <a:gd name="connsiteX31" fmla="*/ 14307 w 83791"/>
                <a:gd name="connsiteY31" fmla="*/ 26356 h 18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3791" h="187937">
                  <a:moveTo>
                    <a:pt x="13135" y="14335"/>
                  </a:moveTo>
                  <a:lnTo>
                    <a:pt x="22822" y="5239"/>
                  </a:lnTo>
                  <a:lnTo>
                    <a:pt x="33728" y="0"/>
                  </a:lnTo>
                  <a:lnTo>
                    <a:pt x="40415" y="17536"/>
                  </a:lnTo>
                  <a:lnTo>
                    <a:pt x="56188" y="17497"/>
                  </a:lnTo>
                  <a:lnTo>
                    <a:pt x="60760" y="12983"/>
                  </a:lnTo>
                  <a:lnTo>
                    <a:pt x="76324" y="14240"/>
                  </a:lnTo>
                  <a:lnTo>
                    <a:pt x="83791" y="32090"/>
                  </a:lnTo>
                  <a:lnTo>
                    <a:pt x="71447" y="41672"/>
                  </a:lnTo>
                  <a:lnTo>
                    <a:pt x="71104" y="69056"/>
                  </a:lnTo>
                  <a:lnTo>
                    <a:pt x="66770" y="74161"/>
                  </a:lnTo>
                  <a:lnTo>
                    <a:pt x="65694" y="90554"/>
                  </a:lnTo>
                  <a:lnTo>
                    <a:pt x="54159" y="93402"/>
                  </a:lnTo>
                  <a:lnTo>
                    <a:pt x="64856" y="114024"/>
                  </a:lnTo>
                  <a:lnTo>
                    <a:pt x="57483" y="136407"/>
                  </a:lnTo>
                  <a:lnTo>
                    <a:pt x="66694" y="146475"/>
                  </a:lnTo>
                  <a:lnTo>
                    <a:pt x="63027" y="155648"/>
                  </a:lnTo>
                  <a:lnTo>
                    <a:pt x="53130" y="168240"/>
                  </a:lnTo>
                  <a:lnTo>
                    <a:pt x="55359" y="179299"/>
                  </a:lnTo>
                  <a:lnTo>
                    <a:pt x="44625" y="187938"/>
                  </a:lnTo>
                  <a:lnTo>
                    <a:pt x="30547" y="183261"/>
                  </a:lnTo>
                  <a:lnTo>
                    <a:pt x="16764" y="186928"/>
                  </a:lnTo>
                  <a:lnTo>
                    <a:pt x="20841" y="160782"/>
                  </a:lnTo>
                  <a:lnTo>
                    <a:pt x="18336" y="140037"/>
                  </a:lnTo>
                  <a:lnTo>
                    <a:pt x="6382" y="136912"/>
                  </a:lnTo>
                  <a:lnTo>
                    <a:pt x="0" y="124025"/>
                  </a:lnTo>
                  <a:lnTo>
                    <a:pt x="2124" y="101594"/>
                  </a:lnTo>
                  <a:lnTo>
                    <a:pt x="12773" y="89068"/>
                  </a:lnTo>
                  <a:lnTo>
                    <a:pt x="14669" y="75038"/>
                  </a:lnTo>
                  <a:lnTo>
                    <a:pt x="20241" y="54016"/>
                  </a:lnTo>
                  <a:lnTo>
                    <a:pt x="19641" y="39081"/>
                  </a:lnTo>
                  <a:lnTo>
                    <a:pt x="14307" y="2635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orme libre : forme 5782">
              <a:extLst>
                <a:ext uri="{FF2B5EF4-FFF2-40B4-BE49-F238E27FC236}">
                  <a16:creationId xmlns:a16="http://schemas.microsoft.com/office/drawing/2014/main" id="{3E416A4E-6CB1-6065-477F-BE141CA913C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146784" y="5265947"/>
              <a:ext cx="224123" cy="237801"/>
            </a:xfrm>
            <a:custGeom>
              <a:avLst/>
              <a:gdLst>
                <a:gd name="connsiteX0" fmla="*/ 0 w 224123"/>
                <a:gd name="connsiteY0" fmla="*/ 82544 h 237801"/>
                <a:gd name="connsiteX1" fmla="*/ 10525 w 224123"/>
                <a:gd name="connsiteY1" fmla="*/ 48339 h 237801"/>
                <a:gd name="connsiteX2" fmla="*/ 11192 w 224123"/>
                <a:gd name="connsiteY2" fmla="*/ 33061 h 237801"/>
                <a:gd name="connsiteX3" fmla="*/ 24003 w 224123"/>
                <a:gd name="connsiteY3" fmla="*/ 8192 h 237801"/>
                <a:gd name="connsiteX4" fmla="*/ 70542 w 224123"/>
                <a:gd name="connsiteY4" fmla="*/ 0 h 237801"/>
                <a:gd name="connsiteX5" fmla="*/ 95345 w 224123"/>
                <a:gd name="connsiteY5" fmla="*/ 391 h 237801"/>
                <a:gd name="connsiteX6" fmla="*/ 120224 w 224123"/>
                <a:gd name="connsiteY6" fmla="*/ 14812 h 237801"/>
                <a:gd name="connsiteX7" fmla="*/ 120682 w 224123"/>
                <a:gd name="connsiteY7" fmla="*/ 23518 h 237801"/>
                <a:gd name="connsiteX8" fmla="*/ 128578 w 224123"/>
                <a:gd name="connsiteY8" fmla="*/ 39272 h 237801"/>
                <a:gd name="connsiteX9" fmla="*/ 126806 w 224123"/>
                <a:gd name="connsiteY9" fmla="*/ 77991 h 237801"/>
                <a:gd name="connsiteX10" fmla="*/ 155000 w 224123"/>
                <a:gd name="connsiteY10" fmla="*/ 83497 h 237801"/>
                <a:gd name="connsiteX11" fmla="*/ 165897 w 224123"/>
                <a:gd name="connsiteY11" fmla="*/ 77877 h 237801"/>
                <a:gd name="connsiteX12" fmla="*/ 183937 w 224123"/>
                <a:gd name="connsiteY12" fmla="*/ 85640 h 237801"/>
                <a:gd name="connsiteX13" fmla="*/ 188938 w 224123"/>
                <a:gd name="connsiteY13" fmla="*/ 94231 h 237801"/>
                <a:gd name="connsiteX14" fmla="*/ 191424 w 224123"/>
                <a:gd name="connsiteY14" fmla="*/ 120691 h 237801"/>
                <a:gd name="connsiteX15" fmla="*/ 194538 w 224123"/>
                <a:gd name="connsiteY15" fmla="*/ 131855 h 237801"/>
                <a:gd name="connsiteX16" fmla="*/ 204502 w 224123"/>
                <a:gd name="connsiteY16" fmla="*/ 133150 h 237801"/>
                <a:gd name="connsiteX17" fmla="*/ 214522 w 224123"/>
                <a:gd name="connsiteY17" fmla="*/ 128454 h 237801"/>
                <a:gd name="connsiteX18" fmla="*/ 224123 w 224123"/>
                <a:gd name="connsiteY18" fmla="*/ 133721 h 237801"/>
                <a:gd name="connsiteX19" fmla="*/ 224114 w 224123"/>
                <a:gd name="connsiteY19" fmla="*/ 149743 h 237801"/>
                <a:gd name="connsiteX20" fmla="*/ 220494 w 224123"/>
                <a:gd name="connsiteY20" fmla="*/ 167050 h 237801"/>
                <a:gd name="connsiteX21" fmla="*/ 215255 w 224123"/>
                <a:gd name="connsiteY21" fmla="*/ 184033 h 237801"/>
                <a:gd name="connsiteX22" fmla="*/ 210883 w 224123"/>
                <a:gd name="connsiteY22" fmla="*/ 210151 h 237801"/>
                <a:gd name="connsiteX23" fmla="*/ 186661 w 224123"/>
                <a:gd name="connsiteY23" fmla="*/ 232991 h 237801"/>
                <a:gd name="connsiteX24" fmla="*/ 165544 w 224123"/>
                <a:gd name="connsiteY24" fmla="*/ 237801 h 237801"/>
                <a:gd name="connsiteX25" fmla="*/ 135550 w 224123"/>
                <a:gd name="connsiteY25" fmla="*/ 233239 h 237801"/>
                <a:gd name="connsiteX26" fmla="*/ 108613 w 224123"/>
                <a:gd name="connsiteY26" fmla="*/ 225104 h 237801"/>
                <a:gd name="connsiteX27" fmla="*/ 134912 w 224123"/>
                <a:gd name="connsiteY27" fmla="*/ 180032 h 237801"/>
                <a:gd name="connsiteX28" fmla="*/ 131073 w 224123"/>
                <a:gd name="connsiteY28" fmla="*/ 167059 h 237801"/>
                <a:gd name="connsiteX29" fmla="*/ 103565 w 224123"/>
                <a:gd name="connsiteY29" fmla="*/ 155610 h 237801"/>
                <a:gd name="connsiteX30" fmla="*/ 70933 w 224123"/>
                <a:gd name="connsiteY30" fmla="*/ 134064 h 237801"/>
                <a:gd name="connsiteX31" fmla="*/ 49101 w 224123"/>
                <a:gd name="connsiteY31" fmla="*/ 129645 h 237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4123" h="237801">
                  <a:moveTo>
                    <a:pt x="0" y="82544"/>
                  </a:moveTo>
                  <a:lnTo>
                    <a:pt x="10525" y="48339"/>
                  </a:lnTo>
                  <a:lnTo>
                    <a:pt x="11192" y="33061"/>
                  </a:lnTo>
                  <a:lnTo>
                    <a:pt x="24003" y="8192"/>
                  </a:lnTo>
                  <a:lnTo>
                    <a:pt x="70542" y="0"/>
                  </a:lnTo>
                  <a:lnTo>
                    <a:pt x="95345" y="391"/>
                  </a:lnTo>
                  <a:lnTo>
                    <a:pt x="120224" y="14812"/>
                  </a:lnTo>
                  <a:lnTo>
                    <a:pt x="120682" y="23518"/>
                  </a:lnTo>
                  <a:lnTo>
                    <a:pt x="128578" y="39272"/>
                  </a:lnTo>
                  <a:lnTo>
                    <a:pt x="126806" y="77991"/>
                  </a:lnTo>
                  <a:lnTo>
                    <a:pt x="155000" y="83497"/>
                  </a:lnTo>
                  <a:lnTo>
                    <a:pt x="165897" y="77877"/>
                  </a:lnTo>
                  <a:lnTo>
                    <a:pt x="183937" y="85640"/>
                  </a:lnTo>
                  <a:lnTo>
                    <a:pt x="188938" y="94231"/>
                  </a:lnTo>
                  <a:lnTo>
                    <a:pt x="191424" y="120691"/>
                  </a:lnTo>
                  <a:lnTo>
                    <a:pt x="194538" y="131855"/>
                  </a:lnTo>
                  <a:lnTo>
                    <a:pt x="204502" y="133150"/>
                  </a:lnTo>
                  <a:lnTo>
                    <a:pt x="214522" y="128454"/>
                  </a:lnTo>
                  <a:lnTo>
                    <a:pt x="224123" y="133721"/>
                  </a:lnTo>
                  <a:lnTo>
                    <a:pt x="224114" y="149743"/>
                  </a:lnTo>
                  <a:lnTo>
                    <a:pt x="220494" y="167050"/>
                  </a:lnTo>
                  <a:lnTo>
                    <a:pt x="215255" y="184033"/>
                  </a:lnTo>
                  <a:lnTo>
                    <a:pt x="210883" y="210151"/>
                  </a:lnTo>
                  <a:lnTo>
                    <a:pt x="186661" y="232991"/>
                  </a:lnTo>
                  <a:lnTo>
                    <a:pt x="165544" y="237801"/>
                  </a:lnTo>
                  <a:lnTo>
                    <a:pt x="135550" y="233239"/>
                  </a:lnTo>
                  <a:lnTo>
                    <a:pt x="108613" y="225104"/>
                  </a:lnTo>
                  <a:lnTo>
                    <a:pt x="134912" y="180032"/>
                  </a:lnTo>
                  <a:lnTo>
                    <a:pt x="131073" y="167059"/>
                  </a:lnTo>
                  <a:lnTo>
                    <a:pt x="103565" y="155610"/>
                  </a:lnTo>
                  <a:lnTo>
                    <a:pt x="70933" y="134064"/>
                  </a:lnTo>
                  <a:lnTo>
                    <a:pt x="49101" y="1296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" name="Forme libre : forme 5783">
              <a:extLst>
                <a:ext uri="{FF2B5EF4-FFF2-40B4-BE49-F238E27FC236}">
                  <a16:creationId xmlns:a16="http://schemas.microsoft.com/office/drawing/2014/main" id="{EA220DA1-0F75-D00A-4C92-13991474A2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176096" y="4024250"/>
              <a:ext cx="23041" cy="45796"/>
            </a:xfrm>
            <a:custGeom>
              <a:avLst/>
              <a:gdLst>
                <a:gd name="connsiteX0" fmla="*/ 1771 w 23041"/>
                <a:gd name="connsiteY0" fmla="*/ 39996 h 45796"/>
                <a:gd name="connsiteX1" fmla="*/ 0 w 23041"/>
                <a:gd name="connsiteY1" fmla="*/ 18650 h 45796"/>
                <a:gd name="connsiteX2" fmla="*/ 7201 w 23041"/>
                <a:gd name="connsiteY2" fmla="*/ 3181 h 45796"/>
                <a:gd name="connsiteX3" fmla="*/ 14497 w 23041"/>
                <a:gd name="connsiteY3" fmla="*/ 0 h 45796"/>
                <a:gd name="connsiteX4" fmla="*/ 22574 w 23041"/>
                <a:gd name="connsiteY4" fmla="*/ 9258 h 45796"/>
                <a:gd name="connsiteX5" fmla="*/ 23041 w 23041"/>
                <a:gd name="connsiteY5" fmla="*/ 26489 h 45796"/>
                <a:gd name="connsiteX6" fmla="*/ 17250 w 23041"/>
                <a:gd name="connsiteY6" fmla="*/ 43720 h 45796"/>
                <a:gd name="connsiteX7" fmla="*/ 9840 w 23041"/>
                <a:gd name="connsiteY7" fmla="*/ 45796 h 4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41" h="45796">
                  <a:moveTo>
                    <a:pt x="1771" y="39996"/>
                  </a:moveTo>
                  <a:lnTo>
                    <a:pt x="0" y="18650"/>
                  </a:lnTo>
                  <a:lnTo>
                    <a:pt x="7201" y="3181"/>
                  </a:lnTo>
                  <a:lnTo>
                    <a:pt x="14497" y="0"/>
                  </a:lnTo>
                  <a:lnTo>
                    <a:pt x="22574" y="9258"/>
                  </a:lnTo>
                  <a:lnTo>
                    <a:pt x="23041" y="26489"/>
                  </a:lnTo>
                  <a:lnTo>
                    <a:pt x="17250" y="43720"/>
                  </a:lnTo>
                  <a:lnTo>
                    <a:pt x="9840" y="4579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orme libre : forme 5784">
              <a:extLst>
                <a:ext uri="{FF2B5EF4-FFF2-40B4-BE49-F238E27FC236}">
                  <a16:creationId xmlns:a16="http://schemas.microsoft.com/office/drawing/2014/main" id="{92B429A8-A487-9427-D8B8-F27116B50D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60909" y="3276366"/>
              <a:ext cx="251211" cy="173697"/>
            </a:xfrm>
            <a:custGeom>
              <a:avLst/>
              <a:gdLst>
                <a:gd name="connsiteX0" fmla="*/ 66513 w 251211"/>
                <a:gd name="connsiteY0" fmla="*/ 13497 h 173697"/>
                <a:gd name="connsiteX1" fmla="*/ 78048 w 251211"/>
                <a:gd name="connsiteY1" fmla="*/ 4972 h 173697"/>
                <a:gd name="connsiteX2" fmla="*/ 94564 w 251211"/>
                <a:gd name="connsiteY2" fmla="*/ 9392 h 173697"/>
                <a:gd name="connsiteX3" fmla="*/ 111690 w 251211"/>
                <a:gd name="connsiteY3" fmla="*/ 9535 h 173697"/>
                <a:gd name="connsiteX4" fmla="*/ 124091 w 251211"/>
                <a:gd name="connsiteY4" fmla="*/ 19231 h 173697"/>
                <a:gd name="connsiteX5" fmla="*/ 133207 w 251211"/>
                <a:gd name="connsiteY5" fmla="*/ 13145 h 173697"/>
                <a:gd name="connsiteX6" fmla="*/ 152914 w 251211"/>
                <a:gd name="connsiteY6" fmla="*/ 9325 h 173697"/>
                <a:gd name="connsiteX7" fmla="*/ 159639 w 251211"/>
                <a:gd name="connsiteY7" fmla="*/ 0 h 173697"/>
                <a:gd name="connsiteX8" fmla="*/ 170907 w 251211"/>
                <a:gd name="connsiteY8" fmla="*/ 10 h 173697"/>
                <a:gd name="connsiteX9" fmla="*/ 179041 w 251211"/>
                <a:gd name="connsiteY9" fmla="*/ 3905 h 173697"/>
                <a:gd name="connsiteX10" fmla="*/ 187318 w 251211"/>
                <a:gd name="connsiteY10" fmla="*/ 15697 h 173697"/>
                <a:gd name="connsiteX11" fmla="*/ 195786 w 251211"/>
                <a:gd name="connsiteY11" fmla="*/ 32347 h 173697"/>
                <a:gd name="connsiteX12" fmla="*/ 211198 w 251211"/>
                <a:gd name="connsiteY12" fmla="*/ 55607 h 173697"/>
                <a:gd name="connsiteX13" fmla="*/ 212045 w 251211"/>
                <a:gd name="connsiteY13" fmla="*/ 72609 h 173697"/>
                <a:gd name="connsiteX14" fmla="*/ 209235 w 251211"/>
                <a:gd name="connsiteY14" fmla="*/ 89030 h 173697"/>
                <a:gd name="connsiteX15" fmla="*/ 214017 w 251211"/>
                <a:gd name="connsiteY15" fmla="*/ 106423 h 173697"/>
                <a:gd name="connsiteX16" fmla="*/ 225933 w 251211"/>
                <a:gd name="connsiteY16" fmla="*/ 113405 h 173697"/>
                <a:gd name="connsiteX17" fmla="*/ 238477 w 251211"/>
                <a:gd name="connsiteY17" fmla="*/ 107309 h 173697"/>
                <a:gd name="connsiteX18" fmla="*/ 250593 w 251211"/>
                <a:gd name="connsiteY18" fmla="*/ 113814 h 173697"/>
                <a:gd name="connsiteX19" fmla="*/ 251212 w 251211"/>
                <a:gd name="connsiteY19" fmla="*/ 123549 h 173697"/>
                <a:gd name="connsiteX20" fmla="*/ 238267 w 251211"/>
                <a:gd name="connsiteY20" fmla="*/ 131636 h 173697"/>
                <a:gd name="connsiteX21" fmla="*/ 230152 w 251211"/>
                <a:gd name="connsiteY21" fmla="*/ 128121 h 173697"/>
                <a:gd name="connsiteX22" fmla="*/ 222685 w 251211"/>
                <a:gd name="connsiteY22" fmla="*/ 172993 h 173697"/>
                <a:gd name="connsiteX23" fmla="*/ 206978 w 251211"/>
                <a:gd name="connsiteY23" fmla="*/ 169126 h 173697"/>
                <a:gd name="connsiteX24" fmla="*/ 187547 w 251211"/>
                <a:gd name="connsiteY24" fmla="*/ 155677 h 173697"/>
                <a:gd name="connsiteX25" fmla="*/ 156105 w 251211"/>
                <a:gd name="connsiteY25" fmla="*/ 164287 h 173697"/>
                <a:gd name="connsiteX26" fmla="*/ 142856 w 251211"/>
                <a:gd name="connsiteY26" fmla="*/ 173698 h 173697"/>
                <a:gd name="connsiteX27" fmla="*/ 103641 w 251211"/>
                <a:gd name="connsiteY27" fmla="*/ 171755 h 173697"/>
                <a:gd name="connsiteX28" fmla="*/ 83115 w 251211"/>
                <a:gd name="connsiteY28" fmla="*/ 166002 h 173697"/>
                <a:gd name="connsiteX29" fmla="*/ 72771 w 251211"/>
                <a:gd name="connsiteY29" fmla="*/ 168707 h 173697"/>
                <a:gd name="connsiteX30" fmla="*/ 65084 w 251211"/>
                <a:gd name="connsiteY30" fmla="*/ 153486 h 173697"/>
                <a:gd name="connsiteX31" fmla="*/ 60198 w 251211"/>
                <a:gd name="connsiteY31" fmla="*/ 146999 h 173697"/>
                <a:gd name="connsiteX32" fmla="*/ 66389 w 251211"/>
                <a:gd name="connsiteY32" fmla="*/ 140703 h 173697"/>
                <a:gd name="connsiteX33" fmla="*/ 59798 w 251211"/>
                <a:gd name="connsiteY33" fmla="*/ 136055 h 173697"/>
                <a:gd name="connsiteX34" fmla="*/ 51415 w 251211"/>
                <a:gd name="connsiteY34" fmla="*/ 144418 h 173697"/>
                <a:gd name="connsiteX35" fmla="*/ 35843 w 251211"/>
                <a:gd name="connsiteY35" fmla="*/ 133560 h 173697"/>
                <a:gd name="connsiteX36" fmla="*/ 33747 w 251211"/>
                <a:gd name="connsiteY36" fmla="*/ 118053 h 173697"/>
                <a:gd name="connsiteX37" fmla="*/ 17469 w 251211"/>
                <a:gd name="connsiteY37" fmla="*/ 109147 h 173697"/>
                <a:gd name="connsiteX38" fmla="*/ 14478 w 251211"/>
                <a:gd name="connsiteY38" fmla="*/ 97050 h 173697"/>
                <a:gd name="connsiteX39" fmla="*/ 0 w 251211"/>
                <a:gd name="connsiteY39" fmla="*/ 82010 h 173697"/>
                <a:gd name="connsiteX40" fmla="*/ 21412 w 251211"/>
                <a:gd name="connsiteY40" fmla="*/ 74752 h 173697"/>
                <a:gd name="connsiteX41" fmla="*/ 37566 w 251211"/>
                <a:gd name="connsiteY41" fmla="*/ 48454 h 173697"/>
                <a:gd name="connsiteX42" fmla="*/ 50196 w 251211"/>
                <a:gd name="connsiteY42" fmla="*/ 21803 h 173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1211" h="173697">
                  <a:moveTo>
                    <a:pt x="66513" y="13497"/>
                  </a:moveTo>
                  <a:lnTo>
                    <a:pt x="78048" y="4972"/>
                  </a:lnTo>
                  <a:lnTo>
                    <a:pt x="94564" y="9392"/>
                  </a:lnTo>
                  <a:lnTo>
                    <a:pt x="111690" y="9535"/>
                  </a:lnTo>
                  <a:lnTo>
                    <a:pt x="124091" y="19231"/>
                  </a:lnTo>
                  <a:lnTo>
                    <a:pt x="133207" y="13145"/>
                  </a:lnTo>
                  <a:lnTo>
                    <a:pt x="152914" y="9325"/>
                  </a:lnTo>
                  <a:lnTo>
                    <a:pt x="159639" y="0"/>
                  </a:lnTo>
                  <a:lnTo>
                    <a:pt x="170907" y="10"/>
                  </a:lnTo>
                  <a:lnTo>
                    <a:pt x="179041" y="3905"/>
                  </a:lnTo>
                  <a:lnTo>
                    <a:pt x="187318" y="15697"/>
                  </a:lnTo>
                  <a:lnTo>
                    <a:pt x="195786" y="32347"/>
                  </a:lnTo>
                  <a:lnTo>
                    <a:pt x="211198" y="55607"/>
                  </a:lnTo>
                  <a:lnTo>
                    <a:pt x="212045" y="72609"/>
                  </a:lnTo>
                  <a:lnTo>
                    <a:pt x="209235" y="89030"/>
                  </a:lnTo>
                  <a:lnTo>
                    <a:pt x="214017" y="106423"/>
                  </a:lnTo>
                  <a:lnTo>
                    <a:pt x="225933" y="113405"/>
                  </a:lnTo>
                  <a:lnTo>
                    <a:pt x="238477" y="107309"/>
                  </a:lnTo>
                  <a:lnTo>
                    <a:pt x="250593" y="113814"/>
                  </a:lnTo>
                  <a:lnTo>
                    <a:pt x="251212" y="123549"/>
                  </a:lnTo>
                  <a:lnTo>
                    <a:pt x="238267" y="131636"/>
                  </a:lnTo>
                  <a:lnTo>
                    <a:pt x="230152" y="128121"/>
                  </a:lnTo>
                  <a:lnTo>
                    <a:pt x="222685" y="172993"/>
                  </a:lnTo>
                  <a:lnTo>
                    <a:pt x="206978" y="169126"/>
                  </a:lnTo>
                  <a:lnTo>
                    <a:pt x="187547" y="155677"/>
                  </a:lnTo>
                  <a:lnTo>
                    <a:pt x="156105" y="164287"/>
                  </a:lnTo>
                  <a:lnTo>
                    <a:pt x="142856" y="173698"/>
                  </a:lnTo>
                  <a:lnTo>
                    <a:pt x="103641" y="171755"/>
                  </a:lnTo>
                  <a:lnTo>
                    <a:pt x="83115" y="166002"/>
                  </a:lnTo>
                  <a:lnTo>
                    <a:pt x="72771" y="168707"/>
                  </a:lnTo>
                  <a:lnTo>
                    <a:pt x="65084" y="153486"/>
                  </a:lnTo>
                  <a:lnTo>
                    <a:pt x="60198" y="146999"/>
                  </a:lnTo>
                  <a:lnTo>
                    <a:pt x="66389" y="140703"/>
                  </a:lnTo>
                  <a:lnTo>
                    <a:pt x="59798" y="136055"/>
                  </a:lnTo>
                  <a:lnTo>
                    <a:pt x="51415" y="144418"/>
                  </a:lnTo>
                  <a:lnTo>
                    <a:pt x="35843" y="133560"/>
                  </a:lnTo>
                  <a:lnTo>
                    <a:pt x="33747" y="118053"/>
                  </a:lnTo>
                  <a:lnTo>
                    <a:pt x="17469" y="109147"/>
                  </a:lnTo>
                  <a:lnTo>
                    <a:pt x="14478" y="97050"/>
                  </a:lnTo>
                  <a:lnTo>
                    <a:pt x="0" y="82010"/>
                  </a:lnTo>
                  <a:lnTo>
                    <a:pt x="21412" y="74752"/>
                  </a:lnTo>
                  <a:lnTo>
                    <a:pt x="37566" y="48454"/>
                  </a:lnTo>
                  <a:lnTo>
                    <a:pt x="50196" y="218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Forme libre : forme 5785">
              <a:extLst>
                <a:ext uri="{FF2B5EF4-FFF2-40B4-BE49-F238E27FC236}">
                  <a16:creationId xmlns:a16="http://schemas.microsoft.com/office/drawing/2014/main" id="{D0FB3C16-365D-D8EB-B3C3-1EC57A35AF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23780" y="3356671"/>
              <a:ext cx="110994" cy="145875"/>
            </a:xfrm>
            <a:custGeom>
              <a:avLst/>
              <a:gdLst>
                <a:gd name="connsiteX0" fmla="*/ 54597 w 110994"/>
                <a:gd name="connsiteY0" fmla="*/ 28842 h 145875"/>
                <a:gd name="connsiteX1" fmla="*/ 70875 w 110994"/>
                <a:gd name="connsiteY1" fmla="*/ 37748 h 145875"/>
                <a:gd name="connsiteX2" fmla="*/ 72971 w 110994"/>
                <a:gd name="connsiteY2" fmla="*/ 53254 h 145875"/>
                <a:gd name="connsiteX3" fmla="*/ 88544 w 110994"/>
                <a:gd name="connsiteY3" fmla="*/ 64113 h 145875"/>
                <a:gd name="connsiteX4" fmla="*/ 96926 w 110994"/>
                <a:gd name="connsiteY4" fmla="*/ 55750 h 145875"/>
                <a:gd name="connsiteX5" fmla="*/ 103518 w 110994"/>
                <a:gd name="connsiteY5" fmla="*/ 60398 h 145875"/>
                <a:gd name="connsiteX6" fmla="*/ 97327 w 110994"/>
                <a:gd name="connsiteY6" fmla="*/ 66694 h 145875"/>
                <a:gd name="connsiteX7" fmla="*/ 102213 w 110994"/>
                <a:gd name="connsiteY7" fmla="*/ 73181 h 145875"/>
                <a:gd name="connsiteX8" fmla="*/ 95621 w 110994"/>
                <a:gd name="connsiteY8" fmla="*/ 81591 h 145875"/>
                <a:gd name="connsiteX9" fmla="*/ 98022 w 110994"/>
                <a:gd name="connsiteY9" fmla="*/ 95069 h 145875"/>
                <a:gd name="connsiteX10" fmla="*/ 110995 w 110994"/>
                <a:gd name="connsiteY10" fmla="*/ 110890 h 145875"/>
                <a:gd name="connsiteX11" fmla="*/ 100812 w 110994"/>
                <a:gd name="connsiteY11" fmla="*/ 122272 h 145875"/>
                <a:gd name="connsiteX12" fmla="*/ 96326 w 110994"/>
                <a:gd name="connsiteY12" fmla="*/ 133798 h 145875"/>
                <a:gd name="connsiteX13" fmla="*/ 99222 w 110994"/>
                <a:gd name="connsiteY13" fmla="*/ 138093 h 145875"/>
                <a:gd name="connsiteX14" fmla="*/ 94831 w 110994"/>
                <a:gd name="connsiteY14" fmla="*/ 143180 h 145875"/>
                <a:gd name="connsiteX15" fmla="*/ 82448 w 110994"/>
                <a:gd name="connsiteY15" fmla="*/ 143780 h 145875"/>
                <a:gd name="connsiteX16" fmla="*/ 73352 w 110994"/>
                <a:gd name="connsiteY16" fmla="*/ 145875 h 145875"/>
                <a:gd name="connsiteX17" fmla="*/ 72466 w 110994"/>
                <a:gd name="connsiteY17" fmla="*/ 143180 h 145875"/>
                <a:gd name="connsiteX18" fmla="*/ 75666 w 110994"/>
                <a:gd name="connsiteY18" fmla="*/ 138894 h 145875"/>
                <a:gd name="connsiteX19" fmla="*/ 78657 w 110994"/>
                <a:gd name="connsiteY19" fmla="*/ 130092 h 145875"/>
                <a:gd name="connsiteX20" fmla="*/ 74866 w 110994"/>
                <a:gd name="connsiteY20" fmla="*/ 130292 h 145875"/>
                <a:gd name="connsiteX21" fmla="*/ 69675 w 110994"/>
                <a:gd name="connsiteY21" fmla="*/ 123577 h 145875"/>
                <a:gd name="connsiteX22" fmla="*/ 65284 w 110994"/>
                <a:gd name="connsiteY22" fmla="*/ 121863 h 145875"/>
                <a:gd name="connsiteX23" fmla="*/ 61789 w 110994"/>
                <a:gd name="connsiteY23" fmla="*/ 116081 h 145875"/>
                <a:gd name="connsiteX24" fmla="*/ 56798 w 110994"/>
                <a:gd name="connsiteY24" fmla="*/ 113814 h 145875"/>
                <a:gd name="connsiteX25" fmla="*/ 53007 w 110994"/>
                <a:gd name="connsiteY25" fmla="*/ 108661 h 145875"/>
                <a:gd name="connsiteX26" fmla="*/ 48216 w 110994"/>
                <a:gd name="connsiteY26" fmla="*/ 110680 h 145875"/>
                <a:gd name="connsiteX27" fmla="*/ 44520 w 110994"/>
                <a:gd name="connsiteY27" fmla="*/ 122777 h 145875"/>
                <a:gd name="connsiteX28" fmla="*/ 38128 w 110994"/>
                <a:gd name="connsiteY28" fmla="*/ 125387 h 145875"/>
                <a:gd name="connsiteX29" fmla="*/ 40329 w 110994"/>
                <a:gd name="connsiteY29" fmla="*/ 122272 h 145875"/>
                <a:gd name="connsiteX30" fmla="*/ 30146 w 110994"/>
                <a:gd name="connsiteY30" fmla="*/ 114719 h 145875"/>
                <a:gd name="connsiteX31" fmla="*/ 21364 w 110994"/>
                <a:gd name="connsiteY31" fmla="*/ 110785 h 145875"/>
                <a:gd name="connsiteX32" fmla="*/ 17469 w 110994"/>
                <a:gd name="connsiteY32" fmla="*/ 105728 h 145875"/>
                <a:gd name="connsiteX33" fmla="*/ 10382 w 110994"/>
                <a:gd name="connsiteY33" fmla="*/ 99431 h 145875"/>
                <a:gd name="connsiteX34" fmla="*/ 16669 w 110994"/>
                <a:gd name="connsiteY34" fmla="*/ 97812 h 145875"/>
                <a:gd name="connsiteX35" fmla="*/ 20564 w 110994"/>
                <a:gd name="connsiteY35" fmla="*/ 80467 h 145875"/>
                <a:gd name="connsiteX36" fmla="*/ 7687 w 110994"/>
                <a:gd name="connsiteY36" fmla="*/ 66180 h 145875"/>
                <a:gd name="connsiteX37" fmla="*/ 14373 w 110994"/>
                <a:gd name="connsiteY37" fmla="*/ 49730 h 145875"/>
                <a:gd name="connsiteX38" fmla="*/ 4696 w 110994"/>
                <a:gd name="connsiteY38" fmla="*/ 49825 h 145875"/>
                <a:gd name="connsiteX39" fmla="*/ 14973 w 110994"/>
                <a:gd name="connsiteY39" fmla="*/ 35652 h 145875"/>
                <a:gd name="connsiteX40" fmla="*/ 6486 w 110994"/>
                <a:gd name="connsiteY40" fmla="*/ 24851 h 145875"/>
                <a:gd name="connsiteX41" fmla="*/ 0 w 110994"/>
                <a:gd name="connsiteY41" fmla="*/ 10087 h 145875"/>
                <a:gd name="connsiteX42" fmla="*/ 20460 w 110994"/>
                <a:gd name="connsiteY42" fmla="*/ 0 h 145875"/>
                <a:gd name="connsiteX43" fmla="*/ 37129 w 110994"/>
                <a:gd name="connsiteY43" fmla="*/ 1705 h 145875"/>
                <a:gd name="connsiteX44" fmla="*/ 51606 w 110994"/>
                <a:gd name="connsiteY44" fmla="*/ 16745 h 14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0994" h="145875">
                  <a:moveTo>
                    <a:pt x="54597" y="28842"/>
                  </a:moveTo>
                  <a:lnTo>
                    <a:pt x="70875" y="37748"/>
                  </a:lnTo>
                  <a:lnTo>
                    <a:pt x="72971" y="53254"/>
                  </a:lnTo>
                  <a:lnTo>
                    <a:pt x="88544" y="64113"/>
                  </a:lnTo>
                  <a:lnTo>
                    <a:pt x="96926" y="55750"/>
                  </a:lnTo>
                  <a:lnTo>
                    <a:pt x="103518" y="60398"/>
                  </a:lnTo>
                  <a:lnTo>
                    <a:pt x="97327" y="66694"/>
                  </a:lnTo>
                  <a:lnTo>
                    <a:pt x="102213" y="73181"/>
                  </a:lnTo>
                  <a:lnTo>
                    <a:pt x="95621" y="81591"/>
                  </a:lnTo>
                  <a:lnTo>
                    <a:pt x="98022" y="95069"/>
                  </a:lnTo>
                  <a:lnTo>
                    <a:pt x="110995" y="110890"/>
                  </a:lnTo>
                  <a:lnTo>
                    <a:pt x="100812" y="122272"/>
                  </a:lnTo>
                  <a:lnTo>
                    <a:pt x="96326" y="133798"/>
                  </a:lnTo>
                  <a:lnTo>
                    <a:pt x="99222" y="138093"/>
                  </a:lnTo>
                  <a:lnTo>
                    <a:pt x="94831" y="143180"/>
                  </a:lnTo>
                  <a:lnTo>
                    <a:pt x="82448" y="143780"/>
                  </a:lnTo>
                  <a:lnTo>
                    <a:pt x="73352" y="145875"/>
                  </a:lnTo>
                  <a:lnTo>
                    <a:pt x="72466" y="143180"/>
                  </a:lnTo>
                  <a:lnTo>
                    <a:pt x="75666" y="138894"/>
                  </a:lnTo>
                  <a:lnTo>
                    <a:pt x="78657" y="130092"/>
                  </a:lnTo>
                  <a:lnTo>
                    <a:pt x="74866" y="130292"/>
                  </a:lnTo>
                  <a:lnTo>
                    <a:pt x="69675" y="123577"/>
                  </a:lnTo>
                  <a:lnTo>
                    <a:pt x="65284" y="121863"/>
                  </a:lnTo>
                  <a:lnTo>
                    <a:pt x="61789" y="116081"/>
                  </a:lnTo>
                  <a:lnTo>
                    <a:pt x="56798" y="113814"/>
                  </a:lnTo>
                  <a:lnTo>
                    <a:pt x="53007" y="108661"/>
                  </a:lnTo>
                  <a:lnTo>
                    <a:pt x="48216" y="110680"/>
                  </a:lnTo>
                  <a:lnTo>
                    <a:pt x="44520" y="122777"/>
                  </a:lnTo>
                  <a:lnTo>
                    <a:pt x="38128" y="125387"/>
                  </a:lnTo>
                  <a:lnTo>
                    <a:pt x="40329" y="122272"/>
                  </a:lnTo>
                  <a:lnTo>
                    <a:pt x="30146" y="114719"/>
                  </a:lnTo>
                  <a:lnTo>
                    <a:pt x="21364" y="110785"/>
                  </a:lnTo>
                  <a:lnTo>
                    <a:pt x="17469" y="105728"/>
                  </a:lnTo>
                  <a:lnTo>
                    <a:pt x="10382" y="99431"/>
                  </a:lnTo>
                  <a:lnTo>
                    <a:pt x="16669" y="97812"/>
                  </a:lnTo>
                  <a:lnTo>
                    <a:pt x="20564" y="80467"/>
                  </a:lnTo>
                  <a:lnTo>
                    <a:pt x="7687" y="66180"/>
                  </a:lnTo>
                  <a:lnTo>
                    <a:pt x="14373" y="49730"/>
                  </a:lnTo>
                  <a:lnTo>
                    <a:pt x="4696" y="49825"/>
                  </a:lnTo>
                  <a:lnTo>
                    <a:pt x="14973" y="35652"/>
                  </a:lnTo>
                  <a:lnTo>
                    <a:pt x="6486" y="24851"/>
                  </a:lnTo>
                  <a:lnTo>
                    <a:pt x="0" y="10087"/>
                  </a:lnTo>
                  <a:lnTo>
                    <a:pt x="20460" y="0"/>
                  </a:lnTo>
                  <a:lnTo>
                    <a:pt x="37129" y="1705"/>
                  </a:lnTo>
                  <a:lnTo>
                    <a:pt x="51606" y="167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Forme libre : forme 5786">
              <a:extLst>
                <a:ext uri="{FF2B5EF4-FFF2-40B4-BE49-F238E27FC236}">
                  <a16:creationId xmlns:a16="http://schemas.microsoft.com/office/drawing/2014/main" id="{CB73C115-CF25-BB40-B5C5-90D900A60C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45974" y="819582"/>
              <a:ext cx="4551911" cy="2721921"/>
            </a:xfrm>
            <a:custGeom>
              <a:avLst/>
              <a:gdLst>
                <a:gd name="connsiteX0" fmla="*/ 4551912 w 4551911"/>
                <a:gd name="connsiteY0" fmla="*/ 1564386 h 2721921"/>
                <a:gd name="connsiteX1" fmla="*/ 4525432 w 4551911"/>
                <a:gd name="connsiteY1" fmla="*/ 1592704 h 2721921"/>
                <a:gd name="connsiteX2" fmla="*/ 4481617 w 4551911"/>
                <a:gd name="connsiteY2" fmla="*/ 1599352 h 2721921"/>
                <a:gd name="connsiteX3" fmla="*/ 4480951 w 4551911"/>
                <a:gd name="connsiteY3" fmla="*/ 1660912 h 2721921"/>
                <a:gd name="connsiteX4" fmla="*/ 4470273 w 4551911"/>
                <a:gd name="connsiteY4" fmla="*/ 1673743 h 2721921"/>
                <a:gd name="connsiteX5" fmla="*/ 4445270 w 4551911"/>
                <a:gd name="connsiteY5" fmla="*/ 1671904 h 2721921"/>
                <a:gd name="connsiteX6" fmla="*/ 4424905 w 4551911"/>
                <a:gd name="connsiteY6" fmla="*/ 1650340 h 2721921"/>
                <a:gd name="connsiteX7" fmla="*/ 4389396 w 4551911"/>
                <a:gd name="connsiteY7" fmla="*/ 1632080 h 2721921"/>
                <a:gd name="connsiteX8" fmla="*/ 4383424 w 4551911"/>
                <a:gd name="connsiteY8" fmla="*/ 1604553 h 2721921"/>
                <a:gd name="connsiteX9" fmla="*/ 4356297 w 4551911"/>
                <a:gd name="connsiteY9" fmla="*/ 1594056 h 2721921"/>
                <a:gd name="connsiteX10" fmla="*/ 4325931 w 4551911"/>
                <a:gd name="connsiteY10" fmla="*/ 1602391 h 2721921"/>
                <a:gd name="connsiteX11" fmla="*/ 4311424 w 4551911"/>
                <a:gd name="connsiteY11" fmla="*/ 1579826 h 2721921"/>
                <a:gd name="connsiteX12" fmla="*/ 4317225 w 4551911"/>
                <a:gd name="connsiteY12" fmla="*/ 1555518 h 2721921"/>
                <a:gd name="connsiteX13" fmla="*/ 4285240 w 4551911"/>
                <a:gd name="connsiteY13" fmla="*/ 1571092 h 2721921"/>
                <a:gd name="connsiteX14" fmla="*/ 4297290 w 4551911"/>
                <a:gd name="connsiteY14" fmla="*/ 1601514 h 2721921"/>
                <a:gd name="connsiteX15" fmla="*/ 4282135 w 4551911"/>
                <a:gd name="connsiteY15" fmla="*/ 1628499 h 2721921"/>
                <a:gd name="connsiteX16" fmla="*/ 4281935 w 4551911"/>
                <a:gd name="connsiteY16" fmla="*/ 1628842 h 2721921"/>
                <a:gd name="connsiteX17" fmla="*/ 4247607 w 4551911"/>
                <a:gd name="connsiteY17" fmla="*/ 1656321 h 2721921"/>
                <a:gd name="connsiteX18" fmla="*/ 4212993 w 4551911"/>
                <a:gd name="connsiteY18" fmla="*/ 1651768 h 2721921"/>
                <a:gd name="connsiteX19" fmla="*/ 4237082 w 4551911"/>
                <a:gd name="connsiteY19" fmla="*/ 1684553 h 2721921"/>
                <a:gd name="connsiteX20" fmla="*/ 4252979 w 4551911"/>
                <a:gd name="connsiteY20" fmla="*/ 1734093 h 2721921"/>
                <a:gd name="connsiteX21" fmla="*/ 4265314 w 4551911"/>
                <a:gd name="connsiteY21" fmla="*/ 1749981 h 2721921"/>
                <a:gd name="connsiteX22" fmla="*/ 4268409 w 4551911"/>
                <a:gd name="connsiteY22" fmla="*/ 1774098 h 2721921"/>
                <a:gd name="connsiteX23" fmla="*/ 4261513 w 4551911"/>
                <a:gd name="connsiteY23" fmla="*/ 1789357 h 2721921"/>
                <a:gd name="connsiteX24" fmla="*/ 4211736 w 4551911"/>
                <a:gd name="connsiteY24" fmla="*/ 1776813 h 2721921"/>
                <a:gd name="connsiteX25" fmla="*/ 4137088 w 4551911"/>
                <a:gd name="connsiteY25" fmla="*/ 1819780 h 2721921"/>
                <a:gd name="connsiteX26" fmla="*/ 4113343 w 4551911"/>
                <a:gd name="connsiteY26" fmla="*/ 1826333 h 2721921"/>
                <a:gd name="connsiteX27" fmla="*/ 4072480 w 4551911"/>
                <a:gd name="connsiteY27" fmla="*/ 1865347 h 2721921"/>
                <a:gd name="connsiteX28" fmla="*/ 4033714 w 4551911"/>
                <a:gd name="connsiteY28" fmla="*/ 1898733 h 2721921"/>
                <a:gd name="connsiteX29" fmla="*/ 4023903 w 4551911"/>
                <a:gd name="connsiteY29" fmla="*/ 1923050 h 2721921"/>
                <a:gd name="connsiteX30" fmla="*/ 3985698 w 4551911"/>
                <a:gd name="connsiteY30" fmla="*/ 1885902 h 2721921"/>
                <a:gd name="connsiteX31" fmla="*/ 3916108 w 4551911"/>
                <a:gd name="connsiteY31" fmla="*/ 1927993 h 2721921"/>
                <a:gd name="connsiteX32" fmla="*/ 3903964 w 4551911"/>
                <a:gd name="connsiteY32" fmla="*/ 1908201 h 2721921"/>
                <a:gd name="connsiteX33" fmla="*/ 3878237 w 4551911"/>
                <a:gd name="connsiteY33" fmla="*/ 1931003 h 2721921"/>
                <a:gd name="connsiteX34" fmla="*/ 3842518 w 4551911"/>
                <a:gd name="connsiteY34" fmla="*/ 1923736 h 2721921"/>
                <a:gd name="connsiteX35" fmla="*/ 3833917 w 4551911"/>
                <a:gd name="connsiteY35" fmla="*/ 1958321 h 2721921"/>
                <a:gd name="connsiteX36" fmla="*/ 3801875 w 4551911"/>
                <a:gd name="connsiteY36" fmla="*/ 2008022 h 2721921"/>
                <a:gd name="connsiteX37" fmla="*/ 3802837 w 4551911"/>
                <a:gd name="connsiteY37" fmla="*/ 2028377 h 2721921"/>
                <a:gd name="connsiteX38" fmla="*/ 3833250 w 4551911"/>
                <a:gd name="connsiteY38" fmla="*/ 2039560 h 2721921"/>
                <a:gd name="connsiteX39" fmla="*/ 3829669 w 4551911"/>
                <a:gd name="connsiteY39" fmla="*/ 2110597 h 2721921"/>
                <a:gd name="connsiteX40" fmla="*/ 3804875 w 4551911"/>
                <a:gd name="connsiteY40" fmla="*/ 2112369 h 2721921"/>
                <a:gd name="connsiteX41" fmla="*/ 3793436 w 4551911"/>
                <a:gd name="connsiteY41" fmla="*/ 2151936 h 2721921"/>
                <a:gd name="connsiteX42" fmla="*/ 3804552 w 4551911"/>
                <a:gd name="connsiteY42" fmla="*/ 2171976 h 2721921"/>
                <a:gd name="connsiteX43" fmla="*/ 3757850 w 4551911"/>
                <a:gd name="connsiteY43" fmla="*/ 2195475 h 2721921"/>
                <a:gd name="connsiteX44" fmla="*/ 3748583 w 4551911"/>
                <a:gd name="connsiteY44" fmla="*/ 2246957 h 2721921"/>
                <a:gd name="connsiteX45" fmla="*/ 3708759 w 4551911"/>
                <a:gd name="connsiteY45" fmla="*/ 2257768 h 2721921"/>
                <a:gd name="connsiteX46" fmla="*/ 3700757 w 4551911"/>
                <a:gd name="connsiteY46" fmla="*/ 2302183 h 2721921"/>
                <a:gd name="connsiteX47" fmla="*/ 3662257 w 4551911"/>
                <a:gd name="connsiteY47" fmla="*/ 2342026 h 2721921"/>
                <a:gd name="connsiteX48" fmla="*/ 3652389 w 4551911"/>
                <a:gd name="connsiteY48" fmla="*/ 2312642 h 2721921"/>
                <a:gd name="connsiteX49" fmla="*/ 3640950 w 4551911"/>
                <a:gd name="connsiteY49" fmla="*/ 2248891 h 2721921"/>
                <a:gd name="connsiteX50" fmla="*/ 3626053 w 4551911"/>
                <a:gd name="connsiteY50" fmla="*/ 2147478 h 2721921"/>
                <a:gd name="connsiteX51" fmla="*/ 3638893 w 4551911"/>
                <a:gd name="connsiteY51" fmla="*/ 2081241 h 2721921"/>
                <a:gd name="connsiteX52" fmla="*/ 3661420 w 4551911"/>
                <a:gd name="connsiteY52" fmla="*/ 2051990 h 2721921"/>
                <a:gd name="connsiteX53" fmla="*/ 3662810 w 4551911"/>
                <a:gd name="connsiteY53" fmla="*/ 2028739 h 2721921"/>
                <a:gd name="connsiteX54" fmla="*/ 3704311 w 4551911"/>
                <a:gd name="connsiteY54" fmla="*/ 2017500 h 2721921"/>
                <a:gd name="connsiteX55" fmla="*/ 3752021 w 4551911"/>
                <a:gd name="connsiteY55" fmla="*/ 1952911 h 2721921"/>
                <a:gd name="connsiteX56" fmla="*/ 3797989 w 4551911"/>
                <a:gd name="connsiteY56" fmla="*/ 1898361 h 2721921"/>
                <a:gd name="connsiteX57" fmla="*/ 3845995 w 4551911"/>
                <a:gd name="connsiteY57" fmla="*/ 1854832 h 2721921"/>
                <a:gd name="connsiteX58" fmla="*/ 3867464 w 4551911"/>
                <a:gd name="connsiteY58" fmla="*/ 1775146 h 2721921"/>
                <a:gd name="connsiteX59" fmla="*/ 3835022 w 4551911"/>
                <a:gd name="connsiteY59" fmla="*/ 1780013 h 2721921"/>
                <a:gd name="connsiteX60" fmla="*/ 3818972 w 4551911"/>
                <a:gd name="connsiteY60" fmla="*/ 1826895 h 2721921"/>
                <a:gd name="connsiteX61" fmla="*/ 3751240 w 4551911"/>
                <a:gd name="connsiteY61" fmla="*/ 1887484 h 2721921"/>
                <a:gd name="connsiteX62" fmla="*/ 3729361 w 4551911"/>
                <a:gd name="connsiteY62" fmla="*/ 1819494 h 2721921"/>
                <a:gd name="connsiteX63" fmla="*/ 3660419 w 4551911"/>
                <a:gd name="connsiteY63" fmla="*/ 1838535 h 2721921"/>
                <a:gd name="connsiteX64" fmla="*/ 3593573 w 4551911"/>
                <a:gd name="connsiteY64" fmla="*/ 1929594 h 2721921"/>
                <a:gd name="connsiteX65" fmla="*/ 3615623 w 4551911"/>
                <a:gd name="connsiteY65" fmla="*/ 1961759 h 2721921"/>
                <a:gd name="connsiteX66" fmla="*/ 3556016 w 4551911"/>
                <a:gd name="connsiteY66" fmla="*/ 1975275 h 2721921"/>
                <a:gd name="connsiteX67" fmla="*/ 3514725 w 4551911"/>
                <a:gd name="connsiteY67" fmla="*/ 1980581 h 2721921"/>
                <a:gd name="connsiteX68" fmla="*/ 3516658 w 4551911"/>
                <a:gd name="connsiteY68" fmla="*/ 1942995 h 2721921"/>
                <a:gd name="connsiteX69" fmla="*/ 3475148 w 4551911"/>
                <a:gd name="connsiteY69" fmla="*/ 1935004 h 2721921"/>
                <a:gd name="connsiteX70" fmla="*/ 3442059 w 4551911"/>
                <a:gd name="connsiteY70" fmla="*/ 1960740 h 2721921"/>
                <a:gd name="connsiteX71" fmla="*/ 3360401 w 4551911"/>
                <a:gd name="connsiteY71" fmla="*/ 1951777 h 2721921"/>
                <a:gd name="connsiteX72" fmla="*/ 3272552 w 4551911"/>
                <a:gd name="connsiteY72" fmla="*/ 1967208 h 2721921"/>
                <a:gd name="connsiteX73" fmla="*/ 3186036 w 4551911"/>
                <a:gd name="connsiteY73" fmla="*/ 2065601 h 2721921"/>
                <a:gd name="connsiteX74" fmla="*/ 3083690 w 4551911"/>
                <a:gd name="connsiteY74" fmla="*/ 2177777 h 2721921"/>
                <a:gd name="connsiteX75" fmla="*/ 3125762 w 4551911"/>
                <a:gd name="connsiteY75" fmla="*/ 2183587 h 2721921"/>
                <a:gd name="connsiteX76" fmla="*/ 3138897 w 4551911"/>
                <a:gd name="connsiteY76" fmla="*/ 2212172 h 2721921"/>
                <a:gd name="connsiteX77" fmla="*/ 3164843 w 4551911"/>
                <a:gd name="connsiteY77" fmla="*/ 2222221 h 2721921"/>
                <a:gd name="connsiteX78" fmla="*/ 3181931 w 4551911"/>
                <a:gd name="connsiteY78" fmla="*/ 2199570 h 2721921"/>
                <a:gd name="connsiteX79" fmla="*/ 3211230 w 4551911"/>
                <a:gd name="connsiteY79" fmla="*/ 2202533 h 2721921"/>
                <a:gd name="connsiteX80" fmla="*/ 3249787 w 4551911"/>
                <a:gd name="connsiteY80" fmla="*/ 2251977 h 2721921"/>
                <a:gd name="connsiteX81" fmla="*/ 3250692 w 4551911"/>
                <a:gd name="connsiteY81" fmla="*/ 2289353 h 2721921"/>
                <a:gd name="connsiteX82" fmla="*/ 3229823 w 4551911"/>
                <a:gd name="connsiteY82" fmla="*/ 2332330 h 2721921"/>
                <a:gd name="connsiteX83" fmla="*/ 3227565 w 4551911"/>
                <a:gd name="connsiteY83" fmla="*/ 2382488 h 2721921"/>
                <a:gd name="connsiteX84" fmla="*/ 3215516 w 4551911"/>
                <a:gd name="connsiteY84" fmla="*/ 2447716 h 2721921"/>
                <a:gd name="connsiteX85" fmla="*/ 3175263 w 4551911"/>
                <a:gd name="connsiteY85" fmla="*/ 2504989 h 2721921"/>
                <a:gd name="connsiteX86" fmla="*/ 3166320 w 4551911"/>
                <a:gd name="connsiteY86" fmla="*/ 2531821 h 2721921"/>
                <a:gd name="connsiteX87" fmla="*/ 3130067 w 4551911"/>
                <a:gd name="connsiteY87" fmla="*/ 2576227 h 2721921"/>
                <a:gd name="connsiteX88" fmla="*/ 3094091 w 4551911"/>
                <a:gd name="connsiteY88" fmla="*/ 2619356 h 2721921"/>
                <a:gd name="connsiteX89" fmla="*/ 3076841 w 4551911"/>
                <a:gd name="connsiteY89" fmla="*/ 2641102 h 2721921"/>
                <a:gd name="connsiteX90" fmla="*/ 3041256 w 4551911"/>
                <a:gd name="connsiteY90" fmla="*/ 2662485 h 2721921"/>
                <a:gd name="connsiteX91" fmla="*/ 3024406 w 4551911"/>
                <a:gd name="connsiteY91" fmla="*/ 2662952 h 2721921"/>
                <a:gd name="connsiteX92" fmla="*/ 3007633 w 4551911"/>
                <a:gd name="connsiteY92" fmla="*/ 2645254 h 2721921"/>
                <a:gd name="connsiteX93" fmla="*/ 2971781 w 4551911"/>
                <a:gd name="connsiteY93" fmla="*/ 2671848 h 2721921"/>
                <a:gd name="connsiteX94" fmla="*/ 2967609 w 4551911"/>
                <a:gd name="connsiteY94" fmla="*/ 2683831 h 2721921"/>
                <a:gd name="connsiteX95" fmla="*/ 2963866 w 4551911"/>
                <a:gd name="connsiteY95" fmla="*/ 2677535 h 2721921"/>
                <a:gd name="connsiteX96" fmla="*/ 2963704 w 4551911"/>
                <a:gd name="connsiteY96" fmla="*/ 2659161 h 2721921"/>
                <a:gd name="connsiteX97" fmla="*/ 2977343 w 4551911"/>
                <a:gd name="connsiteY97" fmla="*/ 2658180 h 2721921"/>
                <a:gd name="connsiteX98" fmla="*/ 2981191 w 4551911"/>
                <a:gd name="connsiteY98" fmla="*/ 2614813 h 2721921"/>
                <a:gd name="connsiteX99" fmla="*/ 2974152 w 4551911"/>
                <a:gd name="connsiteY99" fmla="*/ 2582828 h 2721921"/>
                <a:gd name="connsiteX100" fmla="*/ 2997079 w 4551911"/>
                <a:gd name="connsiteY100" fmla="*/ 2569502 h 2721921"/>
                <a:gd name="connsiteX101" fmla="*/ 3029483 w 4551911"/>
                <a:gd name="connsiteY101" fmla="*/ 2576198 h 2721921"/>
                <a:gd name="connsiteX102" fmla="*/ 3047447 w 4551911"/>
                <a:gd name="connsiteY102" fmla="*/ 2539165 h 2721921"/>
                <a:gd name="connsiteX103" fmla="*/ 3056601 w 4551911"/>
                <a:gd name="connsiteY103" fmla="*/ 2496665 h 2721921"/>
                <a:gd name="connsiteX104" fmla="*/ 3066973 w 4551911"/>
                <a:gd name="connsiteY104" fmla="*/ 2482272 h 2721921"/>
                <a:gd name="connsiteX105" fmla="*/ 3081013 w 4551911"/>
                <a:gd name="connsiteY105" fmla="*/ 2446449 h 2721921"/>
                <a:gd name="connsiteX106" fmla="*/ 3036875 w 4551911"/>
                <a:gd name="connsiteY106" fmla="*/ 2458250 h 2721921"/>
                <a:gd name="connsiteX107" fmla="*/ 3013720 w 4551911"/>
                <a:gd name="connsiteY107" fmla="*/ 2473938 h 2721921"/>
                <a:gd name="connsiteX108" fmla="*/ 2973133 w 4551911"/>
                <a:gd name="connsiteY108" fmla="*/ 2473890 h 2721921"/>
                <a:gd name="connsiteX109" fmla="*/ 2962322 w 4551911"/>
                <a:gd name="connsiteY109" fmla="*/ 2436314 h 2721921"/>
                <a:gd name="connsiteX110" fmla="*/ 2930690 w 4551911"/>
                <a:gd name="connsiteY110" fmla="*/ 2407406 h 2721921"/>
                <a:gd name="connsiteX111" fmla="*/ 2884208 w 4551911"/>
                <a:gd name="connsiteY111" fmla="*/ 2394271 h 2721921"/>
                <a:gd name="connsiteX112" fmla="*/ 2874330 w 4551911"/>
                <a:gd name="connsiteY112" fmla="*/ 2353466 h 2721921"/>
                <a:gd name="connsiteX113" fmla="*/ 2865025 w 4551911"/>
                <a:gd name="connsiteY113" fmla="*/ 2327453 h 2721921"/>
                <a:gd name="connsiteX114" fmla="*/ 2855014 w 4551911"/>
                <a:gd name="connsiteY114" fmla="*/ 2309003 h 2721921"/>
                <a:gd name="connsiteX115" fmla="*/ 2838507 w 4551911"/>
                <a:gd name="connsiteY115" fmla="*/ 2265083 h 2721921"/>
                <a:gd name="connsiteX116" fmla="*/ 2815056 w 4551911"/>
                <a:gd name="connsiteY116" fmla="*/ 2248786 h 2721921"/>
                <a:gd name="connsiteX117" fmla="*/ 2775089 w 4551911"/>
                <a:gd name="connsiteY117" fmla="*/ 2235508 h 2721921"/>
                <a:gd name="connsiteX118" fmla="*/ 2739675 w 4551911"/>
                <a:gd name="connsiteY118" fmla="*/ 2236718 h 2721921"/>
                <a:gd name="connsiteX119" fmla="*/ 2706491 w 4551911"/>
                <a:gd name="connsiteY119" fmla="*/ 2244766 h 2721921"/>
                <a:gd name="connsiteX120" fmla="*/ 2684440 w 4551911"/>
                <a:gd name="connsiteY120" fmla="*/ 2266798 h 2721921"/>
                <a:gd name="connsiteX121" fmla="*/ 2699089 w 4551911"/>
                <a:gd name="connsiteY121" fmla="*/ 2277227 h 2721921"/>
                <a:gd name="connsiteX122" fmla="*/ 2699423 w 4551911"/>
                <a:gd name="connsiteY122" fmla="*/ 2301250 h 2721921"/>
                <a:gd name="connsiteX123" fmla="*/ 2684564 w 4551911"/>
                <a:gd name="connsiteY123" fmla="*/ 2315061 h 2721921"/>
                <a:gd name="connsiteX124" fmla="*/ 2660456 w 4551911"/>
                <a:gd name="connsiteY124" fmla="*/ 2360067 h 2721921"/>
                <a:gd name="connsiteX125" fmla="*/ 2660704 w 4551911"/>
                <a:gd name="connsiteY125" fmla="*/ 2378440 h 2721921"/>
                <a:gd name="connsiteX126" fmla="*/ 2623061 w 4551911"/>
                <a:gd name="connsiteY126" fmla="*/ 2404529 h 2721921"/>
                <a:gd name="connsiteX127" fmla="*/ 2591009 w 4551911"/>
                <a:gd name="connsiteY127" fmla="*/ 2388984 h 2721921"/>
                <a:gd name="connsiteX128" fmla="*/ 2559139 w 4551911"/>
                <a:gd name="connsiteY128" fmla="*/ 2392423 h 2721921"/>
                <a:gd name="connsiteX129" fmla="*/ 2545156 w 4551911"/>
                <a:gd name="connsiteY129" fmla="*/ 2378545 h 2721921"/>
                <a:gd name="connsiteX130" fmla="*/ 2529135 w 4551911"/>
                <a:gd name="connsiteY130" fmla="*/ 2374049 h 2721921"/>
                <a:gd name="connsiteX131" fmla="*/ 2490025 w 4551911"/>
                <a:gd name="connsiteY131" fmla="*/ 2403186 h 2721921"/>
                <a:gd name="connsiteX132" fmla="*/ 2454868 w 4551911"/>
                <a:gd name="connsiteY132" fmla="*/ 2409968 h 2721921"/>
                <a:gd name="connsiteX133" fmla="*/ 2430323 w 4551911"/>
                <a:gd name="connsiteY133" fmla="*/ 2420084 h 2721921"/>
                <a:gd name="connsiteX134" fmla="*/ 2396681 w 4551911"/>
                <a:gd name="connsiteY134" fmla="*/ 2413445 h 2721921"/>
                <a:gd name="connsiteX135" fmla="*/ 2371915 w 4551911"/>
                <a:gd name="connsiteY135" fmla="*/ 2413873 h 2721921"/>
                <a:gd name="connsiteX136" fmla="*/ 2355704 w 4551911"/>
                <a:gd name="connsiteY136" fmla="*/ 2392890 h 2721921"/>
                <a:gd name="connsiteX137" fmla="*/ 2329548 w 4551911"/>
                <a:gd name="connsiteY137" fmla="*/ 2372963 h 2721921"/>
                <a:gd name="connsiteX138" fmla="*/ 2302783 w 4551911"/>
                <a:gd name="connsiteY138" fmla="*/ 2367467 h 2721921"/>
                <a:gd name="connsiteX139" fmla="*/ 2268998 w 4551911"/>
                <a:gd name="connsiteY139" fmla="*/ 2372925 h 2721921"/>
                <a:gd name="connsiteX140" fmla="*/ 2243756 w 4551911"/>
                <a:gd name="connsiteY140" fmla="*/ 2380631 h 2721921"/>
                <a:gd name="connsiteX141" fmla="*/ 2205818 w 4551911"/>
                <a:gd name="connsiteY141" fmla="*/ 2363095 h 2721921"/>
                <a:gd name="connsiteX142" fmla="*/ 2200732 w 4551911"/>
                <a:gd name="connsiteY142" fmla="*/ 2331454 h 2721921"/>
                <a:gd name="connsiteX143" fmla="*/ 2169328 w 4551911"/>
                <a:gd name="connsiteY143" fmla="*/ 2320490 h 2721921"/>
                <a:gd name="connsiteX144" fmla="*/ 2145087 w 4551911"/>
                <a:gd name="connsiteY144" fmla="*/ 2315470 h 2721921"/>
                <a:gd name="connsiteX145" fmla="*/ 2115169 w 4551911"/>
                <a:gd name="connsiteY145" fmla="*/ 2297649 h 2721921"/>
                <a:gd name="connsiteX146" fmla="*/ 2087508 w 4551911"/>
                <a:gd name="connsiteY146" fmla="*/ 2342026 h 2721921"/>
                <a:gd name="connsiteX147" fmla="*/ 2098358 w 4551911"/>
                <a:gd name="connsiteY147" fmla="*/ 2366791 h 2721921"/>
                <a:gd name="connsiteX148" fmla="*/ 2072392 w 4551911"/>
                <a:gd name="connsiteY148" fmla="*/ 2395690 h 2721921"/>
                <a:gd name="connsiteX149" fmla="*/ 2033778 w 4551911"/>
                <a:gd name="connsiteY149" fmla="*/ 2385308 h 2721921"/>
                <a:gd name="connsiteX150" fmla="*/ 2007117 w 4551911"/>
                <a:gd name="connsiteY150" fmla="*/ 2383822 h 2721921"/>
                <a:gd name="connsiteX151" fmla="*/ 1989268 w 4551911"/>
                <a:gd name="connsiteY151" fmla="*/ 2364372 h 2721921"/>
                <a:gd name="connsiteX152" fmla="*/ 1961407 w 4551911"/>
                <a:gd name="connsiteY152" fmla="*/ 2363753 h 2721921"/>
                <a:gd name="connsiteX153" fmla="*/ 1938185 w 4551911"/>
                <a:gd name="connsiteY153" fmla="*/ 2350856 h 2721921"/>
                <a:gd name="connsiteX154" fmla="*/ 1897561 w 4551911"/>
                <a:gd name="connsiteY154" fmla="*/ 2370582 h 2721921"/>
                <a:gd name="connsiteX155" fmla="*/ 1846602 w 4551911"/>
                <a:gd name="connsiteY155" fmla="*/ 2406196 h 2721921"/>
                <a:gd name="connsiteX156" fmla="*/ 1818446 w 4551911"/>
                <a:gd name="connsiteY156" fmla="*/ 2413283 h 2721921"/>
                <a:gd name="connsiteX157" fmla="*/ 1807987 w 4551911"/>
                <a:gd name="connsiteY157" fmla="*/ 2416636 h 2721921"/>
                <a:gd name="connsiteX158" fmla="*/ 1793824 w 4551911"/>
                <a:gd name="connsiteY158" fmla="*/ 2391547 h 2721921"/>
                <a:gd name="connsiteX159" fmla="*/ 1759419 w 4551911"/>
                <a:gd name="connsiteY159" fmla="*/ 2397062 h 2721921"/>
                <a:gd name="connsiteX160" fmla="*/ 1748056 w 4551911"/>
                <a:gd name="connsiteY160" fmla="*/ 2379507 h 2721921"/>
                <a:gd name="connsiteX161" fmla="*/ 1729388 w 4551911"/>
                <a:gd name="connsiteY161" fmla="*/ 2371430 h 2721921"/>
                <a:gd name="connsiteX162" fmla="*/ 1716528 w 4551911"/>
                <a:gd name="connsiteY162" fmla="*/ 2347189 h 2721921"/>
                <a:gd name="connsiteX163" fmla="*/ 1701784 w 4551911"/>
                <a:gd name="connsiteY163" fmla="*/ 2339578 h 2721921"/>
                <a:gd name="connsiteX164" fmla="*/ 1663408 w 4551911"/>
                <a:gd name="connsiteY164" fmla="*/ 2350437 h 2721921"/>
                <a:gd name="connsiteX165" fmla="*/ 1626622 w 4551911"/>
                <a:gd name="connsiteY165" fmla="*/ 2326005 h 2721921"/>
                <a:gd name="connsiteX166" fmla="*/ 1612392 w 4551911"/>
                <a:gd name="connsiteY166" fmla="*/ 2348227 h 2721921"/>
                <a:gd name="connsiteX167" fmla="*/ 1552708 w 4551911"/>
                <a:gd name="connsiteY167" fmla="*/ 2237966 h 2721921"/>
                <a:gd name="connsiteX168" fmla="*/ 1518637 w 4551911"/>
                <a:gd name="connsiteY168" fmla="*/ 2203114 h 2721921"/>
                <a:gd name="connsiteX169" fmla="*/ 1528400 w 4551911"/>
                <a:gd name="connsiteY169" fmla="*/ 2188788 h 2721921"/>
                <a:gd name="connsiteX170" fmla="*/ 1461478 w 4551911"/>
                <a:gd name="connsiteY170" fmla="*/ 2231593 h 2721921"/>
                <a:gd name="connsiteX171" fmla="*/ 1435865 w 4551911"/>
                <a:gd name="connsiteY171" fmla="*/ 2234146 h 2721921"/>
                <a:gd name="connsiteX172" fmla="*/ 1438074 w 4551911"/>
                <a:gd name="connsiteY172" fmla="*/ 2209543 h 2721921"/>
                <a:gd name="connsiteX173" fmla="*/ 1403766 w 4551911"/>
                <a:gd name="connsiteY173" fmla="*/ 2194008 h 2721921"/>
                <a:gd name="connsiteX174" fmla="*/ 1375886 w 4551911"/>
                <a:gd name="connsiteY174" fmla="*/ 2205114 h 2721921"/>
                <a:gd name="connsiteX175" fmla="*/ 1367475 w 4551911"/>
                <a:gd name="connsiteY175" fmla="*/ 2157375 h 2721921"/>
                <a:gd name="connsiteX176" fmla="*/ 1319479 w 4551911"/>
                <a:gd name="connsiteY176" fmla="*/ 2147287 h 2721921"/>
                <a:gd name="connsiteX177" fmla="*/ 1295466 w 4551911"/>
                <a:gd name="connsiteY177" fmla="*/ 2166652 h 2721921"/>
                <a:gd name="connsiteX178" fmla="*/ 1228639 w 4551911"/>
                <a:gd name="connsiteY178" fmla="*/ 2183711 h 2721921"/>
                <a:gd name="connsiteX179" fmla="*/ 1215599 w 4551911"/>
                <a:gd name="connsiteY179" fmla="*/ 2195036 h 2721921"/>
                <a:gd name="connsiteX180" fmla="*/ 1115663 w 4551911"/>
                <a:gd name="connsiteY180" fmla="*/ 2210877 h 2721921"/>
                <a:gd name="connsiteX181" fmla="*/ 1103423 w 4551911"/>
                <a:gd name="connsiteY181" fmla="*/ 2226288 h 2721921"/>
                <a:gd name="connsiteX182" fmla="*/ 1122702 w 4551911"/>
                <a:gd name="connsiteY182" fmla="*/ 2256844 h 2721921"/>
                <a:gd name="connsiteX183" fmla="*/ 1097061 w 4551911"/>
                <a:gd name="connsiteY183" fmla="*/ 2268312 h 2721921"/>
                <a:gd name="connsiteX184" fmla="*/ 1102061 w 4551911"/>
                <a:gd name="connsiteY184" fmla="*/ 2280257 h 2721921"/>
                <a:gd name="connsiteX185" fmla="*/ 1076430 w 4551911"/>
                <a:gd name="connsiteY185" fmla="*/ 2301431 h 2721921"/>
                <a:gd name="connsiteX186" fmla="*/ 1119711 w 4551911"/>
                <a:gd name="connsiteY186" fmla="*/ 2330939 h 2721921"/>
                <a:gd name="connsiteX187" fmla="*/ 1113025 w 4551911"/>
                <a:gd name="connsiteY187" fmla="*/ 2350999 h 2721921"/>
                <a:gd name="connsiteX188" fmla="*/ 1075515 w 4551911"/>
                <a:gd name="connsiteY188" fmla="*/ 2349179 h 2721921"/>
                <a:gd name="connsiteX189" fmla="*/ 1067762 w 4551911"/>
                <a:gd name="connsiteY189" fmla="*/ 2361657 h 2721921"/>
                <a:gd name="connsiteX190" fmla="*/ 1033605 w 4551911"/>
                <a:gd name="connsiteY190" fmla="*/ 2339816 h 2721921"/>
                <a:gd name="connsiteX191" fmla="*/ 991266 w 4551911"/>
                <a:gd name="connsiteY191" fmla="*/ 2340664 h 2721921"/>
                <a:gd name="connsiteX192" fmla="*/ 962920 w 4551911"/>
                <a:gd name="connsiteY192" fmla="*/ 2358457 h 2721921"/>
                <a:gd name="connsiteX193" fmla="*/ 931307 w 4551911"/>
                <a:gd name="connsiteY193" fmla="*/ 2341397 h 2721921"/>
                <a:gd name="connsiteX194" fmla="*/ 872433 w 4551911"/>
                <a:gd name="connsiteY194" fmla="*/ 2311851 h 2721921"/>
                <a:gd name="connsiteX195" fmla="*/ 830713 w 4551911"/>
                <a:gd name="connsiteY195" fmla="*/ 2312965 h 2721921"/>
                <a:gd name="connsiteX196" fmla="*/ 775582 w 4551911"/>
                <a:gd name="connsiteY196" fmla="*/ 2359152 h 2721921"/>
                <a:gd name="connsiteX197" fmla="*/ 772258 w 4551911"/>
                <a:gd name="connsiteY197" fmla="*/ 2389565 h 2721921"/>
                <a:gd name="connsiteX198" fmla="*/ 744798 w 4551911"/>
                <a:gd name="connsiteY198" fmla="*/ 2365448 h 2721921"/>
                <a:gd name="connsiteX199" fmla="*/ 723490 w 4551911"/>
                <a:gd name="connsiteY199" fmla="*/ 2410882 h 2721921"/>
                <a:gd name="connsiteX200" fmla="*/ 731291 w 4551911"/>
                <a:gd name="connsiteY200" fmla="*/ 2419207 h 2721921"/>
                <a:gd name="connsiteX201" fmla="*/ 715880 w 4551911"/>
                <a:gd name="connsiteY201" fmla="*/ 2449830 h 2721921"/>
                <a:gd name="connsiteX202" fmla="*/ 738549 w 4551911"/>
                <a:gd name="connsiteY202" fmla="*/ 2476853 h 2721921"/>
                <a:gd name="connsiteX203" fmla="*/ 758371 w 4551911"/>
                <a:gd name="connsiteY203" fmla="*/ 2475748 h 2721921"/>
                <a:gd name="connsiteX204" fmla="*/ 775392 w 4551911"/>
                <a:gd name="connsiteY204" fmla="*/ 2502037 h 2721921"/>
                <a:gd name="connsiteX205" fmla="*/ 772687 w 4551911"/>
                <a:gd name="connsiteY205" fmla="*/ 2522058 h 2721921"/>
                <a:gd name="connsiteX206" fmla="*/ 786250 w 4551911"/>
                <a:gd name="connsiteY206" fmla="*/ 2528307 h 2721921"/>
                <a:gd name="connsiteX207" fmla="*/ 774077 w 4551911"/>
                <a:gd name="connsiteY207" fmla="*/ 2551081 h 2721921"/>
                <a:gd name="connsiteX208" fmla="*/ 748189 w 4551911"/>
                <a:gd name="connsiteY208" fmla="*/ 2557367 h 2721921"/>
                <a:gd name="connsiteX209" fmla="*/ 721643 w 4551911"/>
                <a:gd name="connsiteY209" fmla="*/ 2596306 h 2721921"/>
                <a:gd name="connsiteX210" fmla="*/ 745912 w 4551911"/>
                <a:gd name="connsiteY210" fmla="*/ 2631500 h 2721921"/>
                <a:gd name="connsiteX211" fmla="*/ 743283 w 4551911"/>
                <a:gd name="connsiteY211" fmla="*/ 2656132 h 2721921"/>
                <a:gd name="connsiteX212" fmla="*/ 772449 w 4551911"/>
                <a:gd name="connsiteY212" fmla="*/ 2698576 h 2721921"/>
                <a:gd name="connsiteX213" fmla="*/ 756504 w 4551911"/>
                <a:gd name="connsiteY213" fmla="*/ 2712920 h 2721921"/>
                <a:gd name="connsiteX214" fmla="*/ 751922 w 4551911"/>
                <a:gd name="connsiteY214" fmla="*/ 2721921 h 2721921"/>
                <a:gd name="connsiteX215" fmla="*/ 740102 w 4551911"/>
                <a:gd name="connsiteY215" fmla="*/ 2719512 h 2721921"/>
                <a:gd name="connsiteX216" fmla="*/ 721747 w 4551911"/>
                <a:gd name="connsiteY216" fmla="*/ 2697928 h 2721921"/>
                <a:gd name="connsiteX217" fmla="*/ 714241 w 4551911"/>
                <a:gd name="connsiteY217" fmla="*/ 2696728 h 2721921"/>
                <a:gd name="connsiteX218" fmla="*/ 697449 w 4551911"/>
                <a:gd name="connsiteY218" fmla="*/ 2688431 h 2721921"/>
                <a:gd name="connsiteX219" fmla="*/ 689277 w 4551911"/>
                <a:gd name="connsiteY219" fmla="*/ 2673668 h 2721921"/>
                <a:gd name="connsiteX220" fmla="*/ 664369 w 4551911"/>
                <a:gd name="connsiteY220" fmla="*/ 2666105 h 2721921"/>
                <a:gd name="connsiteX221" fmla="*/ 648176 w 4551911"/>
                <a:gd name="connsiteY221" fmla="*/ 2671791 h 2721921"/>
                <a:gd name="connsiteX222" fmla="*/ 643499 w 4551911"/>
                <a:gd name="connsiteY222" fmla="*/ 2665067 h 2721921"/>
                <a:gd name="connsiteX223" fmla="*/ 607133 w 4551911"/>
                <a:gd name="connsiteY223" fmla="*/ 2647626 h 2721921"/>
                <a:gd name="connsiteX224" fmla="*/ 567814 w 4551911"/>
                <a:gd name="connsiteY224" fmla="*/ 2641702 h 2721921"/>
                <a:gd name="connsiteX225" fmla="*/ 545239 w 4551911"/>
                <a:gd name="connsiteY225" fmla="*/ 2635434 h 2721921"/>
                <a:gd name="connsiteX226" fmla="*/ 541982 w 4551911"/>
                <a:gd name="connsiteY226" fmla="*/ 2639768 h 2721921"/>
                <a:gd name="connsiteX227" fmla="*/ 507930 w 4551911"/>
                <a:gd name="connsiteY227" fmla="*/ 2608583 h 2721921"/>
                <a:gd name="connsiteX228" fmla="*/ 477459 w 4551911"/>
                <a:gd name="connsiteY228" fmla="*/ 2594515 h 2721921"/>
                <a:gd name="connsiteX229" fmla="*/ 454390 w 4551911"/>
                <a:gd name="connsiteY229" fmla="*/ 2572426 h 2721921"/>
                <a:gd name="connsiteX230" fmla="*/ 473830 w 4551911"/>
                <a:gd name="connsiteY230" fmla="*/ 2566369 h 2721921"/>
                <a:gd name="connsiteX231" fmla="*/ 495995 w 4551911"/>
                <a:gd name="connsiteY231" fmla="*/ 2534422 h 2721921"/>
                <a:gd name="connsiteX232" fmla="*/ 481060 w 4551911"/>
                <a:gd name="connsiteY232" fmla="*/ 2519134 h 2721921"/>
                <a:gd name="connsiteX233" fmla="*/ 520417 w 4551911"/>
                <a:gd name="connsiteY233" fmla="*/ 2503256 h 2721921"/>
                <a:gd name="connsiteX234" fmla="*/ 519712 w 4551911"/>
                <a:gd name="connsiteY234" fmla="*/ 2494693 h 2721921"/>
                <a:gd name="connsiteX235" fmla="*/ 495738 w 4551911"/>
                <a:gd name="connsiteY235" fmla="*/ 2501008 h 2721921"/>
                <a:gd name="connsiteX236" fmla="*/ 496576 w 4551911"/>
                <a:gd name="connsiteY236" fmla="*/ 2483558 h 2721921"/>
                <a:gd name="connsiteX237" fmla="*/ 510340 w 4551911"/>
                <a:gd name="connsiteY237" fmla="*/ 2472519 h 2721921"/>
                <a:gd name="connsiteX238" fmla="*/ 536181 w 4551911"/>
                <a:gd name="connsiteY238" fmla="*/ 2469604 h 2721921"/>
                <a:gd name="connsiteX239" fmla="*/ 540382 w 4551911"/>
                <a:gd name="connsiteY239" fmla="*/ 2456317 h 2721921"/>
                <a:gd name="connsiteX240" fmla="*/ 534476 w 4551911"/>
                <a:gd name="connsiteY240" fmla="*/ 2434152 h 2721921"/>
                <a:gd name="connsiteX241" fmla="*/ 545325 w 4551911"/>
                <a:gd name="connsiteY241" fmla="*/ 2412883 h 2721921"/>
                <a:gd name="connsiteX242" fmla="*/ 545011 w 4551911"/>
                <a:gd name="connsiteY242" fmla="*/ 2400852 h 2721921"/>
                <a:gd name="connsiteX243" fmla="*/ 505644 w 4551911"/>
                <a:gd name="connsiteY243" fmla="*/ 2387432 h 2721921"/>
                <a:gd name="connsiteX244" fmla="*/ 490032 w 4551911"/>
                <a:gd name="connsiteY244" fmla="*/ 2387879 h 2721921"/>
                <a:gd name="connsiteX245" fmla="*/ 473554 w 4551911"/>
                <a:gd name="connsiteY245" fmla="*/ 2368420 h 2721921"/>
                <a:gd name="connsiteX246" fmla="*/ 453066 w 4551911"/>
                <a:gd name="connsiteY246" fmla="*/ 2375021 h 2721921"/>
                <a:gd name="connsiteX247" fmla="*/ 419147 w 4551911"/>
                <a:gd name="connsiteY247" fmla="*/ 2360333 h 2721921"/>
                <a:gd name="connsiteX248" fmla="*/ 419728 w 4551911"/>
                <a:gd name="connsiteY248" fmla="*/ 2352066 h 2721921"/>
                <a:gd name="connsiteX249" fmla="*/ 410232 w 4551911"/>
                <a:gd name="connsiteY249" fmla="*/ 2333720 h 2721921"/>
                <a:gd name="connsiteX250" fmla="*/ 388934 w 4551911"/>
                <a:gd name="connsiteY250" fmla="*/ 2331663 h 2721921"/>
                <a:gd name="connsiteX251" fmla="*/ 386724 w 4551911"/>
                <a:gd name="connsiteY251" fmla="*/ 2318404 h 2721921"/>
                <a:gd name="connsiteX252" fmla="*/ 393392 w 4551911"/>
                <a:gd name="connsiteY252" fmla="*/ 2309708 h 2721921"/>
                <a:gd name="connsiteX253" fmla="*/ 376323 w 4551911"/>
                <a:gd name="connsiteY253" fmla="*/ 2285181 h 2721921"/>
                <a:gd name="connsiteX254" fmla="*/ 348634 w 4551911"/>
                <a:gd name="connsiteY254" fmla="*/ 2289391 h 2721921"/>
                <a:gd name="connsiteX255" fmla="*/ 340519 w 4551911"/>
                <a:gd name="connsiteY255" fmla="*/ 2287210 h 2721921"/>
                <a:gd name="connsiteX256" fmla="*/ 333775 w 4551911"/>
                <a:gd name="connsiteY256" fmla="*/ 2297087 h 2721921"/>
                <a:gd name="connsiteX257" fmla="*/ 323802 w 4551911"/>
                <a:gd name="connsiteY257" fmla="*/ 2295335 h 2721921"/>
                <a:gd name="connsiteX258" fmla="*/ 317239 w 4551911"/>
                <a:gd name="connsiteY258" fmla="*/ 2267360 h 2721921"/>
                <a:gd name="connsiteX259" fmla="*/ 310972 w 4551911"/>
                <a:gd name="connsiteY259" fmla="*/ 2252691 h 2721921"/>
                <a:gd name="connsiteX260" fmla="*/ 316116 w 4551911"/>
                <a:gd name="connsiteY260" fmla="*/ 2248548 h 2721921"/>
                <a:gd name="connsiteX261" fmla="*/ 337661 w 4551911"/>
                <a:gd name="connsiteY261" fmla="*/ 2250091 h 2721921"/>
                <a:gd name="connsiteX262" fmla="*/ 348053 w 4551911"/>
                <a:gd name="connsiteY262" fmla="*/ 2240356 h 2721921"/>
                <a:gd name="connsiteX263" fmla="*/ 340357 w 4551911"/>
                <a:gd name="connsiteY263" fmla="*/ 2228421 h 2721921"/>
                <a:gd name="connsiteX264" fmla="*/ 322345 w 4551911"/>
                <a:gd name="connsiteY264" fmla="*/ 2220497 h 2721921"/>
                <a:gd name="connsiteX265" fmla="*/ 323955 w 4551911"/>
                <a:gd name="connsiteY265" fmla="*/ 2212334 h 2721921"/>
                <a:gd name="connsiteX266" fmla="*/ 313087 w 4551911"/>
                <a:gd name="connsiteY266" fmla="*/ 2204047 h 2721921"/>
                <a:gd name="connsiteX267" fmla="*/ 296342 w 4551911"/>
                <a:gd name="connsiteY267" fmla="*/ 2174015 h 2721921"/>
                <a:gd name="connsiteX268" fmla="*/ 302066 w 4551911"/>
                <a:gd name="connsiteY268" fmla="*/ 2161499 h 2721921"/>
                <a:gd name="connsiteX269" fmla="*/ 299456 w 4551911"/>
                <a:gd name="connsiteY269" fmla="*/ 2139515 h 2721921"/>
                <a:gd name="connsiteX270" fmla="*/ 273348 w 4551911"/>
                <a:gd name="connsiteY270" fmla="*/ 2128247 h 2721921"/>
                <a:gd name="connsiteX271" fmla="*/ 259337 w 4551911"/>
                <a:gd name="connsiteY271" fmla="*/ 2133896 h 2721921"/>
                <a:gd name="connsiteX272" fmla="*/ 255546 w 4551911"/>
                <a:gd name="connsiteY272" fmla="*/ 2122122 h 2721921"/>
                <a:gd name="connsiteX273" fmla="*/ 227428 w 4551911"/>
                <a:gd name="connsiteY273" fmla="*/ 2110159 h 2721921"/>
                <a:gd name="connsiteX274" fmla="*/ 218846 w 4551911"/>
                <a:gd name="connsiteY274" fmla="*/ 2081689 h 2721921"/>
                <a:gd name="connsiteX275" fmla="*/ 216570 w 4551911"/>
                <a:gd name="connsiteY275" fmla="*/ 2057952 h 2721921"/>
                <a:gd name="connsiteX276" fmla="*/ 203702 w 4551911"/>
                <a:gd name="connsiteY276" fmla="*/ 2046580 h 2721921"/>
                <a:gd name="connsiteX277" fmla="*/ 215141 w 4551911"/>
                <a:gd name="connsiteY277" fmla="*/ 2030778 h 2721921"/>
                <a:gd name="connsiteX278" fmla="*/ 207216 w 4551911"/>
                <a:gd name="connsiteY278" fmla="*/ 1983515 h 2721921"/>
                <a:gd name="connsiteX279" fmla="*/ 226219 w 4551911"/>
                <a:gd name="connsiteY279" fmla="*/ 1953673 h 2721921"/>
                <a:gd name="connsiteX280" fmla="*/ 222199 w 4551911"/>
                <a:gd name="connsiteY280" fmla="*/ 1944538 h 2721921"/>
                <a:gd name="connsiteX281" fmla="*/ 252555 w 4551911"/>
                <a:gd name="connsiteY281" fmla="*/ 1915287 h 2721921"/>
                <a:gd name="connsiteX282" fmla="*/ 224571 w 4551911"/>
                <a:gd name="connsiteY282" fmla="*/ 1889722 h 2721921"/>
                <a:gd name="connsiteX283" fmla="*/ 281749 w 4551911"/>
                <a:gd name="connsiteY283" fmla="*/ 1819189 h 2721921"/>
                <a:gd name="connsiteX284" fmla="*/ 306552 w 4551911"/>
                <a:gd name="connsiteY284" fmla="*/ 1786300 h 2721921"/>
                <a:gd name="connsiteX285" fmla="*/ 316601 w 4551911"/>
                <a:gd name="connsiteY285" fmla="*/ 1756734 h 2721921"/>
                <a:gd name="connsiteX286" fmla="*/ 277073 w 4551911"/>
                <a:gd name="connsiteY286" fmla="*/ 1716196 h 2721921"/>
                <a:gd name="connsiteX287" fmla="*/ 287988 w 4551911"/>
                <a:gd name="connsiteY287" fmla="*/ 1676714 h 2721921"/>
                <a:gd name="connsiteX288" fmla="*/ 263947 w 4551911"/>
                <a:gd name="connsiteY288" fmla="*/ 1630480 h 2721921"/>
                <a:gd name="connsiteX289" fmla="*/ 281930 w 4551911"/>
                <a:gd name="connsiteY289" fmla="*/ 1575578 h 2721921"/>
                <a:gd name="connsiteX290" fmla="*/ 250869 w 4551911"/>
                <a:gd name="connsiteY290" fmla="*/ 1499788 h 2721921"/>
                <a:gd name="connsiteX291" fmla="*/ 275511 w 4551911"/>
                <a:gd name="connsiteY291" fmla="*/ 1447610 h 2721921"/>
                <a:gd name="connsiteX292" fmla="*/ 234610 w 4551911"/>
                <a:gd name="connsiteY292" fmla="*/ 1400080 h 2721921"/>
                <a:gd name="connsiteX293" fmla="*/ 238506 w 4551911"/>
                <a:gd name="connsiteY293" fmla="*/ 1348607 h 2721921"/>
                <a:gd name="connsiteX294" fmla="*/ 260080 w 4551911"/>
                <a:gd name="connsiteY294" fmla="*/ 1341711 h 2721921"/>
                <a:gd name="connsiteX295" fmla="*/ 305524 w 4551911"/>
                <a:gd name="connsiteY295" fmla="*/ 1311345 h 2721921"/>
                <a:gd name="connsiteX296" fmla="*/ 333080 w 4551911"/>
                <a:gd name="connsiteY296" fmla="*/ 1284551 h 2721921"/>
                <a:gd name="connsiteX297" fmla="*/ 376951 w 4551911"/>
                <a:gd name="connsiteY297" fmla="*/ 1330843 h 2721921"/>
                <a:gd name="connsiteX298" fmla="*/ 450085 w 4551911"/>
                <a:gd name="connsiteY298" fmla="*/ 1348711 h 2721921"/>
                <a:gd name="connsiteX299" fmla="*/ 550993 w 4551911"/>
                <a:gd name="connsiteY299" fmla="*/ 1431065 h 2721921"/>
                <a:gd name="connsiteX300" fmla="*/ 571490 w 4551911"/>
                <a:gd name="connsiteY300" fmla="*/ 1464478 h 2721921"/>
                <a:gd name="connsiteX301" fmla="*/ 573252 w 4551911"/>
                <a:gd name="connsiteY301" fmla="*/ 1510160 h 2721921"/>
                <a:gd name="connsiteX302" fmla="*/ 543601 w 4551911"/>
                <a:gd name="connsiteY302" fmla="*/ 1545355 h 2721921"/>
                <a:gd name="connsiteX303" fmla="*/ 499996 w 4551911"/>
                <a:gd name="connsiteY303" fmla="*/ 1562938 h 2721921"/>
                <a:gd name="connsiteX304" fmla="*/ 380771 w 4551911"/>
                <a:gd name="connsiteY304" fmla="*/ 1512332 h 2721921"/>
                <a:gd name="connsiteX305" fmla="*/ 361159 w 4551911"/>
                <a:gd name="connsiteY305" fmla="*/ 1520904 h 2721921"/>
                <a:gd name="connsiteX306" fmla="*/ 404698 w 4551911"/>
                <a:gd name="connsiteY306" fmla="*/ 1569453 h 2721921"/>
                <a:gd name="connsiteX307" fmla="*/ 406403 w 4551911"/>
                <a:gd name="connsiteY307" fmla="*/ 1599495 h 2721921"/>
                <a:gd name="connsiteX308" fmla="*/ 408146 w 4551911"/>
                <a:gd name="connsiteY308" fmla="*/ 1663817 h 2721921"/>
                <a:gd name="connsiteX309" fmla="*/ 442531 w 4551911"/>
                <a:gd name="connsiteY309" fmla="*/ 1682544 h 2721921"/>
                <a:gd name="connsiteX310" fmla="*/ 463401 w 4551911"/>
                <a:gd name="connsiteY310" fmla="*/ 1698327 h 2721921"/>
                <a:gd name="connsiteX311" fmla="*/ 466849 w 4551911"/>
                <a:gd name="connsiteY311" fmla="*/ 1668732 h 2721921"/>
                <a:gd name="connsiteX312" fmla="*/ 450761 w 4551911"/>
                <a:gd name="connsiteY312" fmla="*/ 1642053 h 2721921"/>
                <a:gd name="connsiteX313" fmla="*/ 467763 w 4551911"/>
                <a:gd name="connsiteY313" fmla="*/ 1618193 h 2721921"/>
                <a:gd name="connsiteX314" fmla="*/ 532323 w 4551911"/>
                <a:gd name="connsiteY314" fmla="*/ 1657236 h 2721921"/>
                <a:gd name="connsiteX315" fmla="*/ 554812 w 4551911"/>
                <a:gd name="connsiteY315" fmla="*/ 1642062 h 2721921"/>
                <a:gd name="connsiteX316" fmla="*/ 536838 w 4551911"/>
                <a:gd name="connsiteY316" fmla="*/ 1595609 h 2721921"/>
                <a:gd name="connsiteX317" fmla="*/ 599084 w 4551911"/>
                <a:gd name="connsiteY317" fmla="*/ 1531391 h 2721921"/>
                <a:gd name="connsiteX318" fmla="*/ 623735 w 4551911"/>
                <a:gd name="connsiteY318" fmla="*/ 1535240 h 2721921"/>
                <a:gd name="connsiteX319" fmla="*/ 648671 w 4551911"/>
                <a:gd name="connsiteY319" fmla="*/ 1558385 h 2721921"/>
                <a:gd name="connsiteX320" fmla="*/ 664226 w 4551911"/>
                <a:gd name="connsiteY320" fmla="*/ 1512561 h 2721921"/>
                <a:gd name="connsiteX321" fmla="*/ 641956 w 4551911"/>
                <a:gd name="connsiteY321" fmla="*/ 1471765 h 2721921"/>
                <a:gd name="connsiteX322" fmla="*/ 655034 w 4551911"/>
                <a:gd name="connsiteY322" fmla="*/ 1429798 h 2721921"/>
                <a:gd name="connsiteX323" fmla="*/ 635403 w 4551911"/>
                <a:gd name="connsiteY323" fmla="*/ 1385107 h 2721921"/>
                <a:gd name="connsiteX324" fmla="*/ 710108 w 4551911"/>
                <a:gd name="connsiteY324" fmla="*/ 1408366 h 2721921"/>
                <a:gd name="connsiteX325" fmla="*/ 725367 w 4551911"/>
                <a:gd name="connsiteY325" fmla="*/ 1448210 h 2721921"/>
                <a:gd name="connsiteX326" fmla="*/ 691553 w 4551911"/>
                <a:gd name="connsiteY326" fmla="*/ 1456858 h 2721921"/>
                <a:gd name="connsiteX327" fmla="*/ 691734 w 4551911"/>
                <a:gd name="connsiteY327" fmla="*/ 1495320 h 2721921"/>
                <a:gd name="connsiteX328" fmla="*/ 712755 w 4551911"/>
                <a:gd name="connsiteY328" fmla="*/ 1518542 h 2721921"/>
                <a:gd name="connsiteX329" fmla="*/ 754018 w 4551911"/>
                <a:gd name="connsiteY329" fmla="*/ 1503864 h 2721921"/>
                <a:gd name="connsiteX330" fmla="*/ 760552 w 4551911"/>
                <a:gd name="connsiteY330" fmla="*/ 1459944 h 2721921"/>
                <a:gd name="connsiteX331" fmla="*/ 816340 w 4551911"/>
                <a:gd name="connsiteY331" fmla="*/ 1426369 h 2721921"/>
                <a:gd name="connsiteX332" fmla="*/ 909542 w 4551911"/>
                <a:gd name="connsiteY332" fmla="*/ 1364047 h 2721921"/>
                <a:gd name="connsiteX333" fmla="*/ 929678 w 4551911"/>
                <a:gd name="connsiteY333" fmla="*/ 1367685 h 2721921"/>
                <a:gd name="connsiteX334" fmla="*/ 903351 w 4551911"/>
                <a:gd name="connsiteY334" fmla="*/ 1411881 h 2721921"/>
                <a:gd name="connsiteX335" fmla="*/ 936479 w 4551911"/>
                <a:gd name="connsiteY335" fmla="*/ 1419358 h 2721921"/>
                <a:gd name="connsiteX336" fmla="*/ 955614 w 4551911"/>
                <a:gd name="connsiteY336" fmla="*/ 1394746 h 2721921"/>
                <a:gd name="connsiteX337" fmla="*/ 1005668 w 4551911"/>
                <a:gd name="connsiteY337" fmla="*/ 1392736 h 2721921"/>
                <a:gd name="connsiteX338" fmla="*/ 1045330 w 4551911"/>
                <a:gd name="connsiteY338" fmla="*/ 1362323 h 2721921"/>
                <a:gd name="connsiteX339" fmla="*/ 1075763 w 4551911"/>
                <a:gd name="connsiteY339" fmla="*/ 1406338 h 2721921"/>
                <a:gd name="connsiteX340" fmla="*/ 1106109 w 4551911"/>
                <a:gd name="connsiteY340" fmla="*/ 1357884 h 2721921"/>
                <a:gd name="connsiteX341" fmla="*/ 1078125 w 4551911"/>
                <a:gd name="connsiteY341" fmla="*/ 1314288 h 2721921"/>
                <a:gd name="connsiteX342" fmla="*/ 1092012 w 4551911"/>
                <a:gd name="connsiteY342" fmla="*/ 1288923 h 2721921"/>
                <a:gd name="connsiteX343" fmla="*/ 1170898 w 4551911"/>
                <a:gd name="connsiteY343" fmla="*/ 1312193 h 2721921"/>
                <a:gd name="connsiteX344" fmla="*/ 1207865 w 4551911"/>
                <a:gd name="connsiteY344" fmla="*/ 1335891 h 2721921"/>
                <a:gd name="connsiteX345" fmla="*/ 1304648 w 4551911"/>
                <a:gd name="connsiteY345" fmla="*/ 1419701 h 2721921"/>
                <a:gd name="connsiteX346" fmla="*/ 1322508 w 4551911"/>
                <a:gd name="connsiteY346" fmla="*/ 1381839 h 2721921"/>
                <a:gd name="connsiteX347" fmla="*/ 1295362 w 4551911"/>
                <a:gd name="connsiteY347" fmla="*/ 1342682 h 2721921"/>
                <a:gd name="connsiteX348" fmla="*/ 1294581 w 4551911"/>
                <a:gd name="connsiteY348" fmla="*/ 1326709 h 2721921"/>
                <a:gd name="connsiteX349" fmla="*/ 1262396 w 4551911"/>
                <a:gd name="connsiteY349" fmla="*/ 1319260 h 2721921"/>
                <a:gd name="connsiteX350" fmla="*/ 1271206 w 4551911"/>
                <a:gd name="connsiteY350" fmla="*/ 1282808 h 2721921"/>
                <a:gd name="connsiteX351" fmla="*/ 1256919 w 4551911"/>
                <a:gd name="connsiteY351" fmla="*/ 1220981 h 2721921"/>
                <a:gd name="connsiteX352" fmla="*/ 1256109 w 4551911"/>
                <a:gd name="connsiteY352" fmla="*/ 1194911 h 2721921"/>
                <a:gd name="connsiteX353" fmla="*/ 1305401 w 4551911"/>
                <a:gd name="connsiteY353" fmla="*/ 1118807 h 2721921"/>
                <a:gd name="connsiteX354" fmla="*/ 1322927 w 4551911"/>
                <a:gd name="connsiteY354" fmla="*/ 1038615 h 2721921"/>
                <a:gd name="connsiteX355" fmla="*/ 1342787 w 4551911"/>
                <a:gd name="connsiteY355" fmla="*/ 1020728 h 2721921"/>
                <a:gd name="connsiteX356" fmla="*/ 1413491 w 4551911"/>
                <a:gd name="connsiteY356" fmla="*/ 1044673 h 2721921"/>
                <a:gd name="connsiteX357" fmla="*/ 1419063 w 4551911"/>
                <a:gd name="connsiteY357" fmla="*/ 1094041 h 2721921"/>
                <a:gd name="connsiteX358" fmla="*/ 1393745 w 4551911"/>
                <a:gd name="connsiteY358" fmla="*/ 1163412 h 2721921"/>
                <a:gd name="connsiteX359" fmla="*/ 1410357 w 4551911"/>
                <a:gd name="connsiteY359" fmla="*/ 1189882 h 2721921"/>
                <a:gd name="connsiteX360" fmla="*/ 1418948 w 4551911"/>
                <a:gd name="connsiteY360" fmla="*/ 1246441 h 2721921"/>
                <a:gd name="connsiteX361" fmla="*/ 1412881 w 4551911"/>
                <a:gd name="connsiteY361" fmla="*/ 1351912 h 2721921"/>
                <a:gd name="connsiteX362" fmla="*/ 1442342 w 4551911"/>
                <a:gd name="connsiteY362" fmla="*/ 1396965 h 2721921"/>
                <a:gd name="connsiteX363" fmla="*/ 1430884 w 4551911"/>
                <a:gd name="connsiteY363" fmla="*/ 1444666 h 2721921"/>
                <a:gd name="connsiteX364" fmla="*/ 1378572 w 4551911"/>
                <a:gd name="connsiteY364" fmla="*/ 1541802 h 2721921"/>
                <a:gd name="connsiteX365" fmla="*/ 1409100 w 4551911"/>
                <a:gd name="connsiteY365" fmla="*/ 1551556 h 2721921"/>
                <a:gd name="connsiteX366" fmla="*/ 1419720 w 4551911"/>
                <a:gd name="connsiteY366" fmla="*/ 1527610 h 2721921"/>
                <a:gd name="connsiteX367" fmla="*/ 1449105 w 4551911"/>
                <a:gd name="connsiteY367" fmla="*/ 1510322 h 2721921"/>
                <a:gd name="connsiteX368" fmla="*/ 1456191 w 4551911"/>
                <a:gd name="connsiteY368" fmla="*/ 1476480 h 2721921"/>
                <a:gd name="connsiteX369" fmla="*/ 1479309 w 4551911"/>
                <a:gd name="connsiteY369" fmla="*/ 1443247 h 2721921"/>
                <a:gd name="connsiteX370" fmla="*/ 1463744 w 4551911"/>
                <a:gd name="connsiteY370" fmla="*/ 1402671 h 2721921"/>
                <a:gd name="connsiteX371" fmla="*/ 1476213 w 4551911"/>
                <a:gd name="connsiteY371" fmla="*/ 1354255 h 2721921"/>
                <a:gd name="connsiteX372" fmla="*/ 1447009 w 4551911"/>
                <a:gd name="connsiteY372" fmla="*/ 1348121 h 2721921"/>
                <a:gd name="connsiteX373" fmla="*/ 1440589 w 4551911"/>
                <a:gd name="connsiteY373" fmla="*/ 1306039 h 2721921"/>
                <a:gd name="connsiteX374" fmla="*/ 1461897 w 4551911"/>
                <a:gd name="connsiteY374" fmla="*/ 1227192 h 2721921"/>
                <a:gd name="connsiteX375" fmla="*/ 1427207 w 4551911"/>
                <a:gd name="connsiteY375" fmla="*/ 1160202 h 2721921"/>
                <a:gd name="connsiteX376" fmla="*/ 1475003 w 4551911"/>
                <a:gd name="connsiteY376" fmla="*/ 1102652 h 2721921"/>
                <a:gd name="connsiteX377" fmla="*/ 1468831 w 4551911"/>
                <a:gd name="connsiteY377" fmla="*/ 1039606 h 2721921"/>
                <a:gd name="connsiteX378" fmla="*/ 1482147 w 4551911"/>
                <a:gd name="connsiteY378" fmla="*/ 1037549 h 2721921"/>
                <a:gd name="connsiteX379" fmla="*/ 1496177 w 4551911"/>
                <a:gd name="connsiteY379" fmla="*/ 1086974 h 2721921"/>
                <a:gd name="connsiteX380" fmla="*/ 1485652 w 4551911"/>
                <a:gd name="connsiteY380" fmla="*/ 1169527 h 2721921"/>
                <a:gd name="connsiteX381" fmla="*/ 1514227 w 4551911"/>
                <a:gd name="connsiteY381" fmla="*/ 1184691 h 2721921"/>
                <a:gd name="connsiteX382" fmla="*/ 1502054 w 4551911"/>
                <a:gd name="connsiteY382" fmla="*/ 1123988 h 2721921"/>
                <a:gd name="connsiteX383" fmla="*/ 1546746 w 4551911"/>
                <a:gd name="connsiteY383" fmla="*/ 1089898 h 2721921"/>
                <a:gd name="connsiteX384" fmla="*/ 1602171 w 4551911"/>
                <a:gd name="connsiteY384" fmla="*/ 1085250 h 2721921"/>
                <a:gd name="connsiteX385" fmla="*/ 1651521 w 4551911"/>
                <a:gd name="connsiteY385" fmla="*/ 1134589 h 2721921"/>
                <a:gd name="connsiteX386" fmla="*/ 1627775 w 4551911"/>
                <a:gd name="connsiteY386" fmla="*/ 1061990 h 2721921"/>
                <a:gd name="connsiteX387" fmla="*/ 1625117 w 4551911"/>
                <a:gd name="connsiteY387" fmla="*/ 964054 h 2721921"/>
                <a:gd name="connsiteX388" fmla="*/ 1671561 w 4551911"/>
                <a:gd name="connsiteY388" fmla="*/ 944804 h 2721921"/>
                <a:gd name="connsiteX389" fmla="*/ 1735798 w 4551911"/>
                <a:gd name="connsiteY389" fmla="*/ 949033 h 2721921"/>
                <a:gd name="connsiteX390" fmla="*/ 1793662 w 4551911"/>
                <a:gd name="connsiteY390" fmla="*/ 936450 h 2721921"/>
                <a:gd name="connsiteX391" fmla="*/ 1771964 w 4551911"/>
                <a:gd name="connsiteY391" fmla="*/ 885196 h 2721921"/>
                <a:gd name="connsiteX392" fmla="*/ 1802873 w 4551911"/>
                <a:gd name="connsiteY392" fmla="*/ 818369 h 2721921"/>
                <a:gd name="connsiteX393" fmla="*/ 1833553 w 4551911"/>
                <a:gd name="connsiteY393" fmla="*/ 815512 h 2721921"/>
                <a:gd name="connsiteX394" fmla="*/ 1885483 w 4551911"/>
                <a:gd name="connsiteY394" fmla="*/ 763000 h 2721921"/>
                <a:gd name="connsiteX395" fmla="*/ 1955996 w 4551911"/>
                <a:gd name="connsiteY395" fmla="*/ 748579 h 2721921"/>
                <a:gd name="connsiteX396" fmla="*/ 1964912 w 4551911"/>
                <a:gd name="connsiteY396" fmla="*/ 718547 h 2721921"/>
                <a:gd name="connsiteX397" fmla="*/ 2035035 w 4551911"/>
                <a:gd name="connsiteY397" fmla="*/ 708241 h 2721921"/>
                <a:gd name="connsiteX398" fmla="*/ 2056886 w 4551911"/>
                <a:gd name="connsiteY398" fmla="*/ 733063 h 2721921"/>
                <a:gd name="connsiteX399" fmla="*/ 2116826 w 4551911"/>
                <a:gd name="connsiteY399" fmla="*/ 673656 h 2721921"/>
                <a:gd name="connsiteX400" fmla="*/ 2165889 w 4551911"/>
                <a:gd name="connsiteY400" fmla="*/ 675551 h 2721921"/>
                <a:gd name="connsiteX401" fmla="*/ 2173243 w 4551911"/>
                <a:gd name="connsiteY401" fmla="*/ 625659 h 2721921"/>
                <a:gd name="connsiteX402" fmla="*/ 2198770 w 4551911"/>
                <a:gd name="connsiteY402" fmla="*/ 574853 h 2721921"/>
                <a:gd name="connsiteX403" fmla="*/ 2261816 w 4551911"/>
                <a:gd name="connsiteY403" fmla="*/ 524256 h 2721921"/>
                <a:gd name="connsiteX404" fmla="*/ 2307621 w 4551911"/>
                <a:gd name="connsiteY404" fmla="*/ 564337 h 2721921"/>
                <a:gd name="connsiteX405" fmla="*/ 2271255 w 4551911"/>
                <a:gd name="connsiteY405" fmla="*/ 594160 h 2721921"/>
                <a:gd name="connsiteX406" fmla="*/ 2331758 w 4551911"/>
                <a:gd name="connsiteY406" fmla="*/ 612419 h 2721921"/>
                <a:gd name="connsiteX407" fmla="*/ 2338968 w 4551911"/>
                <a:gd name="connsiteY407" fmla="*/ 669893 h 2721921"/>
                <a:gd name="connsiteX408" fmla="*/ 2363372 w 4551911"/>
                <a:gd name="connsiteY408" fmla="*/ 641861 h 2721921"/>
                <a:gd name="connsiteX409" fmla="*/ 2441448 w 4551911"/>
                <a:gd name="connsiteY409" fmla="*/ 643414 h 2721921"/>
                <a:gd name="connsiteX410" fmla="*/ 2501646 w 4551911"/>
                <a:gd name="connsiteY410" fmla="*/ 699068 h 2721921"/>
                <a:gd name="connsiteX411" fmla="*/ 2523087 w 4551911"/>
                <a:gd name="connsiteY411" fmla="*/ 740512 h 2721921"/>
                <a:gd name="connsiteX412" fmla="*/ 2516438 w 4551911"/>
                <a:gd name="connsiteY412" fmla="*/ 796271 h 2721921"/>
                <a:gd name="connsiteX413" fmla="*/ 2486891 w 4551911"/>
                <a:gd name="connsiteY413" fmla="*/ 827151 h 2721921"/>
                <a:gd name="connsiteX414" fmla="*/ 2416711 w 4551911"/>
                <a:gd name="connsiteY414" fmla="*/ 883510 h 2721921"/>
                <a:gd name="connsiteX415" fmla="*/ 2396652 w 4551911"/>
                <a:gd name="connsiteY415" fmla="*/ 912838 h 2721921"/>
                <a:gd name="connsiteX416" fmla="*/ 2429770 w 4551911"/>
                <a:gd name="connsiteY416" fmla="*/ 926487 h 2721921"/>
                <a:gd name="connsiteX417" fmla="*/ 2469280 w 4551911"/>
                <a:gd name="connsiteY417" fmla="*/ 950795 h 2721921"/>
                <a:gd name="connsiteX418" fmla="*/ 2493311 w 4551911"/>
                <a:gd name="connsiteY418" fmla="*/ 932602 h 2721921"/>
                <a:gd name="connsiteX419" fmla="*/ 2506942 w 4551911"/>
                <a:gd name="connsiteY419" fmla="*/ 993496 h 2721921"/>
                <a:gd name="connsiteX420" fmla="*/ 2518667 w 4551911"/>
                <a:gd name="connsiteY420" fmla="*/ 969121 h 2721921"/>
                <a:gd name="connsiteX421" fmla="*/ 2561368 w 4551911"/>
                <a:gd name="connsiteY421" fmla="*/ 954119 h 2721921"/>
                <a:gd name="connsiteX422" fmla="*/ 2647054 w 4551911"/>
                <a:gd name="connsiteY422" fmla="*/ 969797 h 2721921"/>
                <a:gd name="connsiteX423" fmla="*/ 2653570 w 4551911"/>
                <a:gd name="connsiteY423" fmla="*/ 1013384 h 2721921"/>
                <a:gd name="connsiteX424" fmla="*/ 2765221 w 4551911"/>
                <a:gd name="connsiteY424" fmla="*/ 1027005 h 2721921"/>
                <a:gd name="connsiteX425" fmla="*/ 2766746 w 4551911"/>
                <a:gd name="connsiteY425" fmla="*/ 955824 h 2721921"/>
                <a:gd name="connsiteX426" fmla="*/ 2823420 w 4551911"/>
                <a:gd name="connsiteY426" fmla="*/ 972417 h 2721921"/>
                <a:gd name="connsiteX427" fmla="*/ 2866063 w 4551911"/>
                <a:gd name="connsiteY427" fmla="*/ 971902 h 2721921"/>
                <a:gd name="connsiteX428" fmla="*/ 2909182 w 4551911"/>
                <a:gd name="connsiteY428" fmla="*/ 1020842 h 2721921"/>
                <a:gd name="connsiteX429" fmla="*/ 2921479 w 4551911"/>
                <a:gd name="connsiteY429" fmla="*/ 1078354 h 2721921"/>
                <a:gd name="connsiteX430" fmla="*/ 2905677 w 4551911"/>
                <a:gd name="connsiteY430" fmla="*/ 1114892 h 2721921"/>
                <a:gd name="connsiteX431" fmla="*/ 2939215 w 4551911"/>
                <a:gd name="connsiteY431" fmla="*/ 1181395 h 2721921"/>
                <a:gd name="connsiteX432" fmla="*/ 2981220 w 4551911"/>
                <a:gd name="connsiteY432" fmla="*/ 1214666 h 2721921"/>
                <a:gd name="connsiteX433" fmla="*/ 3006985 w 4551911"/>
                <a:gd name="connsiteY433" fmla="*/ 1127246 h 2721921"/>
                <a:gd name="connsiteX434" fmla="*/ 3049829 w 4551911"/>
                <a:gd name="connsiteY434" fmla="*/ 1165308 h 2721921"/>
                <a:gd name="connsiteX435" fmla="*/ 3095339 w 4551911"/>
                <a:gd name="connsiteY435" fmla="*/ 1142676 h 2721921"/>
                <a:gd name="connsiteX436" fmla="*/ 3147031 w 4551911"/>
                <a:gd name="connsiteY436" fmla="*/ 1168546 h 2721921"/>
                <a:gd name="connsiteX437" fmla="*/ 3166700 w 4551911"/>
                <a:gd name="connsiteY437" fmla="*/ 1144972 h 2721921"/>
                <a:gd name="connsiteX438" fmla="*/ 3210391 w 4551911"/>
                <a:gd name="connsiteY438" fmla="*/ 1156802 h 2721921"/>
                <a:gd name="connsiteX439" fmla="*/ 3191113 w 4551911"/>
                <a:gd name="connsiteY439" fmla="*/ 1076811 h 2721921"/>
                <a:gd name="connsiteX440" fmla="*/ 3226375 w 4551911"/>
                <a:gd name="connsiteY440" fmla="*/ 1038073 h 2721921"/>
                <a:gd name="connsiteX441" fmla="*/ 3467576 w 4551911"/>
                <a:gd name="connsiteY441" fmla="*/ 1095804 h 2721921"/>
                <a:gd name="connsiteX442" fmla="*/ 3490312 w 4551911"/>
                <a:gd name="connsiteY442" fmla="*/ 1146810 h 2721921"/>
                <a:gd name="connsiteX443" fmla="*/ 3560226 w 4551911"/>
                <a:gd name="connsiteY443" fmla="*/ 1210180 h 2721921"/>
                <a:gd name="connsiteX444" fmla="*/ 3668068 w 4551911"/>
                <a:gd name="connsiteY444" fmla="*/ 1194721 h 2721921"/>
                <a:gd name="connsiteX445" fmla="*/ 3721236 w 4551911"/>
                <a:gd name="connsiteY445" fmla="*/ 1208189 h 2721921"/>
                <a:gd name="connsiteX446" fmla="*/ 3743468 w 4551911"/>
                <a:gd name="connsiteY446" fmla="*/ 1241508 h 2721921"/>
                <a:gd name="connsiteX447" fmla="*/ 3740220 w 4551911"/>
                <a:gd name="connsiteY447" fmla="*/ 1298810 h 2721921"/>
                <a:gd name="connsiteX448" fmla="*/ 3773119 w 4551911"/>
                <a:gd name="connsiteY448" fmla="*/ 1320584 h 2721921"/>
                <a:gd name="connsiteX449" fmla="*/ 3808866 w 4551911"/>
                <a:gd name="connsiteY449" fmla="*/ 1304954 h 2721921"/>
                <a:gd name="connsiteX450" fmla="*/ 3856234 w 4551911"/>
                <a:gd name="connsiteY450" fmla="*/ 1302944 h 2721921"/>
                <a:gd name="connsiteX451" fmla="*/ 3906650 w 4551911"/>
                <a:gd name="connsiteY451" fmla="*/ 1317946 h 2721921"/>
                <a:gd name="connsiteX452" fmla="*/ 3957266 w 4551911"/>
                <a:gd name="connsiteY452" fmla="*/ 1309497 h 2721921"/>
                <a:gd name="connsiteX453" fmla="*/ 4003786 w 4551911"/>
                <a:gd name="connsiteY453" fmla="*/ 1376115 h 2721921"/>
                <a:gd name="connsiteX454" fmla="*/ 4036885 w 4551911"/>
                <a:gd name="connsiteY454" fmla="*/ 1352464 h 2721921"/>
                <a:gd name="connsiteX455" fmla="*/ 4015283 w 4551911"/>
                <a:gd name="connsiteY455" fmla="*/ 1304134 h 2721921"/>
                <a:gd name="connsiteX456" fmla="*/ 4027179 w 4551911"/>
                <a:gd name="connsiteY456" fmla="*/ 1269673 h 2721921"/>
                <a:gd name="connsiteX457" fmla="*/ 4112381 w 4551911"/>
                <a:gd name="connsiteY457" fmla="*/ 1291447 h 2721921"/>
                <a:gd name="connsiteX458" fmla="*/ 4167930 w 4551911"/>
                <a:gd name="connsiteY458" fmla="*/ 1286818 h 2721921"/>
                <a:gd name="connsiteX459" fmla="*/ 4244740 w 4551911"/>
                <a:gd name="connsiteY459" fmla="*/ 1323423 h 2721921"/>
                <a:gd name="connsiteX460" fmla="*/ 4282126 w 4551911"/>
                <a:gd name="connsiteY460" fmla="*/ 1356189 h 2721921"/>
                <a:gd name="connsiteX461" fmla="*/ 4347553 w 4551911"/>
                <a:gd name="connsiteY461" fmla="*/ 1411986 h 2721921"/>
                <a:gd name="connsiteX462" fmla="*/ 4417581 w 4551911"/>
                <a:gd name="connsiteY462" fmla="*/ 1481909 h 2721921"/>
                <a:gd name="connsiteX463" fmla="*/ 4415285 w 4551911"/>
                <a:gd name="connsiteY463" fmla="*/ 1524171 h 2721921"/>
                <a:gd name="connsiteX464" fmla="*/ 4433297 w 4551911"/>
                <a:gd name="connsiteY464" fmla="*/ 1540793 h 2721921"/>
                <a:gd name="connsiteX465" fmla="*/ 4427106 w 4551911"/>
                <a:gd name="connsiteY465" fmla="*/ 1491777 h 2721921"/>
                <a:gd name="connsiteX466" fmla="*/ 4499620 w 4551911"/>
                <a:gd name="connsiteY466" fmla="*/ 1501950 h 2721921"/>
                <a:gd name="connsiteX467" fmla="*/ 4551912 w 4551911"/>
                <a:gd name="connsiteY467" fmla="*/ 1564386 h 2721921"/>
                <a:gd name="connsiteX468" fmla="*/ 3338160 w 4551911"/>
                <a:gd name="connsiteY468" fmla="*/ 2426370 h 2721921"/>
                <a:gd name="connsiteX469" fmla="*/ 3311290 w 4551911"/>
                <a:gd name="connsiteY469" fmla="*/ 2353180 h 2721921"/>
                <a:gd name="connsiteX470" fmla="*/ 3300270 w 4551911"/>
                <a:gd name="connsiteY470" fmla="*/ 2310232 h 2721921"/>
                <a:gd name="connsiteX471" fmla="*/ 3300955 w 4551911"/>
                <a:gd name="connsiteY471" fmla="*/ 2267407 h 2721921"/>
                <a:gd name="connsiteX472" fmla="*/ 3291707 w 4551911"/>
                <a:gd name="connsiteY472" fmla="*/ 2224516 h 2721921"/>
                <a:gd name="connsiteX473" fmla="*/ 3284763 w 4551911"/>
                <a:gd name="connsiteY473" fmla="*/ 2194512 h 2721921"/>
                <a:gd name="connsiteX474" fmla="*/ 3272875 w 4551911"/>
                <a:gd name="connsiteY474" fmla="*/ 2200923 h 2721921"/>
                <a:gd name="connsiteX475" fmla="*/ 3283477 w 4551911"/>
                <a:gd name="connsiteY475" fmla="*/ 2221925 h 2721921"/>
                <a:gd name="connsiteX476" fmla="*/ 3258788 w 4551911"/>
                <a:gd name="connsiteY476" fmla="*/ 2242557 h 2721921"/>
                <a:gd name="connsiteX477" fmla="*/ 3256426 w 4551911"/>
                <a:gd name="connsiteY477" fmla="*/ 2302526 h 2721921"/>
                <a:gd name="connsiteX478" fmla="*/ 3272075 w 4551911"/>
                <a:gd name="connsiteY478" fmla="*/ 2344541 h 2721921"/>
                <a:gd name="connsiteX479" fmla="*/ 3270904 w 4551911"/>
                <a:gd name="connsiteY479" fmla="*/ 2400281 h 2721921"/>
                <a:gd name="connsiteX480" fmla="*/ 3264722 w 4551911"/>
                <a:gd name="connsiteY480" fmla="*/ 2431113 h 2721921"/>
                <a:gd name="connsiteX481" fmla="*/ 3267770 w 4551911"/>
                <a:gd name="connsiteY481" fmla="*/ 2474329 h 2721921"/>
                <a:gd name="connsiteX482" fmla="*/ 3264789 w 4551911"/>
                <a:gd name="connsiteY482" fmla="*/ 2512571 h 2721921"/>
                <a:gd name="connsiteX483" fmla="*/ 3269742 w 4551911"/>
                <a:gd name="connsiteY483" fmla="*/ 2544956 h 2721921"/>
                <a:gd name="connsiteX484" fmla="*/ 3287249 w 4551911"/>
                <a:gd name="connsiteY484" fmla="*/ 2515105 h 2721921"/>
                <a:gd name="connsiteX485" fmla="*/ 3307490 w 4551911"/>
                <a:gd name="connsiteY485" fmla="*/ 2538394 h 2721921"/>
                <a:gd name="connsiteX486" fmla="*/ 3308232 w 4551911"/>
                <a:gd name="connsiteY486" fmla="*/ 2511381 h 2721921"/>
                <a:gd name="connsiteX487" fmla="*/ 3282210 w 4551911"/>
                <a:gd name="connsiteY487" fmla="*/ 2471099 h 2721921"/>
                <a:gd name="connsiteX488" fmla="*/ 3298641 w 4551911"/>
                <a:gd name="connsiteY488" fmla="*/ 2412930 h 2721921"/>
                <a:gd name="connsiteX489" fmla="*/ 3338160 w 4551911"/>
                <a:gd name="connsiteY489" fmla="*/ 2426370 h 2721921"/>
                <a:gd name="connsiteX490" fmla="*/ 70904 w 4551911"/>
                <a:gd name="connsiteY490" fmla="*/ 2164575 h 2721921"/>
                <a:gd name="connsiteX491" fmla="*/ 42939 w 4551911"/>
                <a:gd name="connsiteY491" fmla="*/ 2156422 h 2721921"/>
                <a:gd name="connsiteX492" fmla="*/ 6086 w 4551911"/>
                <a:gd name="connsiteY492" fmla="*/ 2171500 h 2721921"/>
                <a:gd name="connsiteX493" fmla="*/ 0 w 4551911"/>
                <a:gd name="connsiteY493" fmla="*/ 2191760 h 2721921"/>
                <a:gd name="connsiteX494" fmla="*/ 32889 w 4551911"/>
                <a:gd name="connsiteY494" fmla="*/ 2196951 h 2721921"/>
                <a:gd name="connsiteX495" fmla="*/ 82000 w 4551911"/>
                <a:gd name="connsiteY495" fmla="*/ 2196265 h 2721921"/>
                <a:gd name="connsiteX496" fmla="*/ 79857 w 4551911"/>
                <a:gd name="connsiteY496" fmla="*/ 2184568 h 2721921"/>
                <a:gd name="connsiteX497" fmla="*/ 82705 w 4551911"/>
                <a:gd name="connsiteY497" fmla="*/ 2171929 h 2721921"/>
                <a:gd name="connsiteX498" fmla="*/ 70904 w 4551911"/>
                <a:gd name="connsiteY498" fmla="*/ 2164575 h 2721921"/>
                <a:gd name="connsiteX499" fmla="*/ 4282126 w 4551911"/>
                <a:gd name="connsiteY499" fmla="*/ 1210951 h 2721921"/>
                <a:gd name="connsiteX500" fmla="*/ 4317006 w 4551911"/>
                <a:gd name="connsiteY500" fmla="*/ 1205998 h 2721921"/>
                <a:gd name="connsiteX501" fmla="*/ 4344524 w 4551911"/>
                <a:gd name="connsiteY501" fmla="*/ 1186329 h 2721921"/>
                <a:gd name="connsiteX502" fmla="*/ 4346810 w 4551911"/>
                <a:gd name="connsiteY502" fmla="*/ 1175014 h 2721921"/>
                <a:gd name="connsiteX503" fmla="*/ 4308177 w 4551911"/>
                <a:gd name="connsiteY503" fmla="*/ 1151058 h 2721921"/>
                <a:gd name="connsiteX504" fmla="*/ 4285545 w 4551911"/>
                <a:gd name="connsiteY504" fmla="*/ 1150877 h 2721921"/>
                <a:gd name="connsiteX505" fmla="*/ 4282126 w 4551911"/>
                <a:gd name="connsiteY505" fmla="*/ 1154411 h 2721921"/>
                <a:gd name="connsiteX506" fmla="*/ 4248083 w 4551911"/>
                <a:gd name="connsiteY506" fmla="*/ 1189130 h 2721921"/>
                <a:gd name="connsiteX507" fmla="*/ 4252846 w 4551911"/>
                <a:gd name="connsiteY507" fmla="*/ 1215095 h 2721921"/>
                <a:gd name="connsiteX508" fmla="*/ 4282126 w 4551911"/>
                <a:gd name="connsiteY508" fmla="*/ 1210951 h 2721921"/>
                <a:gd name="connsiteX509" fmla="*/ 3235538 w 4551911"/>
                <a:gd name="connsiteY509" fmla="*/ 952929 h 2721921"/>
                <a:gd name="connsiteX510" fmla="*/ 3210201 w 4551911"/>
                <a:gd name="connsiteY510" fmla="*/ 990219 h 2721921"/>
                <a:gd name="connsiteX511" fmla="*/ 3214878 w 4551911"/>
                <a:gd name="connsiteY511" fmla="*/ 995153 h 2721921"/>
                <a:gd name="connsiteX512" fmla="*/ 3269609 w 4551911"/>
                <a:gd name="connsiteY512" fmla="*/ 1005478 h 2721921"/>
                <a:gd name="connsiteX513" fmla="*/ 3310099 w 4551911"/>
                <a:gd name="connsiteY513" fmla="*/ 1004830 h 2721921"/>
                <a:gd name="connsiteX514" fmla="*/ 3306870 w 4551911"/>
                <a:gd name="connsiteY514" fmla="*/ 980361 h 2721921"/>
                <a:gd name="connsiteX515" fmla="*/ 3268932 w 4551911"/>
                <a:gd name="connsiteY515" fmla="*/ 944070 h 2721921"/>
                <a:gd name="connsiteX516" fmla="*/ 3235538 w 4551911"/>
                <a:gd name="connsiteY516" fmla="*/ 952929 h 2721921"/>
                <a:gd name="connsiteX517" fmla="*/ 3469605 w 4551911"/>
                <a:gd name="connsiteY517" fmla="*/ 862175 h 2721921"/>
                <a:gd name="connsiteX518" fmla="*/ 3500475 w 4551911"/>
                <a:gd name="connsiteY518" fmla="*/ 821712 h 2721921"/>
                <a:gd name="connsiteX519" fmla="*/ 3433457 w 4551911"/>
                <a:gd name="connsiteY519" fmla="*/ 794328 h 2721921"/>
                <a:gd name="connsiteX520" fmla="*/ 3383670 w 4551911"/>
                <a:gd name="connsiteY520" fmla="*/ 778316 h 2721921"/>
                <a:gd name="connsiteX521" fmla="*/ 3377279 w 4551911"/>
                <a:gd name="connsiteY521" fmla="*/ 812463 h 2721921"/>
                <a:gd name="connsiteX522" fmla="*/ 3426914 w 4551911"/>
                <a:gd name="connsiteY522" fmla="*/ 853107 h 2721921"/>
                <a:gd name="connsiteX523" fmla="*/ 3469605 w 4551911"/>
                <a:gd name="connsiteY523" fmla="*/ 862175 h 2721921"/>
                <a:gd name="connsiteX524" fmla="*/ 3230261 w 4551911"/>
                <a:gd name="connsiteY524" fmla="*/ 846039 h 2721921"/>
                <a:gd name="connsiteX525" fmla="*/ 3328702 w 4551911"/>
                <a:gd name="connsiteY525" fmla="*/ 848858 h 2721921"/>
                <a:gd name="connsiteX526" fmla="*/ 3349704 w 4551911"/>
                <a:gd name="connsiteY526" fmla="*/ 771277 h 2721921"/>
                <a:gd name="connsiteX527" fmla="*/ 3253168 w 4551911"/>
                <a:gd name="connsiteY527" fmla="*/ 713451 h 2721921"/>
                <a:gd name="connsiteX528" fmla="*/ 3182645 w 4551911"/>
                <a:gd name="connsiteY528" fmla="*/ 708574 h 2721921"/>
                <a:gd name="connsiteX529" fmla="*/ 3147412 w 4551911"/>
                <a:gd name="connsiteY529" fmla="*/ 729339 h 2721921"/>
                <a:gd name="connsiteX530" fmla="*/ 3133058 w 4551911"/>
                <a:gd name="connsiteY530" fmla="*/ 803177 h 2721921"/>
                <a:gd name="connsiteX531" fmla="*/ 3185970 w 4551911"/>
                <a:gd name="connsiteY531" fmla="*/ 869975 h 2721921"/>
                <a:gd name="connsiteX532" fmla="*/ 3230261 w 4551911"/>
                <a:gd name="connsiteY532" fmla="*/ 846039 h 2721921"/>
                <a:gd name="connsiteX533" fmla="*/ 876452 w 4551911"/>
                <a:gd name="connsiteY533" fmla="*/ 1093184 h 2721921"/>
                <a:gd name="connsiteX534" fmla="*/ 849144 w 4551911"/>
                <a:gd name="connsiteY534" fmla="*/ 1111834 h 2721921"/>
                <a:gd name="connsiteX535" fmla="*/ 853049 w 4551911"/>
                <a:gd name="connsiteY535" fmla="*/ 1157859 h 2721921"/>
                <a:gd name="connsiteX536" fmla="*/ 901389 w 4551911"/>
                <a:gd name="connsiteY536" fmla="*/ 1180224 h 2721921"/>
                <a:gd name="connsiteX537" fmla="*/ 908475 w 4551911"/>
                <a:gd name="connsiteY537" fmla="*/ 1216590 h 2721921"/>
                <a:gd name="connsiteX538" fmla="*/ 995734 w 4551911"/>
                <a:gd name="connsiteY538" fmla="*/ 1227087 h 2721921"/>
                <a:gd name="connsiteX539" fmla="*/ 1011507 w 4551911"/>
                <a:gd name="connsiteY539" fmla="*/ 1220010 h 2721921"/>
                <a:gd name="connsiteX540" fmla="*/ 960425 w 4551911"/>
                <a:gd name="connsiteY540" fmla="*/ 1152325 h 2721921"/>
                <a:gd name="connsiteX541" fmla="*/ 954995 w 4551911"/>
                <a:gd name="connsiteY541" fmla="*/ 1080735 h 2721921"/>
                <a:gd name="connsiteX542" fmla="*/ 996858 w 4551911"/>
                <a:gd name="connsiteY542" fmla="*/ 993648 h 2721921"/>
                <a:gd name="connsiteX543" fmla="*/ 1036663 w 4551911"/>
                <a:gd name="connsiteY543" fmla="*/ 900122 h 2721921"/>
                <a:gd name="connsiteX544" fmla="*/ 1119625 w 4551911"/>
                <a:gd name="connsiteY544" fmla="*/ 803272 h 2721921"/>
                <a:gd name="connsiteX545" fmla="*/ 1201188 w 4551911"/>
                <a:gd name="connsiteY545" fmla="*/ 752427 h 2721921"/>
                <a:gd name="connsiteX546" fmla="*/ 1295819 w 4551911"/>
                <a:gd name="connsiteY546" fmla="*/ 697754 h 2721921"/>
                <a:gd name="connsiteX547" fmla="*/ 1313764 w 4551911"/>
                <a:gd name="connsiteY547" fmla="*/ 662454 h 2721921"/>
                <a:gd name="connsiteX548" fmla="*/ 1295199 w 4551911"/>
                <a:gd name="connsiteY548" fmla="*/ 616477 h 2721921"/>
                <a:gd name="connsiteX549" fmla="*/ 1243222 w 4551911"/>
                <a:gd name="connsiteY549" fmla="*/ 631755 h 2721921"/>
                <a:gd name="connsiteX550" fmla="*/ 1197483 w 4551911"/>
                <a:gd name="connsiteY550" fmla="*/ 674541 h 2721921"/>
                <a:gd name="connsiteX551" fmla="*/ 1108596 w 4551911"/>
                <a:gd name="connsiteY551" fmla="*/ 695706 h 2721921"/>
                <a:gd name="connsiteX552" fmla="*/ 1020423 w 4551911"/>
                <a:gd name="connsiteY552" fmla="*/ 766277 h 2721921"/>
                <a:gd name="connsiteX553" fmla="*/ 960691 w 4551911"/>
                <a:gd name="connsiteY553" fmla="*/ 821988 h 2721921"/>
                <a:gd name="connsiteX554" fmla="*/ 967921 w 4551911"/>
                <a:gd name="connsiteY554" fmla="*/ 868375 h 2721921"/>
                <a:gd name="connsiteX555" fmla="*/ 903979 w 4551911"/>
                <a:gd name="connsiteY555" fmla="*/ 954376 h 2721921"/>
                <a:gd name="connsiteX556" fmla="*/ 928535 w 4551911"/>
                <a:gd name="connsiteY556" fmla="*/ 965997 h 2721921"/>
                <a:gd name="connsiteX557" fmla="*/ 875557 w 4551911"/>
                <a:gd name="connsiteY557" fmla="*/ 1044778 h 2721921"/>
                <a:gd name="connsiteX558" fmla="*/ 876452 w 4551911"/>
                <a:gd name="connsiteY558" fmla="*/ 1093184 h 2721921"/>
                <a:gd name="connsiteX559" fmla="*/ 2281142 w 4551911"/>
                <a:gd name="connsiteY559" fmla="*/ 445999 h 2721921"/>
                <a:gd name="connsiteX560" fmla="*/ 2289077 w 4551911"/>
                <a:gd name="connsiteY560" fmla="*/ 391516 h 2721921"/>
                <a:gd name="connsiteX561" fmla="*/ 2221382 w 4551911"/>
                <a:gd name="connsiteY561" fmla="*/ 312049 h 2721921"/>
                <a:gd name="connsiteX562" fmla="*/ 2201323 w 4551911"/>
                <a:gd name="connsiteY562" fmla="*/ 302666 h 2721921"/>
                <a:gd name="connsiteX563" fmla="*/ 2179377 w 4551911"/>
                <a:gd name="connsiteY563" fmla="*/ 318821 h 2721921"/>
                <a:gd name="connsiteX564" fmla="*/ 2130590 w 4551911"/>
                <a:gd name="connsiteY564" fmla="*/ 496024 h 2721921"/>
                <a:gd name="connsiteX565" fmla="*/ 2281142 w 4551911"/>
                <a:gd name="connsiteY565" fmla="*/ 445999 h 2721921"/>
                <a:gd name="connsiteX566" fmla="*/ 716861 w 4551911"/>
                <a:gd name="connsiteY566" fmla="*/ 166792 h 2721921"/>
                <a:gd name="connsiteX567" fmla="*/ 745788 w 4551911"/>
                <a:gd name="connsiteY567" fmla="*/ 203711 h 2721921"/>
                <a:gd name="connsiteX568" fmla="*/ 777001 w 4551911"/>
                <a:gd name="connsiteY568" fmla="*/ 178060 h 2721921"/>
                <a:gd name="connsiteX569" fmla="*/ 780726 w 4551911"/>
                <a:gd name="connsiteY569" fmla="*/ 152162 h 2721921"/>
                <a:gd name="connsiteX570" fmla="*/ 804739 w 4551911"/>
                <a:gd name="connsiteY570" fmla="*/ 140046 h 2721921"/>
                <a:gd name="connsiteX571" fmla="*/ 840591 w 4551911"/>
                <a:gd name="connsiteY571" fmla="*/ 118758 h 2721921"/>
                <a:gd name="connsiteX572" fmla="*/ 850925 w 4551911"/>
                <a:gd name="connsiteY572" fmla="*/ 93764 h 2721921"/>
                <a:gd name="connsiteX573" fmla="*/ 811311 w 4551911"/>
                <a:gd name="connsiteY573" fmla="*/ 57121 h 2721921"/>
                <a:gd name="connsiteX574" fmla="*/ 786136 w 4551911"/>
                <a:gd name="connsiteY574" fmla="*/ 84773 h 2721921"/>
                <a:gd name="connsiteX575" fmla="*/ 770801 w 4551911"/>
                <a:gd name="connsiteY575" fmla="*/ 124063 h 2721921"/>
                <a:gd name="connsiteX576" fmla="*/ 765343 w 4551911"/>
                <a:gd name="connsiteY576" fmla="*/ 79781 h 2721921"/>
                <a:gd name="connsiteX577" fmla="*/ 724766 w 4551911"/>
                <a:gd name="connsiteY577" fmla="*/ 81791 h 2721921"/>
                <a:gd name="connsiteX578" fmla="*/ 672626 w 4551911"/>
                <a:gd name="connsiteY578" fmla="*/ 111814 h 2721921"/>
                <a:gd name="connsiteX579" fmla="*/ 732063 w 4551911"/>
                <a:gd name="connsiteY579" fmla="*/ 116776 h 2721921"/>
                <a:gd name="connsiteX580" fmla="*/ 716861 w 4551911"/>
                <a:gd name="connsiteY580" fmla="*/ 166792 h 2721921"/>
                <a:gd name="connsiteX581" fmla="*/ 1967007 w 4551911"/>
                <a:gd name="connsiteY581" fmla="*/ 291055 h 2721921"/>
                <a:gd name="connsiteX582" fmla="*/ 2011327 w 4551911"/>
                <a:gd name="connsiteY582" fmla="*/ 345634 h 2721921"/>
                <a:gd name="connsiteX583" fmla="*/ 2085718 w 4551911"/>
                <a:gd name="connsiteY583" fmla="*/ 385658 h 2721921"/>
                <a:gd name="connsiteX584" fmla="*/ 2143991 w 4551911"/>
                <a:gd name="connsiteY584" fmla="*/ 368484 h 2721921"/>
                <a:gd name="connsiteX585" fmla="*/ 2150574 w 4551911"/>
                <a:gd name="connsiteY585" fmla="*/ 238725 h 2721921"/>
                <a:gd name="connsiteX586" fmla="*/ 2089080 w 4551911"/>
                <a:gd name="connsiteY586" fmla="*/ 85944 h 2721921"/>
                <a:gd name="connsiteX587" fmla="*/ 2037188 w 4551911"/>
                <a:gd name="connsiteY587" fmla="*/ 0 h 2721921"/>
                <a:gd name="connsiteX588" fmla="*/ 1979419 w 4551911"/>
                <a:gd name="connsiteY588" fmla="*/ 39138 h 2721921"/>
                <a:gd name="connsiteX589" fmla="*/ 1910076 w 4551911"/>
                <a:gd name="connsiteY589" fmla="*/ 151857 h 2721921"/>
                <a:gd name="connsiteX590" fmla="*/ 1946510 w 4551911"/>
                <a:gd name="connsiteY590" fmla="*/ 183004 h 2721921"/>
                <a:gd name="connsiteX591" fmla="*/ 1967007 w 4551911"/>
                <a:gd name="connsiteY591" fmla="*/ 291055 h 2721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</a:cxnLst>
              <a:rect l="l" t="t" r="r" b="b"/>
              <a:pathLst>
                <a:path w="4551911" h="2721921">
                  <a:moveTo>
                    <a:pt x="4551912" y="1564386"/>
                  </a:moveTo>
                  <a:lnTo>
                    <a:pt x="4525432" y="1592704"/>
                  </a:lnTo>
                  <a:lnTo>
                    <a:pt x="4481617" y="1599352"/>
                  </a:lnTo>
                  <a:lnTo>
                    <a:pt x="4480951" y="1660912"/>
                  </a:lnTo>
                  <a:lnTo>
                    <a:pt x="4470273" y="1673743"/>
                  </a:lnTo>
                  <a:lnTo>
                    <a:pt x="4445270" y="1671904"/>
                  </a:lnTo>
                  <a:lnTo>
                    <a:pt x="4424905" y="1650340"/>
                  </a:lnTo>
                  <a:lnTo>
                    <a:pt x="4389396" y="1632080"/>
                  </a:lnTo>
                  <a:lnTo>
                    <a:pt x="4383424" y="1604553"/>
                  </a:lnTo>
                  <a:lnTo>
                    <a:pt x="4356297" y="1594056"/>
                  </a:lnTo>
                  <a:lnTo>
                    <a:pt x="4325931" y="1602391"/>
                  </a:lnTo>
                  <a:lnTo>
                    <a:pt x="4311424" y="1579826"/>
                  </a:lnTo>
                  <a:lnTo>
                    <a:pt x="4317225" y="1555518"/>
                  </a:lnTo>
                  <a:lnTo>
                    <a:pt x="4285240" y="1571092"/>
                  </a:lnTo>
                  <a:lnTo>
                    <a:pt x="4297290" y="1601514"/>
                  </a:lnTo>
                  <a:lnTo>
                    <a:pt x="4282135" y="1628499"/>
                  </a:lnTo>
                  <a:lnTo>
                    <a:pt x="4281935" y="1628842"/>
                  </a:lnTo>
                  <a:lnTo>
                    <a:pt x="4247607" y="1656321"/>
                  </a:lnTo>
                  <a:lnTo>
                    <a:pt x="4212993" y="1651768"/>
                  </a:lnTo>
                  <a:lnTo>
                    <a:pt x="4237082" y="1684553"/>
                  </a:lnTo>
                  <a:lnTo>
                    <a:pt x="4252979" y="1734093"/>
                  </a:lnTo>
                  <a:lnTo>
                    <a:pt x="4265314" y="1749981"/>
                  </a:lnTo>
                  <a:lnTo>
                    <a:pt x="4268409" y="1774098"/>
                  </a:lnTo>
                  <a:lnTo>
                    <a:pt x="4261513" y="1789357"/>
                  </a:lnTo>
                  <a:lnTo>
                    <a:pt x="4211736" y="1776813"/>
                  </a:lnTo>
                  <a:lnTo>
                    <a:pt x="4137088" y="1819780"/>
                  </a:lnTo>
                  <a:lnTo>
                    <a:pt x="4113343" y="1826333"/>
                  </a:lnTo>
                  <a:lnTo>
                    <a:pt x="4072480" y="1865347"/>
                  </a:lnTo>
                  <a:lnTo>
                    <a:pt x="4033714" y="1898733"/>
                  </a:lnTo>
                  <a:lnTo>
                    <a:pt x="4023903" y="1923050"/>
                  </a:lnTo>
                  <a:lnTo>
                    <a:pt x="3985698" y="1885902"/>
                  </a:lnTo>
                  <a:lnTo>
                    <a:pt x="3916108" y="1927993"/>
                  </a:lnTo>
                  <a:lnTo>
                    <a:pt x="3903964" y="1908201"/>
                  </a:lnTo>
                  <a:lnTo>
                    <a:pt x="3878237" y="1931003"/>
                  </a:lnTo>
                  <a:lnTo>
                    <a:pt x="3842518" y="1923736"/>
                  </a:lnTo>
                  <a:lnTo>
                    <a:pt x="3833917" y="1958321"/>
                  </a:lnTo>
                  <a:lnTo>
                    <a:pt x="3801875" y="2008022"/>
                  </a:lnTo>
                  <a:lnTo>
                    <a:pt x="3802837" y="2028377"/>
                  </a:lnTo>
                  <a:lnTo>
                    <a:pt x="3833250" y="2039560"/>
                  </a:lnTo>
                  <a:lnTo>
                    <a:pt x="3829669" y="2110597"/>
                  </a:lnTo>
                  <a:lnTo>
                    <a:pt x="3804875" y="2112369"/>
                  </a:lnTo>
                  <a:lnTo>
                    <a:pt x="3793436" y="2151936"/>
                  </a:lnTo>
                  <a:lnTo>
                    <a:pt x="3804552" y="2171976"/>
                  </a:lnTo>
                  <a:lnTo>
                    <a:pt x="3757850" y="2195475"/>
                  </a:lnTo>
                  <a:lnTo>
                    <a:pt x="3748583" y="2246957"/>
                  </a:lnTo>
                  <a:lnTo>
                    <a:pt x="3708759" y="2257768"/>
                  </a:lnTo>
                  <a:lnTo>
                    <a:pt x="3700757" y="2302183"/>
                  </a:lnTo>
                  <a:lnTo>
                    <a:pt x="3662257" y="2342026"/>
                  </a:lnTo>
                  <a:lnTo>
                    <a:pt x="3652389" y="2312642"/>
                  </a:lnTo>
                  <a:lnTo>
                    <a:pt x="3640950" y="2248891"/>
                  </a:lnTo>
                  <a:lnTo>
                    <a:pt x="3626053" y="2147478"/>
                  </a:lnTo>
                  <a:lnTo>
                    <a:pt x="3638893" y="2081241"/>
                  </a:lnTo>
                  <a:lnTo>
                    <a:pt x="3661420" y="2051990"/>
                  </a:lnTo>
                  <a:lnTo>
                    <a:pt x="3662810" y="2028739"/>
                  </a:lnTo>
                  <a:lnTo>
                    <a:pt x="3704311" y="2017500"/>
                  </a:lnTo>
                  <a:lnTo>
                    <a:pt x="3752021" y="1952911"/>
                  </a:lnTo>
                  <a:lnTo>
                    <a:pt x="3797989" y="1898361"/>
                  </a:lnTo>
                  <a:lnTo>
                    <a:pt x="3845995" y="1854832"/>
                  </a:lnTo>
                  <a:lnTo>
                    <a:pt x="3867464" y="1775146"/>
                  </a:lnTo>
                  <a:lnTo>
                    <a:pt x="3835022" y="1780013"/>
                  </a:lnTo>
                  <a:lnTo>
                    <a:pt x="3818972" y="1826895"/>
                  </a:lnTo>
                  <a:lnTo>
                    <a:pt x="3751240" y="1887484"/>
                  </a:lnTo>
                  <a:lnTo>
                    <a:pt x="3729361" y="1819494"/>
                  </a:lnTo>
                  <a:lnTo>
                    <a:pt x="3660419" y="1838535"/>
                  </a:lnTo>
                  <a:lnTo>
                    <a:pt x="3593573" y="1929594"/>
                  </a:lnTo>
                  <a:lnTo>
                    <a:pt x="3615623" y="1961759"/>
                  </a:lnTo>
                  <a:lnTo>
                    <a:pt x="3556016" y="1975275"/>
                  </a:lnTo>
                  <a:lnTo>
                    <a:pt x="3514725" y="1980581"/>
                  </a:lnTo>
                  <a:lnTo>
                    <a:pt x="3516658" y="1942995"/>
                  </a:lnTo>
                  <a:lnTo>
                    <a:pt x="3475148" y="1935004"/>
                  </a:lnTo>
                  <a:lnTo>
                    <a:pt x="3442059" y="1960740"/>
                  </a:lnTo>
                  <a:lnTo>
                    <a:pt x="3360401" y="1951777"/>
                  </a:lnTo>
                  <a:lnTo>
                    <a:pt x="3272552" y="1967208"/>
                  </a:lnTo>
                  <a:lnTo>
                    <a:pt x="3186036" y="2065601"/>
                  </a:lnTo>
                  <a:lnTo>
                    <a:pt x="3083690" y="2177777"/>
                  </a:lnTo>
                  <a:lnTo>
                    <a:pt x="3125762" y="2183587"/>
                  </a:lnTo>
                  <a:lnTo>
                    <a:pt x="3138897" y="2212172"/>
                  </a:lnTo>
                  <a:lnTo>
                    <a:pt x="3164843" y="2222221"/>
                  </a:lnTo>
                  <a:lnTo>
                    <a:pt x="3181931" y="2199570"/>
                  </a:lnTo>
                  <a:lnTo>
                    <a:pt x="3211230" y="2202533"/>
                  </a:lnTo>
                  <a:lnTo>
                    <a:pt x="3249787" y="2251977"/>
                  </a:lnTo>
                  <a:lnTo>
                    <a:pt x="3250692" y="2289353"/>
                  </a:lnTo>
                  <a:lnTo>
                    <a:pt x="3229823" y="2332330"/>
                  </a:lnTo>
                  <a:lnTo>
                    <a:pt x="3227565" y="2382488"/>
                  </a:lnTo>
                  <a:lnTo>
                    <a:pt x="3215516" y="2447716"/>
                  </a:lnTo>
                  <a:lnTo>
                    <a:pt x="3175263" y="2504989"/>
                  </a:lnTo>
                  <a:lnTo>
                    <a:pt x="3166320" y="2531821"/>
                  </a:lnTo>
                  <a:lnTo>
                    <a:pt x="3130067" y="2576227"/>
                  </a:lnTo>
                  <a:lnTo>
                    <a:pt x="3094091" y="2619356"/>
                  </a:lnTo>
                  <a:lnTo>
                    <a:pt x="3076841" y="2641102"/>
                  </a:lnTo>
                  <a:lnTo>
                    <a:pt x="3041256" y="2662485"/>
                  </a:lnTo>
                  <a:lnTo>
                    <a:pt x="3024406" y="2662952"/>
                  </a:lnTo>
                  <a:lnTo>
                    <a:pt x="3007633" y="2645254"/>
                  </a:lnTo>
                  <a:lnTo>
                    <a:pt x="2971781" y="2671848"/>
                  </a:lnTo>
                  <a:lnTo>
                    <a:pt x="2967609" y="2683831"/>
                  </a:lnTo>
                  <a:lnTo>
                    <a:pt x="2963866" y="2677535"/>
                  </a:lnTo>
                  <a:lnTo>
                    <a:pt x="2963704" y="2659161"/>
                  </a:lnTo>
                  <a:lnTo>
                    <a:pt x="2977343" y="2658180"/>
                  </a:lnTo>
                  <a:lnTo>
                    <a:pt x="2981191" y="2614813"/>
                  </a:lnTo>
                  <a:lnTo>
                    <a:pt x="2974152" y="2582828"/>
                  </a:lnTo>
                  <a:lnTo>
                    <a:pt x="2997079" y="2569502"/>
                  </a:lnTo>
                  <a:lnTo>
                    <a:pt x="3029483" y="2576198"/>
                  </a:lnTo>
                  <a:lnTo>
                    <a:pt x="3047447" y="2539165"/>
                  </a:lnTo>
                  <a:lnTo>
                    <a:pt x="3056601" y="2496665"/>
                  </a:lnTo>
                  <a:lnTo>
                    <a:pt x="3066973" y="2482272"/>
                  </a:lnTo>
                  <a:lnTo>
                    <a:pt x="3081013" y="2446449"/>
                  </a:lnTo>
                  <a:lnTo>
                    <a:pt x="3036875" y="2458250"/>
                  </a:lnTo>
                  <a:lnTo>
                    <a:pt x="3013720" y="2473938"/>
                  </a:lnTo>
                  <a:lnTo>
                    <a:pt x="2973133" y="2473890"/>
                  </a:lnTo>
                  <a:lnTo>
                    <a:pt x="2962322" y="2436314"/>
                  </a:lnTo>
                  <a:lnTo>
                    <a:pt x="2930690" y="2407406"/>
                  </a:lnTo>
                  <a:lnTo>
                    <a:pt x="2884208" y="2394271"/>
                  </a:lnTo>
                  <a:lnTo>
                    <a:pt x="2874330" y="2353466"/>
                  </a:lnTo>
                  <a:lnTo>
                    <a:pt x="2865025" y="2327453"/>
                  </a:lnTo>
                  <a:lnTo>
                    <a:pt x="2855014" y="2309003"/>
                  </a:lnTo>
                  <a:lnTo>
                    <a:pt x="2838507" y="2265083"/>
                  </a:lnTo>
                  <a:lnTo>
                    <a:pt x="2815056" y="2248786"/>
                  </a:lnTo>
                  <a:lnTo>
                    <a:pt x="2775089" y="2235508"/>
                  </a:lnTo>
                  <a:lnTo>
                    <a:pt x="2739675" y="2236718"/>
                  </a:lnTo>
                  <a:lnTo>
                    <a:pt x="2706491" y="2244766"/>
                  </a:lnTo>
                  <a:lnTo>
                    <a:pt x="2684440" y="2266798"/>
                  </a:lnTo>
                  <a:lnTo>
                    <a:pt x="2699089" y="2277227"/>
                  </a:lnTo>
                  <a:lnTo>
                    <a:pt x="2699423" y="2301250"/>
                  </a:lnTo>
                  <a:lnTo>
                    <a:pt x="2684564" y="2315061"/>
                  </a:lnTo>
                  <a:lnTo>
                    <a:pt x="2660456" y="2360067"/>
                  </a:lnTo>
                  <a:lnTo>
                    <a:pt x="2660704" y="2378440"/>
                  </a:lnTo>
                  <a:lnTo>
                    <a:pt x="2623061" y="2404529"/>
                  </a:lnTo>
                  <a:lnTo>
                    <a:pt x="2591009" y="2388984"/>
                  </a:lnTo>
                  <a:lnTo>
                    <a:pt x="2559139" y="2392423"/>
                  </a:lnTo>
                  <a:lnTo>
                    <a:pt x="2545156" y="2378545"/>
                  </a:lnTo>
                  <a:lnTo>
                    <a:pt x="2529135" y="2374049"/>
                  </a:lnTo>
                  <a:lnTo>
                    <a:pt x="2490025" y="2403186"/>
                  </a:lnTo>
                  <a:lnTo>
                    <a:pt x="2454868" y="2409968"/>
                  </a:lnTo>
                  <a:lnTo>
                    <a:pt x="2430323" y="2420084"/>
                  </a:lnTo>
                  <a:lnTo>
                    <a:pt x="2396681" y="2413445"/>
                  </a:lnTo>
                  <a:lnTo>
                    <a:pt x="2371915" y="2413873"/>
                  </a:lnTo>
                  <a:lnTo>
                    <a:pt x="2355704" y="2392890"/>
                  </a:lnTo>
                  <a:lnTo>
                    <a:pt x="2329548" y="2372963"/>
                  </a:lnTo>
                  <a:lnTo>
                    <a:pt x="2302783" y="2367467"/>
                  </a:lnTo>
                  <a:lnTo>
                    <a:pt x="2268998" y="2372925"/>
                  </a:lnTo>
                  <a:lnTo>
                    <a:pt x="2243756" y="2380631"/>
                  </a:lnTo>
                  <a:lnTo>
                    <a:pt x="2205818" y="2363095"/>
                  </a:lnTo>
                  <a:lnTo>
                    <a:pt x="2200732" y="2331454"/>
                  </a:lnTo>
                  <a:lnTo>
                    <a:pt x="2169328" y="2320490"/>
                  </a:lnTo>
                  <a:lnTo>
                    <a:pt x="2145087" y="2315470"/>
                  </a:lnTo>
                  <a:lnTo>
                    <a:pt x="2115169" y="2297649"/>
                  </a:lnTo>
                  <a:lnTo>
                    <a:pt x="2087508" y="2342026"/>
                  </a:lnTo>
                  <a:lnTo>
                    <a:pt x="2098358" y="2366791"/>
                  </a:lnTo>
                  <a:lnTo>
                    <a:pt x="2072392" y="2395690"/>
                  </a:lnTo>
                  <a:lnTo>
                    <a:pt x="2033778" y="2385308"/>
                  </a:lnTo>
                  <a:lnTo>
                    <a:pt x="2007117" y="2383822"/>
                  </a:lnTo>
                  <a:lnTo>
                    <a:pt x="1989268" y="2364372"/>
                  </a:lnTo>
                  <a:lnTo>
                    <a:pt x="1961407" y="2363753"/>
                  </a:lnTo>
                  <a:lnTo>
                    <a:pt x="1938185" y="2350856"/>
                  </a:lnTo>
                  <a:lnTo>
                    <a:pt x="1897561" y="2370582"/>
                  </a:lnTo>
                  <a:lnTo>
                    <a:pt x="1846602" y="2406196"/>
                  </a:lnTo>
                  <a:lnTo>
                    <a:pt x="1818446" y="2413283"/>
                  </a:lnTo>
                  <a:lnTo>
                    <a:pt x="1807987" y="2416636"/>
                  </a:lnTo>
                  <a:lnTo>
                    <a:pt x="1793824" y="2391547"/>
                  </a:lnTo>
                  <a:lnTo>
                    <a:pt x="1759419" y="2397062"/>
                  </a:lnTo>
                  <a:lnTo>
                    <a:pt x="1748056" y="2379507"/>
                  </a:lnTo>
                  <a:lnTo>
                    <a:pt x="1729388" y="2371430"/>
                  </a:lnTo>
                  <a:lnTo>
                    <a:pt x="1716528" y="2347189"/>
                  </a:lnTo>
                  <a:lnTo>
                    <a:pt x="1701784" y="2339578"/>
                  </a:lnTo>
                  <a:lnTo>
                    <a:pt x="1663408" y="2350437"/>
                  </a:lnTo>
                  <a:lnTo>
                    <a:pt x="1626622" y="2326005"/>
                  </a:lnTo>
                  <a:lnTo>
                    <a:pt x="1612392" y="2348227"/>
                  </a:lnTo>
                  <a:lnTo>
                    <a:pt x="1552708" y="2237966"/>
                  </a:lnTo>
                  <a:lnTo>
                    <a:pt x="1518637" y="2203114"/>
                  </a:lnTo>
                  <a:lnTo>
                    <a:pt x="1528400" y="2188788"/>
                  </a:lnTo>
                  <a:lnTo>
                    <a:pt x="1461478" y="2231593"/>
                  </a:lnTo>
                  <a:lnTo>
                    <a:pt x="1435865" y="2234146"/>
                  </a:lnTo>
                  <a:lnTo>
                    <a:pt x="1438074" y="2209543"/>
                  </a:lnTo>
                  <a:lnTo>
                    <a:pt x="1403766" y="2194008"/>
                  </a:lnTo>
                  <a:lnTo>
                    <a:pt x="1375886" y="2205114"/>
                  </a:lnTo>
                  <a:lnTo>
                    <a:pt x="1367475" y="2157375"/>
                  </a:lnTo>
                  <a:lnTo>
                    <a:pt x="1319479" y="2147287"/>
                  </a:lnTo>
                  <a:lnTo>
                    <a:pt x="1295466" y="2166652"/>
                  </a:lnTo>
                  <a:lnTo>
                    <a:pt x="1228639" y="2183711"/>
                  </a:lnTo>
                  <a:lnTo>
                    <a:pt x="1215599" y="2195036"/>
                  </a:lnTo>
                  <a:lnTo>
                    <a:pt x="1115663" y="2210877"/>
                  </a:lnTo>
                  <a:lnTo>
                    <a:pt x="1103423" y="2226288"/>
                  </a:lnTo>
                  <a:lnTo>
                    <a:pt x="1122702" y="2256844"/>
                  </a:lnTo>
                  <a:lnTo>
                    <a:pt x="1097061" y="2268312"/>
                  </a:lnTo>
                  <a:lnTo>
                    <a:pt x="1102061" y="2280257"/>
                  </a:lnTo>
                  <a:lnTo>
                    <a:pt x="1076430" y="2301431"/>
                  </a:lnTo>
                  <a:lnTo>
                    <a:pt x="1119711" y="2330939"/>
                  </a:lnTo>
                  <a:lnTo>
                    <a:pt x="1113025" y="2350999"/>
                  </a:lnTo>
                  <a:lnTo>
                    <a:pt x="1075515" y="2349179"/>
                  </a:lnTo>
                  <a:lnTo>
                    <a:pt x="1067762" y="2361657"/>
                  </a:lnTo>
                  <a:lnTo>
                    <a:pt x="1033605" y="2339816"/>
                  </a:lnTo>
                  <a:lnTo>
                    <a:pt x="991266" y="2340664"/>
                  </a:lnTo>
                  <a:lnTo>
                    <a:pt x="962920" y="2358457"/>
                  </a:lnTo>
                  <a:lnTo>
                    <a:pt x="931307" y="2341397"/>
                  </a:lnTo>
                  <a:lnTo>
                    <a:pt x="872433" y="2311851"/>
                  </a:lnTo>
                  <a:lnTo>
                    <a:pt x="830713" y="2312965"/>
                  </a:lnTo>
                  <a:lnTo>
                    <a:pt x="775582" y="2359152"/>
                  </a:lnTo>
                  <a:lnTo>
                    <a:pt x="772258" y="2389565"/>
                  </a:lnTo>
                  <a:lnTo>
                    <a:pt x="744798" y="2365448"/>
                  </a:lnTo>
                  <a:lnTo>
                    <a:pt x="723490" y="2410882"/>
                  </a:lnTo>
                  <a:lnTo>
                    <a:pt x="731291" y="2419207"/>
                  </a:lnTo>
                  <a:lnTo>
                    <a:pt x="715880" y="2449830"/>
                  </a:lnTo>
                  <a:lnTo>
                    <a:pt x="738549" y="2476853"/>
                  </a:lnTo>
                  <a:lnTo>
                    <a:pt x="758371" y="2475748"/>
                  </a:lnTo>
                  <a:lnTo>
                    <a:pt x="775392" y="2502037"/>
                  </a:lnTo>
                  <a:lnTo>
                    <a:pt x="772687" y="2522058"/>
                  </a:lnTo>
                  <a:lnTo>
                    <a:pt x="786250" y="2528307"/>
                  </a:lnTo>
                  <a:lnTo>
                    <a:pt x="774077" y="2551081"/>
                  </a:lnTo>
                  <a:lnTo>
                    <a:pt x="748189" y="2557367"/>
                  </a:lnTo>
                  <a:lnTo>
                    <a:pt x="721643" y="2596306"/>
                  </a:lnTo>
                  <a:lnTo>
                    <a:pt x="745912" y="2631500"/>
                  </a:lnTo>
                  <a:lnTo>
                    <a:pt x="743283" y="2656132"/>
                  </a:lnTo>
                  <a:lnTo>
                    <a:pt x="772449" y="2698576"/>
                  </a:lnTo>
                  <a:lnTo>
                    <a:pt x="756504" y="2712920"/>
                  </a:lnTo>
                  <a:lnTo>
                    <a:pt x="751922" y="2721921"/>
                  </a:lnTo>
                  <a:lnTo>
                    <a:pt x="740102" y="2719512"/>
                  </a:lnTo>
                  <a:lnTo>
                    <a:pt x="721747" y="2697928"/>
                  </a:lnTo>
                  <a:lnTo>
                    <a:pt x="714241" y="2696728"/>
                  </a:lnTo>
                  <a:lnTo>
                    <a:pt x="697449" y="2688431"/>
                  </a:lnTo>
                  <a:lnTo>
                    <a:pt x="689277" y="2673668"/>
                  </a:lnTo>
                  <a:lnTo>
                    <a:pt x="664369" y="2666105"/>
                  </a:lnTo>
                  <a:lnTo>
                    <a:pt x="648176" y="2671791"/>
                  </a:lnTo>
                  <a:lnTo>
                    <a:pt x="643499" y="2665067"/>
                  </a:lnTo>
                  <a:lnTo>
                    <a:pt x="607133" y="2647626"/>
                  </a:lnTo>
                  <a:lnTo>
                    <a:pt x="567814" y="2641702"/>
                  </a:lnTo>
                  <a:lnTo>
                    <a:pt x="545239" y="2635434"/>
                  </a:lnTo>
                  <a:lnTo>
                    <a:pt x="541982" y="2639768"/>
                  </a:lnTo>
                  <a:lnTo>
                    <a:pt x="507930" y="2608583"/>
                  </a:lnTo>
                  <a:lnTo>
                    <a:pt x="477459" y="2594515"/>
                  </a:lnTo>
                  <a:lnTo>
                    <a:pt x="454390" y="2572426"/>
                  </a:lnTo>
                  <a:lnTo>
                    <a:pt x="473830" y="2566369"/>
                  </a:lnTo>
                  <a:lnTo>
                    <a:pt x="495995" y="2534422"/>
                  </a:lnTo>
                  <a:lnTo>
                    <a:pt x="481060" y="2519134"/>
                  </a:lnTo>
                  <a:lnTo>
                    <a:pt x="520417" y="2503256"/>
                  </a:lnTo>
                  <a:lnTo>
                    <a:pt x="519712" y="2494693"/>
                  </a:lnTo>
                  <a:lnTo>
                    <a:pt x="495738" y="2501008"/>
                  </a:lnTo>
                  <a:lnTo>
                    <a:pt x="496576" y="2483558"/>
                  </a:lnTo>
                  <a:lnTo>
                    <a:pt x="510340" y="2472519"/>
                  </a:lnTo>
                  <a:lnTo>
                    <a:pt x="536181" y="2469604"/>
                  </a:lnTo>
                  <a:lnTo>
                    <a:pt x="540382" y="2456317"/>
                  </a:lnTo>
                  <a:lnTo>
                    <a:pt x="534476" y="2434152"/>
                  </a:lnTo>
                  <a:lnTo>
                    <a:pt x="545325" y="2412883"/>
                  </a:lnTo>
                  <a:lnTo>
                    <a:pt x="545011" y="2400852"/>
                  </a:lnTo>
                  <a:lnTo>
                    <a:pt x="505644" y="2387432"/>
                  </a:lnTo>
                  <a:lnTo>
                    <a:pt x="490032" y="2387879"/>
                  </a:lnTo>
                  <a:lnTo>
                    <a:pt x="473554" y="2368420"/>
                  </a:lnTo>
                  <a:lnTo>
                    <a:pt x="453066" y="2375021"/>
                  </a:lnTo>
                  <a:lnTo>
                    <a:pt x="419147" y="2360333"/>
                  </a:lnTo>
                  <a:lnTo>
                    <a:pt x="419728" y="2352066"/>
                  </a:lnTo>
                  <a:lnTo>
                    <a:pt x="410232" y="2333720"/>
                  </a:lnTo>
                  <a:lnTo>
                    <a:pt x="388934" y="2331663"/>
                  </a:lnTo>
                  <a:lnTo>
                    <a:pt x="386724" y="2318404"/>
                  </a:lnTo>
                  <a:lnTo>
                    <a:pt x="393392" y="2309708"/>
                  </a:lnTo>
                  <a:lnTo>
                    <a:pt x="376323" y="2285181"/>
                  </a:lnTo>
                  <a:lnTo>
                    <a:pt x="348634" y="2289391"/>
                  </a:lnTo>
                  <a:lnTo>
                    <a:pt x="340519" y="2287210"/>
                  </a:lnTo>
                  <a:lnTo>
                    <a:pt x="333775" y="2297087"/>
                  </a:lnTo>
                  <a:lnTo>
                    <a:pt x="323802" y="2295335"/>
                  </a:lnTo>
                  <a:lnTo>
                    <a:pt x="317239" y="2267360"/>
                  </a:lnTo>
                  <a:lnTo>
                    <a:pt x="310972" y="2252691"/>
                  </a:lnTo>
                  <a:lnTo>
                    <a:pt x="316116" y="2248548"/>
                  </a:lnTo>
                  <a:lnTo>
                    <a:pt x="337661" y="2250091"/>
                  </a:lnTo>
                  <a:lnTo>
                    <a:pt x="348053" y="2240356"/>
                  </a:lnTo>
                  <a:lnTo>
                    <a:pt x="340357" y="2228421"/>
                  </a:lnTo>
                  <a:lnTo>
                    <a:pt x="322345" y="2220497"/>
                  </a:lnTo>
                  <a:lnTo>
                    <a:pt x="323955" y="2212334"/>
                  </a:lnTo>
                  <a:lnTo>
                    <a:pt x="313087" y="2204047"/>
                  </a:lnTo>
                  <a:lnTo>
                    <a:pt x="296342" y="2174015"/>
                  </a:lnTo>
                  <a:lnTo>
                    <a:pt x="302066" y="2161499"/>
                  </a:lnTo>
                  <a:lnTo>
                    <a:pt x="299456" y="2139515"/>
                  </a:lnTo>
                  <a:lnTo>
                    <a:pt x="273348" y="2128247"/>
                  </a:lnTo>
                  <a:lnTo>
                    <a:pt x="259337" y="2133896"/>
                  </a:lnTo>
                  <a:lnTo>
                    <a:pt x="255546" y="2122122"/>
                  </a:lnTo>
                  <a:lnTo>
                    <a:pt x="227428" y="2110159"/>
                  </a:lnTo>
                  <a:lnTo>
                    <a:pt x="218846" y="2081689"/>
                  </a:lnTo>
                  <a:lnTo>
                    <a:pt x="216570" y="2057952"/>
                  </a:lnTo>
                  <a:lnTo>
                    <a:pt x="203702" y="2046580"/>
                  </a:lnTo>
                  <a:lnTo>
                    <a:pt x="215141" y="2030778"/>
                  </a:lnTo>
                  <a:lnTo>
                    <a:pt x="207216" y="1983515"/>
                  </a:lnTo>
                  <a:lnTo>
                    <a:pt x="226219" y="1953673"/>
                  </a:lnTo>
                  <a:lnTo>
                    <a:pt x="222199" y="1944538"/>
                  </a:lnTo>
                  <a:lnTo>
                    <a:pt x="252555" y="1915287"/>
                  </a:lnTo>
                  <a:lnTo>
                    <a:pt x="224571" y="1889722"/>
                  </a:lnTo>
                  <a:lnTo>
                    <a:pt x="281749" y="1819189"/>
                  </a:lnTo>
                  <a:lnTo>
                    <a:pt x="306552" y="1786300"/>
                  </a:lnTo>
                  <a:lnTo>
                    <a:pt x="316601" y="1756734"/>
                  </a:lnTo>
                  <a:lnTo>
                    <a:pt x="277073" y="1716196"/>
                  </a:lnTo>
                  <a:lnTo>
                    <a:pt x="287988" y="1676714"/>
                  </a:lnTo>
                  <a:lnTo>
                    <a:pt x="263947" y="1630480"/>
                  </a:lnTo>
                  <a:lnTo>
                    <a:pt x="281930" y="1575578"/>
                  </a:lnTo>
                  <a:lnTo>
                    <a:pt x="250869" y="1499788"/>
                  </a:lnTo>
                  <a:lnTo>
                    <a:pt x="275511" y="1447610"/>
                  </a:lnTo>
                  <a:lnTo>
                    <a:pt x="234610" y="1400080"/>
                  </a:lnTo>
                  <a:lnTo>
                    <a:pt x="238506" y="1348607"/>
                  </a:lnTo>
                  <a:lnTo>
                    <a:pt x="260080" y="1341711"/>
                  </a:lnTo>
                  <a:lnTo>
                    <a:pt x="305524" y="1311345"/>
                  </a:lnTo>
                  <a:lnTo>
                    <a:pt x="333080" y="1284551"/>
                  </a:lnTo>
                  <a:lnTo>
                    <a:pt x="376951" y="1330843"/>
                  </a:lnTo>
                  <a:lnTo>
                    <a:pt x="450085" y="1348711"/>
                  </a:lnTo>
                  <a:lnTo>
                    <a:pt x="550993" y="1431065"/>
                  </a:lnTo>
                  <a:lnTo>
                    <a:pt x="571490" y="1464478"/>
                  </a:lnTo>
                  <a:lnTo>
                    <a:pt x="573252" y="1510160"/>
                  </a:lnTo>
                  <a:lnTo>
                    <a:pt x="543601" y="1545355"/>
                  </a:lnTo>
                  <a:lnTo>
                    <a:pt x="499996" y="1562938"/>
                  </a:lnTo>
                  <a:lnTo>
                    <a:pt x="380771" y="1512332"/>
                  </a:lnTo>
                  <a:lnTo>
                    <a:pt x="361159" y="1520904"/>
                  </a:lnTo>
                  <a:lnTo>
                    <a:pt x="404698" y="1569453"/>
                  </a:lnTo>
                  <a:lnTo>
                    <a:pt x="406403" y="1599495"/>
                  </a:lnTo>
                  <a:lnTo>
                    <a:pt x="408146" y="1663817"/>
                  </a:lnTo>
                  <a:lnTo>
                    <a:pt x="442531" y="1682544"/>
                  </a:lnTo>
                  <a:lnTo>
                    <a:pt x="463401" y="1698327"/>
                  </a:lnTo>
                  <a:lnTo>
                    <a:pt x="466849" y="1668732"/>
                  </a:lnTo>
                  <a:lnTo>
                    <a:pt x="450761" y="1642053"/>
                  </a:lnTo>
                  <a:lnTo>
                    <a:pt x="467763" y="1618193"/>
                  </a:lnTo>
                  <a:lnTo>
                    <a:pt x="532323" y="1657236"/>
                  </a:lnTo>
                  <a:lnTo>
                    <a:pt x="554812" y="1642062"/>
                  </a:lnTo>
                  <a:lnTo>
                    <a:pt x="536838" y="1595609"/>
                  </a:lnTo>
                  <a:lnTo>
                    <a:pt x="599084" y="1531391"/>
                  </a:lnTo>
                  <a:lnTo>
                    <a:pt x="623735" y="1535240"/>
                  </a:lnTo>
                  <a:lnTo>
                    <a:pt x="648671" y="1558385"/>
                  </a:lnTo>
                  <a:lnTo>
                    <a:pt x="664226" y="1512561"/>
                  </a:lnTo>
                  <a:lnTo>
                    <a:pt x="641956" y="1471765"/>
                  </a:lnTo>
                  <a:lnTo>
                    <a:pt x="655034" y="1429798"/>
                  </a:lnTo>
                  <a:lnTo>
                    <a:pt x="635403" y="1385107"/>
                  </a:lnTo>
                  <a:lnTo>
                    <a:pt x="710108" y="1408366"/>
                  </a:lnTo>
                  <a:lnTo>
                    <a:pt x="725367" y="1448210"/>
                  </a:lnTo>
                  <a:lnTo>
                    <a:pt x="691553" y="1456858"/>
                  </a:lnTo>
                  <a:lnTo>
                    <a:pt x="691734" y="1495320"/>
                  </a:lnTo>
                  <a:lnTo>
                    <a:pt x="712755" y="1518542"/>
                  </a:lnTo>
                  <a:lnTo>
                    <a:pt x="754018" y="1503864"/>
                  </a:lnTo>
                  <a:lnTo>
                    <a:pt x="760552" y="1459944"/>
                  </a:lnTo>
                  <a:lnTo>
                    <a:pt x="816340" y="1426369"/>
                  </a:lnTo>
                  <a:lnTo>
                    <a:pt x="909542" y="1364047"/>
                  </a:lnTo>
                  <a:lnTo>
                    <a:pt x="929678" y="1367685"/>
                  </a:lnTo>
                  <a:lnTo>
                    <a:pt x="903351" y="1411881"/>
                  </a:lnTo>
                  <a:lnTo>
                    <a:pt x="936479" y="1419358"/>
                  </a:lnTo>
                  <a:lnTo>
                    <a:pt x="955614" y="1394746"/>
                  </a:lnTo>
                  <a:lnTo>
                    <a:pt x="1005668" y="1392736"/>
                  </a:lnTo>
                  <a:lnTo>
                    <a:pt x="1045330" y="1362323"/>
                  </a:lnTo>
                  <a:lnTo>
                    <a:pt x="1075763" y="1406338"/>
                  </a:lnTo>
                  <a:lnTo>
                    <a:pt x="1106109" y="1357884"/>
                  </a:lnTo>
                  <a:lnTo>
                    <a:pt x="1078125" y="1314288"/>
                  </a:lnTo>
                  <a:lnTo>
                    <a:pt x="1092012" y="1288923"/>
                  </a:lnTo>
                  <a:lnTo>
                    <a:pt x="1170898" y="1312193"/>
                  </a:lnTo>
                  <a:lnTo>
                    <a:pt x="1207865" y="1335891"/>
                  </a:lnTo>
                  <a:lnTo>
                    <a:pt x="1304648" y="1419701"/>
                  </a:lnTo>
                  <a:lnTo>
                    <a:pt x="1322508" y="1381839"/>
                  </a:lnTo>
                  <a:lnTo>
                    <a:pt x="1295362" y="1342682"/>
                  </a:lnTo>
                  <a:lnTo>
                    <a:pt x="1294581" y="1326709"/>
                  </a:lnTo>
                  <a:lnTo>
                    <a:pt x="1262396" y="1319260"/>
                  </a:lnTo>
                  <a:lnTo>
                    <a:pt x="1271206" y="1282808"/>
                  </a:lnTo>
                  <a:lnTo>
                    <a:pt x="1256919" y="1220981"/>
                  </a:lnTo>
                  <a:lnTo>
                    <a:pt x="1256109" y="1194911"/>
                  </a:lnTo>
                  <a:lnTo>
                    <a:pt x="1305401" y="1118807"/>
                  </a:lnTo>
                  <a:lnTo>
                    <a:pt x="1322927" y="1038615"/>
                  </a:lnTo>
                  <a:lnTo>
                    <a:pt x="1342787" y="1020728"/>
                  </a:lnTo>
                  <a:lnTo>
                    <a:pt x="1413491" y="1044673"/>
                  </a:lnTo>
                  <a:lnTo>
                    <a:pt x="1419063" y="1094041"/>
                  </a:lnTo>
                  <a:lnTo>
                    <a:pt x="1393745" y="1163412"/>
                  </a:lnTo>
                  <a:lnTo>
                    <a:pt x="1410357" y="1189882"/>
                  </a:lnTo>
                  <a:lnTo>
                    <a:pt x="1418948" y="1246441"/>
                  </a:lnTo>
                  <a:lnTo>
                    <a:pt x="1412881" y="1351912"/>
                  </a:lnTo>
                  <a:lnTo>
                    <a:pt x="1442342" y="1396965"/>
                  </a:lnTo>
                  <a:lnTo>
                    <a:pt x="1430884" y="1444666"/>
                  </a:lnTo>
                  <a:lnTo>
                    <a:pt x="1378572" y="1541802"/>
                  </a:lnTo>
                  <a:lnTo>
                    <a:pt x="1409100" y="1551556"/>
                  </a:lnTo>
                  <a:lnTo>
                    <a:pt x="1419720" y="1527610"/>
                  </a:lnTo>
                  <a:lnTo>
                    <a:pt x="1449105" y="1510322"/>
                  </a:lnTo>
                  <a:lnTo>
                    <a:pt x="1456191" y="1476480"/>
                  </a:lnTo>
                  <a:lnTo>
                    <a:pt x="1479309" y="1443247"/>
                  </a:lnTo>
                  <a:lnTo>
                    <a:pt x="1463744" y="1402671"/>
                  </a:lnTo>
                  <a:lnTo>
                    <a:pt x="1476213" y="1354255"/>
                  </a:lnTo>
                  <a:lnTo>
                    <a:pt x="1447009" y="1348121"/>
                  </a:lnTo>
                  <a:lnTo>
                    <a:pt x="1440589" y="1306039"/>
                  </a:lnTo>
                  <a:lnTo>
                    <a:pt x="1461897" y="1227192"/>
                  </a:lnTo>
                  <a:lnTo>
                    <a:pt x="1427207" y="1160202"/>
                  </a:lnTo>
                  <a:lnTo>
                    <a:pt x="1475003" y="1102652"/>
                  </a:lnTo>
                  <a:lnTo>
                    <a:pt x="1468831" y="1039606"/>
                  </a:lnTo>
                  <a:lnTo>
                    <a:pt x="1482147" y="1037549"/>
                  </a:lnTo>
                  <a:lnTo>
                    <a:pt x="1496177" y="1086974"/>
                  </a:lnTo>
                  <a:lnTo>
                    <a:pt x="1485652" y="1169527"/>
                  </a:lnTo>
                  <a:lnTo>
                    <a:pt x="1514227" y="1184691"/>
                  </a:lnTo>
                  <a:lnTo>
                    <a:pt x="1502054" y="1123988"/>
                  </a:lnTo>
                  <a:lnTo>
                    <a:pt x="1546746" y="1089898"/>
                  </a:lnTo>
                  <a:lnTo>
                    <a:pt x="1602171" y="1085250"/>
                  </a:lnTo>
                  <a:lnTo>
                    <a:pt x="1651521" y="1134589"/>
                  </a:lnTo>
                  <a:lnTo>
                    <a:pt x="1627775" y="1061990"/>
                  </a:lnTo>
                  <a:lnTo>
                    <a:pt x="1625117" y="964054"/>
                  </a:lnTo>
                  <a:lnTo>
                    <a:pt x="1671561" y="944804"/>
                  </a:lnTo>
                  <a:lnTo>
                    <a:pt x="1735798" y="949033"/>
                  </a:lnTo>
                  <a:lnTo>
                    <a:pt x="1793662" y="936450"/>
                  </a:lnTo>
                  <a:lnTo>
                    <a:pt x="1771964" y="885196"/>
                  </a:lnTo>
                  <a:lnTo>
                    <a:pt x="1802873" y="818369"/>
                  </a:lnTo>
                  <a:lnTo>
                    <a:pt x="1833553" y="815512"/>
                  </a:lnTo>
                  <a:lnTo>
                    <a:pt x="1885483" y="763000"/>
                  </a:lnTo>
                  <a:lnTo>
                    <a:pt x="1955996" y="748579"/>
                  </a:lnTo>
                  <a:lnTo>
                    <a:pt x="1964912" y="718547"/>
                  </a:lnTo>
                  <a:lnTo>
                    <a:pt x="2035035" y="708241"/>
                  </a:lnTo>
                  <a:lnTo>
                    <a:pt x="2056886" y="733063"/>
                  </a:lnTo>
                  <a:lnTo>
                    <a:pt x="2116826" y="673656"/>
                  </a:lnTo>
                  <a:lnTo>
                    <a:pt x="2165889" y="675551"/>
                  </a:lnTo>
                  <a:lnTo>
                    <a:pt x="2173243" y="625659"/>
                  </a:lnTo>
                  <a:lnTo>
                    <a:pt x="2198770" y="574853"/>
                  </a:lnTo>
                  <a:lnTo>
                    <a:pt x="2261816" y="524256"/>
                  </a:lnTo>
                  <a:lnTo>
                    <a:pt x="2307621" y="564337"/>
                  </a:lnTo>
                  <a:lnTo>
                    <a:pt x="2271255" y="594160"/>
                  </a:lnTo>
                  <a:lnTo>
                    <a:pt x="2331758" y="612419"/>
                  </a:lnTo>
                  <a:lnTo>
                    <a:pt x="2338968" y="669893"/>
                  </a:lnTo>
                  <a:lnTo>
                    <a:pt x="2363372" y="641861"/>
                  </a:lnTo>
                  <a:lnTo>
                    <a:pt x="2441448" y="643414"/>
                  </a:lnTo>
                  <a:lnTo>
                    <a:pt x="2501646" y="699068"/>
                  </a:lnTo>
                  <a:lnTo>
                    <a:pt x="2523087" y="740512"/>
                  </a:lnTo>
                  <a:lnTo>
                    <a:pt x="2516438" y="796271"/>
                  </a:lnTo>
                  <a:lnTo>
                    <a:pt x="2486891" y="827151"/>
                  </a:lnTo>
                  <a:lnTo>
                    <a:pt x="2416711" y="883510"/>
                  </a:lnTo>
                  <a:lnTo>
                    <a:pt x="2396652" y="912838"/>
                  </a:lnTo>
                  <a:lnTo>
                    <a:pt x="2429770" y="926487"/>
                  </a:lnTo>
                  <a:lnTo>
                    <a:pt x="2469280" y="950795"/>
                  </a:lnTo>
                  <a:lnTo>
                    <a:pt x="2493311" y="932602"/>
                  </a:lnTo>
                  <a:lnTo>
                    <a:pt x="2506942" y="993496"/>
                  </a:lnTo>
                  <a:lnTo>
                    <a:pt x="2518667" y="969121"/>
                  </a:lnTo>
                  <a:lnTo>
                    <a:pt x="2561368" y="954119"/>
                  </a:lnTo>
                  <a:lnTo>
                    <a:pt x="2647054" y="969797"/>
                  </a:lnTo>
                  <a:lnTo>
                    <a:pt x="2653570" y="1013384"/>
                  </a:lnTo>
                  <a:lnTo>
                    <a:pt x="2765221" y="1027005"/>
                  </a:lnTo>
                  <a:lnTo>
                    <a:pt x="2766746" y="955824"/>
                  </a:lnTo>
                  <a:lnTo>
                    <a:pt x="2823420" y="972417"/>
                  </a:lnTo>
                  <a:lnTo>
                    <a:pt x="2866063" y="971902"/>
                  </a:lnTo>
                  <a:lnTo>
                    <a:pt x="2909182" y="1020842"/>
                  </a:lnTo>
                  <a:lnTo>
                    <a:pt x="2921479" y="1078354"/>
                  </a:lnTo>
                  <a:lnTo>
                    <a:pt x="2905677" y="1114892"/>
                  </a:lnTo>
                  <a:lnTo>
                    <a:pt x="2939215" y="1181395"/>
                  </a:lnTo>
                  <a:lnTo>
                    <a:pt x="2981220" y="1214666"/>
                  </a:lnTo>
                  <a:lnTo>
                    <a:pt x="3006985" y="1127246"/>
                  </a:lnTo>
                  <a:lnTo>
                    <a:pt x="3049829" y="1165308"/>
                  </a:lnTo>
                  <a:lnTo>
                    <a:pt x="3095339" y="1142676"/>
                  </a:lnTo>
                  <a:lnTo>
                    <a:pt x="3147031" y="1168546"/>
                  </a:lnTo>
                  <a:lnTo>
                    <a:pt x="3166700" y="1144972"/>
                  </a:lnTo>
                  <a:lnTo>
                    <a:pt x="3210391" y="1156802"/>
                  </a:lnTo>
                  <a:lnTo>
                    <a:pt x="3191113" y="1076811"/>
                  </a:lnTo>
                  <a:lnTo>
                    <a:pt x="3226375" y="1038073"/>
                  </a:lnTo>
                  <a:lnTo>
                    <a:pt x="3467576" y="1095804"/>
                  </a:lnTo>
                  <a:lnTo>
                    <a:pt x="3490312" y="1146810"/>
                  </a:lnTo>
                  <a:lnTo>
                    <a:pt x="3560226" y="1210180"/>
                  </a:lnTo>
                  <a:lnTo>
                    <a:pt x="3668068" y="1194721"/>
                  </a:lnTo>
                  <a:lnTo>
                    <a:pt x="3721236" y="1208189"/>
                  </a:lnTo>
                  <a:lnTo>
                    <a:pt x="3743468" y="1241508"/>
                  </a:lnTo>
                  <a:lnTo>
                    <a:pt x="3740220" y="1298810"/>
                  </a:lnTo>
                  <a:lnTo>
                    <a:pt x="3773119" y="1320584"/>
                  </a:lnTo>
                  <a:lnTo>
                    <a:pt x="3808866" y="1304954"/>
                  </a:lnTo>
                  <a:lnTo>
                    <a:pt x="3856234" y="1302944"/>
                  </a:lnTo>
                  <a:lnTo>
                    <a:pt x="3906650" y="1317946"/>
                  </a:lnTo>
                  <a:lnTo>
                    <a:pt x="3957266" y="1309497"/>
                  </a:lnTo>
                  <a:lnTo>
                    <a:pt x="4003786" y="1376115"/>
                  </a:lnTo>
                  <a:lnTo>
                    <a:pt x="4036885" y="1352464"/>
                  </a:lnTo>
                  <a:lnTo>
                    <a:pt x="4015283" y="1304134"/>
                  </a:lnTo>
                  <a:lnTo>
                    <a:pt x="4027179" y="1269673"/>
                  </a:lnTo>
                  <a:lnTo>
                    <a:pt x="4112381" y="1291447"/>
                  </a:lnTo>
                  <a:lnTo>
                    <a:pt x="4167930" y="1286818"/>
                  </a:lnTo>
                  <a:lnTo>
                    <a:pt x="4244740" y="1323423"/>
                  </a:lnTo>
                  <a:lnTo>
                    <a:pt x="4282126" y="1356189"/>
                  </a:lnTo>
                  <a:lnTo>
                    <a:pt x="4347553" y="1411986"/>
                  </a:lnTo>
                  <a:lnTo>
                    <a:pt x="4417581" y="1481909"/>
                  </a:lnTo>
                  <a:lnTo>
                    <a:pt x="4415285" y="1524171"/>
                  </a:lnTo>
                  <a:lnTo>
                    <a:pt x="4433297" y="1540793"/>
                  </a:lnTo>
                  <a:lnTo>
                    <a:pt x="4427106" y="1491777"/>
                  </a:lnTo>
                  <a:lnTo>
                    <a:pt x="4499620" y="1501950"/>
                  </a:lnTo>
                  <a:lnTo>
                    <a:pt x="4551912" y="1564386"/>
                  </a:lnTo>
                  <a:close/>
                  <a:moveTo>
                    <a:pt x="3338160" y="2426370"/>
                  </a:moveTo>
                  <a:lnTo>
                    <a:pt x="3311290" y="2353180"/>
                  </a:lnTo>
                  <a:lnTo>
                    <a:pt x="3300270" y="2310232"/>
                  </a:lnTo>
                  <a:lnTo>
                    <a:pt x="3300955" y="2267407"/>
                  </a:lnTo>
                  <a:lnTo>
                    <a:pt x="3291707" y="2224516"/>
                  </a:lnTo>
                  <a:lnTo>
                    <a:pt x="3284763" y="2194512"/>
                  </a:lnTo>
                  <a:lnTo>
                    <a:pt x="3272875" y="2200923"/>
                  </a:lnTo>
                  <a:lnTo>
                    <a:pt x="3283477" y="2221925"/>
                  </a:lnTo>
                  <a:lnTo>
                    <a:pt x="3258788" y="2242557"/>
                  </a:lnTo>
                  <a:lnTo>
                    <a:pt x="3256426" y="2302526"/>
                  </a:lnTo>
                  <a:lnTo>
                    <a:pt x="3272075" y="2344541"/>
                  </a:lnTo>
                  <a:lnTo>
                    <a:pt x="3270904" y="2400281"/>
                  </a:lnTo>
                  <a:lnTo>
                    <a:pt x="3264722" y="2431113"/>
                  </a:lnTo>
                  <a:lnTo>
                    <a:pt x="3267770" y="2474329"/>
                  </a:lnTo>
                  <a:lnTo>
                    <a:pt x="3264789" y="2512571"/>
                  </a:lnTo>
                  <a:lnTo>
                    <a:pt x="3269742" y="2544956"/>
                  </a:lnTo>
                  <a:lnTo>
                    <a:pt x="3287249" y="2515105"/>
                  </a:lnTo>
                  <a:lnTo>
                    <a:pt x="3307490" y="2538394"/>
                  </a:lnTo>
                  <a:lnTo>
                    <a:pt x="3308232" y="2511381"/>
                  </a:lnTo>
                  <a:lnTo>
                    <a:pt x="3282210" y="2471099"/>
                  </a:lnTo>
                  <a:lnTo>
                    <a:pt x="3298641" y="2412930"/>
                  </a:lnTo>
                  <a:lnTo>
                    <a:pt x="3338160" y="2426370"/>
                  </a:lnTo>
                  <a:close/>
                  <a:moveTo>
                    <a:pt x="70904" y="2164575"/>
                  </a:moveTo>
                  <a:lnTo>
                    <a:pt x="42939" y="2156422"/>
                  </a:lnTo>
                  <a:lnTo>
                    <a:pt x="6086" y="2171500"/>
                  </a:lnTo>
                  <a:lnTo>
                    <a:pt x="0" y="2191760"/>
                  </a:lnTo>
                  <a:lnTo>
                    <a:pt x="32889" y="2196951"/>
                  </a:lnTo>
                  <a:lnTo>
                    <a:pt x="82000" y="2196265"/>
                  </a:lnTo>
                  <a:lnTo>
                    <a:pt x="79857" y="2184568"/>
                  </a:lnTo>
                  <a:lnTo>
                    <a:pt x="82705" y="2171929"/>
                  </a:lnTo>
                  <a:lnTo>
                    <a:pt x="70904" y="2164575"/>
                  </a:lnTo>
                  <a:close/>
                  <a:moveTo>
                    <a:pt x="4282126" y="1210951"/>
                  </a:moveTo>
                  <a:lnTo>
                    <a:pt x="4317006" y="1205998"/>
                  </a:lnTo>
                  <a:lnTo>
                    <a:pt x="4344524" y="1186329"/>
                  </a:lnTo>
                  <a:lnTo>
                    <a:pt x="4346810" y="1175014"/>
                  </a:lnTo>
                  <a:lnTo>
                    <a:pt x="4308177" y="1151058"/>
                  </a:lnTo>
                  <a:lnTo>
                    <a:pt x="4285545" y="1150877"/>
                  </a:lnTo>
                  <a:lnTo>
                    <a:pt x="4282126" y="1154411"/>
                  </a:lnTo>
                  <a:lnTo>
                    <a:pt x="4248083" y="1189130"/>
                  </a:lnTo>
                  <a:lnTo>
                    <a:pt x="4252846" y="1215095"/>
                  </a:lnTo>
                  <a:lnTo>
                    <a:pt x="4282126" y="1210951"/>
                  </a:lnTo>
                  <a:close/>
                  <a:moveTo>
                    <a:pt x="3235538" y="952929"/>
                  </a:moveTo>
                  <a:lnTo>
                    <a:pt x="3210201" y="990219"/>
                  </a:lnTo>
                  <a:lnTo>
                    <a:pt x="3214878" y="995153"/>
                  </a:lnTo>
                  <a:lnTo>
                    <a:pt x="3269609" y="1005478"/>
                  </a:lnTo>
                  <a:lnTo>
                    <a:pt x="3310099" y="1004830"/>
                  </a:lnTo>
                  <a:lnTo>
                    <a:pt x="3306870" y="980361"/>
                  </a:lnTo>
                  <a:lnTo>
                    <a:pt x="3268932" y="944070"/>
                  </a:lnTo>
                  <a:lnTo>
                    <a:pt x="3235538" y="952929"/>
                  </a:lnTo>
                  <a:close/>
                  <a:moveTo>
                    <a:pt x="3469605" y="862175"/>
                  </a:moveTo>
                  <a:lnTo>
                    <a:pt x="3500475" y="821712"/>
                  </a:lnTo>
                  <a:lnTo>
                    <a:pt x="3433457" y="794328"/>
                  </a:lnTo>
                  <a:lnTo>
                    <a:pt x="3383670" y="778316"/>
                  </a:lnTo>
                  <a:lnTo>
                    <a:pt x="3377279" y="812463"/>
                  </a:lnTo>
                  <a:lnTo>
                    <a:pt x="3426914" y="853107"/>
                  </a:lnTo>
                  <a:lnTo>
                    <a:pt x="3469605" y="862175"/>
                  </a:lnTo>
                  <a:close/>
                  <a:moveTo>
                    <a:pt x="3230261" y="846039"/>
                  </a:moveTo>
                  <a:lnTo>
                    <a:pt x="3328702" y="848858"/>
                  </a:lnTo>
                  <a:lnTo>
                    <a:pt x="3349704" y="771277"/>
                  </a:lnTo>
                  <a:lnTo>
                    <a:pt x="3253168" y="713451"/>
                  </a:lnTo>
                  <a:lnTo>
                    <a:pt x="3182645" y="708574"/>
                  </a:lnTo>
                  <a:lnTo>
                    <a:pt x="3147412" y="729339"/>
                  </a:lnTo>
                  <a:lnTo>
                    <a:pt x="3133058" y="803177"/>
                  </a:lnTo>
                  <a:lnTo>
                    <a:pt x="3185970" y="869975"/>
                  </a:lnTo>
                  <a:lnTo>
                    <a:pt x="3230261" y="846039"/>
                  </a:lnTo>
                  <a:close/>
                  <a:moveTo>
                    <a:pt x="876452" y="1093184"/>
                  </a:moveTo>
                  <a:lnTo>
                    <a:pt x="849144" y="1111834"/>
                  </a:lnTo>
                  <a:lnTo>
                    <a:pt x="853049" y="1157859"/>
                  </a:lnTo>
                  <a:lnTo>
                    <a:pt x="901389" y="1180224"/>
                  </a:lnTo>
                  <a:lnTo>
                    <a:pt x="908475" y="1216590"/>
                  </a:lnTo>
                  <a:lnTo>
                    <a:pt x="995734" y="1227087"/>
                  </a:lnTo>
                  <a:lnTo>
                    <a:pt x="1011507" y="1220010"/>
                  </a:lnTo>
                  <a:lnTo>
                    <a:pt x="960425" y="1152325"/>
                  </a:lnTo>
                  <a:lnTo>
                    <a:pt x="954995" y="1080735"/>
                  </a:lnTo>
                  <a:lnTo>
                    <a:pt x="996858" y="993648"/>
                  </a:lnTo>
                  <a:lnTo>
                    <a:pt x="1036663" y="900122"/>
                  </a:lnTo>
                  <a:lnTo>
                    <a:pt x="1119625" y="803272"/>
                  </a:lnTo>
                  <a:lnTo>
                    <a:pt x="1201188" y="752427"/>
                  </a:lnTo>
                  <a:lnTo>
                    <a:pt x="1295819" y="697754"/>
                  </a:lnTo>
                  <a:lnTo>
                    <a:pt x="1313764" y="662454"/>
                  </a:lnTo>
                  <a:lnTo>
                    <a:pt x="1295199" y="616477"/>
                  </a:lnTo>
                  <a:lnTo>
                    <a:pt x="1243222" y="631755"/>
                  </a:lnTo>
                  <a:lnTo>
                    <a:pt x="1197483" y="674541"/>
                  </a:lnTo>
                  <a:lnTo>
                    <a:pt x="1108596" y="695706"/>
                  </a:lnTo>
                  <a:lnTo>
                    <a:pt x="1020423" y="766277"/>
                  </a:lnTo>
                  <a:lnTo>
                    <a:pt x="960691" y="821988"/>
                  </a:lnTo>
                  <a:lnTo>
                    <a:pt x="967921" y="868375"/>
                  </a:lnTo>
                  <a:lnTo>
                    <a:pt x="903979" y="954376"/>
                  </a:lnTo>
                  <a:lnTo>
                    <a:pt x="928535" y="965997"/>
                  </a:lnTo>
                  <a:lnTo>
                    <a:pt x="875557" y="1044778"/>
                  </a:lnTo>
                  <a:lnTo>
                    <a:pt x="876452" y="1093184"/>
                  </a:lnTo>
                  <a:close/>
                  <a:moveTo>
                    <a:pt x="2281142" y="445999"/>
                  </a:moveTo>
                  <a:lnTo>
                    <a:pt x="2289077" y="391516"/>
                  </a:lnTo>
                  <a:lnTo>
                    <a:pt x="2221382" y="312049"/>
                  </a:lnTo>
                  <a:lnTo>
                    <a:pt x="2201323" y="302666"/>
                  </a:lnTo>
                  <a:lnTo>
                    <a:pt x="2179377" y="318821"/>
                  </a:lnTo>
                  <a:lnTo>
                    <a:pt x="2130590" y="496024"/>
                  </a:lnTo>
                  <a:lnTo>
                    <a:pt x="2281142" y="445999"/>
                  </a:lnTo>
                  <a:close/>
                  <a:moveTo>
                    <a:pt x="716861" y="166792"/>
                  </a:moveTo>
                  <a:lnTo>
                    <a:pt x="745788" y="203711"/>
                  </a:lnTo>
                  <a:lnTo>
                    <a:pt x="777001" y="178060"/>
                  </a:lnTo>
                  <a:lnTo>
                    <a:pt x="780726" y="152162"/>
                  </a:lnTo>
                  <a:lnTo>
                    <a:pt x="804739" y="140046"/>
                  </a:lnTo>
                  <a:lnTo>
                    <a:pt x="840591" y="118758"/>
                  </a:lnTo>
                  <a:lnTo>
                    <a:pt x="850925" y="93764"/>
                  </a:lnTo>
                  <a:lnTo>
                    <a:pt x="811311" y="57121"/>
                  </a:lnTo>
                  <a:lnTo>
                    <a:pt x="786136" y="84773"/>
                  </a:lnTo>
                  <a:lnTo>
                    <a:pt x="770801" y="124063"/>
                  </a:lnTo>
                  <a:lnTo>
                    <a:pt x="765343" y="79781"/>
                  </a:lnTo>
                  <a:lnTo>
                    <a:pt x="724766" y="81791"/>
                  </a:lnTo>
                  <a:lnTo>
                    <a:pt x="672626" y="111814"/>
                  </a:lnTo>
                  <a:lnTo>
                    <a:pt x="732063" y="116776"/>
                  </a:lnTo>
                  <a:lnTo>
                    <a:pt x="716861" y="166792"/>
                  </a:lnTo>
                  <a:close/>
                  <a:moveTo>
                    <a:pt x="1967007" y="291055"/>
                  </a:moveTo>
                  <a:lnTo>
                    <a:pt x="2011327" y="345634"/>
                  </a:lnTo>
                  <a:lnTo>
                    <a:pt x="2085718" y="385658"/>
                  </a:lnTo>
                  <a:lnTo>
                    <a:pt x="2143991" y="368484"/>
                  </a:lnTo>
                  <a:lnTo>
                    <a:pt x="2150574" y="238725"/>
                  </a:lnTo>
                  <a:lnTo>
                    <a:pt x="2089080" y="85944"/>
                  </a:lnTo>
                  <a:lnTo>
                    <a:pt x="2037188" y="0"/>
                  </a:lnTo>
                  <a:lnTo>
                    <a:pt x="1979419" y="39138"/>
                  </a:lnTo>
                  <a:lnTo>
                    <a:pt x="1910076" y="151857"/>
                  </a:lnTo>
                  <a:lnTo>
                    <a:pt x="1946510" y="183004"/>
                  </a:lnTo>
                  <a:lnTo>
                    <a:pt x="1967007" y="29105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orme libre : forme 5787">
              <a:extLst>
                <a:ext uri="{FF2B5EF4-FFF2-40B4-BE49-F238E27FC236}">
                  <a16:creationId xmlns:a16="http://schemas.microsoft.com/office/drawing/2014/main" id="{3BFB7739-B0E7-5E4B-C9C5-01D71DF60F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596062" y="4772753"/>
              <a:ext cx="47834" cy="47339"/>
            </a:xfrm>
            <a:custGeom>
              <a:avLst/>
              <a:gdLst>
                <a:gd name="connsiteX0" fmla="*/ 37224 w 47834"/>
                <a:gd name="connsiteY0" fmla="*/ 0 h 47339"/>
                <a:gd name="connsiteX1" fmla="*/ 47834 w 47834"/>
                <a:gd name="connsiteY1" fmla="*/ 14983 h 47339"/>
                <a:gd name="connsiteX2" fmla="*/ 46291 w 47834"/>
                <a:gd name="connsiteY2" fmla="*/ 30594 h 47339"/>
                <a:gd name="connsiteX3" fmla="*/ 38585 w 47834"/>
                <a:gd name="connsiteY3" fmla="*/ 33956 h 47339"/>
                <a:gd name="connsiteX4" fmla="*/ 24393 w 47834"/>
                <a:gd name="connsiteY4" fmla="*/ 32223 h 47339"/>
                <a:gd name="connsiteX5" fmla="*/ 16211 w 47834"/>
                <a:gd name="connsiteY5" fmla="*/ 47339 h 47339"/>
                <a:gd name="connsiteX6" fmla="*/ 0 w 47834"/>
                <a:gd name="connsiteY6" fmla="*/ 45253 h 47339"/>
                <a:gd name="connsiteX7" fmla="*/ 2467 w 47834"/>
                <a:gd name="connsiteY7" fmla="*/ 30727 h 47339"/>
                <a:gd name="connsiteX8" fmla="*/ 6134 w 47834"/>
                <a:gd name="connsiteY8" fmla="*/ 28680 h 47339"/>
                <a:gd name="connsiteX9" fmla="*/ 7125 w 47834"/>
                <a:gd name="connsiteY9" fmla="*/ 12887 h 47339"/>
                <a:gd name="connsiteX10" fmla="*/ 14802 w 47834"/>
                <a:gd name="connsiteY10" fmla="*/ 5486 h 47339"/>
                <a:gd name="connsiteX11" fmla="*/ 21269 w 47834"/>
                <a:gd name="connsiteY11" fmla="*/ 8191 h 4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7834" h="47339">
                  <a:moveTo>
                    <a:pt x="37224" y="0"/>
                  </a:moveTo>
                  <a:lnTo>
                    <a:pt x="47834" y="14983"/>
                  </a:lnTo>
                  <a:lnTo>
                    <a:pt x="46291" y="30594"/>
                  </a:lnTo>
                  <a:lnTo>
                    <a:pt x="38585" y="33956"/>
                  </a:lnTo>
                  <a:lnTo>
                    <a:pt x="24393" y="32223"/>
                  </a:lnTo>
                  <a:lnTo>
                    <a:pt x="16211" y="47339"/>
                  </a:lnTo>
                  <a:lnTo>
                    <a:pt x="0" y="45253"/>
                  </a:lnTo>
                  <a:lnTo>
                    <a:pt x="2467" y="30727"/>
                  </a:lnTo>
                  <a:lnTo>
                    <a:pt x="6134" y="28680"/>
                  </a:lnTo>
                  <a:lnTo>
                    <a:pt x="7125" y="12887"/>
                  </a:lnTo>
                  <a:lnTo>
                    <a:pt x="14802" y="5486"/>
                  </a:lnTo>
                  <a:lnTo>
                    <a:pt x="21269" y="81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orme libre : forme 5788">
              <a:extLst>
                <a:ext uri="{FF2B5EF4-FFF2-40B4-BE49-F238E27FC236}">
                  <a16:creationId xmlns:a16="http://schemas.microsoft.com/office/drawing/2014/main" id="{0FD372E6-D337-B62D-B63F-1B2A8EDF09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745814" y="3840179"/>
              <a:ext cx="561755" cy="462715"/>
            </a:xfrm>
            <a:custGeom>
              <a:avLst/>
              <a:gdLst>
                <a:gd name="connsiteX0" fmla="*/ 217580 w 561755"/>
                <a:gd name="connsiteY0" fmla="*/ 462715 h 462715"/>
                <a:gd name="connsiteX1" fmla="*/ 214113 w 561755"/>
                <a:gd name="connsiteY1" fmla="*/ 450904 h 462715"/>
                <a:gd name="connsiteX2" fmla="*/ 206054 w 561755"/>
                <a:gd name="connsiteY2" fmla="*/ 442541 h 462715"/>
                <a:gd name="connsiteX3" fmla="*/ 203997 w 561755"/>
                <a:gd name="connsiteY3" fmla="*/ 431454 h 462715"/>
                <a:gd name="connsiteX4" fmla="*/ 190205 w 561755"/>
                <a:gd name="connsiteY4" fmla="*/ 421472 h 462715"/>
                <a:gd name="connsiteX5" fmla="*/ 175974 w 561755"/>
                <a:gd name="connsiteY5" fmla="*/ 398031 h 462715"/>
                <a:gd name="connsiteX6" fmla="*/ 168440 w 561755"/>
                <a:gd name="connsiteY6" fmla="*/ 375142 h 462715"/>
                <a:gd name="connsiteX7" fmla="*/ 149971 w 561755"/>
                <a:gd name="connsiteY7" fmla="*/ 355721 h 462715"/>
                <a:gd name="connsiteX8" fmla="*/ 138056 w 561755"/>
                <a:gd name="connsiteY8" fmla="*/ 351072 h 462715"/>
                <a:gd name="connsiteX9" fmla="*/ 120368 w 561755"/>
                <a:gd name="connsiteY9" fmla="*/ 324003 h 462715"/>
                <a:gd name="connsiteX10" fmla="*/ 117281 w 561755"/>
                <a:gd name="connsiteY10" fmla="*/ 304152 h 462715"/>
                <a:gd name="connsiteX11" fmla="*/ 118415 w 561755"/>
                <a:gd name="connsiteY11" fmla="*/ 287141 h 462715"/>
                <a:gd name="connsiteX12" fmla="*/ 103099 w 561755"/>
                <a:gd name="connsiteY12" fmla="*/ 255118 h 462715"/>
                <a:gd name="connsiteX13" fmla="*/ 90574 w 561755"/>
                <a:gd name="connsiteY13" fmla="*/ 243783 h 462715"/>
                <a:gd name="connsiteX14" fmla="*/ 76152 w 561755"/>
                <a:gd name="connsiteY14" fmla="*/ 237763 h 462715"/>
                <a:gd name="connsiteX15" fmla="*/ 67370 w 561755"/>
                <a:gd name="connsiteY15" fmla="*/ 221028 h 462715"/>
                <a:gd name="connsiteX16" fmla="*/ 68828 w 561755"/>
                <a:gd name="connsiteY16" fmla="*/ 214408 h 462715"/>
                <a:gd name="connsiteX17" fmla="*/ 61408 w 561755"/>
                <a:gd name="connsiteY17" fmla="*/ 199168 h 462715"/>
                <a:gd name="connsiteX18" fmla="*/ 53607 w 561755"/>
                <a:gd name="connsiteY18" fmla="*/ 192586 h 462715"/>
                <a:gd name="connsiteX19" fmla="*/ 43177 w 561755"/>
                <a:gd name="connsiteY19" fmla="*/ 170564 h 462715"/>
                <a:gd name="connsiteX20" fmla="*/ 26918 w 561755"/>
                <a:gd name="connsiteY20" fmla="*/ 146533 h 462715"/>
                <a:gd name="connsiteX21" fmla="*/ 13297 w 561755"/>
                <a:gd name="connsiteY21" fmla="*/ 125921 h 462715"/>
                <a:gd name="connsiteX22" fmla="*/ 0 w 561755"/>
                <a:gd name="connsiteY22" fmla="*/ 126064 h 462715"/>
                <a:gd name="connsiteX23" fmla="*/ 4153 w 561755"/>
                <a:gd name="connsiteY23" fmla="*/ 109499 h 462715"/>
                <a:gd name="connsiteX24" fmla="*/ 5334 w 561755"/>
                <a:gd name="connsiteY24" fmla="*/ 98889 h 462715"/>
                <a:gd name="connsiteX25" fmla="*/ 8649 w 561755"/>
                <a:gd name="connsiteY25" fmla="*/ 86744 h 462715"/>
                <a:gd name="connsiteX26" fmla="*/ 38367 w 561755"/>
                <a:gd name="connsiteY26" fmla="*/ 91583 h 462715"/>
                <a:gd name="connsiteX27" fmla="*/ 49911 w 561755"/>
                <a:gd name="connsiteY27" fmla="*/ 82210 h 462715"/>
                <a:gd name="connsiteX28" fmla="*/ 56302 w 561755"/>
                <a:gd name="connsiteY28" fmla="*/ 71190 h 462715"/>
                <a:gd name="connsiteX29" fmla="*/ 76676 w 561755"/>
                <a:gd name="connsiteY29" fmla="*/ 66951 h 462715"/>
                <a:gd name="connsiteX30" fmla="*/ 81077 w 561755"/>
                <a:gd name="connsiteY30" fmla="*/ 56655 h 462715"/>
                <a:gd name="connsiteX31" fmla="*/ 89907 w 561755"/>
                <a:gd name="connsiteY31" fmla="*/ 51426 h 462715"/>
                <a:gd name="connsiteX32" fmla="*/ 63284 w 561755"/>
                <a:gd name="connsiteY32" fmla="*/ 20412 h 462715"/>
                <a:gd name="connsiteX33" fmla="*/ 116777 w 561755"/>
                <a:gd name="connsiteY33" fmla="*/ 4734 h 462715"/>
                <a:gd name="connsiteX34" fmla="*/ 121863 w 561755"/>
                <a:gd name="connsiteY34" fmla="*/ 0 h 462715"/>
                <a:gd name="connsiteX35" fmla="*/ 154029 w 561755"/>
                <a:gd name="connsiteY35" fmla="*/ 8496 h 462715"/>
                <a:gd name="connsiteX36" fmla="*/ 193824 w 561755"/>
                <a:gd name="connsiteY36" fmla="*/ 30328 h 462715"/>
                <a:gd name="connsiteX37" fmla="*/ 269129 w 561755"/>
                <a:gd name="connsiteY37" fmla="*/ 92155 h 462715"/>
                <a:gd name="connsiteX38" fmla="*/ 318783 w 561755"/>
                <a:gd name="connsiteY38" fmla="*/ 94583 h 462715"/>
                <a:gd name="connsiteX39" fmla="*/ 342576 w 561755"/>
                <a:gd name="connsiteY39" fmla="*/ 97517 h 462715"/>
                <a:gd name="connsiteX40" fmla="*/ 349225 w 561755"/>
                <a:gd name="connsiteY40" fmla="*/ 111957 h 462715"/>
                <a:gd name="connsiteX41" fmla="*/ 368113 w 561755"/>
                <a:gd name="connsiteY41" fmla="*/ 111176 h 462715"/>
                <a:gd name="connsiteX42" fmla="*/ 378571 w 561755"/>
                <a:gd name="connsiteY42" fmla="*/ 137151 h 462715"/>
                <a:gd name="connsiteX43" fmla="*/ 391706 w 561755"/>
                <a:gd name="connsiteY43" fmla="*/ 143999 h 462715"/>
                <a:gd name="connsiteX44" fmla="*/ 396287 w 561755"/>
                <a:gd name="connsiteY44" fmla="*/ 154496 h 462715"/>
                <a:gd name="connsiteX45" fmla="*/ 414490 w 561755"/>
                <a:gd name="connsiteY45" fmla="*/ 167011 h 462715"/>
                <a:gd name="connsiteX46" fmla="*/ 416110 w 561755"/>
                <a:gd name="connsiteY46" fmla="*/ 179261 h 462715"/>
                <a:gd name="connsiteX47" fmla="*/ 413452 w 561755"/>
                <a:gd name="connsiteY47" fmla="*/ 189109 h 462715"/>
                <a:gd name="connsiteX48" fmla="*/ 416823 w 561755"/>
                <a:gd name="connsiteY48" fmla="*/ 199025 h 462715"/>
                <a:gd name="connsiteX49" fmla="*/ 424501 w 561755"/>
                <a:gd name="connsiteY49" fmla="*/ 207264 h 462715"/>
                <a:gd name="connsiteX50" fmla="*/ 428063 w 561755"/>
                <a:gd name="connsiteY50" fmla="*/ 216894 h 462715"/>
                <a:gd name="connsiteX51" fmla="*/ 432054 w 561755"/>
                <a:gd name="connsiteY51" fmla="*/ 224066 h 462715"/>
                <a:gd name="connsiteX52" fmla="*/ 440122 w 561755"/>
                <a:gd name="connsiteY52" fmla="*/ 229867 h 462715"/>
                <a:gd name="connsiteX53" fmla="*/ 447532 w 561755"/>
                <a:gd name="connsiteY53" fmla="*/ 227790 h 462715"/>
                <a:gd name="connsiteX54" fmla="*/ 452600 w 561755"/>
                <a:gd name="connsiteY54" fmla="*/ 238935 h 462715"/>
                <a:gd name="connsiteX55" fmla="*/ 453619 w 561755"/>
                <a:gd name="connsiteY55" fmla="*/ 245659 h 462715"/>
                <a:gd name="connsiteX56" fmla="*/ 463858 w 561755"/>
                <a:gd name="connsiteY56" fmla="*/ 274996 h 462715"/>
                <a:gd name="connsiteX57" fmla="*/ 544135 w 561755"/>
                <a:gd name="connsiteY57" fmla="*/ 289513 h 462715"/>
                <a:gd name="connsiteX58" fmla="*/ 549516 w 561755"/>
                <a:gd name="connsiteY58" fmla="*/ 283436 h 462715"/>
                <a:gd name="connsiteX59" fmla="*/ 561756 w 561755"/>
                <a:gd name="connsiteY59" fmla="*/ 303771 h 462715"/>
                <a:gd name="connsiteX60" fmla="*/ 543954 w 561755"/>
                <a:gd name="connsiteY60" fmla="*/ 360655 h 462715"/>
                <a:gd name="connsiteX61" fmla="*/ 463839 w 561755"/>
                <a:gd name="connsiteY61" fmla="*/ 388820 h 462715"/>
                <a:gd name="connsiteX62" fmla="*/ 386829 w 561755"/>
                <a:gd name="connsiteY62" fmla="*/ 399574 h 462715"/>
                <a:gd name="connsiteX63" fmla="*/ 361902 w 561755"/>
                <a:gd name="connsiteY63" fmla="*/ 412156 h 462715"/>
                <a:gd name="connsiteX64" fmla="*/ 342767 w 561755"/>
                <a:gd name="connsiteY64" fmla="*/ 441408 h 462715"/>
                <a:gd name="connsiteX65" fmla="*/ 330298 w 561755"/>
                <a:gd name="connsiteY65" fmla="*/ 446037 h 462715"/>
                <a:gd name="connsiteX66" fmla="*/ 323622 w 561755"/>
                <a:gd name="connsiteY66" fmla="*/ 436779 h 462715"/>
                <a:gd name="connsiteX67" fmla="*/ 313382 w 561755"/>
                <a:gd name="connsiteY67" fmla="*/ 438169 h 462715"/>
                <a:gd name="connsiteX68" fmla="*/ 287569 w 561755"/>
                <a:gd name="connsiteY68" fmla="*/ 435388 h 462715"/>
                <a:gd name="connsiteX69" fmla="*/ 282673 w 561755"/>
                <a:gd name="connsiteY69" fmla="*/ 432606 h 462715"/>
                <a:gd name="connsiteX70" fmla="*/ 251850 w 561755"/>
                <a:gd name="connsiteY70" fmla="*/ 433245 h 462715"/>
                <a:gd name="connsiteX71" fmla="*/ 244612 w 561755"/>
                <a:gd name="connsiteY71" fmla="*/ 435759 h 462715"/>
                <a:gd name="connsiteX72" fmla="*/ 233639 w 561755"/>
                <a:gd name="connsiteY72" fmla="*/ 428520 h 462715"/>
                <a:gd name="connsiteX73" fmla="*/ 226571 w 561755"/>
                <a:gd name="connsiteY73" fmla="*/ 442189 h 462715"/>
                <a:gd name="connsiteX74" fmla="*/ 229305 w 561755"/>
                <a:gd name="connsiteY74" fmla="*/ 453885 h 462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561755" h="462715">
                  <a:moveTo>
                    <a:pt x="217580" y="462715"/>
                  </a:moveTo>
                  <a:lnTo>
                    <a:pt x="214113" y="450904"/>
                  </a:lnTo>
                  <a:lnTo>
                    <a:pt x="206054" y="442541"/>
                  </a:lnTo>
                  <a:lnTo>
                    <a:pt x="203997" y="431454"/>
                  </a:lnTo>
                  <a:lnTo>
                    <a:pt x="190205" y="421472"/>
                  </a:lnTo>
                  <a:lnTo>
                    <a:pt x="175974" y="398031"/>
                  </a:lnTo>
                  <a:lnTo>
                    <a:pt x="168440" y="375142"/>
                  </a:lnTo>
                  <a:lnTo>
                    <a:pt x="149971" y="355721"/>
                  </a:lnTo>
                  <a:lnTo>
                    <a:pt x="138056" y="351072"/>
                  </a:lnTo>
                  <a:lnTo>
                    <a:pt x="120368" y="324003"/>
                  </a:lnTo>
                  <a:lnTo>
                    <a:pt x="117281" y="304152"/>
                  </a:lnTo>
                  <a:lnTo>
                    <a:pt x="118415" y="287141"/>
                  </a:lnTo>
                  <a:lnTo>
                    <a:pt x="103099" y="255118"/>
                  </a:lnTo>
                  <a:lnTo>
                    <a:pt x="90574" y="243783"/>
                  </a:lnTo>
                  <a:lnTo>
                    <a:pt x="76152" y="237763"/>
                  </a:lnTo>
                  <a:lnTo>
                    <a:pt x="67370" y="221028"/>
                  </a:lnTo>
                  <a:lnTo>
                    <a:pt x="68828" y="214408"/>
                  </a:lnTo>
                  <a:lnTo>
                    <a:pt x="61408" y="199168"/>
                  </a:lnTo>
                  <a:lnTo>
                    <a:pt x="53607" y="192586"/>
                  </a:lnTo>
                  <a:lnTo>
                    <a:pt x="43177" y="170564"/>
                  </a:lnTo>
                  <a:lnTo>
                    <a:pt x="26918" y="146533"/>
                  </a:lnTo>
                  <a:lnTo>
                    <a:pt x="13297" y="125921"/>
                  </a:lnTo>
                  <a:lnTo>
                    <a:pt x="0" y="126064"/>
                  </a:lnTo>
                  <a:lnTo>
                    <a:pt x="4153" y="109499"/>
                  </a:lnTo>
                  <a:lnTo>
                    <a:pt x="5334" y="98889"/>
                  </a:lnTo>
                  <a:lnTo>
                    <a:pt x="8649" y="86744"/>
                  </a:lnTo>
                  <a:lnTo>
                    <a:pt x="38367" y="91583"/>
                  </a:lnTo>
                  <a:lnTo>
                    <a:pt x="49911" y="82210"/>
                  </a:lnTo>
                  <a:lnTo>
                    <a:pt x="56302" y="71190"/>
                  </a:lnTo>
                  <a:lnTo>
                    <a:pt x="76676" y="66951"/>
                  </a:lnTo>
                  <a:lnTo>
                    <a:pt x="81077" y="56655"/>
                  </a:lnTo>
                  <a:lnTo>
                    <a:pt x="89907" y="51426"/>
                  </a:lnTo>
                  <a:lnTo>
                    <a:pt x="63284" y="20412"/>
                  </a:lnTo>
                  <a:lnTo>
                    <a:pt x="116777" y="4734"/>
                  </a:lnTo>
                  <a:lnTo>
                    <a:pt x="121863" y="0"/>
                  </a:lnTo>
                  <a:lnTo>
                    <a:pt x="154029" y="8496"/>
                  </a:lnTo>
                  <a:lnTo>
                    <a:pt x="193824" y="30328"/>
                  </a:lnTo>
                  <a:lnTo>
                    <a:pt x="269129" y="92155"/>
                  </a:lnTo>
                  <a:lnTo>
                    <a:pt x="318783" y="94583"/>
                  </a:lnTo>
                  <a:lnTo>
                    <a:pt x="342576" y="97517"/>
                  </a:lnTo>
                  <a:lnTo>
                    <a:pt x="349225" y="111957"/>
                  </a:lnTo>
                  <a:lnTo>
                    <a:pt x="368113" y="111176"/>
                  </a:lnTo>
                  <a:lnTo>
                    <a:pt x="378571" y="137151"/>
                  </a:lnTo>
                  <a:lnTo>
                    <a:pt x="391706" y="143999"/>
                  </a:lnTo>
                  <a:lnTo>
                    <a:pt x="396287" y="154496"/>
                  </a:lnTo>
                  <a:lnTo>
                    <a:pt x="414490" y="167011"/>
                  </a:lnTo>
                  <a:lnTo>
                    <a:pt x="416110" y="179261"/>
                  </a:lnTo>
                  <a:lnTo>
                    <a:pt x="413452" y="189109"/>
                  </a:lnTo>
                  <a:lnTo>
                    <a:pt x="416823" y="199025"/>
                  </a:lnTo>
                  <a:lnTo>
                    <a:pt x="424501" y="207264"/>
                  </a:lnTo>
                  <a:lnTo>
                    <a:pt x="428063" y="216894"/>
                  </a:lnTo>
                  <a:lnTo>
                    <a:pt x="432054" y="224066"/>
                  </a:lnTo>
                  <a:lnTo>
                    <a:pt x="440122" y="229867"/>
                  </a:lnTo>
                  <a:lnTo>
                    <a:pt x="447532" y="227790"/>
                  </a:lnTo>
                  <a:lnTo>
                    <a:pt x="452600" y="238935"/>
                  </a:lnTo>
                  <a:lnTo>
                    <a:pt x="453619" y="245659"/>
                  </a:lnTo>
                  <a:lnTo>
                    <a:pt x="463858" y="274996"/>
                  </a:lnTo>
                  <a:lnTo>
                    <a:pt x="544135" y="289513"/>
                  </a:lnTo>
                  <a:lnTo>
                    <a:pt x="549516" y="283436"/>
                  </a:lnTo>
                  <a:lnTo>
                    <a:pt x="561756" y="303771"/>
                  </a:lnTo>
                  <a:lnTo>
                    <a:pt x="543954" y="360655"/>
                  </a:lnTo>
                  <a:lnTo>
                    <a:pt x="463839" y="388820"/>
                  </a:lnTo>
                  <a:lnTo>
                    <a:pt x="386829" y="399574"/>
                  </a:lnTo>
                  <a:lnTo>
                    <a:pt x="361902" y="412156"/>
                  </a:lnTo>
                  <a:lnTo>
                    <a:pt x="342767" y="441408"/>
                  </a:lnTo>
                  <a:lnTo>
                    <a:pt x="330298" y="446037"/>
                  </a:lnTo>
                  <a:lnTo>
                    <a:pt x="323622" y="436779"/>
                  </a:lnTo>
                  <a:lnTo>
                    <a:pt x="313382" y="438169"/>
                  </a:lnTo>
                  <a:lnTo>
                    <a:pt x="287569" y="435388"/>
                  </a:lnTo>
                  <a:lnTo>
                    <a:pt x="282673" y="432606"/>
                  </a:lnTo>
                  <a:lnTo>
                    <a:pt x="251850" y="433245"/>
                  </a:lnTo>
                  <a:lnTo>
                    <a:pt x="244612" y="435759"/>
                  </a:lnTo>
                  <a:lnTo>
                    <a:pt x="233639" y="428520"/>
                  </a:lnTo>
                  <a:lnTo>
                    <a:pt x="226571" y="442189"/>
                  </a:lnTo>
                  <a:lnTo>
                    <a:pt x="229305" y="4538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orme libre : forme 5789">
              <a:extLst>
                <a:ext uri="{FF2B5EF4-FFF2-40B4-BE49-F238E27FC236}">
                  <a16:creationId xmlns:a16="http://schemas.microsoft.com/office/drawing/2014/main" id="{02D52644-CE40-7A2A-7C6B-4700FFF2F0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000259" y="4918123"/>
              <a:ext cx="157771" cy="113480"/>
            </a:xfrm>
            <a:custGeom>
              <a:avLst/>
              <a:gdLst>
                <a:gd name="connsiteX0" fmla="*/ 150304 w 157771"/>
                <a:gd name="connsiteY0" fmla="*/ 104204 h 113480"/>
                <a:gd name="connsiteX1" fmla="*/ 157772 w 157771"/>
                <a:gd name="connsiteY1" fmla="*/ 113481 h 113480"/>
                <a:gd name="connsiteX2" fmla="*/ 139112 w 157771"/>
                <a:gd name="connsiteY2" fmla="*/ 113309 h 113480"/>
                <a:gd name="connsiteX3" fmla="*/ 128968 w 157771"/>
                <a:gd name="connsiteY3" fmla="*/ 96707 h 113480"/>
                <a:gd name="connsiteX4" fmla="*/ 144923 w 157771"/>
                <a:gd name="connsiteY4" fmla="*/ 103232 h 113480"/>
                <a:gd name="connsiteX5" fmla="*/ 150304 w 157771"/>
                <a:gd name="connsiteY5" fmla="*/ 104204 h 113480"/>
                <a:gd name="connsiteX6" fmla="*/ 116471 w 157771"/>
                <a:gd name="connsiteY6" fmla="*/ 87763 h 113480"/>
                <a:gd name="connsiteX7" fmla="*/ 106061 w 157771"/>
                <a:gd name="connsiteY7" fmla="*/ 88364 h 113480"/>
                <a:gd name="connsiteX8" fmla="*/ 89688 w 157771"/>
                <a:gd name="connsiteY8" fmla="*/ 85639 h 113480"/>
                <a:gd name="connsiteX9" fmla="*/ 84096 w 157771"/>
                <a:gd name="connsiteY9" fmla="*/ 81486 h 113480"/>
                <a:gd name="connsiteX10" fmla="*/ 85773 w 157771"/>
                <a:gd name="connsiteY10" fmla="*/ 70809 h 113480"/>
                <a:gd name="connsiteX11" fmla="*/ 103404 w 157771"/>
                <a:gd name="connsiteY11" fmla="*/ 75038 h 113480"/>
                <a:gd name="connsiteX12" fmla="*/ 112100 w 157771"/>
                <a:gd name="connsiteY12" fmla="*/ 80686 h 113480"/>
                <a:gd name="connsiteX13" fmla="*/ 116471 w 157771"/>
                <a:gd name="connsiteY13" fmla="*/ 87763 h 113480"/>
                <a:gd name="connsiteX14" fmla="*/ 138579 w 157771"/>
                <a:gd name="connsiteY14" fmla="*/ 80420 h 113480"/>
                <a:gd name="connsiteX15" fmla="*/ 134550 w 157771"/>
                <a:gd name="connsiteY15" fmla="*/ 85382 h 113480"/>
                <a:gd name="connsiteX16" fmla="*/ 114757 w 157771"/>
                <a:gd name="connsiteY16" fmla="*/ 62074 h 113480"/>
                <a:gd name="connsiteX17" fmla="*/ 109204 w 157771"/>
                <a:gd name="connsiteY17" fmla="*/ 46044 h 113480"/>
                <a:gd name="connsiteX18" fmla="*/ 118281 w 157771"/>
                <a:gd name="connsiteY18" fmla="*/ 46044 h 113480"/>
                <a:gd name="connsiteX19" fmla="*/ 127892 w 157771"/>
                <a:gd name="connsiteY19" fmla="*/ 67513 h 113480"/>
                <a:gd name="connsiteX20" fmla="*/ 138579 w 157771"/>
                <a:gd name="connsiteY20" fmla="*/ 80420 h 113480"/>
                <a:gd name="connsiteX21" fmla="*/ 90373 w 157771"/>
                <a:gd name="connsiteY21" fmla="*/ 46501 h 113480"/>
                <a:gd name="connsiteX22" fmla="*/ 91507 w 157771"/>
                <a:gd name="connsiteY22" fmla="*/ 51892 h 113480"/>
                <a:gd name="connsiteX23" fmla="*/ 70580 w 157771"/>
                <a:gd name="connsiteY23" fmla="*/ 40519 h 113480"/>
                <a:gd name="connsiteX24" fmla="*/ 55959 w 157771"/>
                <a:gd name="connsiteY24" fmla="*/ 30899 h 113480"/>
                <a:gd name="connsiteX25" fmla="*/ 45939 w 157771"/>
                <a:gd name="connsiteY25" fmla="*/ 21984 h 113480"/>
                <a:gd name="connsiteX26" fmla="*/ 49920 w 157771"/>
                <a:gd name="connsiteY26" fmla="*/ 19260 h 113480"/>
                <a:gd name="connsiteX27" fmla="*/ 62198 w 157771"/>
                <a:gd name="connsiteY27" fmla="*/ 25679 h 113480"/>
                <a:gd name="connsiteX28" fmla="*/ 84106 w 157771"/>
                <a:gd name="connsiteY28" fmla="*/ 37995 h 113480"/>
                <a:gd name="connsiteX29" fmla="*/ 90373 w 157771"/>
                <a:gd name="connsiteY29" fmla="*/ 46501 h 113480"/>
                <a:gd name="connsiteX30" fmla="*/ 27975 w 157771"/>
                <a:gd name="connsiteY30" fmla="*/ 20003 h 113480"/>
                <a:gd name="connsiteX31" fmla="*/ 22650 w 157771"/>
                <a:gd name="connsiteY31" fmla="*/ 21526 h 113480"/>
                <a:gd name="connsiteX32" fmla="*/ 10973 w 157771"/>
                <a:gd name="connsiteY32" fmla="*/ 15430 h 113480"/>
                <a:gd name="connsiteX33" fmla="*/ 0 w 157771"/>
                <a:gd name="connsiteY33" fmla="*/ 4448 h 113480"/>
                <a:gd name="connsiteX34" fmla="*/ 1381 w 157771"/>
                <a:gd name="connsiteY34" fmla="*/ 0 h 113480"/>
                <a:gd name="connsiteX35" fmla="*/ 17336 w 157771"/>
                <a:gd name="connsiteY35" fmla="*/ 11287 h 113480"/>
                <a:gd name="connsiteX36" fmla="*/ 27975 w 157771"/>
                <a:gd name="connsiteY36" fmla="*/ 20003 h 11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7771" h="113480">
                  <a:moveTo>
                    <a:pt x="150304" y="104204"/>
                  </a:moveTo>
                  <a:lnTo>
                    <a:pt x="157772" y="113481"/>
                  </a:lnTo>
                  <a:lnTo>
                    <a:pt x="139112" y="113309"/>
                  </a:lnTo>
                  <a:lnTo>
                    <a:pt x="128968" y="96707"/>
                  </a:lnTo>
                  <a:lnTo>
                    <a:pt x="144923" y="103232"/>
                  </a:lnTo>
                  <a:lnTo>
                    <a:pt x="150304" y="104204"/>
                  </a:lnTo>
                  <a:close/>
                  <a:moveTo>
                    <a:pt x="116471" y="87763"/>
                  </a:moveTo>
                  <a:lnTo>
                    <a:pt x="106061" y="88364"/>
                  </a:lnTo>
                  <a:lnTo>
                    <a:pt x="89688" y="85639"/>
                  </a:lnTo>
                  <a:lnTo>
                    <a:pt x="84096" y="81486"/>
                  </a:lnTo>
                  <a:lnTo>
                    <a:pt x="85773" y="70809"/>
                  </a:lnTo>
                  <a:lnTo>
                    <a:pt x="103404" y="75038"/>
                  </a:lnTo>
                  <a:lnTo>
                    <a:pt x="112100" y="80686"/>
                  </a:lnTo>
                  <a:lnTo>
                    <a:pt x="116471" y="87763"/>
                  </a:lnTo>
                  <a:close/>
                  <a:moveTo>
                    <a:pt x="138579" y="80420"/>
                  </a:moveTo>
                  <a:lnTo>
                    <a:pt x="134550" y="85382"/>
                  </a:lnTo>
                  <a:lnTo>
                    <a:pt x="114757" y="62074"/>
                  </a:lnTo>
                  <a:lnTo>
                    <a:pt x="109204" y="46044"/>
                  </a:lnTo>
                  <a:lnTo>
                    <a:pt x="118281" y="46044"/>
                  </a:lnTo>
                  <a:lnTo>
                    <a:pt x="127892" y="67513"/>
                  </a:lnTo>
                  <a:lnTo>
                    <a:pt x="138579" y="80420"/>
                  </a:lnTo>
                  <a:close/>
                  <a:moveTo>
                    <a:pt x="90373" y="46501"/>
                  </a:moveTo>
                  <a:lnTo>
                    <a:pt x="91507" y="51892"/>
                  </a:lnTo>
                  <a:lnTo>
                    <a:pt x="70580" y="40519"/>
                  </a:lnTo>
                  <a:lnTo>
                    <a:pt x="55959" y="30899"/>
                  </a:lnTo>
                  <a:lnTo>
                    <a:pt x="45939" y="21984"/>
                  </a:lnTo>
                  <a:lnTo>
                    <a:pt x="49920" y="19260"/>
                  </a:lnTo>
                  <a:lnTo>
                    <a:pt x="62198" y="25679"/>
                  </a:lnTo>
                  <a:lnTo>
                    <a:pt x="84106" y="37995"/>
                  </a:lnTo>
                  <a:lnTo>
                    <a:pt x="90373" y="46501"/>
                  </a:lnTo>
                  <a:close/>
                  <a:moveTo>
                    <a:pt x="27975" y="20003"/>
                  </a:moveTo>
                  <a:lnTo>
                    <a:pt x="22650" y="21526"/>
                  </a:lnTo>
                  <a:lnTo>
                    <a:pt x="10973" y="15430"/>
                  </a:lnTo>
                  <a:lnTo>
                    <a:pt x="0" y="4448"/>
                  </a:lnTo>
                  <a:lnTo>
                    <a:pt x="1381" y="0"/>
                  </a:lnTo>
                  <a:lnTo>
                    <a:pt x="17336" y="11287"/>
                  </a:lnTo>
                  <a:lnTo>
                    <a:pt x="27975" y="200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orme libre : forme 5790">
              <a:extLst>
                <a:ext uri="{FF2B5EF4-FFF2-40B4-BE49-F238E27FC236}">
                  <a16:creationId xmlns:a16="http://schemas.microsoft.com/office/drawing/2014/main" id="{78836817-1074-2AEC-9194-0441C5F076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406762" y="4143950"/>
              <a:ext cx="439940" cy="369160"/>
            </a:xfrm>
            <a:custGeom>
              <a:avLst/>
              <a:gdLst>
                <a:gd name="connsiteX0" fmla="*/ 321183 w 439940"/>
                <a:gd name="connsiteY0" fmla="*/ 346472 h 369160"/>
                <a:gd name="connsiteX1" fmla="*/ 317488 w 439940"/>
                <a:gd name="connsiteY1" fmla="*/ 345938 h 369160"/>
                <a:gd name="connsiteX2" fmla="*/ 317945 w 439940"/>
                <a:gd name="connsiteY2" fmla="*/ 332537 h 369160"/>
                <a:gd name="connsiteX3" fmla="*/ 314735 w 439940"/>
                <a:gd name="connsiteY3" fmla="*/ 323279 h 369160"/>
                <a:gd name="connsiteX4" fmla="*/ 300980 w 439940"/>
                <a:gd name="connsiteY4" fmla="*/ 312630 h 369160"/>
                <a:gd name="connsiteX5" fmla="*/ 297771 w 439940"/>
                <a:gd name="connsiteY5" fmla="*/ 293132 h 369160"/>
                <a:gd name="connsiteX6" fmla="*/ 300980 w 439940"/>
                <a:gd name="connsiteY6" fmla="*/ 273120 h 369160"/>
                <a:gd name="connsiteX7" fmla="*/ 288607 w 439940"/>
                <a:gd name="connsiteY7" fmla="*/ 271253 h 369160"/>
                <a:gd name="connsiteX8" fmla="*/ 286769 w 439940"/>
                <a:gd name="connsiteY8" fmla="*/ 277311 h 369160"/>
                <a:gd name="connsiteX9" fmla="*/ 270729 w 439940"/>
                <a:gd name="connsiteY9" fmla="*/ 278711 h 369160"/>
                <a:gd name="connsiteX10" fmla="*/ 277139 w 439940"/>
                <a:gd name="connsiteY10" fmla="*/ 286626 h 369160"/>
                <a:gd name="connsiteX11" fmla="*/ 279435 w 439940"/>
                <a:gd name="connsiteY11" fmla="*/ 302886 h 369160"/>
                <a:gd name="connsiteX12" fmla="*/ 264766 w 439940"/>
                <a:gd name="connsiteY12" fmla="*/ 317725 h 369160"/>
                <a:gd name="connsiteX13" fmla="*/ 251470 w 439940"/>
                <a:gd name="connsiteY13" fmla="*/ 337166 h 369160"/>
                <a:gd name="connsiteX14" fmla="*/ 237716 w 439940"/>
                <a:gd name="connsiteY14" fmla="*/ 339938 h 369160"/>
                <a:gd name="connsiteX15" fmla="*/ 215246 w 439940"/>
                <a:gd name="connsiteY15" fmla="*/ 324203 h 369160"/>
                <a:gd name="connsiteX16" fmla="*/ 205159 w 439940"/>
                <a:gd name="connsiteY16" fmla="*/ 329765 h 369160"/>
                <a:gd name="connsiteX17" fmla="*/ 202406 w 439940"/>
                <a:gd name="connsiteY17" fmla="*/ 337623 h 369160"/>
                <a:gd name="connsiteX18" fmla="*/ 188652 w 439940"/>
                <a:gd name="connsiteY18" fmla="*/ 342710 h 369160"/>
                <a:gd name="connsiteX19" fmla="*/ 187738 w 439940"/>
                <a:gd name="connsiteY19" fmla="*/ 348253 h 369160"/>
                <a:gd name="connsiteX20" fmla="*/ 161144 w 439940"/>
                <a:gd name="connsiteY20" fmla="*/ 348253 h 369160"/>
                <a:gd name="connsiteX21" fmla="*/ 157477 w 439940"/>
                <a:gd name="connsiteY21" fmla="*/ 342710 h 369160"/>
                <a:gd name="connsiteX22" fmla="*/ 138217 w 439940"/>
                <a:gd name="connsiteY22" fmla="*/ 341786 h 369160"/>
                <a:gd name="connsiteX23" fmla="*/ 128597 w 439940"/>
                <a:gd name="connsiteY23" fmla="*/ 346396 h 369160"/>
                <a:gd name="connsiteX24" fmla="*/ 121254 w 439940"/>
                <a:gd name="connsiteY24" fmla="*/ 344091 h 369160"/>
                <a:gd name="connsiteX25" fmla="*/ 107499 w 439940"/>
                <a:gd name="connsiteY25" fmla="*/ 328374 h 369160"/>
                <a:gd name="connsiteX26" fmla="*/ 102918 w 439940"/>
                <a:gd name="connsiteY26" fmla="*/ 320973 h 369160"/>
                <a:gd name="connsiteX27" fmla="*/ 83658 w 439940"/>
                <a:gd name="connsiteY27" fmla="*/ 324669 h 369160"/>
                <a:gd name="connsiteX28" fmla="*/ 76324 w 439940"/>
                <a:gd name="connsiteY28" fmla="*/ 337166 h 369160"/>
                <a:gd name="connsiteX29" fmla="*/ 69447 w 439940"/>
                <a:gd name="connsiteY29" fmla="*/ 361169 h 369160"/>
                <a:gd name="connsiteX30" fmla="*/ 60274 w 439940"/>
                <a:gd name="connsiteY30" fmla="*/ 366236 h 369160"/>
                <a:gd name="connsiteX31" fmla="*/ 52083 w 439940"/>
                <a:gd name="connsiteY31" fmla="*/ 369161 h 369160"/>
                <a:gd name="connsiteX32" fmla="*/ 49911 w 439940"/>
                <a:gd name="connsiteY32" fmla="*/ 367913 h 369160"/>
                <a:gd name="connsiteX33" fmla="*/ 40643 w 439940"/>
                <a:gd name="connsiteY33" fmla="*/ 360178 h 369160"/>
                <a:gd name="connsiteX34" fmla="*/ 38938 w 439940"/>
                <a:gd name="connsiteY34" fmla="*/ 351825 h 369160"/>
                <a:gd name="connsiteX35" fmla="*/ 43272 w 439940"/>
                <a:gd name="connsiteY35" fmla="*/ 340633 h 369160"/>
                <a:gd name="connsiteX36" fmla="*/ 43196 w 439940"/>
                <a:gd name="connsiteY36" fmla="*/ 329651 h 369160"/>
                <a:gd name="connsiteX37" fmla="*/ 27794 w 439940"/>
                <a:gd name="connsiteY37" fmla="*/ 312782 h 369160"/>
                <a:gd name="connsiteX38" fmla="*/ 24765 w 439940"/>
                <a:gd name="connsiteY38" fmla="*/ 301209 h 369160"/>
                <a:gd name="connsiteX39" fmla="*/ 25089 w 439940"/>
                <a:gd name="connsiteY39" fmla="*/ 294656 h 369160"/>
                <a:gd name="connsiteX40" fmla="*/ 15269 w 439940"/>
                <a:gd name="connsiteY40" fmla="*/ 286674 h 369160"/>
                <a:gd name="connsiteX41" fmla="*/ 14974 w 439940"/>
                <a:gd name="connsiteY41" fmla="*/ 270920 h 369160"/>
                <a:gd name="connsiteX42" fmla="*/ 9373 w 439940"/>
                <a:gd name="connsiteY42" fmla="*/ 260442 h 369160"/>
                <a:gd name="connsiteX43" fmla="*/ 0 w 439940"/>
                <a:gd name="connsiteY43" fmla="*/ 262014 h 369160"/>
                <a:gd name="connsiteX44" fmla="*/ 2686 w 439940"/>
                <a:gd name="connsiteY44" fmla="*/ 252013 h 369160"/>
                <a:gd name="connsiteX45" fmla="*/ 9611 w 439940"/>
                <a:gd name="connsiteY45" fmla="*/ 240659 h 369160"/>
                <a:gd name="connsiteX46" fmla="*/ 6582 w 439940"/>
                <a:gd name="connsiteY46" fmla="*/ 229353 h 369160"/>
                <a:gd name="connsiteX47" fmla="*/ 15364 w 439940"/>
                <a:gd name="connsiteY47" fmla="*/ 220971 h 369160"/>
                <a:gd name="connsiteX48" fmla="*/ 9792 w 439940"/>
                <a:gd name="connsiteY48" fmla="*/ 214570 h 369160"/>
                <a:gd name="connsiteX49" fmla="*/ 16850 w 439940"/>
                <a:gd name="connsiteY49" fmla="*/ 197625 h 369160"/>
                <a:gd name="connsiteX50" fmla="*/ 29051 w 439940"/>
                <a:gd name="connsiteY50" fmla="*/ 177365 h 369160"/>
                <a:gd name="connsiteX51" fmla="*/ 52083 w 439940"/>
                <a:gd name="connsiteY51" fmla="*/ 179299 h 369160"/>
                <a:gd name="connsiteX52" fmla="*/ 50759 w 439940"/>
                <a:gd name="connsiteY52" fmla="*/ 68723 h 369160"/>
                <a:gd name="connsiteX53" fmla="*/ 51092 w 439940"/>
                <a:gd name="connsiteY53" fmla="*/ 56883 h 369160"/>
                <a:gd name="connsiteX54" fmla="*/ 81801 w 439940"/>
                <a:gd name="connsiteY54" fmla="*/ 56798 h 369160"/>
                <a:gd name="connsiteX55" fmla="*/ 81801 w 439940"/>
                <a:gd name="connsiteY55" fmla="*/ 0 h 369160"/>
                <a:gd name="connsiteX56" fmla="*/ 189166 w 439940"/>
                <a:gd name="connsiteY56" fmla="*/ 0 h 369160"/>
                <a:gd name="connsiteX57" fmla="*/ 292789 w 439940"/>
                <a:gd name="connsiteY57" fmla="*/ 0 h 369160"/>
                <a:gd name="connsiteX58" fmla="*/ 398716 w 439940"/>
                <a:gd name="connsiteY58" fmla="*/ 0 h 369160"/>
                <a:gd name="connsiteX59" fmla="*/ 407318 w 439940"/>
                <a:gd name="connsiteY59" fmla="*/ 28004 h 369160"/>
                <a:gd name="connsiteX60" fmla="*/ 401469 w 439940"/>
                <a:gd name="connsiteY60" fmla="*/ 33166 h 369160"/>
                <a:gd name="connsiteX61" fmla="*/ 405346 w 439940"/>
                <a:gd name="connsiteY61" fmla="*/ 62303 h 369160"/>
                <a:gd name="connsiteX62" fmla="*/ 415147 w 439940"/>
                <a:gd name="connsiteY62" fmla="*/ 95869 h 369160"/>
                <a:gd name="connsiteX63" fmla="*/ 425329 w 439940"/>
                <a:gd name="connsiteY63" fmla="*/ 102765 h 369160"/>
                <a:gd name="connsiteX64" fmla="*/ 439941 w 439940"/>
                <a:gd name="connsiteY64" fmla="*/ 113090 h 369160"/>
                <a:gd name="connsiteX65" fmla="*/ 426425 w 439940"/>
                <a:gd name="connsiteY65" fmla="*/ 128997 h 369160"/>
                <a:gd name="connsiteX66" fmla="*/ 406756 w 439940"/>
                <a:gd name="connsiteY66" fmla="*/ 133569 h 369160"/>
                <a:gd name="connsiteX67" fmla="*/ 398345 w 439940"/>
                <a:gd name="connsiteY67" fmla="*/ 142085 h 369160"/>
                <a:gd name="connsiteX68" fmla="*/ 395717 w 439940"/>
                <a:gd name="connsiteY68" fmla="*/ 160496 h 369160"/>
                <a:gd name="connsiteX69" fmla="*/ 384210 w 439940"/>
                <a:gd name="connsiteY69" fmla="*/ 200978 h 369160"/>
                <a:gd name="connsiteX70" fmla="*/ 387048 w 439940"/>
                <a:gd name="connsiteY70" fmla="*/ 211960 h 369160"/>
                <a:gd name="connsiteX71" fmla="*/ 382791 w 439940"/>
                <a:gd name="connsiteY71" fmla="*/ 235448 h 369160"/>
                <a:gd name="connsiteX72" fmla="*/ 371933 w 439940"/>
                <a:gd name="connsiteY72" fmla="*/ 262281 h 369160"/>
                <a:gd name="connsiteX73" fmla="*/ 355825 w 439940"/>
                <a:gd name="connsiteY73" fmla="*/ 275739 h 369160"/>
                <a:gd name="connsiteX74" fmla="*/ 344377 w 439940"/>
                <a:gd name="connsiteY74" fmla="*/ 296437 h 369160"/>
                <a:gd name="connsiteX75" fmla="*/ 341690 w 439940"/>
                <a:gd name="connsiteY75" fmla="*/ 307496 h 369160"/>
                <a:gd name="connsiteX76" fmla="*/ 329042 w 439940"/>
                <a:gd name="connsiteY76" fmla="*/ 315058 h 369160"/>
                <a:gd name="connsiteX77" fmla="*/ 321145 w 439940"/>
                <a:gd name="connsiteY77" fmla="*/ 343262 h 369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439940" h="369160">
                  <a:moveTo>
                    <a:pt x="321183" y="346472"/>
                  </a:moveTo>
                  <a:lnTo>
                    <a:pt x="317488" y="345938"/>
                  </a:lnTo>
                  <a:lnTo>
                    <a:pt x="317945" y="332537"/>
                  </a:lnTo>
                  <a:lnTo>
                    <a:pt x="314735" y="323279"/>
                  </a:lnTo>
                  <a:lnTo>
                    <a:pt x="300980" y="312630"/>
                  </a:lnTo>
                  <a:lnTo>
                    <a:pt x="297771" y="293132"/>
                  </a:lnTo>
                  <a:lnTo>
                    <a:pt x="300980" y="273120"/>
                  </a:lnTo>
                  <a:lnTo>
                    <a:pt x="288607" y="271253"/>
                  </a:lnTo>
                  <a:lnTo>
                    <a:pt x="286769" y="277311"/>
                  </a:lnTo>
                  <a:lnTo>
                    <a:pt x="270729" y="278711"/>
                  </a:lnTo>
                  <a:lnTo>
                    <a:pt x="277139" y="286626"/>
                  </a:lnTo>
                  <a:lnTo>
                    <a:pt x="279435" y="302886"/>
                  </a:lnTo>
                  <a:lnTo>
                    <a:pt x="264766" y="317725"/>
                  </a:lnTo>
                  <a:lnTo>
                    <a:pt x="251470" y="337166"/>
                  </a:lnTo>
                  <a:lnTo>
                    <a:pt x="237716" y="339938"/>
                  </a:lnTo>
                  <a:lnTo>
                    <a:pt x="215246" y="324203"/>
                  </a:lnTo>
                  <a:lnTo>
                    <a:pt x="205159" y="329765"/>
                  </a:lnTo>
                  <a:lnTo>
                    <a:pt x="202406" y="337623"/>
                  </a:lnTo>
                  <a:lnTo>
                    <a:pt x="188652" y="342710"/>
                  </a:lnTo>
                  <a:lnTo>
                    <a:pt x="187738" y="348253"/>
                  </a:lnTo>
                  <a:lnTo>
                    <a:pt x="161144" y="348253"/>
                  </a:lnTo>
                  <a:lnTo>
                    <a:pt x="157477" y="342710"/>
                  </a:lnTo>
                  <a:lnTo>
                    <a:pt x="138217" y="341786"/>
                  </a:lnTo>
                  <a:lnTo>
                    <a:pt x="128597" y="346396"/>
                  </a:lnTo>
                  <a:lnTo>
                    <a:pt x="121254" y="344091"/>
                  </a:lnTo>
                  <a:lnTo>
                    <a:pt x="107499" y="328374"/>
                  </a:lnTo>
                  <a:lnTo>
                    <a:pt x="102918" y="320973"/>
                  </a:lnTo>
                  <a:lnTo>
                    <a:pt x="83658" y="324669"/>
                  </a:lnTo>
                  <a:lnTo>
                    <a:pt x="76324" y="337166"/>
                  </a:lnTo>
                  <a:lnTo>
                    <a:pt x="69447" y="361169"/>
                  </a:lnTo>
                  <a:lnTo>
                    <a:pt x="60274" y="366236"/>
                  </a:lnTo>
                  <a:lnTo>
                    <a:pt x="52083" y="369161"/>
                  </a:lnTo>
                  <a:lnTo>
                    <a:pt x="49911" y="367913"/>
                  </a:lnTo>
                  <a:lnTo>
                    <a:pt x="40643" y="360178"/>
                  </a:lnTo>
                  <a:lnTo>
                    <a:pt x="38938" y="351825"/>
                  </a:lnTo>
                  <a:lnTo>
                    <a:pt x="43272" y="340633"/>
                  </a:lnTo>
                  <a:lnTo>
                    <a:pt x="43196" y="329651"/>
                  </a:lnTo>
                  <a:lnTo>
                    <a:pt x="27794" y="312782"/>
                  </a:lnTo>
                  <a:lnTo>
                    <a:pt x="24765" y="301209"/>
                  </a:lnTo>
                  <a:lnTo>
                    <a:pt x="25089" y="294656"/>
                  </a:lnTo>
                  <a:lnTo>
                    <a:pt x="15269" y="286674"/>
                  </a:lnTo>
                  <a:lnTo>
                    <a:pt x="14974" y="270920"/>
                  </a:lnTo>
                  <a:lnTo>
                    <a:pt x="9373" y="260442"/>
                  </a:lnTo>
                  <a:lnTo>
                    <a:pt x="0" y="262014"/>
                  </a:lnTo>
                  <a:lnTo>
                    <a:pt x="2686" y="252013"/>
                  </a:lnTo>
                  <a:lnTo>
                    <a:pt x="9611" y="240659"/>
                  </a:lnTo>
                  <a:lnTo>
                    <a:pt x="6582" y="229353"/>
                  </a:lnTo>
                  <a:lnTo>
                    <a:pt x="15364" y="220971"/>
                  </a:lnTo>
                  <a:lnTo>
                    <a:pt x="9792" y="214570"/>
                  </a:lnTo>
                  <a:lnTo>
                    <a:pt x="16850" y="197625"/>
                  </a:lnTo>
                  <a:lnTo>
                    <a:pt x="29051" y="177365"/>
                  </a:lnTo>
                  <a:lnTo>
                    <a:pt x="52083" y="179299"/>
                  </a:lnTo>
                  <a:lnTo>
                    <a:pt x="50759" y="68723"/>
                  </a:lnTo>
                  <a:lnTo>
                    <a:pt x="51092" y="56883"/>
                  </a:lnTo>
                  <a:lnTo>
                    <a:pt x="81801" y="56798"/>
                  </a:lnTo>
                  <a:lnTo>
                    <a:pt x="81801" y="0"/>
                  </a:lnTo>
                  <a:lnTo>
                    <a:pt x="189166" y="0"/>
                  </a:lnTo>
                  <a:lnTo>
                    <a:pt x="292789" y="0"/>
                  </a:lnTo>
                  <a:lnTo>
                    <a:pt x="398716" y="0"/>
                  </a:lnTo>
                  <a:lnTo>
                    <a:pt x="407318" y="28004"/>
                  </a:lnTo>
                  <a:lnTo>
                    <a:pt x="401469" y="33166"/>
                  </a:lnTo>
                  <a:lnTo>
                    <a:pt x="405346" y="62303"/>
                  </a:lnTo>
                  <a:lnTo>
                    <a:pt x="415147" y="95869"/>
                  </a:lnTo>
                  <a:lnTo>
                    <a:pt x="425329" y="102765"/>
                  </a:lnTo>
                  <a:lnTo>
                    <a:pt x="439941" y="113090"/>
                  </a:lnTo>
                  <a:lnTo>
                    <a:pt x="426425" y="128997"/>
                  </a:lnTo>
                  <a:lnTo>
                    <a:pt x="406756" y="133569"/>
                  </a:lnTo>
                  <a:lnTo>
                    <a:pt x="398345" y="142085"/>
                  </a:lnTo>
                  <a:lnTo>
                    <a:pt x="395717" y="160496"/>
                  </a:lnTo>
                  <a:lnTo>
                    <a:pt x="384210" y="200978"/>
                  </a:lnTo>
                  <a:lnTo>
                    <a:pt x="387048" y="211960"/>
                  </a:lnTo>
                  <a:lnTo>
                    <a:pt x="382791" y="235448"/>
                  </a:lnTo>
                  <a:lnTo>
                    <a:pt x="371933" y="262281"/>
                  </a:lnTo>
                  <a:lnTo>
                    <a:pt x="355825" y="275739"/>
                  </a:lnTo>
                  <a:lnTo>
                    <a:pt x="344377" y="296437"/>
                  </a:lnTo>
                  <a:lnTo>
                    <a:pt x="341690" y="307496"/>
                  </a:lnTo>
                  <a:lnTo>
                    <a:pt x="329042" y="315058"/>
                  </a:lnTo>
                  <a:lnTo>
                    <a:pt x="321145" y="3432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orme libre : forme 5791">
              <a:extLst>
                <a:ext uri="{FF2B5EF4-FFF2-40B4-BE49-F238E27FC236}">
                  <a16:creationId xmlns:a16="http://schemas.microsoft.com/office/drawing/2014/main" id="{0AE0BEC5-2D08-64E5-96B3-B892DDF6C3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115402" y="2165084"/>
              <a:ext cx="343871" cy="802900"/>
            </a:xfrm>
            <a:custGeom>
              <a:avLst/>
              <a:gdLst>
                <a:gd name="connsiteX0" fmla="*/ 297932 w 343871"/>
                <a:gd name="connsiteY0" fmla="*/ 235410 h 802900"/>
                <a:gd name="connsiteX1" fmla="*/ 272034 w 343871"/>
                <a:gd name="connsiteY1" fmla="*/ 280083 h 802900"/>
                <a:gd name="connsiteX2" fmla="*/ 276206 w 343871"/>
                <a:gd name="connsiteY2" fmla="*/ 318335 h 802900"/>
                <a:gd name="connsiteX3" fmla="*/ 233725 w 343871"/>
                <a:gd name="connsiteY3" fmla="*/ 367284 h 802900"/>
                <a:gd name="connsiteX4" fmla="*/ 182146 w 343871"/>
                <a:gd name="connsiteY4" fmla="*/ 418128 h 802900"/>
                <a:gd name="connsiteX5" fmla="*/ 162706 w 343871"/>
                <a:gd name="connsiteY5" fmla="*/ 498253 h 802900"/>
                <a:gd name="connsiteX6" fmla="*/ 181718 w 343871"/>
                <a:gd name="connsiteY6" fmla="*/ 536991 h 802900"/>
                <a:gd name="connsiteX7" fmla="*/ 207255 w 343871"/>
                <a:gd name="connsiteY7" fmla="*/ 566899 h 802900"/>
                <a:gd name="connsiteX8" fmla="*/ 182718 w 343871"/>
                <a:gd name="connsiteY8" fmla="*/ 626202 h 802900"/>
                <a:gd name="connsiteX9" fmla="*/ 154943 w 343871"/>
                <a:gd name="connsiteY9" fmla="*/ 638251 h 802900"/>
                <a:gd name="connsiteX10" fmla="*/ 144761 w 343871"/>
                <a:gd name="connsiteY10" fmla="*/ 722433 h 802900"/>
                <a:gd name="connsiteX11" fmla="*/ 129587 w 343871"/>
                <a:gd name="connsiteY11" fmla="*/ 767753 h 802900"/>
                <a:gd name="connsiteX12" fmla="*/ 97193 w 343871"/>
                <a:gd name="connsiteY12" fmla="*/ 763134 h 802900"/>
                <a:gd name="connsiteX13" fmla="*/ 82077 w 343871"/>
                <a:gd name="connsiteY13" fmla="*/ 800748 h 802900"/>
                <a:gd name="connsiteX14" fmla="*/ 51159 w 343871"/>
                <a:gd name="connsiteY14" fmla="*/ 802900 h 802900"/>
                <a:gd name="connsiteX15" fmla="*/ 42672 w 343871"/>
                <a:gd name="connsiteY15" fmla="*/ 758038 h 802900"/>
                <a:gd name="connsiteX16" fmla="*/ 20317 w 343871"/>
                <a:gd name="connsiteY16" fmla="*/ 702688 h 802900"/>
                <a:gd name="connsiteX17" fmla="*/ 0 w 343871"/>
                <a:gd name="connsiteY17" fmla="*/ 631241 h 802900"/>
                <a:gd name="connsiteX18" fmla="*/ 11773 w 343871"/>
                <a:gd name="connsiteY18" fmla="*/ 601285 h 802900"/>
                <a:gd name="connsiteX19" fmla="*/ 33995 w 343871"/>
                <a:gd name="connsiteY19" fmla="*/ 564975 h 802900"/>
                <a:gd name="connsiteX20" fmla="*/ 42834 w 343871"/>
                <a:gd name="connsiteY20" fmla="*/ 500901 h 802900"/>
                <a:gd name="connsiteX21" fmla="*/ 25765 w 343871"/>
                <a:gd name="connsiteY21" fmla="*/ 472535 h 802900"/>
                <a:gd name="connsiteX22" fmla="*/ 24127 w 343871"/>
                <a:gd name="connsiteY22" fmla="*/ 395916 h 802900"/>
                <a:gd name="connsiteX23" fmla="*/ 41462 w 343871"/>
                <a:gd name="connsiteY23" fmla="*/ 339662 h 802900"/>
                <a:gd name="connsiteX24" fmla="*/ 67961 w 343871"/>
                <a:gd name="connsiteY24" fmla="*/ 340700 h 802900"/>
                <a:gd name="connsiteX25" fmla="*/ 77248 w 343871"/>
                <a:gd name="connsiteY25" fmla="*/ 316373 h 802900"/>
                <a:gd name="connsiteX26" fmla="*/ 67523 w 343871"/>
                <a:gd name="connsiteY26" fmla="*/ 295113 h 802900"/>
                <a:gd name="connsiteX27" fmla="*/ 108995 w 343871"/>
                <a:gd name="connsiteY27" fmla="*/ 204626 h 802900"/>
                <a:gd name="connsiteX28" fmla="*/ 135703 w 343871"/>
                <a:gd name="connsiteY28" fmla="*/ 129692 h 802900"/>
                <a:gd name="connsiteX29" fmla="*/ 153343 w 343871"/>
                <a:gd name="connsiteY29" fmla="*/ 79753 h 802900"/>
                <a:gd name="connsiteX30" fmla="*/ 178984 w 343871"/>
                <a:gd name="connsiteY30" fmla="*/ 79991 h 802900"/>
                <a:gd name="connsiteX31" fmla="*/ 186052 w 343871"/>
                <a:gd name="connsiteY31" fmla="*/ 39824 h 802900"/>
                <a:gd name="connsiteX32" fmla="*/ 236382 w 343871"/>
                <a:gd name="connsiteY32" fmla="*/ 51483 h 802900"/>
                <a:gd name="connsiteX33" fmla="*/ 240306 w 343871"/>
                <a:gd name="connsiteY33" fmla="*/ 3077 h 802900"/>
                <a:gd name="connsiteX34" fmla="*/ 256870 w 343871"/>
                <a:gd name="connsiteY34" fmla="*/ 0 h 802900"/>
                <a:gd name="connsiteX35" fmla="*/ 292465 w 343871"/>
                <a:gd name="connsiteY35" fmla="*/ 36214 h 802900"/>
                <a:gd name="connsiteX36" fmla="*/ 334156 w 343871"/>
                <a:gd name="connsiteY36" fmla="*/ 85296 h 802900"/>
                <a:gd name="connsiteX37" fmla="*/ 334861 w 343871"/>
                <a:gd name="connsiteY37" fmla="*/ 191214 h 802900"/>
                <a:gd name="connsiteX38" fmla="*/ 343871 w 343871"/>
                <a:gd name="connsiteY38" fmla="*/ 216932 h 80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43871" h="802900">
                  <a:moveTo>
                    <a:pt x="297932" y="235410"/>
                  </a:moveTo>
                  <a:lnTo>
                    <a:pt x="272034" y="280083"/>
                  </a:lnTo>
                  <a:lnTo>
                    <a:pt x="276206" y="318335"/>
                  </a:lnTo>
                  <a:lnTo>
                    <a:pt x="233725" y="367284"/>
                  </a:lnTo>
                  <a:lnTo>
                    <a:pt x="182146" y="418128"/>
                  </a:lnTo>
                  <a:lnTo>
                    <a:pt x="162706" y="498253"/>
                  </a:lnTo>
                  <a:lnTo>
                    <a:pt x="181718" y="536991"/>
                  </a:lnTo>
                  <a:lnTo>
                    <a:pt x="207255" y="566899"/>
                  </a:lnTo>
                  <a:lnTo>
                    <a:pt x="182718" y="626202"/>
                  </a:lnTo>
                  <a:lnTo>
                    <a:pt x="154943" y="638251"/>
                  </a:lnTo>
                  <a:lnTo>
                    <a:pt x="144761" y="722433"/>
                  </a:lnTo>
                  <a:lnTo>
                    <a:pt x="129587" y="767753"/>
                  </a:lnTo>
                  <a:lnTo>
                    <a:pt x="97193" y="763134"/>
                  </a:lnTo>
                  <a:lnTo>
                    <a:pt x="82077" y="800748"/>
                  </a:lnTo>
                  <a:lnTo>
                    <a:pt x="51159" y="802900"/>
                  </a:lnTo>
                  <a:lnTo>
                    <a:pt x="42672" y="758038"/>
                  </a:lnTo>
                  <a:lnTo>
                    <a:pt x="20317" y="702688"/>
                  </a:lnTo>
                  <a:lnTo>
                    <a:pt x="0" y="631241"/>
                  </a:lnTo>
                  <a:lnTo>
                    <a:pt x="11773" y="601285"/>
                  </a:lnTo>
                  <a:lnTo>
                    <a:pt x="33995" y="564975"/>
                  </a:lnTo>
                  <a:lnTo>
                    <a:pt x="42834" y="500901"/>
                  </a:lnTo>
                  <a:lnTo>
                    <a:pt x="25765" y="472535"/>
                  </a:lnTo>
                  <a:lnTo>
                    <a:pt x="24127" y="395916"/>
                  </a:lnTo>
                  <a:lnTo>
                    <a:pt x="41462" y="339662"/>
                  </a:lnTo>
                  <a:lnTo>
                    <a:pt x="67961" y="340700"/>
                  </a:lnTo>
                  <a:lnTo>
                    <a:pt x="77248" y="316373"/>
                  </a:lnTo>
                  <a:lnTo>
                    <a:pt x="67523" y="295113"/>
                  </a:lnTo>
                  <a:lnTo>
                    <a:pt x="108995" y="204626"/>
                  </a:lnTo>
                  <a:lnTo>
                    <a:pt x="135703" y="129692"/>
                  </a:lnTo>
                  <a:lnTo>
                    <a:pt x="153343" y="79753"/>
                  </a:lnTo>
                  <a:lnTo>
                    <a:pt x="178984" y="79991"/>
                  </a:lnTo>
                  <a:lnTo>
                    <a:pt x="186052" y="39824"/>
                  </a:lnTo>
                  <a:lnTo>
                    <a:pt x="236382" y="51483"/>
                  </a:lnTo>
                  <a:lnTo>
                    <a:pt x="240306" y="3077"/>
                  </a:lnTo>
                  <a:lnTo>
                    <a:pt x="256870" y="0"/>
                  </a:lnTo>
                  <a:lnTo>
                    <a:pt x="292465" y="36214"/>
                  </a:lnTo>
                  <a:lnTo>
                    <a:pt x="334156" y="85296"/>
                  </a:lnTo>
                  <a:lnTo>
                    <a:pt x="334861" y="191214"/>
                  </a:lnTo>
                  <a:lnTo>
                    <a:pt x="343871" y="216932"/>
                  </a:lnTo>
                  <a:close/>
                </a:path>
              </a:pathLst>
            </a:custGeom>
            <a:solidFill>
              <a:schemeClr val="accent6"/>
            </a:solidFill>
            <a:ln w="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orme libre : forme 5792">
              <a:extLst>
                <a:ext uri="{FF2B5EF4-FFF2-40B4-BE49-F238E27FC236}">
                  <a16:creationId xmlns:a16="http://schemas.microsoft.com/office/drawing/2014/main" id="{1FDEA5F3-5A40-EC9A-ACAC-06E41CDD490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186735" y="3330344"/>
              <a:ext cx="76552" cy="53806"/>
            </a:xfrm>
            <a:custGeom>
              <a:avLst/>
              <a:gdLst>
                <a:gd name="connsiteX0" fmla="*/ 2886 w 76552"/>
                <a:gd name="connsiteY0" fmla="*/ 13316 h 53806"/>
                <a:gd name="connsiteX1" fmla="*/ 24946 w 76552"/>
                <a:gd name="connsiteY1" fmla="*/ 16307 h 53806"/>
                <a:gd name="connsiteX2" fmla="*/ 38424 w 76552"/>
                <a:gd name="connsiteY2" fmla="*/ 7525 h 53806"/>
                <a:gd name="connsiteX3" fmla="*/ 61779 w 76552"/>
                <a:gd name="connsiteY3" fmla="*/ 6563 h 53806"/>
                <a:gd name="connsiteX4" fmla="*/ 66875 w 76552"/>
                <a:gd name="connsiteY4" fmla="*/ 0 h 53806"/>
                <a:gd name="connsiteX5" fmla="*/ 71361 w 76552"/>
                <a:gd name="connsiteY5" fmla="*/ 429 h 53806"/>
                <a:gd name="connsiteX6" fmla="*/ 76552 w 76552"/>
                <a:gd name="connsiteY6" fmla="*/ 13526 h 53806"/>
                <a:gd name="connsiteX7" fmla="*/ 55293 w 76552"/>
                <a:gd name="connsiteY7" fmla="*/ 23774 h 53806"/>
                <a:gd name="connsiteX8" fmla="*/ 52692 w 76552"/>
                <a:gd name="connsiteY8" fmla="*/ 39272 h 53806"/>
                <a:gd name="connsiteX9" fmla="*/ 43415 w 76552"/>
                <a:gd name="connsiteY9" fmla="*/ 43177 h 53806"/>
                <a:gd name="connsiteX10" fmla="*/ 43510 w 76552"/>
                <a:gd name="connsiteY10" fmla="*/ 53807 h 53806"/>
                <a:gd name="connsiteX11" fmla="*/ 33033 w 76552"/>
                <a:gd name="connsiteY11" fmla="*/ 53074 h 53806"/>
                <a:gd name="connsiteX12" fmla="*/ 23946 w 76552"/>
                <a:gd name="connsiteY12" fmla="*/ 46863 h 53806"/>
                <a:gd name="connsiteX13" fmla="*/ 19059 w 76552"/>
                <a:gd name="connsiteY13" fmla="*/ 53283 h 53806"/>
                <a:gd name="connsiteX14" fmla="*/ 448 w 76552"/>
                <a:gd name="connsiteY14" fmla="*/ 51988 h 53806"/>
                <a:gd name="connsiteX15" fmla="*/ 6391 w 76552"/>
                <a:gd name="connsiteY15" fmla="*/ 48539 h 53806"/>
                <a:gd name="connsiteX16" fmla="*/ 0 w 76552"/>
                <a:gd name="connsiteY16" fmla="*/ 32280 h 53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552" h="53806">
                  <a:moveTo>
                    <a:pt x="2886" y="13316"/>
                  </a:moveTo>
                  <a:lnTo>
                    <a:pt x="24946" y="16307"/>
                  </a:lnTo>
                  <a:lnTo>
                    <a:pt x="38424" y="7525"/>
                  </a:lnTo>
                  <a:lnTo>
                    <a:pt x="61779" y="6563"/>
                  </a:lnTo>
                  <a:lnTo>
                    <a:pt x="66875" y="0"/>
                  </a:lnTo>
                  <a:lnTo>
                    <a:pt x="71361" y="429"/>
                  </a:lnTo>
                  <a:lnTo>
                    <a:pt x="76552" y="13526"/>
                  </a:lnTo>
                  <a:lnTo>
                    <a:pt x="55293" y="23774"/>
                  </a:lnTo>
                  <a:lnTo>
                    <a:pt x="52692" y="39272"/>
                  </a:lnTo>
                  <a:lnTo>
                    <a:pt x="43415" y="43177"/>
                  </a:lnTo>
                  <a:lnTo>
                    <a:pt x="43510" y="53807"/>
                  </a:lnTo>
                  <a:lnTo>
                    <a:pt x="33033" y="53074"/>
                  </a:lnTo>
                  <a:lnTo>
                    <a:pt x="23946" y="46863"/>
                  </a:lnTo>
                  <a:lnTo>
                    <a:pt x="19059" y="53283"/>
                  </a:lnTo>
                  <a:lnTo>
                    <a:pt x="448" y="51988"/>
                  </a:lnTo>
                  <a:lnTo>
                    <a:pt x="6391" y="48539"/>
                  </a:lnTo>
                  <a:lnTo>
                    <a:pt x="0" y="3228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orme libre : forme 5793">
              <a:extLst>
                <a:ext uri="{FF2B5EF4-FFF2-40B4-BE49-F238E27FC236}">
                  <a16:creationId xmlns:a16="http://schemas.microsoft.com/office/drawing/2014/main" id="{4786989F-C537-055F-0FAB-E8A4B0D7E7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099819" y="920376"/>
              <a:ext cx="453037" cy="535562"/>
            </a:xfrm>
            <a:custGeom>
              <a:avLst/>
              <a:gdLst>
                <a:gd name="connsiteX0" fmla="*/ 381381 w 453037"/>
                <a:gd name="connsiteY0" fmla="*/ 403784 h 535562"/>
                <a:gd name="connsiteX1" fmla="*/ 321726 w 453037"/>
                <a:gd name="connsiteY1" fmla="*/ 454828 h 535562"/>
                <a:gd name="connsiteX2" fmla="*/ 274606 w 453037"/>
                <a:gd name="connsiteY2" fmla="*/ 426053 h 535562"/>
                <a:gd name="connsiteX3" fmla="*/ 293037 w 453037"/>
                <a:gd name="connsiteY3" fmla="*/ 393440 h 535562"/>
                <a:gd name="connsiteX4" fmla="*/ 276901 w 453037"/>
                <a:gd name="connsiteY4" fmla="*/ 352073 h 535562"/>
                <a:gd name="connsiteX5" fmla="*/ 332251 w 453037"/>
                <a:gd name="connsiteY5" fmla="*/ 325574 h 535562"/>
                <a:gd name="connsiteX6" fmla="*/ 342852 w 453037"/>
                <a:gd name="connsiteY6" fmla="*/ 374866 h 535562"/>
                <a:gd name="connsiteX7" fmla="*/ 381381 w 453037"/>
                <a:gd name="connsiteY7" fmla="*/ 403784 h 535562"/>
                <a:gd name="connsiteX8" fmla="*/ 208521 w 453037"/>
                <a:gd name="connsiteY8" fmla="*/ 149695 h 535562"/>
                <a:gd name="connsiteX9" fmla="*/ 296437 w 453037"/>
                <a:gd name="connsiteY9" fmla="*/ 257251 h 535562"/>
                <a:gd name="connsiteX10" fmla="*/ 229228 w 453037"/>
                <a:gd name="connsiteY10" fmla="*/ 311163 h 535562"/>
                <a:gd name="connsiteX11" fmla="*/ 214389 w 453037"/>
                <a:gd name="connsiteY11" fmla="*/ 407232 h 535562"/>
                <a:gd name="connsiteX12" fmla="*/ 190957 w 453037"/>
                <a:gd name="connsiteY12" fmla="*/ 430949 h 535562"/>
                <a:gd name="connsiteX13" fmla="*/ 178241 w 453037"/>
                <a:gd name="connsiteY13" fmla="*/ 531009 h 535562"/>
                <a:gd name="connsiteX14" fmla="*/ 146056 w 453037"/>
                <a:gd name="connsiteY14" fmla="*/ 535562 h 535562"/>
                <a:gd name="connsiteX15" fmla="*/ 88621 w 453037"/>
                <a:gd name="connsiteY15" fmla="*/ 462753 h 535562"/>
                <a:gd name="connsiteX16" fmla="*/ 112843 w 453037"/>
                <a:gd name="connsiteY16" fmla="*/ 418719 h 535562"/>
                <a:gd name="connsiteX17" fmla="*/ 72809 w 453037"/>
                <a:gd name="connsiteY17" fmla="*/ 381933 h 535562"/>
                <a:gd name="connsiteX18" fmla="*/ 20774 w 453037"/>
                <a:gd name="connsiteY18" fmla="*/ 269319 h 535562"/>
                <a:gd name="connsiteX19" fmla="*/ 0 w 453037"/>
                <a:gd name="connsiteY19" fmla="*/ 157058 h 535562"/>
                <a:gd name="connsiteX20" fmla="*/ 72809 w 453037"/>
                <a:gd name="connsiteY20" fmla="*/ 102899 h 535562"/>
                <a:gd name="connsiteX21" fmla="*/ 87439 w 453037"/>
                <a:gd name="connsiteY21" fmla="*/ 155867 h 535562"/>
                <a:gd name="connsiteX22" fmla="*/ 125473 w 453037"/>
                <a:gd name="connsiteY22" fmla="*/ 153800 h 535562"/>
                <a:gd name="connsiteX23" fmla="*/ 135617 w 453037"/>
                <a:gd name="connsiteY23" fmla="*/ 102032 h 535562"/>
                <a:gd name="connsiteX24" fmla="*/ 174831 w 453037"/>
                <a:gd name="connsiteY24" fmla="*/ 96669 h 535562"/>
                <a:gd name="connsiteX25" fmla="*/ 208521 w 453037"/>
                <a:gd name="connsiteY25" fmla="*/ 149695 h 535562"/>
                <a:gd name="connsiteX26" fmla="*/ 400698 w 453037"/>
                <a:gd name="connsiteY26" fmla="*/ 40557 h 535562"/>
                <a:gd name="connsiteX27" fmla="*/ 453037 w 453037"/>
                <a:gd name="connsiteY27" fmla="*/ 95793 h 535562"/>
                <a:gd name="connsiteX28" fmla="*/ 413432 w 453037"/>
                <a:gd name="connsiteY28" fmla="*/ 176917 h 535562"/>
                <a:gd name="connsiteX29" fmla="*/ 335975 w 453037"/>
                <a:gd name="connsiteY29" fmla="*/ 194119 h 535562"/>
                <a:gd name="connsiteX30" fmla="*/ 257213 w 453037"/>
                <a:gd name="connsiteY30" fmla="*/ 169716 h 535562"/>
                <a:gd name="connsiteX31" fmla="*/ 252460 w 453037"/>
                <a:gd name="connsiteY31" fmla="*/ 128549 h 535562"/>
                <a:gd name="connsiteX32" fmla="*/ 214141 w 453037"/>
                <a:gd name="connsiteY32" fmla="*/ 125892 h 535562"/>
                <a:gd name="connsiteX33" fmla="*/ 184918 w 453037"/>
                <a:gd name="connsiteY33" fmla="*/ 54664 h 535562"/>
                <a:gd name="connsiteX34" fmla="*/ 267385 w 453037"/>
                <a:gd name="connsiteY34" fmla="*/ 9677 h 535562"/>
                <a:gd name="connsiteX35" fmla="*/ 306162 w 453037"/>
                <a:gd name="connsiteY35" fmla="*/ 48492 h 535562"/>
                <a:gd name="connsiteX36" fmla="*/ 333165 w 453037"/>
                <a:gd name="connsiteY36" fmla="*/ 0 h 535562"/>
                <a:gd name="connsiteX37" fmla="*/ 400698 w 453037"/>
                <a:gd name="connsiteY37" fmla="*/ 40557 h 535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53037" h="535562">
                  <a:moveTo>
                    <a:pt x="381381" y="403784"/>
                  </a:moveTo>
                  <a:lnTo>
                    <a:pt x="321726" y="454828"/>
                  </a:lnTo>
                  <a:lnTo>
                    <a:pt x="274606" y="426053"/>
                  </a:lnTo>
                  <a:lnTo>
                    <a:pt x="293037" y="393440"/>
                  </a:lnTo>
                  <a:lnTo>
                    <a:pt x="276901" y="352073"/>
                  </a:lnTo>
                  <a:lnTo>
                    <a:pt x="332251" y="325574"/>
                  </a:lnTo>
                  <a:lnTo>
                    <a:pt x="342852" y="374866"/>
                  </a:lnTo>
                  <a:lnTo>
                    <a:pt x="381381" y="403784"/>
                  </a:lnTo>
                  <a:close/>
                  <a:moveTo>
                    <a:pt x="208521" y="149695"/>
                  </a:moveTo>
                  <a:lnTo>
                    <a:pt x="296437" y="257251"/>
                  </a:lnTo>
                  <a:lnTo>
                    <a:pt x="229228" y="311163"/>
                  </a:lnTo>
                  <a:lnTo>
                    <a:pt x="214389" y="407232"/>
                  </a:lnTo>
                  <a:lnTo>
                    <a:pt x="190957" y="430949"/>
                  </a:lnTo>
                  <a:lnTo>
                    <a:pt x="178241" y="531009"/>
                  </a:lnTo>
                  <a:lnTo>
                    <a:pt x="146056" y="535562"/>
                  </a:lnTo>
                  <a:lnTo>
                    <a:pt x="88621" y="462753"/>
                  </a:lnTo>
                  <a:lnTo>
                    <a:pt x="112843" y="418719"/>
                  </a:lnTo>
                  <a:lnTo>
                    <a:pt x="72809" y="381933"/>
                  </a:lnTo>
                  <a:lnTo>
                    <a:pt x="20774" y="269319"/>
                  </a:lnTo>
                  <a:lnTo>
                    <a:pt x="0" y="157058"/>
                  </a:lnTo>
                  <a:lnTo>
                    <a:pt x="72809" y="102899"/>
                  </a:lnTo>
                  <a:lnTo>
                    <a:pt x="87439" y="155867"/>
                  </a:lnTo>
                  <a:lnTo>
                    <a:pt x="125473" y="153800"/>
                  </a:lnTo>
                  <a:lnTo>
                    <a:pt x="135617" y="102032"/>
                  </a:lnTo>
                  <a:lnTo>
                    <a:pt x="174831" y="96669"/>
                  </a:lnTo>
                  <a:lnTo>
                    <a:pt x="208521" y="149695"/>
                  </a:lnTo>
                  <a:close/>
                  <a:moveTo>
                    <a:pt x="400698" y="40557"/>
                  </a:moveTo>
                  <a:lnTo>
                    <a:pt x="453037" y="95793"/>
                  </a:lnTo>
                  <a:lnTo>
                    <a:pt x="413432" y="176917"/>
                  </a:lnTo>
                  <a:lnTo>
                    <a:pt x="335975" y="194119"/>
                  </a:lnTo>
                  <a:lnTo>
                    <a:pt x="257213" y="169716"/>
                  </a:lnTo>
                  <a:lnTo>
                    <a:pt x="252460" y="128549"/>
                  </a:lnTo>
                  <a:lnTo>
                    <a:pt x="214141" y="125892"/>
                  </a:lnTo>
                  <a:lnTo>
                    <a:pt x="184918" y="54664"/>
                  </a:lnTo>
                  <a:lnTo>
                    <a:pt x="267385" y="9677"/>
                  </a:lnTo>
                  <a:lnTo>
                    <a:pt x="306162" y="48492"/>
                  </a:lnTo>
                  <a:lnTo>
                    <a:pt x="333165" y="0"/>
                  </a:lnTo>
                  <a:lnTo>
                    <a:pt x="400698" y="4055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" name="Forme libre : forme 5794">
              <a:extLst>
                <a:ext uri="{FF2B5EF4-FFF2-40B4-BE49-F238E27FC236}">
                  <a16:creationId xmlns:a16="http://schemas.microsoft.com/office/drawing/2014/main" id="{9D7508CE-C6D9-3AAB-8939-AC14E5F4DF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271707" y="3221654"/>
              <a:ext cx="151638" cy="73113"/>
            </a:xfrm>
            <a:custGeom>
              <a:avLst/>
              <a:gdLst>
                <a:gd name="connsiteX0" fmla="*/ 52693 w 151638"/>
                <a:gd name="connsiteY0" fmla="*/ 3095 h 73113"/>
                <a:gd name="connsiteX1" fmla="*/ 54197 w 151638"/>
                <a:gd name="connsiteY1" fmla="*/ 5572 h 73113"/>
                <a:gd name="connsiteX2" fmla="*/ 65180 w 151638"/>
                <a:gd name="connsiteY2" fmla="*/ 0 h 73113"/>
                <a:gd name="connsiteX3" fmla="*/ 78648 w 151638"/>
                <a:gd name="connsiteY3" fmla="*/ 14506 h 73113"/>
                <a:gd name="connsiteX4" fmla="*/ 94431 w 151638"/>
                <a:gd name="connsiteY4" fmla="*/ 5753 h 73113"/>
                <a:gd name="connsiteX5" fmla="*/ 107042 w 151638"/>
                <a:gd name="connsiteY5" fmla="*/ 9953 h 73113"/>
                <a:gd name="connsiteX6" fmla="*/ 126264 w 151638"/>
                <a:gd name="connsiteY6" fmla="*/ 4162 h 73113"/>
                <a:gd name="connsiteX7" fmla="*/ 151638 w 151638"/>
                <a:gd name="connsiteY7" fmla="*/ 19860 h 73113"/>
                <a:gd name="connsiteX8" fmla="*/ 144237 w 151638"/>
                <a:gd name="connsiteY8" fmla="*/ 30413 h 73113"/>
                <a:gd name="connsiteX9" fmla="*/ 139027 w 151638"/>
                <a:gd name="connsiteY9" fmla="*/ 46653 h 73113"/>
                <a:gd name="connsiteX10" fmla="*/ 133331 w 151638"/>
                <a:gd name="connsiteY10" fmla="*/ 50749 h 73113"/>
                <a:gd name="connsiteX11" fmla="*/ 104728 w 151638"/>
                <a:gd name="connsiteY11" fmla="*/ 38548 h 73113"/>
                <a:gd name="connsiteX12" fmla="*/ 95974 w 151638"/>
                <a:gd name="connsiteY12" fmla="*/ 41005 h 73113"/>
                <a:gd name="connsiteX13" fmla="*/ 89707 w 151638"/>
                <a:gd name="connsiteY13" fmla="*/ 50454 h 73113"/>
                <a:gd name="connsiteX14" fmla="*/ 77172 w 151638"/>
                <a:gd name="connsiteY14" fmla="*/ 55445 h 73113"/>
                <a:gd name="connsiteX15" fmla="*/ 74276 w 151638"/>
                <a:gd name="connsiteY15" fmla="*/ 52883 h 73113"/>
                <a:gd name="connsiteX16" fmla="*/ 61275 w 151638"/>
                <a:gd name="connsiteY16" fmla="*/ 59084 h 73113"/>
                <a:gd name="connsiteX17" fmla="*/ 50664 w 151638"/>
                <a:gd name="connsiteY17" fmla="*/ 60265 h 73113"/>
                <a:gd name="connsiteX18" fmla="*/ 48511 w 151638"/>
                <a:gd name="connsiteY18" fmla="*/ 68256 h 73113"/>
                <a:gd name="connsiteX19" fmla="*/ 26099 w 151638"/>
                <a:gd name="connsiteY19" fmla="*/ 73114 h 73113"/>
                <a:gd name="connsiteX20" fmla="*/ 16250 w 151638"/>
                <a:gd name="connsiteY20" fmla="*/ 68789 h 73113"/>
                <a:gd name="connsiteX21" fmla="*/ 2658 w 151638"/>
                <a:gd name="connsiteY21" fmla="*/ 58607 h 73113"/>
                <a:gd name="connsiteX22" fmla="*/ 0 w 151638"/>
                <a:gd name="connsiteY22" fmla="*/ 44729 h 73113"/>
                <a:gd name="connsiteX23" fmla="*/ 2143 w 151638"/>
                <a:gd name="connsiteY23" fmla="*/ 39633 h 73113"/>
                <a:gd name="connsiteX24" fmla="*/ 5935 w 151638"/>
                <a:gd name="connsiteY24" fmla="*/ 30756 h 73113"/>
                <a:gd name="connsiteX25" fmla="*/ 17765 w 151638"/>
                <a:gd name="connsiteY25" fmla="*/ 31432 h 73113"/>
                <a:gd name="connsiteX26" fmla="*/ 26880 w 151638"/>
                <a:gd name="connsiteY26" fmla="*/ 27251 h 73113"/>
                <a:gd name="connsiteX27" fmla="*/ 27604 w 151638"/>
                <a:gd name="connsiteY27" fmla="*/ 23479 h 73113"/>
                <a:gd name="connsiteX28" fmla="*/ 32719 w 151638"/>
                <a:gd name="connsiteY28" fmla="*/ 21555 h 73113"/>
                <a:gd name="connsiteX29" fmla="*/ 34462 w 151638"/>
                <a:gd name="connsiteY29" fmla="*/ 12287 h 73113"/>
                <a:gd name="connsiteX30" fmla="*/ 40596 w 151638"/>
                <a:gd name="connsiteY30" fmla="*/ 10515 h 73113"/>
                <a:gd name="connsiteX31" fmla="*/ 44730 w 151638"/>
                <a:gd name="connsiteY31" fmla="*/ 3143 h 73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51638" h="73113">
                  <a:moveTo>
                    <a:pt x="52693" y="3095"/>
                  </a:moveTo>
                  <a:lnTo>
                    <a:pt x="54197" y="5572"/>
                  </a:lnTo>
                  <a:lnTo>
                    <a:pt x="65180" y="0"/>
                  </a:lnTo>
                  <a:lnTo>
                    <a:pt x="78648" y="14506"/>
                  </a:lnTo>
                  <a:lnTo>
                    <a:pt x="94431" y="5753"/>
                  </a:lnTo>
                  <a:lnTo>
                    <a:pt x="107042" y="9953"/>
                  </a:lnTo>
                  <a:lnTo>
                    <a:pt x="126264" y="4162"/>
                  </a:lnTo>
                  <a:lnTo>
                    <a:pt x="151638" y="19860"/>
                  </a:lnTo>
                  <a:lnTo>
                    <a:pt x="144237" y="30413"/>
                  </a:lnTo>
                  <a:lnTo>
                    <a:pt x="139027" y="46653"/>
                  </a:lnTo>
                  <a:lnTo>
                    <a:pt x="133331" y="50749"/>
                  </a:lnTo>
                  <a:lnTo>
                    <a:pt x="104728" y="38548"/>
                  </a:lnTo>
                  <a:lnTo>
                    <a:pt x="95974" y="41005"/>
                  </a:lnTo>
                  <a:lnTo>
                    <a:pt x="89707" y="50454"/>
                  </a:lnTo>
                  <a:lnTo>
                    <a:pt x="77172" y="55445"/>
                  </a:lnTo>
                  <a:lnTo>
                    <a:pt x="74276" y="52883"/>
                  </a:lnTo>
                  <a:lnTo>
                    <a:pt x="61275" y="59084"/>
                  </a:lnTo>
                  <a:lnTo>
                    <a:pt x="50664" y="60265"/>
                  </a:lnTo>
                  <a:lnTo>
                    <a:pt x="48511" y="68256"/>
                  </a:lnTo>
                  <a:lnTo>
                    <a:pt x="26099" y="73114"/>
                  </a:lnTo>
                  <a:lnTo>
                    <a:pt x="16250" y="68789"/>
                  </a:lnTo>
                  <a:lnTo>
                    <a:pt x="2658" y="58607"/>
                  </a:lnTo>
                  <a:lnTo>
                    <a:pt x="0" y="44729"/>
                  </a:lnTo>
                  <a:lnTo>
                    <a:pt x="2143" y="39633"/>
                  </a:lnTo>
                  <a:lnTo>
                    <a:pt x="5935" y="30756"/>
                  </a:lnTo>
                  <a:lnTo>
                    <a:pt x="17765" y="31432"/>
                  </a:lnTo>
                  <a:lnTo>
                    <a:pt x="26880" y="27251"/>
                  </a:lnTo>
                  <a:lnTo>
                    <a:pt x="27604" y="23479"/>
                  </a:lnTo>
                  <a:lnTo>
                    <a:pt x="32719" y="21555"/>
                  </a:lnTo>
                  <a:lnTo>
                    <a:pt x="34462" y="12287"/>
                  </a:lnTo>
                  <a:lnTo>
                    <a:pt x="40596" y="10515"/>
                  </a:lnTo>
                  <a:lnTo>
                    <a:pt x="44730" y="314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Forme libre : forme 5795">
              <a:extLst>
                <a:ext uri="{FF2B5EF4-FFF2-40B4-BE49-F238E27FC236}">
                  <a16:creationId xmlns:a16="http://schemas.microsoft.com/office/drawing/2014/main" id="{660E1A64-2315-893E-FC04-974A5CE859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467130" y="4474734"/>
              <a:ext cx="80552" cy="87477"/>
            </a:xfrm>
            <a:custGeom>
              <a:avLst/>
              <a:gdLst>
                <a:gd name="connsiteX0" fmla="*/ 48273 w 80552"/>
                <a:gd name="connsiteY0" fmla="*/ 87478 h 87477"/>
                <a:gd name="connsiteX1" fmla="*/ 41081 w 80552"/>
                <a:gd name="connsiteY1" fmla="*/ 85497 h 87477"/>
                <a:gd name="connsiteX2" fmla="*/ 21850 w 80552"/>
                <a:gd name="connsiteY2" fmla="*/ 74724 h 87477"/>
                <a:gd name="connsiteX3" fmla="*/ 7944 w 80552"/>
                <a:gd name="connsiteY3" fmla="*/ 60388 h 87477"/>
                <a:gd name="connsiteX4" fmla="*/ 3267 w 80552"/>
                <a:gd name="connsiteY4" fmla="*/ 50597 h 87477"/>
                <a:gd name="connsiteX5" fmla="*/ 0 w 80552"/>
                <a:gd name="connsiteY5" fmla="*/ 30775 h 87477"/>
                <a:gd name="connsiteX6" fmla="*/ 14268 w 80552"/>
                <a:gd name="connsiteY6" fmla="*/ 18955 h 87477"/>
                <a:gd name="connsiteX7" fmla="*/ 17354 w 80552"/>
                <a:gd name="connsiteY7" fmla="*/ 11497 h 87477"/>
                <a:gd name="connsiteX8" fmla="*/ 21917 w 80552"/>
                <a:gd name="connsiteY8" fmla="*/ 5687 h 87477"/>
                <a:gd name="connsiteX9" fmla="*/ 29270 w 80552"/>
                <a:gd name="connsiteY9" fmla="*/ 5077 h 87477"/>
                <a:gd name="connsiteX10" fmla="*/ 35500 w 80552"/>
                <a:gd name="connsiteY10" fmla="*/ 0 h 87477"/>
                <a:gd name="connsiteX11" fmla="*/ 56855 w 80552"/>
                <a:gd name="connsiteY11" fmla="*/ 29 h 87477"/>
                <a:gd name="connsiteX12" fmla="*/ 64284 w 80552"/>
                <a:gd name="connsiteY12" fmla="*/ 9658 h 87477"/>
                <a:gd name="connsiteX13" fmla="*/ 70075 w 80552"/>
                <a:gd name="connsiteY13" fmla="*/ 20965 h 87477"/>
                <a:gd name="connsiteX14" fmla="*/ 69209 w 80552"/>
                <a:gd name="connsiteY14" fmla="*/ 28785 h 87477"/>
                <a:gd name="connsiteX15" fmla="*/ 73505 w 80552"/>
                <a:gd name="connsiteY15" fmla="*/ 35805 h 87477"/>
                <a:gd name="connsiteX16" fmla="*/ 73200 w 80552"/>
                <a:gd name="connsiteY16" fmla="*/ 45644 h 87477"/>
                <a:gd name="connsiteX17" fmla="*/ 80553 w 80552"/>
                <a:gd name="connsiteY17" fmla="*/ 44110 h 87477"/>
                <a:gd name="connsiteX18" fmla="*/ 68123 w 80552"/>
                <a:gd name="connsiteY18" fmla="*/ 56617 h 87477"/>
                <a:gd name="connsiteX19" fmla="*/ 56074 w 80552"/>
                <a:gd name="connsiteY19" fmla="*/ 71152 h 87477"/>
                <a:gd name="connsiteX20" fmla="*/ 54664 w 80552"/>
                <a:gd name="connsiteY20" fmla="*/ 78924 h 8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552" h="87477">
                  <a:moveTo>
                    <a:pt x="48273" y="87478"/>
                  </a:moveTo>
                  <a:lnTo>
                    <a:pt x="41081" y="85497"/>
                  </a:lnTo>
                  <a:lnTo>
                    <a:pt x="21850" y="74724"/>
                  </a:lnTo>
                  <a:lnTo>
                    <a:pt x="7944" y="60388"/>
                  </a:lnTo>
                  <a:lnTo>
                    <a:pt x="3267" y="50597"/>
                  </a:lnTo>
                  <a:lnTo>
                    <a:pt x="0" y="30775"/>
                  </a:lnTo>
                  <a:lnTo>
                    <a:pt x="14268" y="18955"/>
                  </a:lnTo>
                  <a:lnTo>
                    <a:pt x="17354" y="11497"/>
                  </a:lnTo>
                  <a:lnTo>
                    <a:pt x="21917" y="5687"/>
                  </a:lnTo>
                  <a:lnTo>
                    <a:pt x="29270" y="5077"/>
                  </a:lnTo>
                  <a:lnTo>
                    <a:pt x="35500" y="0"/>
                  </a:lnTo>
                  <a:lnTo>
                    <a:pt x="56855" y="29"/>
                  </a:lnTo>
                  <a:lnTo>
                    <a:pt x="64284" y="9658"/>
                  </a:lnTo>
                  <a:lnTo>
                    <a:pt x="70075" y="20965"/>
                  </a:lnTo>
                  <a:lnTo>
                    <a:pt x="69209" y="28785"/>
                  </a:lnTo>
                  <a:lnTo>
                    <a:pt x="73505" y="35805"/>
                  </a:lnTo>
                  <a:lnTo>
                    <a:pt x="73200" y="45644"/>
                  </a:lnTo>
                  <a:lnTo>
                    <a:pt x="80553" y="44110"/>
                  </a:lnTo>
                  <a:lnTo>
                    <a:pt x="68123" y="56617"/>
                  </a:lnTo>
                  <a:lnTo>
                    <a:pt x="56074" y="71152"/>
                  </a:lnTo>
                  <a:lnTo>
                    <a:pt x="54664" y="7892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orme libre : forme 5796">
              <a:extLst>
                <a:ext uri="{FF2B5EF4-FFF2-40B4-BE49-F238E27FC236}">
                  <a16:creationId xmlns:a16="http://schemas.microsoft.com/office/drawing/2014/main" id="{36C0B31A-3FF0-8E4B-FE38-8113B1D7B7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350192" y="4295960"/>
              <a:ext cx="164439" cy="116966"/>
            </a:xfrm>
            <a:custGeom>
              <a:avLst/>
              <a:gdLst>
                <a:gd name="connsiteX0" fmla="*/ 24337 w 164439"/>
                <a:gd name="connsiteY0" fmla="*/ 82572 h 116966"/>
                <a:gd name="connsiteX1" fmla="*/ 13326 w 164439"/>
                <a:gd name="connsiteY1" fmla="*/ 61274 h 116966"/>
                <a:gd name="connsiteX2" fmla="*/ 0 w 164439"/>
                <a:gd name="connsiteY2" fmla="*/ 51511 h 116966"/>
                <a:gd name="connsiteX3" fmla="*/ 11744 w 164439"/>
                <a:gd name="connsiteY3" fmla="*/ 46301 h 116966"/>
                <a:gd name="connsiteX4" fmla="*/ 24689 w 164439"/>
                <a:gd name="connsiteY4" fmla="*/ 26984 h 116966"/>
                <a:gd name="connsiteX5" fmla="*/ 31032 w 164439"/>
                <a:gd name="connsiteY5" fmla="*/ 12821 h 116966"/>
                <a:gd name="connsiteX6" fmla="*/ 40177 w 164439"/>
                <a:gd name="connsiteY6" fmla="*/ 3953 h 116966"/>
                <a:gd name="connsiteX7" fmla="*/ 53445 w 164439"/>
                <a:gd name="connsiteY7" fmla="*/ 6344 h 116966"/>
                <a:gd name="connsiteX8" fmla="*/ 66475 w 164439"/>
                <a:gd name="connsiteY8" fmla="*/ 314 h 116966"/>
                <a:gd name="connsiteX9" fmla="*/ 81391 w 164439"/>
                <a:gd name="connsiteY9" fmla="*/ 0 h 116966"/>
                <a:gd name="connsiteX10" fmla="*/ 94155 w 164439"/>
                <a:gd name="connsiteY10" fmla="*/ 8144 h 116966"/>
                <a:gd name="connsiteX11" fmla="*/ 111881 w 164439"/>
                <a:gd name="connsiteY11" fmla="*/ 15459 h 116966"/>
                <a:gd name="connsiteX12" fmla="*/ 128045 w 164439"/>
                <a:gd name="connsiteY12" fmla="*/ 35738 h 116966"/>
                <a:gd name="connsiteX13" fmla="*/ 145666 w 164439"/>
                <a:gd name="connsiteY13" fmla="*/ 54607 h 116966"/>
                <a:gd name="connsiteX14" fmla="*/ 146885 w 164439"/>
                <a:gd name="connsiteY14" fmla="*/ 71647 h 116966"/>
                <a:gd name="connsiteX15" fmla="*/ 152162 w 164439"/>
                <a:gd name="connsiteY15" fmla="*/ 87287 h 116966"/>
                <a:gd name="connsiteX16" fmla="*/ 162154 w 164439"/>
                <a:gd name="connsiteY16" fmla="*/ 94945 h 116966"/>
                <a:gd name="connsiteX17" fmla="*/ 164440 w 164439"/>
                <a:gd name="connsiteY17" fmla="*/ 105480 h 116966"/>
                <a:gd name="connsiteX18" fmla="*/ 163211 w 164439"/>
                <a:gd name="connsiteY18" fmla="*/ 113947 h 116966"/>
                <a:gd name="connsiteX19" fmla="*/ 159353 w 164439"/>
                <a:gd name="connsiteY19" fmla="*/ 115481 h 116966"/>
                <a:gd name="connsiteX20" fmla="*/ 144790 w 164439"/>
                <a:gd name="connsiteY20" fmla="*/ 113328 h 116966"/>
                <a:gd name="connsiteX21" fmla="*/ 142789 w 164439"/>
                <a:gd name="connsiteY21" fmla="*/ 116357 h 116966"/>
                <a:gd name="connsiteX22" fmla="*/ 136903 w 164439"/>
                <a:gd name="connsiteY22" fmla="*/ 116967 h 116966"/>
                <a:gd name="connsiteX23" fmla="*/ 117700 w 164439"/>
                <a:gd name="connsiteY23" fmla="*/ 110337 h 116966"/>
                <a:gd name="connsiteX24" fmla="*/ 104813 w 164439"/>
                <a:gd name="connsiteY24" fmla="*/ 110052 h 116966"/>
                <a:gd name="connsiteX25" fmla="*/ 55455 w 164439"/>
                <a:gd name="connsiteY25" fmla="*/ 108918 h 116966"/>
                <a:gd name="connsiteX26" fmla="*/ 48301 w 164439"/>
                <a:gd name="connsiteY26" fmla="*/ 111976 h 116966"/>
                <a:gd name="connsiteX27" fmla="*/ 39453 w 164439"/>
                <a:gd name="connsiteY27" fmla="*/ 111100 h 116966"/>
                <a:gd name="connsiteX28" fmla="*/ 25308 w 164439"/>
                <a:gd name="connsiteY28" fmla="*/ 115529 h 116966"/>
                <a:gd name="connsiteX29" fmla="*/ 20927 w 164439"/>
                <a:gd name="connsiteY29" fmla="*/ 94669 h 116966"/>
                <a:gd name="connsiteX30" fmla="*/ 45234 w 164439"/>
                <a:gd name="connsiteY30" fmla="*/ 95250 h 116966"/>
                <a:gd name="connsiteX31" fmla="*/ 51654 w 164439"/>
                <a:gd name="connsiteY31" fmla="*/ 91430 h 116966"/>
                <a:gd name="connsiteX32" fmla="*/ 56436 w 164439"/>
                <a:gd name="connsiteY32" fmla="*/ 91202 h 116966"/>
                <a:gd name="connsiteX33" fmla="*/ 66332 w 164439"/>
                <a:gd name="connsiteY33" fmla="*/ 84906 h 116966"/>
                <a:gd name="connsiteX34" fmla="*/ 77791 w 164439"/>
                <a:gd name="connsiteY34" fmla="*/ 90668 h 116966"/>
                <a:gd name="connsiteX35" fmla="*/ 89392 w 164439"/>
                <a:gd name="connsiteY35" fmla="*/ 91154 h 116966"/>
                <a:gd name="connsiteX36" fmla="*/ 100955 w 164439"/>
                <a:gd name="connsiteY36" fmla="*/ 85030 h 116966"/>
                <a:gd name="connsiteX37" fmla="*/ 95555 w 164439"/>
                <a:gd name="connsiteY37" fmla="*/ 77133 h 116966"/>
                <a:gd name="connsiteX38" fmla="*/ 86754 w 164439"/>
                <a:gd name="connsiteY38" fmla="*/ 81734 h 116966"/>
                <a:gd name="connsiteX39" fmla="*/ 78467 w 164439"/>
                <a:gd name="connsiteY39" fmla="*/ 81610 h 116966"/>
                <a:gd name="connsiteX40" fmla="*/ 67923 w 164439"/>
                <a:gd name="connsiteY40" fmla="*/ 74886 h 116966"/>
                <a:gd name="connsiteX41" fmla="*/ 59455 w 164439"/>
                <a:gd name="connsiteY41" fmla="*/ 75324 h 116966"/>
                <a:gd name="connsiteX42" fmla="*/ 53426 w 164439"/>
                <a:gd name="connsiteY42" fmla="*/ 81791 h 11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64439" h="116966">
                  <a:moveTo>
                    <a:pt x="24337" y="82572"/>
                  </a:moveTo>
                  <a:lnTo>
                    <a:pt x="13326" y="61274"/>
                  </a:lnTo>
                  <a:lnTo>
                    <a:pt x="0" y="51511"/>
                  </a:lnTo>
                  <a:lnTo>
                    <a:pt x="11744" y="46301"/>
                  </a:lnTo>
                  <a:lnTo>
                    <a:pt x="24689" y="26984"/>
                  </a:lnTo>
                  <a:lnTo>
                    <a:pt x="31032" y="12821"/>
                  </a:lnTo>
                  <a:lnTo>
                    <a:pt x="40177" y="3953"/>
                  </a:lnTo>
                  <a:lnTo>
                    <a:pt x="53445" y="6344"/>
                  </a:lnTo>
                  <a:lnTo>
                    <a:pt x="66475" y="314"/>
                  </a:lnTo>
                  <a:lnTo>
                    <a:pt x="81391" y="0"/>
                  </a:lnTo>
                  <a:lnTo>
                    <a:pt x="94155" y="8144"/>
                  </a:lnTo>
                  <a:lnTo>
                    <a:pt x="111881" y="15459"/>
                  </a:lnTo>
                  <a:lnTo>
                    <a:pt x="128045" y="35738"/>
                  </a:lnTo>
                  <a:lnTo>
                    <a:pt x="145666" y="54607"/>
                  </a:lnTo>
                  <a:lnTo>
                    <a:pt x="146885" y="71647"/>
                  </a:lnTo>
                  <a:lnTo>
                    <a:pt x="152162" y="87287"/>
                  </a:lnTo>
                  <a:lnTo>
                    <a:pt x="162154" y="94945"/>
                  </a:lnTo>
                  <a:lnTo>
                    <a:pt x="164440" y="105480"/>
                  </a:lnTo>
                  <a:lnTo>
                    <a:pt x="163211" y="113947"/>
                  </a:lnTo>
                  <a:lnTo>
                    <a:pt x="159353" y="115481"/>
                  </a:lnTo>
                  <a:lnTo>
                    <a:pt x="144790" y="113328"/>
                  </a:lnTo>
                  <a:lnTo>
                    <a:pt x="142789" y="116357"/>
                  </a:lnTo>
                  <a:lnTo>
                    <a:pt x="136903" y="116967"/>
                  </a:lnTo>
                  <a:lnTo>
                    <a:pt x="117700" y="110337"/>
                  </a:lnTo>
                  <a:lnTo>
                    <a:pt x="104813" y="110052"/>
                  </a:lnTo>
                  <a:lnTo>
                    <a:pt x="55455" y="108918"/>
                  </a:lnTo>
                  <a:lnTo>
                    <a:pt x="48301" y="111976"/>
                  </a:lnTo>
                  <a:lnTo>
                    <a:pt x="39453" y="111100"/>
                  </a:lnTo>
                  <a:lnTo>
                    <a:pt x="25308" y="115529"/>
                  </a:lnTo>
                  <a:lnTo>
                    <a:pt x="20927" y="94669"/>
                  </a:lnTo>
                  <a:lnTo>
                    <a:pt x="45234" y="95250"/>
                  </a:lnTo>
                  <a:lnTo>
                    <a:pt x="51654" y="91430"/>
                  </a:lnTo>
                  <a:lnTo>
                    <a:pt x="56436" y="91202"/>
                  </a:lnTo>
                  <a:lnTo>
                    <a:pt x="66332" y="84906"/>
                  </a:lnTo>
                  <a:lnTo>
                    <a:pt x="77791" y="90668"/>
                  </a:lnTo>
                  <a:lnTo>
                    <a:pt x="89392" y="91154"/>
                  </a:lnTo>
                  <a:lnTo>
                    <a:pt x="100955" y="85030"/>
                  </a:lnTo>
                  <a:lnTo>
                    <a:pt x="95555" y="77133"/>
                  </a:lnTo>
                  <a:lnTo>
                    <a:pt x="86754" y="81734"/>
                  </a:lnTo>
                  <a:lnTo>
                    <a:pt x="78467" y="81610"/>
                  </a:lnTo>
                  <a:lnTo>
                    <a:pt x="67923" y="74886"/>
                  </a:lnTo>
                  <a:lnTo>
                    <a:pt x="59455" y="75324"/>
                  </a:lnTo>
                  <a:lnTo>
                    <a:pt x="53426" y="817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Forme libre : forme 5797">
              <a:extLst>
                <a:ext uri="{FF2B5EF4-FFF2-40B4-BE49-F238E27FC236}">
                  <a16:creationId xmlns:a16="http://schemas.microsoft.com/office/drawing/2014/main" id="{083597CB-EBB1-31C8-3E69-86764CD9D33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915369" y="4421271"/>
              <a:ext cx="271147" cy="366045"/>
            </a:xfrm>
            <a:custGeom>
              <a:avLst/>
              <a:gdLst>
                <a:gd name="connsiteX0" fmla="*/ 271148 w 271147"/>
                <a:gd name="connsiteY0" fmla="*/ 7496 h 366045"/>
                <a:gd name="connsiteX1" fmla="*/ 270548 w 271147"/>
                <a:gd name="connsiteY1" fmla="*/ 0 h 366045"/>
                <a:gd name="connsiteX2" fmla="*/ 260413 w 271147"/>
                <a:gd name="connsiteY2" fmla="*/ 67 h 366045"/>
                <a:gd name="connsiteX3" fmla="*/ 247774 w 271147"/>
                <a:gd name="connsiteY3" fmla="*/ 9353 h 366045"/>
                <a:gd name="connsiteX4" fmla="*/ 233619 w 271147"/>
                <a:gd name="connsiteY4" fmla="*/ 12077 h 366045"/>
                <a:gd name="connsiteX5" fmla="*/ 221313 w 271147"/>
                <a:gd name="connsiteY5" fmla="*/ 16097 h 366045"/>
                <a:gd name="connsiteX6" fmla="*/ 212779 w 271147"/>
                <a:gd name="connsiteY6" fmla="*/ 16640 h 366045"/>
                <a:gd name="connsiteX7" fmla="*/ 197568 w 271147"/>
                <a:gd name="connsiteY7" fmla="*/ 17583 h 366045"/>
                <a:gd name="connsiteX8" fmla="*/ 188023 w 271147"/>
                <a:gd name="connsiteY8" fmla="*/ 22527 h 366045"/>
                <a:gd name="connsiteX9" fmla="*/ 174784 w 271147"/>
                <a:gd name="connsiteY9" fmla="*/ 24308 h 366045"/>
                <a:gd name="connsiteX10" fmla="*/ 151276 w 271147"/>
                <a:gd name="connsiteY10" fmla="*/ 32699 h 366045"/>
                <a:gd name="connsiteX11" fmla="*/ 122205 w 271147"/>
                <a:gd name="connsiteY11" fmla="*/ 35900 h 366045"/>
                <a:gd name="connsiteX12" fmla="*/ 97031 w 271147"/>
                <a:gd name="connsiteY12" fmla="*/ 42805 h 366045"/>
                <a:gd name="connsiteX13" fmla="*/ 83772 w 271147"/>
                <a:gd name="connsiteY13" fmla="*/ 42719 h 366045"/>
                <a:gd name="connsiteX14" fmla="*/ 71723 w 271147"/>
                <a:gd name="connsiteY14" fmla="*/ 31413 h 366045"/>
                <a:gd name="connsiteX15" fmla="*/ 66484 w 271147"/>
                <a:gd name="connsiteY15" fmla="*/ 20241 h 366045"/>
                <a:gd name="connsiteX16" fmla="*/ 57798 w 271147"/>
                <a:gd name="connsiteY16" fmla="*/ 15249 h 366045"/>
                <a:gd name="connsiteX17" fmla="*/ 47958 w 271147"/>
                <a:gd name="connsiteY17" fmla="*/ 29718 h 366045"/>
                <a:gd name="connsiteX18" fmla="*/ 42138 w 271147"/>
                <a:gd name="connsiteY18" fmla="*/ 39291 h 366045"/>
                <a:gd name="connsiteX19" fmla="*/ 51997 w 271147"/>
                <a:gd name="connsiteY19" fmla="*/ 54140 h 366045"/>
                <a:gd name="connsiteX20" fmla="*/ 61846 w 271147"/>
                <a:gd name="connsiteY20" fmla="*/ 67103 h 366045"/>
                <a:gd name="connsiteX21" fmla="*/ 72047 w 271147"/>
                <a:gd name="connsiteY21" fmla="*/ 76695 h 366045"/>
                <a:gd name="connsiteX22" fmla="*/ 159362 w 271147"/>
                <a:gd name="connsiteY22" fmla="*/ 108547 h 366045"/>
                <a:gd name="connsiteX23" fmla="*/ 181832 w 271147"/>
                <a:gd name="connsiteY23" fmla="*/ 108375 h 366045"/>
                <a:gd name="connsiteX24" fmla="*/ 106356 w 271147"/>
                <a:gd name="connsiteY24" fmla="*/ 188538 h 366045"/>
                <a:gd name="connsiteX25" fmla="*/ 71571 w 271147"/>
                <a:gd name="connsiteY25" fmla="*/ 189709 h 366045"/>
                <a:gd name="connsiteX26" fmla="*/ 47767 w 271147"/>
                <a:gd name="connsiteY26" fmla="*/ 208464 h 366045"/>
                <a:gd name="connsiteX27" fmla="*/ 30642 w 271147"/>
                <a:gd name="connsiteY27" fmla="*/ 208959 h 366045"/>
                <a:gd name="connsiteX28" fmla="*/ 23336 w 271147"/>
                <a:gd name="connsiteY28" fmla="*/ 217341 h 366045"/>
                <a:gd name="connsiteX29" fmla="*/ 0 w 271147"/>
                <a:gd name="connsiteY29" fmla="*/ 247488 h 366045"/>
                <a:gd name="connsiteX30" fmla="*/ 314 w 271147"/>
                <a:gd name="connsiteY30" fmla="*/ 344148 h 366045"/>
                <a:gd name="connsiteX31" fmla="*/ 16135 w 271147"/>
                <a:gd name="connsiteY31" fmla="*/ 366046 h 366045"/>
                <a:gd name="connsiteX32" fmla="*/ 22164 w 271147"/>
                <a:gd name="connsiteY32" fmla="*/ 359759 h 366045"/>
                <a:gd name="connsiteX33" fmla="*/ 28317 w 271147"/>
                <a:gd name="connsiteY33" fmla="*/ 345767 h 366045"/>
                <a:gd name="connsiteX34" fmla="*/ 57550 w 271147"/>
                <a:gd name="connsiteY34" fmla="*/ 313630 h 366045"/>
                <a:gd name="connsiteX35" fmla="*/ 82439 w 271147"/>
                <a:gd name="connsiteY35" fmla="*/ 293456 h 366045"/>
                <a:gd name="connsiteX36" fmla="*/ 122396 w 271147"/>
                <a:gd name="connsiteY36" fmla="*/ 267110 h 366045"/>
                <a:gd name="connsiteX37" fmla="*/ 149114 w 271147"/>
                <a:gd name="connsiteY37" fmla="*/ 245611 h 366045"/>
                <a:gd name="connsiteX38" fmla="*/ 180527 w 271147"/>
                <a:gd name="connsiteY38" fmla="*/ 209350 h 366045"/>
                <a:gd name="connsiteX39" fmla="*/ 203330 w 271147"/>
                <a:gd name="connsiteY39" fmla="*/ 179546 h 366045"/>
                <a:gd name="connsiteX40" fmla="*/ 226247 w 271147"/>
                <a:gd name="connsiteY40" fmla="*/ 140436 h 366045"/>
                <a:gd name="connsiteX41" fmla="*/ 242764 w 271147"/>
                <a:gd name="connsiteY41" fmla="*/ 106270 h 366045"/>
                <a:gd name="connsiteX42" fmla="*/ 255613 w 271147"/>
                <a:gd name="connsiteY42" fmla="*/ 76295 h 366045"/>
                <a:gd name="connsiteX43" fmla="*/ 263137 w 271147"/>
                <a:gd name="connsiteY43" fmla="*/ 47196 h 366045"/>
                <a:gd name="connsiteX44" fmla="*/ 268786 w 271147"/>
                <a:gd name="connsiteY44" fmla="*/ 37443 h 366045"/>
                <a:gd name="connsiteX45" fmla="*/ 268681 w 271147"/>
                <a:gd name="connsiteY45" fmla="*/ 23241 h 36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71147" h="366045">
                  <a:moveTo>
                    <a:pt x="271148" y="7496"/>
                  </a:moveTo>
                  <a:lnTo>
                    <a:pt x="270548" y="0"/>
                  </a:lnTo>
                  <a:lnTo>
                    <a:pt x="260413" y="67"/>
                  </a:lnTo>
                  <a:lnTo>
                    <a:pt x="247774" y="9353"/>
                  </a:lnTo>
                  <a:lnTo>
                    <a:pt x="233619" y="12077"/>
                  </a:lnTo>
                  <a:lnTo>
                    <a:pt x="221313" y="16097"/>
                  </a:lnTo>
                  <a:lnTo>
                    <a:pt x="212779" y="16640"/>
                  </a:lnTo>
                  <a:lnTo>
                    <a:pt x="197568" y="17583"/>
                  </a:lnTo>
                  <a:lnTo>
                    <a:pt x="188023" y="22527"/>
                  </a:lnTo>
                  <a:lnTo>
                    <a:pt x="174784" y="24308"/>
                  </a:lnTo>
                  <a:lnTo>
                    <a:pt x="151276" y="32699"/>
                  </a:lnTo>
                  <a:lnTo>
                    <a:pt x="122205" y="35900"/>
                  </a:lnTo>
                  <a:lnTo>
                    <a:pt x="97031" y="42805"/>
                  </a:lnTo>
                  <a:lnTo>
                    <a:pt x="83772" y="42719"/>
                  </a:lnTo>
                  <a:lnTo>
                    <a:pt x="71723" y="31413"/>
                  </a:lnTo>
                  <a:lnTo>
                    <a:pt x="66484" y="20241"/>
                  </a:lnTo>
                  <a:lnTo>
                    <a:pt x="57798" y="15249"/>
                  </a:lnTo>
                  <a:lnTo>
                    <a:pt x="47958" y="29718"/>
                  </a:lnTo>
                  <a:lnTo>
                    <a:pt x="42138" y="39291"/>
                  </a:lnTo>
                  <a:lnTo>
                    <a:pt x="51997" y="54140"/>
                  </a:lnTo>
                  <a:lnTo>
                    <a:pt x="61846" y="67103"/>
                  </a:lnTo>
                  <a:lnTo>
                    <a:pt x="72047" y="76695"/>
                  </a:lnTo>
                  <a:lnTo>
                    <a:pt x="159362" y="108547"/>
                  </a:lnTo>
                  <a:lnTo>
                    <a:pt x="181832" y="108375"/>
                  </a:lnTo>
                  <a:lnTo>
                    <a:pt x="106356" y="188538"/>
                  </a:lnTo>
                  <a:lnTo>
                    <a:pt x="71571" y="189709"/>
                  </a:lnTo>
                  <a:lnTo>
                    <a:pt x="47767" y="208464"/>
                  </a:lnTo>
                  <a:lnTo>
                    <a:pt x="30642" y="208959"/>
                  </a:lnTo>
                  <a:lnTo>
                    <a:pt x="23336" y="217341"/>
                  </a:lnTo>
                  <a:lnTo>
                    <a:pt x="0" y="247488"/>
                  </a:lnTo>
                  <a:lnTo>
                    <a:pt x="314" y="344148"/>
                  </a:lnTo>
                  <a:lnTo>
                    <a:pt x="16135" y="366046"/>
                  </a:lnTo>
                  <a:lnTo>
                    <a:pt x="22164" y="359759"/>
                  </a:lnTo>
                  <a:lnTo>
                    <a:pt x="28317" y="345767"/>
                  </a:lnTo>
                  <a:lnTo>
                    <a:pt x="57550" y="313630"/>
                  </a:lnTo>
                  <a:lnTo>
                    <a:pt x="82439" y="293456"/>
                  </a:lnTo>
                  <a:lnTo>
                    <a:pt x="122396" y="267110"/>
                  </a:lnTo>
                  <a:lnTo>
                    <a:pt x="149114" y="245611"/>
                  </a:lnTo>
                  <a:lnTo>
                    <a:pt x="180527" y="209350"/>
                  </a:lnTo>
                  <a:lnTo>
                    <a:pt x="203330" y="179546"/>
                  </a:lnTo>
                  <a:lnTo>
                    <a:pt x="226247" y="140436"/>
                  </a:lnTo>
                  <a:lnTo>
                    <a:pt x="242764" y="106270"/>
                  </a:lnTo>
                  <a:lnTo>
                    <a:pt x="255613" y="76295"/>
                  </a:lnTo>
                  <a:lnTo>
                    <a:pt x="263137" y="47196"/>
                  </a:lnTo>
                  <a:lnTo>
                    <a:pt x="268786" y="37443"/>
                  </a:lnTo>
                  <a:lnTo>
                    <a:pt x="268681" y="232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" name="Forme libre : forme 5798">
              <a:extLst>
                <a:ext uri="{FF2B5EF4-FFF2-40B4-BE49-F238E27FC236}">
                  <a16:creationId xmlns:a16="http://schemas.microsoft.com/office/drawing/2014/main" id="{545E2CEC-FCC7-2097-1A60-D31B8F4E41B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270714" y="4582519"/>
              <a:ext cx="109137" cy="111909"/>
            </a:xfrm>
            <a:custGeom>
              <a:avLst/>
              <a:gdLst>
                <a:gd name="connsiteX0" fmla="*/ 23965 w 109137"/>
                <a:gd name="connsiteY0" fmla="*/ 1391 h 111909"/>
                <a:gd name="connsiteX1" fmla="*/ 55959 w 109137"/>
                <a:gd name="connsiteY1" fmla="*/ 6734 h 111909"/>
                <a:gd name="connsiteX2" fmla="*/ 58836 w 109137"/>
                <a:gd name="connsiteY2" fmla="*/ 1924 h 111909"/>
                <a:gd name="connsiteX3" fmla="*/ 80429 w 109137"/>
                <a:gd name="connsiteY3" fmla="*/ 0 h 111909"/>
                <a:gd name="connsiteX4" fmla="*/ 109138 w 109137"/>
                <a:gd name="connsiteY4" fmla="*/ 7163 h 111909"/>
                <a:gd name="connsiteX5" fmla="*/ 95240 w 109137"/>
                <a:gd name="connsiteY5" fmla="*/ 30071 h 111909"/>
                <a:gd name="connsiteX6" fmla="*/ 97355 w 109137"/>
                <a:gd name="connsiteY6" fmla="*/ 48282 h 111909"/>
                <a:gd name="connsiteX7" fmla="*/ 107842 w 109137"/>
                <a:gd name="connsiteY7" fmla="*/ 64037 h 111909"/>
                <a:gd name="connsiteX8" fmla="*/ 103165 w 109137"/>
                <a:gd name="connsiteY8" fmla="*/ 75476 h 111909"/>
                <a:gd name="connsiteX9" fmla="*/ 100822 w 109137"/>
                <a:gd name="connsiteY9" fmla="*/ 87621 h 111909"/>
                <a:gd name="connsiteX10" fmla="*/ 94012 w 109137"/>
                <a:gd name="connsiteY10" fmla="*/ 98793 h 111909"/>
                <a:gd name="connsiteX11" fmla="*/ 78715 w 109137"/>
                <a:gd name="connsiteY11" fmla="*/ 93164 h 111909"/>
                <a:gd name="connsiteX12" fmla="*/ 66094 w 109137"/>
                <a:gd name="connsiteY12" fmla="*/ 95879 h 111909"/>
                <a:gd name="connsiteX13" fmla="*/ 55321 w 109137"/>
                <a:gd name="connsiteY13" fmla="*/ 93516 h 111909"/>
                <a:gd name="connsiteX14" fmla="*/ 52654 w 109137"/>
                <a:gd name="connsiteY14" fmla="*/ 101203 h 111909"/>
                <a:gd name="connsiteX15" fmla="*/ 57131 w 109137"/>
                <a:gd name="connsiteY15" fmla="*/ 106480 h 111909"/>
                <a:gd name="connsiteX16" fmla="*/ 54731 w 109137"/>
                <a:gd name="connsiteY16" fmla="*/ 111909 h 111909"/>
                <a:gd name="connsiteX17" fmla="*/ 40205 w 109137"/>
                <a:gd name="connsiteY17" fmla="*/ 109737 h 111909"/>
                <a:gd name="connsiteX18" fmla="*/ 23898 w 109137"/>
                <a:gd name="connsiteY18" fmla="*/ 86649 h 111909"/>
                <a:gd name="connsiteX19" fmla="*/ 20393 w 109137"/>
                <a:gd name="connsiteY19" fmla="*/ 71657 h 111909"/>
                <a:gd name="connsiteX20" fmla="*/ 11840 w 109137"/>
                <a:gd name="connsiteY20" fmla="*/ 71628 h 111909"/>
                <a:gd name="connsiteX21" fmla="*/ 0 w 109137"/>
                <a:gd name="connsiteY21" fmla="*/ 52321 h 111909"/>
                <a:gd name="connsiteX22" fmla="*/ 4924 w 109137"/>
                <a:gd name="connsiteY22" fmla="*/ 38595 h 111909"/>
                <a:gd name="connsiteX23" fmla="*/ 3486 w 109137"/>
                <a:gd name="connsiteY23" fmla="*/ 32318 h 111909"/>
                <a:gd name="connsiteX24" fmla="*/ 19698 w 109137"/>
                <a:gd name="connsiteY24" fmla="*/ 25365 h 11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9137" h="111909">
                  <a:moveTo>
                    <a:pt x="23965" y="1391"/>
                  </a:moveTo>
                  <a:lnTo>
                    <a:pt x="55959" y="6734"/>
                  </a:lnTo>
                  <a:lnTo>
                    <a:pt x="58836" y="1924"/>
                  </a:lnTo>
                  <a:lnTo>
                    <a:pt x="80429" y="0"/>
                  </a:lnTo>
                  <a:lnTo>
                    <a:pt x="109138" y="7163"/>
                  </a:lnTo>
                  <a:lnTo>
                    <a:pt x="95240" y="30071"/>
                  </a:lnTo>
                  <a:lnTo>
                    <a:pt x="97355" y="48282"/>
                  </a:lnTo>
                  <a:lnTo>
                    <a:pt x="107842" y="64037"/>
                  </a:lnTo>
                  <a:lnTo>
                    <a:pt x="103165" y="75476"/>
                  </a:lnTo>
                  <a:lnTo>
                    <a:pt x="100822" y="87621"/>
                  </a:lnTo>
                  <a:lnTo>
                    <a:pt x="94012" y="98793"/>
                  </a:lnTo>
                  <a:lnTo>
                    <a:pt x="78715" y="93164"/>
                  </a:lnTo>
                  <a:lnTo>
                    <a:pt x="66094" y="95879"/>
                  </a:lnTo>
                  <a:lnTo>
                    <a:pt x="55321" y="93516"/>
                  </a:lnTo>
                  <a:lnTo>
                    <a:pt x="52654" y="101203"/>
                  </a:lnTo>
                  <a:lnTo>
                    <a:pt x="57131" y="106480"/>
                  </a:lnTo>
                  <a:lnTo>
                    <a:pt x="54731" y="111909"/>
                  </a:lnTo>
                  <a:lnTo>
                    <a:pt x="40205" y="109737"/>
                  </a:lnTo>
                  <a:lnTo>
                    <a:pt x="23898" y="86649"/>
                  </a:lnTo>
                  <a:lnTo>
                    <a:pt x="20393" y="71657"/>
                  </a:lnTo>
                  <a:lnTo>
                    <a:pt x="11840" y="71628"/>
                  </a:lnTo>
                  <a:lnTo>
                    <a:pt x="0" y="52321"/>
                  </a:lnTo>
                  <a:lnTo>
                    <a:pt x="4924" y="38595"/>
                  </a:lnTo>
                  <a:lnTo>
                    <a:pt x="3486" y="32318"/>
                  </a:lnTo>
                  <a:lnTo>
                    <a:pt x="19698" y="253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orme libre : forme 5799">
              <a:extLst>
                <a:ext uri="{FF2B5EF4-FFF2-40B4-BE49-F238E27FC236}">
                  <a16:creationId xmlns:a16="http://schemas.microsoft.com/office/drawing/2014/main" id="{C7187D61-24BD-B78C-8EF2-4CB249BA9E8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458845" y="4415203"/>
              <a:ext cx="304752" cy="234296"/>
            </a:xfrm>
            <a:custGeom>
              <a:avLst/>
              <a:gdLst>
                <a:gd name="connsiteX0" fmla="*/ 269100 w 304752"/>
                <a:gd name="connsiteY0" fmla="*/ 75219 h 234296"/>
                <a:gd name="connsiteX1" fmla="*/ 269414 w 304752"/>
                <a:gd name="connsiteY1" fmla="*/ 96174 h 234296"/>
                <a:gd name="connsiteX2" fmla="*/ 265423 w 304752"/>
                <a:gd name="connsiteY2" fmla="*/ 104365 h 234296"/>
                <a:gd name="connsiteX3" fmla="*/ 251241 w 304752"/>
                <a:gd name="connsiteY3" fmla="*/ 105023 h 234296"/>
                <a:gd name="connsiteX4" fmla="*/ 242145 w 304752"/>
                <a:gd name="connsiteY4" fmla="*/ 120282 h 234296"/>
                <a:gd name="connsiteX5" fmla="*/ 258556 w 304752"/>
                <a:gd name="connsiteY5" fmla="*/ 122206 h 234296"/>
                <a:gd name="connsiteX6" fmla="*/ 272082 w 304752"/>
                <a:gd name="connsiteY6" fmla="*/ 135246 h 234296"/>
                <a:gd name="connsiteX7" fmla="*/ 276768 w 304752"/>
                <a:gd name="connsiteY7" fmla="*/ 145933 h 234296"/>
                <a:gd name="connsiteX8" fmla="*/ 288960 w 304752"/>
                <a:gd name="connsiteY8" fmla="*/ 152133 h 234296"/>
                <a:gd name="connsiteX9" fmla="*/ 304752 w 304752"/>
                <a:gd name="connsiteY9" fmla="*/ 181156 h 234296"/>
                <a:gd name="connsiteX10" fmla="*/ 286645 w 304752"/>
                <a:gd name="connsiteY10" fmla="*/ 198711 h 234296"/>
                <a:gd name="connsiteX11" fmla="*/ 270215 w 304752"/>
                <a:gd name="connsiteY11" fmla="*/ 214608 h 234296"/>
                <a:gd name="connsiteX12" fmla="*/ 253794 w 304752"/>
                <a:gd name="connsiteY12" fmla="*/ 226838 h 234296"/>
                <a:gd name="connsiteX13" fmla="*/ 235001 w 304752"/>
                <a:gd name="connsiteY13" fmla="*/ 226771 h 234296"/>
                <a:gd name="connsiteX14" fmla="*/ 213503 w 304752"/>
                <a:gd name="connsiteY14" fmla="*/ 233001 h 234296"/>
                <a:gd name="connsiteX15" fmla="*/ 196520 w 304752"/>
                <a:gd name="connsiteY15" fmla="*/ 227057 h 234296"/>
                <a:gd name="connsiteX16" fmla="*/ 185528 w 304752"/>
                <a:gd name="connsiteY16" fmla="*/ 234296 h 234296"/>
                <a:gd name="connsiteX17" fmla="*/ 162010 w 304752"/>
                <a:gd name="connsiteY17" fmla="*/ 216627 h 234296"/>
                <a:gd name="connsiteX18" fmla="*/ 155667 w 304752"/>
                <a:gd name="connsiteY18" fmla="*/ 205274 h 234296"/>
                <a:gd name="connsiteX19" fmla="*/ 140798 w 304752"/>
                <a:gd name="connsiteY19" fmla="*/ 210893 h 234296"/>
                <a:gd name="connsiteX20" fmla="*/ 128444 w 304752"/>
                <a:gd name="connsiteY20" fmla="*/ 209150 h 234296"/>
                <a:gd name="connsiteX21" fmla="*/ 121301 w 304752"/>
                <a:gd name="connsiteY21" fmla="*/ 213617 h 234296"/>
                <a:gd name="connsiteX22" fmla="*/ 109309 w 304752"/>
                <a:gd name="connsiteY22" fmla="*/ 210388 h 234296"/>
                <a:gd name="connsiteX23" fmla="*/ 93126 w 304752"/>
                <a:gd name="connsiteY23" fmla="*/ 188414 h 234296"/>
                <a:gd name="connsiteX24" fmla="*/ 88830 w 304752"/>
                <a:gd name="connsiteY24" fmla="*/ 179965 h 234296"/>
                <a:gd name="connsiteX25" fmla="*/ 68866 w 304752"/>
                <a:gd name="connsiteY25" fmla="*/ 169412 h 234296"/>
                <a:gd name="connsiteX26" fmla="*/ 62122 w 304752"/>
                <a:gd name="connsiteY26" fmla="*/ 153400 h 234296"/>
                <a:gd name="connsiteX27" fmla="*/ 50997 w 304752"/>
                <a:gd name="connsiteY27" fmla="*/ 141837 h 234296"/>
                <a:gd name="connsiteX28" fmla="*/ 33033 w 304752"/>
                <a:gd name="connsiteY28" fmla="*/ 127911 h 234296"/>
                <a:gd name="connsiteX29" fmla="*/ 32785 w 304752"/>
                <a:gd name="connsiteY29" fmla="*/ 119206 h 234296"/>
                <a:gd name="connsiteX30" fmla="*/ 18164 w 304752"/>
                <a:gd name="connsiteY30" fmla="*/ 108385 h 234296"/>
                <a:gd name="connsiteX31" fmla="*/ 0 w 304752"/>
                <a:gd name="connsiteY31" fmla="*/ 97908 h 234296"/>
                <a:gd name="connsiteX32" fmla="*/ 8191 w 304752"/>
                <a:gd name="connsiteY32" fmla="*/ 94983 h 234296"/>
                <a:gd name="connsiteX33" fmla="*/ 17364 w 304752"/>
                <a:gd name="connsiteY33" fmla="*/ 89916 h 234296"/>
                <a:gd name="connsiteX34" fmla="*/ 24241 w 304752"/>
                <a:gd name="connsiteY34" fmla="*/ 65913 h 234296"/>
                <a:gd name="connsiteX35" fmla="*/ 31575 w 304752"/>
                <a:gd name="connsiteY35" fmla="*/ 53416 h 234296"/>
                <a:gd name="connsiteX36" fmla="*/ 50835 w 304752"/>
                <a:gd name="connsiteY36" fmla="*/ 49721 h 234296"/>
                <a:gd name="connsiteX37" fmla="*/ 55416 w 304752"/>
                <a:gd name="connsiteY37" fmla="*/ 57122 h 234296"/>
                <a:gd name="connsiteX38" fmla="*/ 69171 w 304752"/>
                <a:gd name="connsiteY38" fmla="*/ 72838 h 234296"/>
                <a:gd name="connsiteX39" fmla="*/ 76515 w 304752"/>
                <a:gd name="connsiteY39" fmla="*/ 75143 h 234296"/>
                <a:gd name="connsiteX40" fmla="*/ 86134 w 304752"/>
                <a:gd name="connsiteY40" fmla="*/ 70533 h 234296"/>
                <a:gd name="connsiteX41" fmla="*/ 105394 w 304752"/>
                <a:gd name="connsiteY41" fmla="*/ 71457 h 234296"/>
                <a:gd name="connsiteX42" fmla="*/ 109061 w 304752"/>
                <a:gd name="connsiteY42" fmla="*/ 77000 h 234296"/>
                <a:gd name="connsiteX43" fmla="*/ 135655 w 304752"/>
                <a:gd name="connsiteY43" fmla="*/ 77000 h 234296"/>
                <a:gd name="connsiteX44" fmla="*/ 136570 w 304752"/>
                <a:gd name="connsiteY44" fmla="*/ 71457 h 234296"/>
                <a:gd name="connsiteX45" fmla="*/ 150323 w 304752"/>
                <a:gd name="connsiteY45" fmla="*/ 66370 h 234296"/>
                <a:gd name="connsiteX46" fmla="*/ 153076 w 304752"/>
                <a:gd name="connsiteY46" fmla="*/ 58512 h 234296"/>
                <a:gd name="connsiteX47" fmla="*/ 163163 w 304752"/>
                <a:gd name="connsiteY47" fmla="*/ 52950 h 234296"/>
                <a:gd name="connsiteX48" fmla="*/ 185633 w 304752"/>
                <a:gd name="connsiteY48" fmla="*/ 68685 h 234296"/>
                <a:gd name="connsiteX49" fmla="*/ 199387 w 304752"/>
                <a:gd name="connsiteY49" fmla="*/ 65913 h 234296"/>
                <a:gd name="connsiteX50" fmla="*/ 212684 w 304752"/>
                <a:gd name="connsiteY50" fmla="*/ 46472 h 234296"/>
                <a:gd name="connsiteX51" fmla="*/ 227352 w 304752"/>
                <a:gd name="connsiteY51" fmla="*/ 31633 h 234296"/>
                <a:gd name="connsiteX52" fmla="*/ 225057 w 304752"/>
                <a:gd name="connsiteY52" fmla="*/ 15373 h 234296"/>
                <a:gd name="connsiteX53" fmla="*/ 218647 w 304752"/>
                <a:gd name="connsiteY53" fmla="*/ 7458 h 234296"/>
                <a:gd name="connsiteX54" fmla="*/ 234686 w 304752"/>
                <a:gd name="connsiteY54" fmla="*/ 6058 h 234296"/>
                <a:gd name="connsiteX55" fmla="*/ 236525 w 304752"/>
                <a:gd name="connsiteY55" fmla="*/ 0 h 234296"/>
                <a:gd name="connsiteX56" fmla="*/ 248898 w 304752"/>
                <a:gd name="connsiteY56" fmla="*/ 1867 h 234296"/>
                <a:gd name="connsiteX57" fmla="*/ 245688 w 304752"/>
                <a:gd name="connsiteY57" fmla="*/ 21879 h 234296"/>
                <a:gd name="connsiteX58" fmla="*/ 248898 w 304752"/>
                <a:gd name="connsiteY58" fmla="*/ 41377 h 234296"/>
                <a:gd name="connsiteX59" fmla="*/ 262652 w 304752"/>
                <a:gd name="connsiteY59" fmla="*/ 52026 h 234296"/>
                <a:gd name="connsiteX60" fmla="*/ 265862 w 304752"/>
                <a:gd name="connsiteY60" fmla="*/ 61284 h 234296"/>
                <a:gd name="connsiteX61" fmla="*/ 265405 w 304752"/>
                <a:gd name="connsiteY61" fmla="*/ 74686 h 23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04752" h="234296">
                  <a:moveTo>
                    <a:pt x="269100" y="75219"/>
                  </a:moveTo>
                  <a:lnTo>
                    <a:pt x="269414" y="96174"/>
                  </a:lnTo>
                  <a:lnTo>
                    <a:pt x="265423" y="104365"/>
                  </a:lnTo>
                  <a:lnTo>
                    <a:pt x="251241" y="105023"/>
                  </a:lnTo>
                  <a:lnTo>
                    <a:pt x="242145" y="120282"/>
                  </a:lnTo>
                  <a:lnTo>
                    <a:pt x="258556" y="122206"/>
                  </a:lnTo>
                  <a:lnTo>
                    <a:pt x="272082" y="135246"/>
                  </a:lnTo>
                  <a:lnTo>
                    <a:pt x="276768" y="145933"/>
                  </a:lnTo>
                  <a:lnTo>
                    <a:pt x="288960" y="152133"/>
                  </a:lnTo>
                  <a:lnTo>
                    <a:pt x="304752" y="181156"/>
                  </a:lnTo>
                  <a:lnTo>
                    <a:pt x="286645" y="198711"/>
                  </a:lnTo>
                  <a:lnTo>
                    <a:pt x="270215" y="214608"/>
                  </a:lnTo>
                  <a:lnTo>
                    <a:pt x="253794" y="226838"/>
                  </a:lnTo>
                  <a:lnTo>
                    <a:pt x="235001" y="226771"/>
                  </a:lnTo>
                  <a:lnTo>
                    <a:pt x="213503" y="233001"/>
                  </a:lnTo>
                  <a:lnTo>
                    <a:pt x="196520" y="227057"/>
                  </a:lnTo>
                  <a:lnTo>
                    <a:pt x="185528" y="234296"/>
                  </a:lnTo>
                  <a:lnTo>
                    <a:pt x="162010" y="216627"/>
                  </a:lnTo>
                  <a:lnTo>
                    <a:pt x="155667" y="205274"/>
                  </a:lnTo>
                  <a:lnTo>
                    <a:pt x="140798" y="210893"/>
                  </a:lnTo>
                  <a:lnTo>
                    <a:pt x="128444" y="209150"/>
                  </a:lnTo>
                  <a:lnTo>
                    <a:pt x="121301" y="213617"/>
                  </a:lnTo>
                  <a:lnTo>
                    <a:pt x="109309" y="210388"/>
                  </a:lnTo>
                  <a:lnTo>
                    <a:pt x="93126" y="188414"/>
                  </a:lnTo>
                  <a:lnTo>
                    <a:pt x="88830" y="179965"/>
                  </a:lnTo>
                  <a:lnTo>
                    <a:pt x="68866" y="169412"/>
                  </a:lnTo>
                  <a:lnTo>
                    <a:pt x="62122" y="153400"/>
                  </a:lnTo>
                  <a:lnTo>
                    <a:pt x="50997" y="141837"/>
                  </a:lnTo>
                  <a:lnTo>
                    <a:pt x="33033" y="127911"/>
                  </a:lnTo>
                  <a:lnTo>
                    <a:pt x="32785" y="119206"/>
                  </a:lnTo>
                  <a:lnTo>
                    <a:pt x="18164" y="108385"/>
                  </a:lnTo>
                  <a:lnTo>
                    <a:pt x="0" y="97908"/>
                  </a:lnTo>
                  <a:lnTo>
                    <a:pt x="8191" y="94983"/>
                  </a:lnTo>
                  <a:lnTo>
                    <a:pt x="17364" y="89916"/>
                  </a:lnTo>
                  <a:lnTo>
                    <a:pt x="24241" y="65913"/>
                  </a:lnTo>
                  <a:lnTo>
                    <a:pt x="31575" y="53416"/>
                  </a:lnTo>
                  <a:lnTo>
                    <a:pt x="50835" y="49721"/>
                  </a:lnTo>
                  <a:lnTo>
                    <a:pt x="55416" y="57122"/>
                  </a:lnTo>
                  <a:lnTo>
                    <a:pt x="69171" y="72838"/>
                  </a:lnTo>
                  <a:lnTo>
                    <a:pt x="76515" y="75143"/>
                  </a:lnTo>
                  <a:lnTo>
                    <a:pt x="86134" y="70533"/>
                  </a:lnTo>
                  <a:lnTo>
                    <a:pt x="105394" y="71457"/>
                  </a:lnTo>
                  <a:lnTo>
                    <a:pt x="109061" y="77000"/>
                  </a:lnTo>
                  <a:lnTo>
                    <a:pt x="135655" y="77000"/>
                  </a:lnTo>
                  <a:lnTo>
                    <a:pt x="136570" y="71457"/>
                  </a:lnTo>
                  <a:lnTo>
                    <a:pt x="150323" y="66370"/>
                  </a:lnTo>
                  <a:lnTo>
                    <a:pt x="153076" y="58512"/>
                  </a:lnTo>
                  <a:lnTo>
                    <a:pt x="163163" y="52950"/>
                  </a:lnTo>
                  <a:lnTo>
                    <a:pt x="185633" y="68685"/>
                  </a:lnTo>
                  <a:lnTo>
                    <a:pt x="199387" y="65913"/>
                  </a:lnTo>
                  <a:lnTo>
                    <a:pt x="212684" y="46472"/>
                  </a:lnTo>
                  <a:lnTo>
                    <a:pt x="227352" y="31633"/>
                  </a:lnTo>
                  <a:lnTo>
                    <a:pt x="225057" y="15373"/>
                  </a:lnTo>
                  <a:lnTo>
                    <a:pt x="218647" y="7458"/>
                  </a:lnTo>
                  <a:lnTo>
                    <a:pt x="234686" y="6058"/>
                  </a:lnTo>
                  <a:lnTo>
                    <a:pt x="236525" y="0"/>
                  </a:lnTo>
                  <a:lnTo>
                    <a:pt x="248898" y="1867"/>
                  </a:lnTo>
                  <a:lnTo>
                    <a:pt x="245688" y="21879"/>
                  </a:lnTo>
                  <a:lnTo>
                    <a:pt x="248898" y="41377"/>
                  </a:lnTo>
                  <a:lnTo>
                    <a:pt x="262652" y="52026"/>
                  </a:lnTo>
                  <a:lnTo>
                    <a:pt x="265862" y="61284"/>
                  </a:lnTo>
                  <a:lnTo>
                    <a:pt x="265405" y="746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Forme libre : forme 5800">
              <a:extLst>
                <a:ext uri="{FF2B5EF4-FFF2-40B4-BE49-F238E27FC236}">
                  <a16:creationId xmlns:a16="http://schemas.microsoft.com/office/drawing/2014/main" id="{02CEA975-B0FF-B595-67F3-0601961FE0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414740" y="4355853"/>
              <a:ext cx="63350" cy="34842"/>
            </a:xfrm>
            <a:custGeom>
              <a:avLst/>
              <a:gdLst>
                <a:gd name="connsiteX0" fmla="*/ 61493 w 63350"/>
                <a:gd name="connsiteY0" fmla="*/ 28423 h 34842"/>
                <a:gd name="connsiteX1" fmla="*/ 58531 w 63350"/>
                <a:gd name="connsiteY1" fmla="*/ 34842 h 34842"/>
                <a:gd name="connsiteX2" fmla="*/ 43062 w 63350"/>
                <a:gd name="connsiteY2" fmla="*/ 34433 h 34842"/>
                <a:gd name="connsiteX3" fmla="*/ 33442 w 63350"/>
                <a:gd name="connsiteY3" fmla="*/ 31823 h 34842"/>
                <a:gd name="connsiteX4" fmla="*/ 22403 w 63350"/>
                <a:gd name="connsiteY4" fmla="*/ 26403 h 34842"/>
                <a:gd name="connsiteX5" fmla="*/ 7563 w 63350"/>
                <a:gd name="connsiteY5" fmla="*/ 24708 h 34842"/>
                <a:gd name="connsiteX6" fmla="*/ 0 w 63350"/>
                <a:gd name="connsiteY6" fmla="*/ 18840 h 34842"/>
                <a:gd name="connsiteX7" fmla="*/ 829 w 63350"/>
                <a:gd name="connsiteY7" fmla="*/ 14840 h 34842"/>
                <a:gd name="connsiteX8" fmla="*/ 9982 w 63350"/>
                <a:gd name="connsiteY8" fmla="*/ 7934 h 34842"/>
                <a:gd name="connsiteX9" fmla="*/ 14992 w 63350"/>
                <a:gd name="connsiteY9" fmla="*/ 4915 h 34842"/>
                <a:gd name="connsiteX10" fmla="*/ 13573 w 63350"/>
                <a:gd name="connsiteY10" fmla="*/ 1686 h 34842"/>
                <a:gd name="connsiteX11" fmla="*/ 19821 w 63350"/>
                <a:gd name="connsiteY11" fmla="*/ 0 h 34842"/>
                <a:gd name="connsiteX12" fmla="*/ 27699 w 63350"/>
                <a:gd name="connsiteY12" fmla="*/ 2305 h 34842"/>
                <a:gd name="connsiteX13" fmla="*/ 33452 w 63350"/>
                <a:gd name="connsiteY13" fmla="*/ 7763 h 34842"/>
                <a:gd name="connsiteX14" fmla="*/ 41519 w 63350"/>
                <a:gd name="connsiteY14" fmla="*/ 12154 h 34842"/>
                <a:gd name="connsiteX15" fmla="*/ 42510 w 63350"/>
                <a:gd name="connsiteY15" fmla="*/ 15830 h 34842"/>
                <a:gd name="connsiteX16" fmla="*/ 54226 w 63350"/>
                <a:gd name="connsiteY16" fmla="*/ 12582 h 34842"/>
                <a:gd name="connsiteX17" fmla="*/ 59722 w 63350"/>
                <a:gd name="connsiteY17" fmla="*/ 14526 h 34842"/>
                <a:gd name="connsiteX18" fmla="*/ 63351 w 63350"/>
                <a:gd name="connsiteY18" fmla="*/ 17488 h 3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3350" h="34842">
                  <a:moveTo>
                    <a:pt x="61493" y="28423"/>
                  </a:moveTo>
                  <a:lnTo>
                    <a:pt x="58531" y="34842"/>
                  </a:lnTo>
                  <a:lnTo>
                    <a:pt x="43062" y="34433"/>
                  </a:lnTo>
                  <a:lnTo>
                    <a:pt x="33442" y="31823"/>
                  </a:lnTo>
                  <a:lnTo>
                    <a:pt x="22403" y="26403"/>
                  </a:lnTo>
                  <a:lnTo>
                    <a:pt x="7563" y="24708"/>
                  </a:lnTo>
                  <a:lnTo>
                    <a:pt x="0" y="18840"/>
                  </a:lnTo>
                  <a:lnTo>
                    <a:pt x="829" y="14840"/>
                  </a:lnTo>
                  <a:lnTo>
                    <a:pt x="9982" y="7934"/>
                  </a:lnTo>
                  <a:lnTo>
                    <a:pt x="14992" y="4915"/>
                  </a:lnTo>
                  <a:lnTo>
                    <a:pt x="13573" y="1686"/>
                  </a:lnTo>
                  <a:lnTo>
                    <a:pt x="19821" y="0"/>
                  </a:lnTo>
                  <a:lnTo>
                    <a:pt x="27699" y="2305"/>
                  </a:lnTo>
                  <a:lnTo>
                    <a:pt x="33452" y="7763"/>
                  </a:lnTo>
                  <a:lnTo>
                    <a:pt x="41519" y="12154"/>
                  </a:lnTo>
                  <a:lnTo>
                    <a:pt x="42510" y="15830"/>
                  </a:lnTo>
                  <a:lnTo>
                    <a:pt x="54226" y="12582"/>
                  </a:lnTo>
                  <a:lnTo>
                    <a:pt x="59722" y="14526"/>
                  </a:lnTo>
                  <a:lnTo>
                    <a:pt x="63351" y="174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" name="Forme libre : forme 5801">
              <a:extLst>
                <a:ext uri="{FF2B5EF4-FFF2-40B4-BE49-F238E27FC236}">
                  <a16:creationId xmlns:a16="http://schemas.microsoft.com/office/drawing/2014/main" id="{70453AA0-2F8D-0247-9336-75504B0B0A2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774351" y="3676168"/>
              <a:ext cx="177564" cy="159238"/>
            </a:xfrm>
            <a:custGeom>
              <a:avLst/>
              <a:gdLst>
                <a:gd name="connsiteX0" fmla="*/ 82562 w 177564"/>
                <a:gd name="connsiteY0" fmla="*/ 125521 h 159238"/>
                <a:gd name="connsiteX1" fmla="*/ 30261 w 177564"/>
                <a:gd name="connsiteY1" fmla="*/ 159239 h 159238"/>
                <a:gd name="connsiteX2" fmla="*/ 505 w 177564"/>
                <a:gd name="connsiteY2" fmla="*/ 146752 h 159238"/>
                <a:gd name="connsiteX3" fmla="*/ 0 w 177564"/>
                <a:gd name="connsiteY3" fmla="*/ 146533 h 159238"/>
                <a:gd name="connsiteX4" fmla="*/ 3619 w 177564"/>
                <a:gd name="connsiteY4" fmla="*/ 141722 h 159238"/>
                <a:gd name="connsiteX5" fmla="*/ 3210 w 177564"/>
                <a:gd name="connsiteY5" fmla="*/ 128740 h 159238"/>
                <a:gd name="connsiteX6" fmla="*/ 9763 w 177564"/>
                <a:gd name="connsiteY6" fmla="*/ 111281 h 159238"/>
                <a:gd name="connsiteX7" fmla="*/ 24326 w 177564"/>
                <a:gd name="connsiteY7" fmla="*/ 99193 h 159238"/>
                <a:gd name="connsiteX8" fmla="*/ 19955 w 177564"/>
                <a:gd name="connsiteY8" fmla="*/ 86554 h 159238"/>
                <a:gd name="connsiteX9" fmla="*/ 7944 w 177564"/>
                <a:gd name="connsiteY9" fmla="*/ 84906 h 159238"/>
                <a:gd name="connsiteX10" fmla="*/ 5448 w 177564"/>
                <a:gd name="connsiteY10" fmla="*/ 60065 h 159238"/>
                <a:gd name="connsiteX11" fmla="*/ 11982 w 177564"/>
                <a:gd name="connsiteY11" fmla="*/ 46615 h 159238"/>
                <a:gd name="connsiteX12" fmla="*/ 19135 w 177564"/>
                <a:gd name="connsiteY12" fmla="*/ 39414 h 159238"/>
                <a:gd name="connsiteX13" fmla="*/ 26289 w 177564"/>
                <a:gd name="connsiteY13" fmla="*/ 32204 h 159238"/>
                <a:gd name="connsiteX14" fmla="*/ 27737 w 177564"/>
                <a:gd name="connsiteY14" fmla="*/ 13735 h 159238"/>
                <a:gd name="connsiteX15" fmla="*/ 36480 w 177564"/>
                <a:gd name="connsiteY15" fmla="*/ 20193 h 159238"/>
                <a:gd name="connsiteX16" fmla="*/ 65884 w 177564"/>
                <a:gd name="connsiteY16" fmla="*/ 10954 h 159238"/>
                <a:gd name="connsiteX17" fmla="*/ 80096 w 177564"/>
                <a:gd name="connsiteY17" fmla="*/ 17212 h 159238"/>
                <a:gd name="connsiteX18" fmla="*/ 102060 w 177564"/>
                <a:gd name="connsiteY18" fmla="*/ 17107 h 159238"/>
                <a:gd name="connsiteX19" fmla="*/ 132797 w 177564"/>
                <a:gd name="connsiteY19" fmla="*/ 4629 h 159238"/>
                <a:gd name="connsiteX20" fmla="*/ 147190 w 177564"/>
                <a:gd name="connsiteY20" fmla="*/ 5191 h 159238"/>
                <a:gd name="connsiteX21" fmla="*/ 177565 w 177564"/>
                <a:gd name="connsiteY21" fmla="*/ 0 h 159238"/>
                <a:gd name="connsiteX22" fmla="*/ 163877 w 177564"/>
                <a:gd name="connsiteY22" fmla="*/ 20764 h 159238"/>
                <a:gd name="connsiteX23" fmla="*/ 149257 w 177564"/>
                <a:gd name="connsiteY23" fmla="*/ 28927 h 159238"/>
                <a:gd name="connsiteX24" fmla="*/ 151781 w 177564"/>
                <a:gd name="connsiteY24" fmla="*/ 52940 h 159238"/>
                <a:gd name="connsiteX25" fmla="*/ 141684 w 177564"/>
                <a:gd name="connsiteY25" fmla="*/ 92192 h 15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7564" h="159238">
                  <a:moveTo>
                    <a:pt x="82562" y="125521"/>
                  </a:moveTo>
                  <a:lnTo>
                    <a:pt x="30261" y="159239"/>
                  </a:lnTo>
                  <a:lnTo>
                    <a:pt x="505" y="146752"/>
                  </a:lnTo>
                  <a:lnTo>
                    <a:pt x="0" y="146533"/>
                  </a:lnTo>
                  <a:lnTo>
                    <a:pt x="3619" y="141722"/>
                  </a:lnTo>
                  <a:lnTo>
                    <a:pt x="3210" y="128740"/>
                  </a:lnTo>
                  <a:lnTo>
                    <a:pt x="9763" y="111281"/>
                  </a:lnTo>
                  <a:lnTo>
                    <a:pt x="24326" y="99193"/>
                  </a:lnTo>
                  <a:lnTo>
                    <a:pt x="19955" y="86554"/>
                  </a:lnTo>
                  <a:lnTo>
                    <a:pt x="7944" y="84906"/>
                  </a:lnTo>
                  <a:lnTo>
                    <a:pt x="5448" y="60065"/>
                  </a:lnTo>
                  <a:lnTo>
                    <a:pt x="11982" y="46615"/>
                  </a:lnTo>
                  <a:lnTo>
                    <a:pt x="19135" y="39414"/>
                  </a:lnTo>
                  <a:lnTo>
                    <a:pt x="26289" y="32204"/>
                  </a:lnTo>
                  <a:lnTo>
                    <a:pt x="27737" y="13735"/>
                  </a:lnTo>
                  <a:lnTo>
                    <a:pt x="36480" y="20193"/>
                  </a:lnTo>
                  <a:lnTo>
                    <a:pt x="65884" y="10954"/>
                  </a:lnTo>
                  <a:lnTo>
                    <a:pt x="80096" y="17212"/>
                  </a:lnTo>
                  <a:lnTo>
                    <a:pt x="102060" y="17107"/>
                  </a:lnTo>
                  <a:lnTo>
                    <a:pt x="132797" y="4629"/>
                  </a:lnTo>
                  <a:lnTo>
                    <a:pt x="147190" y="5191"/>
                  </a:lnTo>
                  <a:lnTo>
                    <a:pt x="177565" y="0"/>
                  </a:lnTo>
                  <a:lnTo>
                    <a:pt x="163877" y="20764"/>
                  </a:lnTo>
                  <a:lnTo>
                    <a:pt x="149257" y="28927"/>
                  </a:lnTo>
                  <a:lnTo>
                    <a:pt x="151781" y="52940"/>
                  </a:lnTo>
                  <a:lnTo>
                    <a:pt x="141684" y="9219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orme libre : forme 5802">
              <a:extLst>
                <a:ext uri="{FF2B5EF4-FFF2-40B4-BE49-F238E27FC236}">
                  <a16:creationId xmlns:a16="http://schemas.microsoft.com/office/drawing/2014/main" id="{5F3ED126-5A07-2A74-DC18-62081D49D6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640172" y="5447647"/>
              <a:ext cx="37252" cy="48244"/>
            </a:xfrm>
            <a:custGeom>
              <a:avLst/>
              <a:gdLst>
                <a:gd name="connsiteX0" fmla="*/ 37252 w 37252"/>
                <a:gd name="connsiteY0" fmla="*/ 31785 h 48244"/>
                <a:gd name="connsiteX1" fmla="*/ 31814 w 37252"/>
                <a:gd name="connsiteY1" fmla="*/ 45015 h 48244"/>
                <a:gd name="connsiteX2" fmla="*/ 16183 w 37252"/>
                <a:gd name="connsiteY2" fmla="*/ 48244 h 48244"/>
                <a:gd name="connsiteX3" fmla="*/ 248 w 37252"/>
                <a:gd name="connsiteY3" fmla="*/ 32080 h 48244"/>
                <a:gd name="connsiteX4" fmla="*/ 0 w 37252"/>
                <a:gd name="connsiteY4" fmla="*/ 21812 h 48244"/>
                <a:gd name="connsiteX5" fmla="*/ 7287 w 37252"/>
                <a:gd name="connsiteY5" fmla="*/ 10696 h 48244"/>
                <a:gd name="connsiteX6" fmla="*/ 9811 w 37252"/>
                <a:gd name="connsiteY6" fmla="*/ 2105 h 48244"/>
                <a:gd name="connsiteX7" fmla="*/ 17526 w 37252"/>
                <a:gd name="connsiteY7" fmla="*/ 0 h 48244"/>
                <a:gd name="connsiteX8" fmla="*/ 31004 w 37252"/>
                <a:gd name="connsiteY8" fmla="*/ 5400 h 48244"/>
                <a:gd name="connsiteX9" fmla="*/ 34966 w 37252"/>
                <a:gd name="connsiteY9" fmla="*/ 18659 h 48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252" h="48244">
                  <a:moveTo>
                    <a:pt x="37252" y="31785"/>
                  </a:moveTo>
                  <a:lnTo>
                    <a:pt x="31814" y="45015"/>
                  </a:lnTo>
                  <a:lnTo>
                    <a:pt x="16183" y="48244"/>
                  </a:lnTo>
                  <a:lnTo>
                    <a:pt x="248" y="32080"/>
                  </a:lnTo>
                  <a:lnTo>
                    <a:pt x="0" y="21812"/>
                  </a:lnTo>
                  <a:lnTo>
                    <a:pt x="7287" y="10696"/>
                  </a:lnTo>
                  <a:lnTo>
                    <a:pt x="9811" y="2105"/>
                  </a:lnTo>
                  <a:lnTo>
                    <a:pt x="17526" y="0"/>
                  </a:lnTo>
                  <a:lnTo>
                    <a:pt x="31004" y="5400"/>
                  </a:lnTo>
                  <a:lnTo>
                    <a:pt x="34966" y="1865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Forme libre : forme 5803">
              <a:extLst>
                <a:ext uri="{FF2B5EF4-FFF2-40B4-BE49-F238E27FC236}">
                  <a16:creationId xmlns:a16="http://schemas.microsoft.com/office/drawing/2014/main" id="{385BD25E-4BBB-FCA8-0129-48D332C2CE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182515" y="4103374"/>
              <a:ext cx="276329" cy="441836"/>
            </a:xfrm>
            <a:custGeom>
              <a:avLst/>
              <a:gdLst>
                <a:gd name="connsiteX0" fmla="*/ 25517 w 276329"/>
                <a:gd name="connsiteY0" fmla="*/ 295208 h 441836"/>
                <a:gd name="connsiteX1" fmla="*/ 28184 w 276329"/>
                <a:gd name="connsiteY1" fmla="*/ 282378 h 441836"/>
                <a:gd name="connsiteX2" fmla="*/ 11059 w 276329"/>
                <a:gd name="connsiteY2" fmla="*/ 281749 h 441836"/>
                <a:gd name="connsiteX3" fmla="*/ 11125 w 276329"/>
                <a:gd name="connsiteY3" fmla="*/ 264176 h 441836"/>
                <a:gd name="connsiteX4" fmla="*/ 0 w 276329"/>
                <a:gd name="connsiteY4" fmla="*/ 254041 h 441836"/>
                <a:gd name="connsiteX5" fmla="*/ 11535 w 276329"/>
                <a:gd name="connsiteY5" fmla="*/ 217846 h 441836"/>
                <a:gd name="connsiteX6" fmla="*/ 45596 w 276329"/>
                <a:gd name="connsiteY6" fmla="*/ 191786 h 441836"/>
                <a:gd name="connsiteX7" fmla="*/ 47006 w 276329"/>
                <a:gd name="connsiteY7" fmla="*/ 155629 h 441836"/>
                <a:gd name="connsiteX8" fmla="*/ 57292 w 276329"/>
                <a:gd name="connsiteY8" fmla="*/ 98669 h 441836"/>
                <a:gd name="connsiteX9" fmla="*/ 63103 w 276329"/>
                <a:gd name="connsiteY9" fmla="*/ 86496 h 441836"/>
                <a:gd name="connsiteX10" fmla="*/ 51997 w 276329"/>
                <a:gd name="connsiteY10" fmla="*/ 76781 h 441836"/>
                <a:gd name="connsiteX11" fmla="*/ 51558 w 276329"/>
                <a:gd name="connsiteY11" fmla="*/ 67742 h 441836"/>
                <a:gd name="connsiteX12" fmla="*/ 41577 w 276329"/>
                <a:gd name="connsiteY12" fmla="*/ 60341 h 441836"/>
                <a:gd name="connsiteX13" fmla="*/ 35014 w 276329"/>
                <a:gd name="connsiteY13" fmla="*/ 15792 h 441836"/>
                <a:gd name="connsiteX14" fmla="*/ 61979 w 276329"/>
                <a:gd name="connsiteY14" fmla="*/ 0 h 441836"/>
                <a:gd name="connsiteX15" fmla="*/ 168487 w 276329"/>
                <a:gd name="connsiteY15" fmla="*/ 55016 h 441836"/>
                <a:gd name="connsiteX16" fmla="*/ 275006 w 276329"/>
                <a:gd name="connsiteY16" fmla="*/ 109299 h 441836"/>
                <a:gd name="connsiteX17" fmla="*/ 276330 w 276329"/>
                <a:gd name="connsiteY17" fmla="*/ 219875 h 441836"/>
                <a:gd name="connsiteX18" fmla="*/ 253298 w 276329"/>
                <a:gd name="connsiteY18" fmla="*/ 217941 h 441836"/>
                <a:gd name="connsiteX19" fmla="*/ 241097 w 276329"/>
                <a:gd name="connsiteY19" fmla="*/ 238201 h 441836"/>
                <a:gd name="connsiteX20" fmla="*/ 234039 w 276329"/>
                <a:gd name="connsiteY20" fmla="*/ 255146 h 441836"/>
                <a:gd name="connsiteX21" fmla="*/ 239611 w 276329"/>
                <a:gd name="connsiteY21" fmla="*/ 261547 h 441836"/>
                <a:gd name="connsiteX22" fmla="*/ 230829 w 276329"/>
                <a:gd name="connsiteY22" fmla="*/ 269929 h 441836"/>
                <a:gd name="connsiteX23" fmla="*/ 233858 w 276329"/>
                <a:gd name="connsiteY23" fmla="*/ 281235 h 441836"/>
                <a:gd name="connsiteX24" fmla="*/ 226933 w 276329"/>
                <a:gd name="connsiteY24" fmla="*/ 292589 h 441836"/>
                <a:gd name="connsiteX25" fmla="*/ 224247 w 276329"/>
                <a:gd name="connsiteY25" fmla="*/ 302590 h 441836"/>
                <a:gd name="connsiteX26" fmla="*/ 233619 w 276329"/>
                <a:gd name="connsiteY26" fmla="*/ 301019 h 441836"/>
                <a:gd name="connsiteX27" fmla="*/ 239220 w 276329"/>
                <a:gd name="connsiteY27" fmla="*/ 311496 h 441836"/>
                <a:gd name="connsiteX28" fmla="*/ 239516 w 276329"/>
                <a:gd name="connsiteY28" fmla="*/ 327250 h 441836"/>
                <a:gd name="connsiteX29" fmla="*/ 249336 w 276329"/>
                <a:gd name="connsiteY29" fmla="*/ 335232 h 441836"/>
                <a:gd name="connsiteX30" fmla="*/ 249012 w 276329"/>
                <a:gd name="connsiteY30" fmla="*/ 341786 h 441836"/>
                <a:gd name="connsiteX31" fmla="*/ 232105 w 276329"/>
                <a:gd name="connsiteY31" fmla="*/ 346405 h 441836"/>
                <a:gd name="connsiteX32" fmla="*/ 218551 w 276329"/>
                <a:gd name="connsiteY32" fmla="*/ 357340 h 441836"/>
                <a:gd name="connsiteX33" fmla="*/ 199244 w 276329"/>
                <a:gd name="connsiteY33" fmla="*/ 386734 h 441836"/>
                <a:gd name="connsiteX34" fmla="*/ 174117 w 276329"/>
                <a:gd name="connsiteY34" fmla="*/ 399193 h 441836"/>
                <a:gd name="connsiteX35" fmla="*/ 148323 w 276329"/>
                <a:gd name="connsiteY35" fmla="*/ 397516 h 441836"/>
                <a:gd name="connsiteX36" fmla="*/ 140789 w 276329"/>
                <a:gd name="connsiteY36" fmla="*/ 399993 h 441836"/>
                <a:gd name="connsiteX37" fmla="*/ 143437 w 276329"/>
                <a:gd name="connsiteY37" fmla="*/ 409442 h 441836"/>
                <a:gd name="connsiteX38" fmla="*/ 129502 w 276329"/>
                <a:gd name="connsiteY38" fmla="*/ 418814 h 441836"/>
                <a:gd name="connsiteX39" fmla="*/ 118167 w 276329"/>
                <a:gd name="connsiteY39" fmla="*/ 429273 h 441836"/>
                <a:gd name="connsiteX40" fmla="*/ 84544 w 276329"/>
                <a:gd name="connsiteY40" fmla="*/ 439521 h 441836"/>
                <a:gd name="connsiteX41" fmla="*/ 77876 w 276329"/>
                <a:gd name="connsiteY41" fmla="*/ 433454 h 441836"/>
                <a:gd name="connsiteX42" fmla="*/ 73447 w 276329"/>
                <a:gd name="connsiteY42" fmla="*/ 432940 h 441836"/>
                <a:gd name="connsiteX43" fmla="*/ 68532 w 276329"/>
                <a:gd name="connsiteY43" fmla="*/ 439817 h 441836"/>
                <a:gd name="connsiteX44" fmla="*/ 46444 w 276329"/>
                <a:gd name="connsiteY44" fmla="*/ 441836 h 441836"/>
                <a:gd name="connsiteX45" fmla="*/ 50635 w 276329"/>
                <a:gd name="connsiteY45" fmla="*/ 434587 h 441836"/>
                <a:gd name="connsiteX46" fmla="*/ 42205 w 276329"/>
                <a:gd name="connsiteY46" fmla="*/ 416109 h 441836"/>
                <a:gd name="connsiteX47" fmla="*/ 38452 w 276329"/>
                <a:gd name="connsiteY47" fmla="*/ 405003 h 441836"/>
                <a:gd name="connsiteX48" fmla="*/ 26822 w 276329"/>
                <a:gd name="connsiteY48" fmla="*/ 400450 h 441836"/>
                <a:gd name="connsiteX49" fmla="*/ 11049 w 276329"/>
                <a:gd name="connsiteY49" fmla="*/ 384762 h 441836"/>
                <a:gd name="connsiteX50" fmla="*/ 16859 w 276329"/>
                <a:gd name="connsiteY50" fmla="*/ 372056 h 441836"/>
                <a:gd name="connsiteX51" fmla="*/ 29032 w 276329"/>
                <a:gd name="connsiteY51" fmla="*/ 374761 h 441836"/>
                <a:gd name="connsiteX52" fmla="*/ 36566 w 276329"/>
                <a:gd name="connsiteY52" fmla="*/ 372837 h 441836"/>
                <a:gd name="connsiteX53" fmla="*/ 51482 w 276329"/>
                <a:gd name="connsiteY53" fmla="*/ 373104 h 441836"/>
                <a:gd name="connsiteX54" fmla="*/ 36947 w 276329"/>
                <a:gd name="connsiteY54" fmla="*/ 348577 h 441836"/>
                <a:gd name="connsiteX55" fmla="*/ 37919 w 276329"/>
                <a:gd name="connsiteY55" fmla="*/ 330613 h 441836"/>
                <a:gd name="connsiteX56" fmla="*/ 36138 w 276329"/>
                <a:gd name="connsiteY56" fmla="*/ 312620 h 441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76329" h="441836">
                  <a:moveTo>
                    <a:pt x="25517" y="295208"/>
                  </a:moveTo>
                  <a:lnTo>
                    <a:pt x="28184" y="282378"/>
                  </a:lnTo>
                  <a:lnTo>
                    <a:pt x="11059" y="281749"/>
                  </a:lnTo>
                  <a:lnTo>
                    <a:pt x="11125" y="264176"/>
                  </a:lnTo>
                  <a:lnTo>
                    <a:pt x="0" y="254041"/>
                  </a:lnTo>
                  <a:lnTo>
                    <a:pt x="11535" y="217846"/>
                  </a:lnTo>
                  <a:lnTo>
                    <a:pt x="45596" y="191786"/>
                  </a:lnTo>
                  <a:lnTo>
                    <a:pt x="47006" y="155629"/>
                  </a:lnTo>
                  <a:lnTo>
                    <a:pt x="57292" y="98669"/>
                  </a:lnTo>
                  <a:lnTo>
                    <a:pt x="63103" y="86496"/>
                  </a:lnTo>
                  <a:lnTo>
                    <a:pt x="51997" y="76781"/>
                  </a:lnTo>
                  <a:lnTo>
                    <a:pt x="51558" y="67742"/>
                  </a:lnTo>
                  <a:lnTo>
                    <a:pt x="41577" y="60341"/>
                  </a:lnTo>
                  <a:lnTo>
                    <a:pt x="35014" y="15792"/>
                  </a:lnTo>
                  <a:lnTo>
                    <a:pt x="61979" y="0"/>
                  </a:lnTo>
                  <a:lnTo>
                    <a:pt x="168487" y="55016"/>
                  </a:lnTo>
                  <a:lnTo>
                    <a:pt x="275006" y="109299"/>
                  </a:lnTo>
                  <a:lnTo>
                    <a:pt x="276330" y="219875"/>
                  </a:lnTo>
                  <a:lnTo>
                    <a:pt x="253298" y="217941"/>
                  </a:lnTo>
                  <a:lnTo>
                    <a:pt x="241097" y="238201"/>
                  </a:lnTo>
                  <a:lnTo>
                    <a:pt x="234039" y="255146"/>
                  </a:lnTo>
                  <a:lnTo>
                    <a:pt x="239611" y="261547"/>
                  </a:lnTo>
                  <a:lnTo>
                    <a:pt x="230829" y="269929"/>
                  </a:lnTo>
                  <a:lnTo>
                    <a:pt x="233858" y="281235"/>
                  </a:lnTo>
                  <a:lnTo>
                    <a:pt x="226933" y="292589"/>
                  </a:lnTo>
                  <a:lnTo>
                    <a:pt x="224247" y="302590"/>
                  </a:lnTo>
                  <a:lnTo>
                    <a:pt x="233619" y="301019"/>
                  </a:lnTo>
                  <a:lnTo>
                    <a:pt x="239220" y="311496"/>
                  </a:lnTo>
                  <a:lnTo>
                    <a:pt x="239516" y="327250"/>
                  </a:lnTo>
                  <a:lnTo>
                    <a:pt x="249336" y="335232"/>
                  </a:lnTo>
                  <a:lnTo>
                    <a:pt x="249012" y="341786"/>
                  </a:lnTo>
                  <a:lnTo>
                    <a:pt x="232105" y="346405"/>
                  </a:lnTo>
                  <a:lnTo>
                    <a:pt x="218551" y="357340"/>
                  </a:lnTo>
                  <a:lnTo>
                    <a:pt x="199244" y="386734"/>
                  </a:lnTo>
                  <a:lnTo>
                    <a:pt x="174117" y="399193"/>
                  </a:lnTo>
                  <a:lnTo>
                    <a:pt x="148323" y="397516"/>
                  </a:lnTo>
                  <a:lnTo>
                    <a:pt x="140789" y="399993"/>
                  </a:lnTo>
                  <a:lnTo>
                    <a:pt x="143437" y="409442"/>
                  </a:lnTo>
                  <a:lnTo>
                    <a:pt x="129502" y="418814"/>
                  </a:lnTo>
                  <a:lnTo>
                    <a:pt x="118167" y="429273"/>
                  </a:lnTo>
                  <a:lnTo>
                    <a:pt x="84544" y="439521"/>
                  </a:lnTo>
                  <a:lnTo>
                    <a:pt x="77876" y="433454"/>
                  </a:lnTo>
                  <a:lnTo>
                    <a:pt x="73447" y="432940"/>
                  </a:lnTo>
                  <a:lnTo>
                    <a:pt x="68532" y="439817"/>
                  </a:lnTo>
                  <a:lnTo>
                    <a:pt x="46444" y="441836"/>
                  </a:lnTo>
                  <a:lnTo>
                    <a:pt x="50635" y="434587"/>
                  </a:lnTo>
                  <a:lnTo>
                    <a:pt x="42205" y="416109"/>
                  </a:lnTo>
                  <a:lnTo>
                    <a:pt x="38452" y="405003"/>
                  </a:lnTo>
                  <a:lnTo>
                    <a:pt x="26822" y="400450"/>
                  </a:lnTo>
                  <a:lnTo>
                    <a:pt x="11049" y="384762"/>
                  </a:lnTo>
                  <a:lnTo>
                    <a:pt x="16859" y="372056"/>
                  </a:lnTo>
                  <a:lnTo>
                    <a:pt x="29032" y="374761"/>
                  </a:lnTo>
                  <a:lnTo>
                    <a:pt x="36566" y="372837"/>
                  </a:lnTo>
                  <a:lnTo>
                    <a:pt x="51482" y="373104"/>
                  </a:lnTo>
                  <a:lnTo>
                    <a:pt x="36947" y="348577"/>
                  </a:lnTo>
                  <a:lnTo>
                    <a:pt x="37919" y="330613"/>
                  </a:lnTo>
                  <a:lnTo>
                    <a:pt x="36138" y="31262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orme libre : forme 5804">
              <a:extLst>
                <a:ext uri="{FF2B5EF4-FFF2-40B4-BE49-F238E27FC236}">
                  <a16:creationId xmlns:a16="http://schemas.microsoft.com/office/drawing/2014/main" id="{ED99291B-8A5D-EDB7-6019-C6951C4E09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656185" y="6225153"/>
              <a:ext cx="49139" cy="46872"/>
            </a:xfrm>
            <a:custGeom>
              <a:avLst/>
              <a:gdLst>
                <a:gd name="connsiteX0" fmla="*/ 5734 w 49139"/>
                <a:gd name="connsiteY0" fmla="*/ 0 h 46872"/>
                <a:gd name="connsiteX1" fmla="*/ 22964 w 49139"/>
                <a:gd name="connsiteY1" fmla="*/ 12725 h 46872"/>
                <a:gd name="connsiteX2" fmla="*/ 48196 w 49139"/>
                <a:gd name="connsiteY2" fmla="*/ 17802 h 46872"/>
                <a:gd name="connsiteX3" fmla="*/ 49139 w 49139"/>
                <a:gd name="connsiteY3" fmla="*/ 25546 h 46872"/>
                <a:gd name="connsiteX4" fmla="*/ 41662 w 49139"/>
                <a:gd name="connsiteY4" fmla="*/ 44196 h 46872"/>
                <a:gd name="connsiteX5" fmla="*/ 667 w 49139"/>
                <a:gd name="connsiteY5" fmla="*/ 46872 h 46872"/>
                <a:gd name="connsiteX6" fmla="*/ 0 w 49139"/>
                <a:gd name="connsiteY6" fmla="*/ 25032 h 46872"/>
                <a:gd name="connsiteX7" fmla="*/ 3943 w 49139"/>
                <a:gd name="connsiteY7" fmla="*/ 8268 h 46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139" h="46872">
                  <a:moveTo>
                    <a:pt x="5734" y="0"/>
                  </a:moveTo>
                  <a:lnTo>
                    <a:pt x="22964" y="12725"/>
                  </a:lnTo>
                  <a:lnTo>
                    <a:pt x="48196" y="17802"/>
                  </a:lnTo>
                  <a:lnTo>
                    <a:pt x="49139" y="25546"/>
                  </a:lnTo>
                  <a:lnTo>
                    <a:pt x="41662" y="44196"/>
                  </a:lnTo>
                  <a:lnTo>
                    <a:pt x="667" y="46872"/>
                  </a:lnTo>
                  <a:lnTo>
                    <a:pt x="0" y="25032"/>
                  </a:lnTo>
                  <a:lnTo>
                    <a:pt x="3943" y="826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Forme libre : forme 5805">
              <a:extLst>
                <a:ext uri="{FF2B5EF4-FFF2-40B4-BE49-F238E27FC236}">
                  <a16:creationId xmlns:a16="http://schemas.microsoft.com/office/drawing/2014/main" id="{51F75C29-96F7-882F-3848-CB0B03A585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819565" y="4448512"/>
              <a:ext cx="51149" cy="136578"/>
            </a:xfrm>
            <a:custGeom>
              <a:avLst/>
              <a:gdLst>
                <a:gd name="connsiteX0" fmla="*/ 51149 w 51149"/>
                <a:gd name="connsiteY0" fmla="*/ 130893 h 136578"/>
                <a:gd name="connsiteX1" fmla="*/ 29651 w 51149"/>
                <a:gd name="connsiteY1" fmla="*/ 136579 h 136578"/>
                <a:gd name="connsiteX2" fmla="*/ 23689 w 51149"/>
                <a:gd name="connsiteY2" fmla="*/ 127206 h 136578"/>
                <a:gd name="connsiteX3" fmla="*/ 16564 w 51149"/>
                <a:gd name="connsiteY3" fmla="*/ 110271 h 136578"/>
                <a:gd name="connsiteX4" fmla="*/ 14440 w 51149"/>
                <a:gd name="connsiteY4" fmla="*/ 96964 h 136578"/>
                <a:gd name="connsiteX5" fmla="*/ 20355 w 51149"/>
                <a:gd name="connsiteY5" fmla="*/ 72838 h 136578"/>
                <a:gd name="connsiteX6" fmla="*/ 13649 w 51149"/>
                <a:gd name="connsiteY6" fmla="*/ 63055 h 136578"/>
                <a:gd name="connsiteX7" fmla="*/ 11106 w 51149"/>
                <a:gd name="connsiteY7" fmla="*/ 41891 h 136578"/>
                <a:gd name="connsiteX8" fmla="*/ 11154 w 51149"/>
                <a:gd name="connsiteY8" fmla="*/ 22336 h 136578"/>
                <a:gd name="connsiteX9" fmla="*/ 0 w 51149"/>
                <a:gd name="connsiteY9" fmla="*/ 8420 h 136578"/>
                <a:gd name="connsiteX10" fmla="*/ 1972 w 51149"/>
                <a:gd name="connsiteY10" fmla="*/ 0 h 136578"/>
                <a:gd name="connsiteX11" fmla="*/ 25355 w 51149"/>
                <a:gd name="connsiteY11" fmla="*/ 571 h 136578"/>
                <a:gd name="connsiteX12" fmla="*/ 21955 w 51149"/>
                <a:gd name="connsiteY12" fmla="*/ 14792 h 136578"/>
                <a:gd name="connsiteX13" fmla="*/ 30118 w 51149"/>
                <a:gd name="connsiteY13" fmla="*/ 22755 h 136578"/>
                <a:gd name="connsiteX14" fmla="*/ 39395 w 51149"/>
                <a:gd name="connsiteY14" fmla="*/ 32195 h 136578"/>
                <a:gd name="connsiteX15" fmla="*/ 40405 w 51149"/>
                <a:gd name="connsiteY15" fmla="*/ 45396 h 136578"/>
                <a:gd name="connsiteX16" fmla="*/ 45787 w 51149"/>
                <a:gd name="connsiteY16" fmla="*/ 50940 h 136578"/>
                <a:gd name="connsiteX17" fmla="*/ 44567 w 51149"/>
                <a:gd name="connsiteY17" fmla="*/ 112471 h 136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149" h="136578">
                  <a:moveTo>
                    <a:pt x="51149" y="130893"/>
                  </a:moveTo>
                  <a:lnTo>
                    <a:pt x="29651" y="136579"/>
                  </a:lnTo>
                  <a:lnTo>
                    <a:pt x="23689" y="127206"/>
                  </a:lnTo>
                  <a:lnTo>
                    <a:pt x="16564" y="110271"/>
                  </a:lnTo>
                  <a:lnTo>
                    <a:pt x="14440" y="96964"/>
                  </a:lnTo>
                  <a:lnTo>
                    <a:pt x="20355" y="72838"/>
                  </a:lnTo>
                  <a:lnTo>
                    <a:pt x="13649" y="63055"/>
                  </a:lnTo>
                  <a:lnTo>
                    <a:pt x="11106" y="41891"/>
                  </a:lnTo>
                  <a:lnTo>
                    <a:pt x="11154" y="22336"/>
                  </a:lnTo>
                  <a:lnTo>
                    <a:pt x="0" y="8420"/>
                  </a:lnTo>
                  <a:lnTo>
                    <a:pt x="1972" y="0"/>
                  </a:lnTo>
                  <a:lnTo>
                    <a:pt x="25355" y="571"/>
                  </a:lnTo>
                  <a:lnTo>
                    <a:pt x="21955" y="14792"/>
                  </a:lnTo>
                  <a:lnTo>
                    <a:pt x="30118" y="22755"/>
                  </a:lnTo>
                  <a:lnTo>
                    <a:pt x="39395" y="32195"/>
                  </a:lnTo>
                  <a:lnTo>
                    <a:pt x="40405" y="45396"/>
                  </a:lnTo>
                  <a:lnTo>
                    <a:pt x="45787" y="50940"/>
                  </a:lnTo>
                  <a:lnTo>
                    <a:pt x="44567" y="1124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" name="Forme libre : forme 5806">
              <a:extLst>
                <a:ext uri="{FF2B5EF4-FFF2-40B4-BE49-F238E27FC236}">
                  <a16:creationId xmlns:a16="http://schemas.microsoft.com/office/drawing/2014/main" id="{001934E4-27DC-BBAD-A8D2-A594BA3441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421481" y="4189013"/>
              <a:ext cx="219351" cy="402412"/>
            </a:xfrm>
            <a:custGeom>
              <a:avLst/>
              <a:gdLst>
                <a:gd name="connsiteX0" fmla="*/ 139122 w 219351"/>
                <a:gd name="connsiteY0" fmla="*/ 227857 h 402412"/>
                <a:gd name="connsiteX1" fmla="*/ 115148 w 219351"/>
                <a:gd name="connsiteY1" fmla="*/ 215389 h 402412"/>
                <a:gd name="connsiteX2" fmla="*/ 92307 w 219351"/>
                <a:gd name="connsiteY2" fmla="*/ 215894 h 402412"/>
                <a:gd name="connsiteX3" fmla="*/ 96221 w 219351"/>
                <a:gd name="connsiteY3" fmla="*/ 194491 h 402412"/>
                <a:gd name="connsiteX4" fmla="*/ 72694 w 219351"/>
                <a:gd name="connsiteY4" fmla="*/ 194653 h 402412"/>
                <a:gd name="connsiteX5" fmla="*/ 70580 w 219351"/>
                <a:gd name="connsiteY5" fmla="*/ 224590 h 402412"/>
                <a:gd name="connsiteX6" fmla="*/ 56169 w 219351"/>
                <a:gd name="connsiteY6" fmla="*/ 264157 h 402412"/>
                <a:gd name="connsiteX7" fmla="*/ 47491 w 219351"/>
                <a:gd name="connsiteY7" fmla="*/ 287988 h 402412"/>
                <a:gd name="connsiteX8" fmla="*/ 49320 w 219351"/>
                <a:gd name="connsiteY8" fmla="*/ 307457 h 402412"/>
                <a:gd name="connsiteX9" fmla="*/ 66713 w 219351"/>
                <a:gd name="connsiteY9" fmla="*/ 308305 h 402412"/>
                <a:gd name="connsiteX10" fmla="*/ 77552 w 219351"/>
                <a:gd name="connsiteY10" fmla="*/ 332804 h 402412"/>
                <a:gd name="connsiteX11" fmla="*/ 82353 w 219351"/>
                <a:gd name="connsiteY11" fmla="*/ 355987 h 402412"/>
                <a:gd name="connsiteX12" fmla="*/ 97250 w 219351"/>
                <a:gd name="connsiteY12" fmla="*/ 371304 h 402412"/>
                <a:gd name="connsiteX13" fmla="*/ 113433 w 219351"/>
                <a:gd name="connsiteY13" fmla="*/ 374409 h 402412"/>
                <a:gd name="connsiteX14" fmla="*/ 127273 w 219351"/>
                <a:gd name="connsiteY14" fmla="*/ 388268 h 402412"/>
                <a:gd name="connsiteX15" fmla="*/ 118548 w 219351"/>
                <a:gd name="connsiteY15" fmla="*/ 399221 h 402412"/>
                <a:gd name="connsiteX16" fmla="*/ 100908 w 219351"/>
                <a:gd name="connsiteY16" fmla="*/ 402412 h 402412"/>
                <a:gd name="connsiteX17" fmla="*/ 98812 w 219351"/>
                <a:gd name="connsiteY17" fmla="*/ 388715 h 402412"/>
                <a:gd name="connsiteX18" fmla="*/ 77019 w 219351"/>
                <a:gd name="connsiteY18" fmla="*/ 377019 h 402412"/>
                <a:gd name="connsiteX19" fmla="*/ 72380 w 219351"/>
                <a:gd name="connsiteY19" fmla="*/ 381781 h 402412"/>
                <a:gd name="connsiteX20" fmla="*/ 61826 w 219351"/>
                <a:gd name="connsiteY20" fmla="*/ 371532 h 402412"/>
                <a:gd name="connsiteX21" fmla="*/ 57255 w 219351"/>
                <a:gd name="connsiteY21" fmla="*/ 358292 h 402412"/>
                <a:gd name="connsiteX22" fmla="*/ 43072 w 219351"/>
                <a:gd name="connsiteY22" fmla="*/ 343186 h 402412"/>
                <a:gd name="connsiteX23" fmla="*/ 30127 w 219351"/>
                <a:gd name="connsiteY23" fmla="*/ 330470 h 402412"/>
                <a:gd name="connsiteX24" fmla="*/ 25736 w 219351"/>
                <a:gd name="connsiteY24" fmla="*/ 346215 h 402412"/>
                <a:gd name="connsiteX25" fmla="*/ 20678 w 219351"/>
                <a:gd name="connsiteY25" fmla="*/ 331336 h 402412"/>
                <a:gd name="connsiteX26" fmla="*/ 23593 w 219351"/>
                <a:gd name="connsiteY26" fmla="*/ 314592 h 402412"/>
                <a:gd name="connsiteX27" fmla="*/ 31461 w 219351"/>
                <a:gd name="connsiteY27" fmla="*/ 288798 h 402412"/>
                <a:gd name="connsiteX28" fmla="*/ 44396 w 219351"/>
                <a:gd name="connsiteY28" fmla="*/ 261071 h 402412"/>
                <a:gd name="connsiteX29" fmla="*/ 59064 w 219351"/>
                <a:gd name="connsiteY29" fmla="*/ 235830 h 402412"/>
                <a:gd name="connsiteX30" fmla="*/ 48625 w 219351"/>
                <a:gd name="connsiteY30" fmla="*/ 211055 h 402412"/>
                <a:gd name="connsiteX31" fmla="*/ 49044 w 219351"/>
                <a:gd name="connsiteY31" fmla="*/ 198406 h 402412"/>
                <a:gd name="connsiteX32" fmla="*/ 45986 w 219351"/>
                <a:gd name="connsiteY32" fmla="*/ 183166 h 402412"/>
                <a:gd name="connsiteX33" fmla="*/ 28174 w 219351"/>
                <a:gd name="connsiteY33" fmla="*/ 161411 h 402412"/>
                <a:gd name="connsiteX34" fmla="*/ 21802 w 219351"/>
                <a:gd name="connsiteY34" fmla="*/ 147638 h 402412"/>
                <a:gd name="connsiteX35" fmla="*/ 31023 w 219351"/>
                <a:gd name="connsiteY35" fmla="*/ 142560 h 402412"/>
                <a:gd name="connsiteX36" fmla="*/ 40795 w 219351"/>
                <a:gd name="connsiteY36" fmla="*/ 118577 h 402412"/>
                <a:gd name="connsiteX37" fmla="*/ 29860 w 219351"/>
                <a:gd name="connsiteY37" fmla="*/ 100317 h 402412"/>
                <a:gd name="connsiteX38" fmla="*/ 12915 w 219351"/>
                <a:gd name="connsiteY38" fmla="*/ 80029 h 402412"/>
                <a:gd name="connsiteX39" fmla="*/ 0 w 219351"/>
                <a:gd name="connsiteY39" fmla="*/ 55531 h 402412"/>
                <a:gd name="connsiteX40" fmla="*/ 11277 w 219351"/>
                <a:gd name="connsiteY40" fmla="*/ 50444 h 402412"/>
                <a:gd name="connsiteX41" fmla="*/ 23450 w 219351"/>
                <a:gd name="connsiteY41" fmla="*/ 20060 h 402412"/>
                <a:gd name="connsiteX42" fmla="*/ 42310 w 219351"/>
                <a:gd name="connsiteY42" fmla="*/ 18793 h 402412"/>
                <a:gd name="connsiteX43" fmla="*/ 57883 w 219351"/>
                <a:gd name="connsiteY43" fmla="*/ 6543 h 402412"/>
                <a:gd name="connsiteX44" fmla="*/ 73190 w 219351"/>
                <a:gd name="connsiteY44" fmla="*/ 0 h 402412"/>
                <a:gd name="connsiteX45" fmla="*/ 84744 w 219351"/>
                <a:gd name="connsiteY45" fmla="*/ 8734 h 402412"/>
                <a:gd name="connsiteX46" fmla="*/ 86277 w 219351"/>
                <a:gd name="connsiteY46" fmla="*/ 25689 h 402412"/>
                <a:gd name="connsiteX47" fmla="*/ 104317 w 219351"/>
                <a:gd name="connsiteY47" fmla="*/ 26984 h 402412"/>
                <a:gd name="connsiteX48" fmla="*/ 97755 w 219351"/>
                <a:gd name="connsiteY48" fmla="*/ 56550 h 402412"/>
                <a:gd name="connsiteX49" fmla="*/ 98384 w 219351"/>
                <a:gd name="connsiteY49" fmla="*/ 81562 h 402412"/>
                <a:gd name="connsiteX50" fmla="*/ 126530 w 219351"/>
                <a:gd name="connsiteY50" fmla="*/ 64932 h 402412"/>
                <a:gd name="connsiteX51" fmla="*/ 134531 w 219351"/>
                <a:gd name="connsiteY51" fmla="*/ 69856 h 402412"/>
                <a:gd name="connsiteX52" fmla="*/ 150171 w 219351"/>
                <a:gd name="connsiteY52" fmla="*/ 69047 h 402412"/>
                <a:gd name="connsiteX53" fmla="*/ 155553 w 219351"/>
                <a:gd name="connsiteY53" fmla="*/ 59331 h 402412"/>
                <a:gd name="connsiteX54" fmla="*/ 175746 w 219351"/>
                <a:gd name="connsiteY54" fmla="*/ 61246 h 402412"/>
                <a:gd name="connsiteX55" fmla="*/ 196062 w 219351"/>
                <a:gd name="connsiteY55" fmla="*/ 83896 h 402412"/>
                <a:gd name="connsiteX56" fmla="*/ 197729 w 219351"/>
                <a:gd name="connsiteY56" fmla="*/ 111280 h 402412"/>
                <a:gd name="connsiteX57" fmla="*/ 219351 w 219351"/>
                <a:gd name="connsiteY57" fmla="*/ 135350 h 402412"/>
                <a:gd name="connsiteX58" fmla="*/ 218161 w 219351"/>
                <a:gd name="connsiteY58" fmla="*/ 158620 h 402412"/>
                <a:gd name="connsiteX59" fmla="*/ 209464 w 219351"/>
                <a:gd name="connsiteY59" fmla="*/ 170974 h 402412"/>
                <a:gd name="connsiteX60" fmla="*/ 184432 w 219351"/>
                <a:gd name="connsiteY60" fmla="*/ 167040 h 402412"/>
                <a:gd name="connsiteX61" fmla="*/ 149904 w 219351"/>
                <a:gd name="connsiteY61" fmla="*/ 172278 h 402412"/>
                <a:gd name="connsiteX62" fmla="*/ 132797 w 219351"/>
                <a:gd name="connsiteY62" fmla="*/ 194996 h 40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19351" h="402412">
                  <a:moveTo>
                    <a:pt x="139122" y="227857"/>
                  </a:moveTo>
                  <a:lnTo>
                    <a:pt x="115148" y="215389"/>
                  </a:lnTo>
                  <a:lnTo>
                    <a:pt x="92307" y="215894"/>
                  </a:lnTo>
                  <a:lnTo>
                    <a:pt x="96221" y="194491"/>
                  </a:lnTo>
                  <a:lnTo>
                    <a:pt x="72694" y="194653"/>
                  </a:lnTo>
                  <a:lnTo>
                    <a:pt x="70580" y="224590"/>
                  </a:lnTo>
                  <a:lnTo>
                    <a:pt x="56169" y="264157"/>
                  </a:lnTo>
                  <a:lnTo>
                    <a:pt x="47491" y="287988"/>
                  </a:lnTo>
                  <a:lnTo>
                    <a:pt x="49320" y="307457"/>
                  </a:lnTo>
                  <a:lnTo>
                    <a:pt x="66713" y="308305"/>
                  </a:lnTo>
                  <a:lnTo>
                    <a:pt x="77552" y="332804"/>
                  </a:lnTo>
                  <a:lnTo>
                    <a:pt x="82353" y="355987"/>
                  </a:lnTo>
                  <a:lnTo>
                    <a:pt x="97250" y="371304"/>
                  </a:lnTo>
                  <a:lnTo>
                    <a:pt x="113433" y="374409"/>
                  </a:lnTo>
                  <a:lnTo>
                    <a:pt x="127273" y="388268"/>
                  </a:lnTo>
                  <a:lnTo>
                    <a:pt x="118548" y="399221"/>
                  </a:lnTo>
                  <a:lnTo>
                    <a:pt x="100908" y="402412"/>
                  </a:lnTo>
                  <a:lnTo>
                    <a:pt x="98812" y="388715"/>
                  </a:lnTo>
                  <a:lnTo>
                    <a:pt x="77019" y="377019"/>
                  </a:lnTo>
                  <a:lnTo>
                    <a:pt x="72380" y="381781"/>
                  </a:lnTo>
                  <a:lnTo>
                    <a:pt x="61826" y="371532"/>
                  </a:lnTo>
                  <a:lnTo>
                    <a:pt x="57255" y="358292"/>
                  </a:lnTo>
                  <a:lnTo>
                    <a:pt x="43072" y="343186"/>
                  </a:lnTo>
                  <a:lnTo>
                    <a:pt x="30127" y="330470"/>
                  </a:lnTo>
                  <a:lnTo>
                    <a:pt x="25736" y="346215"/>
                  </a:lnTo>
                  <a:lnTo>
                    <a:pt x="20678" y="331336"/>
                  </a:lnTo>
                  <a:lnTo>
                    <a:pt x="23593" y="314592"/>
                  </a:lnTo>
                  <a:lnTo>
                    <a:pt x="31461" y="288798"/>
                  </a:lnTo>
                  <a:lnTo>
                    <a:pt x="44396" y="261071"/>
                  </a:lnTo>
                  <a:lnTo>
                    <a:pt x="59064" y="235830"/>
                  </a:lnTo>
                  <a:lnTo>
                    <a:pt x="48625" y="211055"/>
                  </a:lnTo>
                  <a:lnTo>
                    <a:pt x="49044" y="198406"/>
                  </a:lnTo>
                  <a:lnTo>
                    <a:pt x="45986" y="183166"/>
                  </a:lnTo>
                  <a:lnTo>
                    <a:pt x="28174" y="161411"/>
                  </a:lnTo>
                  <a:lnTo>
                    <a:pt x="21802" y="147638"/>
                  </a:lnTo>
                  <a:lnTo>
                    <a:pt x="31023" y="142560"/>
                  </a:lnTo>
                  <a:lnTo>
                    <a:pt x="40795" y="118577"/>
                  </a:lnTo>
                  <a:lnTo>
                    <a:pt x="29860" y="100317"/>
                  </a:lnTo>
                  <a:lnTo>
                    <a:pt x="12915" y="80029"/>
                  </a:lnTo>
                  <a:lnTo>
                    <a:pt x="0" y="55531"/>
                  </a:lnTo>
                  <a:lnTo>
                    <a:pt x="11277" y="50444"/>
                  </a:lnTo>
                  <a:lnTo>
                    <a:pt x="23450" y="20060"/>
                  </a:lnTo>
                  <a:lnTo>
                    <a:pt x="42310" y="18793"/>
                  </a:lnTo>
                  <a:lnTo>
                    <a:pt x="57883" y="6543"/>
                  </a:lnTo>
                  <a:lnTo>
                    <a:pt x="73190" y="0"/>
                  </a:lnTo>
                  <a:lnTo>
                    <a:pt x="84744" y="8734"/>
                  </a:lnTo>
                  <a:lnTo>
                    <a:pt x="86277" y="25689"/>
                  </a:lnTo>
                  <a:lnTo>
                    <a:pt x="104317" y="26984"/>
                  </a:lnTo>
                  <a:lnTo>
                    <a:pt x="97755" y="56550"/>
                  </a:lnTo>
                  <a:lnTo>
                    <a:pt x="98384" y="81562"/>
                  </a:lnTo>
                  <a:lnTo>
                    <a:pt x="126530" y="64932"/>
                  </a:lnTo>
                  <a:lnTo>
                    <a:pt x="134531" y="69856"/>
                  </a:lnTo>
                  <a:lnTo>
                    <a:pt x="150171" y="69047"/>
                  </a:lnTo>
                  <a:lnTo>
                    <a:pt x="155553" y="59331"/>
                  </a:lnTo>
                  <a:lnTo>
                    <a:pt x="175746" y="61246"/>
                  </a:lnTo>
                  <a:lnTo>
                    <a:pt x="196062" y="83896"/>
                  </a:lnTo>
                  <a:lnTo>
                    <a:pt x="197729" y="111280"/>
                  </a:lnTo>
                  <a:lnTo>
                    <a:pt x="219351" y="135350"/>
                  </a:lnTo>
                  <a:lnTo>
                    <a:pt x="218161" y="158620"/>
                  </a:lnTo>
                  <a:lnTo>
                    <a:pt x="209464" y="170974"/>
                  </a:lnTo>
                  <a:lnTo>
                    <a:pt x="184432" y="167040"/>
                  </a:lnTo>
                  <a:lnTo>
                    <a:pt x="149904" y="172278"/>
                  </a:lnTo>
                  <a:lnTo>
                    <a:pt x="132797" y="19499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" name="Forme libre : forme 5807">
              <a:extLst>
                <a:ext uri="{FF2B5EF4-FFF2-40B4-BE49-F238E27FC236}">
                  <a16:creationId xmlns:a16="http://schemas.microsoft.com/office/drawing/2014/main" id="{11B49AA8-029B-6B54-563A-1CE1013C7D6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622057" y="3548276"/>
              <a:ext cx="201310" cy="144265"/>
            </a:xfrm>
            <a:custGeom>
              <a:avLst/>
              <a:gdLst>
                <a:gd name="connsiteX0" fmla="*/ 95393 w 201310"/>
                <a:gd name="connsiteY0" fmla="*/ 25079 h 144265"/>
                <a:gd name="connsiteX1" fmla="*/ 85620 w 201310"/>
                <a:gd name="connsiteY1" fmla="*/ 35805 h 144265"/>
                <a:gd name="connsiteX2" fmla="*/ 56550 w 201310"/>
                <a:gd name="connsiteY2" fmla="*/ 29994 h 144265"/>
                <a:gd name="connsiteX3" fmla="*/ 54016 w 201310"/>
                <a:gd name="connsiteY3" fmla="*/ 49959 h 144265"/>
                <a:gd name="connsiteX4" fmla="*/ 82982 w 201310"/>
                <a:gd name="connsiteY4" fmla="*/ 47282 h 144265"/>
                <a:gd name="connsiteX5" fmla="*/ 115967 w 201310"/>
                <a:gd name="connsiteY5" fmla="*/ 58464 h 144265"/>
                <a:gd name="connsiteX6" fmla="*/ 166468 w 201310"/>
                <a:gd name="connsiteY6" fmla="*/ 53254 h 144265"/>
                <a:gd name="connsiteX7" fmla="*/ 173241 w 201310"/>
                <a:gd name="connsiteY7" fmla="*/ 84906 h 144265"/>
                <a:gd name="connsiteX8" fmla="*/ 182013 w 201310"/>
                <a:gd name="connsiteY8" fmla="*/ 81486 h 144265"/>
                <a:gd name="connsiteX9" fmla="*/ 198234 w 201310"/>
                <a:gd name="connsiteY9" fmla="*/ 89221 h 144265"/>
                <a:gd name="connsiteX10" fmla="*/ 197301 w 201310"/>
                <a:gd name="connsiteY10" fmla="*/ 102375 h 144265"/>
                <a:gd name="connsiteX11" fmla="*/ 201311 w 201310"/>
                <a:gd name="connsiteY11" fmla="*/ 121539 h 144265"/>
                <a:gd name="connsiteX12" fmla="*/ 173764 w 201310"/>
                <a:gd name="connsiteY12" fmla="*/ 121482 h 144265"/>
                <a:gd name="connsiteX13" fmla="*/ 155372 w 201310"/>
                <a:gd name="connsiteY13" fmla="*/ 119015 h 144265"/>
                <a:gd name="connsiteX14" fmla="*/ 138732 w 201310"/>
                <a:gd name="connsiteY14" fmla="*/ 133979 h 144265"/>
                <a:gd name="connsiteX15" fmla="*/ 126882 w 201310"/>
                <a:gd name="connsiteY15" fmla="*/ 137284 h 144265"/>
                <a:gd name="connsiteX16" fmla="*/ 117567 w 201310"/>
                <a:gd name="connsiteY16" fmla="*/ 144266 h 144265"/>
                <a:gd name="connsiteX17" fmla="*/ 107004 w 201310"/>
                <a:gd name="connsiteY17" fmla="*/ 133378 h 144265"/>
                <a:gd name="connsiteX18" fmla="*/ 109490 w 201310"/>
                <a:gd name="connsiteY18" fmla="*/ 105223 h 144265"/>
                <a:gd name="connsiteX19" fmla="*/ 101412 w 201310"/>
                <a:gd name="connsiteY19" fmla="*/ 103613 h 144265"/>
                <a:gd name="connsiteX20" fmla="*/ 104317 w 201310"/>
                <a:gd name="connsiteY20" fmla="*/ 93288 h 144265"/>
                <a:gd name="connsiteX21" fmla="*/ 89858 w 201310"/>
                <a:gd name="connsiteY21" fmla="*/ 85573 h 144265"/>
                <a:gd name="connsiteX22" fmla="*/ 78362 w 201310"/>
                <a:gd name="connsiteY22" fmla="*/ 97365 h 144265"/>
                <a:gd name="connsiteX23" fmla="*/ 75533 w 201310"/>
                <a:gd name="connsiteY23" fmla="*/ 110966 h 144265"/>
                <a:gd name="connsiteX24" fmla="*/ 71428 w 201310"/>
                <a:gd name="connsiteY24" fmla="*/ 115900 h 144265"/>
                <a:gd name="connsiteX25" fmla="*/ 55464 w 201310"/>
                <a:gd name="connsiteY25" fmla="*/ 115195 h 144265"/>
                <a:gd name="connsiteX26" fmla="*/ 46854 w 201310"/>
                <a:gd name="connsiteY26" fmla="*/ 130521 h 144265"/>
                <a:gd name="connsiteX27" fmla="*/ 37842 w 201310"/>
                <a:gd name="connsiteY27" fmla="*/ 124073 h 144265"/>
                <a:gd name="connsiteX28" fmla="*/ 18516 w 201310"/>
                <a:gd name="connsiteY28" fmla="*/ 134798 h 144265"/>
                <a:gd name="connsiteX29" fmla="*/ 10353 w 201310"/>
                <a:gd name="connsiteY29" fmla="*/ 130731 h 144265"/>
                <a:gd name="connsiteX30" fmla="*/ 25365 w 201310"/>
                <a:gd name="connsiteY30" fmla="*/ 96736 h 144265"/>
                <a:gd name="connsiteX31" fmla="*/ 19593 w 201310"/>
                <a:gd name="connsiteY31" fmla="*/ 71419 h 144265"/>
                <a:gd name="connsiteX32" fmla="*/ 0 w 201310"/>
                <a:gd name="connsiteY32" fmla="*/ 63255 h 144265"/>
                <a:gd name="connsiteX33" fmla="*/ 6925 w 201310"/>
                <a:gd name="connsiteY33" fmla="*/ 48101 h 144265"/>
                <a:gd name="connsiteX34" fmla="*/ 29223 w 201310"/>
                <a:gd name="connsiteY34" fmla="*/ 49721 h 144265"/>
                <a:gd name="connsiteX35" fmla="*/ 41910 w 201310"/>
                <a:gd name="connsiteY35" fmla="*/ 30585 h 144265"/>
                <a:gd name="connsiteX36" fmla="*/ 50406 w 201310"/>
                <a:gd name="connsiteY36" fmla="*/ 8172 h 144265"/>
                <a:gd name="connsiteX37" fmla="*/ 86116 w 201310"/>
                <a:gd name="connsiteY37" fmla="*/ 0 h 144265"/>
                <a:gd name="connsiteX38" fmla="*/ 80553 w 201310"/>
                <a:gd name="connsiteY38" fmla="*/ 16278 h 144265"/>
                <a:gd name="connsiteX39" fmla="*/ 84372 w 201310"/>
                <a:gd name="connsiteY39" fmla="*/ 25984 h 14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01310" h="144265">
                  <a:moveTo>
                    <a:pt x="95393" y="25079"/>
                  </a:moveTo>
                  <a:lnTo>
                    <a:pt x="85620" y="35805"/>
                  </a:lnTo>
                  <a:lnTo>
                    <a:pt x="56550" y="29994"/>
                  </a:lnTo>
                  <a:lnTo>
                    <a:pt x="54016" y="49959"/>
                  </a:lnTo>
                  <a:lnTo>
                    <a:pt x="82982" y="47282"/>
                  </a:lnTo>
                  <a:lnTo>
                    <a:pt x="115967" y="58464"/>
                  </a:lnTo>
                  <a:lnTo>
                    <a:pt x="166468" y="53254"/>
                  </a:lnTo>
                  <a:lnTo>
                    <a:pt x="173241" y="84906"/>
                  </a:lnTo>
                  <a:lnTo>
                    <a:pt x="182013" y="81486"/>
                  </a:lnTo>
                  <a:lnTo>
                    <a:pt x="198234" y="89221"/>
                  </a:lnTo>
                  <a:lnTo>
                    <a:pt x="197301" y="102375"/>
                  </a:lnTo>
                  <a:lnTo>
                    <a:pt x="201311" y="121539"/>
                  </a:lnTo>
                  <a:lnTo>
                    <a:pt x="173764" y="121482"/>
                  </a:lnTo>
                  <a:lnTo>
                    <a:pt x="155372" y="119015"/>
                  </a:lnTo>
                  <a:lnTo>
                    <a:pt x="138732" y="133979"/>
                  </a:lnTo>
                  <a:lnTo>
                    <a:pt x="126882" y="137284"/>
                  </a:lnTo>
                  <a:lnTo>
                    <a:pt x="117567" y="144266"/>
                  </a:lnTo>
                  <a:lnTo>
                    <a:pt x="107004" y="133378"/>
                  </a:lnTo>
                  <a:lnTo>
                    <a:pt x="109490" y="105223"/>
                  </a:lnTo>
                  <a:lnTo>
                    <a:pt x="101412" y="103613"/>
                  </a:lnTo>
                  <a:lnTo>
                    <a:pt x="104317" y="93288"/>
                  </a:lnTo>
                  <a:lnTo>
                    <a:pt x="89858" y="85573"/>
                  </a:lnTo>
                  <a:lnTo>
                    <a:pt x="78362" y="97365"/>
                  </a:lnTo>
                  <a:lnTo>
                    <a:pt x="75533" y="110966"/>
                  </a:lnTo>
                  <a:lnTo>
                    <a:pt x="71428" y="115900"/>
                  </a:lnTo>
                  <a:lnTo>
                    <a:pt x="55464" y="115195"/>
                  </a:lnTo>
                  <a:lnTo>
                    <a:pt x="46854" y="130521"/>
                  </a:lnTo>
                  <a:lnTo>
                    <a:pt x="37842" y="124073"/>
                  </a:lnTo>
                  <a:lnTo>
                    <a:pt x="18516" y="134798"/>
                  </a:lnTo>
                  <a:lnTo>
                    <a:pt x="10353" y="130731"/>
                  </a:lnTo>
                  <a:lnTo>
                    <a:pt x="25365" y="96736"/>
                  </a:lnTo>
                  <a:lnTo>
                    <a:pt x="19593" y="71419"/>
                  </a:lnTo>
                  <a:lnTo>
                    <a:pt x="0" y="63255"/>
                  </a:lnTo>
                  <a:lnTo>
                    <a:pt x="6925" y="48101"/>
                  </a:lnTo>
                  <a:lnTo>
                    <a:pt x="29223" y="49721"/>
                  </a:lnTo>
                  <a:lnTo>
                    <a:pt x="41910" y="30585"/>
                  </a:lnTo>
                  <a:lnTo>
                    <a:pt x="50406" y="8172"/>
                  </a:lnTo>
                  <a:lnTo>
                    <a:pt x="86116" y="0"/>
                  </a:lnTo>
                  <a:lnTo>
                    <a:pt x="80553" y="16278"/>
                  </a:lnTo>
                  <a:lnTo>
                    <a:pt x="84372" y="2598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" name="Forme libre : forme 5808">
              <a:extLst>
                <a:ext uri="{FF2B5EF4-FFF2-40B4-BE49-F238E27FC236}">
                  <a16:creationId xmlns:a16="http://schemas.microsoft.com/office/drawing/2014/main" id="{B89A69E0-1A24-B720-ADF5-157C4FBAC1B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158392" y="4962910"/>
              <a:ext cx="63226" cy="30070"/>
            </a:xfrm>
            <a:custGeom>
              <a:avLst/>
              <a:gdLst>
                <a:gd name="connsiteX0" fmla="*/ 0 w 63226"/>
                <a:gd name="connsiteY0" fmla="*/ 16621 h 30070"/>
                <a:gd name="connsiteX1" fmla="*/ 3153 w 63226"/>
                <a:gd name="connsiteY1" fmla="*/ 10287 h 30070"/>
                <a:gd name="connsiteX2" fmla="*/ 26137 w 63226"/>
                <a:gd name="connsiteY2" fmla="*/ 4258 h 30070"/>
                <a:gd name="connsiteX3" fmla="*/ 44768 w 63226"/>
                <a:gd name="connsiteY3" fmla="*/ 3343 h 30070"/>
                <a:gd name="connsiteX4" fmla="*/ 53121 w 63226"/>
                <a:gd name="connsiteY4" fmla="*/ 0 h 30070"/>
                <a:gd name="connsiteX5" fmla="*/ 63227 w 63226"/>
                <a:gd name="connsiteY5" fmla="*/ 3315 h 30070"/>
                <a:gd name="connsiteX6" fmla="*/ 53407 w 63226"/>
                <a:gd name="connsiteY6" fmla="*/ 10592 h 30070"/>
                <a:gd name="connsiteX7" fmla="*/ 25565 w 63226"/>
                <a:gd name="connsiteY7" fmla="*/ 22346 h 30070"/>
                <a:gd name="connsiteX8" fmla="*/ 3200 w 63226"/>
                <a:gd name="connsiteY8" fmla="*/ 30070 h 30070"/>
                <a:gd name="connsiteX9" fmla="*/ 2715 w 63226"/>
                <a:gd name="connsiteY9" fmla="*/ 21917 h 30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226" h="30070">
                  <a:moveTo>
                    <a:pt x="0" y="16621"/>
                  </a:moveTo>
                  <a:lnTo>
                    <a:pt x="3153" y="10287"/>
                  </a:lnTo>
                  <a:lnTo>
                    <a:pt x="26137" y="4258"/>
                  </a:lnTo>
                  <a:lnTo>
                    <a:pt x="44768" y="3343"/>
                  </a:lnTo>
                  <a:lnTo>
                    <a:pt x="53121" y="0"/>
                  </a:lnTo>
                  <a:lnTo>
                    <a:pt x="63227" y="3315"/>
                  </a:lnTo>
                  <a:lnTo>
                    <a:pt x="53407" y="10592"/>
                  </a:lnTo>
                  <a:lnTo>
                    <a:pt x="25565" y="22346"/>
                  </a:lnTo>
                  <a:lnTo>
                    <a:pt x="3200" y="30070"/>
                  </a:lnTo>
                  <a:lnTo>
                    <a:pt x="2715" y="219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orme libre : forme 5809">
              <a:extLst>
                <a:ext uri="{FF2B5EF4-FFF2-40B4-BE49-F238E27FC236}">
                  <a16:creationId xmlns:a16="http://schemas.microsoft.com/office/drawing/2014/main" id="{CD97E0CB-B49E-7AE0-C737-959CFA13D8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223064" y="3484268"/>
              <a:ext cx="375066" cy="256508"/>
            </a:xfrm>
            <a:custGeom>
              <a:avLst/>
              <a:gdLst>
                <a:gd name="connsiteX0" fmla="*/ 232572 w 375066"/>
                <a:gd name="connsiteY0" fmla="*/ 244126 h 256508"/>
                <a:gd name="connsiteX1" fmla="*/ 230229 w 375066"/>
                <a:gd name="connsiteY1" fmla="*/ 216446 h 256508"/>
                <a:gd name="connsiteX2" fmla="*/ 210322 w 375066"/>
                <a:gd name="connsiteY2" fmla="*/ 215255 h 256508"/>
                <a:gd name="connsiteX3" fmla="*/ 179804 w 375066"/>
                <a:gd name="connsiteY3" fmla="*/ 185776 h 256508"/>
                <a:gd name="connsiteX4" fmla="*/ 158477 w 375066"/>
                <a:gd name="connsiteY4" fmla="*/ 182118 h 256508"/>
                <a:gd name="connsiteX5" fmla="*/ 128940 w 375066"/>
                <a:gd name="connsiteY5" fmla="*/ 165059 h 256508"/>
                <a:gd name="connsiteX6" fmla="*/ 109947 w 375066"/>
                <a:gd name="connsiteY6" fmla="*/ 161944 h 256508"/>
                <a:gd name="connsiteX7" fmla="*/ 98222 w 375066"/>
                <a:gd name="connsiteY7" fmla="*/ 168240 h 256508"/>
                <a:gd name="connsiteX8" fmla="*/ 80363 w 375066"/>
                <a:gd name="connsiteY8" fmla="*/ 167259 h 256508"/>
                <a:gd name="connsiteX9" fmla="*/ 61370 w 375066"/>
                <a:gd name="connsiteY9" fmla="*/ 186471 h 256508"/>
                <a:gd name="connsiteX10" fmla="*/ 37900 w 375066"/>
                <a:gd name="connsiteY10" fmla="*/ 192939 h 256508"/>
                <a:gd name="connsiteX11" fmla="*/ 32938 w 375066"/>
                <a:gd name="connsiteY11" fmla="*/ 169212 h 256508"/>
                <a:gd name="connsiteX12" fmla="*/ 36815 w 375066"/>
                <a:gd name="connsiteY12" fmla="*/ 133703 h 256508"/>
                <a:gd name="connsiteX13" fmla="*/ 15993 w 375066"/>
                <a:gd name="connsiteY13" fmla="*/ 122091 h 256508"/>
                <a:gd name="connsiteX14" fmla="*/ 22841 w 375066"/>
                <a:gd name="connsiteY14" fmla="*/ 98441 h 256508"/>
                <a:gd name="connsiteX15" fmla="*/ 5115 w 375066"/>
                <a:gd name="connsiteY15" fmla="*/ 96422 h 256508"/>
                <a:gd name="connsiteX16" fmla="*/ 11021 w 375066"/>
                <a:gd name="connsiteY16" fmla="*/ 66951 h 256508"/>
                <a:gd name="connsiteX17" fmla="*/ 36214 w 375066"/>
                <a:gd name="connsiteY17" fmla="*/ 75571 h 256508"/>
                <a:gd name="connsiteX18" fmla="*/ 59674 w 375066"/>
                <a:gd name="connsiteY18" fmla="*/ 64322 h 256508"/>
                <a:gd name="connsiteX19" fmla="*/ 40224 w 375066"/>
                <a:gd name="connsiteY19" fmla="*/ 43091 h 256508"/>
                <a:gd name="connsiteX20" fmla="*/ 32566 w 375066"/>
                <a:gd name="connsiteY20" fmla="*/ 22660 h 256508"/>
                <a:gd name="connsiteX21" fmla="*/ 11069 w 375066"/>
                <a:gd name="connsiteY21" fmla="*/ 31795 h 256508"/>
                <a:gd name="connsiteX22" fmla="*/ 8344 w 375066"/>
                <a:gd name="connsiteY22" fmla="*/ 57826 h 256508"/>
                <a:gd name="connsiteX23" fmla="*/ 0 w 375066"/>
                <a:gd name="connsiteY23" fmla="*/ 34823 h 256508"/>
                <a:gd name="connsiteX24" fmla="*/ 11802 w 375066"/>
                <a:gd name="connsiteY24" fmla="*/ 22917 h 256508"/>
                <a:gd name="connsiteX25" fmla="*/ 42120 w 375066"/>
                <a:gd name="connsiteY25" fmla="*/ 15440 h 256508"/>
                <a:gd name="connsiteX26" fmla="*/ 60170 w 375066"/>
                <a:gd name="connsiteY26" fmla="*/ 25498 h 256508"/>
                <a:gd name="connsiteX27" fmla="*/ 78858 w 375066"/>
                <a:gd name="connsiteY27" fmla="*/ 53426 h 256508"/>
                <a:gd name="connsiteX28" fmla="*/ 92564 w 375066"/>
                <a:gd name="connsiteY28" fmla="*/ 51692 h 256508"/>
                <a:gd name="connsiteX29" fmla="*/ 122692 w 375066"/>
                <a:gd name="connsiteY29" fmla="*/ 51206 h 256508"/>
                <a:gd name="connsiteX30" fmla="*/ 118310 w 375066"/>
                <a:gd name="connsiteY30" fmla="*/ 33299 h 256508"/>
                <a:gd name="connsiteX31" fmla="*/ 141123 w 375066"/>
                <a:gd name="connsiteY31" fmla="*/ 20964 h 256508"/>
                <a:gd name="connsiteX32" fmla="*/ 163621 w 375066"/>
                <a:gd name="connsiteY32" fmla="*/ 0 h 256508"/>
                <a:gd name="connsiteX33" fmla="*/ 199606 w 375066"/>
                <a:gd name="connsiteY33" fmla="*/ 19069 h 256508"/>
                <a:gd name="connsiteX34" fmla="*/ 202464 w 375066"/>
                <a:gd name="connsiteY34" fmla="*/ 47568 h 256508"/>
                <a:gd name="connsiteX35" fmla="*/ 212684 w 375066"/>
                <a:gd name="connsiteY35" fmla="*/ 54816 h 256508"/>
                <a:gd name="connsiteX36" fmla="*/ 241554 w 375066"/>
                <a:gd name="connsiteY36" fmla="*/ 53188 h 256508"/>
                <a:gd name="connsiteX37" fmla="*/ 250517 w 375066"/>
                <a:gd name="connsiteY37" fmla="*/ 59607 h 256508"/>
                <a:gd name="connsiteX38" fmla="*/ 263653 w 375066"/>
                <a:gd name="connsiteY38" fmla="*/ 95717 h 256508"/>
                <a:gd name="connsiteX39" fmla="*/ 294190 w 375066"/>
                <a:gd name="connsiteY39" fmla="*/ 119596 h 256508"/>
                <a:gd name="connsiteX40" fmla="*/ 311611 w 375066"/>
                <a:gd name="connsiteY40" fmla="*/ 135741 h 256508"/>
                <a:gd name="connsiteX41" fmla="*/ 339538 w 375066"/>
                <a:gd name="connsiteY41" fmla="*/ 152419 h 256508"/>
                <a:gd name="connsiteX42" fmla="*/ 375066 w 375066"/>
                <a:gd name="connsiteY42" fmla="*/ 166897 h 256508"/>
                <a:gd name="connsiteX43" fmla="*/ 374333 w 375066"/>
                <a:gd name="connsiteY43" fmla="*/ 187462 h 256508"/>
                <a:gd name="connsiteX44" fmla="*/ 366284 w 375066"/>
                <a:gd name="connsiteY44" fmla="*/ 186423 h 256508"/>
                <a:gd name="connsiteX45" fmla="*/ 353682 w 375066"/>
                <a:gd name="connsiteY45" fmla="*/ 177460 h 256508"/>
                <a:gd name="connsiteX46" fmla="*/ 349491 w 375066"/>
                <a:gd name="connsiteY46" fmla="*/ 189386 h 256508"/>
                <a:gd name="connsiteX47" fmla="*/ 326984 w 375066"/>
                <a:gd name="connsiteY47" fmla="*/ 195844 h 256508"/>
                <a:gd name="connsiteX48" fmla="*/ 321650 w 375066"/>
                <a:gd name="connsiteY48" fmla="*/ 222371 h 256508"/>
                <a:gd name="connsiteX49" fmla="*/ 306600 w 375066"/>
                <a:gd name="connsiteY49" fmla="*/ 232391 h 256508"/>
                <a:gd name="connsiteX50" fmla="*/ 285522 w 375066"/>
                <a:gd name="connsiteY50" fmla="*/ 237334 h 256508"/>
                <a:gd name="connsiteX51" fmla="*/ 279950 w 375066"/>
                <a:gd name="connsiteY51" fmla="*/ 252165 h 256508"/>
                <a:gd name="connsiteX52" fmla="*/ 259804 w 375066"/>
                <a:gd name="connsiteY52" fmla="*/ 256508 h 256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75066" h="256508">
                  <a:moveTo>
                    <a:pt x="232572" y="244126"/>
                  </a:moveTo>
                  <a:lnTo>
                    <a:pt x="230229" y="216446"/>
                  </a:lnTo>
                  <a:lnTo>
                    <a:pt x="210322" y="215255"/>
                  </a:lnTo>
                  <a:lnTo>
                    <a:pt x="179804" y="185776"/>
                  </a:lnTo>
                  <a:lnTo>
                    <a:pt x="158477" y="182118"/>
                  </a:lnTo>
                  <a:lnTo>
                    <a:pt x="128940" y="165059"/>
                  </a:lnTo>
                  <a:lnTo>
                    <a:pt x="109947" y="161944"/>
                  </a:lnTo>
                  <a:lnTo>
                    <a:pt x="98222" y="168240"/>
                  </a:lnTo>
                  <a:lnTo>
                    <a:pt x="80363" y="167259"/>
                  </a:lnTo>
                  <a:lnTo>
                    <a:pt x="61370" y="186471"/>
                  </a:lnTo>
                  <a:lnTo>
                    <a:pt x="37900" y="192939"/>
                  </a:lnTo>
                  <a:lnTo>
                    <a:pt x="32938" y="169212"/>
                  </a:lnTo>
                  <a:lnTo>
                    <a:pt x="36815" y="133703"/>
                  </a:lnTo>
                  <a:lnTo>
                    <a:pt x="15993" y="122091"/>
                  </a:lnTo>
                  <a:lnTo>
                    <a:pt x="22841" y="98441"/>
                  </a:lnTo>
                  <a:lnTo>
                    <a:pt x="5115" y="96422"/>
                  </a:lnTo>
                  <a:lnTo>
                    <a:pt x="11021" y="66951"/>
                  </a:lnTo>
                  <a:lnTo>
                    <a:pt x="36214" y="75571"/>
                  </a:lnTo>
                  <a:lnTo>
                    <a:pt x="59674" y="64322"/>
                  </a:lnTo>
                  <a:lnTo>
                    <a:pt x="40224" y="43091"/>
                  </a:lnTo>
                  <a:lnTo>
                    <a:pt x="32566" y="22660"/>
                  </a:lnTo>
                  <a:lnTo>
                    <a:pt x="11069" y="31795"/>
                  </a:lnTo>
                  <a:lnTo>
                    <a:pt x="8344" y="57826"/>
                  </a:lnTo>
                  <a:lnTo>
                    <a:pt x="0" y="34823"/>
                  </a:lnTo>
                  <a:lnTo>
                    <a:pt x="11802" y="22917"/>
                  </a:lnTo>
                  <a:lnTo>
                    <a:pt x="42120" y="15440"/>
                  </a:lnTo>
                  <a:lnTo>
                    <a:pt x="60170" y="25498"/>
                  </a:lnTo>
                  <a:lnTo>
                    <a:pt x="78858" y="53426"/>
                  </a:lnTo>
                  <a:lnTo>
                    <a:pt x="92564" y="51692"/>
                  </a:lnTo>
                  <a:lnTo>
                    <a:pt x="122692" y="51206"/>
                  </a:lnTo>
                  <a:lnTo>
                    <a:pt x="118310" y="33299"/>
                  </a:lnTo>
                  <a:lnTo>
                    <a:pt x="141123" y="20964"/>
                  </a:lnTo>
                  <a:lnTo>
                    <a:pt x="163621" y="0"/>
                  </a:lnTo>
                  <a:lnTo>
                    <a:pt x="199606" y="19069"/>
                  </a:lnTo>
                  <a:lnTo>
                    <a:pt x="202464" y="47568"/>
                  </a:lnTo>
                  <a:lnTo>
                    <a:pt x="212684" y="54816"/>
                  </a:lnTo>
                  <a:lnTo>
                    <a:pt x="241554" y="53188"/>
                  </a:lnTo>
                  <a:lnTo>
                    <a:pt x="250517" y="59607"/>
                  </a:lnTo>
                  <a:lnTo>
                    <a:pt x="263653" y="95717"/>
                  </a:lnTo>
                  <a:lnTo>
                    <a:pt x="294190" y="119596"/>
                  </a:lnTo>
                  <a:lnTo>
                    <a:pt x="311611" y="135741"/>
                  </a:lnTo>
                  <a:lnTo>
                    <a:pt x="339538" y="152419"/>
                  </a:lnTo>
                  <a:lnTo>
                    <a:pt x="375066" y="166897"/>
                  </a:lnTo>
                  <a:lnTo>
                    <a:pt x="374333" y="187462"/>
                  </a:lnTo>
                  <a:lnTo>
                    <a:pt x="366284" y="186423"/>
                  </a:lnTo>
                  <a:lnTo>
                    <a:pt x="353682" y="177460"/>
                  </a:lnTo>
                  <a:lnTo>
                    <a:pt x="349491" y="189386"/>
                  </a:lnTo>
                  <a:lnTo>
                    <a:pt x="326984" y="195844"/>
                  </a:lnTo>
                  <a:lnTo>
                    <a:pt x="321650" y="222371"/>
                  </a:lnTo>
                  <a:lnTo>
                    <a:pt x="306600" y="232391"/>
                  </a:lnTo>
                  <a:lnTo>
                    <a:pt x="285522" y="237334"/>
                  </a:lnTo>
                  <a:lnTo>
                    <a:pt x="279950" y="252165"/>
                  </a:lnTo>
                  <a:lnTo>
                    <a:pt x="259804" y="2565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" name="Forme libre : forme 5810">
              <a:extLst>
                <a:ext uri="{FF2B5EF4-FFF2-40B4-BE49-F238E27FC236}">
                  <a16:creationId xmlns:a16="http://schemas.microsoft.com/office/drawing/2014/main" id="{FD248953-B171-F639-59E7-FD3150F0B8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021857" y="3672158"/>
              <a:ext cx="105870" cy="225637"/>
            </a:xfrm>
            <a:custGeom>
              <a:avLst/>
              <a:gdLst>
                <a:gd name="connsiteX0" fmla="*/ 52273 w 105870"/>
                <a:gd name="connsiteY0" fmla="*/ 225638 h 225637"/>
                <a:gd name="connsiteX1" fmla="*/ 40891 w 105870"/>
                <a:gd name="connsiteY1" fmla="*/ 169850 h 225637"/>
                <a:gd name="connsiteX2" fmla="*/ 24422 w 105870"/>
                <a:gd name="connsiteY2" fmla="*/ 157163 h 225637"/>
                <a:gd name="connsiteX3" fmla="*/ 24193 w 105870"/>
                <a:gd name="connsiteY3" fmla="*/ 149523 h 225637"/>
                <a:gd name="connsiteX4" fmla="*/ 2352 w 105870"/>
                <a:gd name="connsiteY4" fmla="*/ 130626 h 225637"/>
                <a:gd name="connsiteX5" fmla="*/ 0 w 105870"/>
                <a:gd name="connsiteY5" fmla="*/ 106556 h 225637"/>
                <a:gd name="connsiteX6" fmla="*/ 16459 w 105870"/>
                <a:gd name="connsiteY6" fmla="*/ 88582 h 225637"/>
                <a:gd name="connsiteX7" fmla="*/ 22746 w 105870"/>
                <a:gd name="connsiteY7" fmla="*/ 61798 h 225637"/>
                <a:gd name="connsiteX8" fmla="*/ 18507 w 105870"/>
                <a:gd name="connsiteY8" fmla="*/ 30480 h 225637"/>
                <a:gd name="connsiteX9" fmla="*/ 23936 w 105870"/>
                <a:gd name="connsiteY9" fmla="*/ 13459 h 225637"/>
                <a:gd name="connsiteX10" fmla="*/ 53016 w 105870"/>
                <a:gd name="connsiteY10" fmla="*/ 0 h 225637"/>
                <a:gd name="connsiteX11" fmla="*/ 71714 w 105870"/>
                <a:gd name="connsiteY11" fmla="*/ 4010 h 225637"/>
                <a:gd name="connsiteX12" fmla="*/ 70933 w 105870"/>
                <a:gd name="connsiteY12" fmla="*/ 20850 h 225637"/>
                <a:gd name="connsiteX13" fmla="*/ 93583 w 105870"/>
                <a:gd name="connsiteY13" fmla="*/ 8611 h 225637"/>
                <a:gd name="connsiteX14" fmla="*/ 95488 w 105870"/>
                <a:gd name="connsiteY14" fmla="*/ 15011 h 225637"/>
                <a:gd name="connsiteX15" fmla="*/ 82134 w 105870"/>
                <a:gd name="connsiteY15" fmla="*/ 31252 h 225637"/>
                <a:gd name="connsiteX16" fmla="*/ 81953 w 105870"/>
                <a:gd name="connsiteY16" fmla="*/ 46482 h 225637"/>
                <a:gd name="connsiteX17" fmla="*/ 91202 w 105870"/>
                <a:gd name="connsiteY17" fmla="*/ 54635 h 225637"/>
                <a:gd name="connsiteX18" fmla="*/ 87687 w 105870"/>
                <a:gd name="connsiteY18" fmla="*/ 82820 h 225637"/>
                <a:gd name="connsiteX19" fmla="*/ 70104 w 105870"/>
                <a:gd name="connsiteY19" fmla="*/ 99050 h 225637"/>
                <a:gd name="connsiteX20" fmla="*/ 75181 w 105870"/>
                <a:gd name="connsiteY20" fmla="*/ 116538 h 225637"/>
                <a:gd name="connsiteX21" fmla="*/ 88992 w 105870"/>
                <a:gd name="connsiteY21" fmla="*/ 117081 h 225637"/>
                <a:gd name="connsiteX22" fmla="*/ 95707 w 105870"/>
                <a:gd name="connsiteY22" fmla="*/ 132245 h 225637"/>
                <a:gd name="connsiteX23" fmla="*/ 105870 w 105870"/>
                <a:gd name="connsiteY23" fmla="*/ 137208 h 225637"/>
                <a:gd name="connsiteX24" fmla="*/ 104356 w 105870"/>
                <a:gd name="connsiteY24" fmla="*/ 161487 h 225637"/>
                <a:gd name="connsiteX25" fmla="*/ 91335 w 105870"/>
                <a:gd name="connsiteY25" fmla="*/ 170507 h 225637"/>
                <a:gd name="connsiteX26" fmla="*/ 83115 w 105870"/>
                <a:gd name="connsiteY26" fmla="*/ 180537 h 225637"/>
                <a:gd name="connsiteX27" fmla="*/ 64779 w 105870"/>
                <a:gd name="connsiteY27" fmla="*/ 192557 h 225637"/>
                <a:gd name="connsiteX28" fmla="*/ 67618 w 105870"/>
                <a:gd name="connsiteY28" fmla="*/ 205426 h 225637"/>
                <a:gd name="connsiteX29" fmla="*/ 65313 w 105870"/>
                <a:gd name="connsiteY29" fmla="*/ 218494 h 22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870" h="225637">
                  <a:moveTo>
                    <a:pt x="52273" y="225638"/>
                  </a:moveTo>
                  <a:lnTo>
                    <a:pt x="40891" y="169850"/>
                  </a:lnTo>
                  <a:lnTo>
                    <a:pt x="24422" y="157163"/>
                  </a:lnTo>
                  <a:lnTo>
                    <a:pt x="24193" y="149523"/>
                  </a:lnTo>
                  <a:lnTo>
                    <a:pt x="2352" y="130626"/>
                  </a:lnTo>
                  <a:lnTo>
                    <a:pt x="0" y="106556"/>
                  </a:lnTo>
                  <a:lnTo>
                    <a:pt x="16459" y="88582"/>
                  </a:lnTo>
                  <a:lnTo>
                    <a:pt x="22746" y="61798"/>
                  </a:lnTo>
                  <a:lnTo>
                    <a:pt x="18507" y="30480"/>
                  </a:lnTo>
                  <a:lnTo>
                    <a:pt x="23936" y="13459"/>
                  </a:lnTo>
                  <a:lnTo>
                    <a:pt x="53016" y="0"/>
                  </a:lnTo>
                  <a:lnTo>
                    <a:pt x="71714" y="4010"/>
                  </a:lnTo>
                  <a:lnTo>
                    <a:pt x="70933" y="20850"/>
                  </a:lnTo>
                  <a:lnTo>
                    <a:pt x="93583" y="8611"/>
                  </a:lnTo>
                  <a:lnTo>
                    <a:pt x="95488" y="15011"/>
                  </a:lnTo>
                  <a:lnTo>
                    <a:pt x="82134" y="31252"/>
                  </a:lnTo>
                  <a:lnTo>
                    <a:pt x="81953" y="46482"/>
                  </a:lnTo>
                  <a:lnTo>
                    <a:pt x="91202" y="54635"/>
                  </a:lnTo>
                  <a:lnTo>
                    <a:pt x="87687" y="82820"/>
                  </a:lnTo>
                  <a:lnTo>
                    <a:pt x="70104" y="99050"/>
                  </a:lnTo>
                  <a:lnTo>
                    <a:pt x="75181" y="116538"/>
                  </a:lnTo>
                  <a:lnTo>
                    <a:pt x="88992" y="117081"/>
                  </a:lnTo>
                  <a:lnTo>
                    <a:pt x="95707" y="132245"/>
                  </a:lnTo>
                  <a:lnTo>
                    <a:pt x="105870" y="137208"/>
                  </a:lnTo>
                  <a:lnTo>
                    <a:pt x="104356" y="161487"/>
                  </a:lnTo>
                  <a:lnTo>
                    <a:pt x="91335" y="170507"/>
                  </a:lnTo>
                  <a:lnTo>
                    <a:pt x="83115" y="180537"/>
                  </a:lnTo>
                  <a:lnTo>
                    <a:pt x="64779" y="192557"/>
                  </a:lnTo>
                  <a:lnTo>
                    <a:pt x="67618" y="205426"/>
                  </a:lnTo>
                  <a:lnTo>
                    <a:pt x="65313" y="218494"/>
                  </a:lnTo>
                  <a:close/>
                </a:path>
              </a:pathLst>
            </a:custGeom>
            <a:solidFill>
              <a:schemeClr val="accent6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" name="Forme libre : forme 5811">
              <a:extLst>
                <a:ext uri="{FF2B5EF4-FFF2-40B4-BE49-F238E27FC236}">
                  <a16:creationId xmlns:a16="http://schemas.microsoft.com/office/drawing/2014/main" id="{F020DE70-00DF-E95F-4CF4-9ABA441F22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516433" y="3506270"/>
              <a:ext cx="500757" cy="216512"/>
            </a:xfrm>
            <a:custGeom>
              <a:avLst/>
              <a:gdLst>
                <a:gd name="connsiteX0" fmla="*/ 290293 w 500757"/>
                <a:gd name="connsiteY0" fmla="*/ 28747 h 216512"/>
                <a:gd name="connsiteX1" fmla="*/ 328603 w 500757"/>
                <a:gd name="connsiteY1" fmla="*/ 42415 h 216512"/>
                <a:gd name="connsiteX2" fmla="*/ 359711 w 500757"/>
                <a:gd name="connsiteY2" fmla="*/ 36976 h 216512"/>
                <a:gd name="connsiteX3" fmla="*/ 382705 w 500757"/>
                <a:gd name="connsiteY3" fmla="*/ 40119 h 216512"/>
                <a:gd name="connsiteX4" fmla="*/ 414242 w 500757"/>
                <a:gd name="connsiteY4" fmla="*/ 21641 h 216512"/>
                <a:gd name="connsiteX5" fmla="*/ 442693 w 500757"/>
                <a:gd name="connsiteY5" fmla="*/ 19955 h 216512"/>
                <a:gd name="connsiteX6" fmla="*/ 468420 w 500757"/>
                <a:gd name="connsiteY6" fmla="*/ 37357 h 216512"/>
                <a:gd name="connsiteX7" fmla="*/ 472954 w 500757"/>
                <a:gd name="connsiteY7" fmla="*/ 49749 h 216512"/>
                <a:gd name="connsiteX8" fmla="*/ 470382 w 500757"/>
                <a:gd name="connsiteY8" fmla="*/ 66780 h 216512"/>
                <a:gd name="connsiteX9" fmla="*/ 490242 w 500757"/>
                <a:gd name="connsiteY9" fmla="*/ 75429 h 216512"/>
                <a:gd name="connsiteX10" fmla="*/ 500758 w 500757"/>
                <a:gd name="connsiteY10" fmla="*/ 85554 h 216512"/>
                <a:gd name="connsiteX11" fmla="*/ 482469 w 500757"/>
                <a:gd name="connsiteY11" fmla="*/ 95383 h 216512"/>
                <a:gd name="connsiteX12" fmla="*/ 490804 w 500757"/>
                <a:gd name="connsiteY12" fmla="*/ 134550 h 216512"/>
                <a:gd name="connsiteX13" fmla="*/ 485575 w 500757"/>
                <a:gd name="connsiteY13" fmla="*/ 145028 h 216512"/>
                <a:gd name="connsiteX14" fmla="*/ 500186 w 500757"/>
                <a:gd name="connsiteY14" fmla="*/ 171907 h 216512"/>
                <a:gd name="connsiteX15" fmla="*/ 487384 w 500757"/>
                <a:gd name="connsiteY15" fmla="*/ 177537 h 216512"/>
                <a:gd name="connsiteX16" fmla="*/ 478002 w 500757"/>
                <a:gd name="connsiteY16" fmla="*/ 169040 h 216512"/>
                <a:gd name="connsiteX17" fmla="*/ 446941 w 500757"/>
                <a:gd name="connsiteY17" fmla="*/ 164725 h 216512"/>
                <a:gd name="connsiteX18" fmla="*/ 435473 w 500757"/>
                <a:gd name="connsiteY18" fmla="*/ 169917 h 216512"/>
                <a:gd name="connsiteX19" fmla="*/ 405098 w 500757"/>
                <a:gd name="connsiteY19" fmla="*/ 175098 h 216512"/>
                <a:gd name="connsiteX20" fmla="*/ 390706 w 500757"/>
                <a:gd name="connsiteY20" fmla="*/ 174536 h 216512"/>
                <a:gd name="connsiteX21" fmla="*/ 359969 w 500757"/>
                <a:gd name="connsiteY21" fmla="*/ 187014 h 216512"/>
                <a:gd name="connsiteX22" fmla="*/ 337995 w 500757"/>
                <a:gd name="connsiteY22" fmla="*/ 187119 h 216512"/>
                <a:gd name="connsiteX23" fmla="*/ 323783 w 500757"/>
                <a:gd name="connsiteY23" fmla="*/ 180870 h 216512"/>
                <a:gd name="connsiteX24" fmla="*/ 294380 w 500757"/>
                <a:gd name="connsiteY24" fmla="*/ 190100 h 216512"/>
                <a:gd name="connsiteX25" fmla="*/ 285645 w 500757"/>
                <a:gd name="connsiteY25" fmla="*/ 183652 h 216512"/>
                <a:gd name="connsiteX26" fmla="*/ 284197 w 500757"/>
                <a:gd name="connsiteY26" fmla="*/ 202111 h 216512"/>
                <a:gd name="connsiteX27" fmla="*/ 277044 w 500757"/>
                <a:gd name="connsiteY27" fmla="*/ 209322 h 216512"/>
                <a:gd name="connsiteX28" fmla="*/ 269891 w 500757"/>
                <a:gd name="connsiteY28" fmla="*/ 216513 h 216512"/>
                <a:gd name="connsiteX29" fmla="*/ 260070 w 500757"/>
                <a:gd name="connsiteY29" fmla="*/ 201597 h 216512"/>
                <a:gd name="connsiteX30" fmla="*/ 270186 w 500757"/>
                <a:gd name="connsiteY30" fmla="*/ 189176 h 216512"/>
                <a:gd name="connsiteX31" fmla="*/ 253898 w 500757"/>
                <a:gd name="connsiteY31" fmla="*/ 191996 h 216512"/>
                <a:gd name="connsiteX32" fmla="*/ 231562 w 500757"/>
                <a:gd name="connsiteY32" fmla="*/ 184366 h 216512"/>
                <a:gd name="connsiteX33" fmla="*/ 213198 w 500757"/>
                <a:gd name="connsiteY33" fmla="*/ 203406 h 216512"/>
                <a:gd name="connsiteX34" fmla="*/ 172669 w 500757"/>
                <a:gd name="connsiteY34" fmla="*/ 207112 h 216512"/>
                <a:gd name="connsiteX35" fmla="*/ 151047 w 500757"/>
                <a:gd name="connsiteY35" fmla="*/ 189386 h 216512"/>
                <a:gd name="connsiteX36" fmla="*/ 122263 w 500757"/>
                <a:gd name="connsiteY36" fmla="*/ 188271 h 216512"/>
                <a:gd name="connsiteX37" fmla="*/ 116110 w 500757"/>
                <a:gd name="connsiteY37" fmla="*/ 201987 h 216512"/>
                <a:gd name="connsiteX38" fmla="*/ 97650 w 500757"/>
                <a:gd name="connsiteY38" fmla="*/ 205902 h 216512"/>
                <a:gd name="connsiteX39" fmla="*/ 71828 w 500757"/>
                <a:gd name="connsiteY39" fmla="*/ 188309 h 216512"/>
                <a:gd name="connsiteX40" fmla="*/ 42672 w 500757"/>
                <a:gd name="connsiteY40" fmla="*/ 188909 h 216512"/>
                <a:gd name="connsiteX41" fmla="*/ 26851 w 500757"/>
                <a:gd name="connsiteY41" fmla="*/ 155724 h 216512"/>
                <a:gd name="connsiteX42" fmla="*/ 7344 w 500757"/>
                <a:gd name="connsiteY42" fmla="*/ 137017 h 216512"/>
                <a:gd name="connsiteX43" fmla="*/ 20335 w 500757"/>
                <a:gd name="connsiteY43" fmla="*/ 110557 h 216512"/>
                <a:gd name="connsiteX44" fmla="*/ 3410 w 500757"/>
                <a:gd name="connsiteY44" fmla="*/ 94145 h 216512"/>
                <a:gd name="connsiteX45" fmla="*/ 33032 w 500757"/>
                <a:gd name="connsiteY45" fmla="*/ 60960 h 216512"/>
                <a:gd name="connsiteX46" fmla="*/ 74161 w 500757"/>
                <a:gd name="connsiteY46" fmla="*/ 59560 h 216512"/>
                <a:gd name="connsiteX47" fmla="*/ 85382 w 500757"/>
                <a:gd name="connsiteY47" fmla="*/ 32833 h 216512"/>
                <a:gd name="connsiteX48" fmla="*/ 136284 w 500757"/>
                <a:gd name="connsiteY48" fmla="*/ 37510 h 216512"/>
                <a:gd name="connsiteX49" fmla="*/ 168392 w 500757"/>
                <a:gd name="connsiteY49" fmla="*/ 14497 h 216512"/>
                <a:gd name="connsiteX50" fmla="*/ 199511 w 500757"/>
                <a:gd name="connsiteY50" fmla="*/ 4391 h 216512"/>
                <a:gd name="connsiteX51" fmla="*/ 243697 w 500757"/>
                <a:gd name="connsiteY51" fmla="*/ 3629 h 216512"/>
                <a:gd name="connsiteX52" fmla="*/ 290293 w 500757"/>
                <a:gd name="connsiteY52" fmla="*/ 28747 h 216512"/>
                <a:gd name="connsiteX53" fmla="*/ 30689 w 500757"/>
                <a:gd name="connsiteY53" fmla="*/ 51483 h 216512"/>
                <a:gd name="connsiteX54" fmla="*/ 8401 w 500757"/>
                <a:gd name="connsiteY54" fmla="*/ 70304 h 216512"/>
                <a:gd name="connsiteX55" fmla="*/ 0 w 500757"/>
                <a:gd name="connsiteY55" fmla="*/ 54035 h 216512"/>
                <a:gd name="connsiteX56" fmla="*/ 371 w 500757"/>
                <a:gd name="connsiteY56" fmla="*/ 46787 h 216512"/>
                <a:gd name="connsiteX57" fmla="*/ 6715 w 500757"/>
                <a:gd name="connsiteY57" fmla="*/ 42844 h 216512"/>
                <a:gd name="connsiteX58" fmla="*/ 14983 w 500757"/>
                <a:gd name="connsiteY58" fmla="*/ 20698 h 216512"/>
                <a:gd name="connsiteX59" fmla="*/ 1971 w 500757"/>
                <a:gd name="connsiteY59" fmla="*/ 11268 h 216512"/>
                <a:gd name="connsiteX60" fmla="*/ 29175 w 500757"/>
                <a:gd name="connsiteY60" fmla="*/ 0 h 216512"/>
                <a:gd name="connsiteX61" fmla="*/ 52168 w 500757"/>
                <a:gd name="connsiteY61" fmla="*/ 4810 h 216512"/>
                <a:gd name="connsiteX62" fmla="*/ 55340 w 500757"/>
                <a:gd name="connsiteY62" fmla="*/ 18536 h 216512"/>
                <a:gd name="connsiteX63" fmla="*/ 78648 w 500757"/>
                <a:gd name="connsiteY63" fmla="*/ 30004 h 216512"/>
                <a:gd name="connsiteX64" fmla="*/ 73790 w 500757"/>
                <a:gd name="connsiteY64" fmla="*/ 38662 h 216512"/>
                <a:gd name="connsiteX65" fmla="*/ 42072 w 500757"/>
                <a:gd name="connsiteY65" fmla="*/ 40605 h 216512"/>
                <a:gd name="connsiteX66" fmla="*/ 30689 w 500757"/>
                <a:gd name="connsiteY66" fmla="*/ 51483 h 216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500757" h="216512">
                  <a:moveTo>
                    <a:pt x="290293" y="28747"/>
                  </a:moveTo>
                  <a:lnTo>
                    <a:pt x="328603" y="42415"/>
                  </a:lnTo>
                  <a:lnTo>
                    <a:pt x="359711" y="36976"/>
                  </a:lnTo>
                  <a:lnTo>
                    <a:pt x="382705" y="40119"/>
                  </a:lnTo>
                  <a:lnTo>
                    <a:pt x="414242" y="21641"/>
                  </a:lnTo>
                  <a:lnTo>
                    <a:pt x="442693" y="19955"/>
                  </a:lnTo>
                  <a:lnTo>
                    <a:pt x="468420" y="37357"/>
                  </a:lnTo>
                  <a:lnTo>
                    <a:pt x="472954" y="49749"/>
                  </a:lnTo>
                  <a:lnTo>
                    <a:pt x="470382" y="66780"/>
                  </a:lnTo>
                  <a:lnTo>
                    <a:pt x="490242" y="75429"/>
                  </a:lnTo>
                  <a:lnTo>
                    <a:pt x="500758" y="85554"/>
                  </a:lnTo>
                  <a:lnTo>
                    <a:pt x="482469" y="95383"/>
                  </a:lnTo>
                  <a:lnTo>
                    <a:pt x="490804" y="134550"/>
                  </a:lnTo>
                  <a:lnTo>
                    <a:pt x="485575" y="145028"/>
                  </a:lnTo>
                  <a:lnTo>
                    <a:pt x="500186" y="171907"/>
                  </a:lnTo>
                  <a:lnTo>
                    <a:pt x="487384" y="177537"/>
                  </a:lnTo>
                  <a:lnTo>
                    <a:pt x="478002" y="169040"/>
                  </a:lnTo>
                  <a:lnTo>
                    <a:pt x="446941" y="164725"/>
                  </a:lnTo>
                  <a:lnTo>
                    <a:pt x="435473" y="169917"/>
                  </a:lnTo>
                  <a:lnTo>
                    <a:pt x="405098" y="175098"/>
                  </a:lnTo>
                  <a:lnTo>
                    <a:pt x="390706" y="174536"/>
                  </a:lnTo>
                  <a:lnTo>
                    <a:pt x="359969" y="187014"/>
                  </a:lnTo>
                  <a:lnTo>
                    <a:pt x="337995" y="187119"/>
                  </a:lnTo>
                  <a:lnTo>
                    <a:pt x="323783" y="180870"/>
                  </a:lnTo>
                  <a:lnTo>
                    <a:pt x="294380" y="190100"/>
                  </a:lnTo>
                  <a:lnTo>
                    <a:pt x="285645" y="183652"/>
                  </a:lnTo>
                  <a:lnTo>
                    <a:pt x="284197" y="202111"/>
                  </a:lnTo>
                  <a:lnTo>
                    <a:pt x="277044" y="209322"/>
                  </a:lnTo>
                  <a:lnTo>
                    <a:pt x="269891" y="216513"/>
                  </a:lnTo>
                  <a:lnTo>
                    <a:pt x="260070" y="201597"/>
                  </a:lnTo>
                  <a:lnTo>
                    <a:pt x="270186" y="189176"/>
                  </a:lnTo>
                  <a:lnTo>
                    <a:pt x="253898" y="191996"/>
                  </a:lnTo>
                  <a:lnTo>
                    <a:pt x="231562" y="184366"/>
                  </a:lnTo>
                  <a:lnTo>
                    <a:pt x="213198" y="203406"/>
                  </a:lnTo>
                  <a:lnTo>
                    <a:pt x="172669" y="207112"/>
                  </a:lnTo>
                  <a:lnTo>
                    <a:pt x="151047" y="189386"/>
                  </a:lnTo>
                  <a:lnTo>
                    <a:pt x="122263" y="188271"/>
                  </a:lnTo>
                  <a:lnTo>
                    <a:pt x="116110" y="201987"/>
                  </a:lnTo>
                  <a:lnTo>
                    <a:pt x="97650" y="205902"/>
                  </a:lnTo>
                  <a:lnTo>
                    <a:pt x="71828" y="188309"/>
                  </a:lnTo>
                  <a:lnTo>
                    <a:pt x="42672" y="188909"/>
                  </a:lnTo>
                  <a:lnTo>
                    <a:pt x="26851" y="155724"/>
                  </a:lnTo>
                  <a:lnTo>
                    <a:pt x="7344" y="137017"/>
                  </a:lnTo>
                  <a:lnTo>
                    <a:pt x="20335" y="110557"/>
                  </a:lnTo>
                  <a:lnTo>
                    <a:pt x="3410" y="94145"/>
                  </a:lnTo>
                  <a:lnTo>
                    <a:pt x="33032" y="60960"/>
                  </a:lnTo>
                  <a:lnTo>
                    <a:pt x="74161" y="59560"/>
                  </a:lnTo>
                  <a:lnTo>
                    <a:pt x="85382" y="32833"/>
                  </a:lnTo>
                  <a:lnTo>
                    <a:pt x="136284" y="37510"/>
                  </a:lnTo>
                  <a:lnTo>
                    <a:pt x="168392" y="14497"/>
                  </a:lnTo>
                  <a:lnTo>
                    <a:pt x="199511" y="4391"/>
                  </a:lnTo>
                  <a:lnTo>
                    <a:pt x="243697" y="3629"/>
                  </a:lnTo>
                  <a:lnTo>
                    <a:pt x="290293" y="28747"/>
                  </a:lnTo>
                  <a:close/>
                  <a:moveTo>
                    <a:pt x="30689" y="51483"/>
                  </a:moveTo>
                  <a:lnTo>
                    <a:pt x="8401" y="70304"/>
                  </a:lnTo>
                  <a:lnTo>
                    <a:pt x="0" y="54035"/>
                  </a:lnTo>
                  <a:lnTo>
                    <a:pt x="371" y="46787"/>
                  </a:lnTo>
                  <a:lnTo>
                    <a:pt x="6715" y="42844"/>
                  </a:lnTo>
                  <a:lnTo>
                    <a:pt x="14983" y="20698"/>
                  </a:lnTo>
                  <a:lnTo>
                    <a:pt x="1971" y="11268"/>
                  </a:lnTo>
                  <a:lnTo>
                    <a:pt x="29175" y="0"/>
                  </a:lnTo>
                  <a:lnTo>
                    <a:pt x="52168" y="4810"/>
                  </a:lnTo>
                  <a:lnTo>
                    <a:pt x="55340" y="18536"/>
                  </a:lnTo>
                  <a:lnTo>
                    <a:pt x="78648" y="30004"/>
                  </a:lnTo>
                  <a:lnTo>
                    <a:pt x="73790" y="38662"/>
                  </a:lnTo>
                  <a:lnTo>
                    <a:pt x="42072" y="40605"/>
                  </a:lnTo>
                  <a:lnTo>
                    <a:pt x="30689" y="514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" name="Forme libre : forme 5812">
              <a:extLst>
                <a:ext uri="{FF2B5EF4-FFF2-40B4-BE49-F238E27FC236}">
                  <a16:creationId xmlns:a16="http://schemas.microsoft.com/office/drawing/2014/main" id="{8A0896E6-3ABA-75B5-3E57-F4D7BFFE65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166415" y="4451989"/>
              <a:ext cx="28175" cy="24012"/>
            </a:xfrm>
            <a:custGeom>
              <a:avLst/>
              <a:gdLst>
                <a:gd name="connsiteX0" fmla="*/ 7220 w 28175"/>
                <a:gd name="connsiteY0" fmla="*/ 3515 h 24012"/>
                <a:gd name="connsiteX1" fmla="*/ 22565 w 28175"/>
                <a:gd name="connsiteY1" fmla="*/ 0 h 24012"/>
                <a:gd name="connsiteX2" fmla="*/ 28175 w 28175"/>
                <a:gd name="connsiteY2" fmla="*/ 943 h 24012"/>
                <a:gd name="connsiteX3" fmla="*/ 27108 w 28175"/>
                <a:gd name="connsiteY3" fmla="*/ 21050 h 24012"/>
                <a:gd name="connsiteX4" fmla="*/ 4810 w 28175"/>
                <a:gd name="connsiteY4" fmla="*/ 24013 h 24012"/>
                <a:gd name="connsiteX5" fmla="*/ 0 w 28175"/>
                <a:gd name="connsiteY5" fmla="*/ 21584 h 24012"/>
                <a:gd name="connsiteX6" fmla="*/ 7744 w 28175"/>
                <a:gd name="connsiteY6" fmla="*/ 14173 h 24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75" h="24012">
                  <a:moveTo>
                    <a:pt x="7220" y="3515"/>
                  </a:moveTo>
                  <a:lnTo>
                    <a:pt x="22565" y="0"/>
                  </a:lnTo>
                  <a:lnTo>
                    <a:pt x="28175" y="943"/>
                  </a:lnTo>
                  <a:lnTo>
                    <a:pt x="27108" y="21050"/>
                  </a:lnTo>
                  <a:lnTo>
                    <a:pt x="4810" y="24013"/>
                  </a:lnTo>
                  <a:lnTo>
                    <a:pt x="0" y="21584"/>
                  </a:lnTo>
                  <a:lnTo>
                    <a:pt x="7744" y="141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" name="Forme libre : forme 5813">
              <a:extLst>
                <a:ext uri="{FF2B5EF4-FFF2-40B4-BE49-F238E27FC236}">
                  <a16:creationId xmlns:a16="http://schemas.microsoft.com/office/drawing/2014/main" id="{3B3EA2E9-0848-2F5F-303F-41B351209D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028537" y="4048396"/>
              <a:ext cx="49282" cy="96402"/>
            </a:xfrm>
            <a:custGeom>
              <a:avLst/>
              <a:gdLst>
                <a:gd name="connsiteX0" fmla="*/ 44644 w 49282"/>
                <a:gd name="connsiteY0" fmla="*/ 26375 h 96402"/>
                <a:gd name="connsiteX1" fmla="*/ 28566 w 49282"/>
                <a:gd name="connsiteY1" fmla="*/ 72847 h 96402"/>
                <a:gd name="connsiteX2" fmla="*/ 17116 w 49282"/>
                <a:gd name="connsiteY2" fmla="*/ 96403 h 96402"/>
                <a:gd name="connsiteX3" fmla="*/ 3038 w 49282"/>
                <a:gd name="connsiteY3" fmla="*/ 72152 h 96402"/>
                <a:gd name="connsiteX4" fmla="*/ 0 w 49282"/>
                <a:gd name="connsiteY4" fmla="*/ 50730 h 96402"/>
                <a:gd name="connsiteX5" fmla="*/ 15716 w 49282"/>
                <a:gd name="connsiteY5" fmla="*/ 22174 h 96402"/>
                <a:gd name="connsiteX6" fmla="*/ 37090 w 49282"/>
                <a:gd name="connsiteY6" fmla="*/ 0 h 96402"/>
                <a:gd name="connsiteX7" fmla="*/ 49282 w 49282"/>
                <a:gd name="connsiteY7" fmla="*/ 8744 h 9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282" h="96402">
                  <a:moveTo>
                    <a:pt x="44644" y="26375"/>
                  </a:moveTo>
                  <a:lnTo>
                    <a:pt x="28566" y="72847"/>
                  </a:lnTo>
                  <a:lnTo>
                    <a:pt x="17116" y="96403"/>
                  </a:lnTo>
                  <a:lnTo>
                    <a:pt x="3038" y="72152"/>
                  </a:lnTo>
                  <a:lnTo>
                    <a:pt x="0" y="50730"/>
                  </a:lnTo>
                  <a:lnTo>
                    <a:pt x="15716" y="22174"/>
                  </a:lnTo>
                  <a:lnTo>
                    <a:pt x="37090" y="0"/>
                  </a:lnTo>
                  <a:lnTo>
                    <a:pt x="49282" y="87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" name="Forme libre : forme 5814">
              <a:extLst>
                <a:ext uri="{FF2B5EF4-FFF2-40B4-BE49-F238E27FC236}">
                  <a16:creationId xmlns:a16="http://schemas.microsoft.com/office/drawing/2014/main" id="{72175137-B1D7-7060-E546-7C06B38BD9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604473" y="4767857"/>
              <a:ext cx="293150" cy="287950"/>
            </a:xfrm>
            <a:custGeom>
              <a:avLst/>
              <a:gdLst>
                <a:gd name="connsiteX0" fmla="*/ 121882 w 293150"/>
                <a:gd name="connsiteY0" fmla="*/ 0 h 287950"/>
                <a:gd name="connsiteX1" fmla="*/ 126397 w 293150"/>
                <a:gd name="connsiteY1" fmla="*/ 2915 h 287950"/>
                <a:gd name="connsiteX2" fmla="*/ 223238 w 293150"/>
                <a:gd name="connsiteY2" fmla="*/ 56998 h 287950"/>
                <a:gd name="connsiteX3" fmla="*/ 225057 w 293150"/>
                <a:gd name="connsiteY3" fmla="*/ 72409 h 287950"/>
                <a:gd name="connsiteX4" fmla="*/ 263385 w 293150"/>
                <a:gd name="connsiteY4" fmla="*/ 99003 h 287950"/>
                <a:gd name="connsiteX5" fmla="*/ 251060 w 293150"/>
                <a:gd name="connsiteY5" fmla="*/ 131836 h 287950"/>
                <a:gd name="connsiteX6" fmla="*/ 252641 w 293150"/>
                <a:gd name="connsiteY6" fmla="*/ 146952 h 287950"/>
                <a:gd name="connsiteX7" fmla="*/ 269738 w 293150"/>
                <a:gd name="connsiteY7" fmla="*/ 156686 h 287950"/>
                <a:gd name="connsiteX8" fmla="*/ 270539 w 293150"/>
                <a:gd name="connsiteY8" fmla="*/ 163639 h 287950"/>
                <a:gd name="connsiteX9" fmla="*/ 263185 w 293150"/>
                <a:gd name="connsiteY9" fmla="*/ 179794 h 287950"/>
                <a:gd name="connsiteX10" fmla="*/ 264719 w 293150"/>
                <a:gd name="connsiteY10" fmla="*/ 187938 h 287950"/>
                <a:gd name="connsiteX11" fmla="*/ 262966 w 293150"/>
                <a:gd name="connsiteY11" fmla="*/ 200739 h 287950"/>
                <a:gd name="connsiteX12" fmla="*/ 272291 w 293150"/>
                <a:gd name="connsiteY12" fmla="*/ 217570 h 287950"/>
                <a:gd name="connsiteX13" fmla="*/ 283350 w 293150"/>
                <a:gd name="connsiteY13" fmla="*/ 244107 h 287950"/>
                <a:gd name="connsiteX14" fmla="*/ 293151 w 293150"/>
                <a:gd name="connsiteY14" fmla="*/ 250003 h 287950"/>
                <a:gd name="connsiteX15" fmla="*/ 271901 w 293150"/>
                <a:gd name="connsiteY15" fmla="*/ 265652 h 287950"/>
                <a:gd name="connsiteX16" fmla="*/ 242697 w 293150"/>
                <a:gd name="connsiteY16" fmla="*/ 276149 h 287950"/>
                <a:gd name="connsiteX17" fmla="*/ 226676 w 293150"/>
                <a:gd name="connsiteY17" fmla="*/ 275711 h 287950"/>
                <a:gd name="connsiteX18" fmla="*/ 217161 w 293150"/>
                <a:gd name="connsiteY18" fmla="*/ 283826 h 287950"/>
                <a:gd name="connsiteX19" fmla="*/ 198568 w 293150"/>
                <a:gd name="connsiteY19" fmla="*/ 284521 h 287950"/>
                <a:gd name="connsiteX20" fmla="*/ 191595 w 293150"/>
                <a:gd name="connsiteY20" fmla="*/ 287950 h 287950"/>
                <a:gd name="connsiteX21" fmla="*/ 159505 w 293150"/>
                <a:gd name="connsiteY21" fmla="*/ 280321 h 287950"/>
                <a:gd name="connsiteX22" fmla="*/ 139408 w 293150"/>
                <a:gd name="connsiteY22" fmla="*/ 282502 h 287950"/>
                <a:gd name="connsiteX23" fmla="*/ 131931 w 293150"/>
                <a:gd name="connsiteY23" fmla="*/ 245764 h 287950"/>
                <a:gd name="connsiteX24" fmla="*/ 122873 w 293150"/>
                <a:gd name="connsiteY24" fmla="*/ 233201 h 287950"/>
                <a:gd name="connsiteX25" fmla="*/ 117500 w 293150"/>
                <a:gd name="connsiteY25" fmla="*/ 225762 h 287950"/>
                <a:gd name="connsiteX26" fmla="*/ 91316 w 293150"/>
                <a:gd name="connsiteY26" fmla="*/ 220751 h 287950"/>
                <a:gd name="connsiteX27" fmla="*/ 76162 w 293150"/>
                <a:gd name="connsiteY27" fmla="*/ 212674 h 287950"/>
                <a:gd name="connsiteX28" fmla="*/ 59188 w 293150"/>
                <a:gd name="connsiteY28" fmla="*/ 208159 h 287950"/>
                <a:gd name="connsiteX29" fmla="*/ 48549 w 293150"/>
                <a:gd name="connsiteY29" fmla="*/ 203663 h 287950"/>
                <a:gd name="connsiteX30" fmla="*/ 37386 w 293150"/>
                <a:gd name="connsiteY30" fmla="*/ 196834 h 287950"/>
                <a:gd name="connsiteX31" fmla="*/ 22965 w 293150"/>
                <a:gd name="connsiteY31" fmla="*/ 163106 h 287950"/>
                <a:gd name="connsiteX32" fmla="*/ 7477 w 293150"/>
                <a:gd name="connsiteY32" fmla="*/ 148142 h 287950"/>
                <a:gd name="connsiteX33" fmla="*/ 2134 w 293150"/>
                <a:gd name="connsiteY33" fmla="*/ 132655 h 287950"/>
                <a:gd name="connsiteX34" fmla="*/ 4800 w 293150"/>
                <a:gd name="connsiteY34" fmla="*/ 118796 h 287950"/>
                <a:gd name="connsiteX35" fmla="*/ 0 w 293150"/>
                <a:gd name="connsiteY35" fmla="*/ 94297 h 287950"/>
                <a:gd name="connsiteX36" fmla="*/ 11039 w 293150"/>
                <a:gd name="connsiteY36" fmla="*/ 93031 h 287950"/>
                <a:gd name="connsiteX37" fmla="*/ 20736 w 293150"/>
                <a:gd name="connsiteY37" fmla="*/ 83391 h 287950"/>
                <a:gd name="connsiteX38" fmla="*/ 31128 w 293150"/>
                <a:gd name="connsiteY38" fmla="*/ 69532 h 287950"/>
                <a:gd name="connsiteX39" fmla="*/ 37719 w 293150"/>
                <a:gd name="connsiteY39" fmla="*/ 63970 h 287950"/>
                <a:gd name="connsiteX40" fmla="*/ 37472 w 293150"/>
                <a:gd name="connsiteY40" fmla="*/ 55331 h 287950"/>
                <a:gd name="connsiteX41" fmla="*/ 31718 w 293150"/>
                <a:gd name="connsiteY41" fmla="*/ 49311 h 287950"/>
                <a:gd name="connsiteX42" fmla="*/ 30175 w 293150"/>
                <a:gd name="connsiteY42" fmla="*/ 38852 h 287950"/>
                <a:gd name="connsiteX43" fmla="*/ 37881 w 293150"/>
                <a:gd name="connsiteY43" fmla="*/ 35490 h 287950"/>
                <a:gd name="connsiteX44" fmla="*/ 39424 w 293150"/>
                <a:gd name="connsiteY44" fmla="*/ 19879 h 287950"/>
                <a:gd name="connsiteX45" fmla="*/ 28813 w 293150"/>
                <a:gd name="connsiteY45" fmla="*/ 4896 h 287950"/>
                <a:gd name="connsiteX46" fmla="*/ 38185 w 293150"/>
                <a:gd name="connsiteY46" fmla="*/ 1714 h 287950"/>
                <a:gd name="connsiteX47" fmla="*/ 67466 w 293150"/>
                <a:gd name="connsiteY47" fmla="*/ 2057 h 28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93150" h="287950">
                  <a:moveTo>
                    <a:pt x="121882" y="0"/>
                  </a:moveTo>
                  <a:lnTo>
                    <a:pt x="126397" y="2915"/>
                  </a:lnTo>
                  <a:lnTo>
                    <a:pt x="223238" y="56998"/>
                  </a:lnTo>
                  <a:lnTo>
                    <a:pt x="225057" y="72409"/>
                  </a:lnTo>
                  <a:lnTo>
                    <a:pt x="263385" y="99003"/>
                  </a:lnTo>
                  <a:lnTo>
                    <a:pt x="251060" y="131836"/>
                  </a:lnTo>
                  <a:lnTo>
                    <a:pt x="252641" y="146952"/>
                  </a:lnTo>
                  <a:lnTo>
                    <a:pt x="269738" y="156686"/>
                  </a:lnTo>
                  <a:lnTo>
                    <a:pt x="270539" y="163639"/>
                  </a:lnTo>
                  <a:lnTo>
                    <a:pt x="263185" y="179794"/>
                  </a:lnTo>
                  <a:lnTo>
                    <a:pt x="264719" y="187938"/>
                  </a:lnTo>
                  <a:lnTo>
                    <a:pt x="262966" y="200739"/>
                  </a:lnTo>
                  <a:lnTo>
                    <a:pt x="272291" y="217570"/>
                  </a:lnTo>
                  <a:lnTo>
                    <a:pt x="283350" y="244107"/>
                  </a:lnTo>
                  <a:lnTo>
                    <a:pt x="293151" y="250003"/>
                  </a:lnTo>
                  <a:lnTo>
                    <a:pt x="271901" y="265652"/>
                  </a:lnTo>
                  <a:lnTo>
                    <a:pt x="242697" y="276149"/>
                  </a:lnTo>
                  <a:lnTo>
                    <a:pt x="226676" y="275711"/>
                  </a:lnTo>
                  <a:lnTo>
                    <a:pt x="217161" y="283826"/>
                  </a:lnTo>
                  <a:lnTo>
                    <a:pt x="198568" y="284521"/>
                  </a:lnTo>
                  <a:lnTo>
                    <a:pt x="191595" y="287950"/>
                  </a:lnTo>
                  <a:lnTo>
                    <a:pt x="159505" y="280321"/>
                  </a:lnTo>
                  <a:lnTo>
                    <a:pt x="139408" y="282502"/>
                  </a:lnTo>
                  <a:lnTo>
                    <a:pt x="131931" y="245764"/>
                  </a:lnTo>
                  <a:lnTo>
                    <a:pt x="122873" y="233201"/>
                  </a:lnTo>
                  <a:lnTo>
                    <a:pt x="117500" y="225762"/>
                  </a:lnTo>
                  <a:lnTo>
                    <a:pt x="91316" y="220751"/>
                  </a:lnTo>
                  <a:lnTo>
                    <a:pt x="76162" y="212674"/>
                  </a:lnTo>
                  <a:lnTo>
                    <a:pt x="59188" y="208159"/>
                  </a:lnTo>
                  <a:lnTo>
                    <a:pt x="48549" y="203663"/>
                  </a:lnTo>
                  <a:lnTo>
                    <a:pt x="37386" y="196834"/>
                  </a:lnTo>
                  <a:lnTo>
                    <a:pt x="22965" y="163106"/>
                  </a:lnTo>
                  <a:lnTo>
                    <a:pt x="7477" y="148142"/>
                  </a:lnTo>
                  <a:lnTo>
                    <a:pt x="2134" y="132655"/>
                  </a:lnTo>
                  <a:lnTo>
                    <a:pt x="4800" y="118796"/>
                  </a:lnTo>
                  <a:lnTo>
                    <a:pt x="0" y="94297"/>
                  </a:lnTo>
                  <a:lnTo>
                    <a:pt x="11039" y="93031"/>
                  </a:lnTo>
                  <a:lnTo>
                    <a:pt x="20736" y="83391"/>
                  </a:lnTo>
                  <a:lnTo>
                    <a:pt x="31128" y="69532"/>
                  </a:lnTo>
                  <a:lnTo>
                    <a:pt x="37719" y="63970"/>
                  </a:lnTo>
                  <a:lnTo>
                    <a:pt x="37472" y="55331"/>
                  </a:lnTo>
                  <a:lnTo>
                    <a:pt x="31718" y="49311"/>
                  </a:lnTo>
                  <a:lnTo>
                    <a:pt x="30175" y="38852"/>
                  </a:lnTo>
                  <a:lnTo>
                    <a:pt x="37881" y="35490"/>
                  </a:lnTo>
                  <a:lnTo>
                    <a:pt x="39424" y="19879"/>
                  </a:lnTo>
                  <a:lnTo>
                    <a:pt x="28813" y="4896"/>
                  </a:lnTo>
                  <a:lnTo>
                    <a:pt x="38185" y="1714"/>
                  </a:lnTo>
                  <a:lnTo>
                    <a:pt x="67466" y="205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" name="Forme libre : forme 5815">
              <a:extLst>
                <a:ext uri="{FF2B5EF4-FFF2-40B4-BE49-F238E27FC236}">
                  <a16:creationId xmlns:a16="http://schemas.microsoft.com/office/drawing/2014/main" id="{D59E27ED-B2F4-6EE0-9F55-BBAEEAE16FB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410734" y="3104763"/>
              <a:ext cx="480593" cy="320382"/>
            </a:xfrm>
            <a:custGeom>
              <a:avLst/>
              <a:gdLst>
                <a:gd name="connsiteX0" fmla="*/ 259061 w 480593"/>
                <a:gd name="connsiteY0" fmla="*/ 10153 h 320382"/>
                <a:gd name="connsiteX1" fmla="*/ 269034 w 480593"/>
                <a:gd name="connsiteY1" fmla="*/ 11906 h 320382"/>
                <a:gd name="connsiteX2" fmla="*/ 275787 w 480593"/>
                <a:gd name="connsiteY2" fmla="*/ 2029 h 320382"/>
                <a:gd name="connsiteX3" fmla="*/ 283893 w 480593"/>
                <a:gd name="connsiteY3" fmla="*/ 4210 h 320382"/>
                <a:gd name="connsiteX4" fmla="*/ 311591 w 480593"/>
                <a:gd name="connsiteY4" fmla="*/ 0 h 320382"/>
                <a:gd name="connsiteX5" fmla="*/ 328651 w 480593"/>
                <a:gd name="connsiteY5" fmla="*/ 24527 h 320382"/>
                <a:gd name="connsiteX6" fmla="*/ 321983 w 480593"/>
                <a:gd name="connsiteY6" fmla="*/ 33223 h 320382"/>
                <a:gd name="connsiteX7" fmla="*/ 324193 w 480593"/>
                <a:gd name="connsiteY7" fmla="*/ 46482 h 320382"/>
                <a:gd name="connsiteX8" fmla="*/ 345491 w 480593"/>
                <a:gd name="connsiteY8" fmla="*/ 48539 h 320382"/>
                <a:gd name="connsiteX9" fmla="*/ 354988 w 480593"/>
                <a:gd name="connsiteY9" fmla="*/ 66894 h 320382"/>
                <a:gd name="connsiteX10" fmla="*/ 354406 w 480593"/>
                <a:gd name="connsiteY10" fmla="*/ 75162 h 320382"/>
                <a:gd name="connsiteX11" fmla="*/ 388325 w 480593"/>
                <a:gd name="connsiteY11" fmla="*/ 89849 h 320382"/>
                <a:gd name="connsiteX12" fmla="*/ 408823 w 480593"/>
                <a:gd name="connsiteY12" fmla="*/ 83248 h 320382"/>
                <a:gd name="connsiteX13" fmla="*/ 425301 w 480593"/>
                <a:gd name="connsiteY13" fmla="*/ 102708 h 320382"/>
                <a:gd name="connsiteX14" fmla="*/ 440913 w 480593"/>
                <a:gd name="connsiteY14" fmla="*/ 102270 h 320382"/>
                <a:gd name="connsiteX15" fmla="*/ 480279 w 480593"/>
                <a:gd name="connsiteY15" fmla="*/ 115681 h 320382"/>
                <a:gd name="connsiteX16" fmla="*/ 480593 w 480593"/>
                <a:gd name="connsiteY16" fmla="*/ 127711 h 320382"/>
                <a:gd name="connsiteX17" fmla="*/ 469745 w 480593"/>
                <a:gd name="connsiteY17" fmla="*/ 148980 h 320382"/>
                <a:gd name="connsiteX18" fmla="*/ 475641 w 480593"/>
                <a:gd name="connsiteY18" fmla="*/ 171145 h 320382"/>
                <a:gd name="connsiteX19" fmla="*/ 471440 w 480593"/>
                <a:gd name="connsiteY19" fmla="*/ 184432 h 320382"/>
                <a:gd name="connsiteX20" fmla="*/ 445599 w 480593"/>
                <a:gd name="connsiteY20" fmla="*/ 187347 h 320382"/>
                <a:gd name="connsiteX21" fmla="*/ 431835 w 480593"/>
                <a:gd name="connsiteY21" fmla="*/ 198387 h 320382"/>
                <a:gd name="connsiteX22" fmla="*/ 430988 w 480593"/>
                <a:gd name="connsiteY22" fmla="*/ 215837 h 320382"/>
                <a:gd name="connsiteX23" fmla="*/ 409670 w 480593"/>
                <a:gd name="connsiteY23" fmla="*/ 218960 h 320382"/>
                <a:gd name="connsiteX24" fmla="*/ 391897 w 480593"/>
                <a:gd name="connsiteY24" fmla="*/ 231553 h 320382"/>
                <a:gd name="connsiteX25" fmla="*/ 366894 w 480593"/>
                <a:gd name="connsiteY25" fmla="*/ 233601 h 320382"/>
                <a:gd name="connsiteX26" fmla="*/ 343891 w 480593"/>
                <a:gd name="connsiteY26" fmla="*/ 248012 h 320382"/>
                <a:gd name="connsiteX27" fmla="*/ 331280 w 480593"/>
                <a:gd name="connsiteY27" fmla="*/ 257823 h 320382"/>
                <a:gd name="connsiteX28" fmla="*/ 345453 w 480593"/>
                <a:gd name="connsiteY28" fmla="*/ 271824 h 320382"/>
                <a:gd name="connsiteX29" fmla="*/ 358521 w 480593"/>
                <a:gd name="connsiteY29" fmla="*/ 280997 h 320382"/>
                <a:gd name="connsiteX30" fmla="*/ 385763 w 480593"/>
                <a:gd name="connsiteY30" fmla="*/ 278711 h 320382"/>
                <a:gd name="connsiteX31" fmla="*/ 380543 w 480593"/>
                <a:gd name="connsiteY31" fmla="*/ 292217 h 320382"/>
                <a:gd name="connsiteX32" fmla="*/ 351311 w 480593"/>
                <a:gd name="connsiteY32" fmla="*/ 298742 h 320382"/>
                <a:gd name="connsiteX33" fmla="*/ 315049 w 480593"/>
                <a:gd name="connsiteY33" fmla="*/ 320383 h 320382"/>
                <a:gd name="connsiteX34" fmla="*/ 300200 w 480593"/>
                <a:gd name="connsiteY34" fmla="*/ 312801 h 320382"/>
                <a:gd name="connsiteX35" fmla="*/ 306086 w 480593"/>
                <a:gd name="connsiteY35" fmla="*/ 295170 h 320382"/>
                <a:gd name="connsiteX36" fmla="*/ 276911 w 480593"/>
                <a:gd name="connsiteY36" fmla="*/ 284121 h 320382"/>
                <a:gd name="connsiteX37" fmla="*/ 281626 w 480593"/>
                <a:gd name="connsiteY37" fmla="*/ 276853 h 320382"/>
                <a:gd name="connsiteX38" fmla="*/ 311754 w 480593"/>
                <a:gd name="connsiteY38" fmla="*/ 261271 h 320382"/>
                <a:gd name="connsiteX39" fmla="*/ 308010 w 480593"/>
                <a:gd name="connsiteY39" fmla="*/ 253498 h 320382"/>
                <a:gd name="connsiteX40" fmla="*/ 303705 w 480593"/>
                <a:gd name="connsiteY40" fmla="*/ 257413 h 320382"/>
                <a:gd name="connsiteX41" fmla="*/ 299457 w 480593"/>
                <a:gd name="connsiteY41" fmla="*/ 255413 h 320382"/>
                <a:gd name="connsiteX42" fmla="*/ 257946 w 480593"/>
                <a:gd name="connsiteY42" fmla="*/ 245688 h 320382"/>
                <a:gd name="connsiteX43" fmla="*/ 256108 w 480593"/>
                <a:gd name="connsiteY43" fmla="*/ 231267 h 320382"/>
                <a:gd name="connsiteX44" fmla="*/ 231363 w 480593"/>
                <a:gd name="connsiteY44" fmla="*/ 236039 h 320382"/>
                <a:gd name="connsiteX45" fmla="*/ 221447 w 480593"/>
                <a:gd name="connsiteY45" fmla="*/ 257261 h 320382"/>
                <a:gd name="connsiteX46" fmla="*/ 200768 w 480593"/>
                <a:gd name="connsiteY46" fmla="*/ 285417 h 320382"/>
                <a:gd name="connsiteX47" fmla="*/ 188652 w 480593"/>
                <a:gd name="connsiteY47" fmla="*/ 278911 h 320382"/>
                <a:gd name="connsiteX48" fmla="*/ 176108 w 480593"/>
                <a:gd name="connsiteY48" fmla="*/ 285007 h 320382"/>
                <a:gd name="connsiteX49" fmla="*/ 164192 w 480593"/>
                <a:gd name="connsiteY49" fmla="*/ 278025 h 320382"/>
                <a:gd name="connsiteX50" fmla="*/ 170917 w 480593"/>
                <a:gd name="connsiteY50" fmla="*/ 273901 h 320382"/>
                <a:gd name="connsiteX51" fmla="*/ 175575 w 480593"/>
                <a:gd name="connsiteY51" fmla="*/ 260804 h 320382"/>
                <a:gd name="connsiteX52" fmla="*/ 182890 w 480593"/>
                <a:gd name="connsiteY52" fmla="*/ 248555 h 320382"/>
                <a:gd name="connsiteX53" fmla="*/ 181004 w 480593"/>
                <a:gd name="connsiteY53" fmla="*/ 241659 h 320382"/>
                <a:gd name="connsiteX54" fmla="*/ 186586 w 480593"/>
                <a:gd name="connsiteY54" fmla="*/ 238573 h 320382"/>
                <a:gd name="connsiteX55" fmla="*/ 189215 w 480593"/>
                <a:gd name="connsiteY55" fmla="*/ 243916 h 320382"/>
                <a:gd name="connsiteX56" fmla="*/ 204950 w 480593"/>
                <a:gd name="connsiteY56" fmla="*/ 245050 h 320382"/>
                <a:gd name="connsiteX57" fmla="*/ 212027 w 480593"/>
                <a:gd name="connsiteY57" fmla="*/ 242192 h 320382"/>
                <a:gd name="connsiteX58" fmla="*/ 207045 w 480593"/>
                <a:gd name="connsiteY58" fmla="*/ 238277 h 320382"/>
                <a:gd name="connsiteX59" fmla="*/ 208931 w 480593"/>
                <a:gd name="connsiteY59" fmla="*/ 232496 h 320382"/>
                <a:gd name="connsiteX60" fmla="*/ 199606 w 480593"/>
                <a:gd name="connsiteY60" fmla="*/ 222609 h 320382"/>
                <a:gd name="connsiteX61" fmla="*/ 195749 w 480593"/>
                <a:gd name="connsiteY61" fmla="*/ 206254 h 320382"/>
                <a:gd name="connsiteX62" fmla="*/ 186024 w 480593"/>
                <a:gd name="connsiteY62" fmla="*/ 199815 h 320382"/>
                <a:gd name="connsiteX63" fmla="*/ 187938 w 480593"/>
                <a:gd name="connsiteY63" fmla="*/ 186414 h 320382"/>
                <a:gd name="connsiteX64" fmla="*/ 175870 w 480593"/>
                <a:gd name="connsiteY64" fmla="*/ 175708 h 320382"/>
                <a:gd name="connsiteX65" fmla="*/ 164888 w 480593"/>
                <a:gd name="connsiteY65" fmla="*/ 174212 h 320382"/>
                <a:gd name="connsiteX66" fmla="*/ 145199 w 480593"/>
                <a:gd name="connsiteY66" fmla="*/ 161744 h 320382"/>
                <a:gd name="connsiteX67" fmla="*/ 127454 w 480593"/>
                <a:gd name="connsiteY67" fmla="*/ 165716 h 320382"/>
                <a:gd name="connsiteX68" fmla="*/ 121082 w 480593"/>
                <a:gd name="connsiteY68" fmla="*/ 171612 h 320382"/>
                <a:gd name="connsiteX69" fmla="*/ 109814 w 480593"/>
                <a:gd name="connsiteY69" fmla="*/ 171602 h 320382"/>
                <a:gd name="connsiteX70" fmla="*/ 103089 w 480593"/>
                <a:gd name="connsiteY70" fmla="*/ 180927 h 320382"/>
                <a:gd name="connsiteX71" fmla="*/ 83382 w 480593"/>
                <a:gd name="connsiteY71" fmla="*/ 184747 h 320382"/>
                <a:gd name="connsiteX72" fmla="*/ 74266 w 480593"/>
                <a:gd name="connsiteY72" fmla="*/ 190833 h 320382"/>
                <a:gd name="connsiteX73" fmla="*/ 61865 w 480593"/>
                <a:gd name="connsiteY73" fmla="*/ 181137 h 320382"/>
                <a:gd name="connsiteX74" fmla="*/ 44739 w 480593"/>
                <a:gd name="connsiteY74" fmla="*/ 180994 h 320382"/>
                <a:gd name="connsiteX75" fmla="*/ 28223 w 480593"/>
                <a:gd name="connsiteY75" fmla="*/ 176574 h 320382"/>
                <a:gd name="connsiteX76" fmla="*/ 16688 w 480593"/>
                <a:gd name="connsiteY76" fmla="*/ 185099 h 320382"/>
                <a:gd name="connsiteX77" fmla="*/ 14821 w 480593"/>
                <a:gd name="connsiteY77" fmla="*/ 174431 h 320382"/>
                <a:gd name="connsiteX78" fmla="*/ 0 w 480593"/>
                <a:gd name="connsiteY78" fmla="*/ 163544 h 320382"/>
                <a:gd name="connsiteX79" fmla="*/ 5210 w 480593"/>
                <a:gd name="connsiteY79" fmla="*/ 147304 h 320382"/>
                <a:gd name="connsiteX80" fmla="*/ 12611 w 480593"/>
                <a:gd name="connsiteY80" fmla="*/ 136750 h 320382"/>
                <a:gd name="connsiteX81" fmla="*/ 18450 w 480593"/>
                <a:gd name="connsiteY81" fmla="*/ 139112 h 320382"/>
                <a:gd name="connsiteX82" fmla="*/ 11564 w 480593"/>
                <a:gd name="connsiteY82" fmla="*/ 120777 h 320382"/>
                <a:gd name="connsiteX83" fmla="*/ 35814 w 480593"/>
                <a:gd name="connsiteY83" fmla="*/ 86401 h 320382"/>
                <a:gd name="connsiteX84" fmla="*/ 49063 w 480593"/>
                <a:gd name="connsiteY84" fmla="*/ 81534 h 320382"/>
                <a:gd name="connsiteX85" fmla="*/ 51921 w 480593"/>
                <a:gd name="connsiteY85" fmla="*/ 69770 h 320382"/>
                <a:gd name="connsiteX86" fmla="*/ 38491 w 480593"/>
                <a:gd name="connsiteY86" fmla="*/ 32709 h 320382"/>
                <a:gd name="connsiteX87" fmla="*/ 51264 w 480593"/>
                <a:gd name="connsiteY87" fmla="*/ 31042 h 320382"/>
                <a:gd name="connsiteX88" fmla="*/ 65894 w 480593"/>
                <a:gd name="connsiteY88" fmla="*/ 19374 h 320382"/>
                <a:gd name="connsiteX89" fmla="*/ 86592 w 480593"/>
                <a:gd name="connsiteY89" fmla="*/ 18412 h 320382"/>
                <a:gd name="connsiteX90" fmla="*/ 113567 w 480593"/>
                <a:gd name="connsiteY90" fmla="*/ 21793 h 320382"/>
                <a:gd name="connsiteX91" fmla="*/ 143370 w 480593"/>
                <a:gd name="connsiteY91" fmla="*/ 32118 h 320382"/>
                <a:gd name="connsiteX92" fmla="*/ 164402 w 480593"/>
                <a:gd name="connsiteY92" fmla="*/ 32976 h 320382"/>
                <a:gd name="connsiteX93" fmla="*/ 174450 w 480593"/>
                <a:gd name="connsiteY93" fmla="*/ 39157 h 320382"/>
                <a:gd name="connsiteX94" fmla="*/ 184461 w 480593"/>
                <a:gd name="connsiteY94" fmla="*/ 31699 h 320382"/>
                <a:gd name="connsiteX95" fmla="*/ 191462 w 480593"/>
                <a:gd name="connsiteY95" fmla="*/ 41700 h 320382"/>
                <a:gd name="connsiteX96" fmla="*/ 215570 w 480593"/>
                <a:gd name="connsiteY96" fmla="*/ 39653 h 320382"/>
                <a:gd name="connsiteX97" fmla="*/ 226190 w 480593"/>
                <a:gd name="connsiteY97" fmla="*/ 43777 h 320382"/>
                <a:gd name="connsiteX98" fmla="*/ 227905 w 480593"/>
                <a:gd name="connsiteY98" fmla="*/ 22203 h 320382"/>
                <a:gd name="connsiteX99" fmla="*/ 236134 w 480593"/>
                <a:gd name="connsiteY99" fmla="*/ 12725 h 320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480593" h="320382">
                  <a:moveTo>
                    <a:pt x="259061" y="10153"/>
                  </a:moveTo>
                  <a:lnTo>
                    <a:pt x="269034" y="11906"/>
                  </a:lnTo>
                  <a:lnTo>
                    <a:pt x="275787" y="2029"/>
                  </a:lnTo>
                  <a:lnTo>
                    <a:pt x="283893" y="4210"/>
                  </a:lnTo>
                  <a:lnTo>
                    <a:pt x="311591" y="0"/>
                  </a:lnTo>
                  <a:lnTo>
                    <a:pt x="328651" y="24527"/>
                  </a:lnTo>
                  <a:lnTo>
                    <a:pt x="321983" y="33223"/>
                  </a:lnTo>
                  <a:lnTo>
                    <a:pt x="324193" y="46482"/>
                  </a:lnTo>
                  <a:lnTo>
                    <a:pt x="345491" y="48539"/>
                  </a:lnTo>
                  <a:lnTo>
                    <a:pt x="354988" y="66894"/>
                  </a:lnTo>
                  <a:lnTo>
                    <a:pt x="354406" y="75162"/>
                  </a:lnTo>
                  <a:lnTo>
                    <a:pt x="388325" y="89849"/>
                  </a:lnTo>
                  <a:lnTo>
                    <a:pt x="408823" y="83248"/>
                  </a:lnTo>
                  <a:lnTo>
                    <a:pt x="425301" y="102708"/>
                  </a:lnTo>
                  <a:lnTo>
                    <a:pt x="440913" y="102270"/>
                  </a:lnTo>
                  <a:lnTo>
                    <a:pt x="480279" y="115681"/>
                  </a:lnTo>
                  <a:lnTo>
                    <a:pt x="480593" y="127711"/>
                  </a:lnTo>
                  <a:lnTo>
                    <a:pt x="469745" y="148980"/>
                  </a:lnTo>
                  <a:lnTo>
                    <a:pt x="475641" y="171145"/>
                  </a:lnTo>
                  <a:lnTo>
                    <a:pt x="471440" y="184432"/>
                  </a:lnTo>
                  <a:lnTo>
                    <a:pt x="445599" y="187347"/>
                  </a:lnTo>
                  <a:lnTo>
                    <a:pt x="431835" y="198387"/>
                  </a:lnTo>
                  <a:lnTo>
                    <a:pt x="430988" y="215837"/>
                  </a:lnTo>
                  <a:lnTo>
                    <a:pt x="409670" y="218960"/>
                  </a:lnTo>
                  <a:lnTo>
                    <a:pt x="391897" y="231553"/>
                  </a:lnTo>
                  <a:lnTo>
                    <a:pt x="366894" y="233601"/>
                  </a:lnTo>
                  <a:lnTo>
                    <a:pt x="343891" y="248012"/>
                  </a:lnTo>
                  <a:lnTo>
                    <a:pt x="331280" y="257823"/>
                  </a:lnTo>
                  <a:lnTo>
                    <a:pt x="345453" y="271824"/>
                  </a:lnTo>
                  <a:lnTo>
                    <a:pt x="358521" y="280997"/>
                  </a:lnTo>
                  <a:lnTo>
                    <a:pt x="385763" y="278711"/>
                  </a:lnTo>
                  <a:lnTo>
                    <a:pt x="380543" y="292217"/>
                  </a:lnTo>
                  <a:lnTo>
                    <a:pt x="351311" y="298742"/>
                  </a:lnTo>
                  <a:lnTo>
                    <a:pt x="315049" y="320383"/>
                  </a:lnTo>
                  <a:lnTo>
                    <a:pt x="300200" y="312801"/>
                  </a:lnTo>
                  <a:lnTo>
                    <a:pt x="306086" y="295170"/>
                  </a:lnTo>
                  <a:lnTo>
                    <a:pt x="276911" y="284121"/>
                  </a:lnTo>
                  <a:lnTo>
                    <a:pt x="281626" y="276853"/>
                  </a:lnTo>
                  <a:lnTo>
                    <a:pt x="311754" y="261271"/>
                  </a:lnTo>
                  <a:lnTo>
                    <a:pt x="308010" y="253498"/>
                  </a:lnTo>
                  <a:lnTo>
                    <a:pt x="303705" y="257413"/>
                  </a:lnTo>
                  <a:lnTo>
                    <a:pt x="299457" y="255413"/>
                  </a:lnTo>
                  <a:lnTo>
                    <a:pt x="257946" y="245688"/>
                  </a:lnTo>
                  <a:lnTo>
                    <a:pt x="256108" y="231267"/>
                  </a:lnTo>
                  <a:lnTo>
                    <a:pt x="231363" y="236039"/>
                  </a:lnTo>
                  <a:lnTo>
                    <a:pt x="221447" y="257261"/>
                  </a:lnTo>
                  <a:lnTo>
                    <a:pt x="200768" y="285417"/>
                  </a:lnTo>
                  <a:lnTo>
                    <a:pt x="188652" y="278911"/>
                  </a:lnTo>
                  <a:lnTo>
                    <a:pt x="176108" y="285007"/>
                  </a:lnTo>
                  <a:lnTo>
                    <a:pt x="164192" y="278025"/>
                  </a:lnTo>
                  <a:lnTo>
                    <a:pt x="170917" y="273901"/>
                  </a:lnTo>
                  <a:lnTo>
                    <a:pt x="175575" y="260804"/>
                  </a:lnTo>
                  <a:lnTo>
                    <a:pt x="182890" y="248555"/>
                  </a:lnTo>
                  <a:lnTo>
                    <a:pt x="181004" y="241659"/>
                  </a:lnTo>
                  <a:lnTo>
                    <a:pt x="186586" y="238573"/>
                  </a:lnTo>
                  <a:lnTo>
                    <a:pt x="189215" y="243916"/>
                  </a:lnTo>
                  <a:lnTo>
                    <a:pt x="204950" y="245050"/>
                  </a:lnTo>
                  <a:lnTo>
                    <a:pt x="212027" y="242192"/>
                  </a:lnTo>
                  <a:lnTo>
                    <a:pt x="207045" y="238277"/>
                  </a:lnTo>
                  <a:lnTo>
                    <a:pt x="208931" y="232496"/>
                  </a:lnTo>
                  <a:lnTo>
                    <a:pt x="199606" y="222609"/>
                  </a:lnTo>
                  <a:lnTo>
                    <a:pt x="195749" y="206254"/>
                  </a:lnTo>
                  <a:lnTo>
                    <a:pt x="186024" y="199815"/>
                  </a:lnTo>
                  <a:lnTo>
                    <a:pt x="187938" y="186414"/>
                  </a:lnTo>
                  <a:lnTo>
                    <a:pt x="175870" y="175708"/>
                  </a:lnTo>
                  <a:lnTo>
                    <a:pt x="164888" y="174212"/>
                  </a:lnTo>
                  <a:lnTo>
                    <a:pt x="145199" y="161744"/>
                  </a:lnTo>
                  <a:lnTo>
                    <a:pt x="127454" y="165716"/>
                  </a:lnTo>
                  <a:lnTo>
                    <a:pt x="121082" y="171612"/>
                  </a:lnTo>
                  <a:lnTo>
                    <a:pt x="109814" y="171602"/>
                  </a:lnTo>
                  <a:lnTo>
                    <a:pt x="103089" y="180927"/>
                  </a:lnTo>
                  <a:lnTo>
                    <a:pt x="83382" y="184747"/>
                  </a:lnTo>
                  <a:lnTo>
                    <a:pt x="74266" y="190833"/>
                  </a:lnTo>
                  <a:lnTo>
                    <a:pt x="61865" y="181137"/>
                  </a:lnTo>
                  <a:lnTo>
                    <a:pt x="44739" y="180994"/>
                  </a:lnTo>
                  <a:lnTo>
                    <a:pt x="28223" y="176574"/>
                  </a:lnTo>
                  <a:lnTo>
                    <a:pt x="16688" y="185099"/>
                  </a:lnTo>
                  <a:lnTo>
                    <a:pt x="14821" y="174431"/>
                  </a:lnTo>
                  <a:lnTo>
                    <a:pt x="0" y="163544"/>
                  </a:lnTo>
                  <a:lnTo>
                    <a:pt x="5210" y="147304"/>
                  </a:lnTo>
                  <a:lnTo>
                    <a:pt x="12611" y="136750"/>
                  </a:lnTo>
                  <a:lnTo>
                    <a:pt x="18450" y="139112"/>
                  </a:lnTo>
                  <a:lnTo>
                    <a:pt x="11564" y="120777"/>
                  </a:lnTo>
                  <a:lnTo>
                    <a:pt x="35814" y="86401"/>
                  </a:lnTo>
                  <a:lnTo>
                    <a:pt x="49063" y="81534"/>
                  </a:lnTo>
                  <a:lnTo>
                    <a:pt x="51921" y="69770"/>
                  </a:lnTo>
                  <a:lnTo>
                    <a:pt x="38491" y="32709"/>
                  </a:lnTo>
                  <a:lnTo>
                    <a:pt x="51264" y="31042"/>
                  </a:lnTo>
                  <a:lnTo>
                    <a:pt x="65894" y="19374"/>
                  </a:lnTo>
                  <a:lnTo>
                    <a:pt x="86592" y="18412"/>
                  </a:lnTo>
                  <a:lnTo>
                    <a:pt x="113567" y="21793"/>
                  </a:lnTo>
                  <a:lnTo>
                    <a:pt x="143370" y="32118"/>
                  </a:lnTo>
                  <a:lnTo>
                    <a:pt x="164402" y="32976"/>
                  </a:lnTo>
                  <a:lnTo>
                    <a:pt x="174450" y="39157"/>
                  </a:lnTo>
                  <a:lnTo>
                    <a:pt x="184461" y="31699"/>
                  </a:lnTo>
                  <a:lnTo>
                    <a:pt x="191462" y="41700"/>
                  </a:lnTo>
                  <a:lnTo>
                    <a:pt x="215570" y="39653"/>
                  </a:lnTo>
                  <a:lnTo>
                    <a:pt x="226190" y="43777"/>
                  </a:lnTo>
                  <a:lnTo>
                    <a:pt x="227905" y="22203"/>
                  </a:lnTo>
                  <a:lnTo>
                    <a:pt x="236134" y="1272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" name="Forme libre : forme 5816">
              <a:extLst>
                <a:ext uri="{FF2B5EF4-FFF2-40B4-BE49-F238E27FC236}">
                  <a16:creationId xmlns:a16="http://schemas.microsoft.com/office/drawing/2014/main" id="{F06C0BCC-A455-F04E-9617-0B8DD54325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610864" y="4629811"/>
              <a:ext cx="145732" cy="151133"/>
            </a:xfrm>
            <a:custGeom>
              <a:avLst/>
              <a:gdLst>
                <a:gd name="connsiteX0" fmla="*/ 61074 w 145732"/>
                <a:gd name="connsiteY0" fmla="*/ 140103 h 151133"/>
                <a:gd name="connsiteX1" fmla="*/ 31794 w 145732"/>
                <a:gd name="connsiteY1" fmla="*/ 139760 h 151133"/>
                <a:gd name="connsiteX2" fmla="*/ 22422 w 145732"/>
                <a:gd name="connsiteY2" fmla="*/ 142942 h 151133"/>
                <a:gd name="connsiteX3" fmla="*/ 6467 w 145732"/>
                <a:gd name="connsiteY3" fmla="*/ 151133 h 151133"/>
                <a:gd name="connsiteX4" fmla="*/ 0 w 145732"/>
                <a:gd name="connsiteY4" fmla="*/ 148428 h 151133"/>
                <a:gd name="connsiteX5" fmla="*/ 228 w 145732"/>
                <a:gd name="connsiteY5" fmla="*/ 128426 h 151133"/>
                <a:gd name="connsiteX6" fmla="*/ 6410 w 145732"/>
                <a:gd name="connsiteY6" fmla="*/ 118291 h 151133"/>
                <a:gd name="connsiteX7" fmla="*/ 7925 w 145732"/>
                <a:gd name="connsiteY7" fmla="*/ 96993 h 151133"/>
                <a:gd name="connsiteX8" fmla="*/ 13535 w 145732"/>
                <a:gd name="connsiteY8" fmla="*/ 84658 h 151133"/>
                <a:gd name="connsiteX9" fmla="*/ 23746 w 145732"/>
                <a:gd name="connsiteY9" fmla="*/ 70828 h 151133"/>
                <a:gd name="connsiteX10" fmla="*/ 34004 w 145732"/>
                <a:gd name="connsiteY10" fmla="*/ 63770 h 151133"/>
                <a:gd name="connsiteX11" fmla="*/ 42596 w 145732"/>
                <a:gd name="connsiteY11" fmla="*/ 54350 h 151133"/>
                <a:gd name="connsiteX12" fmla="*/ 31889 w 145732"/>
                <a:gd name="connsiteY12" fmla="*/ 50759 h 151133"/>
                <a:gd name="connsiteX13" fmla="*/ 33508 w 145732"/>
                <a:gd name="connsiteY13" fmla="*/ 19688 h 151133"/>
                <a:gd name="connsiteX14" fmla="*/ 44501 w 145732"/>
                <a:gd name="connsiteY14" fmla="*/ 12449 h 151133"/>
                <a:gd name="connsiteX15" fmla="*/ 61483 w 145732"/>
                <a:gd name="connsiteY15" fmla="*/ 18393 h 151133"/>
                <a:gd name="connsiteX16" fmla="*/ 82982 w 145732"/>
                <a:gd name="connsiteY16" fmla="*/ 12164 h 151133"/>
                <a:gd name="connsiteX17" fmla="*/ 101775 w 145732"/>
                <a:gd name="connsiteY17" fmla="*/ 12230 h 151133"/>
                <a:gd name="connsiteX18" fmla="*/ 118196 w 145732"/>
                <a:gd name="connsiteY18" fmla="*/ 0 h 151133"/>
                <a:gd name="connsiteX19" fmla="*/ 130854 w 145732"/>
                <a:gd name="connsiteY19" fmla="*/ 18460 h 151133"/>
                <a:gd name="connsiteX20" fmla="*/ 133978 w 145732"/>
                <a:gd name="connsiteY20" fmla="*/ 31795 h 151133"/>
                <a:gd name="connsiteX21" fmla="*/ 145732 w 145732"/>
                <a:gd name="connsiteY21" fmla="*/ 62274 h 151133"/>
                <a:gd name="connsiteX22" fmla="*/ 136007 w 145732"/>
                <a:gd name="connsiteY22" fmla="*/ 81620 h 151133"/>
                <a:gd name="connsiteX23" fmla="*/ 122872 w 145732"/>
                <a:gd name="connsiteY23" fmla="*/ 99184 h 151133"/>
                <a:gd name="connsiteX24" fmla="*/ 115224 w 145732"/>
                <a:gd name="connsiteY24" fmla="*/ 109928 h 151133"/>
                <a:gd name="connsiteX25" fmla="*/ 115491 w 145732"/>
                <a:gd name="connsiteY25" fmla="*/ 138046 h 15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5732" h="151133">
                  <a:moveTo>
                    <a:pt x="61074" y="140103"/>
                  </a:moveTo>
                  <a:lnTo>
                    <a:pt x="31794" y="139760"/>
                  </a:lnTo>
                  <a:lnTo>
                    <a:pt x="22422" y="142942"/>
                  </a:lnTo>
                  <a:lnTo>
                    <a:pt x="6467" y="151133"/>
                  </a:lnTo>
                  <a:lnTo>
                    <a:pt x="0" y="148428"/>
                  </a:lnTo>
                  <a:lnTo>
                    <a:pt x="228" y="128426"/>
                  </a:lnTo>
                  <a:lnTo>
                    <a:pt x="6410" y="118291"/>
                  </a:lnTo>
                  <a:lnTo>
                    <a:pt x="7925" y="96993"/>
                  </a:lnTo>
                  <a:lnTo>
                    <a:pt x="13535" y="84658"/>
                  </a:lnTo>
                  <a:lnTo>
                    <a:pt x="23746" y="70828"/>
                  </a:lnTo>
                  <a:lnTo>
                    <a:pt x="34004" y="63770"/>
                  </a:lnTo>
                  <a:lnTo>
                    <a:pt x="42596" y="54350"/>
                  </a:lnTo>
                  <a:lnTo>
                    <a:pt x="31889" y="50759"/>
                  </a:lnTo>
                  <a:lnTo>
                    <a:pt x="33508" y="19688"/>
                  </a:lnTo>
                  <a:lnTo>
                    <a:pt x="44501" y="12449"/>
                  </a:lnTo>
                  <a:lnTo>
                    <a:pt x="61483" y="18393"/>
                  </a:lnTo>
                  <a:lnTo>
                    <a:pt x="82982" y="12164"/>
                  </a:lnTo>
                  <a:lnTo>
                    <a:pt x="101775" y="12230"/>
                  </a:lnTo>
                  <a:lnTo>
                    <a:pt x="118196" y="0"/>
                  </a:lnTo>
                  <a:lnTo>
                    <a:pt x="130854" y="18460"/>
                  </a:lnTo>
                  <a:lnTo>
                    <a:pt x="133978" y="31795"/>
                  </a:lnTo>
                  <a:lnTo>
                    <a:pt x="145732" y="62274"/>
                  </a:lnTo>
                  <a:lnTo>
                    <a:pt x="136007" y="81620"/>
                  </a:lnTo>
                  <a:lnTo>
                    <a:pt x="122872" y="99184"/>
                  </a:lnTo>
                  <a:lnTo>
                    <a:pt x="115224" y="109928"/>
                  </a:lnTo>
                  <a:lnTo>
                    <a:pt x="115491" y="13804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" name="Forme libre : forme 5817">
              <a:extLst>
                <a:ext uri="{FF2B5EF4-FFF2-40B4-BE49-F238E27FC236}">
                  <a16:creationId xmlns:a16="http://schemas.microsoft.com/office/drawing/2014/main" id="{A1B21DA3-B183-8818-D5A4-906E0151A7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294114" y="1987214"/>
              <a:ext cx="2738294" cy="2244147"/>
            </a:xfrm>
            <a:custGeom>
              <a:avLst/>
              <a:gdLst>
                <a:gd name="connsiteX0" fmla="*/ 1040597 w 2738294"/>
                <a:gd name="connsiteY0" fmla="*/ 1006792 h 2244147"/>
                <a:gd name="connsiteX1" fmla="*/ 1040597 w 2738294"/>
                <a:gd name="connsiteY1" fmla="*/ 1006792 h 2244147"/>
                <a:gd name="connsiteX2" fmla="*/ 1025909 w 2738294"/>
                <a:gd name="connsiteY2" fmla="*/ 989324 h 2244147"/>
                <a:gd name="connsiteX3" fmla="*/ 1002373 w 2738294"/>
                <a:gd name="connsiteY3" fmla="*/ 974379 h 2244147"/>
                <a:gd name="connsiteX4" fmla="*/ 994820 w 2738294"/>
                <a:gd name="connsiteY4" fmla="*/ 932888 h 2244147"/>
                <a:gd name="connsiteX5" fmla="*/ 960387 w 2738294"/>
                <a:gd name="connsiteY5" fmla="*/ 893540 h 2244147"/>
                <a:gd name="connsiteX6" fmla="*/ 945994 w 2738294"/>
                <a:gd name="connsiteY6" fmla="*/ 846506 h 2244147"/>
                <a:gd name="connsiteX7" fmla="*/ 920353 w 2738294"/>
                <a:gd name="connsiteY7" fmla="*/ 843239 h 2244147"/>
                <a:gd name="connsiteX8" fmla="*/ 877891 w 2738294"/>
                <a:gd name="connsiteY8" fmla="*/ 842000 h 2244147"/>
                <a:gd name="connsiteX9" fmla="*/ 846592 w 2738294"/>
                <a:gd name="connsiteY9" fmla="*/ 827379 h 2244147"/>
                <a:gd name="connsiteX10" fmla="*/ 791375 w 2738294"/>
                <a:gd name="connsiteY10" fmla="*/ 773630 h 2244147"/>
                <a:gd name="connsiteX11" fmla="*/ 765801 w 2738294"/>
                <a:gd name="connsiteY11" fmla="*/ 763629 h 2244147"/>
                <a:gd name="connsiteX12" fmla="*/ 719080 w 2738294"/>
                <a:gd name="connsiteY12" fmla="*/ 744645 h 2244147"/>
                <a:gd name="connsiteX13" fmla="*/ 682104 w 2738294"/>
                <a:gd name="connsiteY13" fmla="*/ 749198 h 2244147"/>
                <a:gd name="connsiteX14" fmla="*/ 629583 w 2738294"/>
                <a:gd name="connsiteY14" fmla="*/ 724529 h 2244147"/>
                <a:gd name="connsiteX15" fmla="*/ 597837 w 2738294"/>
                <a:gd name="connsiteY15" fmla="*/ 701335 h 2244147"/>
                <a:gd name="connsiteX16" fmla="*/ 568195 w 2738294"/>
                <a:gd name="connsiteY16" fmla="*/ 712889 h 2244147"/>
                <a:gd name="connsiteX17" fmla="*/ 573700 w 2738294"/>
                <a:gd name="connsiteY17" fmla="*/ 750303 h 2244147"/>
                <a:gd name="connsiteX18" fmla="*/ 558937 w 2738294"/>
                <a:gd name="connsiteY18" fmla="*/ 753713 h 2244147"/>
                <a:gd name="connsiteX19" fmla="*/ 528037 w 2738294"/>
                <a:gd name="connsiteY19" fmla="*/ 764772 h 2244147"/>
                <a:gd name="connsiteX20" fmla="*/ 504530 w 2738294"/>
                <a:gd name="connsiteY20" fmla="*/ 782517 h 2244147"/>
                <a:gd name="connsiteX21" fmla="*/ 474936 w 2738294"/>
                <a:gd name="connsiteY21" fmla="*/ 793594 h 2244147"/>
                <a:gd name="connsiteX22" fmla="*/ 471116 w 2738294"/>
                <a:gd name="connsiteY22" fmla="*/ 762686 h 2244147"/>
                <a:gd name="connsiteX23" fmla="*/ 483127 w 2738294"/>
                <a:gd name="connsiteY23" fmla="*/ 710003 h 2244147"/>
                <a:gd name="connsiteX24" fmla="*/ 511502 w 2738294"/>
                <a:gd name="connsiteY24" fmla="*/ 693134 h 2244147"/>
                <a:gd name="connsiteX25" fmla="*/ 504177 w 2738294"/>
                <a:gd name="connsiteY25" fmla="*/ 679266 h 2244147"/>
                <a:gd name="connsiteX26" fmla="*/ 470135 w 2738294"/>
                <a:gd name="connsiteY26" fmla="*/ 709917 h 2244147"/>
                <a:gd name="connsiteX27" fmla="*/ 451904 w 2738294"/>
                <a:gd name="connsiteY27" fmla="*/ 745836 h 2244147"/>
                <a:gd name="connsiteX28" fmla="*/ 413423 w 2738294"/>
                <a:gd name="connsiteY28" fmla="*/ 783431 h 2244147"/>
                <a:gd name="connsiteX29" fmla="*/ 432968 w 2738294"/>
                <a:gd name="connsiteY29" fmla="*/ 808644 h 2244147"/>
                <a:gd name="connsiteX30" fmla="*/ 407727 w 2738294"/>
                <a:gd name="connsiteY30" fmla="*/ 845306 h 2244147"/>
                <a:gd name="connsiteX31" fmla="*/ 379019 w 2738294"/>
                <a:gd name="connsiteY31" fmla="*/ 866327 h 2244147"/>
                <a:gd name="connsiteX32" fmla="*/ 352292 w 2738294"/>
                <a:gd name="connsiteY32" fmla="*/ 881491 h 2244147"/>
                <a:gd name="connsiteX33" fmla="*/ 345681 w 2738294"/>
                <a:gd name="connsiteY33" fmla="*/ 903275 h 2244147"/>
                <a:gd name="connsiteX34" fmla="*/ 303990 w 2738294"/>
                <a:gd name="connsiteY34" fmla="*/ 928364 h 2244147"/>
                <a:gd name="connsiteX35" fmla="*/ 295551 w 2738294"/>
                <a:gd name="connsiteY35" fmla="*/ 950871 h 2244147"/>
                <a:gd name="connsiteX36" fmla="*/ 264300 w 2738294"/>
                <a:gd name="connsiteY36" fmla="*/ 971131 h 2244147"/>
                <a:gd name="connsiteX37" fmla="*/ 245974 w 2738294"/>
                <a:gd name="connsiteY37" fmla="*/ 967502 h 2244147"/>
                <a:gd name="connsiteX38" fmla="*/ 221047 w 2738294"/>
                <a:gd name="connsiteY38" fmla="*/ 980618 h 2244147"/>
                <a:gd name="connsiteX39" fmla="*/ 193948 w 2738294"/>
                <a:gd name="connsiteY39" fmla="*/ 996515 h 2244147"/>
                <a:gd name="connsiteX40" fmla="*/ 171736 w 2738294"/>
                <a:gd name="connsiteY40" fmla="*/ 1012003 h 2244147"/>
                <a:gd name="connsiteX41" fmla="*/ 125901 w 2738294"/>
                <a:gd name="connsiteY41" fmla="*/ 1025119 h 2244147"/>
                <a:gd name="connsiteX42" fmla="*/ 121720 w 2738294"/>
                <a:gd name="connsiteY42" fmla="*/ 1017413 h 2244147"/>
                <a:gd name="connsiteX43" fmla="*/ 150933 w 2738294"/>
                <a:gd name="connsiteY43" fmla="*/ 995810 h 2244147"/>
                <a:gd name="connsiteX44" fmla="*/ 177060 w 2738294"/>
                <a:gd name="connsiteY44" fmla="*/ 981399 h 2244147"/>
                <a:gd name="connsiteX45" fmla="*/ 205530 w 2738294"/>
                <a:gd name="connsiteY45" fmla="*/ 955586 h 2244147"/>
                <a:gd name="connsiteX46" fmla="*/ 238658 w 2738294"/>
                <a:gd name="connsiteY46" fmla="*/ 950205 h 2244147"/>
                <a:gd name="connsiteX47" fmla="*/ 251831 w 2738294"/>
                <a:gd name="connsiteY47" fmla="*/ 930554 h 2244147"/>
                <a:gd name="connsiteX48" fmla="*/ 288846 w 2738294"/>
                <a:gd name="connsiteY48" fmla="*/ 901475 h 2244147"/>
                <a:gd name="connsiteX49" fmla="*/ 294808 w 2738294"/>
                <a:gd name="connsiteY49" fmla="*/ 891645 h 2244147"/>
                <a:gd name="connsiteX50" fmla="*/ 314525 w 2738294"/>
                <a:gd name="connsiteY50" fmla="*/ 874185 h 2244147"/>
                <a:gd name="connsiteX51" fmla="*/ 319135 w 2738294"/>
                <a:gd name="connsiteY51" fmla="*/ 836085 h 2244147"/>
                <a:gd name="connsiteX52" fmla="*/ 332718 w 2738294"/>
                <a:gd name="connsiteY52" fmla="*/ 805853 h 2244147"/>
                <a:gd name="connsiteX53" fmla="*/ 301923 w 2738294"/>
                <a:gd name="connsiteY53" fmla="*/ 821436 h 2244147"/>
                <a:gd name="connsiteX54" fmla="*/ 293313 w 2738294"/>
                <a:gd name="connsiteY54" fmla="*/ 812606 h 2244147"/>
                <a:gd name="connsiteX55" fmla="*/ 278854 w 2738294"/>
                <a:gd name="connsiteY55" fmla="*/ 831218 h 2244147"/>
                <a:gd name="connsiteX56" fmla="*/ 261414 w 2738294"/>
                <a:gd name="connsiteY56" fmla="*/ 805215 h 2244147"/>
                <a:gd name="connsiteX57" fmla="*/ 254213 w 2738294"/>
                <a:gd name="connsiteY57" fmla="*/ 823655 h 2244147"/>
                <a:gd name="connsiteX58" fmla="*/ 244231 w 2738294"/>
                <a:gd name="connsiteY58" fmla="*/ 797985 h 2244147"/>
                <a:gd name="connsiteX59" fmla="*/ 217532 w 2738294"/>
                <a:gd name="connsiteY59" fmla="*/ 818626 h 2244147"/>
                <a:gd name="connsiteX60" fmla="*/ 201139 w 2738294"/>
                <a:gd name="connsiteY60" fmla="*/ 818588 h 2244147"/>
                <a:gd name="connsiteX61" fmla="*/ 198834 w 2738294"/>
                <a:gd name="connsiteY61" fmla="*/ 787803 h 2244147"/>
                <a:gd name="connsiteX62" fmla="*/ 203664 w 2738294"/>
                <a:gd name="connsiteY62" fmla="*/ 768563 h 2244147"/>
                <a:gd name="connsiteX63" fmla="*/ 186461 w 2738294"/>
                <a:gd name="connsiteY63" fmla="*/ 749684 h 2244147"/>
                <a:gd name="connsiteX64" fmla="*/ 151733 w 2738294"/>
                <a:gd name="connsiteY64" fmla="*/ 759876 h 2244147"/>
                <a:gd name="connsiteX65" fmla="*/ 129197 w 2738294"/>
                <a:gd name="connsiteY65" fmla="*/ 734816 h 2244147"/>
                <a:gd name="connsiteX66" fmla="*/ 110928 w 2738294"/>
                <a:gd name="connsiteY66" fmla="*/ 721871 h 2244147"/>
                <a:gd name="connsiteX67" fmla="*/ 110814 w 2738294"/>
                <a:gd name="connsiteY67" fmla="*/ 690915 h 2244147"/>
                <a:gd name="connsiteX68" fmla="*/ 90230 w 2738294"/>
                <a:gd name="connsiteY68" fmla="*/ 667264 h 2244147"/>
                <a:gd name="connsiteX69" fmla="*/ 100565 w 2738294"/>
                <a:gd name="connsiteY69" fmla="*/ 634832 h 2244147"/>
                <a:gd name="connsiteX70" fmla="*/ 122339 w 2738294"/>
                <a:gd name="connsiteY70" fmla="*/ 602751 h 2244147"/>
                <a:gd name="connsiteX71" fmla="*/ 131864 w 2738294"/>
                <a:gd name="connsiteY71" fmla="*/ 572710 h 2244147"/>
                <a:gd name="connsiteX72" fmla="*/ 153476 w 2738294"/>
                <a:gd name="connsiteY72" fmla="*/ 568385 h 2244147"/>
                <a:gd name="connsiteX73" fmla="*/ 171802 w 2738294"/>
                <a:gd name="connsiteY73" fmla="*/ 577834 h 2244147"/>
                <a:gd name="connsiteX74" fmla="*/ 193348 w 2738294"/>
                <a:gd name="connsiteY74" fmla="*/ 549192 h 2244147"/>
                <a:gd name="connsiteX75" fmla="*/ 212741 w 2738294"/>
                <a:gd name="connsiteY75" fmla="*/ 554345 h 2244147"/>
                <a:gd name="connsiteX76" fmla="*/ 233096 w 2738294"/>
                <a:gd name="connsiteY76" fmla="*/ 535724 h 2244147"/>
                <a:gd name="connsiteX77" fmla="*/ 228133 w 2738294"/>
                <a:gd name="connsiteY77" fmla="*/ 507940 h 2244147"/>
                <a:gd name="connsiteX78" fmla="*/ 213179 w 2738294"/>
                <a:gd name="connsiteY78" fmla="*/ 496862 h 2244147"/>
                <a:gd name="connsiteX79" fmla="*/ 232953 w 2738294"/>
                <a:gd name="connsiteY79" fmla="*/ 472869 h 2244147"/>
                <a:gd name="connsiteX80" fmla="*/ 216551 w 2738294"/>
                <a:gd name="connsiteY80" fmla="*/ 473583 h 2244147"/>
                <a:gd name="connsiteX81" fmla="*/ 188214 w 2738294"/>
                <a:gd name="connsiteY81" fmla="*/ 487166 h 2244147"/>
                <a:gd name="connsiteX82" fmla="*/ 180080 w 2738294"/>
                <a:gd name="connsiteY82" fmla="*/ 500824 h 2244147"/>
                <a:gd name="connsiteX83" fmla="*/ 159020 w 2738294"/>
                <a:gd name="connsiteY83" fmla="*/ 487185 h 2244147"/>
                <a:gd name="connsiteX84" fmla="*/ 121244 w 2738294"/>
                <a:gd name="connsiteY84" fmla="*/ 494128 h 2244147"/>
                <a:gd name="connsiteX85" fmla="*/ 82134 w 2738294"/>
                <a:gd name="connsiteY85" fmla="*/ 479241 h 2244147"/>
                <a:gd name="connsiteX86" fmla="*/ 70923 w 2738294"/>
                <a:gd name="connsiteY86" fmla="*/ 453961 h 2244147"/>
                <a:gd name="connsiteX87" fmla="*/ 37128 w 2738294"/>
                <a:gd name="connsiteY87" fmla="*/ 416757 h 2244147"/>
                <a:gd name="connsiteX88" fmla="*/ 74657 w 2738294"/>
                <a:gd name="connsiteY88" fmla="*/ 389449 h 2244147"/>
                <a:gd name="connsiteX89" fmla="*/ 134226 w 2738294"/>
                <a:gd name="connsiteY89" fmla="*/ 356997 h 2244147"/>
                <a:gd name="connsiteX90" fmla="*/ 156181 w 2738294"/>
                <a:gd name="connsiteY90" fmla="*/ 356997 h 2244147"/>
                <a:gd name="connsiteX91" fmla="*/ 152543 w 2738294"/>
                <a:gd name="connsiteY91" fmla="*/ 390182 h 2244147"/>
                <a:gd name="connsiteX92" fmla="*/ 208912 w 2738294"/>
                <a:gd name="connsiteY92" fmla="*/ 387620 h 2244147"/>
                <a:gd name="connsiteX93" fmla="*/ 187233 w 2738294"/>
                <a:gd name="connsiteY93" fmla="*/ 346291 h 2244147"/>
                <a:gd name="connsiteX94" fmla="*/ 154381 w 2738294"/>
                <a:gd name="connsiteY94" fmla="*/ 320364 h 2244147"/>
                <a:gd name="connsiteX95" fmla="*/ 135388 w 2738294"/>
                <a:gd name="connsiteY95" fmla="*/ 285702 h 2244147"/>
                <a:gd name="connsiteX96" fmla="*/ 109766 w 2738294"/>
                <a:gd name="connsiteY96" fmla="*/ 255546 h 2244147"/>
                <a:gd name="connsiteX97" fmla="*/ 73066 w 2738294"/>
                <a:gd name="connsiteY97" fmla="*/ 232829 h 2244147"/>
                <a:gd name="connsiteX98" fmla="*/ 88011 w 2738294"/>
                <a:gd name="connsiteY98" fmla="*/ 194462 h 2244147"/>
                <a:gd name="connsiteX99" fmla="*/ 135388 w 2738294"/>
                <a:gd name="connsiteY99" fmla="*/ 192053 h 2244147"/>
                <a:gd name="connsiteX100" fmla="*/ 169097 w 2738294"/>
                <a:gd name="connsiteY100" fmla="*/ 157905 h 2244147"/>
                <a:gd name="connsiteX101" fmla="*/ 175451 w 2738294"/>
                <a:gd name="connsiteY101" fmla="*/ 120596 h 2244147"/>
                <a:gd name="connsiteX102" fmla="*/ 202730 w 2738294"/>
                <a:gd name="connsiteY102" fmla="*/ 83344 h 2244147"/>
                <a:gd name="connsiteX103" fmla="*/ 228743 w 2738294"/>
                <a:gd name="connsiteY103" fmla="*/ 74247 h 2244147"/>
                <a:gd name="connsiteX104" fmla="*/ 279368 w 2738294"/>
                <a:gd name="connsiteY104" fmla="*/ 38452 h 2244147"/>
                <a:gd name="connsiteX105" fmla="*/ 303924 w 2738294"/>
                <a:gd name="connsiteY105" fmla="*/ 43901 h 2244147"/>
                <a:gd name="connsiteX106" fmla="*/ 345024 w 2738294"/>
                <a:gd name="connsiteY106" fmla="*/ 0 h 2244147"/>
                <a:gd name="connsiteX107" fmla="*/ 385429 w 2738294"/>
                <a:gd name="connsiteY107" fmla="*/ 17440 h 2244147"/>
                <a:gd name="connsiteX108" fmla="*/ 404755 w 2738294"/>
                <a:gd name="connsiteY108" fmla="*/ 54292 h 2244147"/>
                <a:gd name="connsiteX109" fmla="*/ 416624 w 2738294"/>
                <a:gd name="connsiteY109" fmla="*/ 38595 h 2244147"/>
                <a:gd name="connsiteX110" fmla="*/ 461753 w 2738294"/>
                <a:gd name="connsiteY110" fmla="*/ 43482 h 2244147"/>
                <a:gd name="connsiteX111" fmla="*/ 460153 w 2738294"/>
                <a:gd name="connsiteY111" fmla="*/ 62065 h 2244147"/>
                <a:gd name="connsiteX112" fmla="*/ 501015 w 2738294"/>
                <a:gd name="connsiteY112" fmla="*/ 75667 h 2244147"/>
                <a:gd name="connsiteX113" fmla="*/ 528257 w 2738294"/>
                <a:gd name="connsiteY113" fmla="*/ 67685 h 2244147"/>
                <a:gd name="connsiteX114" fmla="*/ 584521 w 2738294"/>
                <a:gd name="connsiteY114" fmla="*/ 92783 h 2244147"/>
                <a:gd name="connsiteX115" fmla="*/ 635889 w 2738294"/>
                <a:gd name="connsiteY115" fmla="*/ 100174 h 2244147"/>
                <a:gd name="connsiteX116" fmla="*/ 656453 w 2738294"/>
                <a:gd name="connsiteY116" fmla="*/ 110347 h 2244147"/>
                <a:gd name="connsiteX117" fmla="*/ 691991 w 2738294"/>
                <a:gd name="connsiteY117" fmla="*/ 97631 h 2244147"/>
                <a:gd name="connsiteX118" fmla="*/ 732501 w 2738294"/>
                <a:gd name="connsiteY118" fmla="*/ 121082 h 2244147"/>
                <a:gd name="connsiteX119" fmla="*/ 761514 w 2738294"/>
                <a:gd name="connsiteY119" fmla="*/ 131893 h 2244147"/>
                <a:gd name="connsiteX120" fmla="*/ 761333 w 2738294"/>
                <a:gd name="connsiteY120" fmla="*/ 395240 h 2244147"/>
                <a:gd name="connsiteX121" fmla="*/ 761190 w 2738294"/>
                <a:gd name="connsiteY121" fmla="*/ 732711 h 2244147"/>
                <a:gd name="connsiteX122" fmla="*/ 787489 w 2738294"/>
                <a:gd name="connsiteY122" fmla="*/ 734301 h 2244147"/>
                <a:gd name="connsiteX123" fmla="*/ 813502 w 2738294"/>
                <a:gd name="connsiteY123" fmla="*/ 749122 h 2244147"/>
                <a:gd name="connsiteX124" fmla="*/ 832152 w 2738294"/>
                <a:gd name="connsiteY124" fmla="*/ 772325 h 2244147"/>
                <a:gd name="connsiteX125" fmla="*/ 855878 w 2738294"/>
                <a:gd name="connsiteY125" fmla="*/ 806577 h 2244147"/>
                <a:gd name="connsiteX126" fmla="*/ 881863 w 2738294"/>
                <a:gd name="connsiteY126" fmla="*/ 777488 h 2244147"/>
                <a:gd name="connsiteX127" fmla="*/ 908676 w 2738294"/>
                <a:gd name="connsiteY127" fmla="*/ 760409 h 2244147"/>
                <a:gd name="connsiteX128" fmla="*/ 922849 w 2738294"/>
                <a:gd name="connsiteY128" fmla="*/ 787603 h 2244147"/>
                <a:gd name="connsiteX129" fmla="*/ 940841 w 2738294"/>
                <a:gd name="connsiteY129" fmla="*/ 808834 h 2244147"/>
                <a:gd name="connsiteX130" fmla="*/ 965292 w 2738294"/>
                <a:gd name="connsiteY130" fmla="*/ 831923 h 2244147"/>
                <a:gd name="connsiteX131" fmla="*/ 981989 w 2738294"/>
                <a:gd name="connsiteY131" fmla="*/ 868061 h 2244147"/>
                <a:gd name="connsiteX132" fmla="*/ 1009298 w 2738294"/>
                <a:gd name="connsiteY132" fmla="*/ 924077 h 2244147"/>
                <a:gd name="connsiteX133" fmla="*/ 1054703 w 2738294"/>
                <a:gd name="connsiteY133" fmla="*/ 954596 h 2244147"/>
                <a:gd name="connsiteX134" fmla="*/ 1055446 w 2738294"/>
                <a:gd name="connsiteY134" fmla="*/ 984352 h 2244147"/>
                <a:gd name="connsiteX135" fmla="*/ 1040597 w 2738294"/>
                <a:gd name="connsiteY135" fmla="*/ 1006792 h 2244147"/>
                <a:gd name="connsiteX136" fmla="*/ 2716330 w 2738294"/>
                <a:gd name="connsiteY136" fmla="*/ 1334786 h 2244147"/>
                <a:gd name="connsiteX137" fmla="*/ 2704471 w 2738294"/>
                <a:gd name="connsiteY137" fmla="*/ 1323480 h 2244147"/>
                <a:gd name="connsiteX138" fmla="*/ 2686564 w 2738294"/>
                <a:gd name="connsiteY138" fmla="*/ 1330147 h 2244147"/>
                <a:gd name="connsiteX139" fmla="*/ 2677687 w 2738294"/>
                <a:gd name="connsiteY139" fmla="*/ 1319832 h 2244147"/>
                <a:gd name="connsiteX140" fmla="*/ 2657313 w 2738294"/>
                <a:gd name="connsiteY140" fmla="*/ 1349330 h 2244147"/>
                <a:gd name="connsiteX141" fmla="*/ 2649169 w 2738294"/>
                <a:gd name="connsiteY141" fmla="*/ 1379315 h 2244147"/>
                <a:gd name="connsiteX142" fmla="*/ 2639692 w 2738294"/>
                <a:gd name="connsiteY142" fmla="*/ 1396651 h 2244147"/>
                <a:gd name="connsiteX143" fmla="*/ 2628348 w 2738294"/>
                <a:gd name="connsiteY143" fmla="*/ 1402518 h 2244147"/>
                <a:gd name="connsiteX144" fmla="*/ 2619804 w 2738294"/>
                <a:gd name="connsiteY144" fmla="*/ 1404423 h 2244147"/>
                <a:gd name="connsiteX145" fmla="*/ 2617127 w 2738294"/>
                <a:gd name="connsiteY145" fmla="*/ 1413738 h 2244147"/>
                <a:gd name="connsiteX146" fmla="*/ 2567911 w 2738294"/>
                <a:gd name="connsiteY146" fmla="*/ 1413767 h 2244147"/>
                <a:gd name="connsiteX147" fmla="*/ 2527335 w 2738294"/>
                <a:gd name="connsiteY147" fmla="*/ 1414024 h 2244147"/>
                <a:gd name="connsiteX148" fmla="*/ 2515286 w 2738294"/>
                <a:gd name="connsiteY148" fmla="*/ 1420939 h 2244147"/>
                <a:gd name="connsiteX149" fmla="*/ 2487949 w 2738294"/>
                <a:gd name="connsiteY149" fmla="*/ 1446943 h 2244147"/>
                <a:gd name="connsiteX150" fmla="*/ 2490683 w 2738294"/>
                <a:gd name="connsiteY150" fmla="*/ 1452124 h 2244147"/>
                <a:gd name="connsiteX151" fmla="*/ 2492264 w 2738294"/>
                <a:gd name="connsiteY151" fmla="*/ 1466469 h 2244147"/>
                <a:gd name="connsiteX152" fmla="*/ 2472233 w 2738294"/>
                <a:gd name="connsiteY152" fmla="*/ 1478566 h 2244147"/>
                <a:gd name="connsiteX153" fmla="*/ 2450354 w 2738294"/>
                <a:gd name="connsiteY153" fmla="*/ 1475537 h 2244147"/>
                <a:gd name="connsiteX154" fmla="*/ 2429361 w 2738294"/>
                <a:gd name="connsiteY154" fmla="*/ 1474175 h 2244147"/>
                <a:gd name="connsiteX155" fmla="*/ 2416712 w 2738294"/>
                <a:gd name="connsiteY155" fmla="*/ 1478356 h 2244147"/>
                <a:gd name="connsiteX156" fmla="*/ 2419083 w 2738294"/>
                <a:gd name="connsiteY156" fmla="*/ 1489310 h 2244147"/>
                <a:gd name="connsiteX157" fmla="*/ 2419083 w 2738294"/>
                <a:gd name="connsiteY157" fmla="*/ 1489329 h 2244147"/>
                <a:gd name="connsiteX158" fmla="*/ 2419607 w 2738294"/>
                <a:gd name="connsiteY158" fmla="*/ 1492882 h 2244147"/>
                <a:gd name="connsiteX159" fmla="*/ 2396595 w 2738294"/>
                <a:gd name="connsiteY159" fmla="*/ 1514456 h 2244147"/>
                <a:gd name="connsiteX160" fmla="*/ 2376450 w 2738294"/>
                <a:gd name="connsiteY160" fmla="*/ 1524829 h 2244147"/>
                <a:gd name="connsiteX161" fmla="*/ 2362705 w 2738294"/>
                <a:gd name="connsiteY161" fmla="*/ 1529648 h 2244147"/>
                <a:gd name="connsiteX162" fmla="*/ 2346884 w 2738294"/>
                <a:gd name="connsiteY162" fmla="*/ 1539507 h 2244147"/>
                <a:gd name="connsiteX163" fmla="*/ 2327548 w 2738294"/>
                <a:gd name="connsiteY163" fmla="*/ 1544231 h 2244147"/>
                <a:gd name="connsiteX164" fmla="*/ 2314232 w 2738294"/>
                <a:gd name="connsiteY164" fmla="*/ 1542412 h 2244147"/>
                <a:gd name="connsiteX165" fmla="*/ 2297764 w 2738294"/>
                <a:gd name="connsiteY165" fmla="*/ 1535058 h 2244147"/>
                <a:gd name="connsiteX166" fmla="*/ 2306917 w 2738294"/>
                <a:gd name="connsiteY166" fmla="*/ 1521257 h 2244147"/>
                <a:gd name="connsiteX167" fmla="*/ 2312794 w 2738294"/>
                <a:gd name="connsiteY167" fmla="*/ 1508674 h 2244147"/>
                <a:gd name="connsiteX168" fmla="*/ 2325348 w 2738294"/>
                <a:gd name="connsiteY168" fmla="*/ 1488757 h 2244147"/>
                <a:gd name="connsiteX169" fmla="*/ 2324014 w 2738294"/>
                <a:gd name="connsiteY169" fmla="*/ 1473794 h 2244147"/>
                <a:gd name="connsiteX170" fmla="*/ 2319204 w 2738294"/>
                <a:gd name="connsiteY170" fmla="*/ 1452448 h 2244147"/>
                <a:gd name="connsiteX171" fmla="*/ 2309327 w 2738294"/>
                <a:gd name="connsiteY171" fmla="*/ 1448753 h 2244147"/>
                <a:gd name="connsiteX172" fmla="*/ 2292772 w 2738294"/>
                <a:gd name="connsiteY172" fmla="*/ 1464993 h 2244147"/>
                <a:gd name="connsiteX173" fmla="*/ 2287467 w 2738294"/>
                <a:gd name="connsiteY173" fmla="*/ 1464688 h 2244147"/>
                <a:gd name="connsiteX174" fmla="*/ 2286095 w 2738294"/>
                <a:gd name="connsiteY174" fmla="*/ 1455410 h 2244147"/>
                <a:gd name="connsiteX175" fmla="*/ 2300783 w 2738294"/>
                <a:gd name="connsiteY175" fmla="*/ 1440589 h 2244147"/>
                <a:gd name="connsiteX176" fmla="*/ 2303221 w 2738294"/>
                <a:gd name="connsiteY176" fmla="*/ 1423578 h 2244147"/>
                <a:gd name="connsiteX177" fmla="*/ 2301050 w 2738294"/>
                <a:gd name="connsiteY177" fmla="*/ 1406490 h 2244147"/>
                <a:gd name="connsiteX178" fmla="*/ 2281285 w 2738294"/>
                <a:gd name="connsiteY178" fmla="*/ 1391707 h 2244147"/>
                <a:gd name="connsiteX179" fmla="*/ 2258587 w 2738294"/>
                <a:gd name="connsiteY179" fmla="*/ 1384087 h 2244147"/>
                <a:gd name="connsiteX180" fmla="*/ 2254853 w 2738294"/>
                <a:gd name="connsiteY180" fmla="*/ 1398546 h 2244147"/>
                <a:gd name="connsiteX181" fmla="*/ 2248967 w 2738294"/>
                <a:gd name="connsiteY181" fmla="*/ 1402404 h 2244147"/>
                <a:gd name="connsiteX182" fmla="*/ 2244242 w 2738294"/>
                <a:gd name="connsiteY182" fmla="*/ 1421006 h 2244147"/>
                <a:gd name="connsiteX183" fmla="*/ 2241766 w 2738294"/>
                <a:gd name="connsiteY183" fmla="*/ 1408386 h 2244147"/>
                <a:gd name="connsiteX184" fmla="*/ 2231089 w 2738294"/>
                <a:gd name="connsiteY184" fmla="*/ 1417406 h 2244147"/>
                <a:gd name="connsiteX185" fmla="*/ 2224421 w 2738294"/>
                <a:gd name="connsiteY185" fmla="*/ 1429988 h 2244147"/>
                <a:gd name="connsiteX186" fmla="*/ 2217458 w 2738294"/>
                <a:gd name="connsiteY186" fmla="*/ 1448238 h 2244147"/>
                <a:gd name="connsiteX187" fmla="*/ 2216125 w 2738294"/>
                <a:gd name="connsiteY187" fmla="*/ 1463907 h 2244147"/>
                <a:gd name="connsiteX188" fmla="*/ 2224983 w 2738294"/>
                <a:gd name="connsiteY188" fmla="*/ 1486538 h 2244147"/>
                <a:gd name="connsiteX189" fmla="*/ 2224250 w 2738294"/>
                <a:gd name="connsiteY189" fmla="*/ 1510427 h 2244147"/>
                <a:gd name="connsiteX190" fmla="*/ 2213410 w 2738294"/>
                <a:gd name="connsiteY190" fmla="*/ 1527915 h 2244147"/>
                <a:gd name="connsiteX191" fmla="*/ 2208000 w 2738294"/>
                <a:gd name="connsiteY191" fmla="*/ 1532849 h 2244147"/>
                <a:gd name="connsiteX192" fmla="*/ 2200789 w 2738294"/>
                <a:gd name="connsiteY192" fmla="*/ 1536773 h 2244147"/>
                <a:gd name="connsiteX193" fmla="*/ 2191712 w 2738294"/>
                <a:gd name="connsiteY193" fmla="*/ 1536973 h 2244147"/>
                <a:gd name="connsiteX194" fmla="*/ 2189255 w 2738294"/>
                <a:gd name="connsiteY194" fmla="*/ 1534563 h 2244147"/>
                <a:gd name="connsiteX195" fmla="*/ 2182063 w 2738294"/>
                <a:gd name="connsiteY195" fmla="*/ 1515751 h 2244147"/>
                <a:gd name="connsiteX196" fmla="*/ 2181854 w 2738294"/>
                <a:gd name="connsiteY196" fmla="*/ 1506398 h 2244147"/>
                <a:gd name="connsiteX197" fmla="*/ 2182568 w 2738294"/>
                <a:gd name="connsiteY197" fmla="*/ 1497473 h 2244147"/>
                <a:gd name="connsiteX198" fmla="*/ 2179215 w 2738294"/>
                <a:gd name="connsiteY198" fmla="*/ 1479661 h 2244147"/>
                <a:gd name="connsiteX199" fmla="*/ 2184292 w 2738294"/>
                <a:gd name="connsiteY199" fmla="*/ 1458887 h 2244147"/>
                <a:gd name="connsiteX200" fmla="*/ 2190322 w 2738294"/>
                <a:gd name="connsiteY200" fmla="*/ 1433046 h 2244147"/>
                <a:gd name="connsiteX201" fmla="*/ 2204180 w 2738294"/>
                <a:gd name="connsiteY201" fmla="*/ 1404137 h 2244147"/>
                <a:gd name="connsiteX202" fmla="*/ 2200161 w 2738294"/>
                <a:gd name="connsiteY202" fmla="*/ 1404271 h 2244147"/>
                <a:gd name="connsiteX203" fmla="*/ 2180539 w 2738294"/>
                <a:gd name="connsiteY203" fmla="*/ 1428493 h 2244147"/>
                <a:gd name="connsiteX204" fmla="*/ 2176920 w 2738294"/>
                <a:gd name="connsiteY204" fmla="*/ 1424073 h 2244147"/>
                <a:gd name="connsiteX205" fmla="*/ 2187388 w 2738294"/>
                <a:gd name="connsiteY205" fmla="*/ 1410529 h 2244147"/>
                <a:gd name="connsiteX206" fmla="*/ 2203314 w 2738294"/>
                <a:gd name="connsiteY206" fmla="*/ 1386021 h 2244147"/>
                <a:gd name="connsiteX207" fmla="*/ 2221478 w 2738294"/>
                <a:gd name="connsiteY207" fmla="*/ 1382582 h 2244147"/>
                <a:gd name="connsiteX208" fmla="*/ 2242309 w 2738294"/>
                <a:gd name="connsiteY208" fmla="*/ 1374924 h 2244147"/>
                <a:gd name="connsiteX209" fmla="*/ 2263312 w 2738294"/>
                <a:gd name="connsiteY209" fmla="*/ 1378963 h 2244147"/>
                <a:gd name="connsiteX210" fmla="*/ 2264207 w 2738294"/>
                <a:gd name="connsiteY210" fmla="*/ 1379134 h 2244147"/>
                <a:gd name="connsiteX211" fmla="*/ 2287734 w 2738294"/>
                <a:gd name="connsiteY211" fmla="*/ 1375677 h 2244147"/>
                <a:gd name="connsiteX212" fmla="*/ 2274446 w 2738294"/>
                <a:gd name="connsiteY212" fmla="*/ 1360351 h 2244147"/>
                <a:gd name="connsiteX213" fmla="*/ 2267284 w 2738294"/>
                <a:gd name="connsiteY213" fmla="*/ 1359160 h 2244147"/>
                <a:gd name="connsiteX214" fmla="*/ 2259140 w 2738294"/>
                <a:gd name="connsiteY214" fmla="*/ 1357598 h 2244147"/>
                <a:gd name="connsiteX215" fmla="*/ 2253529 w 2738294"/>
                <a:gd name="connsiteY215" fmla="*/ 1346740 h 2244147"/>
                <a:gd name="connsiteX216" fmla="*/ 2227288 w 2738294"/>
                <a:gd name="connsiteY216" fmla="*/ 1350131 h 2244147"/>
                <a:gd name="connsiteX217" fmla="*/ 2203590 w 2738294"/>
                <a:gd name="connsiteY217" fmla="*/ 1358751 h 2244147"/>
                <a:gd name="connsiteX218" fmla="*/ 2184778 w 2738294"/>
                <a:gd name="connsiteY218" fmla="*/ 1343978 h 2244147"/>
                <a:gd name="connsiteX219" fmla="*/ 2169643 w 2738294"/>
                <a:gd name="connsiteY219" fmla="*/ 1339015 h 2244147"/>
                <a:gd name="connsiteX220" fmla="*/ 2178225 w 2738294"/>
                <a:gd name="connsiteY220" fmla="*/ 1318346 h 2244147"/>
                <a:gd name="connsiteX221" fmla="*/ 2154650 w 2738294"/>
                <a:gd name="connsiteY221" fmla="*/ 1331347 h 2244147"/>
                <a:gd name="connsiteX222" fmla="*/ 2133219 w 2738294"/>
                <a:gd name="connsiteY222" fmla="*/ 1343997 h 2244147"/>
                <a:gd name="connsiteX223" fmla="*/ 2112597 w 2738294"/>
                <a:gd name="connsiteY223" fmla="*/ 1353874 h 2244147"/>
                <a:gd name="connsiteX224" fmla="*/ 2096224 w 2738294"/>
                <a:gd name="connsiteY224" fmla="*/ 1340530 h 2244147"/>
                <a:gd name="connsiteX225" fmla="*/ 2069468 w 2738294"/>
                <a:gd name="connsiteY225" fmla="*/ 1348635 h 2244147"/>
                <a:gd name="connsiteX226" fmla="*/ 2069554 w 2738294"/>
                <a:gd name="connsiteY226" fmla="*/ 1342930 h 2244147"/>
                <a:gd name="connsiteX227" fmla="*/ 2087680 w 2738294"/>
                <a:gd name="connsiteY227" fmla="*/ 1326451 h 2244147"/>
                <a:gd name="connsiteX228" fmla="*/ 2106644 w 2738294"/>
                <a:gd name="connsiteY228" fmla="*/ 1310697 h 2244147"/>
                <a:gd name="connsiteX229" fmla="*/ 2133886 w 2738294"/>
                <a:gd name="connsiteY229" fmla="*/ 1297600 h 2244147"/>
                <a:gd name="connsiteX230" fmla="*/ 2101034 w 2738294"/>
                <a:gd name="connsiteY230" fmla="*/ 1287228 h 2244147"/>
                <a:gd name="connsiteX231" fmla="*/ 2079403 w 2738294"/>
                <a:gd name="connsiteY231" fmla="*/ 1292419 h 2244147"/>
                <a:gd name="connsiteX232" fmla="*/ 2053495 w 2738294"/>
                <a:gd name="connsiteY232" fmla="*/ 1280008 h 2244147"/>
                <a:gd name="connsiteX233" fmla="*/ 2026225 w 2738294"/>
                <a:gd name="connsiteY233" fmla="*/ 1273607 h 2244147"/>
                <a:gd name="connsiteX234" fmla="*/ 2007575 w 2738294"/>
                <a:gd name="connsiteY234" fmla="*/ 1271130 h 2244147"/>
                <a:gd name="connsiteX235" fmla="*/ 1999269 w 2738294"/>
                <a:gd name="connsiteY235" fmla="*/ 1264291 h 2244147"/>
                <a:gd name="connsiteX236" fmla="*/ 1994526 w 2738294"/>
                <a:gd name="connsiteY236" fmla="*/ 1241955 h 2244147"/>
                <a:gd name="connsiteX237" fmla="*/ 1985486 w 2738294"/>
                <a:gd name="connsiteY237" fmla="*/ 1242155 h 2244147"/>
                <a:gd name="connsiteX238" fmla="*/ 1985410 w 2738294"/>
                <a:gd name="connsiteY238" fmla="*/ 1257814 h 2244147"/>
                <a:gd name="connsiteX239" fmla="*/ 1930137 w 2738294"/>
                <a:gd name="connsiteY239" fmla="*/ 1257786 h 2244147"/>
                <a:gd name="connsiteX240" fmla="*/ 1838763 w 2738294"/>
                <a:gd name="connsiteY240" fmla="*/ 1257814 h 2244147"/>
                <a:gd name="connsiteX241" fmla="*/ 1748009 w 2738294"/>
                <a:gd name="connsiteY241" fmla="*/ 1257814 h 2244147"/>
                <a:gd name="connsiteX242" fmla="*/ 1667837 w 2738294"/>
                <a:gd name="connsiteY242" fmla="*/ 1257814 h 2244147"/>
                <a:gd name="connsiteX243" fmla="*/ 1587713 w 2738294"/>
                <a:gd name="connsiteY243" fmla="*/ 1257814 h 2244147"/>
                <a:gd name="connsiteX244" fmla="*/ 1508932 w 2738294"/>
                <a:gd name="connsiteY244" fmla="*/ 1257814 h 2244147"/>
                <a:gd name="connsiteX245" fmla="*/ 1427531 w 2738294"/>
                <a:gd name="connsiteY245" fmla="*/ 1257814 h 2244147"/>
                <a:gd name="connsiteX246" fmla="*/ 1401280 w 2738294"/>
                <a:gd name="connsiteY246" fmla="*/ 1257814 h 2244147"/>
                <a:gd name="connsiteX247" fmla="*/ 1321994 w 2738294"/>
                <a:gd name="connsiteY247" fmla="*/ 1257814 h 2244147"/>
                <a:gd name="connsiteX248" fmla="*/ 1246146 w 2738294"/>
                <a:gd name="connsiteY248" fmla="*/ 1257814 h 2244147"/>
                <a:gd name="connsiteX249" fmla="*/ 1255233 w 2738294"/>
                <a:gd name="connsiteY249" fmla="*/ 1290828 h 2244147"/>
                <a:gd name="connsiteX250" fmla="*/ 1259500 w 2738294"/>
                <a:gd name="connsiteY250" fmla="*/ 1323308 h 2244147"/>
                <a:gd name="connsiteX251" fmla="*/ 1252899 w 2738294"/>
                <a:gd name="connsiteY251" fmla="*/ 1333662 h 2244147"/>
                <a:gd name="connsiteX252" fmla="*/ 1238669 w 2738294"/>
                <a:gd name="connsiteY252" fmla="*/ 1296410 h 2244147"/>
                <a:gd name="connsiteX253" fmla="*/ 1200045 w 2738294"/>
                <a:gd name="connsiteY253" fmla="*/ 1282837 h 2244147"/>
                <a:gd name="connsiteX254" fmla="*/ 1196816 w 2738294"/>
                <a:gd name="connsiteY254" fmla="*/ 1290647 h 2244147"/>
                <a:gd name="connsiteX255" fmla="*/ 1204598 w 2738294"/>
                <a:gd name="connsiteY255" fmla="*/ 1309106 h 2244147"/>
                <a:gd name="connsiteX256" fmla="*/ 1213037 w 2738294"/>
                <a:gd name="connsiteY256" fmla="*/ 1342682 h 2244147"/>
                <a:gd name="connsiteX257" fmla="*/ 1217857 w 2738294"/>
                <a:gd name="connsiteY257" fmla="*/ 1394270 h 2244147"/>
                <a:gd name="connsiteX258" fmla="*/ 1214609 w 2738294"/>
                <a:gd name="connsiteY258" fmla="*/ 1428474 h 2244147"/>
                <a:gd name="connsiteX259" fmla="*/ 1211361 w 2738294"/>
                <a:gd name="connsiteY259" fmla="*/ 1462145 h 2244147"/>
                <a:gd name="connsiteX260" fmla="*/ 1200922 w 2738294"/>
                <a:gd name="connsiteY260" fmla="*/ 1496568 h 2244147"/>
                <a:gd name="connsiteX261" fmla="*/ 1209446 w 2738294"/>
                <a:gd name="connsiteY261" fmla="*/ 1524172 h 2244147"/>
                <a:gd name="connsiteX262" fmla="*/ 1210380 w 2738294"/>
                <a:gd name="connsiteY262" fmla="*/ 1554671 h 2244147"/>
                <a:gd name="connsiteX263" fmla="*/ 1204522 w 2738294"/>
                <a:gd name="connsiteY263" fmla="*/ 1583769 h 2244147"/>
                <a:gd name="connsiteX264" fmla="*/ 1218752 w 2738294"/>
                <a:gd name="connsiteY264" fmla="*/ 1602743 h 2244147"/>
                <a:gd name="connsiteX265" fmla="*/ 1222439 w 2738294"/>
                <a:gd name="connsiteY265" fmla="*/ 1630794 h 2244147"/>
                <a:gd name="connsiteX266" fmla="*/ 1243108 w 2738294"/>
                <a:gd name="connsiteY266" fmla="*/ 1659284 h 2244147"/>
                <a:gd name="connsiteX267" fmla="*/ 1254890 w 2738294"/>
                <a:gd name="connsiteY267" fmla="*/ 1670418 h 2244147"/>
                <a:gd name="connsiteX268" fmla="*/ 1253938 w 2738294"/>
                <a:gd name="connsiteY268" fmla="*/ 1678200 h 2244147"/>
                <a:gd name="connsiteX269" fmla="*/ 1276179 w 2738294"/>
                <a:gd name="connsiteY269" fmla="*/ 1724406 h 2244147"/>
                <a:gd name="connsiteX270" fmla="*/ 1302087 w 2738294"/>
                <a:gd name="connsiteY270" fmla="*/ 1757286 h 2244147"/>
                <a:gd name="connsiteX271" fmla="*/ 1305335 w 2738294"/>
                <a:gd name="connsiteY271" fmla="*/ 1775060 h 2244147"/>
                <a:gd name="connsiteX272" fmla="*/ 1312145 w 2738294"/>
                <a:gd name="connsiteY272" fmla="*/ 1780270 h 2244147"/>
                <a:gd name="connsiteX273" fmla="*/ 1336958 w 2738294"/>
                <a:gd name="connsiteY273" fmla="*/ 1783442 h 2244147"/>
                <a:gd name="connsiteX274" fmla="*/ 1346511 w 2738294"/>
                <a:gd name="connsiteY274" fmla="*/ 1792138 h 2244147"/>
                <a:gd name="connsiteX275" fmla="*/ 1361494 w 2738294"/>
                <a:gd name="connsiteY275" fmla="*/ 1793748 h 2244147"/>
                <a:gd name="connsiteX276" fmla="*/ 1364418 w 2738294"/>
                <a:gd name="connsiteY276" fmla="*/ 1802940 h 2244147"/>
                <a:gd name="connsiteX277" fmla="*/ 1376877 w 2738294"/>
                <a:gd name="connsiteY277" fmla="*/ 1806759 h 2244147"/>
                <a:gd name="connsiteX278" fmla="*/ 1394184 w 2738294"/>
                <a:gd name="connsiteY278" fmla="*/ 1825047 h 2244147"/>
                <a:gd name="connsiteX279" fmla="*/ 1398680 w 2738294"/>
                <a:gd name="connsiteY279" fmla="*/ 1841202 h 2244147"/>
                <a:gd name="connsiteX280" fmla="*/ 1429026 w 2738294"/>
                <a:gd name="connsiteY280" fmla="*/ 1838773 h 2244147"/>
                <a:gd name="connsiteX281" fmla="*/ 1462945 w 2738294"/>
                <a:gd name="connsiteY281" fmla="*/ 1835353 h 2244147"/>
                <a:gd name="connsiteX282" fmla="*/ 1460440 w 2738294"/>
                <a:gd name="connsiteY282" fmla="*/ 1841525 h 2244147"/>
                <a:gd name="connsiteX283" fmla="*/ 1500769 w 2738294"/>
                <a:gd name="connsiteY283" fmla="*/ 1856804 h 2244147"/>
                <a:gd name="connsiteX284" fmla="*/ 1561690 w 2738294"/>
                <a:gd name="connsiteY284" fmla="*/ 1878806 h 2244147"/>
                <a:gd name="connsiteX285" fmla="*/ 1614802 w 2738294"/>
                <a:gd name="connsiteY285" fmla="*/ 1878587 h 2244147"/>
                <a:gd name="connsiteX286" fmla="*/ 1635976 w 2738294"/>
                <a:gd name="connsiteY286" fmla="*/ 1878578 h 2244147"/>
                <a:gd name="connsiteX287" fmla="*/ 1636033 w 2738294"/>
                <a:gd name="connsiteY287" fmla="*/ 1865709 h 2244147"/>
                <a:gd name="connsiteX288" fmla="*/ 1682296 w 2738294"/>
                <a:gd name="connsiteY288" fmla="*/ 1865719 h 2244147"/>
                <a:gd name="connsiteX289" fmla="*/ 1692031 w 2738294"/>
                <a:gd name="connsiteY289" fmla="*/ 1876787 h 2244147"/>
                <a:gd name="connsiteX290" fmla="*/ 1705689 w 2738294"/>
                <a:gd name="connsiteY290" fmla="*/ 1886617 h 2244147"/>
                <a:gd name="connsiteX291" fmla="*/ 1721558 w 2738294"/>
                <a:gd name="connsiteY291" fmla="*/ 1900228 h 2244147"/>
                <a:gd name="connsiteX292" fmla="*/ 1730416 w 2738294"/>
                <a:gd name="connsiteY292" fmla="*/ 1916316 h 2244147"/>
                <a:gd name="connsiteX293" fmla="*/ 1737065 w 2738294"/>
                <a:gd name="connsiteY293" fmla="*/ 1933165 h 2244147"/>
                <a:gd name="connsiteX294" fmla="*/ 1750866 w 2738294"/>
                <a:gd name="connsiteY294" fmla="*/ 1942376 h 2244147"/>
                <a:gd name="connsiteX295" fmla="*/ 1773041 w 2738294"/>
                <a:gd name="connsiteY295" fmla="*/ 1951501 h 2244147"/>
                <a:gd name="connsiteX296" fmla="*/ 1789862 w 2738294"/>
                <a:gd name="connsiteY296" fmla="*/ 1927422 h 2244147"/>
                <a:gd name="connsiteX297" fmla="*/ 1811693 w 2738294"/>
                <a:gd name="connsiteY297" fmla="*/ 1926822 h 2244147"/>
                <a:gd name="connsiteX298" fmla="*/ 1830514 w 2738294"/>
                <a:gd name="connsiteY298" fmla="*/ 1939004 h 2244147"/>
                <a:gd name="connsiteX299" fmla="*/ 1843916 w 2738294"/>
                <a:gd name="connsiteY299" fmla="*/ 1959807 h 2244147"/>
                <a:gd name="connsiteX300" fmla="*/ 1853146 w 2738294"/>
                <a:gd name="connsiteY300" fmla="*/ 1977514 h 2244147"/>
                <a:gd name="connsiteX301" fmla="*/ 1868900 w 2738294"/>
                <a:gd name="connsiteY301" fmla="*/ 1994630 h 2244147"/>
                <a:gd name="connsiteX302" fmla="*/ 1874777 w 2738294"/>
                <a:gd name="connsiteY302" fmla="*/ 2015538 h 2244147"/>
                <a:gd name="connsiteX303" fmla="*/ 1882254 w 2738294"/>
                <a:gd name="connsiteY303" fmla="*/ 2029501 h 2244147"/>
                <a:gd name="connsiteX304" fmla="*/ 1903085 w 2738294"/>
                <a:gd name="connsiteY304" fmla="*/ 2038674 h 2244147"/>
                <a:gd name="connsiteX305" fmla="*/ 1922050 w 2738294"/>
                <a:gd name="connsiteY305" fmla="*/ 2045170 h 2244147"/>
                <a:gd name="connsiteX306" fmla="*/ 1932461 w 2738294"/>
                <a:gd name="connsiteY306" fmla="*/ 2044284 h 2244147"/>
                <a:gd name="connsiteX307" fmla="*/ 1927384 w 2738294"/>
                <a:gd name="connsiteY307" fmla="*/ 2034235 h 2244147"/>
                <a:gd name="connsiteX308" fmla="*/ 1926050 w 2738294"/>
                <a:gd name="connsiteY308" fmla="*/ 2019995 h 2244147"/>
                <a:gd name="connsiteX309" fmla="*/ 1926317 w 2738294"/>
                <a:gd name="connsiteY309" fmla="*/ 1999412 h 2244147"/>
                <a:gd name="connsiteX310" fmla="*/ 1932461 w 2738294"/>
                <a:gd name="connsiteY310" fmla="*/ 1985924 h 2244147"/>
                <a:gd name="connsiteX311" fmla="*/ 1947043 w 2738294"/>
                <a:gd name="connsiteY311" fmla="*/ 1971551 h 2244147"/>
                <a:gd name="connsiteX312" fmla="*/ 1973590 w 2738294"/>
                <a:gd name="connsiteY312" fmla="*/ 1958511 h 2244147"/>
                <a:gd name="connsiteX313" fmla="*/ 1997897 w 2738294"/>
                <a:gd name="connsiteY313" fmla="*/ 1935966 h 2244147"/>
                <a:gd name="connsiteX314" fmla="*/ 2020367 w 2738294"/>
                <a:gd name="connsiteY314" fmla="*/ 1928822 h 2244147"/>
                <a:gd name="connsiteX315" fmla="*/ 2036978 w 2738294"/>
                <a:gd name="connsiteY315" fmla="*/ 1926679 h 2244147"/>
                <a:gd name="connsiteX316" fmla="*/ 2056409 w 2738294"/>
                <a:gd name="connsiteY316" fmla="*/ 1933756 h 2244147"/>
                <a:gd name="connsiteX317" fmla="*/ 2079698 w 2738294"/>
                <a:gd name="connsiteY317" fmla="*/ 1929946 h 2244147"/>
                <a:gd name="connsiteX318" fmla="*/ 2099634 w 2738294"/>
                <a:gd name="connsiteY318" fmla="*/ 1946062 h 2244147"/>
                <a:gd name="connsiteX319" fmla="*/ 2119017 w 2738294"/>
                <a:gd name="connsiteY319" fmla="*/ 1947015 h 2244147"/>
                <a:gd name="connsiteX320" fmla="*/ 2129038 w 2738294"/>
                <a:gd name="connsiteY320" fmla="*/ 1941243 h 2244147"/>
                <a:gd name="connsiteX321" fmla="*/ 2138953 w 2738294"/>
                <a:gd name="connsiteY321" fmla="*/ 1945739 h 2244147"/>
                <a:gd name="connsiteX322" fmla="*/ 2144039 w 2738294"/>
                <a:gd name="connsiteY322" fmla="*/ 1941738 h 2244147"/>
                <a:gd name="connsiteX323" fmla="*/ 2138372 w 2738294"/>
                <a:gd name="connsiteY323" fmla="*/ 1935718 h 2244147"/>
                <a:gd name="connsiteX324" fmla="*/ 2138801 w 2738294"/>
                <a:gd name="connsiteY324" fmla="*/ 1923317 h 2244147"/>
                <a:gd name="connsiteX325" fmla="*/ 2133991 w 2738294"/>
                <a:gd name="connsiteY325" fmla="*/ 1915163 h 2244147"/>
                <a:gd name="connsiteX326" fmla="*/ 2145030 w 2738294"/>
                <a:gd name="connsiteY326" fmla="*/ 1910363 h 2244147"/>
                <a:gd name="connsiteX327" fmla="*/ 2165395 w 2738294"/>
                <a:gd name="connsiteY327" fmla="*/ 1908239 h 2244147"/>
                <a:gd name="connsiteX328" fmla="*/ 2189093 w 2738294"/>
                <a:gd name="connsiteY328" fmla="*/ 1911639 h 2244147"/>
                <a:gd name="connsiteX329" fmla="*/ 2219277 w 2738294"/>
                <a:gd name="connsiteY329" fmla="*/ 1907772 h 2244147"/>
                <a:gd name="connsiteX330" fmla="*/ 2236023 w 2738294"/>
                <a:gd name="connsiteY330" fmla="*/ 1915382 h 2244147"/>
                <a:gd name="connsiteX331" fmla="*/ 2248986 w 2738294"/>
                <a:gd name="connsiteY331" fmla="*/ 1929689 h 2244147"/>
                <a:gd name="connsiteX332" fmla="*/ 2253767 w 2738294"/>
                <a:gd name="connsiteY332" fmla="*/ 1931213 h 2244147"/>
                <a:gd name="connsiteX333" fmla="*/ 2280714 w 2738294"/>
                <a:gd name="connsiteY333" fmla="*/ 1917306 h 2244147"/>
                <a:gd name="connsiteX334" fmla="*/ 2291134 w 2738294"/>
                <a:gd name="connsiteY334" fmla="*/ 1922012 h 2244147"/>
                <a:gd name="connsiteX335" fmla="*/ 2311956 w 2738294"/>
                <a:gd name="connsiteY335" fmla="*/ 1947558 h 2244147"/>
                <a:gd name="connsiteX336" fmla="*/ 2319433 w 2738294"/>
                <a:gd name="connsiteY336" fmla="*/ 1964236 h 2244147"/>
                <a:gd name="connsiteX337" fmla="*/ 2313947 w 2738294"/>
                <a:gd name="connsiteY337" fmla="*/ 1984248 h 2244147"/>
                <a:gd name="connsiteX338" fmla="*/ 2317956 w 2738294"/>
                <a:gd name="connsiteY338" fmla="*/ 1995983 h 2244147"/>
                <a:gd name="connsiteX339" fmla="*/ 2330377 w 2738294"/>
                <a:gd name="connsiteY339" fmla="*/ 2018814 h 2244147"/>
                <a:gd name="connsiteX340" fmla="*/ 2344531 w 2738294"/>
                <a:gd name="connsiteY340" fmla="*/ 2044294 h 2244147"/>
                <a:gd name="connsiteX341" fmla="*/ 2354675 w 2738294"/>
                <a:gd name="connsiteY341" fmla="*/ 2051075 h 2244147"/>
                <a:gd name="connsiteX342" fmla="*/ 2358885 w 2738294"/>
                <a:gd name="connsiteY342" fmla="*/ 2063972 h 2244147"/>
                <a:gd name="connsiteX343" fmla="*/ 2372030 w 2738294"/>
                <a:gd name="connsiteY343" fmla="*/ 2067535 h 2244147"/>
                <a:gd name="connsiteX344" fmla="*/ 2380012 w 2738294"/>
                <a:gd name="connsiteY344" fmla="*/ 2063829 h 2244147"/>
                <a:gd name="connsiteX345" fmla="*/ 2386670 w 2738294"/>
                <a:gd name="connsiteY345" fmla="*/ 2045856 h 2244147"/>
                <a:gd name="connsiteX346" fmla="*/ 2387832 w 2738294"/>
                <a:gd name="connsiteY346" fmla="*/ 2034359 h 2244147"/>
                <a:gd name="connsiteX347" fmla="*/ 2388670 w 2738294"/>
                <a:gd name="connsiteY347" fmla="*/ 2014338 h 2244147"/>
                <a:gd name="connsiteX348" fmla="*/ 2376021 w 2738294"/>
                <a:gd name="connsiteY348" fmla="*/ 1979609 h 2244147"/>
                <a:gd name="connsiteX349" fmla="*/ 2375868 w 2738294"/>
                <a:gd name="connsiteY349" fmla="*/ 1966570 h 2244147"/>
                <a:gd name="connsiteX350" fmla="*/ 2364000 w 2738294"/>
                <a:gd name="connsiteY350" fmla="*/ 1945110 h 2244147"/>
                <a:gd name="connsiteX351" fmla="*/ 2355085 w 2738294"/>
                <a:gd name="connsiteY351" fmla="*/ 1918964 h 2244147"/>
                <a:gd name="connsiteX352" fmla="*/ 2350361 w 2738294"/>
                <a:gd name="connsiteY352" fmla="*/ 1897571 h 2244147"/>
                <a:gd name="connsiteX353" fmla="*/ 2354485 w 2738294"/>
                <a:gd name="connsiteY353" fmla="*/ 1875520 h 2244147"/>
                <a:gd name="connsiteX354" fmla="*/ 2367067 w 2738294"/>
                <a:gd name="connsiteY354" fmla="*/ 1856994 h 2244147"/>
                <a:gd name="connsiteX355" fmla="*/ 2382126 w 2738294"/>
                <a:gd name="connsiteY355" fmla="*/ 1842030 h 2244147"/>
                <a:gd name="connsiteX356" fmla="*/ 2411444 w 2738294"/>
                <a:gd name="connsiteY356" fmla="*/ 1821494 h 2244147"/>
                <a:gd name="connsiteX357" fmla="*/ 2415264 w 2738294"/>
                <a:gd name="connsiteY357" fmla="*/ 1810817 h 2244147"/>
                <a:gd name="connsiteX358" fmla="*/ 2428780 w 2738294"/>
                <a:gd name="connsiteY358" fmla="*/ 1799082 h 2244147"/>
                <a:gd name="connsiteX359" fmla="*/ 2442115 w 2738294"/>
                <a:gd name="connsiteY359" fmla="*/ 1797034 h 2244147"/>
                <a:gd name="connsiteX360" fmla="*/ 2459669 w 2738294"/>
                <a:gd name="connsiteY360" fmla="*/ 1778175 h 2244147"/>
                <a:gd name="connsiteX361" fmla="*/ 2487302 w 2738294"/>
                <a:gd name="connsiteY361" fmla="*/ 1768592 h 2244147"/>
                <a:gd name="connsiteX362" fmla="*/ 2504275 w 2738294"/>
                <a:gd name="connsiteY362" fmla="*/ 1744456 h 2244147"/>
                <a:gd name="connsiteX363" fmla="*/ 2500522 w 2738294"/>
                <a:gd name="connsiteY363" fmla="*/ 1711547 h 2244147"/>
                <a:gd name="connsiteX364" fmla="*/ 2497750 w 2738294"/>
                <a:gd name="connsiteY364" fmla="*/ 1700070 h 2244147"/>
                <a:gd name="connsiteX365" fmla="*/ 2490083 w 2738294"/>
                <a:gd name="connsiteY365" fmla="*/ 1697774 h 2244147"/>
                <a:gd name="connsiteX366" fmla="*/ 2488940 w 2738294"/>
                <a:gd name="connsiteY366" fmla="*/ 1665903 h 2244147"/>
                <a:gd name="connsiteX367" fmla="*/ 2470557 w 2738294"/>
                <a:gd name="connsiteY367" fmla="*/ 1655016 h 2244147"/>
                <a:gd name="connsiteX368" fmla="*/ 2488206 w 2738294"/>
                <a:gd name="connsiteY368" fmla="*/ 1660322 h 2244147"/>
                <a:gd name="connsiteX369" fmla="*/ 2482511 w 2738294"/>
                <a:gd name="connsiteY369" fmla="*/ 1638795 h 2244147"/>
                <a:gd name="connsiteX370" fmla="*/ 2487654 w 2738294"/>
                <a:gd name="connsiteY370" fmla="*/ 1624013 h 2244147"/>
                <a:gd name="connsiteX371" fmla="*/ 2490788 w 2738294"/>
                <a:gd name="connsiteY371" fmla="*/ 1652340 h 2244147"/>
                <a:gd name="connsiteX372" fmla="*/ 2504427 w 2738294"/>
                <a:gd name="connsiteY372" fmla="*/ 1665256 h 2244147"/>
                <a:gd name="connsiteX373" fmla="*/ 2496169 w 2738294"/>
                <a:gd name="connsiteY373" fmla="*/ 1688097 h 2244147"/>
                <a:gd name="connsiteX374" fmla="*/ 2498598 w 2738294"/>
                <a:gd name="connsiteY374" fmla="*/ 1689421 h 2244147"/>
                <a:gd name="connsiteX375" fmla="*/ 2513629 w 2738294"/>
                <a:gd name="connsiteY375" fmla="*/ 1662608 h 2244147"/>
                <a:gd name="connsiteX376" fmla="*/ 2522192 w 2738294"/>
                <a:gd name="connsiteY376" fmla="*/ 1649454 h 2244147"/>
                <a:gd name="connsiteX377" fmla="*/ 2521792 w 2738294"/>
                <a:gd name="connsiteY377" fmla="*/ 1636595 h 2244147"/>
                <a:gd name="connsiteX378" fmla="*/ 2515162 w 2738294"/>
                <a:gd name="connsiteY378" fmla="*/ 1630509 h 2244147"/>
                <a:gd name="connsiteX379" fmla="*/ 2509609 w 2738294"/>
                <a:gd name="connsiteY379" fmla="*/ 1612021 h 2244147"/>
                <a:gd name="connsiteX380" fmla="*/ 2518372 w 2738294"/>
                <a:gd name="connsiteY380" fmla="*/ 1620621 h 2244147"/>
                <a:gd name="connsiteX381" fmla="*/ 2524239 w 2738294"/>
                <a:gd name="connsiteY381" fmla="*/ 1622412 h 2244147"/>
                <a:gd name="connsiteX382" fmla="*/ 2526221 w 2738294"/>
                <a:gd name="connsiteY382" fmla="*/ 1631213 h 2244147"/>
                <a:gd name="connsiteX383" fmla="*/ 2545652 w 2738294"/>
                <a:gd name="connsiteY383" fmla="*/ 1604743 h 2244147"/>
                <a:gd name="connsiteX384" fmla="*/ 2551414 w 2738294"/>
                <a:gd name="connsiteY384" fmla="*/ 1579769 h 2244147"/>
                <a:gd name="connsiteX385" fmla="*/ 2543556 w 2738294"/>
                <a:gd name="connsiteY385" fmla="*/ 1578169 h 2244147"/>
                <a:gd name="connsiteX386" fmla="*/ 2551691 w 2738294"/>
                <a:gd name="connsiteY386" fmla="*/ 1568453 h 2244147"/>
                <a:gd name="connsiteX387" fmla="*/ 2550900 w 2738294"/>
                <a:gd name="connsiteY387" fmla="*/ 1572758 h 2244147"/>
                <a:gd name="connsiteX388" fmla="*/ 2567911 w 2738294"/>
                <a:gd name="connsiteY388" fmla="*/ 1572692 h 2244147"/>
                <a:gd name="connsiteX389" fmla="*/ 2605297 w 2738294"/>
                <a:gd name="connsiteY389" fmla="*/ 1562157 h 2244147"/>
                <a:gd name="connsiteX390" fmla="*/ 2597382 w 2738294"/>
                <a:gd name="connsiteY390" fmla="*/ 1555471 h 2244147"/>
                <a:gd name="connsiteX391" fmla="*/ 2558158 w 2738294"/>
                <a:gd name="connsiteY391" fmla="*/ 1562110 h 2244147"/>
                <a:gd name="connsiteX392" fmla="*/ 2580418 w 2738294"/>
                <a:gd name="connsiteY392" fmla="*/ 1551889 h 2244147"/>
                <a:gd name="connsiteX393" fmla="*/ 2595944 w 2738294"/>
                <a:gd name="connsiteY393" fmla="*/ 1550137 h 2244147"/>
                <a:gd name="connsiteX394" fmla="*/ 2607564 w 2738294"/>
                <a:gd name="connsiteY394" fmla="*/ 1548365 h 2244147"/>
                <a:gd name="connsiteX395" fmla="*/ 2627319 w 2738294"/>
                <a:gd name="connsiteY395" fmla="*/ 1542174 h 2244147"/>
                <a:gd name="connsiteX396" fmla="*/ 2640149 w 2738294"/>
                <a:gd name="connsiteY396" fmla="*/ 1542869 h 2244147"/>
                <a:gd name="connsiteX397" fmla="*/ 2658180 w 2738294"/>
                <a:gd name="connsiteY397" fmla="*/ 1537107 h 2244147"/>
                <a:gd name="connsiteX398" fmla="*/ 2660314 w 2738294"/>
                <a:gd name="connsiteY398" fmla="*/ 1526915 h 2244147"/>
                <a:gd name="connsiteX399" fmla="*/ 2652303 w 2738294"/>
                <a:gd name="connsiteY399" fmla="*/ 1518961 h 2244147"/>
                <a:gd name="connsiteX400" fmla="*/ 2655103 w 2738294"/>
                <a:gd name="connsiteY400" fmla="*/ 1532030 h 2244147"/>
                <a:gd name="connsiteX401" fmla="*/ 2644016 w 2738294"/>
                <a:gd name="connsiteY401" fmla="*/ 1531134 h 2244147"/>
                <a:gd name="connsiteX402" fmla="*/ 2635206 w 2738294"/>
                <a:gd name="connsiteY402" fmla="*/ 1512132 h 2244147"/>
                <a:gd name="connsiteX403" fmla="*/ 2635472 w 2738294"/>
                <a:gd name="connsiteY403" fmla="*/ 1492958 h 2244147"/>
                <a:gd name="connsiteX404" fmla="*/ 2639997 w 2738294"/>
                <a:gd name="connsiteY404" fmla="*/ 1484776 h 2244147"/>
                <a:gd name="connsiteX405" fmla="*/ 2654132 w 2738294"/>
                <a:gd name="connsiteY405" fmla="*/ 1463031 h 2244147"/>
                <a:gd name="connsiteX406" fmla="*/ 2682335 w 2738294"/>
                <a:gd name="connsiteY406" fmla="*/ 1452115 h 2244147"/>
                <a:gd name="connsiteX407" fmla="*/ 2709777 w 2738294"/>
                <a:gd name="connsiteY407" fmla="*/ 1439313 h 2244147"/>
                <a:gd name="connsiteX408" fmla="*/ 2738295 w 2738294"/>
                <a:gd name="connsiteY408" fmla="*/ 1421216 h 2244147"/>
                <a:gd name="connsiteX409" fmla="*/ 2733685 w 2738294"/>
                <a:gd name="connsiteY409" fmla="*/ 1408881 h 2244147"/>
                <a:gd name="connsiteX410" fmla="*/ 2716225 w 2738294"/>
                <a:gd name="connsiteY410" fmla="*/ 1387440 h 2244147"/>
                <a:gd name="connsiteX411" fmla="*/ 2716330 w 2738294"/>
                <a:gd name="connsiteY411" fmla="*/ 1334786 h 2244147"/>
                <a:gd name="connsiteX412" fmla="*/ 434550 w 2738294"/>
                <a:gd name="connsiteY412" fmla="*/ 854259 h 2244147"/>
                <a:gd name="connsiteX413" fmla="*/ 420291 w 2738294"/>
                <a:gd name="connsiteY413" fmla="*/ 861898 h 2244147"/>
                <a:gd name="connsiteX414" fmla="*/ 396030 w 2738294"/>
                <a:gd name="connsiteY414" fmla="*/ 879596 h 2244147"/>
                <a:gd name="connsiteX415" fmla="*/ 400164 w 2738294"/>
                <a:gd name="connsiteY415" fmla="*/ 902656 h 2244147"/>
                <a:gd name="connsiteX416" fmla="*/ 413823 w 2738294"/>
                <a:gd name="connsiteY416" fmla="*/ 915238 h 2244147"/>
                <a:gd name="connsiteX417" fmla="*/ 440493 w 2738294"/>
                <a:gd name="connsiteY417" fmla="*/ 896617 h 2244147"/>
                <a:gd name="connsiteX418" fmla="*/ 463601 w 2738294"/>
                <a:gd name="connsiteY418" fmla="*/ 873138 h 2244147"/>
                <a:gd name="connsiteX419" fmla="*/ 452285 w 2738294"/>
                <a:gd name="connsiteY419" fmla="*/ 857640 h 2244147"/>
                <a:gd name="connsiteX420" fmla="*/ 434550 w 2738294"/>
                <a:gd name="connsiteY420" fmla="*/ 854259 h 2244147"/>
                <a:gd name="connsiteX421" fmla="*/ 0 w 2738294"/>
                <a:gd name="connsiteY421" fmla="*/ 582216 h 2244147"/>
                <a:gd name="connsiteX422" fmla="*/ 19450 w 2738294"/>
                <a:gd name="connsiteY422" fmla="*/ 570233 h 2244147"/>
                <a:gd name="connsiteX423" fmla="*/ 21650 w 2738294"/>
                <a:gd name="connsiteY423" fmla="*/ 563785 h 2244147"/>
                <a:gd name="connsiteX424" fmla="*/ 0 w 2738294"/>
                <a:gd name="connsiteY424" fmla="*/ 557289 h 2244147"/>
                <a:gd name="connsiteX425" fmla="*/ 0 w 2738294"/>
                <a:gd name="connsiteY425" fmla="*/ 582216 h 2244147"/>
                <a:gd name="connsiteX426" fmla="*/ 80982 w 2738294"/>
                <a:gd name="connsiteY426" fmla="*/ 728539 h 2244147"/>
                <a:gd name="connsiteX427" fmla="*/ 54607 w 2738294"/>
                <a:gd name="connsiteY427" fmla="*/ 737749 h 2244147"/>
                <a:gd name="connsiteX428" fmla="*/ 70818 w 2738294"/>
                <a:gd name="connsiteY428" fmla="*/ 752265 h 2244147"/>
                <a:gd name="connsiteX429" fmla="*/ 88325 w 2738294"/>
                <a:gd name="connsiteY429" fmla="*/ 762190 h 2244147"/>
                <a:gd name="connsiteX430" fmla="*/ 104718 w 2738294"/>
                <a:gd name="connsiteY430" fmla="*/ 753932 h 2244147"/>
                <a:gd name="connsiteX431" fmla="*/ 102165 w 2738294"/>
                <a:gd name="connsiteY431" fmla="*/ 733415 h 2244147"/>
                <a:gd name="connsiteX432" fmla="*/ 80982 w 2738294"/>
                <a:gd name="connsiteY432" fmla="*/ 728539 h 2244147"/>
                <a:gd name="connsiteX433" fmla="*/ 1008174 w 2738294"/>
                <a:gd name="connsiteY433" fmla="*/ 1038101 h 2244147"/>
                <a:gd name="connsiteX434" fmla="*/ 982542 w 2738294"/>
                <a:gd name="connsiteY434" fmla="*/ 1041730 h 2244147"/>
                <a:gd name="connsiteX435" fmla="*/ 969988 w 2738294"/>
                <a:gd name="connsiteY435" fmla="*/ 1035825 h 2244147"/>
                <a:gd name="connsiteX436" fmla="*/ 968397 w 2738294"/>
                <a:gd name="connsiteY436" fmla="*/ 1050284 h 2244147"/>
                <a:gd name="connsiteX437" fmla="*/ 973341 w 2738294"/>
                <a:gd name="connsiteY437" fmla="*/ 1070039 h 2244147"/>
                <a:gd name="connsiteX438" fmla="*/ 986819 w 2738294"/>
                <a:gd name="connsiteY438" fmla="*/ 1083907 h 2244147"/>
                <a:gd name="connsiteX439" fmla="*/ 996687 w 2738294"/>
                <a:gd name="connsiteY439" fmla="*/ 1104224 h 2244147"/>
                <a:gd name="connsiteX440" fmla="*/ 1012774 w 2738294"/>
                <a:gd name="connsiteY440" fmla="*/ 1124198 h 2244147"/>
                <a:gd name="connsiteX441" fmla="*/ 1023423 w 2738294"/>
                <a:gd name="connsiteY441" fmla="*/ 1124283 h 2244147"/>
                <a:gd name="connsiteX442" fmla="*/ 1000182 w 2738294"/>
                <a:gd name="connsiteY442" fmla="*/ 1089022 h 2244147"/>
                <a:gd name="connsiteX443" fmla="*/ 1008174 w 2738294"/>
                <a:gd name="connsiteY443" fmla="*/ 1038101 h 2244147"/>
                <a:gd name="connsiteX444" fmla="*/ 353673 w 2738294"/>
                <a:gd name="connsiteY444" fmla="*/ 2187626 h 2244147"/>
                <a:gd name="connsiteX445" fmla="*/ 344176 w 2738294"/>
                <a:gd name="connsiteY445" fmla="*/ 2184921 h 2244147"/>
                <a:gd name="connsiteX446" fmla="*/ 341567 w 2738294"/>
                <a:gd name="connsiteY446" fmla="*/ 2187359 h 2244147"/>
                <a:gd name="connsiteX447" fmla="*/ 341805 w 2738294"/>
                <a:gd name="connsiteY447" fmla="*/ 2189131 h 2244147"/>
                <a:gd name="connsiteX448" fmla="*/ 344872 w 2738294"/>
                <a:gd name="connsiteY448" fmla="*/ 2191445 h 2244147"/>
                <a:gd name="connsiteX449" fmla="*/ 349472 w 2738294"/>
                <a:gd name="connsiteY449" fmla="*/ 2197417 h 2244147"/>
                <a:gd name="connsiteX450" fmla="*/ 358426 w 2738294"/>
                <a:gd name="connsiteY450" fmla="*/ 2195389 h 2244147"/>
                <a:gd name="connsiteX451" fmla="*/ 360655 w 2738294"/>
                <a:gd name="connsiteY451" fmla="*/ 2191988 h 2244147"/>
                <a:gd name="connsiteX452" fmla="*/ 353673 w 2738294"/>
                <a:gd name="connsiteY452" fmla="*/ 2187626 h 2244147"/>
                <a:gd name="connsiteX453" fmla="*/ 325145 w 2738294"/>
                <a:gd name="connsiteY453" fmla="*/ 2182492 h 2244147"/>
                <a:gd name="connsiteX454" fmla="*/ 339452 w 2738294"/>
                <a:gd name="connsiteY454" fmla="*/ 2183321 h 2244147"/>
                <a:gd name="connsiteX455" fmla="*/ 340281 w 2738294"/>
                <a:gd name="connsiteY455" fmla="*/ 2180244 h 2244147"/>
                <a:gd name="connsiteX456" fmla="*/ 327136 w 2738294"/>
                <a:gd name="connsiteY456" fmla="*/ 2179025 h 2244147"/>
                <a:gd name="connsiteX457" fmla="*/ 325145 w 2738294"/>
                <a:gd name="connsiteY457" fmla="*/ 2182492 h 2244147"/>
                <a:gd name="connsiteX458" fmla="*/ 381248 w 2738294"/>
                <a:gd name="connsiteY458" fmla="*/ 2213820 h 2244147"/>
                <a:gd name="connsiteX459" fmla="*/ 376504 w 2738294"/>
                <a:gd name="connsiteY459" fmla="*/ 2211372 h 2244147"/>
                <a:gd name="connsiteX460" fmla="*/ 366274 w 2738294"/>
                <a:gd name="connsiteY460" fmla="*/ 2206600 h 2244147"/>
                <a:gd name="connsiteX461" fmla="*/ 364246 w 2738294"/>
                <a:gd name="connsiteY461" fmla="*/ 2206076 h 2244147"/>
                <a:gd name="connsiteX462" fmla="*/ 362693 w 2738294"/>
                <a:gd name="connsiteY462" fmla="*/ 2208714 h 2244147"/>
                <a:gd name="connsiteX463" fmla="*/ 364531 w 2738294"/>
                <a:gd name="connsiteY463" fmla="*/ 2214267 h 2244147"/>
                <a:gd name="connsiteX464" fmla="*/ 359893 w 2738294"/>
                <a:gd name="connsiteY464" fmla="*/ 2218868 h 2244147"/>
                <a:gd name="connsiteX465" fmla="*/ 358559 w 2738294"/>
                <a:gd name="connsiteY465" fmla="*/ 2222011 h 2244147"/>
                <a:gd name="connsiteX466" fmla="*/ 362979 w 2738294"/>
                <a:gd name="connsiteY466" fmla="*/ 2232270 h 2244147"/>
                <a:gd name="connsiteX467" fmla="*/ 362217 w 2738294"/>
                <a:gd name="connsiteY467" fmla="*/ 2240128 h 2244147"/>
                <a:gd name="connsiteX468" fmla="*/ 368846 w 2738294"/>
                <a:gd name="connsiteY468" fmla="*/ 2244147 h 2244147"/>
                <a:gd name="connsiteX469" fmla="*/ 372751 w 2738294"/>
                <a:gd name="connsiteY469" fmla="*/ 2239452 h 2244147"/>
                <a:gd name="connsiteX470" fmla="*/ 381295 w 2738294"/>
                <a:gd name="connsiteY470" fmla="*/ 2235061 h 2244147"/>
                <a:gd name="connsiteX471" fmla="*/ 391735 w 2738294"/>
                <a:gd name="connsiteY471" fmla="*/ 2229050 h 2244147"/>
                <a:gd name="connsiteX472" fmla="*/ 392373 w 2738294"/>
                <a:gd name="connsiteY472" fmla="*/ 2227488 h 2244147"/>
                <a:gd name="connsiteX473" fmla="*/ 385572 w 2738294"/>
                <a:gd name="connsiteY473" fmla="*/ 2217611 h 2244147"/>
                <a:gd name="connsiteX474" fmla="*/ 381248 w 2738294"/>
                <a:gd name="connsiteY474" fmla="*/ 2213820 h 2244147"/>
                <a:gd name="connsiteX475" fmla="*/ 306457 w 2738294"/>
                <a:gd name="connsiteY475" fmla="*/ 2164833 h 2244147"/>
                <a:gd name="connsiteX476" fmla="*/ 299314 w 2738294"/>
                <a:gd name="connsiteY476" fmla="*/ 2168776 h 2244147"/>
                <a:gd name="connsiteX477" fmla="*/ 300352 w 2738294"/>
                <a:gd name="connsiteY477" fmla="*/ 2169919 h 2244147"/>
                <a:gd name="connsiteX478" fmla="*/ 303743 w 2738294"/>
                <a:gd name="connsiteY478" fmla="*/ 2176386 h 2244147"/>
                <a:gd name="connsiteX479" fmla="*/ 313039 w 2738294"/>
                <a:gd name="connsiteY479" fmla="*/ 2177386 h 2244147"/>
                <a:gd name="connsiteX480" fmla="*/ 314954 w 2738294"/>
                <a:gd name="connsiteY480" fmla="*/ 2177758 h 2244147"/>
                <a:gd name="connsiteX481" fmla="*/ 316401 w 2738294"/>
                <a:gd name="connsiteY481" fmla="*/ 2176110 h 2244147"/>
                <a:gd name="connsiteX482" fmla="*/ 308686 w 2738294"/>
                <a:gd name="connsiteY482" fmla="*/ 2166680 h 2244147"/>
                <a:gd name="connsiteX483" fmla="*/ 306457 w 2738294"/>
                <a:gd name="connsiteY483" fmla="*/ 2164833 h 2244147"/>
                <a:gd name="connsiteX484" fmla="*/ 264500 w 2738294"/>
                <a:gd name="connsiteY484" fmla="*/ 2149964 h 2244147"/>
                <a:gd name="connsiteX485" fmla="*/ 260423 w 2738294"/>
                <a:gd name="connsiteY485" fmla="*/ 2152774 h 2244147"/>
                <a:gd name="connsiteX486" fmla="*/ 259042 w 2738294"/>
                <a:gd name="connsiteY486" fmla="*/ 2154860 h 2244147"/>
                <a:gd name="connsiteX487" fmla="*/ 268034 w 2738294"/>
                <a:gd name="connsiteY487" fmla="*/ 2160080 h 2244147"/>
                <a:gd name="connsiteX488" fmla="*/ 271205 w 2738294"/>
                <a:gd name="connsiteY488" fmla="*/ 2157251 h 2244147"/>
                <a:gd name="connsiteX489" fmla="*/ 270653 w 2738294"/>
                <a:gd name="connsiteY489" fmla="*/ 2150574 h 2244147"/>
                <a:gd name="connsiteX490" fmla="*/ 264500 w 2738294"/>
                <a:gd name="connsiteY490" fmla="*/ 2149964 h 224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</a:cxnLst>
              <a:rect l="l" t="t" r="r" b="b"/>
              <a:pathLst>
                <a:path w="2738294" h="2244147">
                  <a:moveTo>
                    <a:pt x="1040597" y="1006792"/>
                  </a:moveTo>
                  <a:lnTo>
                    <a:pt x="1040597" y="1006792"/>
                  </a:lnTo>
                  <a:lnTo>
                    <a:pt x="1025909" y="989324"/>
                  </a:lnTo>
                  <a:lnTo>
                    <a:pt x="1002373" y="974379"/>
                  </a:lnTo>
                  <a:lnTo>
                    <a:pt x="994820" y="932888"/>
                  </a:lnTo>
                  <a:lnTo>
                    <a:pt x="960387" y="893540"/>
                  </a:lnTo>
                  <a:lnTo>
                    <a:pt x="945994" y="846506"/>
                  </a:lnTo>
                  <a:lnTo>
                    <a:pt x="920353" y="843239"/>
                  </a:lnTo>
                  <a:lnTo>
                    <a:pt x="877891" y="842000"/>
                  </a:lnTo>
                  <a:lnTo>
                    <a:pt x="846592" y="827379"/>
                  </a:lnTo>
                  <a:lnTo>
                    <a:pt x="791375" y="773630"/>
                  </a:lnTo>
                  <a:lnTo>
                    <a:pt x="765801" y="763629"/>
                  </a:lnTo>
                  <a:lnTo>
                    <a:pt x="719080" y="744645"/>
                  </a:lnTo>
                  <a:lnTo>
                    <a:pt x="682104" y="749198"/>
                  </a:lnTo>
                  <a:lnTo>
                    <a:pt x="629583" y="724529"/>
                  </a:lnTo>
                  <a:lnTo>
                    <a:pt x="597837" y="701335"/>
                  </a:lnTo>
                  <a:lnTo>
                    <a:pt x="568195" y="712889"/>
                  </a:lnTo>
                  <a:lnTo>
                    <a:pt x="573700" y="750303"/>
                  </a:lnTo>
                  <a:lnTo>
                    <a:pt x="558937" y="753713"/>
                  </a:lnTo>
                  <a:lnTo>
                    <a:pt x="528037" y="764772"/>
                  </a:lnTo>
                  <a:lnTo>
                    <a:pt x="504530" y="782517"/>
                  </a:lnTo>
                  <a:lnTo>
                    <a:pt x="474936" y="793594"/>
                  </a:lnTo>
                  <a:lnTo>
                    <a:pt x="471116" y="762686"/>
                  </a:lnTo>
                  <a:lnTo>
                    <a:pt x="483127" y="710003"/>
                  </a:lnTo>
                  <a:lnTo>
                    <a:pt x="511502" y="693134"/>
                  </a:lnTo>
                  <a:lnTo>
                    <a:pt x="504177" y="679266"/>
                  </a:lnTo>
                  <a:lnTo>
                    <a:pt x="470135" y="709917"/>
                  </a:lnTo>
                  <a:lnTo>
                    <a:pt x="451904" y="745836"/>
                  </a:lnTo>
                  <a:lnTo>
                    <a:pt x="413423" y="783431"/>
                  </a:lnTo>
                  <a:lnTo>
                    <a:pt x="432968" y="808644"/>
                  </a:lnTo>
                  <a:lnTo>
                    <a:pt x="407727" y="845306"/>
                  </a:lnTo>
                  <a:lnTo>
                    <a:pt x="379019" y="866327"/>
                  </a:lnTo>
                  <a:lnTo>
                    <a:pt x="352292" y="881491"/>
                  </a:lnTo>
                  <a:lnTo>
                    <a:pt x="345681" y="903275"/>
                  </a:lnTo>
                  <a:lnTo>
                    <a:pt x="303990" y="928364"/>
                  </a:lnTo>
                  <a:lnTo>
                    <a:pt x="295551" y="950871"/>
                  </a:lnTo>
                  <a:lnTo>
                    <a:pt x="264300" y="971131"/>
                  </a:lnTo>
                  <a:lnTo>
                    <a:pt x="245974" y="967502"/>
                  </a:lnTo>
                  <a:lnTo>
                    <a:pt x="221047" y="980618"/>
                  </a:lnTo>
                  <a:lnTo>
                    <a:pt x="193948" y="996515"/>
                  </a:lnTo>
                  <a:lnTo>
                    <a:pt x="171736" y="1012003"/>
                  </a:lnTo>
                  <a:lnTo>
                    <a:pt x="125901" y="1025119"/>
                  </a:lnTo>
                  <a:lnTo>
                    <a:pt x="121720" y="1017413"/>
                  </a:lnTo>
                  <a:lnTo>
                    <a:pt x="150933" y="995810"/>
                  </a:lnTo>
                  <a:lnTo>
                    <a:pt x="177060" y="981399"/>
                  </a:lnTo>
                  <a:lnTo>
                    <a:pt x="205530" y="955586"/>
                  </a:lnTo>
                  <a:lnTo>
                    <a:pt x="238658" y="950205"/>
                  </a:lnTo>
                  <a:lnTo>
                    <a:pt x="251831" y="930554"/>
                  </a:lnTo>
                  <a:lnTo>
                    <a:pt x="288846" y="901475"/>
                  </a:lnTo>
                  <a:lnTo>
                    <a:pt x="294808" y="891645"/>
                  </a:lnTo>
                  <a:lnTo>
                    <a:pt x="314525" y="874185"/>
                  </a:lnTo>
                  <a:lnTo>
                    <a:pt x="319135" y="836085"/>
                  </a:lnTo>
                  <a:lnTo>
                    <a:pt x="332718" y="805853"/>
                  </a:lnTo>
                  <a:lnTo>
                    <a:pt x="301923" y="821436"/>
                  </a:lnTo>
                  <a:lnTo>
                    <a:pt x="293313" y="812606"/>
                  </a:lnTo>
                  <a:lnTo>
                    <a:pt x="278854" y="831218"/>
                  </a:lnTo>
                  <a:lnTo>
                    <a:pt x="261414" y="805215"/>
                  </a:lnTo>
                  <a:lnTo>
                    <a:pt x="254213" y="823655"/>
                  </a:lnTo>
                  <a:lnTo>
                    <a:pt x="244231" y="797985"/>
                  </a:lnTo>
                  <a:lnTo>
                    <a:pt x="217532" y="818626"/>
                  </a:lnTo>
                  <a:lnTo>
                    <a:pt x="201139" y="818588"/>
                  </a:lnTo>
                  <a:lnTo>
                    <a:pt x="198834" y="787803"/>
                  </a:lnTo>
                  <a:lnTo>
                    <a:pt x="203664" y="768563"/>
                  </a:lnTo>
                  <a:lnTo>
                    <a:pt x="186461" y="749684"/>
                  </a:lnTo>
                  <a:lnTo>
                    <a:pt x="151733" y="759876"/>
                  </a:lnTo>
                  <a:lnTo>
                    <a:pt x="129197" y="734816"/>
                  </a:lnTo>
                  <a:lnTo>
                    <a:pt x="110928" y="721871"/>
                  </a:lnTo>
                  <a:lnTo>
                    <a:pt x="110814" y="690915"/>
                  </a:lnTo>
                  <a:lnTo>
                    <a:pt x="90230" y="667264"/>
                  </a:lnTo>
                  <a:lnTo>
                    <a:pt x="100565" y="634832"/>
                  </a:lnTo>
                  <a:lnTo>
                    <a:pt x="122339" y="602751"/>
                  </a:lnTo>
                  <a:lnTo>
                    <a:pt x="131864" y="572710"/>
                  </a:lnTo>
                  <a:lnTo>
                    <a:pt x="153476" y="568385"/>
                  </a:lnTo>
                  <a:lnTo>
                    <a:pt x="171802" y="577834"/>
                  </a:lnTo>
                  <a:lnTo>
                    <a:pt x="193348" y="549192"/>
                  </a:lnTo>
                  <a:lnTo>
                    <a:pt x="212741" y="554345"/>
                  </a:lnTo>
                  <a:lnTo>
                    <a:pt x="233096" y="535724"/>
                  </a:lnTo>
                  <a:lnTo>
                    <a:pt x="228133" y="507940"/>
                  </a:lnTo>
                  <a:lnTo>
                    <a:pt x="213179" y="496862"/>
                  </a:lnTo>
                  <a:lnTo>
                    <a:pt x="232953" y="472869"/>
                  </a:lnTo>
                  <a:lnTo>
                    <a:pt x="216551" y="473583"/>
                  </a:lnTo>
                  <a:lnTo>
                    <a:pt x="188214" y="487166"/>
                  </a:lnTo>
                  <a:lnTo>
                    <a:pt x="180080" y="500824"/>
                  </a:lnTo>
                  <a:lnTo>
                    <a:pt x="159020" y="487185"/>
                  </a:lnTo>
                  <a:lnTo>
                    <a:pt x="121244" y="494128"/>
                  </a:lnTo>
                  <a:lnTo>
                    <a:pt x="82134" y="479241"/>
                  </a:lnTo>
                  <a:lnTo>
                    <a:pt x="70923" y="453961"/>
                  </a:lnTo>
                  <a:lnTo>
                    <a:pt x="37128" y="416757"/>
                  </a:lnTo>
                  <a:lnTo>
                    <a:pt x="74657" y="389449"/>
                  </a:lnTo>
                  <a:lnTo>
                    <a:pt x="134226" y="356997"/>
                  </a:lnTo>
                  <a:lnTo>
                    <a:pt x="156181" y="356997"/>
                  </a:lnTo>
                  <a:lnTo>
                    <a:pt x="152543" y="390182"/>
                  </a:lnTo>
                  <a:lnTo>
                    <a:pt x="208912" y="387620"/>
                  </a:lnTo>
                  <a:lnTo>
                    <a:pt x="187233" y="346291"/>
                  </a:lnTo>
                  <a:lnTo>
                    <a:pt x="154381" y="320364"/>
                  </a:lnTo>
                  <a:lnTo>
                    <a:pt x="135388" y="285702"/>
                  </a:lnTo>
                  <a:lnTo>
                    <a:pt x="109766" y="255546"/>
                  </a:lnTo>
                  <a:lnTo>
                    <a:pt x="73066" y="232829"/>
                  </a:lnTo>
                  <a:lnTo>
                    <a:pt x="88011" y="194462"/>
                  </a:lnTo>
                  <a:lnTo>
                    <a:pt x="135388" y="192053"/>
                  </a:lnTo>
                  <a:lnTo>
                    <a:pt x="169097" y="157905"/>
                  </a:lnTo>
                  <a:lnTo>
                    <a:pt x="175451" y="120596"/>
                  </a:lnTo>
                  <a:lnTo>
                    <a:pt x="202730" y="83344"/>
                  </a:lnTo>
                  <a:lnTo>
                    <a:pt x="228743" y="74247"/>
                  </a:lnTo>
                  <a:lnTo>
                    <a:pt x="279368" y="38452"/>
                  </a:lnTo>
                  <a:lnTo>
                    <a:pt x="303924" y="43901"/>
                  </a:lnTo>
                  <a:lnTo>
                    <a:pt x="345024" y="0"/>
                  </a:lnTo>
                  <a:lnTo>
                    <a:pt x="385429" y="17440"/>
                  </a:lnTo>
                  <a:lnTo>
                    <a:pt x="404755" y="54292"/>
                  </a:lnTo>
                  <a:lnTo>
                    <a:pt x="416624" y="38595"/>
                  </a:lnTo>
                  <a:lnTo>
                    <a:pt x="461753" y="43482"/>
                  </a:lnTo>
                  <a:lnTo>
                    <a:pt x="460153" y="62065"/>
                  </a:lnTo>
                  <a:lnTo>
                    <a:pt x="501015" y="75667"/>
                  </a:lnTo>
                  <a:lnTo>
                    <a:pt x="528257" y="67685"/>
                  </a:lnTo>
                  <a:lnTo>
                    <a:pt x="584521" y="92783"/>
                  </a:lnTo>
                  <a:lnTo>
                    <a:pt x="635889" y="100174"/>
                  </a:lnTo>
                  <a:lnTo>
                    <a:pt x="656453" y="110347"/>
                  </a:lnTo>
                  <a:lnTo>
                    <a:pt x="691991" y="97631"/>
                  </a:lnTo>
                  <a:lnTo>
                    <a:pt x="732501" y="121082"/>
                  </a:lnTo>
                  <a:lnTo>
                    <a:pt x="761514" y="131893"/>
                  </a:lnTo>
                  <a:lnTo>
                    <a:pt x="761333" y="395240"/>
                  </a:lnTo>
                  <a:lnTo>
                    <a:pt x="761190" y="732711"/>
                  </a:lnTo>
                  <a:lnTo>
                    <a:pt x="787489" y="734301"/>
                  </a:lnTo>
                  <a:lnTo>
                    <a:pt x="813502" y="749122"/>
                  </a:lnTo>
                  <a:lnTo>
                    <a:pt x="832152" y="772325"/>
                  </a:lnTo>
                  <a:lnTo>
                    <a:pt x="855878" y="806577"/>
                  </a:lnTo>
                  <a:lnTo>
                    <a:pt x="881863" y="777488"/>
                  </a:lnTo>
                  <a:lnTo>
                    <a:pt x="908676" y="760409"/>
                  </a:lnTo>
                  <a:lnTo>
                    <a:pt x="922849" y="787603"/>
                  </a:lnTo>
                  <a:lnTo>
                    <a:pt x="940841" y="808834"/>
                  </a:lnTo>
                  <a:lnTo>
                    <a:pt x="965292" y="831923"/>
                  </a:lnTo>
                  <a:lnTo>
                    <a:pt x="981989" y="868061"/>
                  </a:lnTo>
                  <a:lnTo>
                    <a:pt x="1009298" y="924077"/>
                  </a:lnTo>
                  <a:lnTo>
                    <a:pt x="1054703" y="954596"/>
                  </a:lnTo>
                  <a:lnTo>
                    <a:pt x="1055446" y="984352"/>
                  </a:lnTo>
                  <a:lnTo>
                    <a:pt x="1040597" y="1006792"/>
                  </a:lnTo>
                  <a:close/>
                  <a:moveTo>
                    <a:pt x="2716330" y="1334786"/>
                  </a:moveTo>
                  <a:lnTo>
                    <a:pt x="2704471" y="1323480"/>
                  </a:lnTo>
                  <a:lnTo>
                    <a:pt x="2686564" y="1330147"/>
                  </a:lnTo>
                  <a:lnTo>
                    <a:pt x="2677687" y="1319832"/>
                  </a:lnTo>
                  <a:lnTo>
                    <a:pt x="2657313" y="1349330"/>
                  </a:lnTo>
                  <a:lnTo>
                    <a:pt x="2649169" y="1379315"/>
                  </a:lnTo>
                  <a:lnTo>
                    <a:pt x="2639692" y="1396651"/>
                  </a:lnTo>
                  <a:lnTo>
                    <a:pt x="2628348" y="1402518"/>
                  </a:lnTo>
                  <a:lnTo>
                    <a:pt x="2619804" y="1404423"/>
                  </a:lnTo>
                  <a:lnTo>
                    <a:pt x="2617127" y="1413738"/>
                  </a:lnTo>
                  <a:lnTo>
                    <a:pt x="2567911" y="1413767"/>
                  </a:lnTo>
                  <a:lnTo>
                    <a:pt x="2527335" y="1414024"/>
                  </a:lnTo>
                  <a:lnTo>
                    <a:pt x="2515286" y="1420939"/>
                  </a:lnTo>
                  <a:lnTo>
                    <a:pt x="2487949" y="1446943"/>
                  </a:lnTo>
                  <a:lnTo>
                    <a:pt x="2490683" y="1452124"/>
                  </a:lnTo>
                  <a:lnTo>
                    <a:pt x="2492264" y="1466469"/>
                  </a:lnTo>
                  <a:lnTo>
                    <a:pt x="2472233" y="1478566"/>
                  </a:lnTo>
                  <a:lnTo>
                    <a:pt x="2450354" y="1475537"/>
                  </a:lnTo>
                  <a:lnTo>
                    <a:pt x="2429361" y="1474175"/>
                  </a:lnTo>
                  <a:lnTo>
                    <a:pt x="2416712" y="1478356"/>
                  </a:lnTo>
                  <a:lnTo>
                    <a:pt x="2419083" y="1489310"/>
                  </a:lnTo>
                  <a:lnTo>
                    <a:pt x="2419083" y="1489329"/>
                  </a:lnTo>
                  <a:lnTo>
                    <a:pt x="2419607" y="1492882"/>
                  </a:lnTo>
                  <a:lnTo>
                    <a:pt x="2396595" y="1514456"/>
                  </a:lnTo>
                  <a:lnTo>
                    <a:pt x="2376450" y="1524829"/>
                  </a:lnTo>
                  <a:lnTo>
                    <a:pt x="2362705" y="1529648"/>
                  </a:lnTo>
                  <a:lnTo>
                    <a:pt x="2346884" y="1539507"/>
                  </a:lnTo>
                  <a:lnTo>
                    <a:pt x="2327548" y="1544231"/>
                  </a:lnTo>
                  <a:lnTo>
                    <a:pt x="2314232" y="1542412"/>
                  </a:lnTo>
                  <a:lnTo>
                    <a:pt x="2297764" y="1535058"/>
                  </a:lnTo>
                  <a:lnTo>
                    <a:pt x="2306917" y="1521257"/>
                  </a:lnTo>
                  <a:lnTo>
                    <a:pt x="2312794" y="1508674"/>
                  </a:lnTo>
                  <a:lnTo>
                    <a:pt x="2325348" y="1488757"/>
                  </a:lnTo>
                  <a:lnTo>
                    <a:pt x="2324014" y="1473794"/>
                  </a:lnTo>
                  <a:lnTo>
                    <a:pt x="2319204" y="1452448"/>
                  </a:lnTo>
                  <a:lnTo>
                    <a:pt x="2309327" y="1448753"/>
                  </a:lnTo>
                  <a:lnTo>
                    <a:pt x="2292772" y="1464993"/>
                  </a:lnTo>
                  <a:lnTo>
                    <a:pt x="2287467" y="1464688"/>
                  </a:lnTo>
                  <a:lnTo>
                    <a:pt x="2286095" y="1455410"/>
                  </a:lnTo>
                  <a:lnTo>
                    <a:pt x="2300783" y="1440589"/>
                  </a:lnTo>
                  <a:lnTo>
                    <a:pt x="2303221" y="1423578"/>
                  </a:lnTo>
                  <a:lnTo>
                    <a:pt x="2301050" y="1406490"/>
                  </a:lnTo>
                  <a:lnTo>
                    <a:pt x="2281285" y="1391707"/>
                  </a:lnTo>
                  <a:lnTo>
                    <a:pt x="2258587" y="1384087"/>
                  </a:lnTo>
                  <a:lnTo>
                    <a:pt x="2254853" y="1398546"/>
                  </a:lnTo>
                  <a:lnTo>
                    <a:pt x="2248967" y="1402404"/>
                  </a:lnTo>
                  <a:lnTo>
                    <a:pt x="2244242" y="1421006"/>
                  </a:lnTo>
                  <a:lnTo>
                    <a:pt x="2241766" y="1408386"/>
                  </a:lnTo>
                  <a:lnTo>
                    <a:pt x="2231089" y="1417406"/>
                  </a:lnTo>
                  <a:lnTo>
                    <a:pt x="2224421" y="1429988"/>
                  </a:lnTo>
                  <a:lnTo>
                    <a:pt x="2217458" y="1448238"/>
                  </a:lnTo>
                  <a:lnTo>
                    <a:pt x="2216125" y="1463907"/>
                  </a:lnTo>
                  <a:lnTo>
                    <a:pt x="2224983" y="1486538"/>
                  </a:lnTo>
                  <a:lnTo>
                    <a:pt x="2224250" y="1510427"/>
                  </a:lnTo>
                  <a:lnTo>
                    <a:pt x="2213410" y="1527915"/>
                  </a:lnTo>
                  <a:lnTo>
                    <a:pt x="2208000" y="1532849"/>
                  </a:lnTo>
                  <a:lnTo>
                    <a:pt x="2200789" y="1536773"/>
                  </a:lnTo>
                  <a:lnTo>
                    <a:pt x="2191712" y="1536973"/>
                  </a:lnTo>
                  <a:lnTo>
                    <a:pt x="2189255" y="1534563"/>
                  </a:lnTo>
                  <a:lnTo>
                    <a:pt x="2182063" y="1515751"/>
                  </a:lnTo>
                  <a:lnTo>
                    <a:pt x="2181854" y="1506398"/>
                  </a:lnTo>
                  <a:lnTo>
                    <a:pt x="2182568" y="1497473"/>
                  </a:lnTo>
                  <a:lnTo>
                    <a:pt x="2179215" y="1479661"/>
                  </a:lnTo>
                  <a:lnTo>
                    <a:pt x="2184292" y="1458887"/>
                  </a:lnTo>
                  <a:lnTo>
                    <a:pt x="2190322" y="1433046"/>
                  </a:lnTo>
                  <a:lnTo>
                    <a:pt x="2204180" y="1404137"/>
                  </a:lnTo>
                  <a:lnTo>
                    <a:pt x="2200161" y="1404271"/>
                  </a:lnTo>
                  <a:lnTo>
                    <a:pt x="2180539" y="1428493"/>
                  </a:lnTo>
                  <a:lnTo>
                    <a:pt x="2176920" y="1424073"/>
                  </a:lnTo>
                  <a:lnTo>
                    <a:pt x="2187388" y="1410529"/>
                  </a:lnTo>
                  <a:lnTo>
                    <a:pt x="2203314" y="1386021"/>
                  </a:lnTo>
                  <a:lnTo>
                    <a:pt x="2221478" y="1382582"/>
                  </a:lnTo>
                  <a:lnTo>
                    <a:pt x="2242309" y="1374924"/>
                  </a:lnTo>
                  <a:lnTo>
                    <a:pt x="2263312" y="1378963"/>
                  </a:lnTo>
                  <a:lnTo>
                    <a:pt x="2264207" y="1379134"/>
                  </a:lnTo>
                  <a:lnTo>
                    <a:pt x="2287734" y="1375677"/>
                  </a:lnTo>
                  <a:lnTo>
                    <a:pt x="2274446" y="1360351"/>
                  </a:lnTo>
                  <a:lnTo>
                    <a:pt x="2267284" y="1359160"/>
                  </a:lnTo>
                  <a:lnTo>
                    <a:pt x="2259140" y="1357598"/>
                  </a:lnTo>
                  <a:lnTo>
                    <a:pt x="2253529" y="1346740"/>
                  </a:lnTo>
                  <a:lnTo>
                    <a:pt x="2227288" y="1350131"/>
                  </a:lnTo>
                  <a:lnTo>
                    <a:pt x="2203590" y="1358751"/>
                  </a:lnTo>
                  <a:lnTo>
                    <a:pt x="2184778" y="1343978"/>
                  </a:lnTo>
                  <a:lnTo>
                    <a:pt x="2169643" y="1339015"/>
                  </a:lnTo>
                  <a:lnTo>
                    <a:pt x="2178225" y="1318346"/>
                  </a:lnTo>
                  <a:lnTo>
                    <a:pt x="2154650" y="1331347"/>
                  </a:lnTo>
                  <a:lnTo>
                    <a:pt x="2133219" y="1343997"/>
                  </a:lnTo>
                  <a:lnTo>
                    <a:pt x="2112597" y="1353874"/>
                  </a:lnTo>
                  <a:lnTo>
                    <a:pt x="2096224" y="1340530"/>
                  </a:lnTo>
                  <a:lnTo>
                    <a:pt x="2069468" y="1348635"/>
                  </a:lnTo>
                  <a:lnTo>
                    <a:pt x="2069554" y="1342930"/>
                  </a:lnTo>
                  <a:lnTo>
                    <a:pt x="2087680" y="1326451"/>
                  </a:lnTo>
                  <a:lnTo>
                    <a:pt x="2106644" y="1310697"/>
                  </a:lnTo>
                  <a:lnTo>
                    <a:pt x="2133886" y="1297600"/>
                  </a:lnTo>
                  <a:lnTo>
                    <a:pt x="2101034" y="1287228"/>
                  </a:lnTo>
                  <a:lnTo>
                    <a:pt x="2079403" y="1292419"/>
                  </a:lnTo>
                  <a:lnTo>
                    <a:pt x="2053495" y="1280008"/>
                  </a:lnTo>
                  <a:lnTo>
                    <a:pt x="2026225" y="1273607"/>
                  </a:lnTo>
                  <a:lnTo>
                    <a:pt x="2007575" y="1271130"/>
                  </a:lnTo>
                  <a:lnTo>
                    <a:pt x="1999269" y="1264291"/>
                  </a:lnTo>
                  <a:lnTo>
                    <a:pt x="1994526" y="1241955"/>
                  </a:lnTo>
                  <a:lnTo>
                    <a:pt x="1985486" y="1242155"/>
                  </a:lnTo>
                  <a:lnTo>
                    <a:pt x="1985410" y="1257814"/>
                  </a:lnTo>
                  <a:lnTo>
                    <a:pt x="1930137" y="1257786"/>
                  </a:lnTo>
                  <a:lnTo>
                    <a:pt x="1838763" y="1257814"/>
                  </a:lnTo>
                  <a:lnTo>
                    <a:pt x="1748009" y="1257814"/>
                  </a:lnTo>
                  <a:lnTo>
                    <a:pt x="1667837" y="1257814"/>
                  </a:lnTo>
                  <a:lnTo>
                    <a:pt x="1587713" y="1257814"/>
                  </a:lnTo>
                  <a:lnTo>
                    <a:pt x="1508932" y="1257814"/>
                  </a:lnTo>
                  <a:lnTo>
                    <a:pt x="1427531" y="1257814"/>
                  </a:lnTo>
                  <a:lnTo>
                    <a:pt x="1401280" y="1257814"/>
                  </a:lnTo>
                  <a:lnTo>
                    <a:pt x="1321994" y="1257814"/>
                  </a:lnTo>
                  <a:lnTo>
                    <a:pt x="1246146" y="1257814"/>
                  </a:lnTo>
                  <a:lnTo>
                    <a:pt x="1255233" y="1290828"/>
                  </a:lnTo>
                  <a:lnTo>
                    <a:pt x="1259500" y="1323308"/>
                  </a:lnTo>
                  <a:lnTo>
                    <a:pt x="1252899" y="1333662"/>
                  </a:lnTo>
                  <a:lnTo>
                    <a:pt x="1238669" y="1296410"/>
                  </a:lnTo>
                  <a:lnTo>
                    <a:pt x="1200045" y="1282837"/>
                  </a:lnTo>
                  <a:lnTo>
                    <a:pt x="1196816" y="1290647"/>
                  </a:lnTo>
                  <a:lnTo>
                    <a:pt x="1204598" y="1309106"/>
                  </a:lnTo>
                  <a:lnTo>
                    <a:pt x="1213037" y="1342682"/>
                  </a:lnTo>
                  <a:lnTo>
                    <a:pt x="1217857" y="1394270"/>
                  </a:lnTo>
                  <a:lnTo>
                    <a:pt x="1214609" y="1428474"/>
                  </a:lnTo>
                  <a:lnTo>
                    <a:pt x="1211361" y="1462145"/>
                  </a:lnTo>
                  <a:lnTo>
                    <a:pt x="1200922" y="1496568"/>
                  </a:lnTo>
                  <a:lnTo>
                    <a:pt x="1209446" y="1524172"/>
                  </a:lnTo>
                  <a:lnTo>
                    <a:pt x="1210380" y="1554671"/>
                  </a:lnTo>
                  <a:lnTo>
                    <a:pt x="1204522" y="1583769"/>
                  </a:lnTo>
                  <a:lnTo>
                    <a:pt x="1218752" y="1602743"/>
                  </a:lnTo>
                  <a:lnTo>
                    <a:pt x="1222439" y="1630794"/>
                  </a:lnTo>
                  <a:lnTo>
                    <a:pt x="1243108" y="1659284"/>
                  </a:lnTo>
                  <a:lnTo>
                    <a:pt x="1254890" y="1670418"/>
                  </a:lnTo>
                  <a:lnTo>
                    <a:pt x="1253938" y="1678200"/>
                  </a:lnTo>
                  <a:lnTo>
                    <a:pt x="1276179" y="1724406"/>
                  </a:lnTo>
                  <a:lnTo>
                    <a:pt x="1302087" y="1757286"/>
                  </a:lnTo>
                  <a:lnTo>
                    <a:pt x="1305335" y="1775060"/>
                  </a:lnTo>
                  <a:lnTo>
                    <a:pt x="1312145" y="1780270"/>
                  </a:lnTo>
                  <a:lnTo>
                    <a:pt x="1336958" y="1783442"/>
                  </a:lnTo>
                  <a:lnTo>
                    <a:pt x="1346511" y="1792138"/>
                  </a:lnTo>
                  <a:lnTo>
                    <a:pt x="1361494" y="1793748"/>
                  </a:lnTo>
                  <a:lnTo>
                    <a:pt x="1364418" y="1802940"/>
                  </a:lnTo>
                  <a:lnTo>
                    <a:pt x="1376877" y="1806759"/>
                  </a:lnTo>
                  <a:lnTo>
                    <a:pt x="1394184" y="1825047"/>
                  </a:lnTo>
                  <a:lnTo>
                    <a:pt x="1398680" y="1841202"/>
                  </a:lnTo>
                  <a:lnTo>
                    <a:pt x="1429026" y="1838773"/>
                  </a:lnTo>
                  <a:lnTo>
                    <a:pt x="1462945" y="1835353"/>
                  </a:lnTo>
                  <a:lnTo>
                    <a:pt x="1460440" y="1841525"/>
                  </a:lnTo>
                  <a:lnTo>
                    <a:pt x="1500769" y="1856804"/>
                  </a:lnTo>
                  <a:lnTo>
                    <a:pt x="1561690" y="1878806"/>
                  </a:lnTo>
                  <a:lnTo>
                    <a:pt x="1614802" y="1878587"/>
                  </a:lnTo>
                  <a:lnTo>
                    <a:pt x="1635976" y="1878578"/>
                  </a:lnTo>
                  <a:lnTo>
                    <a:pt x="1636033" y="1865709"/>
                  </a:lnTo>
                  <a:lnTo>
                    <a:pt x="1682296" y="1865719"/>
                  </a:lnTo>
                  <a:lnTo>
                    <a:pt x="1692031" y="1876787"/>
                  </a:lnTo>
                  <a:lnTo>
                    <a:pt x="1705689" y="1886617"/>
                  </a:lnTo>
                  <a:lnTo>
                    <a:pt x="1721558" y="1900228"/>
                  </a:lnTo>
                  <a:lnTo>
                    <a:pt x="1730416" y="1916316"/>
                  </a:lnTo>
                  <a:lnTo>
                    <a:pt x="1737065" y="1933165"/>
                  </a:lnTo>
                  <a:lnTo>
                    <a:pt x="1750866" y="1942376"/>
                  </a:lnTo>
                  <a:lnTo>
                    <a:pt x="1773041" y="1951501"/>
                  </a:lnTo>
                  <a:lnTo>
                    <a:pt x="1789862" y="1927422"/>
                  </a:lnTo>
                  <a:lnTo>
                    <a:pt x="1811693" y="1926822"/>
                  </a:lnTo>
                  <a:lnTo>
                    <a:pt x="1830514" y="1939004"/>
                  </a:lnTo>
                  <a:lnTo>
                    <a:pt x="1843916" y="1959807"/>
                  </a:lnTo>
                  <a:lnTo>
                    <a:pt x="1853146" y="1977514"/>
                  </a:lnTo>
                  <a:lnTo>
                    <a:pt x="1868900" y="1994630"/>
                  </a:lnTo>
                  <a:lnTo>
                    <a:pt x="1874777" y="2015538"/>
                  </a:lnTo>
                  <a:lnTo>
                    <a:pt x="1882254" y="2029501"/>
                  </a:lnTo>
                  <a:lnTo>
                    <a:pt x="1903085" y="2038674"/>
                  </a:lnTo>
                  <a:lnTo>
                    <a:pt x="1922050" y="2045170"/>
                  </a:lnTo>
                  <a:lnTo>
                    <a:pt x="1932461" y="2044284"/>
                  </a:lnTo>
                  <a:lnTo>
                    <a:pt x="1927384" y="2034235"/>
                  </a:lnTo>
                  <a:lnTo>
                    <a:pt x="1926050" y="2019995"/>
                  </a:lnTo>
                  <a:lnTo>
                    <a:pt x="1926317" y="1999412"/>
                  </a:lnTo>
                  <a:lnTo>
                    <a:pt x="1932461" y="1985924"/>
                  </a:lnTo>
                  <a:lnTo>
                    <a:pt x="1947043" y="1971551"/>
                  </a:lnTo>
                  <a:lnTo>
                    <a:pt x="1973590" y="1958511"/>
                  </a:lnTo>
                  <a:lnTo>
                    <a:pt x="1997897" y="1935966"/>
                  </a:lnTo>
                  <a:lnTo>
                    <a:pt x="2020367" y="1928822"/>
                  </a:lnTo>
                  <a:lnTo>
                    <a:pt x="2036978" y="1926679"/>
                  </a:lnTo>
                  <a:lnTo>
                    <a:pt x="2056409" y="1933756"/>
                  </a:lnTo>
                  <a:lnTo>
                    <a:pt x="2079698" y="1929946"/>
                  </a:lnTo>
                  <a:lnTo>
                    <a:pt x="2099634" y="1946062"/>
                  </a:lnTo>
                  <a:lnTo>
                    <a:pt x="2119017" y="1947015"/>
                  </a:lnTo>
                  <a:lnTo>
                    <a:pt x="2129038" y="1941243"/>
                  </a:lnTo>
                  <a:lnTo>
                    <a:pt x="2138953" y="1945739"/>
                  </a:lnTo>
                  <a:lnTo>
                    <a:pt x="2144039" y="1941738"/>
                  </a:lnTo>
                  <a:lnTo>
                    <a:pt x="2138372" y="1935718"/>
                  </a:lnTo>
                  <a:lnTo>
                    <a:pt x="2138801" y="1923317"/>
                  </a:lnTo>
                  <a:lnTo>
                    <a:pt x="2133991" y="1915163"/>
                  </a:lnTo>
                  <a:lnTo>
                    <a:pt x="2145030" y="1910363"/>
                  </a:lnTo>
                  <a:lnTo>
                    <a:pt x="2165395" y="1908239"/>
                  </a:lnTo>
                  <a:lnTo>
                    <a:pt x="2189093" y="1911639"/>
                  </a:lnTo>
                  <a:lnTo>
                    <a:pt x="2219277" y="1907772"/>
                  </a:lnTo>
                  <a:lnTo>
                    <a:pt x="2236023" y="1915382"/>
                  </a:lnTo>
                  <a:lnTo>
                    <a:pt x="2248986" y="1929689"/>
                  </a:lnTo>
                  <a:lnTo>
                    <a:pt x="2253767" y="1931213"/>
                  </a:lnTo>
                  <a:lnTo>
                    <a:pt x="2280714" y="1917306"/>
                  </a:lnTo>
                  <a:lnTo>
                    <a:pt x="2291134" y="1922012"/>
                  </a:lnTo>
                  <a:lnTo>
                    <a:pt x="2311956" y="1947558"/>
                  </a:lnTo>
                  <a:lnTo>
                    <a:pt x="2319433" y="1964236"/>
                  </a:lnTo>
                  <a:lnTo>
                    <a:pt x="2313947" y="1984248"/>
                  </a:lnTo>
                  <a:lnTo>
                    <a:pt x="2317956" y="1995983"/>
                  </a:lnTo>
                  <a:lnTo>
                    <a:pt x="2330377" y="2018814"/>
                  </a:lnTo>
                  <a:lnTo>
                    <a:pt x="2344531" y="2044294"/>
                  </a:lnTo>
                  <a:lnTo>
                    <a:pt x="2354675" y="2051075"/>
                  </a:lnTo>
                  <a:lnTo>
                    <a:pt x="2358885" y="2063972"/>
                  </a:lnTo>
                  <a:lnTo>
                    <a:pt x="2372030" y="2067535"/>
                  </a:lnTo>
                  <a:lnTo>
                    <a:pt x="2380012" y="2063829"/>
                  </a:lnTo>
                  <a:lnTo>
                    <a:pt x="2386670" y="2045856"/>
                  </a:lnTo>
                  <a:lnTo>
                    <a:pt x="2387832" y="2034359"/>
                  </a:lnTo>
                  <a:lnTo>
                    <a:pt x="2388670" y="2014338"/>
                  </a:lnTo>
                  <a:lnTo>
                    <a:pt x="2376021" y="1979609"/>
                  </a:lnTo>
                  <a:lnTo>
                    <a:pt x="2375868" y="1966570"/>
                  </a:lnTo>
                  <a:lnTo>
                    <a:pt x="2364000" y="1945110"/>
                  </a:lnTo>
                  <a:lnTo>
                    <a:pt x="2355085" y="1918964"/>
                  </a:lnTo>
                  <a:lnTo>
                    <a:pt x="2350361" y="1897571"/>
                  </a:lnTo>
                  <a:lnTo>
                    <a:pt x="2354485" y="1875520"/>
                  </a:lnTo>
                  <a:lnTo>
                    <a:pt x="2367067" y="1856994"/>
                  </a:lnTo>
                  <a:lnTo>
                    <a:pt x="2382126" y="1842030"/>
                  </a:lnTo>
                  <a:lnTo>
                    <a:pt x="2411444" y="1821494"/>
                  </a:lnTo>
                  <a:lnTo>
                    <a:pt x="2415264" y="1810817"/>
                  </a:lnTo>
                  <a:lnTo>
                    <a:pt x="2428780" y="1799082"/>
                  </a:lnTo>
                  <a:lnTo>
                    <a:pt x="2442115" y="1797034"/>
                  </a:lnTo>
                  <a:lnTo>
                    <a:pt x="2459669" y="1778175"/>
                  </a:lnTo>
                  <a:lnTo>
                    <a:pt x="2487302" y="1768592"/>
                  </a:lnTo>
                  <a:lnTo>
                    <a:pt x="2504275" y="1744456"/>
                  </a:lnTo>
                  <a:lnTo>
                    <a:pt x="2500522" y="1711547"/>
                  </a:lnTo>
                  <a:lnTo>
                    <a:pt x="2497750" y="1700070"/>
                  </a:lnTo>
                  <a:lnTo>
                    <a:pt x="2490083" y="1697774"/>
                  </a:lnTo>
                  <a:lnTo>
                    <a:pt x="2488940" y="1665903"/>
                  </a:lnTo>
                  <a:lnTo>
                    <a:pt x="2470557" y="1655016"/>
                  </a:lnTo>
                  <a:lnTo>
                    <a:pt x="2488206" y="1660322"/>
                  </a:lnTo>
                  <a:lnTo>
                    <a:pt x="2482511" y="1638795"/>
                  </a:lnTo>
                  <a:lnTo>
                    <a:pt x="2487654" y="1624013"/>
                  </a:lnTo>
                  <a:lnTo>
                    <a:pt x="2490788" y="1652340"/>
                  </a:lnTo>
                  <a:lnTo>
                    <a:pt x="2504427" y="1665256"/>
                  </a:lnTo>
                  <a:lnTo>
                    <a:pt x="2496169" y="1688097"/>
                  </a:lnTo>
                  <a:lnTo>
                    <a:pt x="2498598" y="1689421"/>
                  </a:lnTo>
                  <a:lnTo>
                    <a:pt x="2513629" y="1662608"/>
                  </a:lnTo>
                  <a:lnTo>
                    <a:pt x="2522192" y="1649454"/>
                  </a:lnTo>
                  <a:lnTo>
                    <a:pt x="2521792" y="1636595"/>
                  </a:lnTo>
                  <a:lnTo>
                    <a:pt x="2515162" y="1630509"/>
                  </a:lnTo>
                  <a:lnTo>
                    <a:pt x="2509609" y="1612021"/>
                  </a:lnTo>
                  <a:lnTo>
                    <a:pt x="2518372" y="1620621"/>
                  </a:lnTo>
                  <a:lnTo>
                    <a:pt x="2524239" y="1622412"/>
                  </a:lnTo>
                  <a:lnTo>
                    <a:pt x="2526221" y="1631213"/>
                  </a:lnTo>
                  <a:lnTo>
                    <a:pt x="2545652" y="1604743"/>
                  </a:lnTo>
                  <a:lnTo>
                    <a:pt x="2551414" y="1579769"/>
                  </a:lnTo>
                  <a:lnTo>
                    <a:pt x="2543556" y="1578169"/>
                  </a:lnTo>
                  <a:lnTo>
                    <a:pt x="2551691" y="1568453"/>
                  </a:lnTo>
                  <a:lnTo>
                    <a:pt x="2550900" y="1572758"/>
                  </a:lnTo>
                  <a:lnTo>
                    <a:pt x="2567911" y="1572692"/>
                  </a:lnTo>
                  <a:lnTo>
                    <a:pt x="2605297" y="1562157"/>
                  </a:lnTo>
                  <a:lnTo>
                    <a:pt x="2597382" y="1555471"/>
                  </a:lnTo>
                  <a:lnTo>
                    <a:pt x="2558158" y="1562110"/>
                  </a:lnTo>
                  <a:lnTo>
                    <a:pt x="2580418" y="1551889"/>
                  </a:lnTo>
                  <a:lnTo>
                    <a:pt x="2595944" y="1550137"/>
                  </a:lnTo>
                  <a:lnTo>
                    <a:pt x="2607564" y="1548365"/>
                  </a:lnTo>
                  <a:lnTo>
                    <a:pt x="2627319" y="1542174"/>
                  </a:lnTo>
                  <a:lnTo>
                    <a:pt x="2640149" y="1542869"/>
                  </a:lnTo>
                  <a:lnTo>
                    <a:pt x="2658180" y="1537107"/>
                  </a:lnTo>
                  <a:lnTo>
                    <a:pt x="2660314" y="1526915"/>
                  </a:lnTo>
                  <a:lnTo>
                    <a:pt x="2652303" y="1518961"/>
                  </a:lnTo>
                  <a:lnTo>
                    <a:pt x="2655103" y="1532030"/>
                  </a:lnTo>
                  <a:lnTo>
                    <a:pt x="2644016" y="1531134"/>
                  </a:lnTo>
                  <a:lnTo>
                    <a:pt x="2635206" y="1512132"/>
                  </a:lnTo>
                  <a:lnTo>
                    <a:pt x="2635472" y="1492958"/>
                  </a:lnTo>
                  <a:lnTo>
                    <a:pt x="2639997" y="1484776"/>
                  </a:lnTo>
                  <a:lnTo>
                    <a:pt x="2654132" y="1463031"/>
                  </a:lnTo>
                  <a:lnTo>
                    <a:pt x="2682335" y="1452115"/>
                  </a:lnTo>
                  <a:lnTo>
                    <a:pt x="2709777" y="1439313"/>
                  </a:lnTo>
                  <a:lnTo>
                    <a:pt x="2738295" y="1421216"/>
                  </a:lnTo>
                  <a:lnTo>
                    <a:pt x="2733685" y="1408881"/>
                  </a:lnTo>
                  <a:lnTo>
                    <a:pt x="2716225" y="1387440"/>
                  </a:lnTo>
                  <a:lnTo>
                    <a:pt x="2716330" y="1334786"/>
                  </a:lnTo>
                  <a:close/>
                  <a:moveTo>
                    <a:pt x="434550" y="854259"/>
                  </a:moveTo>
                  <a:lnTo>
                    <a:pt x="420291" y="861898"/>
                  </a:lnTo>
                  <a:lnTo>
                    <a:pt x="396030" y="879596"/>
                  </a:lnTo>
                  <a:lnTo>
                    <a:pt x="400164" y="902656"/>
                  </a:lnTo>
                  <a:lnTo>
                    <a:pt x="413823" y="915238"/>
                  </a:lnTo>
                  <a:lnTo>
                    <a:pt x="440493" y="896617"/>
                  </a:lnTo>
                  <a:lnTo>
                    <a:pt x="463601" y="873138"/>
                  </a:lnTo>
                  <a:lnTo>
                    <a:pt x="452285" y="857640"/>
                  </a:lnTo>
                  <a:lnTo>
                    <a:pt x="434550" y="854259"/>
                  </a:lnTo>
                  <a:close/>
                  <a:moveTo>
                    <a:pt x="0" y="582216"/>
                  </a:moveTo>
                  <a:lnTo>
                    <a:pt x="19450" y="570233"/>
                  </a:lnTo>
                  <a:lnTo>
                    <a:pt x="21650" y="563785"/>
                  </a:lnTo>
                  <a:lnTo>
                    <a:pt x="0" y="557289"/>
                  </a:lnTo>
                  <a:lnTo>
                    <a:pt x="0" y="582216"/>
                  </a:lnTo>
                  <a:close/>
                  <a:moveTo>
                    <a:pt x="80982" y="728539"/>
                  </a:moveTo>
                  <a:lnTo>
                    <a:pt x="54607" y="737749"/>
                  </a:lnTo>
                  <a:lnTo>
                    <a:pt x="70818" y="752265"/>
                  </a:lnTo>
                  <a:lnTo>
                    <a:pt x="88325" y="762190"/>
                  </a:lnTo>
                  <a:lnTo>
                    <a:pt x="104718" y="753932"/>
                  </a:lnTo>
                  <a:lnTo>
                    <a:pt x="102165" y="733415"/>
                  </a:lnTo>
                  <a:lnTo>
                    <a:pt x="80982" y="728539"/>
                  </a:lnTo>
                  <a:close/>
                  <a:moveTo>
                    <a:pt x="1008174" y="1038101"/>
                  </a:moveTo>
                  <a:lnTo>
                    <a:pt x="982542" y="1041730"/>
                  </a:lnTo>
                  <a:lnTo>
                    <a:pt x="969988" y="1035825"/>
                  </a:lnTo>
                  <a:lnTo>
                    <a:pt x="968397" y="1050284"/>
                  </a:lnTo>
                  <a:lnTo>
                    <a:pt x="973341" y="1070039"/>
                  </a:lnTo>
                  <a:lnTo>
                    <a:pt x="986819" y="1083907"/>
                  </a:lnTo>
                  <a:lnTo>
                    <a:pt x="996687" y="1104224"/>
                  </a:lnTo>
                  <a:lnTo>
                    <a:pt x="1012774" y="1124198"/>
                  </a:lnTo>
                  <a:lnTo>
                    <a:pt x="1023423" y="1124283"/>
                  </a:lnTo>
                  <a:lnTo>
                    <a:pt x="1000182" y="1089022"/>
                  </a:lnTo>
                  <a:lnTo>
                    <a:pt x="1008174" y="1038101"/>
                  </a:lnTo>
                  <a:close/>
                  <a:moveTo>
                    <a:pt x="353673" y="2187626"/>
                  </a:moveTo>
                  <a:lnTo>
                    <a:pt x="344176" y="2184921"/>
                  </a:lnTo>
                  <a:lnTo>
                    <a:pt x="341567" y="2187359"/>
                  </a:lnTo>
                  <a:lnTo>
                    <a:pt x="341805" y="2189131"/>
                  </a:lnTo>
                  <a:lnTo>
                    <a:pt x="344872" y="2191445"/>
                  </a:lnTo>
                  <a:lnTo>
                    <a:pt x="349472" y="2197417"/>
                  </a:lnTo>
                  <a:lnTo>
                    <a:pt x="358426" y="2195389"/>
                  </a:lnTo>
                  <a:lnTo>
                    <a:pt x="360655" y="2191988"/>
                  </a:lnTo>
                  <a:lnTo>
                    <a:pt x="353673" y="2187626"/>
                  </a:lnTo>
                  <a:close/>
                  <a:moveTo>
                    <a:pt x="325145" y="2182492"/>
                  </a:moveTo>
                  <a:lnTo>
                    <a:pt x="339452" y="2183321"/>
                  </a:lnTo>
                  <a:lnTo>
                    <a:pt x="340281" y="2180244"/>
                  </a:lnTo>
                  <a:lnTo>
                    <a:pt x="327136" y="2179025"/>
                  </a:lnTo>
                  <a:lnTo>
                    <a:pt x="325145" y="2182492"/>
                  </a:lnTo>
                  <a:close/>
                  <a:moveTo>
                    <a:pt x="381248" y="2213820"/>
                  </a:moveTo>
                  <a:lnTo>
                    <a:pt x="376504" y="2211372"/>
                  </a:lnTo>
                  <a:lnTo>
                    <a:pt x="366274" y="2206600"/>
                  </a:lnTo>
                  <a:lnTo>
                    <a:pt x="364246" y="2206076"/>
                  </a:lnTo>
                  <a:lnTo>
                    <a:pt x="362693" y="2208714"/>
                  </a:lnTo>
                  <a:lnTo>
                    <a:pt x="364531" y="2214267"/>
                  </a:lnTo>
                  <a:lnTo>
                    <a:pt x="359893" y="2218868"/>
                  </a:lnTo>
                  <a:lnTo>
                    <a:pt x="358559" y="2222011"/>
                  </a:lnTo>
                  <a:lnTo>
                    <a:pt x="362979" y="2232270"/>
                  </a:lnTo>
                  <a:lnTo>
                    <a:pt x="362217" y="2240128"/>
                  </a:lnTo>
                  <a:lnTo>
                    <a:pt x="368846" y="2244147"/>
                  </a:lnTo>
                  <a:lnTo>
                    <a:pt x="372751" y="2239452"/>
                  </a:lnTo>
                  <a:lnTo>
                    <a:pt x="381295" y="2235061"/>
                  </a:lnTo>
                  <a:lnTo>
                    <a:pt x="391735" y="2229050"/>
                  </a:lnTo>
                  <a:lnTo>
                    <a:pt x="392373" y="2227488"/>
                  </a:lnTo>
                  <a:lnTo>
                    <a:pt x="385572" y="2217611"/>
                  </a:lnTo>
                  <a:lnTo>
                    <a:pt x="381248" y="2213820"/>
                  </a:lnTo>
                  <a:close/>
                  <a:moveTo>
                    <a:pt x="306457" y="2164833"/>
                  </a:moveTo>
                  <a:lnTo>
                    <a:pt x="299314" y="2168776"/>
                  </a:lnTo>
                  <a:lnTo>
                    <a:pt x="300352" y="2169919"/>
                  </a:lnTo>
                  <a:lnTo>
                    <a:pt x="303743" y="2176386"/>
                  </a:lnTo>
                  <a:lnTo>
                    <a:pt x="313039" y="2177386"/>
                  </a:lnTo>
                  <a:lnTo>
                    <a:pt x="314954" y="2177758"/>
                  </a:lnTo>
                  <a:lnTo>
                    <a:pt x="316401" y="2176110"/>
                  </a:lnTo>
                  <a:lnTo>
                    <a:pt x="308686" y="2166680"/>
                  </a:lnTo>
                  <a:lnTo>
                    <a:pt x="306457" y="2164833"/>
                  </a:lnTo>
                  <a:close/>
                  <a:moveTo>
                    <a:pt x="264500" y="2149964"/>
                  </a:moveTo>
                  <a:lnTo>
                    <a:pt x="260423" y="2152774"/>
                  </a:lnTo>
                  <a:lnTo>
                    <a:pt x="259042" y="2154860"/>
                  </a:lnTo>
                  <a:lnTo>
                    <a:pt x="268034" y="2160080"/>
                  </a:lnTo>
                  <a:lnTo>
                    <a:pt x="271205" y="2157251"/>
                  </a:lnTo>
                  <a:lnTo>
                    <a:pt x="270653" y="2150574"/>
                  </a:lnTo>
                  <a:lnTo>
                    <a:pt x="264500" y="21499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" name="Forme libre : forme 5818">
              <a:extLst>
                <a:ext uri="{FF2B5EF4-FFF2-40B4-BE49-F238E27FC236}">
                  <a16:creationId xmlns:a16="http://schemas.microsoft.com/office/drawing/2014/main" id="{0FEFE143-2C43-DB03-3CFD-284A27EF19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260503" y="5581434"/>
              <a:ext cx="139341" cy="152762"/>
            </a:xfrm>
            <a:custGeom>
              <a:avLst/>
              <a:gdLst>
                <a:gd name="connsiteX0" fmla="*/ 21422 w 139341"/>
                <a:gd name="connsiteY0" fmla="*/ 3277 h 152762"/>
                <a:gd name="connsiteX1" fmla="*/ 38748 w 139341"/>
                <a:gd name="connsiteY1" fmla="*/ 0 h 152762"/>
                <a:gd name="connsiteX2" fmla="*/ 65541 w 139341"/>
                <a:gd name="connsiteY2" fmla="*/ 23851 h 152762"/>
                <a:gd name="connsiteX3" fmla="*/ 75457 w 139341"/>
                <a:gd name="connsiteY3" fmla="*/ 22946 h 152762"/>
                <a:gd name="connsiteX4" fmla="*/ 102946 w 139341"/>
                <a:gd name="connsiteY4" fmla="*/ 42843 h 152762"/>
                <a:gd name="connsiteX5" fmla="*/ 123892 w 139341"/>
                <a:gd name="connsiteY5" fmla="*/ 60131 h 152762"/>
                <a:gd name="connsiteX6" fmla="*/ 139341 w 139341"/>
                <a:gd name="connsiteY6" fmla="*/ 81544 h 152762"/>
                <a:gd name="connsiteX7" fmla="*/ 127568 w 139341"/>
                <a:gd name="connsiteY7" fmla="*/ 96574 h 152762"/>
                <a:gd name="connsiteX8" fmla="*/ 134960 w 139341"/>
                <a:gd name="connsiteY8" fmla="*/ 114624 h 152762"/>
                <a:gd name="connsiteX9" fmla="*/ 123406 w 139341"/>
                <a:gd name="connsiteY9" fmla="*/ 134798 h 152762"/>
                <a:gd name="connsiteX10" fmla="*/ 93240 w 139341"/>
                <a:gd name="connsiteY10" fmla="*/ 152762 h 152762"/>
                <a:gd name="connsiteX11" fmla="*/ 73523 w 139341"/>
                <a:gd name="connsiteY11" fmla="*/ 146285 h 152762"/>
                <a:gd name="connsiteX12" fmla="*/ 59074 w 139341"/>
                <a:gd name="connsiteY12" fmla="*/ 149752 h 152762"/>
                <a:gd name="connsiteX13" fmla="*/ 34385 w 139341"/>
                <a:gd name="connsiteY13" fmla="*/ 135874 h 152762"/>
                <a:gd name="connsiteX14" fmla="*/ 16269 w 139341"/>
                <a:gd name="connsiteY14" fmla="*/ 136913 h 152762"/>
                <a:gd name="connsiteX15" fmla="*/ 0 w 139341"/>
                <a:gd name="connsiteY15" fmla="*/ 119139 h 152762"/>
                <a:gd name="connsiteX16" fmla="*/ 2067 w 139341"/>
                <a:gd name="connsiteY16" fmla="*/ 98517 h 152762"/>
                <a:gd name="connsiteX17" fmla="*/ 7868 w 139341"/>
                <a:gd name="connsiteY17" fmla="*/ 91450 h 152762"/>
                <a:gd name="connsiteX18" fmla="*/ 7601 w 139341"/>
                <a:gd name="connsiteY18" fmla="*/ 60046 h 152762"/>
                <a:gd name="connsiteX19" fmla="*/ 14745 w 139341"/>
                <a:gd name="connsiteY19" fmla="*/ 27984 h 15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9341" h="152762">
                  <a:moveTo>
                    <a:pt x="21422" y="3277"/>
                  </a:moveTo>
                  <a:lnTo>
                    <a:pt x="38748" y="0"/>
                  </a:lnTo>
                  <a:lnTo>
                    <a:pt x="65541" y="23851"/>
                  </a:lnTo>
                  <a:lnTo>
                    <a:pt x="75457" y="22946"/>
                  </a:lnTo>
                  <a:lnTo>
                    <a:pt x="102946" y="42843"/>
                  </a:lnTo>
                  <a:lnTo>
                    <a:pt x="123892" y="60131"/>
                  </a:lnTo>
                  <a:lnTo>
                    <a:pt x="139341" y="81544"/>
                  </a:lnTo>
                  <a:lnTo>
                    <a:pt x="127568" y="96574"/>
                  </a:lnTo>
                  <a:lnTo>
                    <a:pt x="134960" y="114624"/>
                  </a:lnTo>
                  <a:lnTo>
                    <a:pt x="123406" y="134798"/>
                  </a:lnTo>
                  <a:lnTo>
                    <a:pt x="93240" y="152762"/>
                  </a:lnTo>
                  <a:lnTo>
                    <a:pt x="73523" y="146285"/>
                  </a:lnTo>
                  <a:lnTo>
                    <a:pt x="59074" y="149752"/>
                  </a:lnTo>
                  <a:lnTo>
                    <a:pt x="34385" y="135874"/>
                  </a:lnTo>
                  <a:lnTo>
                    <a:pt x="16269" y="136913"/>
                  </a:lnTo>
                  <a:lnTo>
                    <a:pt x="0" y="119139"/>
                  </a:lnTo>
                  <a:lnTo>
                    <a:pt x="2067" y="98517"/>
                  </a:lnTo>
                  <a:lnTo>
                    <a:pt x="7868" y="91450"/>
                  </a:lnTo>
                  <a:lnTo>
                    <a:pt x="7601" y="60046"/>
                  </a:lnTo>
                  <a:lnTo>
                    <a:pt x="14745" y="2798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" name="Forme libre : forme 5819">
              <a:extLst>
                <a:ext uri="{FF2B5EF4-FFF2-40B4-BE49-F238E27FC236}">
                  <a16:creationId xmlns:a16="http://schemas.microsoft.com/office/drawing/2014/main" id="{1EE2A926-159F-310F-B6C1-33069E9425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314570" y="3379045"/>
              <a:ext cx="457400" cy="299961"/>
            </a:xfrm>
            <a:custGeom>
              <a:avLst/>
              <a:gdLst>
                <a:gd name="connsiteX0" fmla="*/ 282826 w 457400"/>
                <a:gd name="connsiteY0" fmla="*/ 292684 h 299961"/>
                <a:gd name="connsiteX1" fmla="*/ 283559 w 457400"/>
                <a:gd name="connsiteY1" fmla="*/ 272120 h 299961"/>
                <a:gd name="connsiteX2" fmla="*/ 248031 w 457400"/>
                <a:gd name="connsiteY2" fmla="*/ 257642 h 299961"/>
                <a:gd name="connsiteX3" fmla="*/ 220104 w 457400"/>
                <a:gd name="connsiteY3" fmla="*/ 240963 h 299961"/>
                <a:gd name="connsiteX4" fmla="*/ 202683 w 457400"/>
                <a:gd name="connsiteY4" fmla="*/ 224819 h 299961"/>
                <a:gd name="connsiteX5" fmla="*/ 172146 w 457400"/>
                <a:gd name="connsiteY5" fmla="*/ 200939 h 299961"/>
                <a:gd name="connsiteX6" fmla="*/ 159011 w 457400"/>
                <a:gd name="connsiteY6" fmla="*/ 164830 h 299961"/>
                <a:gd name="connsiteX7" fmla="*/ 150048 w 457400"/>
                <a:gd name="connsiteY7" fmla="*/ 158410 h 299961"/>
                <a:gd name="connsiteX8" fmla="*/ 121177 w 457400"/>
                <a:gd name="connsiteY8" fmla="*/ 160039 h 299961"/>
                <a:gd name="connsiteX9" fmla="*/ 110957 w 457400"/>
                <a:gd name="connsiteY9" fmla="*/ 152791 h 299961"/>
                <a:gd name="connsiteX10" fmla="*/ 108100 w 457400"/>
                <a:gd name="connsiteY10" fmla="*/ 124292 h 299961"/>
                <a:gd name="connsiteX11" fmla="*/ 72114 w 457400"/>
                <a:gd name="connsiteY11" fmla="*/ 105223 h 299961"/>
                <a:gd name="connsiteX12" fmla="*/ 49616 w 457400"/>
                <a:gd name="connsiteY12" fmla="*/ 126187 h 299961"/>
                <a:gd name="connsiteX13" fmla="*/ 26804 w 457400"/>
                <a:gd name="connsiteY13" fmla="*/ 138522 h 299961"/>
                <a:gd name="connsiteX14" fmla="*/ 31185 w 457400"/>
                <a:gd name="connsiteY14" fmla="*/ 156429 h 299961"/>
                <a:gd name="connsiteX15" fmla="*/ 1057 w 457400"/>
                <a:gd name="connsiteY15" fmla="*/ 156915 h 299961"/>
                <a:gd name="connsiteX16" fmla="*/ 0 w 457400"/>
                <a:gd name="connsiteY16" fmla="*/ 22355 h 299961"/>
                <a:gd name="connsiteX17" fmla="*/ 68752 w 457400"/>
                <a:gd name="connsiteY17" fmla="*/ 0 h 299961"/>
                <a:gd name="connsiteX18" fmla="*/ 73743 w 457400"/>
                <a:gd name="connsiteY18" fmla="*/ 3296 h 299961"/>
                <a:gd name="connsiteX19" fmla="*/ 115138 w 457400"/>
                <a:gd name="connsiteY19" fmla="*/ 30318 h 299961"/>
                <a:gd name="connsiteX20" fmla="*/ 136989 w 457400"/>
                <a:gd name="connsiteY20" fmla="*/ 44453 h 299961"/>
                <a:gd name="connsiteX21" fmla="*/ 162497 w 457400"/>
                <a:gd name="connsiteY21" fmla="*/ 77772 h 299961"/>
                <a:gd name="connsiteX22" fmla="*/ 193815 w 457400"/>
                <a:gd name="connsiteY22" fmla="*/ 72428 h 299961"/>
                <a:gd name="connsiteX23" fmla="*/ 239621 w 457400"/>
                <a:gd name="connsiteY23" fmla="*/ 69552 h 299961"/>
                <a:gd name="connsiteX24" fmla="*/ 271586 w 457400"/>
                <a:gd name="connsiteY24" fmla="*/ 96288 h 299961"/>
                <a:gd name="connsiteX25" fmla="*/ 269596 w 457400"/>
                <a:gd name="connsiteY25" fmla="*/ 132493 h 299961"/>
                <a:gd name="connsiteX26" fmla="*/ 282607 w 457400"/>
                <a:gd name="connsiteY26" fmla="*/ 132740 h 299961"/>
                <a:gd name="connsiteX27" fmla="*/ 288046 w 457400"/>
                <a:gd name="connsiteY27" fmla="*/ 161877 h 299961"/>
                <a:gd name="connsiteX28" fmla="*/ 322002 w 457400"/>
                <a:gd name="connsiteY28" fmla="*/ 163020 h 299961"/>
                <a:gd name="connsiteX29" fmla="*/ 329327 w 457400"/>
                <a:gd name="connsiteY29" fmla="*/ 179699 h 299961"/>
                <a:gd name="connsiteX30" fmla="*/ 339271 w 457400"/>
                <a:gd name="connsiteY30" fmla="*/ 179470 h 299961"/>
                <a:gd name="connsiteX31" fmla="*/ 350958 w 457400"/>
                <a:gd name="connsiteY31" fmla="*/ 154238 h 299961"/>
                <a:gd name="connsiteX32" fmla="*/ 386182 w 457400"/>
                <a:gd name="connsiteY32" fmla="*/ 129388 h 299961"/>
                <a:gd name="connsiteX33" fmla="*/ 401498 w 457400"/>
                <a:gd name="connsiteY33" fmla="*/ 122749 h 299961"/>
                <a:gd name="connsiteX34" fmla="*/ 409433 w 457400"/>
                <a:gd name="connsiteY34" fmla="*/ 126282 h 299961"/>
                <a:gd name="connsiteX35" fmla="*/ 387011 w 457400"/>
                <a:gd name="connsiteY35" fmla="*/ 149419 h 299961"/>
                <a:gd name="connsiteX36" fmla="*/ 406728 w 457400"/>
                <a:gd name="connsiteY36" fmla="*/ 162763 h 299961"/>
                <a:gd name="connsiteX37" fmla="*/ 425749 w 457400"/>
                <a:gd name="connsiteY37" fmla="*/ 153934 h 299961"/>
                <a:gd name="connsiteX38" fmla="*/ 457401 w 457400"/>
                <a:gd name="connsiteY38" fmla="*/ 172545 h 299961"/>
                <a:gd name="connsiteX39" fmla="*/ 423196 w 457400"/>
                <a:gd name="connsiteY39" fmla="*/ 197739 h 299961"/>
                <a:gd name="connsiteX40" fmla="*/ 402879 w 457400"/>
                <a:gd name="connsiteY40" fmla="*/ 194310 h 299961"/>
                <a:gd name="connsiteX41" fmla="*/ 391859 w 457400"/>
                <a:gd name="connsiteY41" fmla="*/ 195215 h 299961"/>
                <a:gd name="connsiteX42" fmla="*/ 388039 w 457400"/>
                <a:gd name="connsiteY42" fmla="*/ 185509 h 299961"/>
                <a:gd name="connsiteX43" fmla="*/ 393602 w 457400"/>
                <a:gd name="connsiteY43" fmla="*/ 169231 h 299961"/>
                <a:gd name="connsiteX44" fmla="*/ 357893 w 457400"/>
                <a:gd name="connsiteY44" fmla="*/ 177403 h 299961"/>
                <a:gd name="connsiteX45" fmla="*/ 349396 w 457400"/>
                <a:gd name="connsiteY45" fmla="*/ 199815 h 299961"/>
                <a:gd name="connsiteX46" fmla="*/ 336709 w 457400"/>
                <a:gd name="connsiteY46" fmla="*/ 218951 h 299961"/>
                <a:gd name="connsiteX47" fmla="*/ 314411 w 457400"/>
                <a:gd name="connsiteY47" fmla="*/ 217332 h 299961"/>
                <a:gd name="connsiteX48" fmla="*/ 307486 w 457400"/>
                <a:gd name="connsiteY48" fmla="*/ 232486 h 299961"/>
                <a:gd name="connsiteX49" fmla="*/ 327079 w 457400"/>
                <a:gd name="connsiteY49" fmla="*/ 240649 h 299961"/>
                <a:gd name="connsiteX50" fmla="*/ 332851 w 457400"/>
                <a:gd name="connsiteY50" fmla="*/ 265967 h 299961"/>
                <a:gd name="connsiteX51" fmla="*/ 317840 w 457400"/>
                <a:gd name="connsiteY51" fmla="*/ 299961 h 299961"/>
                <a:gd name="connsiteX52" fmla="*/ 297695 w 457400"/>
                <a:gd name="connsiteY52" fmla="*/ 292903 h 29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57400" h="299961">
                  <a:moveTo>
                    <a:pt x="282826" y="292684"/>
                  </a:moveTo>
                  <a:lnTo>
                    <a:pt x="283559" y="272120"/>
                  </a:lnTo>
                  <a:lnTo>
                    <a:pt x="248031" y="257642"/>
                  </a:lnTo>
                  <a:lnTo>
                    <a:pt x="220104" y="240963"/>
                  </a:lnTo>
                  <a:lnTo>
                    <a:pt x="202683" y="224819"/>
                  </a:lnTo>
                  <a:lnTo>
                    <a:pt x="172146" y="200939"/>
                  </a:lnTo>
                  <a:lnTo>
                    <a:pt x="159011" y="164830"/>
                  </a:lnTo>
                  <a:lnTo>
                    <a:pt x="150048" y="158410"/>
                  </a:lnTo>
                  <a:lnTo>
                    <a:pt x="121177" y="160039"/>
                  </a:lnTo>
                  <a:lnTo>
                    <a:pt x="110957" y="152791"/>
                  </a:lnTo>
                  <a:lnTo>
                    <a:pt x="108100" y="124292"/>
                  </a:lnTo>
                  <a:lnTo>
                    <a:pt x="72114" y="105223"/>
                  </a:lnTo>
                  <a:lnTo>
                    <a:pt x="49616" y="126187"/>
                  </a:lnTo>
                  <a:lnTo>
                    <a:pt x="26804" y="138522"/>
                  </a:lnTo>
                  <a:lnTo>
                    <a:pt x="31185" y="156429"/>
                  </a:lnTo>
                  <a:lnTo>
                    <a:pt x="1057" y="156915"/>
                  </a:lnTo>
                  <a:lnTo>
                    <a:pt x="0" y="22355"/>
                  </a:lnTo>
                  <a:lnTo>
                    <a:pt x="68752" y="0"/>
                  </a:lnTo>
                  <a:lnTo>
                    <a:pt x="73743" y="3296"/>
                  </a:lnTo>
                  <a:lnTo>
                    <a:pt x="115138" y="30318"/>
                  </a:lnTo>
                  <a:lnTo>
                    <a:pt x="136989" y="44453"/>
                  </a:lnTo>
                  <a:lnTo>
                    <a:pt x="162497" y="77772"/>
                  </a:lnTo>
                  <a:lnTo>
                    <a:pt x="193815" y="72428"/>
                  </a:lnTo>
                  <a:lnTo>
                    <a:pt x="239621" y="69552"/>
                  </a:lnTo>
                  <a:lnTo>
                    <a:pt x="271586" y="96288"/>
                  </a:lnTo>
                  <a:lnTo>
                    <a:pt x="269596" y="132493"/>
                  </a:lnTo>
                  <a:lnTo>
                    <a:pt x="282607" y="132740"/>
                  </a:lnTo>
                  <a:lnTo>
                    <a:pt x="288046" y="161877"/>
                  </a:lnTo>
                  <a:lnTo>
                    <a:pt x="322002" y="163020"/>
                  </a:lnTo>
                  <a:lnTo>
                    <a:pt x="329327" y="179699"/>
                  </a:lnTo>
                  <a:lnTo>
                    <a:pt x="339271" y="179470"/>
                  </a:lnTo>
                  <a:lnTo>
                    <a:pt x="350958" y="154238"/>
                  </a:lnTo>
                  <a:lnTo>
                    <a:pt x="386182" y="129388"/>
                  </a:lnTo>
                  <a:lnTo>
                    <a:pt x="401498" y="122749"/>
                  </a:lnTo>
                  <a:lnTo>
                    <a:pt x="409433" y="126282"/>
                  </a:lnTo>
                  <a:lnTo>
                    <a:pt x="387011" y="149419"/>
                  </a:lnTo>
                  <a:lnTo>
                    <a:pt x="406728" y="162763"/>
                  </a:lnTo>
                  <a:lnTo>
                    <a:pt x="425749" y="153934"/>
                  </a:lnTo>
                  <a:lnTo>
                    <a:pt x="457401" y="172545"/>
                  </a:lnTo>
                  <a:lnTo>
                    <a:pt x="423196" y="197739"/>
                  </a:lnTo>
                  <a:lnTo>
                    <a:pt x="402879" y="194310"/>
                  </a:lnTo>
                  <a:lnTo>
                    <a:pt x="391859" y="195215"/>
                  </a:lnTo>
                  <a:lnTo>
                    <a:pt x="388039" y="185509"/>
                  </a:lnTo>
                  <a:lnTo>
                    <a:pt x="393602" y="169231"/>
                  </a:lnTo>
                  <a:lnTo>
                    <a:pt x="357893" y="177403"/>
                  </a:lnTo>
                  <a:lnTo>
                    <a:pt x="349396" y="199815"/>
                  </a:lnTo>
                  <a:lnTo>
                    <a:pt x="336709" y="218951"/>
                  </a:lnTo>
                  <a:lnTo>
                    <a:pt x="314411" y="217332"/>
                  </a:lnTo>
                  <a:lnTo>
                    <a:pt x="307486" y="232486"/>
                  </a:lnTo>
                  <a:lnTo>
                    <a:pt x="327079" y="240649"/>
                  </a:lnTo>
                  <a:lnTo>
                    <a:pt x="332851" y="265967"/>
                  </a:lnTo>
                  <a:lnTo>
                    <a:pt x="317840" y="299961"/>
                  </a:lnTo>
                  <a:lnTo>
                    <a:pt x="297695" y="2929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" name="Forme libre : forme 5820">
              <a:extLst>
                <a:ext uri="{FF2B5EF4-FFF2-40B4-BE49-F238E27FC236}">
                  <a16:creationId xmlns:a16="http://schemas.microsoft.com/office/drawing/2014/main" id="{98503DC7-99A9-EB49-633C-87F887571EC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863168" y="4417527"/>
              <a:ext cx="361788" cy="305904"/>
            </a:xfrm>
            <a:custGeom>
              <a:avLst/>
              <a:gdLst>
                <a:gd name="connsiteX0" fmla="*/ 52702 w 361788"/>
                <a:gd name="connsiteY0" fmla="*/ 10478 h 305904"/>
                <a:gd name="connsiteX1" fmla="*/ 51940 w 361788"/>
                <a:gd name="connsiteY1" fmla="*/ 16878 h 305904"/>
                <a:gd name="connsiteX2" fmla="*/ 36261 w 361788"/>
                <a:gd name="connsiteY2" fmla="*/ 20031 h 305904"/>
                <a:gd name="connsiteX3" fmla="*/ 44967 w 361788"/>
                <a:gd name="connsiteY3" fmla="*/ 32318 h 305904"/>
                <a:gd name="connsiteX4" fmla="*/ 44643 w 361788"/>
                <a:gd name="connsiteY4" fmla="*/ 46434 h 305904"/>
                <a:gd name="connsiteX5" fmla="*/ 32861 w 361788"/>
                <a:gd name="connsiteY5" fmla="*/ 62093 h 305904"/>
                <a:gd name="connsiteX6" fmla="*/ 42977 w 361788"/>
                <a:gd name="connsiteY6" fmla="*/ 83439 h 305904"/>
                <a:gd name="connsiteX7" fmla="*/ 54492 w 361788"/>
                <a:gd name="connsiteY7" fmla="*/ 81686 h 305904"/>
                <a:gd name="connsiteX8" fmla="*/ 60484 w 361788"/>
                <a:gd name="connsiteY8" fmla="*/ 62246 h 305904"/>
                <a:gd name="connsiteX9" fmla="*/ 52206 w 361788"/>
                <a:gd name="connsiteY9" fmla="*/ 52759 h 305904"/>
                <a:gd name="connsiteX10" fmla="*/ 50854 w 361788"/>
                <a:gd name="connsiteY10" fmla="*/ 32328 h 305904"/>
                <a:gd name="connsiteX11" fmla="*/ 84115 w 361788"/>
                <a:gd name="connsiteY11" fmla="*/ 21326 h 305904"/>
                <a:gd name="connsiteX12" fmla="*/ 80410 w 361788"/>
                <a:gd name="connsiteY12" fmla="*/ 8563 h 305904"/>
                <a:gd name="connsiteX13" fmla="*/ 89783 w 361788"/>
                <a:gd name="connsiteY13" fmla="*/ 0 h 305904"/>
                <a:gd name="connsiteX14" fmla="*/ 99365 w 361788"/>
                <a:gd name="connsiteY14" fmla="*/ 19050 h 305904"/>
                <a:gd name="connsiteX15" fmla="*/ 118091 w 361788"/>
                <a:gd name="connsiteY15" fmla="*/ 19488 h 305904"/>
                <a:gd name="connsiteX16" fmla="*/ 135446 w 361788"/>
                <a:gd name="connsiteY16" fmla="*/ 34576 h 305904"/>
                <a:gd name="connsiteX17" fmla="*/ 136493 w 361788"/>
                <a:gd name="connsiteY17" fmla="*/ 43520 h 305904"/>
                <a:gd name="connsiteX18" fmla="*/ 160468 w 361788"/>
                <a:gd name="connsiteY18" fmla="*/ 43758 h 305904"/>
                <a:gd name="connsiteX19" fmla="*/ 189004 w 361788"/>
                <a:gd name="connsiteY19" fmla="*/ 40977 h 305904"/>
                <a:gd name="connsiteX20" fmla="*/ 204301 w 361788"/>
                <a:gd name="connsiteY20" fmla="*/ 53064 h 305904"/>
                <a:gd name="connsiteX21" fmla="*/ 224723 w 361788"/>
                <a:gd name="connsiteY21" fmla="*/ 56388 h 305904"/>
                <a:gd name="connsiteX22" fmla="*/ 239706 w 361788"/>
                <a:gd name="connsiteY22" fmla="*/ 47968 h 305904"/>
                <a:gd name="connsiteX23" fmla="*/ 240011 w 361788"/>
                <a:gd name="connsiteY23" fmla="*/ 41177 h 305904"/>
                <a:gd name="connsiteX24" fmla="*/ 273091 w 361788"/>
                <a:gd name="connsiteY24" fmla="*/ 39548 h 305904"/>
                <a:gd name="connsiteX25" fmla="*/ 305095 w 361788"/>
                <a:gd name="connsiteY25" fmla="*/ 39167 h 305904"/>
                <a:gd name="connsiteX26" fmla="*/ 282416 w 361788"/>
                <a:gd name="connsiteY26" fmla="*/ 47139 h 305904"/>
                <a:gd name="connsiteX27" fmla="*/ 291541 w 361788"/>
                <a:gd name="connsiteY27" fmla="*/ 59874 h 305904"/>
                <a:gd name="connsiteX28" fmla="*/ 312896 w 361788"/>
                <a:gd name="connsiteY28" fmla="*/ 61893 h 305904"/>
                <a:gd name="connsiteX29" fmla="*/ 333146 w 361788"/>
                <a:gd name="connsiteY29" fmla="*/ 75124 h 305904"/>
                <a:gd name="connsiteX30" fmla="*/ 337404 w 361788"/>
                <a:gd name="connsiteY30" fmla="*/ 96641 h 305904"/>
                <a:gd name="connsiteX31" fmla="*/ 351320 w 361788"/>
                <a:gd name="connsiteY31" fmla="*/ 96041 h 305904"/>
                <a:gd name="connsiteX32" fmla="*/ 361788 w 361788"/>
                <a:gd name="connsiteY32" fmla="*/ 102365 h 305904"/>
                <a:gd name="connsiteX33" fmla="*/ 340623 w 361788"/>
                <a:gd name="connsiteY33" fmla="*/ 118100 h 305904"/>
                <a:gd name="connsiteX34" fmla="*/ 338290 w 361788"/>
                <a:gd name="connsiteY34" fmla="*/ 127863 h 305904"/>
                <a:gd name="connsiteX35" fmla="*/ 347434 w 361788"/>
                <a:gd name="connsiteY35" fmla="*/ 137789 h 305904"/>
                <a:gd name="connsiteX36" fmla="*/ 340805 w 361788"/>
                <a:gd name="connsiteY36" fmla="*/ 142799 h 305904"/>
                <a:gd name="connsiteX37" fmla="*/ 324364 w 361788"/>
                <a:gd name="connsiteY37" fmla="*/ 147085 h 305904"/>
                <a:gd name="connsiteX38" fmla="*/ 324898 w 361788"/>
                <a:gd name="connsiteY38" fmla="*/ 159410 h 305904"/>
                <a:gd name="connsiteX39" fmla="*/ 317659 w 361788"/>
                <a:gd name="connsiteY39" fmla="*/ 166754 h 305904"/>
                <a:gd name="connsiteX40" fmla="*/ 335737 w 361788"/>
                <a:gd name="connsiteY40" fmla="*/ 186985 h 305904"/>
                <a:gd name="connsiteX41" fmla="*/ 339271 w 361788"/>
                <a:gd name="connsiteY41" fmla="*/ 194500 h 305904"/>
                <a:gd name="connsiteX42" fmla="*/ 329508 w 361788"/>
                <a:gd name="connsiteY42" fmla="*/ 204654 h 305904"/>
                <a:gd name="connsiteX43" fmla="*/ 299637 w 361788"/>
                <a:gd name="connsiteY43" fmla="*/ 214617 h 305904"/>
                <a:gd name="connsiteX44" fmla="*/ 280425 w 361788"/>
                <a:gd name="connsiteY44" fmla="*/ 218742 h 305904"/>
                <a:gd name="connsiteX45" fmla="*/ 272720 w 361788"/>
                <a:gd name="connsiteY45" fmla="*/ 225028 h 305904"/>
                <a:gd name="connsiteX46" fmla="*/ 251488 w 361788"/>
                <a:gd name="connsiteY46" fmla="*/ 218380 h 305904"/>
                <a:gd name="connsiteX47" fmla="*/ 231715 w 361788"/>
                <a:gd name="connsiteY47" fmla="*/ 214979 h 305904"/>
                <a:gd name="connsiteX48" fmla="*/ 226704 w 361788"/>
                <a:gd name="connsiteY48" fmla="*/ 217427 h 305904"/>
                <a:gd name="connsiteX49" fmla="*/ 238658 w 361788"/>
                <a:gd name="connsiteY49" fmla="*/ 224323 h 305904"/>
                <a:gd name="connsiteX50" fmla="*/ 237582 w 361788"/>
                <a:gd name="connsiteY50" fmla="*/ 242135 h 305904"/>
                <a:gd name="connsiteX51" fmla="*/ 241287 w 361788"/>
                <a:gd name="connsiteY51" fmla="*/ 258870 h 305904"/>
                <a:gd name="connsiteX52" fmla="*/ 263918 w 361788"/>
                <a:gd name="connsiteY52" fmla="*/ 261147 h 305904"/>
                <a:gd name="connsiteX53" fmla="*/ 265357 w 361788"/>
                <a:gd name="connsiteY53" fmla="*/ 266729 h 305904"/>
                <a:gd name="connsiteX54" fmla="*/ 246278 w 361788"/>
                <a:gd name="connsiteY54" fmla="*/ 274282 h 305904"/>
                <a:gd name="connsiteX55" fmla="*/ 243183 w 361788"/>
                <a:gd name="connsiteY55" fmla="*/ 285521 h 305904"/>
                <a:gd name="connsiteX56" fmla="*/ 232181 w 361788"/>
                <a:gd name="connsiteY56" fmla="*/ 289874 h 305904"/>
                <a:gd name="connsiteX57" fmla="*/ 212322 w 361788"/>
                <a:gd name="connsiteY57" fmla="*/ 296066 h 305904"/>
                <a:gd name="connsiteX58" fmla="*/ 207150 w 361788"/>
                <a:gd name="connsiteY58" fmla="*/ 304190 h 305904"/>
                <a:gd name="connsiteX59" fmla="*/ 186385 w 361788"/>
                <a:gd name="connsiteY59" fmla="*/ 305905 h 305904"/>
                <a:gd name="connsiteX60" fmla="*/ 171688 w 361788"/>
                <a:gd name="connsiteY60" fmla="*/ 291875 h 305904"/>
                <a:gd name="connsiteX61" fmla="*/ 163544 w 361788"/>
                <a:gd name="connsiteY61" fmla="*/ 265404 h 305904"/>
                <a:gd name="connsiteX62" fmla="*/ 156438 w 361788"/>
                <a:gd name="connsiteY62" fmla="*/ 256127 h 305904"/>
                <a:gd name="connsiteX63" fmla="*/ 146752 w 361788"/>
                <a:gd name="connsiteY63" fmla="*/ 250269 h 305904"/>
                <a:gd name="connsiteX64" fmla="*/ 160287 w 361788"/>
                <a:gd name="connsiteY64" fmla="*/ 237049 h 305904"/>
                <a:gd name="connsiteX65" fmla="*/ 159363 w 361788"/>
                <a:gd name="connsiteY65" fmla="*/ 231095 h 305904"/>
                <a:gd name="connsiteX66" fmla="*/ 151771 w 361788"/>
                <a:gd name="connsiteY66" fmla="*/ 223199 h 305904"/>
                <a:gd name="connsiteX67" fmla="*/ 146399 w 361788"/>
                <a:gd name="connsiteY67" fmla="*/ 205521 h 305904"/>
                <a:gd name="connsiteX68" fmla="*/ 148495 w 361788"/>
                <a:gd name="connsiteY68" fmla="*/ 186423 h 305904"/>
                <a:gd name="connsiteX69" fmla="*/ 154457 w 361788"/>
                <a:gd name="connsiteY69" fmla="*/ 177479 h 305904"/>
                <a:gd name="connsiteX70" fmla="*/ 159267 w 361788"/>
                <a:gd name="connsiteY70" fmla="*/ 163116 h 305904"/>
                <a:gd name="connsiteX71" fmla="*/ 149819 w 361788"/>
                <a:gd name="connsiteY71" fmla="*/ 158534 h 305904"/>
                <a:gd name="connsiteX72" fmla="*/ 134598 w 361788"/>
                <a:gd name="connsiteY72" fmla="*/ 161572 h 305904"/>
                <a:gd name="connsiteX73" fmla="*/ 115357 w 361788"/>
                <a:gd name="connsiteY73" fmla="*/ 160144 h 305904"/>
                <a:gd name="connsiteX74" fmla="*/ 104565 w 361788"/>
                <a:gd name="connsiteY74" fmla="*/ 163001 h 305904"/>
                <a:gd name="connsiteX75" fmla="*/ 85772 w 361788"/>
                <a:gd name="connsiteY75" fmla="*/ 140017 h 305904"/>
                <a:gd name="connsiteX76" fmla="*/ 70256 w 361788"/>
                <a:gd name="connsiteY76" fmla="*/ 136617 h 305904"/>
                <a:gd name="connsiteX77" fmla="*/ 35909 w 361788"/>
                <a:gd name="connsiteY77" fmla="*/ 139189 h 305904"/>
                <a:gd name="connsiteX78" fmla="*/ 29546 w 361788"/>
                <a:gd name="connsiteY78" fmla="*/ 129864 h 305904"/>
                <a:gd name="connsiteX79" fmla="*/ 22974 w 361788"/>
                <a:gd name="connsiteY79" fmla="*/ 127625 h 305904"/>
                <a:gd name="connsiteX80" fmla="*/ 22041 w 361788"/>
                <a:gd name="connsiteY80" fmla="*/ 122044 h 305904"/>
                <a:gd name="connsiteX81" fmla="*/ 25213 w 361788"/>
                <a:gd name="connsiteY81" fmla="*/ 112128 h 305904"/>
                <a:gd name="connsiteX82" fmla="*/ 23098 w 361788"/>
                <a:gd name="connsiteY82" fmla="*/ 101337 h 305904"/>
                <a:gd name="connsiteX83" fmla="*/ 17202 w 361788"/>
                <a:gd name="connsiteY83" fmla="*/ 95440 h 305904"/>
                <a:gd name="connsiteX84" fmla="*/ 13783 w 361788"/>
                <a:gd name="connsiteY84" fmla="*/ 83096 h 305904"/>
                <a:gd name="connsiteX85" fmla="*/ 0 w 361788"/>
                <a:gd name="connsiteY85" fmla="*/ 81296 h 305904"/>
                <a:gd name="connsiteX86" fmla="*/ 7401 w 361788"/>
                <a:gd name="connsiteY86" fmla="*/ 65561 h 305904"/>
                <a:gd name="connsiteX87" fmla="*/ 10668 w 361788"/>
                <a:gd name="connsiteY87" fmla="*/ 46329 h 305904"/>
                <a:gd name="connsiteX88" fmla="*/ 18431 w 361788"/>
                <a:gd name="connsiteY88" fmla="*/ 36300 h 305904"/>
                <a:gd name="connsiteX89" fmla="*/ 28765 w 361788"/>
                <a:gd name="connsiteY89" fmla="*/ 28546 h 305904"/>
                <a:gd name="connsiteX90" fmla="*/ 35547 w 361788"/>
                <a:gd name="connsiteY90" fmla="*/ 15021 h 30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361788" h="305904">
                  <a:moveTo>
                    <a:pt x="52702" y="10478"/>
                  </a:moveTo>
                  <a:lnTo>
                    <a:pt x="51940" y="16878"/>
                  </a:lnTo>
                  <a:lnTo>
                    <a:pt x="36261" y="20031"/>
                  </a:lnTo>
                  <a:lnTo>
                    <a:pt x="44967" y="32318"/>
                  </a:lnTo>
                  <a:lnTo>
                    <a:pt x="44643" y="46434"/>
                  </a:lnTo>
                  <a:lnTo>
                    <a:pt x="32861" y="62093"/>
                  </a:lnTo>
                  <a:lnTo>
                    <a:pt x="42977" y="83439"/>
                  </a:lnTo>
                  <a:lnTo>
                    <a:pt x="54492" y="81686"/>
                  </a:lnTo>
                  <a:lnTo>
                    <a:pt x="60484" y="62246"/>
                  </a:lnTo>
                  <a:lnTo>
                    <a:pt x="52206" y="52759"/>
                  </a:lnTo>
                  <a:lnTo>
                    <a:pt x="50854" y="32328"/>
                  </a:lnTo>
                  <a:lnTo>
                    <a:pt x="84115" y="21326"/>
                  </a:lnTo>
                  <a:lnTo>
                    <a:pt x="80410" y="8563"/>
                  </a:lnTo>
                  <a:lnTo>
                    <a:pt x="89783" y="0"/>
                  </a:lnTo>
                  <a:lnTo>
                    <a:pt x="99365" y="19050"/>
                  </a:lnTo>
                  <a:lnTo>
                    <a:pt x="118091" y="19488"/>
                  </a:lnTo>
                  <a:lnTo>
                    <a:pt x="135446" y="34576"/>
                  </a:lnTo>
                  <a:lnTo>
                    <a:pt x="136493" y="43520"/>
                  </a:lnTo>
                  <a:lnTo>
                    <a:pt x="160468" y="43758"/>
                  </a:lnTo>
                  <a:lnTo>
                    <a:pt x="189004" y="40977"/>
                  </a:lnTo>
                  <a:lnTo>
                    <a:pt x="204301" y="53064"/>
                  </a:lnTo>
                  <a:lnTo>
                    <a:pt x="224723" y="56388"/>
                  </a:lnTo>
                  <a:lnTo>
                    <a:pt x="239706" y="47968"/>
                  </a:lnTo>
                  <a:lnTo>
                    <a:pt x="240011" y="41177"/>
                  </a:lnTo>
                  <a:lnTo>
                    <a:pt x="273091" y="39548"/>
                  </a:lnTo>
                  <a:lnTo>
                    <a:pt x="305095" y="39167"/>
                  </a:lnTo>
                  <a:lnTo>
                    <a:pt x="282416" y="47139"/>
                  </a:lnTo>
                  <a:lnTo>
                    <a:pt x="291541" y="59874"/>
                  </a:lnTo>
                  <a:lnTo>
                    <a:pt x="312896" y="61893"/>
                  </a:lnTo>
                  <a:lnTo>
                    <a:pt x="333146" y="75124"/>
                  </a:lnTo>
                  <a:lnTo>
                    <a:pt x="337404" y="96641"/>
                  </a:lnTo>
                  <a:lnTo>
                    <a:pt x="351320" y="96041"/>
                  </a:lnTo>
                  <a:lnTo>
                    <a:pt x="361788" y="102365"/>
                  </a:lnTo>
                  <a:lnTo>
                    <a:pt x="340623" y="118100"/>
                  </a:lnTo>
                  <a:lnTo>
                    <a:pt x="338290" y="127863"/>
                  </a:lnTo>
                  <a:lnTo>
                    <a:pt x="347434" y="137789"/>
                  </a:lnTo>
                  <a:lnTo>
                    <a:pt x="340805" y="142799"/>
                  </a:lnTo>
                  <a:lnTo>
                    <a:pt x="324364" y="147085"/>
                  </a:lnTo>
                  <a:lnTo>
                    <a:pt x="324898" y="159410"/>
                  </a:lnTo>
                  <a:lnTo>
                    <a:pt x="317659" y="166754"/>
                  </a:lnTo>
                  <a:lnTo>
                    <a:pt x="335737" y="186985"/>
                  </a:lnTo>
                  <a:lnTo>
                    <a:pt x="339271" y="194500"/>
                  </a:lnTo>
                  <a:lnTo>
                    <a:pt x="329508" y="204654"/>
                  </a:lnTo>
                  <a:lnTo>
                    <a:pt x="299637" y="214617"/>
                  </a:lnTo>
                  <a:lnTo>
                    <a:pt x="280425" y="218742"/>
                  </a:lnTo>
                  <a:lnTo>
                    <a:pt x="272720" y="225028"/>
                  </a:lnTo>
                  <a:lnTo>
                    <a:pt x="251488" y="218380"/>
                  </a:lnTo>
                  <a:lnTo>
                    <a:pt x="231715" y="214979"/>
                  </a:lnTo>
                  <a:lnTo>
                    <a:pt x="226704" y="217427"/>
                  </a:lnTo>
                  <a:lnTo>
                    <a:pt x="238658" y="224323"/>
                  </a:lnTo>
                  <a:lnTo>
                    <a:pt x="237582" y="242135"/>
                  </a:lnTo>
                  <a:lnTo>
                    <a:pt x="241287" y="258870"/>
                  </a:lnTo>
                  <a:lnTo>
                    <a:pt x="263918" y="261147"/>
                  </a:lnTo>
                  <a:lnTo>
                    <a:pt x="265357" y="266729"/>
                  </a:lnTo>
                  <a:lnTo>
                    <a:pt x="246278" y="274282"/>
                  </a:lnTo>
                  <a:lnTo>
                    <a:pt x="243183" y="285521"/>
                  </a:lnTo>
                  <a:lnTo>
                    <a:pt x="232181" y="289874"/>
                  </a:lnTo>
                  <a:lnTo>
                    <a:pt x="212322" y="296066"/>
                  </a:lnTo>
                  <a:lnTo>
                    <a:pt x="207150" y="304190"/>
                  </a:lnTo>
                  <a:lnTo>
                    <a:pt x="186385" y="305905"/>
                  </a:lnTo>
                  <a:lnTo>
                    <a:pt x="171688" y="291875"/>
                  </a:lnTo>
                  <a:lnTo>
                    <a:pt x="163544" y="265404"/>
                  </a:lnTo>
                  <a:lnTo>
                    <a:pt x="156438" y="256127"/>
                  </a:lnTo>
                  <a:lnTo>
                    <a:pt x="146752" y="250269"/>
                  </a:lnTo>
                  <a:lnTo>
                    <a:pt x="160287" y="237049"/>
                  </a:lnTo>
                  <a:lnTo>
                    <a:pt x="159363" y="231095"/>
                  </a:lnTo>
                  <a:lnTo>
                    <a:pt x="151771" y="223199"/>
                  </a:lnTo>
                  <a:lnTo>
                    <a:pt x="146399" y="205521"/>
                  </a:lnTo>
                  <a:lnTo>
                    <a:pt x="148495" y="186423"/>
                  </a:lnTo>
                  <a:lnTo>
                    <a:pt x="154457" y="177479"/>
                  </a:lnTo>
                  <a:lnTo>
                    <a:pt x="159267" y="163116"/>
                  </a:lnTo>
                  <a:lnTo>
                    <a:pt x="149819" y="158534"/>
                  </a:lnTo>
                  <a:lnTo>
                    <a:pt x="134598" y="161572"/>
                  </a:lnTo>
                  <a:lnTo>
                    <a:pt x="115357" y="160144"/>
                  </a:lnTo>
                  <a:lnTo>
                    <a:pt x="104565" y="163001"/>
                  </a:lnTo>
                  <a:lnTo>
                    <a:pt x="85772" y="140017"/>
                  </a:lnTo>
                  <a:lnTo>
                    <a:pt x="70256" y="136617"/>
                  </a:lnTo>
                  <a:lnTo>
                    <a:pt x="35909" y="139189"/>
                  </a:lnTo>
                  <a:lnTo>
                    <a:pt x="29546" y="129864"/>
                  </a:lnTo>
                  <a:lnTo>
                    <a:pt x="22974" y="127625"/>
                  </a:lnTo>
                  <a:lnTo>
                    <a:pt x="22041" y="122044"/>
                  </a:lnTo>
                  <a:lnTo>
                    <a:pt x="25213" y="112128"/>
                  </a:lnTo>
                  <a:lnTo>
                    <a:pt x="23098" y="101337"/>
                  </a:lnTo>
                  <a:lnTo>
                    <a:pt x="17202" y="95440"/>
                  </a:lnTo>
                  <a:lnTo>
                    <a:pt x="13783" y="83096"/>
                  </a:lnTo>
                  <a:lnTo>
                    <a:pt x="0" y="81296"/>
                  </a:lnTo>
                  <a:lnTo>
                    <a:pt x="7401" y="65561"/>
                  </a:lnTo>
                  <a:lnTo>
                    <a:pt x="10668" y="46329"/>
                  </a:lnTo>
                  <a:lnTo>
                    <a:pt x="18431" y="36300"/>
                  </a:lnTo>
                  <a:lnTo>
                    <a:pt x="28765" y="28546"/>
                  </a:lnTo>
                  <a:lnTo>
                    <a:pt x="35547" y="150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" name="Forme libre : forme 5821">
              <a:extLst>
                <a:ext uri="{FF2B5EF4-FFF2-40B4-BE49-F238E27FC236}">
                  <a16:creationId xmlns:a16="http://schemas.microsoft.com/office/drawing/2014/main" id="{19D94C64-5930-8EC8-F36F-A802F90D57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549535" y="4105041"/>
              <a:ext cx="191347" cy="408603"/>
            </a:xfrm>
            <a:custGeom>
              <a:avLst/>
              <a:gdLst>
                <a:gd name="connsiteX0" fmla="*/ 157029 w 191347"/>
                <a:gd name="connsiteY0" fmla="*/ 51711 h 408603"/>
                <a:gd name="connsiteX1" fmla="*/ 121368 w 191347"/>
                <a:gd name="connsiteY1" fmla="*/ 76067 h 408603"/>
                <a:gd name="connsiteX2" fmla="*/ 99117 w 191347"/>
                <a:gd name="connsiteY2" fmla="*/ 102794 h 408603"/>
                <a:gd name="connsiteX3" fmla="*/ 93250 w 191347"/>
                <a:gd name="connsiteY3" fmla="*/ 122329 h 408603"/>
                <a:gd name="connsiteX4" fmla="*/ 113672 w 191347"/>
                <a:gd name="connsiteY4" fmla="*/ 151838 h 408603"/>
                <a:gd name="connsiteX5" fmla="*/ 138646 w 191347"/>
                <a:gd name="connsiteY5" fmla="*/ 188176 h 408603"/>
                <a:gd name="connsiteX6" fmla="*/ 162877 w 191347"/>
                <a:gd name="connsiteY6" fmla="*/ 205264 h 408603"/>
                <a:gd name="connsiteX7" fmla="*/ 179108 w 191347"/>
                <a:gd name="connsiteY7" fmla="*/ 227400 h 408603"/>
                <a:gd name="connsiteX8" fmla="*/ 191348 w 191347"/>
                <a:gd name="connsiteY8" fmla="*/ 278101 h 408603"/>
                <a:gd name="connsiteX9" fmla="*/ 187738 w 191347"/>
                <a:gd name="connsiteY9" fmla="*/ 325926 h 408603"/>
                <a:gd name="connsiteX10" fmla="*/ 165468 w 191347"/>
                <a:gd name="connsiteY10" fmla="*/ 343748 h 408603"/>
                <a:gd name="connsiteX11" fmla="*/ 134884 w 191347"/>
                <a:gd name="connsiteY11" fmla="*/ 361131 h 408603"/>
                <a:gd name="connsiteX12" fmla="*/ 113100 w 191347"/>
                <a:gd name="connsiteY12" fmla="*/ 383591 h 408603"/>
                <a:gd name="connsiteX13" fmla="*/ 79800 w 191347"/>
                <a:gd name="connsiteY13" fmla="*/ 408604 h 408603"/>
                <a:gd name="connsiteX14" fmla="*/ 70095 w 191347"/>
                <a:gd name="connsiteY14" fmla="*/ 391382 h 408603"/>
                <a:gd name="connsiteX15" fmla="*/ 77600 w 191347"/>
                <a:gd name="connsiteY15" fmla="*/ 373161 h 408603"/>
                <a:gd name="connsiteX16" fmla="*/ 57788 w 191347"/>
                <a:gd name="connsiteY16" fmla="*/ 357845 h 408603"/>
                <a:gd name="connsiteX17" fmla="*/ 80906 w 191347"/>
                <a:gd name="connsiteY17" fmla="*/ 346967 h 408603"/>
                <a:gd name="connsiteX18" fmla="*/ 108938 w 191347"/>
                <a:gd name="connsiteY18" fmla="*/ 345005 h 408603"/>
                <a:gd name="connsiteX19" fmla="*/ 97212 w 191347"/>
                <a:gd name="connsiteY19" fmla="*/ 328613 h 408603"/>
                <a:gd name="connsiteX20" fmla="*/ 142104 w 191347"/>
                <a:gd name="connsiteY20" fmla="*/ 307743 h 408603"/>
                <a:gd name="connsiteX21" fmla="*/ 145389 w 191347"/>
                <a:gd name="connsiteY21" fmla="*/ 275111 h 408603"/>
                <a:gd name="connsiteX22" fmla="*/ 139198 w 191347"/>
                <a:gd name="connsiteY22" fmla="*/ 256880 h 408603"/>
                <a:gd name="connsiteX23" fmla="*/ 144056 w 191347"/>
                <a:gd name="connsiteY23" fmla="*/ 229448 h 408603"/>
                <a:gd name="connsiteX24" fmla="*/ 137332 w 191347"/>
                <a:gd name="connsiteY24" fmla="*/ 209988 h 408603"/>
                <a:gd name="connsiteX25" fmla="*/ 117129 w 191347"/>
                <a:gd name="connsiteY25" fmla="*/ 190757 h 408603"/>
                <a:gd name="connsiteX26" fmla="*/ 100289 w 191347"/>
                <a:gd name="connsiteY26" fmla="*/ 166297 h 408603"/>
                <a:gd name="connsiteX27" fmla="*/ 78095 w 191347"/>
                <a:gd name="connsiteY27" fmla="*/ 133293 h 408603"/>
                <a:gd name="connsiteX28" fmla="*/ 46091 w 191347"/>
                <a:gd name="connsiteY28" fmla="*/ 116510 h 408603"/>
                <a:gd name="connsiteX29" fmla="*/ 53759 w 191347"/>
                <a:gd name="connsiteY29" fmla="*/ 106385 h 408603"/>
                <a:gd name="connsiteX30" fmla="*/ 70828 w 191347"/>
                <a:gd name="connsiteY30" fmla="*/ 98993 h 408603"/>
                <a:gd name="connsiteX31" fmla="*/ 60474 w 191347"/>
                <a:gd name="connsiteY31" fmla="*/ 74304 h 408603"/>
                <a:gd name="connsiteX32" fmla="*/ 27594 w 191347"/>
                <a:gd name="connsiteY32" fmla="*/ 74085 h 408603"/>
                <a:gd name="connsiteX33" fmla="*/ 15602 w 191347"/>
                <a:gd name="connsiteY33" fmla="*/ 48206 h 408603"/>
                <a:gd name="connsiteX34" fmla="*/ 0 w 191347"/>
                <a:gd name="connsiteY34" fmla="*/ 25575 h 408603"/>
                <a:gd name="connsiteX35" fmla="*/ 14335 w 191347"/>
                <a:gd name="connsiteY35" fmla="*/ 18564 h 408603"/>
                <a:gd name="connsiteX36" fmla="*/ 35633 w 191347"/>
                <a:gd name="connsiteY36" fmla="*/ 18707 h 408603"/>
                <a:gd name="connsiteX37" fmla="*/ 61589 w 191347"/>
                <a:gd name="connsiteY37" fmla="*/ 15383 h 408603"/>
                <a:gd name="connsiteX38" fmla="*/ 84354 w 191347"/>
                <a:gd name="connsiteY38" fmla="*/ 0 h 408603"/>
                <a:gd name="connsiteX39" fmla="*/ 97231 w 191347"/>
                <a:gd name="connsiteY39" fmla="*/ 10839 h 408603"/>
                <a:gd name="connsiteX40" fmla="*/ 121644 w 191347"/>
                <a:gd name="connsiteY40" fmla="*/ 16097 h 408603"/>
                <a:gd name="connsiteX41" fmla="*/ 117424 w 191347"/>
                <a:gd name="connsiteY41" fmla="*/ 32661 h 408603"/>
                <a:gd name="connsiteX42" fmla="*/ 130140 w 191347"/>
                <a:gd name="connsiteY42" fmla="*/ 44301 h 40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91347" h="408603">
                  <a:moveTo>
                    <a:pt x="157029" y="51711"/>
                  </a:moveTo>
                  <a:lnTo>
                    <a:pt x="121368" y="76067"/>
                  </a:lnTo>
                  <a:lnTo>
                    <a:pt x="99117" y="102794"/>
                  </a:lnTo>
                  <a:lnTo>
                    <a:pt x="93250" y="122329"/>
                  </a:lnTo>
                  <a:lnTo>
                    <a:pt x="113672" y="151838"/>
                  </a:lnTo>
                  <a:lnTo>
                    <a:pt x="138646" y="188176"/>
                  </a:lnTo>
                  <a:lnTo>
                    <a:pt x="162877" y="205264"/>
                  </a:lnTo>
                  <a:lnTo>
                    <a:pt x="179108" y="227400"/>
                  </a:lnTo>
                  <a:lnTo>
                    <a:pt x="191348" y="278101"/>
                  </a:lnTo>
                  <a:lnTo>
                    <a:pt x="187738" y="325926"/>
                  </a:lnTo>
                  <a:lnTo>
                    <a:pt x="165468" y="343748"/>
                  </a:lnTo>
                  <a:lnTo>
                    <a:pt x="134884" y="361131"/>
                  </a:lnTo>
                  <a:lnTo>
                    <a:pt x="113100" y="383591"/>
                  </a:lnTo>
                  <a:lnTo>
                    <a:pt x="79800" y="408604"/>
                  </a:lnTo>
                  <a:lnTo>
                    <a:pt x="70095" y="391382"/>
                  </a:lnTo>
                  <a:lnTo>
                    <a:pt x="77600" y="373161"/>
                  </a:lnTo>
                  <a:lnTo>
                    <a:pt x="57788" y="357845"/>
                  </a:lnTo>
                  <a:lnTo>
                    <a:pt x="80906" y="346967"/>
                  </a:lnTo>
                  <a:lnTo>
                    <a:pt x="108938" y="345005"/>
                  </a:lnTo>
                  <a:lnTo>
                    <a:pt x="97212" y="328613"/>
                  </a:lnTo>
                  <a:lnTo>
                    <a:pt x="142104" y="307743"/>
                  </a:lnTo>
                  <a:lnTo>
                    <a:pt x="145389" y="275111"/>
                  </a:lnTo>
                  <a:lnTo>
                    <a:pt x="139198" y="256880"/>
                  </a:lnTo>
                  <a:lnTo>
                    <a:pt x="144056" y="229448"/>
                  </a:lnTo>
                  <a:lnTo>
                    <a:pt x="137332" y="209988"/>
                  </a:lnTo>
                  <a:lnTo>
                    <a:pt x="117129" y="190757"/>
                  </a:lnTo>
                  <a:lnTo>
                    <a:pt x="100289" y="166297"/>
                  </a:lnTo>
                  <a:lnTo>
                    <a:pt x="78095" y="133293"/>
                  </a:lnTo>
                  <a:lnTo>
                    <a:pt x="46091" y="116510"/>
                  </a:lnTo>
                  <a:lnTo>
                    <a:pt x="53759" y="106385"/>
                  </a:lnTo>
                  <a:lnTo>
                    <a:pt x="70828" y="98993"/>
                  </a:lnTo>
                  <a:lnTo>
                    <a:pt x="60474" y="74304"/>
                  </a:lnTo>
                  <a:lnTo>
                    <a:pt x="27594" y="74085"/>
                  </a:lnTo>
                  <a:lnTo>
                    <a:pt x="15602" y="48206"/>
                  </a:lnTo>
                  <a:lnTo>
                    <a:pt x="0" y="25575"/>
                  </a:lnTo>
                  <a:lnTo>
                    <a:pt x="14335" y="18564"/>
                  </a:lnTo>
                  <a:lnTo>
                    <a:pt x="35633" y="18707"/>
                  </a:lnTo>
                  <a:lnTo>
                    <a:pt x="61589" y="15383"/>
                  </a:lnTo>
                  <a:lnTo>
                    <a:pt x="84354" y="0"/>
                  </a:lnTo>
                  <a:lnTo>
                    <a:pt x="97231" y="10839"/>
                  </a:lnTo>
                  <a:lnTo>
                    <a:pt x="121644" y="16097"/>
                  </a:lnTo>
                  <a:lnTo>
                    <a:pt x="117424" y="32661"/>
                  </a:lnTo>
                  <a:lnTo>
                    <a:pt x="130140" y="443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" name="Forme libre : forme 5822">
              <a:extLst>
                <a:ext uri="{FF2B5EF4-FFF2-40B4-BE49-F238E27FC236}">
                  <a16:creationId xmlns:a16="http://schemas.microsoft.com/office/drawing/2014/main" id="{3D5F4371-B232-B662-CA6D-AFDB46AC14B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271007" y="5135007"/>
              <a:ext cx="32470" cy="54321"/>
            </a:xfrm>
            <a:custGeom>
              <a:avLst/>
              <a:gdLst>
                <a:gd name="connsiteX0" fmla="*/ 32471 w 32470"/>
                <a:gd name="connsiteY0" fmla="*/ 50683 h 54321"/>
                <a:gd name="connsiteX1" fmla="*/ 23660 w 32470"/>
                <a:gd name="connsiteY1" fmla="*/ 54321 h 54321"/>
                <a:gd name="connsiteX2" fmla="*/ 14716 w 32470"/>
                <a:gd name="connsiteY2" fmla="*/ 42205 h 54321"/>
                <a:gd name="connsiteX3" fmla="*/ 15707 w 32470"/>
                <a:gd name="connsiteY3" fmla="*/ 34804 h 54321"/>
                <a:gd name="connsiteX4" fmla="*/ 32471 w 32470"/>
                <a:gd name="connsiteY4" fmla="*/ 50683 h 54321"/>
                <a:gd name="connsiteX5" fmla="*/ 12792 w 32470"/>
                <a:gd name="connsiteY5" fmla="*/ 8439 h 54321"/>
                <a:gd name="connsiteX6" fmla="*/ 17126 w 32470"/>
                <a:gd name="connsiteY6" fmla="*/ 30623 h 54321"/>
                <a:gd name="connsiteX7" fmla="*/ 9944 w 32470"/>
                <a:gd name="connsiteY7" fmla="*/ 27165 h 54321"/>
                <a:gd name="connsiteX8" fmla="*/ 4382 w 32470"/>
                <a:gd name="connsiteY8" fmla="*/ 28661 h 54321"/>
                <a:gd name="connsiteX9" fmla="*/ 562 w 32470"/>
                <a:gd name="connsiteY9" fmla="*/ 21050 h 54321"/>
                <a:gd name="connsiteX10" fmla="*/ 0 w 32470"/>
                <a:gd name="connsiteY10" fmla="*/ 0 h 54321"/>
                <a:gd name="connsiteX11" fmla="*/ 12792 w 32470"/>
                <a:gd name="connsiteY11" fmla="*/ 8439 h 54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470" h="54321">
                  <a:moveTo>
                    <a:pt x="32471" y="50683"/>
                  </a:moveTo>
                  <a:lnTo>
                    <a:pt x="23660" y="54321"/>
                  </a:lnTo>
                  <a:lnTo>
                    <a:pt x="14716" y="42205"/>
                  </a:lnTo>
                  <a:lnTo>
                    <a:pt x="15707" y="34804"/>
                  </a:lnTo>
                  <a:lnTo>
                    <a:pt x="32471" y="50683"/>
                  </a:lnTo>
                  <a:close/>
                  <a:moveTo>
                    <a:pt x="12792" y="8439"/>
                  </a:moveTo>
                  <a:lnTo>
                    <a:pt x="17126" y="30623"/>
                  </a:lnTo>
                  <a:lnTo>
                    <a:pt x="9944" y="27165"/>
                  </a:lnTo>
                  <a:lnTo>
                    <a:pt x="4382" y="28661"/>
                  </a:lnTo>
                  <a:lnTo>
                    <a:pt x="562" y="21050"/>
                  </a:lnTo>
                  <a:lnTo>
                    <a:pt x="0" y="0"/>
                  </a:lnTo>
                  <a:lnTo>
                    <a:pt x="12792" y="84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" name="Forme libre : forme 5823">
              <a:extLst>
                <a:ext uri="{FF2B5EF4-FFF2-40B4-BE49-F238E27FC236}">
                  <a16:creationId xmlns:a16="http://schemas.microsoft.com/office/drawing/2014/main" id="{5D6F8066-5E4D-02A0-E373-19ABE9C486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958736" y="4228999"/>
              <a:ext cx="280511" cy="177022"/>
            </a:xfrm>
            <a:custGeom>
              <a:avLst/>
              <a:gdLst>
                <a:gd name="connsiteX0" fmla="*/ 280511 w 280511"/>
                <a:gd name="connsiteY0" fmla="*/ 65503 h 177022"/>
                <a:gd name="connsiteX1" fmla="*/ 261204 w 280511"/>
                <a:gd name="connsiteY1" fmla="*/ 72942 h 177022"/>
                <a:gd name="connsiteX2" fmla="*/ 256032 w 280511"/>
                <a:gd name="connsiteY2" fmla="*/ 85211 h 177022"/>
                <a:gd name="connsiteX3" fmla="*/ 255394 w 280511"/>
                <a:gd name="connsiteY3" fmla="*/ 94612 h 177022"/>
                <a:gd name="connsiteX4" fmla="*/ 228809 w 280511"/>
                <a:gd name="connsiteY4" fmla="*/ 106232 h 177022"/>
                <a:gd name="connsiteX5" fmla="*/ 186137 w 280511"/>
                <a:gd name="connsiteY5" fmla="*/ 119053 h 177022"/>
                <a:gd name="connsiteX6" fmla="*/ 162220 w 280511"/>
                <a:gd name="connsiteY6" fmla="*/ 138379 h 177022"/>
                <a:gd name="connsiteX7" fmla="*/ 150466 w 280511"/>
                <a:gd name="connsiteY7" fmla="*/ 139884 h 177022"/>
                <a:gd name="connsiteX8" fmla="*/ 142456 w 280511"/>
                <a:gd name="connsiteY8" fmla="*/ 138265 h 177022"/>
                <a:gd name="connsiteX9" fmla="*/ 126845 w 280511"/>
                <a:gd name="connsiteY9" fmla="*/ 149609 h 177022"/>
                <a:gd name="connsiteX10" fmla="*/ 109824 w 280511"/>
                <a:gd name="connsiteY10" fmla="*/ 154857 h 177022"/>
                <a:gd name="connsiteX11" fmla="*/ 87402 w 280511"/>
                <a:gd name="connsiteY11" fmla="*/ 156277 h 177022"/>
                <a:gd name="connsiteX12" fmla="*/ 80658 w 280511"/>
                <a:gd name="connsiteY12" fmla="*/ 157829 h 177022"/>
                <a:gd name="connsiteX13" fmla="*/ 74819 w 280511"/>
                <a:gd name="connsiteY13" fmla="*/ 165020 h 177022"/>
                <a:gd name="connsiteX14" fmla="*/ 67818 w 280511"/>
                <a:gd name="connsiteY14" fmla="*/ 167011 h 177022"/>
                <a:gd name="connsiteX15" fmla="*/ 63684 w 280511"/>
                <a:gd name="connsiteY15" fmla="*/ 173936 h 177022"/>
                <a:gd name="connsiteX16" fmla="*/ 50463 w 280511"/>
                <a:gd name="connsiteY16" fmla="*/ 173336 h 177022"/>
                <a:gd name="connsiteX17" fmla="*/ 41929 w 280511"/>
                <a:gd name="connsiteY17" fmla="*/ 177022 h 177022"/>
                <a:gd name="connsiteX18" fmla="*/ 23450 w 280511"/>
                <a:gd name="connsiteY18" fmla="*/ 175641 h 177022"/>
                <a:gd name="connsiteX19" fmla="*/ 16497 w 280511"/>
                <a:gd name="connsiteY19" fmla="*/ 159734 h 177022"/>
                <a:gd name="connsiteX20" fmla="*/ 17259 w 280511"/>
                <a:gd name="connsiteY20" fmla="*/ 144818 h 177022"/>
                <a:gd name="connsiteX21" fmla="*/ 12897 w 280511"/>
                <a:gd name="connsiteY21" fmla="*/ 136750 h 177022"/>
                <a:gd name="connsiteX22" fmla="*/ 7677 w 280511"/>
                <a:gd name="connsiteY22" fmla="*/ 116481 h 177022"/>
                <a:gd name="connsiteX23" fmla="*/ 0 w 280511"/>
                <a:gd name="connsiteY23" fmla="*/ 105185 h 177022"/>
                <a:gd name="connsiteX24" fmla="*/ 5343 w 280511"/>
                <a:gd name="connsiteY24" fmla="*/ 103851 h 177022"/>
                <a:gd name="connsiteX25" fmla="*/ 2600 w 280511"/>
                <a:gd name="connsiteY25" fmla="*/ 91269 h 177022"/>
                <a:gd name="connsiteX26" fmla="*/ 5839 w 280511"/>
                <a:gd name="connsiteY26" fmla="*/ 85944 h 177022"/>
                <a:gd name="connsiteX27" fmla="*/ 4658 w 280511"/>
                <a:gd name="connsiteY27" fmla="*/ 73895 h 177022"/>
                <a:gd name="connsiteX28" fmla="*/ 16383 w 280511"/>
                <a:gd name="connsiteY28" fmla="*/ 65065 h 177022"/>
                <a:gd name="connsiteX29" fmla="*/ 13649 w 280511"/>
                <a:gd name="connsiteY29" fmla="*/ 53369 h 177022"/>
                <a:gd name="connsiteX30" fmla="*/ 20717 w 280511"/>
                <a:gd name="connsiteY30" fmla="*/ 39700 h 177022"/>
                <a:gd name="connsiteX31" fmla="*/ 31690 w 280511"/>
                <a:gd name="connsiteY31" fmla="*/ 46939 h 177022"/>
                <a:gd name="connsiteX32" fmla="*/ 38928 w 280511"/>
                <a:gd name="connsiteY32" fmla="*/ 44425 h 177022"/>
                <a:gd name="connsiteX33" fmla="*/ 69752 w 280511"/>
                <a:gd name="connsiteY33" fmla="*/ 43786 h 177022"/>
                <a:gd name="connsiteX34" fmla="*/ 74647 w 280511"/>
                <a:gd name="connsiteY34" fmla="*/ 46568 h 177022"/>
                <a:gd name="connsiteX35" fmla="*/ 100460 w 280511"/>
                <a:gd name="connsiteY35" fmla="*/ 49349 h 177022"/>
                <a:gd name="connsiteX36" fmla="*/ 110700 w 280511"/>
                <a:gd name="connsiteY36" fmla="*/ 47958 h 177022"/>
                <a:gd name="connsiteX37" fmla="*/ 117377 w 280511"/>
                <a:gd name="connsiteY37" fmla="*/ 57217 h 177022"/>
                <a:gd name="connsiteX38" fmla="*/ 129845 w 280511"/>
                <a:gd name="connsiteY38" fmla="*/ 52587 h 177022"/>
                <a:gd name="connsiteX39" fmla="*/ 148980 w 280511"/>
                <a:gd name="connsiteY39" fmla="*/ 23336 h 177022"/>
                <a:gd name="connsiteX40" fmla="*/ 173907 w 280511"/>
                <a:gd name="connsiteY40" fmla="*/ 10754 h 177022"/>
                <a:gd name="connsiteX41" fmla="*/ 250917 w 280511"/>
                <a:gd name="connsiteY41" fmla="*/ 0 h 177022"/>
                <a:gd name="connsiteX42" fmla="*/ 271796 w 280511"/>
                <a:gd name="connsiteY42" fmla="*/ 46111 h 177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80511" h="177022">
                  <a:moveTo>
                    <a:pt x="280511" y="65503"/>
                  </a:moveTo>
                  <a:lnTo>
                    <a:pt x="261204" y="72942"/>
                  </a:lnTo>
                  <a:lnTo>
                    <a:pt x="256032" y="85211"/>
                  </a:lnTo>
                  <a:lnTo>
                    <a:pt x="255394" y="94612"/>
                  </a:lnTo>
                  <a:lnTo>
                    <a:pt x="228809" y="106232"/>
                  </a:lnTo>
                  <a:lnTo>
                    <a:pt x="186137" y="119053"/>
                  </a:lnTo>
                  <a:lnTo>
                    <a:pt x="162220" y="138379"/>
                  </a:lnTo>
                  <a:lnTo>
                    <a:pt x="150466" y="139884"/>
                  </a:lnTo>
                  <a:lnTo>
                    <a:pt x="142456" y="138265"/>
                  </a:lnTo>
                  <a:lnTo>
                    <a:pt x="126845" y="149609"/>
                  </a:lnTo>
                  <a:lnTo>
                    <a:pt x="109824" y="154857"/>
                  </a:lnTo>
                  <a:lnTo>
                    <a:pt x="87402" y="156277"/>
                  </a:lnTo>
                  <a:lnTo>
                    <a:pt x="80658" y="157829"/>
                  </a:lnTo>
                  <a:lnTo>
                    <a:pt x="74819" y="165020"/>
                  </a:lnTo>
                  <a:lnTo>
                    <a:pt x="67818" y="167011"/>
                  </a:lnTo>
                  <a:lnTo>
                    <a:pt x="63684" y="173936"/>
                  </a:lnTo>
                  <a:lnTo>
                    <a:pt x="50463" y="173336"/>
                  </a:lnTo>
                  <a:lnTo>
                    <a:pt x="41929" y="177022"/>
                  </a:lnTo>
                  <a:lnTo>
                    <a:pt x="23450" y="175641"/>
                  </a:lnTo>
                  <a:lnTo>
                    <a:pt x="16497" y="159734"/>
                  </a:lnTo>
                  <a:lnTo>
                    <a:pt x="17259" y="144818"/>
                  </a:lnTo>
                  <a:lnTo>
                    <a:pt x="12897" y="136750"/>
                  </a:lnTo>
                  <a:lnTo>
                    <a:pt x="7677" y="116481"/>
                  </a:lnTo>
                  <a:lnTo>
                    <a:pt x="0" y="105185"/>
                  </a:lnTo>
                  <a:lnTo>
                    <a:pt x="5343" y="103851"/>
                  </a:lnTo>
                  <a:lnTo>
                    <a:pt x="2600" y="91269"/>
                  </a:lnTo>
                  <a:lnTo>
                    <a:pt x="5839" y="85944"/>
                  </a:lnTo>
                  <a:lnTo>
                    <a:pt x="4658" y="73895"/>
                  </a:lnTo>
                  <a:lnTo>
                    <a:pt x="16383" y="65065"/>
                  </a:lnTo>
                  <a:lnTo>
                    <a:pt x="13649" y="53369"/>
                  </a:lnTo>
                  <a:lnTo>
                    <a:pt x="20717" y="39700"/>
                  </a:lnTo>
                  <a:lnTo>
                    <a:pt x="31690" y="46939"/>
                  </a:lnTo>
                  <a:lnTo>
                    <a:pt x="38928" y="44425"/>
                  </a:lnTo>
                  <a:lnTo>
                    <a:pt x="69752" y="43786"/>
                  </a:lnTo>
                  <a:lnTo>
                    <a:pt x="74647" y="46568"/>
                  </a:lnTo>
                  <a:lnTo>
                    <a:pt x="100460" y="49349"/>
                  </a:lnTo>
                  <a:lnTo>
                    <a:pt x="110700" y="47958"/>
                  </a:lnTo>
                  <a:lnTo>
                    <a:pt x="117377" y="57217"/>
                  </a:lnTo>
                  <a:lnTo>
                    <a:pt x="129845" y="52587"/>
                  </a:lnTo>
                  <a:lnTo>
                    <a:pt x="148980" y="23336"/>
                  </a:lnTo>
                  <a:lnTo>
                    <a:pt x="173907" y="10754"/>
                  </a:lnTo>
                  <a:lnTo>
                    <a:pt x="250917" y="0"/>
                  </a:lnTo>
                  <a:lnTo>
                    <a:pt x="271796" y="461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" name="Forme libre : forme 5824">
              <a:extLst>
                <a:ext uri="{FF2B5EF4-FFF2-40B4-BE49-F238E27FC236}">
                  <a16:creationId xmlns:a16="http://schemas.microsoft.com/office/drawing/2014/main" id="{4BBA1D23-4B9C-B712-EEF9-A6E9D1383CC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257410" y="5343948"/>
              <a:ext cx="440226" cy="385914"/>
            </a:xfrm>
            <a:custGeom>
              <a:avLst/>
              <a:gdLst>
                <a:gd name="connsiteX0" fmla="*/ 405308 w 440226"/>
                <a:gd name="connsiteY0" fmla="*/ 211417 h 385914"/>
                <a:gd name="connsiteX1" fmla="*/ 400088 w 440226"/>
                <a:gd name="connsiteY1" fmla="*/ 215818 h 385914"/>
                <a:gd name="connsiteX2" fmla="*/ 388772 w 440226"/>
                <a:gd name="connsiteY2" fmla="*/ 231353 h 385914"/>
                <a:gd name="connsiteX3" fmla="*/ 381324 w 440226"/>
                <a:gd name="connsiteY3" fmla="*/ 247145 h 385914"/>
                <a:gd name="connsiteX4" fmla="*/ 366179 w 440226"/>
                <a:gd name="connsiteY4" fmla="*/ 269310 h 385914"/>
                <a:gd name="connsiteX5" fmla="*/ 335995 w 440226"/>
                <a:gd name="connsiteY5" fmla="*/ 301523 h 385914"/>
                <a:gd name="connsiteX6" fmla="*/ 317145 w 440226"/>
                <a:gd name="connsiteY6" fmla="*/ 320421 h 385914"/>
                <a:gd name="connsiteX7" fmla="*/ 296980 w 440226"/>
                <a:gd name="connsiteY7" fmla="*/ 334842 h 385914"/>
                <a:gd name="connsiteX8" fmla="*/ 269062 w 440226"/>
                <a:gd name="connsiteY8" fmla="*/ 347196 h 385914"/>
                <a:gd name="connsiteX9" fmla="*/ 255451 w 440226"/>
                <a:gd name="connsiteY9" fmla="*/ 348853 h 385914"/>
                <a:gd name="connsiteX10" fmla="*/ 252003 w 440226"/>
                <a:gd name="connsiteY10" fmla="*/ 357740 h 385914"/>
                <a:gd name="connsiteX11" fmla="*/ 235772 w 440226"/>
                <a:gd name="connsiteY11" fmla="*/ 353006 h 385914"/>
                <a:gd name="connsiteX12" fmla="*/ 222552 w 440226"/>
                <a:gd name="connsiteY12" fmla="*/ 359102 h 385914"/>
                <a:gd name="connsiteX13" fmla="*/ 193605 w 440226"/>
                <a:gd name="connsiteY13" fmla="*/ 352930 h 385914"/>
                <a:gd name="connsiteX14" fmla="*/ 177422 w 440226"/>
                <a:gd name="connsiteY14" fmla="*/ 356835 h 385914"/>
                <a:gd name="connsiteX15" fmla="*/ 166364 w 440226"/>
                <a:gd name="connsiteY15" fmla="*/ 355159 h 385914"/>
                <a:gd name="connsiteX16" fmla="*/ 138818 w 440226"/>
                <a:gd name="connsiteY16" fmla="*/ 367827 h 385914"/>
                <a:gd name="connsiteX17" fmla="*/ 116014 w 440226"/>
                <a:gd name="connsiteY17" fmla="*/ 372923 h 385914"/>
                <a:gd name="connsiteX18" fmla="*/ 99517 w 440226"/>
                <a:gd name="connsiteY18" fmla="*/ 385134 h 385914"/>
                <a:gd name="connsiteX19" fmla="*/ 87373 w 440226"/>
                <a:gd name="connsiteY19" fmla="*/ 385915 h 385914"/>
                <a:gd name="connsiteX20" fmla="*/ 76067 w 440226"/>
                <a:gd name="connsiteY20" fmla="*/ 374399 h 385914"/>
                <a:gd name="connsiteX21" fmla="*/ 67046 w 440226"/>
                <a:gd name="connsiteY21" fmla="*/ 373809 h 385914"/>
                <a:gd name="connsiteX22" fmla="*/ 55540 w 440226"/>
                <a:gd name="connsiteY22" fmla="*/ 359454 h 385914"/>
                <a:gd name="connsiteX23" fmla="*/ 54273 w 440226"/>
                <a:gd name="connsiteY23" fmla="*/ 363903 h 385914"/>
                <a:gd name="connsiteX24" fmla="*/ 50721 w 440226"/>
                <a:gd name="connsiteY24" fmla="*/ 355282 h 385914"/>
                <a:gd name="connsiteX25" fmla="*/ 50873 w 440226"/>
                <a:gd name="connsiteY25" fmla="*/ 336575 h 385914"/>
                <a:gd name="connsiteX26" fmla="*/ 42196 w 440226"/>
                <a:gd name="connsiteY26" fmla="*/ 315344 h 385914"/>
                <a:gd name="connsiteX27" fmla="*/ 50816 w 440226"/>
                <a:gd name="connsiteY27" fmla="*/ 309601 h 385914"/>
                <a:gd name="connsiteX28" fmla="*/ 50121 w 440226"/>
                <a:gd name="connsiteY28" fmla="*/ 285531 h 385914"/>
                <a:gd name="connsiteX29" fmla="*/ 32633 w 440226"/>
                <a:gd name="connsiteY29" fmla="*/ 256451 h 385914"/>
                <a:gd name="connsiteX30" fmla="*/ 19212 w 440226"/>
                <a:gd name="connsiteY30" fmla="*/ 230381 h 385914"/>
                <a:gd name="connsiteX31" fmla="*/ 19174 w 440226"/>
                <a:gd name="connsiteY31" fmla="*/ 230295 h 385914"/>
                <a:gd name="connsiteX32" fmla="*/ 0 w 440226"/>
                <a:gd name="connsiteY32" fmla="*/ 190738 h 385914"/>
                <a:gd name="connsiteX33" fmla="*/ 12792 w 440226"/>
                <a:gd name="connsiteY33" fmla="*/ 175813 h 385914"/>
                <a:gd name="connsiteX34" fmla="*/ 23336 w 440226"/>
                <a:gd name="connsiteY34" fmla="*/ 184071 h 385914"/>
                <a:gd name="connsiteX35" fmla="*/ 27842 w 440226"/>
                <a:gd name="connsiteY35" fmla="*/ 197005 h 385914"/>
                <a:gd name="connsiteX36" fmla="*/ 39824 w 440226"/>
                <a:gd name="connsiteY36" fmla="*/ 199215 h 385914"/>
                <a:gd name="connsiteX37" fmla="*/ 56617 w 440226"/>
                <a:gd name="connsiteY37" fmla="*/ 204959 h 385914"/>
                <a:gd name="connsiteX38" fmla="*/ 70961 w 440226"/>
                <a:gd name="connsiteY38" fmla="*/ 202739 h 385914"/>
                <a:gd name="connsiteX39" fmla="*/ 94793 w 440226"/>
                <a:gd name="connsiteY39" fmla="*/ 187252 h 385914"/>
                <a:gd name="connsiteX40" fmla="*/ 94822 w 440226"/>
                <a:gd name="connsiteY40" fmla="*/ 77486 h 385914"/>
                <a:gd name="connsiteX41" fmla="*/ 102032 w 440226"/>
                <a:gd name="connsiteY41" fmla="*/ 81877 h 385914"/>
                <a:gd name="connsiteX42" fmla="*/ 117863 w 440226"/>
                <a:gd name="connsiteY42" fmla="*/ 109814 h 385914"/>
                <a:gd name="connsiteX43" fmla="*/ 115405 w 440226"/>
                <a:gd name="connsiteY43" fmla="*/ 127845 h 385914"/>
                <a:gd name="connsiteX44" fmla="*/ 121358 w 440226"/>
                <a:gd name="connsiteY44" fmla="*/ 138284 h 385914"/>
                <a:gd name="connsiteX45" fmla="*/ 140484 w 440226"/>
                <a:gd name="connsiteY45" fmla="*/ 135245 h 385914"/>
                <a:gd name="connsiteX46" fmla="*/ 153838 w 440226"/>
                <a:gd name="connsiteY46" fmla="*/ 121996 h 385914"/>
                <a:gd name="connsiteX47" fmla="*/ 166488 w 440226"/>
                <a:gd name="connsiteY47" fmla="*/ 113090 h 385914"/>
                <a:gd name="connsiteX48" fmla="*/ 173031 w 440226"/>
                <a:gd name="connsiteY48" fmla="*/ 98974 h 385914"/>
                <a:gd name="connsiteX49" fmla="*/ 186061 w 440226"/>
                <a:gd name="connsiteY49" fmla="*/ 92154 h 385914"/>
                <a:gd name="connsiteX50" fmla="*/ 197320 w 440226"/>
                <a:gd name="connsiteY50" fmla="*/ 95726 h 385914"/>
                <a:gd name="connsiteX51" fmla="*/ 210074 w 440226"/>
                <a:gd name="connsiteY51" fmla="*/ 103965 h 385914"/>
                <a:gd name="connsiteX52" fmla="*/ 231810 w 440226"/>
                <a:gd name="connsiteY52" fmla="*/ 105423 h 385914"/>
                <a:gd name="connsiteX53" fmla="*/ 248888 w 440226"/>
                <a:gd name="connsiteY53" fmla="*/ 98565 h 385914"/>
                <a:gd name="connsiteX54" fmla="*/ 251593 w 440226"/>
                <a:gd name="connsiteY54" fmla="*/ 89402 h 385914"/>
                <a:gd name="connsiteX55" fmla="*/ 256289 w 440226"/>
                <a:gd name="connsiteY55" fmla="*/ 75390 h 385914"/>
                <a:gd name="connsiteX56" fmla="*/ 270824 w 440226"/>
                <a:gd name="connsiteY56" fmla="*/ 73047 h 385914"/>
                <a:gd name="connsiteX57" fmla="*/ 278854 w 440226"/>
                <a:gd name="connsiteY57" fmla="*/ 62093 h 385914"/>
                <a:gd name="connsiteX58" fmla="*/ 287750 w 440226"/>
                <a:gd name="connsiteY58" fmla="*/ 42739 h 385914"/>
                <a:gd name="connsiteX59" fmla="*/ 311725 w 440226"/>
                <a:gd name="connsiteY59" fmla="*/ 21164 h 385914"/>
                <a:gd name="connsiteX60" fmla="*/ 349511 w 440226"/>
                <a:gd name="connsiteY60" fmla="*/ 0 h 385914"/>
                <a:gd name="connsiteX61" fmla="*/ 360379 w 440226"/>
                <a:gd name="connsiteY61" fmla="*/ 315 h 385914"/>
                <a:gd name="connsiteX62" fmla="*/ 373304 w 440226"/>
                <a:gd name="connsiteY62" fmla="*/ 5172 h 385914"/>
                <a:gd name="connsiteX63" fmla="*/ 382305 w 440226"/>
                <a:gd name="connsiteY63" fmla="*/ 1734 h 385914"/>
                <a:gd name="connsiteX64" fmla="*/ 396497 w 440226"/>
                <a:gd name="connsiteY64" fmla="*/ 4600 h 385914"/>
                <a:gd name="connsiteX65" fmla="*/ 409290 w 440226"/>
                <a:gd name="connsiteY65" fmla="*/ 45187 h 385914"/>
                <a:gd name="connsiteX66" fmla="*/ 416233 w 440226"/>
                <a:gd name="connsiteY66" fmla="*/ 65837 h 385914"/>
                <a:gd name="connsiteX67" fmla="*/ 411471 w 440226"/>
                <a:gd name="connsiteY67" fmla="*/ 98489 h 385914"/>
                <a:gd name="connsiteX68" fmla="*/ 413747 w 440226"/>
                <a:gd name="connsiteY68" fmla="*/ 109071 h 385914"/>
                <a:gd name="connsiteX69" fmla="*/ 400269 w 440226"/>
                <a:gd name="connsiteY69" fmla="*/ 103670 h 385914"/>
                <a:gd name="connsiteX70" fmla="*/ 392545 w 440226"/>
                <a:gd name="connsiteY70" fmla="*/ 105775 h 385914"/>
                <a:gd name="connsiteX71" fmla="*/ 390020 w 440226"/>
                <a:gd name="connsiteY71" fmla="*/ 114367 h 385914"/>
                <a:gd name="connsiteX72" fmla="*/ 382724 w 440226"/>
                <a:gd name="connsiteY72" fmla="*/ 125482 h 385914"/>
                <a:gd name="connsiteX73" fmla="*/ 382972 w 440226"/>
                <a:gd name="connsiteY73" fmla="*/ 135750 h 385914"/>
                <a:gd name="connsiteX74" fmla="*/ 398907 w 440226"/>
                <a:gd name="connsiteY74" fmla="*/ 151914 h 385914"/>
                <a:gd name="connsiteX75" fmla="*/ 414538 w 440226"/>
                <a:gd name="connsiteY75" fmla="*/ 148695 h 385914"/>
                <a:gd name="connsiteX76" fmla="*/ 419976 w 440226"/>
                <a:gd name="connsiteY76" fmla="*/ 135455 h 385914"/>
                <a:gd name="connsiteX77" fmla="*/ 440227 w 440226"/>
                <a:gd name="connsiteY77" fmla="*/ 135703 h 385914"/>
                <a:gd name="connsiteX78" fmla="*/ 433550 w 440226"/>
                <a:gd name="connsiteY78" fmla="*/ 157429 h 385914"/>
                <a:gd name="connsiteX79" fmla="*/ 430397 w 440226"/>
                <a:gd name="connsiteY79" fmla="*/ 182404 h 385914"/>
                <a:gd name="connsiteX80" fmla="*/ 423482 w 440226"/>
                <a:gd name="connsiteY80" fmla="*/ 196053 h 385914"/>
                <a:gd name="connsiteX81" fmla="*/ 405308 w 440226"/>
                <a:gd name="connsiteY81" fmla="*/ 211417 h 385914"/>
                <a:gd name="connsiteX82" fmla="*/ 337404 w 440226"/>
                <a:gd name="connsiteY82" fmla="*/ 202244 h 385914"/>
                <a:gd name="connsiteX83" fmla="*/ 325746 w 440226"/>
                <a:gd name="connsiteY83" fmla="*/ 192910 h 385914"/>
                <a:gd name="connsiteX84" fmla="*/ 313258 w 440226"/>
                <a:gd name="connsiteY84" fmla="*/ 199091 h 385914"/>
                <a:gd name="connsiteX85" fmla="*/ 298790 w 440226"/>
                <a:gd name="connsiteY85" fmla="*/ 210979 h 385914"/>
                <a:gd name="connsiteX86" fmla="*/ 284550 w 440226"/>
                <a:gd name="connsiteY86" fmla="*/ 230324 h 385914"/>
                <a:gd name="connsiteX87" fmla="*/ 304581 w 440226"/>
                <a:gd name="connsiteY87" fmla="*/ 253984 h 385914"/>
                <a:gd name="connsiteX88" fmla="*/ 314134 w 440226"/>
                <a:gd name="connsiteY88" fmla="*/ 250917 h 385914"/>
                <a:gd name="connsiteX89" fmla="*/ 319050 w 440226"/>
                <a:gd name="connsiteY89" fmla="*/ 241078 h 385914"/>
                <a:gd name="connsiteX90" fmla="*/ 333937 w 440226"/>
                <a:gd name="connsiteY90" fmla="*/ 236277 h 385914"/>
                <a:gd name="connsiteX91" fmla="*/ 338481 w 440226"/>
                <a:gd name="connsiteY91" fmla="*/ 226276 h 385914"/>
                <a:gd name="connsiteX92" fmla="*/ 346672 w 440226"/>
                <a:gd name="connsiteY92" fmla="*/ 211427 h 385914"/>
                <a:gd name="connsiteX93" fmla="*/ 337404 w 440226"/>
                <a:gd name="connsiteY93" fmla="*/ 202244 h 385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40226" h="385914">
                  <a:moveTo>
                    <a:pt x="405308" y="211417"/>
                  </a:moveTo>
                  <a:lnTo>
                    <a:pt x="400088" y="215818"/>
                  </a:lnTo>
                  <a:lnTo>
                    <a:pt x="388772" y="231353"/>
                  </a:lnTo>
                  <a:lnTo>
                    <a:pt x="381324" y="247145"/>
                  </a:lnTo>
                  <a:lnTo>
                    <a:pt x="366179" y="269310"/>
                  </a:lnTo>
                  <a:lnTo>
                    <a:pt x="335995" y="301523"/>
                  </a:lnTo>
                  <a:lnTo>
                    <a:pt x="317145" y="320421"/>
                  </a:lnTo>
                  <a:lnTo>
                    <a:pt x="296980" y="334842"/>
                  </a:lnTo>
                  <a:lnTo>
                    <a:pt x="269062" y="347196"/>
                  </a:lnTo>
                  <a:lnTo>
                    <a:pt x="255451" y="348853"/>
                  </a:lnTo>
                  <a:lnTo>
                    <a:pt x="252003" y="357740"/>
                  </a:lnTo>
                  <a:lnTo>
                    <a:pt x="235772" y="353006"/>
                  </a:lnTo>
                  <a:lnTo>
                    <a:pt x="222552" y="359102"/>
                  </a:lnTo>
                  <a:lnTo>
                    <a:pt x="193605" y="352930"/>
                  </a:lnTo>
                  <a:lnTo>
                    <a:pt x="177422" y="356835"/>
                  </a:lnTo>
                  <a:lnTo>
                    <a:pt x="166364" y="355159"/>
                  </a:lnTo>
                  <a:lnTo>
                    <a:pt x="138818" y="367827"/>
                  </a:lnTo>
                  <a:lnTo>
                    <a:pt x="116014" y="372923"/>
                  </a:lnTo>
                  <a:lnTo>
                    <a:pt x="99517" y="385134"/>
                  </a:lnTo>
                  <a:lnTo>
                    <a:pt x="87373" y="385915"/>
                  </a:lnTo>
                  <a:lnTo>
                    <a:pt x="76067" y="374399"/>
                  </a:lnTo>
                  <a:lnTo>
                    <a:pt x="67046" y="373809"/>
                  </a:lnTo>
                  <a:lnTo>
                    <a:pt x="55540" y="359454"/>
                  </a:lnTo>
                  <a:lnTo>
                    <a:pt x="54273" y="363903"/>
                  </a:lnTo>
                  <a:lnTo>
                    <a:pt x="50721" y="355282"/>
                  </a:lnTo>
                  <a:lnTo>
                    <a:pt x="50873" y="336575"/>
                  </a:lnTo>
                  <a:lnTo>
                    <a:pt x="42196" y="315344"/>
                  </a:lnTo>
                  <a:lnTo>
                    <a:pt x="50816" y="309601"/>
                  </a:lnTo>
                  <a:lnTo>
                    <a:pt x="50121" y="285531"/>
                  </a:lnTo>
                  <a:lnTo>
                    <a:pt x="32633" y="256451"/>
                  </a:lnTo>
                  <a:lnTo>
                    <a:pt x="19212" y="230381"/>
                  </a:lnTo>
                  <a:lnTo>
                    <a:pt x="19174" y="230295"/>
                  </a:lnTo>
                  <a:lnTo>
                    <a:pt x="0" y="190738"/>
                  </a:lnTo>
                  <a:lnTo>
                    <a:pt x="12792" y="175813"/>
                  </a:lnTo>
                  <a:lnTo>
                    <a:pt x="23336" y="184071"/>
                  </a:lnTo>
                  <a:lnTo>
                    <a:pt x="27842" y="197005"/>
                  </a:lnTo>
                  <a:lnTo>
                    <a:pt x="39824" y="199215"/>
                  </a:lnTo>
                  <a:lnTo>
                    <a:pt x="56617" y="204959"/>
                  </a:lnTo>
                  <a:lnTo>
                    <a:pt x="70961" y="202739"/>
                  </a:lnTo>
                  <a:lnTo>
                    <a:pt x="94793" y="187252"/>
                  </a:lnTo>
                  <a:lnTo>
                    <a:pt x="94822" y="77486"/>
                  </a:lnTo>
                  <a:lnTo>
                    <a:pt x="102032" y="81877"/>
                  </a:lnTo>
                  <a:lnTo>
                    <a:pt x="117863" y="109814"/>
                  </a:lnTo>
                  <a:lnTo>
                    <a:pt x="115405" y="127845"/>
                  </a:lnTo>
                  <a:lnTo>
                    <a:pt x="121358" y="138284"/>
                  </a:lnTo>
                  <a:lnTo>
                    <a:pt x="140484" y="135245"/>
                  </a:lnTo>
                  <a:lnTo>
                    <a:pt x="153838" y="121996"/>
                  </a:lnTo>
                  <a:lnTo>
                    <a:pt x="166488" y="113090"/>
                  </a:lnTo>
                  <a:lnTo>
                    <a:pt x="173031" y="98974"/>
                  </a:lnTo>
                  <a:lnTo>
                    <a:pt x="186061" y="92154"/>
                  </a:lnTo>
                  <a:lnTo>
                    <a:pt x="197320" y="95726"/>
                  </a:lnTo>
                  <a:lnTo>
                    <a:pt x="210074" y="103965"/>
                  </a:lnTo>
                  <a:lnTo>
                    <a:pt x="231810" y="105423"/>
                  </a:lnTo>
                  <a:lnTo>
                    <a:pt x="248888" y="98565"/>
                  </a:lnTo>
                  <a:lnTo>
                    <a:pt x="251593" y="89402"/>
                  </a:lnTo>
                  <a:lnTo>
                    <a:pt x="256289" y="75390"/>
                  </a:lnTo>
                  <a:lnTo>
                    <a:pt x="270824" y="73047"/>
                  </a:lnTo>
                  <a:lnTo>
                    <a:pt x="278854" y="62093"/>
                  </a:lnTo>
                  <a:lnTo>
                    <a:pt x="287750" y="42739"/>
                  </a:lnTo>
                  <a:lnTo>
                    <a:pt x="311725" y="21164"/>
                  </a:lnTo>
                  <a:lnTo>
                    <a:pt x="349511" y="0"/>
                  </a:lnTo>
                  <a:lnTo>
                    <a:pt x="360379" y="315"/>
                  </a:lnTo>
                  <a:lnTo>
                    <a:pt x="373304" y="5172"/>
                  </a:lnTo>
                  <a:lnTo>
                    <a:pt x="382305" y="1734"/>
                  </a:lnTo>
                  <a:lnTo>
                    <a:pt x="396497" y="4600"/>
                  </a:lnTo>
                  <a:lnTo>
                    <a:pt x="409290" y="45187"/>
                  </a:lnTo>
                  <a:lnTo>
                    <a:pt x="416233" y="65837"/>
                  </a:lnTo>
                  <a:lnTo>
                    <a:pt x="411471" y="98489"/>
                  </a:lnTo>
                  <a:lnTo>
                    <a:pt x="413747" y="109071"/>
                  </a:lnTo>
                  <a:lnTo>
                    <a:pt x="400269" y="103670"/>
                  </a:lnTo>
                  <a:lnTo>
                    <a:pt x="392545" y="105775"/>
                  </a:lnTo>
                  <a:lnTo>
                    <a:pt x="390020" y="114367"/>
                  </a:lnTo>
                  <a:lnTo>
                    <a:pt x="382724" y="125482"/>
                  </a:lnTo>
                  <a:lnTo>
                    <a:pt x="382972" y="135750"/>
                  </a:lnTo>
                  <a:lnTo>
                    <a:pt x="398907" y="151914"/>
                  </a:lnTo>
                  <a:lnTo>
                    <a:pt x="414538" y="148695"/>
                  </a:lnTo>
                  <a:lnTo>
                    <a:pt x="419976" y="135455"/>
                  </a:lnTo>
                  <a:lnTo>
                    <a:pt x="440227" y="135703"/>
                  </a:lnTo>
                  <a:lnTo>
                    <a:pt x="433550" y="157429"/>
                  </a:lnTo>
                  <a:lnTo>
                    <a:pt x="430397" y="182404"/>
                  </a:lnTo>
                  <a:lnTo>
                    <a:pt x="423482" y="196053"/>
                  </a:lnTo>
                  <a:lnTo>
                    <a:pt x="405308" y="211417"/>
                  </a:lnTo>
                  <a:close/>
                  <a:moveTo>
                    <a:pt x="337404" y="202244"/>
                  </a:moveTo>
                  <a:lnTo>
                    <a:pt x="325746" y="192910"/>
                  </a:lnTo>
                  <a:lnTo>
                    <a:pt x="313258" y="199091"/>
                  </a:lnTo>
                  <a:lnTo>
                    <a:pt x="298790" y="210979"/>
                  </a:lnTo>
                  <a:lnTo>
                    <a:pt x="284550" y="230324"/>
                  </a:lnTo>
                  <a:lnTo>
                    <a:pt x="304581" y="253984"/>
                  </a:lnTo>
                  <a:lnTo>
                    <a:pt x="314134" y="250917"/>
                  </a:lnTo>
                  <a:lnTo>
                    <a:pt x="319050" y="241078"/>
                  </a:lnTo>
                  <a:lnTo>
                    <a:pt x="333937" y="236277"/>
                  </a:lnTo>
                  <a:lnTo>
                    <a:pt x="338481" y="226276"/>
                  </a:lnTo>
                  <a:lnTo>
                    <a:pt x="346672" y="211427"/>
                  </a:lnTo>
                  <a:lnTo>
                    <a:pt x="337404" y="2022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" name="Forme libre : forme 5825">
              <a:extLst>
                <a:ext uri="{FF2B5EF4-FFF2-40B4-BE49-F238E27FC236}">
                  <a16:creationId xmlns:a16="http://schemas.microsoft.com/office/drawing/2014/main" id="{162EAD57-3DCB-44E5-BEF3-E5C792FDA9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405447" y="4961967"/>
              <a:ext cx="309743" cy="265271"/>
            </a:xfrm>
            <a:custGeom>
              <a:avLst/>
              <a:gdLst>
                <a:gd name="connsiteX0" fmla="*/ 290341 w 309743"/>
                <a:gd name="connsiteY0" fmla="*/ 26641 h 265271"/>
                <a:gd name="connsiteX1" fmla="*/ 302952 w 309743"/>
                <a:gd name="connsiteY1" fmla="*/ 38633 h 265271"/>
                <a:gd name="connsiteX2" fmla="*/ 309744 w 309743"/>
                <a:gd name="connsiteY2" fmla="*/ 61513 h 265271"/>
                <a:gd name="connsiteX3" fmla="*/ 305191 w 309743"/>
                <a:gd name="connsiteY3" fmla="*/ 68827 h 265271"/>
                <a:gd name="connsiteX4" fmla="*/ 299828 w 309743"/>
                <a:gd name="connsiteY4" fmla="*/ 90754 h 265271"/>
                <a:gd name="connsiteX5" fmla="*/ 304952 w 309743"/>
                <a:gd name="connsiteY5" fmla="*/ 113243 h 265271"/>
                <a:gd name="connsiteX6" fmla="*/ 296552 w 309743"/>
                <a:gd name="connsiteY6" fmla="*/ 122701 h 265271"/>
                <a:gd name="connsiteX7" fmla="*/ 288446 w 309743"/>
                <a:gd name="connsiteY7" fmla="*/ 148028 h 265271"/>
                <a:gd name="connsiteX8" fmla="*/ 302486 w 309743"/>
                <a:gd name="connsiteY8" fmla="*/ 155115 h 265271"/>
                <a:gd name="connsiteX9" fmla="*/ 221447 w 309743"/>
                <a:gd name="connsiteY9" fmla="*/ 177689 h 265271"/>
                <a:gd name="connsiteX10" fmla="*/ 223981 w 309743"/>
                <a:gd name="connsiteY10" fmla="*/ 197263 h 265271"/>
                <a:gd name="connsiteX11" fmla="*/ 203749 w 309743"/>
                <a:gd name="connsiteY11" fmla="*/ 201035 h 265271"/>
                <a:gd name="connsiteX12" fmla="*/ 188538 w 309743"/>
                <a:gd name="connsiteY12" fmla="*/ 212027 h 265271"/>
                <a:gd name="connsiteX13" fmla="*/ 185290 w 309743"/>
                <a:gd name="connsiteY13" fmla="*/ 221609 h 265271"/>
                <a:gd name="connsiteX14" fmla="*/ 175736 w 309743"/>
                <a:gd name="connsiteY14" fmla="*/ 223780 h 265271"/>
                <a:gd name="connsiteX15" fmla="*/ 152505 w 309743"/>
                <a:gd name="connsiteY15" fmla="*/ 246593 h 265271"/>
                <a:gd name="connsiteX16" fmla="*/ 137722 w 309743"/>
                <a:gd name="connsiteY16" fmla="*/ 264624 h 265271"/>
                <a:gd name="connsiteX17" fmla="*/ 128702 w 309743"/>
                <a:gd name="connsiteY17" fmla="*/ 265271 h 265271"/>
                <a:gd name="connsiteX18" fmla="*/ 120025 w 309743"/>
                <a:gd name="connsiteY18" fmla="*/ 262052 h 265271"/>
                <a:gd name="connsiteX19" fmla="*/ 90174 w 309743"/>
                <a:gd name="connsiteY19" fmla="*/ 259004 h 265271"/>
                <a:gd name="connsiteX20" fmla="*/ 85373 w 309743"/>
                <a:gd name="connsiteY20" fmla="*/ 256918 h 265271"/>
                <a:gd name="connsiteX21" fmla="*/ 85173 w 309743"/>
                <a:gd name="connsiteY21" fmla="*/ 254613 h 265271"/>
                <a:gd name="connsiteX22" fmla="*/ 74629 w 309743"/>
                <a:gd name="connsiteY22" fmla="*/ 248336 h 265271"/>
                <a:gd name="connsiteX23" fmla="*/ 57322 w 309743"/>
                <a:gd name="connsiteY23" fmla="*/ 246736 h 265271"/>
                <a:gd name="connsiteX24" fmla="*/ 35452 w 309743"/>
                <a:gd name="connsiteY24" fmla="*/ 253060 h 265271"/>
                <a:gd name="connsiteX25" fmla="*/ 18022 w 309743"/>
                <a:gd name="connsiteY25" fmla="*/ 235696 h 265271"/>
                <a:gd name="connsiteX26" fmla="*/ 0 w 309743"/>
                <a:gd name="connsiteY26" fmla="*/ 213055 h 265271"/>
                <a:gd name="connsiteX27" fmla="*/ 1229 w 309743"/>
                <a:gd name="connsiteY27" fmla="*/ 125825 h 265271"/>
                <a:gd name="connsiteX28" fmla="*/ 56845 w 309743"/>
                <a:gd name="connsiteY28" fmla="*/ 126168 h 265271"/>
                <a:gd name="connsiteX29" fmla="*/ 54569 w 309743"/>
                <a:gd name="connsiteY29" fmla="*/ 116777 h 265271"/>
                <a:gd name="connsiteX30" fmla="*/ 58550 w 309743"/>
                <a:gd name="connsiteY30" fmla="*/ 106604 h 265271"/>
                <a:gd name="connsiteX31" fmla="*/ 53854 w 309743"/>
                <a:gd name="connsiteY31" fmla="*/ 93878 h 265271"/>
                <a:gd name="connsiteX32" fmla="*/ 56893 w 309743"/>
                <a:gd name="connsiteY32" fmla="*/ 80743 h 265271"/>
                <a:gd name="connsiteX33" fmla="*/ 54064 w 309743"/>
                <a:gd name="connsiteY33" fmla="*/ 72352 h 265271"/>
                <a:gd name="connsiteX34" fmla="*/ 63285 w 309743"/>
                <a:gd name="connsiteY34" fmla="*/ 73028 h 265271"/>
                <a:gd name="connsiteX35" fmla="*/ 64808 w 309743"/>
                <a:gd name="connsiteY35" fmla="*/ 81439 h 265271"/>
                <a:gd name="connsiteX36" fmla="*/ 77324 w 309743"/>
                <a:gd name="connsiteY36" fmla="*/ 80781 h 265271"/>
                <a:gd name="connsiteX37" fmla="*/ 94279 w 309743"/>
                <a:gd name="connsiteY37" fmla="*/ 83277 h 265271"/>
                <a:gd name="connsiteX38" fmla="*/ 103204 w 309743"/>
                <a:gd name="connsiteY38" fmla="*/ 95574 h 265271"/>
                <a:gd name="connsiteX39" fmla="*/ 124596 w 309743"/>
                <a:gd name="connsiteY39" fmla="*/ 99355 h 265271"/>
                <a:gd name="connsiteX40" fmla="*/ 140923 w 309743"/>
                <a:gd name="connsiteY40" fmla="*/ 90802 h 265271"/>
                <a:gd name="connsiteX41" fmla="*/ 146914 w 309743"/>
                <a:gd name="connsiteY41" fmla="*/ 105013 h 265271"/>
                <a:gd name="connsiteX42" fmla="*/ 167383 w 309743"/>
                <a:gd name="connsiteY42" fmla="*/ 108804 h 265271"/>
                <a:gd name="connsiteX43" fmla="*/ 177222 w 309743"/>
                <a:gd name="connsiteY43" fmla="*/ 120387 h 265271"/>
                <a:gd name="connsiteX44" fmla="*/ 188186 w 309743"/>
                <a:gd name="connsiteY44" fmla="*/ 135369 h 265271"/>
                <a:gd name="connsiteX45" fmla="*/ 208626 w 309743"/>
                <a:gd name="connsiteY45" fmla="*/ 135598 h 265271"/>
                <a:gd name="connsiteX46" fmla="*/ 206397 w 309743"/>
                <a:gd name="connsiteY46" fmla="*/ 106261 h 265271"/>
                <a:gd name="connsiteX47" fmla="*/ 199063 w 309743"/>
                <a:gd name="connsiteY47" fmla="*/ 111195 h 265271"/>
                <a:gd name="connsiteX48" fmla="*/ 180394 w 309743"/>
                <a:gd name="connsiteY48" fmla="*/ 100641 h 265271"/>
                <a:gd name="connsiteX49" fmla="*/ 173184 w 309743"/>
                <a:gd name="connsiteY49" fmla="*/ 95812 h 265271"/>
                <a:gd name="connsiteX50" fmla="*/ 176489 w 309743"/>
                <a:gd name="connsiteY50" fmla="*/ 68656 h 265271"/>
                <a:gd name="connsiteX51" fmla="*/ 181233 w 309743"/>
                <a:gd name="connsiteY51" fmla="*/ 36738 h 265271"/>
                <a:gd name="connsiteX52" fmla="*/ 175250 w 309743"/>
                <a:gd name="connsiteY52" fmla="*/ 24870 h 265271"/>
                <a:gd name="connsiteX53" fmla="*/ 182861 w 309743"/>
                <a:gd name="connsiteY53" fmla="*/ 7734 h 265271"/>
                <a:gd name="connsiteX54" fmla="*/ 190024 w 309743"/>
                <a:gd name="connsiteY54" fmla="*/ 4524 h 265271"/>
                <a:gd name="connsiteX55" fmla="*/ 225895 w 309743"/>
                <a:gd name="connsiteY55" fmla="*/ 0 h 265271"/>
                <a:gd name="connsiteX56" fmla="*/ 236411 w 309743"/>
                <a:gd name="connsiteY56" fmla="*/ 2724 h 265271"/>
                <a:gd name="connsiteX57" fmla="*/ 247574 w 309743"/>
                <a:gd name="connsiteY57" fmla="*/ 9553 h 265271"/>
                <a:gd name="connsiteX58" fmla="*/ 258213 w 309743"/>
                <a:gd name="connsiteY58" fmla="*/ 14049 h 265271"/>
                <a:gd name="connsiteX59" fmla="*/ 275187 w 309743"/>
                <a:gd name="connsiteY59" fmla="*/ 18564 h 26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09743" h="265271">
                  <a:moveTo>
                    <a:pt x="290341" y="26641"/>
                  </a:moveTo>
                  <a:lnTo>
                    <a:pt x="302952" y="38633"/>
                  </a:lnTo>
                  <a:lnTo>
                    <a:pt x="309744" y="61513"/>
                  </a:lnTo>
                  <a:lnTo>
                    <a:pt x="305191" y="68827"/>
                  </a:lnTo>
                  <a:lnTo>
                    <a:pt x="299828" y="90754"/>
                  </a:lnTo>
                  <a:lnTo>
                    <a:pt x="304952" y="113243"/>
                  </a:lnTo>
                  <a:lnTo>
                    <a:pt x="296552" y="122701"/>
                  </a:lnTo>
                  <a:lnTo>
                    <a:pt x="288446" y="148028"/>
                  </a:lnTo>
                  <a:lnTo>
                    <a:pt x="302486" y="155115"/>
                  </a:lnTo>
                  <a:lnTo>
                    <a:pt x="221447" y="177689"/>
                  </a:lnTo>
                  <a:lnTo>
                    <a:pt x="223981" y="197263"/>
                  </a:lnTo>
                  <a:lnTo>
                    <a:pt x="203749" y="201035"/>
                  </a:lnTo>
                  <a:lnTo>
                    <a:pt x="188538" y="212027"/>
                  </a:lnTo>
                  <a:lnTo>
                    <a:pt x="185290" y="221609"/>
                  </a:lnTo>
                  <a:lnTo>
                    <a:pt x="175736" y="223780"/>
                  </a:lnTo>
                  <a:lnTo>
                    <a:pt x="152505" y="246593"/>
                  </a:lnTo>
                  <a:lnTo>
                    <a:pt x="137722" y="264624"/>
                  </a:lnTo>
                  <a:lnTo>
                    <a:pt x="128702" y="265271"/>
                  </a:lnTo>
                  <a:lnTo>
                    <a:pt x="120025" y="262052"/>
                  </a:lnTo>
                  <a:lnTo>
                    <a:pt x="90174" y="259004"/>
                  </a:lnTo>
                  <a:lnTo>
                    <a:pt x="85373" y="256918"/>
                  </a:lnTo>
                  <a:lnTo>
                    <a:pt x="85173" y="254613"/>
                  </a:lnTo>
                  <a:lnTo>
                    <a:pt x="74629" y="248336"/>
                  </a:lnTo>
                  <a:lnTo>
                    <a:pt x="57322" y="246736"/>
                  </a:lnTo>
                  <a:lnTo>
                    <a:pt x="35452" y="253060"/>
                  </a:lnTo>
                  <a:lnTo>
                    <a:pt x="18022" y="235696"/>
                  </a:lnTo>
                  <a:lnTo>
                    <a:pt x="0" y="213055"/>
                  </a:lnTo>
                  <a:lnTo>
                    <a:pt x="1229" y="125825"/>
                  </a:lnTo>
                  <a:lnTo>
                    <a:pt x="56845" y="126168"/>
                  </a:lnTo>
                  <a:lnTo>
                    <a:pt x="54569" y="116777"/>
                  </a:lnTo>
                  <a:lnTo>
                    <a:pt x="58550" y="106604"/>
                  </a:lnTo>
                  <a:lnTo>
                    <a:pt x="53854" y="93878"/>
                  </a:lnTo>
                  <a:lnTo>
                    <a:pt x="56893" y="80743"/>
                  </a:lnTo>
                  <a:lnTo>
                    <a:pt x="54064" y="72352"/>
                  </a:lnTo>
                  <a:lnTo>
                    <a:pt x="63285" y="73028"/>
                  </a:lnTo>
                  <a:lnTo>
                    <a:pt x="64808" y="81439"/>
                  </a:lnTo>
                  <a:lnTo>
                    <a:pt x="77324" y="80781"/>
                  </a:lnTo>
                  <a:lnTo>
                    <a:pt x="94279" y="83277"/>
                  </a:lnTo>
                  <a:lnTo>
                    <a:pt x="103204" y="95574"/>
                  </a:lnTo>
                  <a:lnTo>
                    <a:pt x="124596" y="99355"/>
                  </a:lnTo>
                  <a:lnTo>
                    <a:pt x="140923" y="90802"/>
                  </a:lnTo>
                  <a:lnTo>
                    <a:pt x="146914" y="105013"/>
                  </a:lnTo>
                  <a:lnTo>
                    <a:pt x="167383" y="108804"/>
                  </a:lnTo>
                  <a:lnTo>
                    <a:pt x="177222" y="120387"/>
                  </a:lnTo>
                  <a:lnTo>
                    <a:pt x="188186" y="135369"/>
                  </a:lnTo>
                  <a:lnTo>
                    <a:pt x="208626" y="135598"/>
                  </a:lnTo>
                  <a:lnTo>
                    <a:pt x="206397" y="106261"/>
                  </a:lnTo>
                  <a:lnTo>
                    <a:pt x="199063" y="111195"/>
                  </a:lnTo>
                  <a:lnTo>
                    <a:pt x="180394" y="100641"/>
                  </a:lnTo>
                  <a:lnTo>
                    <a:pt x="173184" y="95812"/>
                  </a:lnTo>
                  <a:lnTo>
                    <a:pt x="176489" y="68656"/>
                  </a:lnTo>
                  <a:lnTo>
                    <a:pt x="181233" y="36738"/>
                  </a:lnTo>
                  <a:lnTo>
                    <a:pt x="175250" y="24870"/>
                  </a:lnTo>
                  <a:lnTo>
                    <a:pt x="182861" y="7734"/>
                  </a:lnTo>
                  <a:lnTo>
                    <a:pt x="190024" y="4524"/>
                  </a:lnTo>
                  <a:lnTo>
                    <a:pt x="225895" y="0"/>
                  </a:lnTo>
                  <a:lnTo>
                    <a:pt x="236411" y="2724"/>
                  </a:lnTo>
                  <a:lnTo>
                    <a:pt x="247574" y="9553"/>
                  </a:lnTo>
                  <a:lnTo>
                    <a:pt x="258213" y="14049"/>
                  </a:lnTo>
                  <a:lnTo>
                    <a:pt x="275187" y="185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Forme libre : forme 5826">
              <a:extLst>
                <a:ext uri="{FF2B5EF4-FFF2-40B4-BE49-F238E27FC236}">
                  <a16:creationId xmlns:a16="http://schemas.microsoft.com/office/drawing/2014/main" id="{92A613BF-51A4-08B8-F1D6-B73579E6FF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495621" y="5159229"/>
              <a:ext cx="202587" cy="189919"/>
            </a:xfrm>
            <a:custGeom>
              <a:avLst/>
              <a:gdLst>
                <a:gd name="connsiteX0" fmla="*/ 158296 w 202587"/>
                <a:gd name="connsiteY0" fmla="*/ 189338 h 189919"/>
                <a:gd name="connsiteX1" fmla="*/ 144103 w 202587"/>
                <a:gd name="connsiteY1" fmla="*/ 186471 h 189919"/>
                <a:gd name="connsiteX2" fmla="*/ 135102 w 202587"/>
                <a:gd name="connsiteY2" fmla="*/ 189919 h 189919"/>
                <a:gd name="connsiteX3" fmla="*/ 122177 w 202587"/>
                <a:gd name="connsiteY3" fmla="*/ 185052 h 189919"/>
                <a:gd name="connsiteX4" fmla="*/ 111309 w 202587"/>
                <a:gd name="connsiteY4" fmla="*/ 184747 h 189919"/>
                <a:gd name="connsiteX5" fmla="*/ 94288 w 202587"/>
                <a:gd name="connsiteY5" fmla="*/ 171812 h 189919"/>
                <a:gd name="connsiteX6" fmla="*/ 73637 w 202587"/>
                <a:gd name="connsiteY6" fmla="*/ 167430 h 189919"/>
                <a:gd name="connsiteX7" fmla="*/ 65779 w 202587"/>
                <a:gd name="connsiteY7" fmla="*/ 149380 h 189919"/>
                <a:gd name="connsiteX8" fmla="*/ 65713 w 202587"/>
                <a:gd name="connsiteY8" fmla="*/ 139370 h 189919"/>
                <a:gd name="connsiteX9" fmla="*/ 54273 w 202587"/>
                <a:gd name="connsiteY9" fmla="*/ 136322 h 189919"/>
                <a:gd name="connsiteX10" fmla="*/ 24050 w 202587"/>
                <a:gd name="connsiteY10" fmla="*/ 105318 h 189919"/>
                <a:gd name="connsiteX11" fmla="*/ 15649 w 202587"/>
                <a:gd name="connsiteY11" fmla="*/ 89068 h 189919"/>
                <a:gd name="connsiteX12" fmla="*/ 10277 w 202587"/>
                <a:gd name="connsiteY12" fmla="*/ 84068 h 189919"/>
                <a:gd name="connsiteX13" fmla="*/ 0 w 202587"/>
                <a:gd name="connsiteY13" fmla="*/ 61741 h 189919"/>
                <a:gd name="connsiteX14" fmla="*/ 29851 w 202587"/>
                <a:gd name="connsiteY14" fmla="*/ 64789 h 189919"/>
                <a:gd name="connsiteX15" fmla="*/ 38528 w 202587"/>
                <a:gd name="connsiteY15" fmla="*/ 68009 h 189919"/>
                <a:gd name="connsiteX16" fmla="*/ 47548 w 202587"/>
                <a:gd name="connsiteY16" fmla="*/ 67361 h 189919"/>
                <a:gd name="connsiteX17" fmla="*/ 62331 w 202587"/>
                <a:gd name="connsiteY17" fmla="*/ 49330 h 189919"/>
                <a:gd name="connsiteX18" fmla="*/ 85563 w 202587"/>
                <a:gd name="connsiteY18" fmla="*/ 26518 h 189919"/>
                <a:gd name="connsiteX19" fmla="*/ 95116 w 202587"/>
                <a:gd name="connsiteY19" fmla="*/ 24346 h 189919"/>
                <a:gd name="connsiteX20" fmla="*/ 98364 w 202587"/>
                <a:gd name="connsiteY20" fmla="*/ 14764 h 189919"/>
                <a:gd name="connsiteX21" fmla="*/ 113576 w 202587"/>
                <a:gd name="connsiteY21" fmla="*/ 3772 h 189919"/>
                <a:gd name="connsiteX22" fmla="*/ 133807 w 202587"/>
                <a:gd name="connsiteY22" fmla="*/ 0 h 189919"/>
                <a:gd name="connsiteX23" fmla="*/ 135531 w 202587"/>
                <a:gd name="connsiteY23" fmla="*/ 10287 h 189919"/>
                <a:gd name="connsiteX24" fmla="*/ 157810 w 202587"/>
                <a:gd name="connsiteY24" fmla="*/ 9735 h 189919"/>
                <a:gd name="connsiteX25" fmla="*/ 170183 w 202587"/>
                <a:gd name="connsiteY25" fmla="*/ 15564 h 189919"/>
                <a:gd name="connsiteX26" fmla="*/ 175946 w 202587"/>
                <a:gd name="connsiteY26" fmla="*/ 22403 h 189919"/>
                <a:gd name="connsiteX27" fmla="*/ 188652 w 202587"/>
                <a:gd name="connsiteY27" fmla="*/ 24413 h 189919"/>
                <a:gd name="connsiteX28" fmla="*/ 202530 w 202587"/>
                <a:gd name="connsiteY28" fmla="*/ 33309 h 189919"/>
                <a:gd name="connsiteX29" fmla="*/ 202587 w 202587"/>
                <a:gd name="connsiteY29" fmla="*/ 68504 h 189919"/>
                <a:gd name="connsiteX30" fmla="*/ 197386 w 202587"/>
                <a:gd name="connsiteY30" fmla="*/ 87887 h 189919"/>
                <a:gd name="connsiteX31" fmla="*/ 196234 w 202587"/>
                <a:gd name="connsiteY31" fmla="*/ 108871 h 189919"/>
                <a:gd name="connsiteX32" fmla="*/ 200530 w 202587"/>
                <a:gd name="connsiteY32" fmla="*/ 117215 h 189919"/>
                <a:gd name="connsiteX33" fmla="*/ 197510 w 202587"/>
                <a:gd name="connsiteY33" fmla="*/ 133845 h 189919"/>
                <a:gd name="connsiteX34" fmla="*/ 193471 w 202587"/>
                <a:gd name="connsiteY34" fmla="*/ 136427 h 189919"/>
                <a:gd name="connsiteX35" fmla="*/ 186433 w 202587"/>
                <a:gd name="connsiteY35" fmla="*/ 156906 h 189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02587" h="189919">
                  <a:moveTo>
                    <a:pt x="158296" y="189338"/>
                  </a:moveTo>
                  <a:lnTo>
                    <a:pt x="144103" y="186471"/>
                  </a:lnTo>
                  <a:lnTo>
                    <a:pt x="135102" y="189919"/>
                  </a:lnTo>
                  <a:lnTo>
                    <a:pt x="122177" y="185052"/>
                  </a:lnTo>
                  <a:lnTo>
                    <a:pt x="111309" y="184747"/>
                  </a:lnTo>
                  <a:lnTo>
                    <a:pt x="94288" y="171812"/>
                  </a:lnTo>
                  <a:lnTo>
                    <a:pt x="73637" y="167430"/>
                  </a:lnTo>
                  <a:lnTo>
                    <a:pt x="65779" y="149380"/>
                  </a:lnTo>
                  <a:lnTo>
                    <a:pt x="65713" y="139370"/>
                  </a:lnTo>
                  <a:lnTo>
                    <a:pt x="54273" y="136322"/>
                  </a:lnTo>
                  <a:lnTo>
                    <a:pt x="24050" y="105318"/>
                  </a:lnTo>
                  <a:lnTo>
                    <a:pt x="15649" y="89068"/>
                  </a:lnTo>
                  <a:lnTo>
                    <a:pt x="10277" y="84068"/>
                  </a:lnTo>
                  <a:lnTo>
                    <a:pt x="0" y="61741"/>
                  </a:lnTo>
                  <a:lnTo>
                    <a:pt x="29851" y="64789"/>
                  </a:lnTo>
                  <a:lnTo>
                    <a:pt x="38528" y="68009"/>
                  </a:lnTo>
                  <a:lnTo>
                    <a:pt x="47548" y="67361"/>
                  </a:lnTo>
                  <a:lnTo>
                    <a:pt x="62331" y="49330"/>
                  </a:lnTo>
                  <a:lnTo>
                    <a:pt x="85563" y="26518"/>
                  </a:lnTo>
                  <a:lnTo>
                    <a:pt x="95116" y="24346"/>
                  </a:lnTo>
                  <a:lnTo>
                    <a:pt x="98364" y="14764"/>
                  </a:lnTo>
                  <a:lnTo>
                    <a:pt x="113576" y="3772"/>
                  </a:lnTo>
                  <a:lnTo>
                    <a:pt x="133807" y="0"/>
                  </a:lnTo>
                  <a:lnTo>
                    <a:pt x="135531" y="10287"/>
                  </a:lnTo>
                  <a:lnTo>
                    <a:pt x="157810" y="9735"/>
                  </a:lnTo>
                  <a:lnTo>
                    <a:pt x="170183" y="15564"/>
                  </a:lnTo>
                  <a:lnTo>
                    <a:pt x="175946" y="22403"/>
                  </a:lnTo>
                  <a:lnTo>
                    <a:pt x="188652" y="24413"/>
                  </a:lnTo>
                  <a:lnTo>
                    <a:pt x="202530" y="33309"/>
                  </a:lnTo>
                  <a:lnTo>
                    <a:pt x="202587" y="68504"/>
                  </a:lnTo>
                  <a:lnTo>
                    <a:pt x="197386" y="87887"/>
                  </a:lnTo>
                  <a:lnTo>
                    <a:pt x="196234" y="108871"/>
                  </a:lnTo>
                  <a:lnTo>
                    <a:pt x="200530" y="117215"/>
                  </a:lnTo>
                  <a:lnTo>
                    <a:pt x="197510" y="133845"/>
                  </a:lnTo>
                  <a:lnTo>
                    <a:pt x="193471" y="136427"/>
                  </a:lnTo>
                  <a:lnTo>
                    <a:pt x="186433" y="1569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6" name="Footer Placeholder 6">
            <a:extLst>
              <a:ext uri="{FF2B5EF4-FFF2-40B4-BE49-F238E27FC236}">
                <a16:creationId xmlns:a16="http://schemas.microsoft.com/office/drawing/2014/main" id="{0AB8B0E0-FD4E-680E-7B93-AE82F8B05A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317" name="Titre 1">
            <a:extLst>
              <a:ext uri="{FF2B5EF4-FFF2-40B4-BE49-F238E27FC236}">
                <a16:creationId xmlns:a16="http://schemas.microsoft.com/office/drawing/2014/main" id="{1AE884C6-4EBF-6995-04A1-38DFC16002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62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318" name="Espace réservé du texte 13">
            <a:extLst>
              <a:ext uri="{FF2B5EF4-FFF2-40B4-BE49-F238E27FC236}">
                <a16:creationId xmlns:a16="http://schemas.microsoft.com/office/drawing/2014/main" id="{FB49AB8E-F057-75C4-40EF-8B22046BC1D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162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989195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Espace réservé du texte 59">
            <a:extLst>
              <a:ext uri="{FF2B5EF4-FFF2-40B4-BE49-F238E27FC236}">
                <a16:creationId xmlns:a16="http://schemas.microsoft.com/office/drawing/2014/main" id="{320CAF9E-592E-7C01-42CA-F9E3C4DF34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331" y="1635271"/>
            <a:ext cx="6381507" cy="432000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Click to modify the mask text styles:</a:t>
            </a:r>
          </a:p>
        </p:txBody>
      </p:sp>
      <p:sp>
        <p:nvSpPr>
          <p:cNvPr id="63" name="Espace réservé du texte 59">
            <a:extLst>
              <a:ext uri="{FF2B5EF4-FFF2-40B4-BE49-F238E27FC236}">
                <a16:creationId xmlns:a16="http://schemas.microsoft.com/office/drawing/2014/main" id="{E9A6C5DF-1DA9-3765-A867-B7A2CFCC0E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9836" y="2075684"/>
            <a:ext cx="5934002" cy="7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err="1"/>
              <a:t>Longos</a:t>
            </a:r>
            <a:r>
              <a:rPr lang="fr-FR"/>
              <a:t> de est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Antiochum</a:t>
            </a:r>
            <a:r>
              <a:rPr lang="fr-FR"/>
              <a:t> </a:t>
            </a:r>
            <a:r>
              <a:rPr lang="fr-FR" err="1"/>
              <a:t>gloriae</a:t>
            </a:r>
            <a:r>
              <a:rPr lang="fr-FR"/>
              <a:t> </a:t>
            </a:r>
            <a:r>
              <a:rPr lang="fr-FR" err="1"/>
              <a:t>ambigere</a:t>
            </a:r>
            <a:r>
              <a:rPr lang="fr-FR"/>
              <a:t> quasi </a:t>
            </a:r>
            <a:r>
              <a:rPr lang="fr-FR" err="1"/>
              <a:t>figmentis</a:t>
            </a:r>
            <a:r>
              <a:rPr lang="fr-FR"/>
              <a:t> </a:t>
            </a:r>
            <a:r>
              <a:rPr lang="fr-FR" err="1"/>
              <a:t>multos</a:t>
            </a:r>
            <a:r>
              <a:rPr lang="fr-FR"/>
              <a:t>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Censorius</a:t>
            </a:r>
            <a:r>
              <a:rPr lang="fr-FR"/>
              <a:t> </a:t>
            </a:r>
            <a:r>
              <a:rPr lang="fr-FR" err="1"/>
              <a:t>easque</a:t>
            </a:r>
            <a:r>
              <a:rPr lang="fr-FR"/>
              <a:t> </a:t>
            </a:r>
            <a:r>
              <a:rPr lang="fr-FR" err="1"/>
              <a:t>aeterniati</a:t>
            </a:r>
            <a:r>
              <a:rPr lang="fr-FR"/>
              <a:t> </a:t>
            </a:r>
            <a:r>
              <a:rPr lang="fr-FR" err="1"/>
              <a:t>malo</a:t>
            </a:r>
            <a:r>
              <a:rPr lang="fr-FR"/>
              <a:t>.</a:t>
            </a:r>
          </a:p>
        </p:txBody>
      </p:sp>
      <p:sp>
        <p:nvSpPr>
          <p:cNvPr id="64" name="Espace réservé du texte 59">
            <a:extLst>
              <a:ext uri="{FF2B5EF4-FFF2-40B4-BE49-F238E27FC236}">
                <a16:creationId xmlns:a16="http://schemas.microsoft.com/office/drawing/2014/main" id="{89EE9F13-958A-37BD-1542-21F675BF67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331" y="2904175"/>
            <a:ext cx="6392130" cy="432000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Click to modify the mask text styles:</a:t>
            </a:r>
          </a:p>
        </p:txBody>
      </p:sp>
      <p:sp>
        <p:nvSpPr>
          <p:cNvPr id="65" name="Espace réservé du texte 59">
            <a:extLst>
              <a:ext uri="{FF2B5EF4-FFF2-40B4-BE49-F238E27FC236}">
                <a16:creationId xmlns:a16="http://schemas.microsoft.com/office/drawing/2014/main" id="{A491755F-B58B-AD78-0EEE-4F40CB0192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6796" y="3351765"/>
            <a:ext cx="5955248" cy="7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err="1"/>
              <a:t>Longos</a:t>
            </a:r>
            <a:r>
              <a:rPr lang="fr-FR"/>
              <a:t> de est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Antiochum</a:t>
            </a:r>
            <a:r>
              <a:rPr lang="fr-FR"/>
              <a:t> </a:t>
            </a:r>
            <a:r>
              <a:rPr lang="fr-FR" err="1"/>
              <a:t>gloriae</a:t>
            </a:r>
            <a:r>
              <a:rPr lang="fr-FR"/>
              <a:t> </a:t>
            </a:r>
            <a:r>
              <a:rPr lang="fr-FR" err="1"/>
              <a:t>ambigere</a:t>
            </a:r>
            <a:r>
              <a:rPr lang="fr-FR"/>
              <a:t> quasi </a:t>
            </a:r>
            <a:r>
              <a:rPr lang="fr-FR" err="1"/>
              <a:t>figmentis</a:t>
            </a:r>
            <a:r>
              <a:rPr lang="fr-FR"/>
              <a:t> </a:t>
            </a:r>
            <a:r>
              <a:rPr lang="fr-FR" err="1"/>
              <a:t>multos</a:t>
            </a:r>
            <a:r>
              <a:rPr lang="fr-FR"/>
              <a:t>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Censorius</a:t>
            </a:r>
            <a:r>
              <a:rPr lang="fr-FR"/>
              <a:t> </a:t>
            </a:r>
            <a:r>
              <a:rPr lang="fr-FR" err="1"/>
              <a:t>easque</a:t>
            </a:r>
            <a:r>
              <a:rPr lang="fr-FR"/>
              <a:t> </a:t>
            </a:r>
            <a:r>
              <a:rPr lang="fr-FR" err="1"/>
              <a:t>aeterniati</a:t>
            </a:r>
            <a:r>
              <a:rPr lang="fr-FR"/>
              <a:t> </a:t>
            </a:r>
            <a:r>
              <a:rPr lang="fr-FR" err="1"/>
              <a:t>malo</a:t>
            </a:r>
            <a:r>
              <a:rPr lang="fr-FR"/>
              <a:t>.</a:t>
            </a:r>
          </a:p>
        </p:txBody>
      </p:sp>
      <p:sp>
        <p:nvSpPr>
          <p:cNvPr id="66" name="Espace réservé du texte 59">
            <a:extLst>
              <a:ext uri="{FF2B5EF4-FFF2-40B4-BE49-F238E27FC236}">
                <a16:creationId xmlns:a16="http://schemas.microsoft.com/office/drawing/2014/main" id="{C89A900C-C7F7-F82C-4278-6EC1085941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331" y="4195116"/>
            <a:ext cx="6409077" cy="368413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Click to modify the mask text styles:</a:t>
            </a:r>
          </a:p>
        </p:txBody>
      </p:sp>
      <p:sp>
        <p:nvSpPr>
          <p:cNvPr id="67" name="Espace réservé du texte 59">
            <a:extLst>
              <a:ext uri="{FF2B5EF4-FFF2-40B4-BE49-F238E27FC236}">
                <a16:creationId xmlns:a16="http://schemas.microsoft.com/office/drawing/2014/main" id="{0E8F7A81-6887-3E71-CA0C-19278CDF91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8322" y="4563529"/>
            <a:ext cx="5960689" cy="7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err="1"/>
              <a:t>Longos</a:t>
            </a:r>
            <a:r>
              <a:rPr lang="fr-FR"/>
              <a:t> de est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Antiochum</a:t>
            </a:r>
            <a:r>
              <a:rPr lang="fr-FR"/>
              <a:t> </a:t>
            </a:r>
            <a:r>
              <a:rPr lang="fr-FR" err="1"/>
              <a:t>gloriae</a:t>
            </a:r>
            <a:r>
              <a:rPr lang="fr-FR"/>
              <a:t> </a:t>
            </a:r>
            <a:r>
              <a:rPr lang="fr-FR" err="1"/>
              <a:t>ambigere</a:t>
            </a:r>
            <a:r>
              <a:rPr lang="fr-FR"/>
              <a:t> quasi </a:t>
            </a:r>
            <a:r>
              <a:rPr lang="fr-FR" err="1"/>
              <a:t>figmentis</a:t>
            </a:r>
            <a:r>
              <a:rPr lang="fr-FR"/>
              <a:t> </a:t>
            </a:r>
            <a:r>
              <a:rPr lang="fr-FR" err="1"/>
              <a:t>multos</a:t>
            </a:r>
            <a:r>
              <a:rPr lang="fr-FR"/>
              <a:t> </a:t>
            </a:r>
            <a:r>
              <a:rPr lang="fr-FR" err="1"/>
              <a:t>arduos</a:t>
            </a:r>
            <a:r>
              <a:rPr lang="fr-FR"/>
              <a:t> </a:t>
            </a:r>
            <a:r>
              <a:rPr lang="fr-FR" err="1"/>
              <a:t>Censorius</a:t>
            </a:r>
            <a:r>
              <a:rPr lang="fr-FR"/>
              <a:t> </a:t>
            </a:r>
            <a:r>
              <a:rPr lang="fr-FR" err="1"/>
              <a:t>easque</a:t>
            </a:r>
            <a:r>
              <a:rPr lang="fr-FR"/>
              <a:t> </a:t>
            </a:r>
            <a:r>
              <a:rPr lang="fr-FR" err="1"/>
              <a:t>aeterniati</a:t>
            </a:r>
            <a:r>
              <a:rPr lang="fr-FR"/>
              <a:t> </a:t>
            </a:r>
            <a:r>
              <a:rPr lang="fr-FR" err="1"/>
              <a:t>malo</a:t>
            </a:r>
            <a:r>
              <a:rPr lang="fr-FR"/>
              <a:t>.</a:t>
            </a:r>
          </a:p>
        </p:txBody>
      </p:sp>
      <p:pic>
        <p:nvPicPr>
          <p:cNvPr id="6" name="Espace réservé pour une image  10">
            <a:extLst>
              <a:ext uri="{FF2B5EF4-FFF2-40B4-BE49-F238E27FC236}">
                <a16:creationId xmlns:a16="http://schemas.microsoft.com/office/drawing/2014/main" id="{E70422F6-ED7A-6715-ADE7-CC1BF51D04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7259473" y="1646383"/>
            <a:ext cx="4453102" cy="4455570"/>
          </a:xfrm>
          <a:custGeom>
            <a:avLst/>
            <a:gdLst>
              <a:gd name="connsiteX0" fmla="*/ 1292225 w 2584450"/>
              <a:gd name="connsiteY0" fmla="*/ 0 h 2584450"/>
              <a:gd name="connsiteX1" fmla="*/ 2584450 w 2584450"/>
              <a:gd name="connsiteY1" fmla="*/ 1292225 h 2584450"/>
              <a:gd name="connsiteX2" fmla="*/ 1292225 w 2584450"/>
              <a:gd name="connsiteY2" fmla="*/ 2584450 h 2584450"/>
              <a:gd name="connsiteX3" fmla="*/ 0 w 2584450"/>
              <a:gd name="connsiteY3" fmla="*/ 1292225 h 2584450"/>
              <a:gd name="connsiteX4" fmla="*/ 1292225 w 2584450"/>
              <a:gd name="connsiteY4" fmla="*/ 0 h 258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4450" h="2584450">
                <a:moveTo>
                  <a:pt x="1292225" y="0"/>
                </a:moveTo>
                <a:cubicBezTo>
                  <a:pt x="2005901" y="0"/>
                  <a:pt x="2584450" y="578549"/>
                  <a:pt x="2584450" y="1292225"/>
                </a:cubicBezTo>
                <a:cubicBezTo>
                  <a:pt x="2584450" y="2005901"/>
                  <a:pt x="2005901" y="2584450"/>
                  <a:pt x="1292225" y="2584450"/>
                </a:cubicBezTo>
                <a:cubicBezTo>
                  <a:pt x="578549" y="2584450"/>
                  <a:pt x="0" y="2005901"/>
                  <a:pt x="0" y="1292225"/>
                </a:cubicBezTo>
                <a:cubicBezTo>
                  <a:pt x="0" y="578549"/>
                  <a:pt x="578549" y="0"/>
                  <a:pt x="1292225" y="0"/>
                </a:cubicBezTo>
                <a:close/>
              </a:path>
            </a:pathLst>
          </a:custGeom>
          <a:solidFill>
            <a:srgbClr val="EEEEED"/>
          </a:solidFill>
          <a:ln w="12700">
            <a:solidFill>
              <a:srgbClr val="D61122"/>
            </a:solidFill>
          </a:ln>
        </p:spPr>
      </p:pic>
      <p:grpSp>
        <p:nvGrpSpPr>
          <p:cNvPr id="7" name="Groupe 710">
            <a:extLst>
              <a:ext uri="{FF2B5EF4-FFF2-40B4-BE49-F238E27FC236}">
                <a16:creationId xmlns:a16="http://schemas.microsoft.com/office/drawing/2014/main" id="{6941B0A1-BA3C-6DE6-EFE1-A9F47DAD02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>
          <a:xfrm>
            <a:off x="6696022" y="756046"/>
            <a:ext cx="4869849" cy="5208945"/>
            <a:chOff x="6720030" y="8682"/>
            <a:chExt cx="5980613" cy="6054069"/>
          </a:xfrm>
          <a:solidFill>
            <a:srgbClr val="FFFFFF"/>
          </a:solidFill>
          <a:effectLst>
            <a:outerShdw blurRad="60110" dist="12700" dir="2700000" algn="tl" rotWithShape="0">
              <a:srgbClr val="4C1F82">
                <a:alpha val="36165"/>
              </a:srgbClr>
            </a:outerShdw>
          </a:effectLst>
        </p:grpSpPr>
        <p:sp>
          <p:nvSpPr>
            <p:cNvPr id="8" name="Forme libre : forme 4">
              <a:extLst>
                <a:ext uri="{FF2B5EF4-FFF2-40B4-BE49-F238E27FC236}">
                  <a16:creationId xmlns:a16="http://schemas.microsoft.com/office/drawing/2014/main" id="{C0B3CD88-09BD-C8A0-0DF9-D1C2D73BF5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116781" y="5149419"/>
              <a:ext cx="30115" cy="26056"/>
            </a:xfrm>
            <a:custGeom>
              <a:avLst/>
              <a:gdLst>
                <a:gd name="connsiteX0" fmla="*/ 7782 w 8696"/>
                <a:gd name="connsiteY0" fmla="*/ 5039 h 7524"/>
                <a:gd name="connsiteX1" fmla="*/ 7048 w 8696"/>
                <a:gd name="connsiteY1" fmla="*/ 5277 h 7524"/>
                <a:gd name="connsiteX2" fmla="*/ 4591 w 8696"/>
                <a:gd name="connsiteY2" fmla="*/ 6753 h 7524"/>
                <a:gd name="connsiteX3" fmla="*/ 3191 w 8696"/>
                <a:gd name="connsiteY3" fmla="*/ 7268 h 7524"/>
                <a:gd name="connsiteX4" fmla="*/ 1914 w 8696"/>
                <a:gd name="connsiteY4" fmla="*/ 7525 h 7524"/>
                <a:gd name="connsiteX5" fmla="*/ 914 w 8696"/>
                <a:gd name="connsiteY5" fmla="*/ 7420 h 7524"/>
                <a:gd name="connsiteX6" fmla="*/ 362 w 8696"/>
                <a:gd name="connsiteY6" fmla="*/ 6553 h 7524"/>
                <a:gd name="connsiteX7" fmla="*/ 419 w 8696"/>
                <a:gd name="connsiteY7" fmla="*/ 5229 h 7524"/>
                <a:gd name="connsiteX8" fmla="*/ 190 w 8696"/>
                <a:gd name="connsiteY8" fmla="*/ 4048 h 7524"/>
                <a:gd name="connsiteX9" fmla="*/ 0 w 8696"/>
                <a:gd name="connsiteY9" fmla="*/ 3410 h 7524"/>
                <a:gd name="connsiteX10" fmla="*/ 362 w 8696"/>
                <a:gd name="connsiteY10" fmla="*/ 1686 h 7524"/>
                <a:gd name="connsiteX11" fmla="*/ 1181 w 8696"/>
                <a:gd name="connsiteY11" fmla="*/ 762 h 7524"/>
                <a:gd name="connsiteX12" fmla="*/ 2314 w 8696"/>
                <a:gd name="connsiteY12" fmla="*/ 0 h 7524"/>
                <a:gd name="connsiteX13" fmla="*/ 4105 w 8696"/>
                <a:gd name="connsiteY13" fmla="*/ 276 h 7524"/>
                <a:gd name="connsiteX14" fmla="*/ 7896 w 8696"/>
                <a:gd name="connsiteY14" fmla="*/ 1381 h 7524"/>
                <a:gd name="connsiteX15" fmla="*/ 8687 w 8696"/>
                <a:gd name="connsiteY15" fmla="*/ 2420 h 7524"/>
                <a:gd name="connsiteX16" fmla="*/ 8696 w 8696"/>
                <a:gd name="connsiteY16" fmla="*/ 3105 h 7524"/>
                <a:gd name="connsiteX17" fmla="*/ 8001 w 8696"/>
                <a:gd name="connsiteY17" fmla="*/ 4239 h 7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6" h="7524">
                  <a:moveTo>
                    <a:pt x="7782" y="5039"/>
                  </a:moveTo>
                  <a:lnTo>
                    <a:pt x="7048" y="5277"/>
                  </a:lnTo>
                  <a:lnTo>
                    <a:pt x="4591" y="6753"/>
                  </a:lnTo>
                  <a:lnTo>
                    <a:pt x="3191" y="7268"/>
                  </a:lnTo>
                  <a:lnTo>
                    <a:pt x="1914" y="7525"/>
                  </a:lnTo>
                  <a:lnTo>
                    <a:pt x="914" y="7420"/>
                  </a:lnTo>
                  <a:lnTo>
                    <a:pt x="362" y="6553"/>
                  </a:lnTo>
                  <a:lnTo>
                    <a:pt x="419" y="5229"/>
                  </a:lnTo>
                  <a:lnTo>
                    <a:pt x="190" y="4048"/>
                  </a:lnTo>
                  <a:lnTo>
                    <a:pt x="0" y="3410"/>
                  </a:lnTo>
                  <a:lnTo>
                    <a:pt x="362" y="1686"/>
                  </a:lnTo>
                  <a:lnTo>
                    <a:pt x="1181" y="762"/>
                  </a:lnTo>
                  <a:lnTo>
                    <a:pt x="2314" y="0"/>
                  </a:lnTo>
                  <a:lnTo>
                    <a:pt x="4105" y="276"/>
                  </a:lnTo>
                  <a:lnTo>
                    <a:pt x="7896" y="1381"/>
                  </a:lnTo>
                  <a:lnTo>
                    <a:pt x="8687" y="2420"/>
                  </a:lnTo>
                  <a:lnTo>
                    <a:pt x="8696" y="3105"/>
                  </a:lnTo>
                  <a:lnTo>
                    <a:pt x="8001" y="4239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9" name="Forme libre : forme 5">
              <a:extLst>
                <a:ext uri="{FF2B5EF4-FFF2-40B4-BE49-F238E27FC236}">
                  <a16:creationId xmlns:a16="http://schemas.microsoft.com/office/drawing/2014/main" id="{19686D29-D881-1E46-5123-FE8DC56431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770702" y="5148761"/>
              <a:ext cx="162025" cy="366828"/>
            </a:xfrm>
            <a:custGeom>
              <a:avLst/>
              <a:gdLst>
                <a:gd name="connsiteX0" fmla="*/ 20936 w 46787"/>
                <a:gd name="connsiteY0" fmla="*/ 3639 h 105927"/>
                <a:gd name="connsiteX1" fmla="*/ 21993 w 46787"/>
                <a:gd name="connsiteY1" fmla="*/ 4458 h 105927"/>
                <a:gd name="connsiteX2" fmla="*/ 24194 w 46787"/>
                <a:gd name="connsiteY2" fmla="*/ 8020 h 105927"/>
                <a:gd name="connsiteX3" fmla="*/ 25651 w 46787"/>
                <a:gd name="connsiteY3" fmla="*/ 11163 h 105927"/>
                <a:gd name="connsiteX4" fmla="*/ 28537 w 46787"/>
                <a:gd name="connsiteY4" fmla="*/ 12249 h 105927"/>
                <a:gd name="connsiteX5" fmla="*/ 30137 w 46787"/>
                <a:gd name="connsiteY5" fmla="*/ 13468 h 105927"/>
                <a:gd name="connsiteX6" fmla="*/ 32204 w 46787"/>
                <a:gd name="connsiteY6" fmla="*/ 15326 h 105927"/>
                <a:gd name="connsiteX7" fmla="*/ 33195 w 46787"/>
                <a:gd name="connsiteY7" fmla="*/ 17183 h 105927"/>
                <a:gd name="connsiteX8" fmla="*/ 34604 w 46787"/>
                <a:gd name="connsiteY8" fmla="*/ 22870 h 105927"/>
                <a:gd name="connsiteX9" fmla="*/ 34766 w 46787"/>
                <a:gd name="connsiteY9" fmla="*/ 26299 h 105927"/>
                <a:gd name="connsiteX10" fmla="*/ 34357 w 46787"/>
                <a:gd name="connsiteY10" fmla="*/ 27861 h 105927"/>
                <a:gd name="connsiteX11" fmla="*/ 34014 w 46787"/>
                <a:gd name="connsiteY11" fmla="*/ 28270 h 105927"/>
                <a:gd name="connsiteX12" fmla="*/ 32728 w 46787"/>
                <a:gd name="connsiteY12" fmla="*/ 33833 h 105927"/>
                <a:gd name="connsiteX13" fmla="*/ 33033 w 46787"/>
                <a:gd name="connsiteY13" fmla="*/ 36662 h 105927"/>
                <a:gd name="connsiteX14" fmla="*/ 33024 w 46787"/>
                <a:gd name="connsiteY14" fmla="*/ 38529 h 105927"/>
                <a:gd name="connsiteX15" fmla="*/ 31938 w 46787"/>
                <a:gd name="connsiteY15" fmla="*/ 39262 h 105927"/>
                <a:gd name="connsiteX16" fmla="*/ 31214 w 46787"/>
                <a:gd name="connsiteY16" fmla="*/ 40434 h 105927"/>
                <a:gd name="connsiteX17" fmla="*/ 32385 w 46787"/>
                <a:gd name="connsiteY17" fmla="*/ 45044 h 105927"/>
                <a:gd name="connsiteX18" fmla="*/ 32242 w 46787"/>
                <a:gd name="connsiteY18" fmla="*/ 47015 h 105927"/>
                <a:gd name="connsiteX19" fmla="*/ 32300 w 46787"/>
                <a:gd name="connsiteY19" fmla="*/ 49263 h 105927"/>
                <a:gd name="connsiteX20" fmla="*/ 34404 w 46787"/>
                <a:gd name="connsiteY20" fmla="*/ 54388 h 105927"/>
                <a:gd name="connsiteX21" fmla="*/ 35652 w 46787"/>
                <a:gd name="connsiteY21" fmla="*/ 55969 h 105927"/>
                <a:gd name="connsiteX22" fmla="*/ 36757 w 46787"/>
                <a:gd name="connsiteY22" fmla="*/ 56722 h 105927"/>
                <a:gd name="connsiteX23" fmla="*/ 38186 w 46787"/>
                <a:gd name="connsiteY23" fmla="*/ 61427 h 105927"/>
                <a:gd name="connsiteX24" fmla="*/ 39024 w 46787"/>
                <a:gd name="connsiteY24" fmla="*/ 62236 h 105927"/>
                <a:gd name="connsiteX25" fmla="*/ 42482 w 46787"/>
                <a:gd name="connsiteY25" fmla="*/ 61789 h 105927"/>
                <a:gd name="connsiteX26" fmla="*/ 44177 w 46787"/>
                <a:gd name="connsiteY26" fmla="*/ 62312 h 105927"/>
                <a:gd name="connsiteX27" fmla="*/ 44854 w 46787"/>
                <a:gd name="connsiteY27" fmla="*/ 63427 h 105927"/>
                <a:gd name="connsiteX28" fmla="*/ 45006 w 46787"/>
                <a:gd name="connsiteY28" fmla="*/ 64189 h 105927"/>
                <a:gd name="connsiteX29" fmla="*/ 44778 w 46787"/>
                <a:gd name="connsiteY29" fmla="*/ 66818 h 105927"/>
                <a:gd name="connsiteX30" fmla="*/ 45634 w 46787"/>
                <a:gd name="connsiteY30" fmla="*/ 68837 h 105927"/>
                <a:gd name="connsiteX31" fmla="*/ 46787 w 46787"/>
                <a:gd name="connsiteY31" fmla="*/ 70914 h 105927"/>
                <a:gd name="connsiteX32" fmla="*/ 46787 w 46787"/>
                <a:gd name="connsiteY32" fmla="*/ 72180 h 105927"/>
                <a:gd name="connsiteX33" fmla="*/ 46006 w 46787"/>
                <a:gd name="connsiteY33" fmla="*/ 74257 h 105927"/>
                <a:gd name="connsiteX34" fmla="*/ 44625 w 46787"/>
                <a:gd name="connsiteY34" fmla="*/ 76667 h 105927"/>
                <a:gd name="connsiteX35" fmla="*/ 42796 w 46787"/>
                <a:gd name="connsiteY35" fmla="*/ 77600 h 105927"/>
                <a:gd name="connsiteX36" fmla="*/ 40777 w 46787"/>
                <a:gd name="connsiteY36" fmla="*/ 78381 h 105927"/>
                <a:gd name="connsiteX37" fmla="*/ 39805 w 46787"/>
                <a:gd name="connsiteY37" fmla="*/ 80258 h 105927"/>
                <a:gd name="connsiteX38" fmla="*/ 39320 w 46787"/>
                <a:gd name="connsiteY38" fmla="*/ 82248 h 105927"/>
                <a:gd name="connsiteX39" fmla="*/ 38415 w 46787"/>
                <a:gd name="connsiteY39" fmla="*/ 83725 h 105927"/>
                <a:gd name="connsiteX40" fmla="*/ 37862 w 46787"/>
                <a:gd name="connsiteY40" fmla="*/ 85344 h 105927"/>
                <a:gd name="connsiteX41" fmla="*/ 36995 w 46787"/>
                <a:gd name="connsiteY41" fmla="*/ 88640 h 105927"/>
                <a:gd name="connsiteX42" fmla="*/ 36795 w 46787"/>
                <a:gd name="connsiteY42" fmla="*/ 89830 h 105927"/>
                <a:gd name="connsiteX43" fmla="*/ 35433 w 46787"/>
                <a:gd name="connsiteY43" fmla="*/ 91040 h 105927"/>
                <a:gd name="connsiteX44" fmla="*/ 33319 w 46787"/>
                <a:gd name="connsiteY44" fmla="*/ 91535 h 105927"/>
                <a:gd name="connsiteX45" fmla="*/ 31414 w 46787"/>
                <a:gd name="connsiteY45" fmla="*/ 91640 h 105927"/>
                <a:gd name="connsiteX46" fmla="*/ 30137 w 46787"/>
                <a:gd name="connsiteY46" fmla="*/ 92202 h 105927"/>
                <a:gd name="connsiteX47" fmla="*/ 29480 w 46787"/>
                <a:gd name="connsiteY47" fmla="*/ 93326 h 105927"/>
                <a:gd name="connsiteX48" fmla="*/ 28270 w 46787"/>
                <a:gd name="connsiteY48" fmla="*/ 94231 h 105927"/>
                <a:gd name="connsiteX49" fmla="*/ 27547 w 46787"/>
                <a:gd name="connsiteY49" fmla="*/ 94631 h 105927"/>
                <a:gd name="connsiteX50" fmla="*/ 27547 w 46787"/>
                <a:gd name="connsiteY50" fmla="*/ 95631 h 105927"/>
                <a:gd name="connsiteX51" fmla="*/ 28423 w 46787"/>
                <a:gd name="connsiteY51" fmla="*/ 97717 h 105927"/>
                <a:gd name="connsiteX52" fmla="*/ 29423 w 46787"/>
                <a:gd name="connsiteY52" fmla="*/ 99413 h 105927"/>
                <a:gd name="connsiteX53" fmla="*/ 29452 w 46787"/>
                <a:gd name="connsiteY53" fmla="*/ 100765 h 105927"/>
                <a:gd name="connsiteX54" fmla="*/ 28956 w 46787"/>
                <a:gd name="connsiteY54" fmla="*/ 101146 h 105927"/>
                <a:gd name="connsiteX55" fmla="*/ 27404 w 46787"/>
                <a:gd name="connsiteY55" fmla="*/ 100975 h 105927"/>
                <a:gd name="connsiteX56" fmla="*/ 27080 w 46787"/>
                <a:gd name="connsiteY56" fmla="*/ 101470 h 105927"/>
                <a:gd name="connsiteX57" fmla="*/ 26908 w 46787"/>
                <a:gd name="connsiteY57" fmla="*/ 102994 h 105927"/>
                <a:gd name="connsiteX58" fmla="*/ 26499 w 46787"/>
                <a:gd name="connsiteY58" fmla="*/ 104280 h 105927"/>
                <a:gd name="connsiteX59" fmla="*/ 25861 w 46787"/>
                <a:gd name="connsiteY59" fmla="*/ 105070 h 105927"/>
                <a:gd name="connsiteX60" fmla="*/ 24755 w 46787"/>
                <a:gd name="connsiteY60" fmla="*/ 105928 h 105927"/>
                <a:gd name="connsiteX61" fmla="*/ 22727 w 46787"/>
                <a:gd name="connsiteY61" fmla="*/ 105651 h 105927"/>
                <a:gd name="connsiteX62" fmla="*/ 20822 w 46787"/>
                <a:gd name="connsiteY62" fmla="*/ 104356 h 105927"/>
                <a:gd name="connsiteX63" fmla="*/ 19831 w 46787"/>
                <a:gd name="connsiteY63" fmla="*/ 103956 h 105927"/>
                <a:gd name="connsiteX64" fmla="*/ 19260 w 46787"/>
                <a:gd name="connsiteY64" fmla="*/ 103994 h 105927"/>
                <a:gd name="connsiteX65" fmla="*/ 19108 w 46787"/>
                <a:gd name="connsiteY65" fmla="*/ 100822 h 105927"/>
                <a:gd name="connsiteX66" fmla="*/ 18279 w 46787"/>
                <a:gd name="connsiteY66" fmla="*/ 98355 h 105927"/>
                <a:gd name="connsiteX67" fmla="*/ 15269 w 46787"/>
                <a:gd name="connsiteY67" fmla="*/ 92402 h 105927"/>
                <a:gd name="connsiteX68" fmla="*/ 5449 w 46787"/>
                <a:gd name="connsiteY68" fmla="*/ 86611 h 105927"/>
                <a:gd name="connsiteX69" fmla="*/ 3134 w 46787"/>
                <a:gd name="connsiteY69" fmla="*/ 84001 h 105927"/>
                <a:gd name="connsiteX70" fmla="*/ 2124 w 46787"/>
                <a:gd name="connsiteY70" fmla="*/ 81801 h 105927"/>
                <a:gd name="connsiteX71" fmla="*/ 1105 w 46787"/>
                <a:gd name="connsiteY71" fmla="*/ 79724 h 105927"/>
                <a:gd name="connsiteX72" fmla="*/ 2077 w 46787"/>
                <a:gd name="connsiteY72" fmla="*/ 79667 h 105927"/>
                <a:gd name="connsiteX73" fmla="*/ 3039 w 46787"/>
                <a:gd name="connsiteY73" fmla="*/ 80191 h 105927"/>
                <a:gd name="connsiteX74" fmla="*/ 4267 w 46787"/>
                <a:gd name="connsiteY74" fmla="*/ 80829 h 105927"/>
                <a:gd name="connsiteX75" fmla="*/ 4772 w 46787"/>
                <a:gd name="connsiteY75" fmla="*/ 79791 h 105927"/>
                <a:gd name="connsiteX76" fmla="*/ 4239 w 46787"/>
                <a:gd name="connsiteY76" fmla="*/ 77514 h 105927"/>
                <a:gd name="connsiteX77" fmla="*/ 1705 w 46787"/>
                <a:gd name="connsiteY77" fmla="*/ 72200 h 105927"/>
                <a:gd name="connsiteX78" fmla="*/ 1514 w 46787"/>
                <a:gd name="connsiteY78" fmla="*/ 70733 h 105927"/>
                <a:gd name="connsiteX79" fmla="*/ 2753 w 46787"/>
                <a:gd name="connsiteY79" fmla="*/ 66275 h 105927"/>
                <a:gd name="connsiteX80" fmla="*/ 4820 w 46787"/>
                <a:gd name="connsiteY80" fmla="*/ 61255 h 105927"/>
                <a:gd name="connsiteX81" fmla="*/ 4686 w 46787"/>
                <a:gd name="connsiteY81" fmla="*/ 55159 h 105927"/>
                <a:gd name="connsiteX82" fmla="*/ 5325 w 46787"/>
                <a:gd name="connsiteY82" fmla="*/ 50540 h 105927"/>
                <a:gd name="connsiteX83" fmla="*/ 4610 w 46787"/>
                <a:gd name="connsiteY83" fmla="*/ 47539 h 105927"/>
                <a:gd name="connsiteX84" fmla="*/ 4267 w 46787"/>
                <a:gd name="connsiteY84" fmla="*/ 43863 h 105927"/>
                <a:gd name="connsiteX85" fmla="*/ 5782 w 46787"/>
                <a:gd name="connsiteY85" fmla="*/ 38957 h 105927"/>
                <a:gd name="connsiteX86" fmla="*/ 7087 w 46787"/>
                <a:gd name="connsiteY86" fmla="*/ 37748 h 105927"/>
                <a:gd name="connsiteX87" fmla="*/ 7887 w 46787"/>
                <a:gd name="connsiteY87" fmla="*/ 36186 h 105927"/>
                <a:gd name="connsiteX88" fmla="*/ 7934 w 46787"/>
                <a:gd name="connsiteY88" fmla="*/ 30947 h 105927"/>
                <a:gd name="connsiteX89" fmla="*/ 5010 w 46787"/>
                <a:gd name="connsiteY89" fmla="*/ 28489 h 105927"/>
                <a:gd name="connsiteX90" fmla="*/ 1648 w 46787"/>
                <a:gd name="connsiteY90" fmla="*/ 28032 h 105927"/>
                <a:gd name="connsiteX91" fmla="*/ 1724 w 46787"/>
                <a:gd name="connsiteY91" fmla="*/ 26251 h 105927"/>
                <a:gd name="connsiteX92" fmla="*/ 2143 w 46787"/>
                <a:gd name="connsiteY92" fmla="*/ 23422 h 105927"/>
                <a:gd name="connsiteX93" fmla="*/ 1905 w 46787"/>
                <a:gd name="connsiteY93" fmla="*/ 22479 h 105927"/>
                <a:gd name="connsiteX94" fmla="*/ 2153 w 46787"/>
                <a:gd name="connsiteY94" fmla="*/ 20860 h 105927"/>
                <a:gd name="connsiteX95" fmla="*/ 1334 w 46787"/>
                <a:gd name="connsiteY95" fmla="*/ 18707 h 105927"/>
                <a:gd name="connsiteX96" fmla="*/ 0 w 46787"/>
                <a:gd name="connsiteY96" fmla="*/ 17145 h 105927"/>
                <a:gd name="connsiteX97" fmla="*/ 1286 w 46787"/>
                <a:gd name="connsiteY97" fmla="*/ 14392 h 105927"/>
                <a:gd name="connsiteX98" fmla="*/ 3172 w 46787"/>
                <a:gd name="connsiteY98" fmla="*/ 11049 h 105927"/>
                <a:gd name="connsiteX99" fmla="*/ 4925 w 46787"/>
                <a:gd name="connsiteY99" fmla="*/ 8401 h 105927"/>
                <a:gd name="connsiteX100" fmla="*/ 7049 w 46787"/>
                <a:gd name="connsiteY100" fmla="*/ 5639 h 105927"/>
                <a:gd name="connsiteX101" fmla="*/ 8468 w 46787"/>
                <a:gd name="connsiteY101" fmla="*/ 2991 h 105927"/>
                <a:gd name="connsiteX102" fmla="*/ 9983 w 46787"/>
                <a:gd name="connsiteY102" fmla="*/ 695 h 105927"/>
                <a:gd name="connsiteX103" fmla="*/ 11297 w 46787"/>
                <a:gd name="connsiteY103" fmla="*/ 0 h 105927"/>
                <a:gd name="connsiteX104" fmla="*/ 11945 w 46787"/>
                <a:gd name="connsiteY104" fmla="*/ 486 h 105927"/>
                <a:gd name="connsiteX105" fmla="*/ 12297 w 46787"/>
                <a:gd name="connsiteY105" fmla="*/ 1486 h 105927"/>
                <a:gd name="connsiteX106" fmla="*/ 12211 w 46787"/>
                <a:gd name="connsiteY106" fmla="*/ 4439 h 105927"/>
                <a:gd name="connsiteX107" fmla="*/ 12659 w 46787"/>
                <a:gd name="connsiteY107" fmla="*/ 5458 h 105927"/>
                <a:gd name="connsiteX108" fmla="*/ 13564 w 46787"/>
                <a:gd name="connsiteY108" fmla="*/ 6210 h 105927"/>
                <a:gd name="connsiteX109" fmla="*/ 15478 w 46787"/>
                <a:gd name="connsiteY109" fmla="*/ 5839 h 105927"/>
                <a:gd name="connsiteX110" fmla="*/ 17593 w 46787"/>
                <a:gd name="connsiteY110" fmla="*/ 5106 h 105927"/>
                <a:gd name="connsiteX111" fmla="*/ 20450 w 46787"/>
                <a:gd name="connsiteY111" fmla="*/ 3543 h 105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46787" h="105927">
                  <a:moveTo>
                    <a:pt x="20936" y="3639"/>
                  </a:moveTo>
                  <a:lnTo>
                    <a:pt x="21993" y="4458"/>
                  </a:lnTo>
                  <a:lnTo>
                    <a:pt x="24194" y="8020"/>
                  </a:lnTo>
                  <a:lnTo>
                    <a:pt x="25651" y="11163"/>
                  </a:lnTo>
                  <a:lnTo>
                    <a:pt x="28537" y="12249"/>
                  </a:lnTo>
                  <a:lnTo>
                    <a:pt x="30137" y="13468"/>
                  </a:lnTo>
                  <a:lnTo>
                    <a:pt x="32204" y="15326"/>
                  </a:lnTo>
                  <a:lnTo>
                    <a:pt x="33195" y="17183"/>
                  </a:lnTo>
                  <a:lnTo>
                    <a:pt x="34604" y="22870"/>
                  </a:lnTo>
                  <a:lnTo>
                    <a:pt x="34766" y="26299"/>
                  </a:lnTo>
                  <a:lnTo>
                    <a:pt x="34357" y="27861"/>
                  </a:lnTo>
                  <a:lnTo>
                    <a:pt x="34014" y="28270"/>
                  </a:lnTo>
                  <a:lnTo>
                    <a:pt x="32728" y="33833"/>
                  </a:lnTo>
                  <a:lnTo>
                    <a:pt x="33033" y="36662"/>
                  </a:lnTo>
                  <a:lnTo>
                    <a:pt x="33024" y="38529"/>
                  </a:lnTo>
                  <a:lnTo>
                    <a:pt x="31938" y="39262"/>
                  </a:lnTo>
                  <a:lnTo>
                    <a:pt x="31214" y="40434"/>
                  </a:lnTo>
                  <a:lnTo>
                    <a:pt x="32385" y="45044"/>
                  </a:lnTo>
                  <a:lnTo>
                    <a:pt x="32242" y="47015"/>
                  </a:lnTo>
                  <a:lnTo>
                    <a:pt x="32300" y="49263"/>
                  </a:lnTo>
                  <a:lnTo>
                    <a:pt x="34404" y="54388"/>
                  </a:lnTo>
                  <a:lnTo>
                    <a:pt x="35652" y="55969"/>
                  </a:lnTo>
                  <a:lnTo>
                    <a:pt x="36757" y="56722"/>
                  </a:lnTo>
                  <a:lnTo>
                    <a:pt x="38186" y="61427"/>
                  </a:lnTo>
                  <a:lnTo>
                    <a:pt x="39024" y="62236"/>
                  </a:lnTo>
                  <a:lnTo>
                    <a:pt x="42482" y="61789"/>
                  </a:lnTo>
                  <a:lnTo>
                    <a:pt x="44177" y="62312"/>
                  </a:lnTo>
                  <a:lnTo>
                    <a:pt x="44854" y="63427"/>
                  </a:lnTo>
                  <a:lnTo>
                    <a:pt x="45006" y="64189"/>
                  </a:lnTo>
                  <a:lnTo>
                    <a:pt x="44778" y="66818"/>
                  </a:lnTo>
                  <a:lnTo>
                    <a:pt x="45634" y="68837"/>
                  </a:lnTo>
                  <a:lnTo>
                    <a:pt x="46787" y="70914"/>
                  </a:lnTo>
                  <a:lnTo>
                    <a:pt x="46787" y="72180"/>
                  </a:lnTo>
                  <a:lnTo>
                    <a:pt x="46006" y="74257"/>
                  </a:lnTo>
                  <a:lnTo>
                    <a:pt x="44625" y="76667"/>
                  </a:lnTo>
                  <a:lnTo>
                    <a:pt x="42796" y="77600"/>
                  </a:lnTo>
                  <a:lnTo>
                    <a:pt x="40777" y="78381"/>
                  </a:lnTo>
                  <a:lnTo>
                    <a:pt x="39805" y="80258"/>
                  </a:lnTo>
                  <a:lnTo>
                    <a:pt x="39320" y="82248"/>
                  </a:lnTo>
                  <a:lnTo>
                    <a:pt x="38415" y="83725"/>
                  </a:lnTo>
                  <a:lnTo>
                    <a:pt x="37862" y="85344"/>
                  </a:lnTo>
                  <a:lnTo>
                    <a:pt x="36995" y="88640"/>
                  </a:lnTo>
                  <a:lnTo>
                    <a:pt x="36795" y="89830"/>
                  </a:lnTo>
                  <a:lnTo>
                    <a:pt x="35433" y="91040"/>
                  </a:lnTo>
                  <a:lnTo>
                    <a:pt x="33319" y="91535"/>
                  </a:lnTo>
                  <a:lnTo>
                    <a:pt x="31414" y="91640"/>
                  </a:lnTo>
                  <a:lnTo>
                    <a:pt x="30137" y="92202"/>
                  </a:lnTo>
                  <a:lnTo>
                    <a:pt x="29480" y="93326"/>
                  </a:lnTo>
                  <a:lnTo>
                    <a:pt x="28270" y="94231"/>
                  </a:lnTo>
                  <a:lnTo>
                    <a:pt x="27547" y="94631"/>
                  </a:lnTo>
                  <a:lnTo>
                    <a:pt x="27547" y="95631"/>
                  </a:lnTo>
                  <a:lnTo>
                    <a:pt x="28423" y="97717"/>
                  </a:lnTo>
                  <a:lnTo>
                    <a:pt x="29423" y="99413"/>
                  </a:lnTo>
                  <a:lnTo>
                    <a:pt x="29452" y="100765"/>
                  </a:lnTo>
                  <a:lnTo>
                    <a:pt x="28956" y="101146"/>
                  </a:lnTo>
                  <a:lnTo>
                    <a:pt x="27404" y="100975"/>
                  </a:lnTo>
                  <a:lnTo>
                    <a:pt x="27080" y="101470"/>
                  </a:lnTo>
                  <a:lnTo>
                    <a:pt x="26908" y="102994"/>
                  </a:lnTo>
                  <a:lnTo>
                    <a:pt x="26499" y="104280"/>
                  </a:lnTo>
                  <a:lnTo>
                    <a:pt x="25861" y="105070"/>
                  </a:lnTo>
                  <a:lnTo>
                    <a:pt x="24755" y="105928"/>
                  </a:lnTo>
                  <a:lnTo>
                    <a:pt x="22727" y="105651"/>
                  </a:lnTo>
                  <a:lnTo>
                    <a:pt x="20822" y="104356"/>
                  </a:lnTo>
                  <a:lnTo>
                    <a:pt x="19831" y="103956"/>
                  </a:lnTo>
                  <a:lnTo>
                    <a:pt x="19260" y="103994"/>
                  </a:lnTo>
                  <a:lnTo>
                    <a:pt x="19108" y="100822"/>
                  </a:lnTo>
                  <a:lnTo>
                    <a:pt x="18279" y="98355"/>
                  </a:lnTo>
                  <a:lnTo>
                    <a:pt x="15269" y="92402"/>
                  </a:lnTo>
                  <a:lnTo>
                    <a:pt x="5449" y="86611"/>
                  </a:lnTo>
                  <a:lnTo>
                    <a:pt x="3134" y="84001"/>
                  </a:lnTo>
                  <a:lnTo>
                    <a:pt x="2124" y="81801"/>
                  </a:lnTo>
                  <a:lnTo>
                    <a:pt x="1105" y="79724"/>
                  </a:lnTo>
                  <a:lnTo>
                    <a:pt x="2077" y="79667"/>
                  </a:lnTo>
                  <a:lnTo>
                    <a:pt x="3039" y="80191"/>
                  </a:lnTo>
                  <a:lnTo>
                    <a:pt x="4267" y="80829"/>
                  </a:lnTo>
                  <a:lnTo>
                    <a:pt x="4772" y="79791"/>
                  </a:lnTo>
                  <a:lnTo>
                    <a:pt x="4239" y="77514"/>
                  </a:lnTo>
                  <a:lnTo>
                    <a:pt x="1705" y="72200"/>
                  </a:lnTo>
                  <a:lnTo>
                    <a:pt x="1514" y="70733"/>
                  </a:lnTo>
                  <a:lnTo>
                    <a:pt x="2753" y="66275"/>
                  </a:lnTo>
                  <a:lnTo>
                    <a:pt x="4820" y="61255"/>
                  </a:lnTo>
                  <a:lnTo>
                    <a:pt x="4686" y="55159"/>
                  </a:lnTo>
                  <a:lnTo>
                    <a:pt x="5325" y="50540"/>
                  </a:lnTo>
                  <a:lnTo>
                    <a:pt x="4610" y="47539"/>
                  </a:lnTo>
                  <a:lnTo>
                    <a:pt x="4267" y="43863"/>
                  </a:lnTo>
                  <a:lnTo>
                    <a:pt x="5782" y="38957"/>
                  </a:lnTo>
                  <a:lnTo>
                    <a:pt x="7087" y="37748"/>
                  </a:lnTo>
                  <a:lnTo>
                    <a:pt x="7887" y="36186"/>
                  </a:lnTo>
                  <a:lnTo>
                    <a:pt x="7934" y="30947"/>
                  </a:lnTo>
                  <a:lnTo>
                    <a:pt x="5010" y="28489"/>
                  </a:lnTo>
                  <a:lnTo>
                    <a:pt x="1648" y="28032"/>
                  </a:lnTo>
                  <a:lnTo>
                    <a:pt x="1724" y="26251"/>
                  </a:lnTo>
                  <a:lnTo>
                    <a:pt x="2143" y="23422"/>
                  </a:lnTo>
                  <a:lnTo>
                    <a:pt x="1905" y="22479"/>
                  </a:lnTo>
                  <a:lnTo>
                    <a:pt x="2153" y="20860"/>
                  </a:lnTo>
                  <a:lnTo>
                    <a:pt x="1334" y="18707"/>
                  </a:lnTo>
                  <a:lnTo>
                    <a:pt x="0" y="17145"/>
                  </a:lnTo>
                  <a:lnTo>
                    <a:pt x="1286" y="14392"/>
                  </a:lnTo>
                  <a:lnTo>
                    <a:pt x="3172" y="11049"/>
                  </a:lnTo>
                  <a:lnTo>
                    <a:pt x="4925" y="8401"/>
                  </a:lnTo>
                  <a:lnTo>
                    <a:pt x="7049" y="5639"/>
                  </a:lnTo>
                  <a:lnTo>
                    <a:pt x="8468" y="2991"/>
                  </a:lnTo>
                  <a:lnTo>
                    <a:pt x="9983" y="695"/>
                  </a:lnTo>
                  <a:lnTo>
                    <a:pt x="11297" y="0"/>
                  </a:lnTo>
                  <a:lnTo>
                    <a:pt x="11945" y="486"/>
                  </a:lnTo>
                  <a:lnTo>
                    <a:pt x="12297" y="1486"/>
                  </a:lnTo>
                  <a:lnTo>
                    <a:pt x="12211" y="4439"/>
                  </a:lnTo>
                  <a:lnTo>
                    <a:pt x="12659" y="5458"/>
                  </a:lnTo>
                  <a:lnTo>
                    <a:pt x="13564" y="6210"/>
                  </a:lnTo>
                  <a:lnTo>
                    <a:pt x="15478" y="5839"/>
                  </a:lnTo>
                  <a:lnTo>
                    <a:pt x="17593" y="5106"/>
                  </a:lnTo>
                  <a:lnTo>
                    <a:pt x="20450" y="3543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0" name="Forme libre : forme 6">
              <a:extLst>
                <a:ext uri="{FF2B5EF4-FFF2-40B4-BE49-F238E27FC236}">
                  <a16:creationId xmlns:a16="http://schemas.microsoft.com/office/drawing/2014/main" id="{F246DF6C-47DF-49FF-5E9C-AA3FE86FDB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867498" y="4306181"/>
              <a:ext cx="705687" cy="356834"/>
            </a:xfrm>
            <a:custGeom>
              <a:avLst/>
              <a:gdLst>
                <a:gd name="connsiteX0" fmla="*/ 198587 w 203777"/>
                <a:gd name="connsiteY0" fmla="*/ 16278 h 103041"/>
                <a:gd name="connsiteX1" fmla="*/ 198482 w 203777"/>
                <a:gd name="connsiteY1" fmla="*/ 16688 h 103041"/>
                <a:gd name="connsiteX2" fmla="*/ 198329 w 203777"/>
                <a:gd name="connsiteY2" fmla="*/ 18202 h 103041"/>
                <a:gd name="connsiteX3" fmla="*/ 197292 w 203777"/>
                <a:gd name="connsiteY3" fmla="*/ 20117 h 103041"/>
                <a:gd name="connsiteX4" fmla="*/ 196167 w 203777"/>
                <a:gd name="connsiteY4" fmla="*/ 22613 h 103041"/>
                <a:gd name="connsiteX5" fmla="*/ 196244 w 203777"/>
                <a:gd name="connsiteY5" fmla="*/ 24803 h 103041"/>
                <a:gd name="connsiteX6" fmla="*/ 199111 w 203777"/>
                <a:gd name="connsiteY6" fmla="*/ 32366 h 103041"/>
                <a:gd name="connsiteX7" fmla="*/ 201664 w 203777"/>
                <a:gd name="connsiteY7" fmla="*/ 36947 h 103041"/>
                <a:gd name="connsiteX8" fmla="*/ 202140 w 203777"/>
                <a:gd name="connsiteY8" fmla="*/ 38691 h 103041"/>
                <a:gd name="connsiteX9" fmla="*/ 203778 w 203777"/>
                <a:gd name="connsiteY9" fmla="*/ 40034 h 103041"/>
                <a:gd name="connsiteX10" fmla="*/ 202225 w 203777"/>
                <a:gd name="connsiteY10" fmla="*/ 41720 h 103041"/>
                <a:gd name="connsiteX11" fmla="*/ 201921 w 203777"/>
                <a:gd name="connsiteY11" fmla="*/ 44215 h 103041"/>
                <a:gd name="connsiteX12" fmla="*/ 200911 w 203777"/>
                <a:gd name="connsiteY12" fmla="*/ 45330 h 103041"/>
                <a:gd name="connsiteX13" fmla="*/ 200644 w 203777"/>
                <a:gd name="connsiteY13" fmla="*/ 46749 h 103041"/>
                <a:gd name="connsiteX14" fmla="*/ 201073 w 203777"/>
                <a:gd name="connsiteY14" fmla="*/ 48044 h 103041"/>
                <a:gd name="connsiteX15" fmla="*/ 201064 w 203777"/>
                <a:gd name="connsiteY15" fmla="*/ 49664 h 103041"/>
                <a:gd name="connsiteX16" fmla="*/ 201625 w 203777"/>
                <a:gd name="connsiteY16" fmla="*/ 51883 h 103041"/>
                <a:gd name="connsiteX17" fmla="*/ 199130 w 203777"/>
                <a:gd name="connsiteY17" fmla="*/ 52369 h 103041"/>
                <a:gd name="connsiteX18" fmla="*/ 196167 w 203777"/>
                <a:gd name="connsiteY18" fmla="*/ 52292 h 103041"/>
                <a:gd name="connsiteX19" fmla="*/ 195110 w 203777"/>
                <a:gd name="connsiteY19" fmla="*/ 52426 h 103041"/>
                <a:gd name="connsiteX20" fmla="*/ 194120 w 203777"/>
                <a:gd name="connsiteY20" fmla="*/ 53035 h 103041"/>
                <a:gd name="connsiteX21" fmla="*/ 193101 w 203777"/>
                <a:gd name="connsiteY21" fmla="*/ 52731 h 103041"/>
                <a:gd name="connsiteX22" fmla="*/ 190414 w 203777"/>
                <a:gd name="connsiteY22" fmla="*/ 50645 h 103041"/>
                <a:gd name="connsiteX23" fmla="*/ 188910 w 203777"/>
                <a:gd name="connsiteY23" fmla="*/ 50178 h 103041"/>
                <a:gd name="connsiteX24" fmla="*/ 187843 w 203777"/>
                <a:gd name="connsiteY24" fmla="*/ 50302 h 103041"/>
                <a:gd name="connsiteX25" fmla="*/ 187042 w 203777"/>
                <a:gd name="connsiteY25" fmla="*/ 51216 h 103041"/>
                <a:gd name="connsiteX26" fmla="*/ 185662 w 203777"/>
                <a:gd name="connsiteY26" fmla="*/ 52378 h 103041"/>
                <a:gd name="connsiteX27" fmla="*/ 184376 w 203777"/>
                <a:gd name="connsiteY27" fmla="*/ 53197 h 103041"/>
                <a:gd name="connsiteX28" fmla="*/ 184661 w 203777"/>
                <a:gd name="connsiteY28" fmla="*/ 53912 h 103041"/>
                <a:gd name="connsiteX29" fmla="*/ 190214 w 203777"/>
                <a:gd name="connsiteY29" fmla="*/ 55788 h 103041"/>
                <a:gd name="connsiteX30" fmla="*/ 191196 w 203777"/>
                <a:gd name="connsiteY30" fmla="*/ 58664 h 103041"/>
                <a:gd name="connsiteX31" fmla="*/ 190129 w 203777"/>
                <a:gd name="connsiteY31" fmla="*/ 61008 h 103041"/>
                <a:gd name="connsiteX32" fmla="*/ 189767 w 203777"/>
                <a:gd name="connsiteY32" fmla="*/ 62160 h 103041"/>
                <a:gd name="connsiteX33" fmla="*/ 188462 w 203777"/>
                <a:gd name="connsiteY33" fmla="*/ 63056 h 103041"/>
                <a:gd name="connsiteX34" fmla="*/ 186871 w 203777"/>
                <a:gd name="connsiteY34" fmla="*/ 63846 h 103041"/>
                <a:gd name="connsiteX35" fmla="*/ 184947 w 203777"/>
                <a:gd name="connsiteY35" fmla="*/ 64046 h 103041"/>
                <a:gd name="connsiteX36" fmla="*/ 184719 w 203777"/>
                <a:gd name="connsiteY36" fmla="*/ 65313 h 103041"/>
                <a:gd name="connsiteX37" fmla="*/ 185471 w 203777"/>
                <a:gd name="connsiteY37" fmla="*/ 69018 h 103041"/>
                <a:gd name="connsiteX38" fmla="*/ 184861 w 203777"/>
                <a:gd name="connsiteY38" fmla="*/ 69818 h 103041"/>
                <a:gd name="connsiteX39" fmla="*/ 184252 w 203777"/>
                <a:gd name="connsiteY39" fmla="*/ 70971 h 103041"/>
                <a:gd name="connsiteX40" fmla="*/ 184823 w 203777"/>
                <a:gd name="connsiteY40" fmla="*/ 74009 h 103041"/>
                <a:gd name="connsiteX41" fmla="*/ 186014 w 203777"/>
                <a:gd name="connsiteY41" fmla="*/ 74228 h 103041"/>
                <a:gd name="connsiteX42" fmla="*/ 186281 w 203777"/>
                <a:gd name="connsiteY42" fmla="*/ 74914 h 103041"/>
                <a:gd name="connsiteX43" fmla="*/ 186071 w 203777"/>
                <a:gd name="connsiteY43" fmla="*/ 76153 h 103041"/>
                <a:gd name="connsiteX44" fmla="*/ 185862 w 203777"/>
                <a:gd name="connsiteY44" fmla="*/ 77457 h 103041"/>
                <a:gd name="connsiteX45" fmla="*/ 185442 w 203777"/>
                <a:gd name="connsiteY45" fmla="*/ 78839 h 103041"/>
                <a:gd name="connsiteX46" fmla="*/ 185233 w 203777"/>
                <a:gd name="connsiteY46" fmla="*/ 79458 h 103041"/>
                <a:gd name="connsiteX47" fmla="*/ 184443 w 203777"/>
                <a:gd name="connsiteY47" fmla="*/ 79839 h 103041"/>
                <a:gd name="connsiteX48" fmla="*/ 181985 w 203777"/>
                <a:gd name="connsiteY48" fmla="*/ 79639 h 103041"/>
                <a:gd name="connsiteX49" fmla="*/ 179861 w 203777"/>
                <a:gd name="connsiteY49" fmla="*/ 80820 h 103041"/>
                <a:gd name="connsiteX50" fmla="*/ 175594 w 203777"/>
                <a:gd name="connsiteY50" fmla="*/ 85049 h 103041"/>
                <a:gd name="connsiteX51" fmla="*/ 174108 w 203777"/>
                <a:gd name="connsiteY51" fmla="*/ 85773 h 103041"/>
                <a:gd name="connsiteX52" fmla="*/ 172489 w 203777"/>
                <a:gd name="connsiteY52" fmla="*/ 87468 h 103041"/>
                <a:gd name="connsiteX53" fmla="*/ 172583 w 203777"/>
                <a:gd name="connsiteY53" fmla="*/ 91174 h 103041"/>
                <a:gd name="connsiteX54" fmla="*/ 172365 w 203777"/>
                <a:gd name="connsiteY54" fmla="*/ 91516 h 103041"/>
                <a:gd name="connsiteX55" fmla="*/ 171974 w 203777"/>
                <a:gd name="connsiteY55" fmla="*/ 92278 h 103041"/>
                <a:gd name="connsiteX56" fmla="*/ 166878 w 203777"/>
                <a:gd name="connsiteY56" fmla="*/ 90964 h 103041"/>
                <a:gd name="connsiteX57" fmla="*/ 166707 w 203777"/>
                <a:gd name="connsiteY57" fmla="*/ 90992 h 103041"/>
                <a:gd name="connsiteX58" fmla="*/ 163287 w 203777"/>
                <a:gd name="connsiteY58" fmla="*/ 91469 h 103041"/>
                <a:gd name="connsiteX59" fmla="*/ 160954 w 203777"/>
                <a:gd name="connsiteY59" fmla="*/ 93164 h 103041"/>
                <a:gd name="connsiteX60" fmla="*/ 158125 w 203777"/>
                <a:gd name="connsiteY60" fmla="*/ 94145 h 103041"/>
                <a:gd name="connsiteX61" fmla="*/ 152181 w 203777"/>
                <a:gd name="connsiteY61" fmla="*/ 93621 h 103041"/>
                <a:gd name="connsiteX62" fmla="*/ 146400 w 203777"/>
                <a:gd name="connsiteY62" fmla="*/ 94279 h 103041"/>
                <a:gd name="connsiteX63" fmla="*/ 145028 w 203777"/>
                <a:gd name="connsiteY63" fmla="*/ 94774 h 103041"/>
                <a:gd name="connsiteX64" fmla="*/ 143532 w 203777"/>
                <a:gd name="connsiteY64" fmla="*/ 95060 h 103041"/>
                <a:gd name="connsiteX65" fmla="*/ 142122 w 203777"/>
                <a:gd name="connsiteY65" fmla="*/ 96050 h 103041"/>
                <a:gd name="connsiteX66" fmla="*/ 141313 w 203777"/>
                <a:gd name="connsiteY66" fmla="*/ 97441 h 103041"/>
                <a:gd name="connsiteX67" fmla="*/ 139875 w 203777"/>
                <a:gd name="connsiteY67" fmla="*/ 99193 h 103041"/>
                <a:gd name="connsiteX68" fmla="*/ 137827 w 203777"/>
                <a:gd name="connsiteY68" fmla="*/ 100575 h 103041"/>
                <a:gd name="connsiteX69" fmla="*/ 135608 w 203777"/>
                <a:gd name="connsiteY69" fmla="*/ 101641 h 103041"/>
                <a:gd name="connsiteX70" fmla="*/ 135074 w 203777"/>
                <a:gd name="connsiteY70" fmla="*/ 102527 h 103041"/>
                <a:gd name="connsiteX71" fmla="*/ 134350 w 203777"/>
                <a:gd name="connsiteY71" fmla="*/ 103042 h 103041"/>
                <a:gd name="connsiteX72" fmla="*/ 133103 w 203777"/>
                <a:gd name="connsiteY72" fmla="*/ 102375 h 103041"/>
                <a:gd name="connsiteX73" fmla="*/ 132102 w 203777"/>
                <a:gd name="connsiteY73" fmla="*/ 102413 h 103041"/>
                <a:gd name="connsiteX74" fmla="*/ 130874 w 203777"/>
                <a:gd name="connsiteY74" fmla="*/ 101956 h 103041"/>
                <a:gd name="connsiteX75" fmla="*/ 126787 w 203777"/>
                <a:gd name="connsiteY75" fmla="*/ 101460 h 103041"/>
                <a:gd name="connsiteX76" fmla="*/ 122311 w 203777"/>
                <a:gd name="connsiteY76" fmla="*/ 100641 h 103041"/>
                <a:gd name="connsiteX77" fmla="*/ 120167 w 203777"/>
                <a:gd name="connsiteY77" fmla="*/ 99860 h 103041"/>
                <a:gd name="connsiteX78" fmla="*/ 117748 w 203777"/>
                <a:gd name="connsiteY78" fmla="*/ 99231 h 103041"/>
                <a:gd name="connsiteX79" fmla="*/ 115139 w 203777"/>
                <a:gd name="connsiteY79" fmla="*/ 98727 h 103041"/>
                <a:gd name="connsiteX80" fmla="*/ 112804 w 203777"/>
                <a:gd name="connsiteY80" fmla="*/ 98612 h 103041"/>
                <a:gd name="connsiteX81" fmla="*/ 111624 w 203777"/>
                <a:gd name="connsiteY81" fmla="*/ 98374 h 103041"/>
                <a:gd name="connsiteX82" fmla="*/ 106014 w 203777"/>
                <a:gd name="connsiteY82" fmla="*/ 97012 h 103041"/>
                <a:gd name="connsiteX83" fmla="*/ 102308 w 203777"/>
                <a:gd name="connsiteY83" fmla="*/ 96917 h 103041"/>
                <a:gd name="connsiteX84" fmla="*/ 97422 w 203777"/>
                <a:gd name="connsiteY84" fmla="*/ 96346 h 103041"/>
                <a:gd name="connsiteX85" fmla="*/ 87716 w 203777"/>
                <a:gd name="connsiteY85" fmla="*/ 94288 h 103041"/>
                <a:gd name="connsiteX86" fmla="*/ 84887 w 203777"/>
                <a:gd name="connsiteY86" fmla="*/ 93450 h 103041"/>
                <a:gd name="connsiteX87" fmla="*/ 82191 w 203777"/>
                <a:gd name="connsiteY87" fmla="*/ 93193 h 103041"/>
                <a:gd name="connsiteX88" fmla="*/ 78991 w 203777"/>
                <a:gd name="connsiteY88" fmla="*/ 92478 h 103041"/>
                <a:gd name="connsiteX89" fmla="*/ 76562 w 203777"/>
                <a:gd name="connsiteY89" fmla="*/ 91307 h 103041"/>
                <a:gd name="connsiteX90" fmla="*/ 75009 w 203777"/>
                <a:gd name="connsiteY90" fmla="*/ 89078 h 103041"/>
                <a:gd name="connsiteX91" fmla="*/ 73343 w 203777"/>
                <a:gd name="connsiteY91" fmla="*/ 86125 h 103041"/>
                <a:gd name="connsiteX92" fmla="*/ 70304 w 203777"/>
                <a:gd name="connsiteY92" fmla="*/ 82248 h 103041"/>
                <a:gd name="connsiteX93" fmla="*/ 69675 w 203777"/>
                <a:gd name="connsiteY93" fmla="*/ 80315 h 103041"/>
                <a:gd name="connsiteX94" fmla="*/ 70609 w 203777"/>
                <a:gd name="connsiteY94" fmla="*/ 78619 h 103041"/>
                <a:gd name="connsiteX95" fmla="*/ 71561 w 203777"/>
                <a:gd name="connsiteY95" fmla="*/ 77334 h 103041"/>
                <a:gd name="connsiteX96" fmla="*/ 71457 w 203777"/>
                <a:gd name="connsiteY96" fmla="*/ 76791 h 103041"/>
                <a:gd name="connsiteX97" fmla="*/ 70714 w 203777"/>
                <a:gd name="connsiteY97" fmla="*/ 76505 h 103041"/>
                <a:gd name="connsiteX98" fmla="*/ 65370 w 203777"/>
                <a:gd name="connsiteY98" fmla="*/ 78162 h 103041"/>
                <a:gd name="connsiteX99" fmla="*/ 60188 w 203777"/>
                <a:gd name="connsiteY99" fmla="*/ 80258 h 103041"/>
                <a:gd name="connsiteX100" fmla="*/ 58150 w 203777"/>
                <a:gd name="connsiteY100" fmla="*/ 80315 h 103041"/>
                <a:gd name="connsiteX101" fmla="*/ 56179 w 203777"/>
                <a:gd name="connsiteY101" fmla="*/ 79858 h 103041"/>
                <a:gd name="connsiteX102" fmla="*/ 53550 w 203777"/>
                <a:gd name="connsiteY102" fmla="*/ 79820 h 103041"/>
                <a:gd name="connsiteX103" fmla="*/ 51035 w 203777"/>
                <a:gd name="connsiteY103" fmla="*/ 80381 h 103041"/>
                <a:gd name="connsiteX104" fmla="*/ 45987 w 203777"/>
                <a:gd name="connsiteY104" fmla="*/ 80667 h 103041"/>
                <a:gd name="connsiteX105" fmla="*/ 43034 w 203777"/>
                <a:gd name="connsiteY105" fmla="*/ 82210 h 103041"/>
                <a:gd name="connsiteX106" fmla="*/ 41148 w 203777"/>
                <a:gd name="connsiteY106" fmla="*/ 85211 h 103041"/>
                <a:gd name="connsiteX107" fmla="*/ 40129 w 203777"/>
                <a:gd name="connsiteY107" fmla="*/ 87630 h 103041"/>
                <a:gd name="connsiteX108" fmla="*/ 39272 w 203777"/>
                <a:gd name="connsiteY108" fmla="*/ 88411 h 103041"/>
                <a:gd name="connsiteX109" fmla="*/ 37510 w 203777"/>
                <a:gd name="connsiteY109" fmla="*/ 88707 h 103041"/>
                <a:gd name="connsiteX110" fmla="*/ 34881 w 203777"/>
                <a:gd name="connsiteY110" fmla="*/ 88478 h 103041"/>
                <a:gd name="connsiteX111" fmla="*/ 33033 w 203777"/>
                <a:gd name="connsiteY111" fmla="*/ 87782 h 103041"/>
                <a:gd name="connsiteX112" fmla="*/ 31147 w 203777"/>
                <a:gd name="connsiteY112" fmla="*/ 85716 h 103041"/>
                <a:gd name="connsiteX113" fmla="*/ 28223 w 203777"/>
                <a:gd name="connsiteY113" fmla="*/ 85420 h 103041"/>
                <a:gd name="connsiteX114" fmla="*/ 25537 w 203777"/>
                <a:gd name="connsiteY114" fmla="*/ 85373 h 103041"/>
                <a:gd name="connsiteX115" fmla="*/ 24822 w 203777"/>
                <a:gd name="connsiteY115" fmla="*/ 84992 h 103041"/>
                <a:gd name="connsiteX116" fmla="*/ 24870 w 203777"/>
                <a:gd name="connsiteY116" fmla="*/ 83639 h 103041"/>
                <a:gd name="connsiteX117" fmla="*/ 23813 w 203777"/>
                <a:gd name="connsiteY117" fmla="*/ 81106 h 103041"/>
                <a:gd name="connsiteX118" fmla="*/ 22060 w 203777"/>
                <a:gd name="connsiteY118" fmla="*/ 80315 h 103041"/>
                <a:gd name="connsiteX119" fmla="*/ 17526 w 203777"/>
                <a:gd name="connsiteY119" fmla="*/ 85087 h 103041"/>
                <a:gd name="connsiteX120" fmla="*/ 16288 w 203777"/>
                <a:gd name="connsiteY120" fmla="*/ 85515 h 103041"/>
                <a:gd name="connsiteX121" fmla="*/ 12640 w 203777"/>
                <a:gd name="connsiteY121" fmla="*/ 84192 h 103041"/>
                <a:gd name="connsiteX122" fmla="*/ 9449 w 203777"/>
                <a:gd name="connsiteY122" fmla="*/ 82153 h 103041"/>
                <a:gd name="connsiteX123" fmla="*/ 9106 w 203777"/>
                <a:gd name="connsiteY123" fmla="*/ 80658 h 103041"/>
                <a:gd name="connsiteX124" fmla="*/ 8582 w 203777"/>
                <a:gd name="connsiteY124" fmla="*/ 79429 h 103041"/>
                <a:gd name="connsiteX125" fmla="*/ 5906 w 203777"/>
                <a:gd name="connsiteY125" fmla="*/ 78267 h 103041"/>
                <a:gd name="connsiteX126" fmla="*/ 2562 w 203777"/>
                <a:gd name="connsiteY126" fmla="*/ 77476 h 103041"/>
                <a:gd name="connsiteX127" fmla="*/ 1496 w 203777"/>
                <a:gd name="connsiteY127" fmla="*/ 77476 h 103041"/>
                <a:gd name="connsiteX128" fmla="*/ 1915 w 203777"/>
                <a:gd name="connsiteY128" fmla="*/ 76753 h 103041"/>
                <a:gd name="connsiteX129" fmla="*/ 2305 w 203777"/>
                <a:gd name="connsiteY129" fmla="*/ 75524 h 103041"/>
                <a:gd name="connsiteX130" fmla="*/ 2057 w 203777"/>
                <a:gd name="connsiteY130" fmla="*/ 74552 h 103041"/>
                <a:gd name="connsiteX131" fmla="*/ 1276 w 203777"/>
                <a:gd name="connsiteY131" fmla="*/ 73533 h 103041"/>
                <a:gd name="connsiteX132" fmla="*/ 848 w 203777"/>
                <a:gd name="connsiteY132" fmla="*/ 72457 h 103041"/>
                <a:gd name="connsiteX133" fmla="*/ 714 w 203777"/>
                <a:gd name="connsiteY133" fmla="*/ 71409 h 103041"/>
                <a:gd name="connsiteX134" fmla="*/ 476 w 203777"/>
                <a:gd name="connsiteY134" fmla="*/ 70552 h 103041"/>
                <a:gd name="connsiteX135" fmla="*/ 333 w 203777"/>
                <a:gd name="connsiteY135" fmla="*/ 69742 h 103041"/>
                <a:gd name="connsiteX136" fmla="*/ 86 w 203777"/>
                <a:gd name="connsiteY136" fmla="*/ 69114 h 103041"/>
                <a:gd name="connsiteX137" fmla="*/ 2267 w 203777"/>
                <a:gd name="connsiteY137" fmla="*/ 64351 h 103041"/>
                <a:gd name="connsiteX138" fmla="*/ 2715 w 203777"/>
                <a:gd name="connsiteY138" fmla="*/ 61389 h 103041"/>
                <a:gd name="connsiteX139" fmla="*/ 810 w 203777"/>
                <a:gd name="connsiteY139" fmla="*/ 59646 h 103041"/>
                <a:gd name="connsiteX140" fmla="*/ 0 w 203777"/>
                <a:gd name="connsiteY140" fmla="*/ 59131 h 103041"/>
                <a:gd name="connsiteX141" fmla="*/ 667 w 203777"/>
                <a:gd name="connsiteY141" fmla="*/ 58741 h 103041"/>
                <a:gd name="connsiteX142" fmla="*/ 3381 w 203777"/>
                <a:gd name="connsiteY142" fmla="*/ 59065 h 103041"/>
                <a:gd name="connsiteX143" fmla="*/ 5106 w 203777"/>
                <a:gd name="connsiteY143" fmla="*/ 58084 h 103041"/>
                <a:gd name="connsiteX144" fmla="*/ 6010 w 203777"/>
                <a:gd name="connsiteY144" fmla="*/ 57103 h 103041"/>
                <a:gd name="connsiteX145" fmla="*/ 8420 w 203777"/>
                <a:gd name="connsiteY145" fmla="*/ 58026 h 103041"/>
                <a:gd name="connsiteX146" fmla="*/ 11964 w 203777"/>
                <a:gd name="connsiteY146" fmla="*/ 59874 h 103041"/>
                <a:gd name="connsiteX147" fmla="*/ 13630 w 203777"/>
                <a:gd name="connsiteY147" fmla="*/ 61131 h 103041"/>
                <a:gd name="connsiteX148" fmla="*/ 14316 w 203777"/>
                <a:gd name="connsiteY148" fmla="*/ 62094 h 103041"/>
                <a:gd name="connsiteX149" fmla="*/ 14707 w 203777"/>
                <a:gd name="connsiteY149" fmla="*/ 62903 h 103041"/>
                <a:gd name="connsiteX150" fmla="*/ 14497 w 203777"/>
                <a:gd name="connsiteY150" fmla="*/ 64294 h 103041"/>
                <a:gd name="connsiteX151" fmla="*/ 15297 w 203777"/>
                <a:gd name="connsiteY151" fmla="*/ 64837 h 103041"/>
                <a:gd name="connsiteX152" fmla="*/ 16964 w 203777"/>
                <a:gd name="connsiteY152" fmla="*/ 65037 h 103041"/>
                <a:gd name="connsiteX153" fmla="*/ 18079 w 203777"/>
                <a:gd name="connsiteY153" fmla="*/ 65465 h 103041"/>
                <a:gd name="connsiteX154" fmla="*/ 17688 w 203777"/>
                <a:gd name="connsiteY154" fmla="*/ 67294 h 103041"/>
                <a:gd name="connsiteX155" fmla="*/ 17612 w 203777"/>
                <a:gd name="connsiteY155" fmla="*/ 68790 h 103041"/>
                <a:gd name="connsiteX156" fmla="*/ 19145 w 203777"/>
                <a:gd name="connsiteY156" fmla="*/ 68580 h 103041"/>
                <a:gd name="connsiteX157" fmla="*/ 21079 w 203777"/>
                <a:gd name="connsiteY157" fmla="*/ 67437 h 103041"/>
                <a:gd name="connsiteX158" fmla="*/ 22584 w 203777"/>
                <a:gd name="connsiteY158" fmla="*/ 65370 h 103041"/>
                <a:gd name="connsiteX159" fmla="*/ 23517 w 203777"/>
                <a:gd name="connsiteY159" fmla="*/ 63360 h 103041"/>
                <a:gd name="connsiteX160" fmla="*/ 24222 w 203777"/>
                <a:gd name="connsiteY160" fmla="*/ 58464 h 103041"/>
                <a:gd name="connsiteX161" fmla="*/ 24470 w 203777"/>
                <a:gd name="connsiteY161" fmla="*/ 58055 h 103041"/>
                <a:gd name="connsiteX162" fmla="*/ 25632 w 203777"/>
                <a:gd name="connsiteY162" fmla="*/ 58436 h 103041"/>
                <a:gd name="connsiteX163" fmla="*/ 30328 w 203777"/>
                <a:gd name="connsiteY163" fmla="*/ 58226 h 103041"/>
                <a:gd name="connsiteX164" fmla="*/ 32547 w 203777"/>
                <a:gd name="connsiteY164" fmla="*/ 59141 h 103041"/>
                <a:gd name="connsiteX165" fmla="*/ 36062 w 203777"/>
                <a:gd name="connsiteY165" fmla="*/ 59293 h 103041"/>
                <a:gd name="connsiteX166" fmla="*/ 35995 w 203777"/>
                <a:gd name="connsiteY166" fmla="*/ 60055 h 103041"/>
                <a:gd name="connsiteX167" fmla="*/ 36614 w 203777"/>
                <a:gd name="connsiteY167" fmla="*/ 61255 h 103041"/>
                <a:gd name="connsiteX168" fmla="*/ 38176 w 203777"/>
                <a:gd name="connsiteY168" fmla="*/ 62979 h 103041"/>
                <a:gd name="connsiteX169" fmla="*/ 38938 w 203777"/>
                <a:gd name="connsiteY169" fmla="*/ 64103 h 103041"/>
                <a:gd name="connsiteX170" fmla="*/ 40567 w 203777"/>
                <a:gd name="connsiteY170" fmla="*/ 64303 h 103041"/>
                <a:gd name="connsiteX171" fmla="*/ 43091 w 203777"/>
                <a:gd name="connsiteY171" fmla="*/ 63684 h 103041"/>
                <a:gd name="connsiteX172" fmla="*/ 44558 w 203777"/>
                <a:gd name="connsiteY172" fmla="*/ 63037 h 103041"/>
                <a:gd name="connsiteX173" fmla="*/ 45120 w 203777"/>
                <a:gd name="connsiteY173" fmla="*/ 63494 h 103041"/>
                <a:gd name="connsiteX174" fmla="*/ 47416 w 203777"/>
                <a:gd name="connsiteY174" fmla="*/ 63046 h 103041"/>
                <a:gd name="connsiteX175" fmla="*/ 49454 w 203777"/>
                <a:gd name="connsiteY175" fmla="*/ 61656 h 103041"/>
                <a:gd name="connsiteX176" fmla="*/ 49959 w 203777"/>
                <a:gd name="connsiteY176" fmla="*/ 60598 h 103041"/>
                <a:gd name="connsiteX177" fmla="*/ 52016 w 203777"/>
                <a:gd name="connsiteY177" fmla="*/ 59846 h 103041"/>
                <a:gd name="connsiteX178" fmla="*/ 54798 w 203777"/>
                <a:gd name="connsiteY178" fmla="*/ 58122 h 103041"/>
                <a:gd name="connsiteX179" fmla="*/ 58617 w 203777"/>
                <a:gd name="connsiteY179" fmla="*/ 56798 h 103041"/>
                <a:gd name="connsiteX180" fmla="*/ 71142 w 203777"/>
                <a:gd name="connsiteY180" fmla="*/ 55369 h 103041"/>
                <a:gd name="connsiteX181" fmla="*/ 71628 w 203777"/>
                <a:gd name="connsiteY181" fmla="*/ 54293 h 103041"/>
                <a:gd name="connsiteX182" fmla="*/ 71447 w 203777"/>
                <a:gd name="connsiteY182" fmla="*/ 51826 h 103041"/>
                <a:gd name="connsiteX183" fmla="*/ 71781 w 203777"/>
                <a:gd name="connsiteY183" fmla="*/ 51464 h 103041"/>
                <a:gd name="connsiteX184" fmla="*/ 73352 w 203777"/>
                <a:gd name="connsiteY184" fmla="*/ 52073 h 103041"/>
                <a:gd name="connsiteX185" fmla="*/ 75886 w 203777"/>
                <a:gd name="connsiteY185" fmla="*/ 52654 h 103041"/>
                <a:gd name="connsiteX186" fmla="*/ 77839 w 203777"/>
                <a:gd name="connsiteY186" fmla="*/ 53521 h 103041"/>
                <a:gd name="connsiteX187" fmla="*/ 79086 w 203777"/>
                <a:gd name="connsiteY187" fmla="*/ 54664 h 103041"/>
                <a:gd name="connsiteX188" fmla="*/ 80258 w 203777"/>
                <a:gd name="connsiteY188" fmla="*/ 54712 h 103041"/>
                <a:gd name="connsiteX189" fmla="*/ 82068 w 203777"/>
                <a:gd name="connsiteY189" fmla="*/ 53912 h 103041"/>
                <a:gd name="connsiteX190" fmla="*/ 84515 w 203777"/>
                <a:gd name="connsiteY190" fmla="*/ 53397 h 103041"/>
                <a:gd name="connsiteX191" fmla="*/ 86801 w 203777"/>
                <a:gd name="connsiteY191" fmla="*/ 54588 h 103041"/>
                <a:gd name="connsiteX192" fmla="*/ 87468 w 203777"/>
                <a:gd name="connsiteY192" fmla="*/ 55864 h 103041"/>
                <a:gd name="connsiteX193" fmla="*/ 87068 w 203777"/>
                <a:gd name="connsiteY193" fmla="*/ 56522 h 103041"/>
                <a:gd name="connsiteX194" fmla="*/ 87106 w 203777"/>
                <a:gd name="connsiteY194" fmla="*/ 57560 h 103041"/>
                <a:gd name="connsiteX195" fmla="*/ 87821 w 203777"/>
                <a:gd name="connsiteY195" fmla="*/ 58426 h 103041"/>
                <a:gd name="connsiteX196" fmla="*/ 89678 w 203777"/>
                <a:gd name="connsiteY196" fmla="*/ 59836 h 103041"/>
                <a:gd name="connsiteX197" fmla="*/ 92059 w 203777"/>
                <a:gd name="connsiteY197" fmla="*/ 61046 h 103041"/>
                <a:gd name="connsiteX198" fmla="*/ 93298 w 203777"/>
                <a:gd name="connsiteY198" fmla="*/ 60951 h 103041"/>
                <a:gd name="connsiteX199" fmla="*/ 93754 w 203777"/>
                <a:gd name="connsiteY199" fmla="*/ 59779 h 103041"/>
                <a:gd name="connsiteX200" fmla="*/ 94193 w 203777"/>
                <a:gd name="connsiteY200" fmla="*/ 56969 h 103041"/>
                <a:gd name="connsiteX201" fmla="*/ 94355 w 203777"/>
                <a:gd name="connsiteY201" fmla="*/ 53959 h 103041"/>
                <a:gd name="connsiteX202" fmla="*/ 93812 w 203777"/>
                <a:gd name="connsiteY202" fmla="*/ 52235 h 103041"/>
                <a:gd name="connsiteX203" fmla="*/ 92526 w 203777"/>
                <a:gd name="connsiteY203" fmla="*/ 51816 h 103041"/>
                <a:gd name="connsiteX204" fmla="*/ 90992 w 203777"/>
                <a:gd name="connsiteY204" fmla="*/ 51673 h 103041"/>
                <a:gd name="connsiteX205" fmla="*/ 90173 w 203777"/>
                <a:gd name="connsiteY205" fmla="*/ 51311 h 103041"/>
                <a:gd name="connsiteX206" fmla="*/ 90469 w 203777"/>
                <a:gd name="connsiteY206" fmla="*/ 50368 h 103041"/>
                <a:gd name="connsiteX207" fmla="*/ 91688 w 203777"/>
                <a:gd name="connsiteY207" fmla="*/ 47911 h 103041"/>
                <a:gd name="connsiteX208" fmla="*/ 91678 w 203777"/>
                <a:gd name="connsiteY208" fmla="*/ 44625 h 103041"/>
                <a:gd name="connsiteX209" fmla="*/ 88906 w 203777"/>
                <a:gd name="connsiteY209" fmla="*/ 40872 h 103041"/>
                <a:gd name="connsiteX210" fmla="*/ 86497 w 203777"/>
                <a:gd name="connsiteY210" fmla="*/ 37243 h 103041"/>
                <a:gd name="connsiteX211" fmla="*/ 86506 w 203777"/>
                <a:gd name="connsiteY211" fmla="*/ 36004 h 103041"/>
                <a:gd name="connsiteX212" fmla="*/ 87954 w 203777"/>
                <a:gd name="connsiteY212" fmla="*/ 33852 h 103041"/>
                <a:gd name="connsiteX213" fmla="*/ 90173 w 203777"/>
                <a:gd name="connsiteY213" fmla="*/ 32138 h 103041"/>
                <a:gd name="connsiteX214" fmla="*/ 95117 w 203777"/>
                <a:gd name="connsiteY214" fmla="*/ 29280 h 103041"/>
                <a:gd name="connsiteX215" fmla="*/ 96669 w 203777"/>
                <a:gd name="connsiteY215" fmla="*/ 28690 h 103041"/>
                <a:gd name="connsiteX216" fmla="*/ 98670 w 203777"/>
                <a:gd name="connsiteY216" fmla="*/ 28213 h 103041"/>
                <a:gd name="connsiteX217" fmla="*/ 101546 w 203777"/>
                <a:gd name="connsiteY217" fmla="*/ 27032 h 103041"/>
                <a:gd name="connsiteX218" fmla="*/ 102927 w 203777"/>
                <a:gd name="connsiteY218" fmla="*/ 25822 h 103041"/>
                <a:gd name="connsiteX219" fmla="*/ 103861 w 203777"/>
                <a:gd name="connsiteY219" fmla="*/ 24508 h 103041"/>
                <a:gd name="connsiteX220" fmla="*/ 105213 w 203777"/>
                <a:gd name="connsiteY220" fmla="*/ 17659 h 103041"/>
                <a:gd name="connsiteX221" fmla="*/ 105528 w 203777"/>
                <a:gd name="connsiteY221" fmla="*/ 17364 h 103041"/>
                <a:gd name="connsiteX222" fmla="*/ 105928 w 203777"/>
                <a:gd name="connsiteY222" fmla="*/ 16964 h 103041"/>
                <a:gd name="connsiteX223" fmla="*/ 110966 w 203777"/>
                <a:gd name="connsiteY223" fmla="*/ 19336 h 103041"/>
                <a:gd name="connsiteX224" fmla="*/ 111414 w 203777"/>
                <a:gd name="connsiteY224" fmla="*/ 18936 h 103041"/>
                <a:gd name="connsiteX225" fmla="*/ 112271 w 203777"/>
                <a:gd name="connsiteY225" fmla="*/ 18555 h 103041"/>
                <a:gd name="connsiteX226" fmla="*/ 113910 w 203777"/>
                <a:gd name="connsiteY226" fmla="*/ 16736 h 103041"/>
                <a:gd name="connsiteX227" fmla="*/ 114272 w 203777"/>
                <a:gd name="connsiteY227" fmla="*/ 15364 h 103041"/>
                <a:gd name="connsiteX228" fmla="*/ 114233 w 203777"/>
                <a:gd name="connsiteY228" fmla="*/ 12745 h 103041"/>
                <a:gd name="connsiteX229" fmla="*/ 114386 w 203777"/>
                <a:gd name="connsiteY229" fmla="*/ 10278 h 103041"/>
                <a:gd name="connsiteX230" fmla="*/ 114700 w 203777"/>
                <a:gd name="connsiteY230" fmla="*/ 9487 h 103041"/>
                <a:gd name="connsiteX231" fmla="*/ 115453 w 203777"/>
                <a:gd name="connsiteY231" fmla="*/ 9782 h 103041"/>
                <a:gd name="connsiteX232" fmla="*/ 117625 w 203777"/>
                <a:gd name="connsiteY232" fmla="*/ 11059 h 103041"/>
                <a:gd name="connsiteX233" fmla="*/ 119348 w 203777"/>
                <a:gd name="connsiteY233" fmla="*/ 12507 h 103041"/>
                <a:gd name="connsiteX234" fmla="*/ 120958 w 203777"/>
                <a:gd name="connsiteY234" fmla="*/ 16135 h 103041"/>
                <a:gd name="connsiteX235" fmla="*/ 124721 w 203777"/>
                <a:gd name="connsiteY235" fmla="*/ 17098 h 103041"/>
                <a:gd name="connsiteX236" fmla="*/ 129473 w 203777"/>
                <a:gd name="connsiteY236" fmla="*/ 17193 h 103041"/>
                <a:gd name="connsiteX237" fmla="*/ 131169 w 203777"/>
                <a:gd name="connsiteY237" fmla="*/ 15573 h 103041"/>
                <a:gd name="connsiteX238" fmla="*/ 132712 w 203777"/>
                <a:gd name="connsiteY238" fmla="*/ 15202 h 103041"/>
                <a:gd name="connsiteX239" fmla="*/ 134455 w 203777"/>
                <a:gd name="connsiteY239" fmla="*/ 15697 h 103041"/>
                <a:gd name="connsiteX240" fmla="*/ 138132 w 203777"/>
                <a:gd name="connsiteY240" fmla="*/ 16259 h 103041"/>
                <a:gd name="connsiteX241" fmla="*/ 138541 w 203777"/>
                <a:gd name="connsiteY241" fmla="*/ 13335 h 103041"/>
                <a:gd name="connsiteX242" fmla="*/ 140656 w 203777"/>
                <a:gd name="connsiteY242" fmla="*/ 10278 h 103041"/>
                <a:gd name="connsiteX243" fmla="*/ 141618 w 203777"/>
                <a:gd name="connsiteY243" fmla="*/ 9211 h 103041"/>
                <a:gd name="connsiteX244" fmla="*/ 144314 w 203777"/>
                <a:gd name="connsiteY244" fmla="*/ 9315 h 103041"/>
                <a:gd name="connsiteX245" fmla="*/ 144971 w 203777"/>
                <a:gd name="connsiteY245" fmla="*/ 7030 h 103041"/>
                <a:gd name="connsiteX246" fmla="*/ 145637 w 203777"/>
                <a:gd name="connsiteY246" fmla="*/ 695 h 103041"/>
                <a:gd name="connsiteX247" fmla="*/ 146200 w 203777"/>
                <a:gd name="connsiteY247" fmla="*/ 0 h 103041"/>
                <a:gd name="connsiteX248" fmla="*/ 148162 w 203777"/>
                <a:gd name="connsiteY248" fmla="*/ 133 h 103041"/>
                <a:gd name="connsiteX249" fmla="*/ 150114 w 203777"/>
                <a:gd name="connsiteY249" fmla="*/ 1286 h 103041"/>
                <a:gd name="connsiteX250" fmla="*/ 150695 w 203777"/>
                <a:gd name="connsiteY250" fmla="*/ 2229 h 103041"/>
                <a:gd name="connsiteX251" fmla="*/ 151714 w 203777"/>
                <a:gd name="connsiteY251" fmla="*/ 2153 h 103041"/>
                <a:gd name="connsiteX252" fmla="*/ 153133 w 203777"/>
                <a:gd name="connsiteY252" fmla="*/ 1505 h 103041"/>
                <a:gd name="connsiteX253" fmla="*/ 154686 w 203777"/>
                <a:gd name="connsiteY253" fmla="*/ 1096 h 103041"/>
                <a:gd name="connsiteX254" fmla="*/ 157153 w 203777"/>
                <a:gd name="connsiteY254" fmla="*/ 1772 h 103041"/>
                <a:gd name="connsiteX255" fmla="*/ 162401 w 203777"/>
                <a:gd name="connsiteY255" fmla="*/ 4648 h 103041"/>
                <a:gd name="connsiteX256" fmla="*/ 165116 w 203777"/>
                <a:gd name="connsiteY256" fmla="*/ 5705 h 103041"/>
                <a:gd name="connsiteX257" fmla="*/ 166830 w 203777"/>
                <a:gd name="connsiteY257" fmla="*/ 5505 h 103041"/>
                <a:gd name="connsiteX258" fmla="*/ 168440 w 203777"/>
                <a:gd name="connsiteY258" fmla="*/ 5544 h 103041"/>
                <a:gd name="connsiteX259" fmla="*/ 174641 w 203777"/>
                <a:gd name="connsiteY259" fmla="*/ 9982 h 103041"/>
                <a:gd name="connsiteX260" fmla="*/ 178975 w 203777"/>
                <a:gd name="connsiteY260" fmla="*/ 10601 h 103041"/>
                <a:gd name="connsiteX261" fmla="*/ 182928 w 203777"/>
                <a:gd name="connsiteY261" fmla="*/ 10621 h 103041"/>
                <a:gd name="connsiteX262" fmla="*/ 184204 w 203777"/>
                <a:gd name="connsiteY262" fmla="*/ 9287 h 103041"/>
                <a:gd name="connsiteX263" fmla="*/ 185880 w 203777"/>
                <a:gd name="connsiteY263" fmla="*/ 8154 h 103041"/>
                <a:gd name="connsiteX264" fmla="*/ 187643 w 203777"/>
                <a:gd name="connsiteY264" fmla="*/ 8306 h 103041"/>
                <a:gd name="connsiteX265" fmla="*/ 189176 w 203777"/>
                <a:gd name="connsiteY265" fmla="*/ 8887 h 103041"/>
                <a:gd name="connsiteX266" fmla="*/ 192167 w 203777"/>
                <a:gd name="connsiteY266" fmla="*/ 10811 h 103041"/>
                <a:gd name="connsiteX267" fmla="*/ 193548 w 203777"/>
                <a:gd name="connsiteY267" fmla="*/ 11306 h 103041"/>
                <a:gd name="connsiteX268" fmla="*/ 195387 w 203777"/>
                <a:gd name="connsiteY268" fmla="*/ 11621 h 103041"/>
                <a:gd name="connsiteX269" fmla="*/ 196730 w 203777"/>
                <a:gd name="connsiteY269" fmla="*/ 12049 h 103041"/>
                <a:gd name="connsiteX270" fmla="*/ 197920 w 203777"/>
                <a:gd name="connsiteY270" fmla="*/ 15383 h 10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</a:cxnLst>
              <a:rect l="l" t="t" r="r" b="b"/>
              <a:pathLst>
                <a:path w="203777" h="103041">
                  <a:moveTo>
                    <a:pt x="198587" y="16278"/>
                  </a:moveTo>
                  <a:lnTo>
                    <a:pt x="198482" y="16688"/>
                  </a:lnTo>
                  <a:lnTo>
                    <a:pt x="198329" y="18202"/>
                  </a:lnTo>
                  <a:lnTo>
                    <a:pt x="197292" y="20117"/>
                  </a:lnTo>
                  <a:lnTo>
                    <a:pt x="196167" y="22613"/>
                  </a:lnTo>
                  <a:lnTo>
                    <a:pt x="196244" y="24803"/>
                  </a:lnTo>
                  <a:lnTo>
                    <a:pt x="199111" y="32366"/>
                  </a:lnTo>
                  <a:lnTo>
                    <a:pt x="201664" y="36947"/>
                  </a:lnTo>
                  <a:lnTo>
                    <a:pt x="202140" y="38691"/>
                  </a:lnTo>
                  <a:lnTo>
                    <a:pt x="203778" y="40034"/>
                  </a:lnTo>
                  <a:lnTo>
                    <a:pt x="202225" y="41720"/>
                  </a:lnTo>
                  <a:lnTo>
                    <a:pt x="201921" y="44215"/>
                  </a:lnTo>
                  <a:lnTo>
                    <a:pt x="200911" y="45330"/>
                  </a:lnTo>
                  <a:lnTo>
                    <a:pt x="200644" y="46749"/>
                  </a:lnTo>
                  <a:lnTo>
                    <a:pt x="201073" y="48044"/>
                  </a:lnTo>
                  <a:lnTo>
                    <a:pt x="201064" y="49664"/>
                  </a:lnTo>
                  <a:lnTo>
                    <a:pt x="201625" y="51883"/>
                  </a:lnTo>
                  <a:lnTo>
                    <a:pt x="199130" y="52369"/>
                  </a:lnTo>
                  <a:lnTo>
                    <a:pt x="196167" y="52292"/>
                  </a:lnTo>
                  <a:lnTo>
                    <a:pt x="195110" y="52426"/>
                  </a:lnTo>
                  <a:lnTo>
                    <a:pt x="194120" y="53035"/>
                  </a:lnTo>
                  <a:lnTo>
                    <a:pt x="193101" y="52731"/>
                  </a:lnTo>
                  <a:lnTo>
                    <a:pt x="190414" y="50645"/>
                  </a:lnTo>
                  <a:lnTo>
                    <a:pt x="188910" y="50178"/>
                  </a:lnTo>
                  <a:lnTo>
                    <a:pt x="187843" y="50302"/>
                  </a:lnTo>
                  <a:lnTo>
                    <a:pt x="187042" y="51216"/>
                  </a:lnTo>
                  <a:lnTo>
                    <a:pt x="185662" y="52378"/>
                  </a:lnTo>
                  <a:lnTo>
                    <a:pt x="184376" y="53197"/>
                  </a:lnTo>
                  <a:lnTo>
                    <a:pt x="184661" y="53912"/>
                  </a:lnTo>
                  <a:lnTo>
                    <a:pt x="190214" y="55788"/>
                  </a:lnTo>
                  <a:lnTo>
                    <a:pt x="191196" y="58664"/>
                  </a:lnTo>
                  <a:lnTo>
                    <a:pt x="190129" y="61008"/>
                  </a:lnTo>
                  <a:lnTo>
                    <a:pt x="189767" y="62160"/>
                  </a:lnTo>
                  <a:lnTo>
                    <a:pt x="188462" y="63056"/>
                  </a:lnTo>
                  <a:lnTo>
                    <a:pt x="186871" y="63846"/>
                  </a:lnTo>
                  <a:lnTo>
                    <a:pt x="184947" y="64046"/>
                  </a:lnTo>
                  <a:lnTo>
                    <a:pt x="184719" y="65313"/>
                  </a:lnTo>
                  <a:lnTo>
                    <a:pt x="185471" y="69018"/>
                  </a:lnTo>
                  <a:lnTo>
                    <a:pt x="184861" y="69818"/>
                  </a:lnTo>
                  <a:lnTo>
                    <a:pt x="184252" y="70971"/>
                  </a:lnTo>
                  <a:lnTo>
                    <a:pt x="184823" y="74009"/>
                  </a:lnTo>
                  <a:lnTo>
                    <a:pt x="186014" y="74228"/>
                  </a:lnTo>
                  <a:lnTo>
                    <a:pt x="186281" y="74914"/>
                  </a:lnTo>
                  <a:lnTo>
                    <a:pt x="186071" y="76153"/>
                  </a:lnTo>
                  <a:lnTo>
                    <a:pt x="185862" y="77457"/>
                  </a:lnTo>
                  <a:lnTo>
                    <a:pt x="185442" y="78839"/>
                  </a:lnTo>
                  <a:lnTo>
                    <a:pt x="185233" y="79458"/>
                  </a:lnTo>
                  <a:lnTo>
                    <a:pt x="184443" y="79839"/>
                  </a:lnTo>
                  <a:lnTo>
                    <a:pt x="181985" y="79639"/>
                  </a:lnTo>
                  <a:lnTo>
                    <a:pt x="179861" y="80820"/>
                  </a:lnTo>
                  <a:lnTo>
                    <a:pt x="175594" y="85049"/>
                  </a:lnTo>
                  <a:lnTo>
                    <a:pt x="174108" y="85773"/>
                  </a:lnTo>
                  <a:lnTo>
                    <a:pt x="172489" y="87468"/>
                  </a:lnTo>
                  <a:lnTo>
                    <a:pt x="172583" y="91174"/>
                  </a:lnTo>
                  <a:lnTo>
                    <a:pt x="172365" y="91516"/>
                  </a:lnTo>
                  <a:lnTo>
                    <a:pt x="171974" y="92278"/>
                  </a:lnTo>
                  <a:lnTo>
                    <a:pt x="166878" y="90964"/>
                  </a:lnTo>
                  <a:lnTo>
                    <a:pt x="166707" y="90992"/>
                  </a:lnTo>
                  <a:lnTo>
                    <a:pt x="163287" y="91469"/>
                  </a:lnTo>
                  <a:lnTo>
                    <a:pt x="160954" y="93164"/>
                  </a:lnTo>
                  <a:lnTo>
                    <a:pt x="158125" y="94145"/>
                  </a:lnTo>
                  <a:lnTo>
                    <a:pt x="152181" y="93621"/>
                  </a:lnTo>
                  <a:lnTo>
                    <a:pt x="146400" y="94279"/>
                  </a:lnTo>
                  <a:lnTo>
                    <a:pt x="145028" y="94774"/>
                  </a:lnTo>
                  <a:lnTo>
                    <a:pt x="143532" y="95060"/>
                  </a:lnTo>
                  <a:lnTo>
                    <a:pt x="142122" y="96050"/>
                  </a:lnTo>
                  <a:lnTo>
                    <a:pt x="141313" y="97441"/>
                  </a:lnTo>
                  <a:lnTo>
                    <a:pt x="139875" y="99193"/>
                  </a:lnTo>
                  <a:lnTo>
                    <a:pt x="137827" y="100575"/>
                  </a:lnTo>
                  <a:lnTo>
                    <a:pt x="135608" y="101641"/>
                  </a:lnTo>
                  <a:lnTo>
                    <a:pt x="135074" y="102527"/>
                  </a:lnTo>
                  <a:lnTo>
                    <a:pt x="134350" y="103042"/>
                  </a:lnTo>
                  <a:lnTo>
                    <a:pt x="133103" y="102375"/>
                  </a:lnTo>
                  <a:lnTo>
                    <a:pt x="132102" y="102413"/>
                  </a:lnTo>
                  <a:lnTo>
                    <a:pt x="130874" y="101956"/>
                  </a:lnTo>
                  <a:lnTo>
                    <a:pt x="126787" y="101460"/>
                  </a:lnTo>
                  <a:lnTo>
                    <a:pt x="122311" y="100641"/>
                  </a:lnTo>
                  <a:lnTo>
                    <a:pt x="120167" y="99860"/>
                  </a:lnTo>
                  <a:lnTo>
                    <a:pt x="117748" y="99231"/>
                  </a:lnTo>
                  <a:lnTo>
                    <a:pt x="115139" y="98727"/>
                  </a:lnTo>
                  <a:lnTo>
                    <a:pt x="112804" y="98612"/>
                  </a:lnTo>
                  <a:lnTo>
                    <a:pt x="111624" y="98374"/>
                  </a:lnTo>
                  <a:lnTo>
                    <a:pt x="106014" y="97012"/>
                  </a:lnTo>
                  <a:lnTo>
                    <a:pt x="102308" y="96917"/>
                  </a:lnTo>
                  <a:lnTo>
                    <a:pt x="97422" y="96346"/>
                  </a:lnTo>
                  <a:lnTo>
                    <a:pt x="87716" y="94288"/>
                  </a:lnTo>
                  <a:lnTo>
                    <a:pt x="84887" y="93450"/>
                  </a:lnTo>
                  <a:lnTo>
                    <a:pt x="82191" y="93193"/>
                  </a:lnTo>
                  <a:lnTo>
                    <a:pt x="78991" y="92478"/>
                  </a:lnTo>
                  <a:lnTo>
                    <a:pt x="76562" y="91307"/>
                  </a:lnTo>
                  <a:lnTo>
                    <a:pt x="75009" y="89078"/>
                  </a:lnTo>
                  <a:lnTo>
                    <a:pt x="73343" y="86125"/>
                  </a:lnTo>
                  <a:lnTo>
                    <a:pt x="70304" y="82248"/>
                  </a:lnTo>
                  <a:lnTo>
                    <a:pt x="69675" y="80315"/>
                  </a:lnTo>
                  <a:lnTo>
                    <a:pt x="70609" y="78619"/>
                  </a:lnTo>
                  <a:lnTo>
                    <a:pt x="71561" y="77334"/>
                  </a:lnTo>
                  <a:lnTo>
                    <a:pt x="71457" y="76791"/>
                  </a:lnTo>
                  <a:lnTo>
                    <a:pt x="70714" y="76505"/>
                  </a:lnTo>
                  <a:lnTo>
                    <a:pt x="65370" y="78162"/>
                  </a:lnTo>
                  <a:lnTo>
                    <a:pt x="60188" y="80258"/>
                  </a:lnTo>
                  <a:lnTo>
                    <a:pt x="58150" y="80315"/>
                  </a:lnTo>
                  <a:lnTo>
                    <a:pt x="56179" y="79858"/>
                  </a:lnTo>
                  <a:lnTo>
                    <a:pt x="53550" y="79820"/>
                  </a:lnTo>
                  <a:lnTo>
                    <a:pt x="51035" y="80381"/>
                  </a:lnTo>
                  <a:lnTo>
                    <a:pt x="45987" y="80667"/>
                  </a:lnTo>
                  <a:lnTo>
                    <a:pt x="43034" y="82210"/>
                  </a:lnTo>
                  <a:lnTo>
                    <a:pt x="41148" y="85211"/>
                  </a:lnTo>
                  <a:lnTo>
                    <a:pt x="40129" y="87630"/>
                  </a:lnTo>
                  <a:lnTo>
                    <a:pt x="39272" y="88411"/>
                  </a:lnTo>
                  <a:lnTo>
                    <a:pt x="37510" y="88707"/>
                  </a:lnTo>
                  <a:lnTo>
                    <a:pt x="34881" y="88478"/>
                  </a:lnTo>
                  <a:lnTo>
                    <a:pt x="33033" y="87782"/>
                  </a:lnTo>
                  <a:lnTo>
                    <a:pt x="31147" y="85716"/>
                  </a:lnTo>
                  <a:lnTo>
                    <a:pt x="28223" y="85420"/>
                  </a:lnTo>
                  <a:lnTo>
                    <a:pt x="25537" y="85373"/>
                  </a:lnTo>
                  <a:lnTo>
                    <a:pt x="24822" y="84992"/>
                  </a:lnTo>
                  <a:lnTo>
                    <a:pt x="24870" y="83639"/>
                  </a:lnTo>
                  <a:lnTo>
                    <a:pt x="23813" y="81106"/>
                  </a:lnTo>
                  <a:lnTo>
                    <a:pt x="22060" y="80315"/>
                  </a:lnTo>
                  <a:lnTo>
                    <a:pt x="17526" y="85087"/>
                  </a:lnTo>
                  <a:lnTo>
                    <a:pt x="16288" y="85515"/>
                  </a:lnTo>
                  <a:lnTo>
                    <a:pt x="12640" y="84192"/>
                  </a:lnTo>
                  <a:lnTo>
                    <a:pt x="9449" y="82153"/>
                  </a:lnTo>
                  <a:lnTo>
                    <a:pt x="9106" y="80658"/>
                  </a:lnTo>
                  <a:lnTo>
                    <a:pt x="8582" y="79429"/>
                  </a:lnTo>
                  <a:lnTo>
                    <a:pt x="5906" y="78267"/>
                  </a:lnTo>
                  <a:lnTo>
                    <a:pt x="2562" y="77476"/>
                  </a:lnTo>
                  <a:lnTo>
                    <a:pt x="1496" y="77476"/>
                  </a:lnTo>
                  <a:lnTo>
                    <a:pt x="1915" y="76753"/>
                  </a:lnTo>
                  <a:lnTo>
                    <a:pt x="2305" y="75524"/>
                  </a:lnTo>
                  <a:lnTo>
                    <a:pt x="2057" y="74552"/>
                  </a:lnTo>
                  <a:lnTo>
                    <a:pt x="1276" y="73533"/>
                  </a:lnTo>
                  <a:lnTo>
                    <a:pt x="848" y="72457"/>
                  </a:lnTo>
                  <a:lnTo>
                    <a:pt x="714" y="71409"/>
                  </a:lnTo>
                  <a:lnTo>
                    <a:pt x="476" y="70552"/>
                  </a:lnTo>
                  <a:lnTo>
                    <a:pt x="333" y="69742"/>
                  </a:lnTo>
                  <a:lnTo>
                    <a:pt x="86" y="69114"/>
                  </a:lnTo>
                  <a:lnTo>
                    <a:pt x="2267" y="64351"/>
                  </a:lnTo>
                  <a:lnTo>
                    <a:pt x="2715" y="61389"/>
                  </a:lnTo>
                  <a:lnTo>
                    <a:pt x="810" y="59646"/>
                  </a:lnTo>
                  <a:lnTo>
                    <a:pt x="0" y="59131"/>
                  </a:lnTo>
                  <a:lnTo>
                    <a:pt x="667" y="58741"/>
                  </a:lnTo>
                  <a:lnTo>
                    <a:pt x="3381" y="59065"/>
                  </a:lnTo>
                  <a:lnTo>
                    <a:pt x="5106" y="58084"/>
                  </a:lnTo>
                  <a:lnTo>
                    <a:pt x="6010" y="57103"/>
                  </a:lnTo>
                  <a:lnTo>
                    <a:pt x="8420" y="58026"/>
                  </a:lnTo>
                  <a:lnTo>
                    <a:pt x="11964" y="59874"/>
                  </a:lnTo>
                  <a:lnTo>
                    <a:pt x="13630" y="61131"/>
                  </a:lnTo>
                  <a:lnTo>
                    <a:pt x="14316" y="62094"/>
                  </a:lnTo>
                  <a:lnTo>
                    <a:pt x="14707" y="62903"/>
                  </a:lnTo>
                  <a:lnTo>
                    <a:pt x="14497" y="64294"/>
                  </a:lnTo>
                  <a:lnTo>
                    <a:pt x="15297" y="64837"/>
                  </a:lnTo>
                  <a:lnTo>
                    <a:pt x="16964" y="65037"/>
                  </a:lnTo>
                  <a:lnTo>
                    <a:pt x="18079" y="65465"/>
                  </a:lnTo>
                  <a:lnTo>
                    <a:pt x="17688" y="67294"/>
                  </a:lnTo>
                  <a:lnTo>
                    <a:pt x="17612" y="68790"/>
                  </a:lnTo>
                  <a:lnTo>
                    <a:pt x="19145" y="68580"/>
                  </a:lnTo>
                  <a:lnTo>
                    <a:pt x="21079" y="67437"/>
                  </a:lnTo>
                  <a:lnTo>
                    <a:pt x="22584" y="65370"/>
                  </a:lnTo>
                  <a:lnTo>
                    <a:pt x="23517" y="63360"/>
                  </a:lnTo>
                  <a:lnTo>
                    <a:pt x="24222" y="58464"/>
                  </a:lnTo>
                  <a:lnTo>
                    <a:pt x="24470" y="58055"/>
                  </a:lnTo>
                  <a:lnTo>
                    <a:pt x="25632" y="58436"/>
                  </a:lnTo>
                  <a:lnTo>
                    <a:pt x="30328" y="58226"/>
                  </a:lnTo>
                  <a:lnTo>
                    <a:pt x="32547" y="59141"/>
                  </a:lnTo>
                  <a:lnTo>
                    <a:pt x="36062" y="59293"/>
                  </a:lnTo>
                  <a:lnTo>
                    <a:pt x="35995" y="60055"/>
                  </a:lnTo>
                  <a:lnTo>
                    <a:pt x="36614" y="61255"/>
                  </a:lnTo>
                  <a:lnTo>
                    <a:pt x="38176" y="62979"/>
                  </a:lnTo>
                  <a:lnTo>
                    <a:pt x="38938" y="64103"/>
                  </a:lnTo>
                  <a:lnTo>
                    <a:pt x="40567" y="64303"/>
                  </a:lnTo>
                  <a:lnTo>
                    <a:pt x="43091" y="63684"/>
                  </a:lnTo>
                  <a:lnTo>
                    <a:pt x="44558" y="63037"/>
                  </a:lnTo>
                  <a:lnTo>
                    <a:pt x="45120" y="63494"/>
                  </a:lnTo>
                  <a:lnTo>
                    <a:pt x="47416" y="63046"/>
                  </a:lnTo>
                  <a:lnTo>
                    <a:pt x="49454" y="61656"/>
                  </a:lnTo>
                  <a:lnTo>
                    <a:pt x="49959" y="60598"/>
                  </a:lnTo>
                  <a:lnTo>
                    <a:pt x="52016" y="59846"/>
                  </a:lnTo>
                  <a:lnTo>
                    <a:pt x="54798" y="58122"/>
                  </a:lnTo>
                  <a:lnTo>
                    <a:pt x="58617" y="56798"/>
                  </a:lnTo>
                  <a:lnTo>
                    <a:pt x="71142" y="55369"/>
                  </a:lnTo>
                  <a:lnTo>
                    <a:pt x="71628" y="54293"/>
                  </a:lnTo>
                  <a:lnTo>
                    <a:pt x="71447" y="51826"/>
                  </a:lnTo>
                  <a:lnTo>
                    <a:pt x="71781" y="51464"/>
                  </a:lnTo>
                  <a:lnTo>
                    <a:pt x="73352" y="52073"/>
                  </a:lnTo>
                  <a:lnTo>
                    <a:pt x="75886" y="52654"/>
                  </a:lnTo>
                  <a:lnTo>
                    <a:pt x="77839" y="53521"/>
                  </a:lnTo>
                  <a:lnTo>
                    <a:pt x="79086" y="54664"/>
                  </a:lnTo>
                  <a:lnTo>
                    <a:pt x="80258" y="54712"/>
                  </a:lnTo>
                  <a:lnTo>
                    <a:pt x="82068" y="53912"/>
                  </a:lnTo>
                  <a:lnTo>
                    <a:pt x="84515" y="53397"/>
                  </a:lnTo>
                  <a:lnTo>
                    <a:pt x="86801" y="54588"/>
                  </a:lnTo>
                  <a:lnTo>
                    <a:pt x="87468" y="55864"/>
                  </a:lnTo>
                  <a:lnTo>
                    <a:pt x="87068" y="56522"/>
                  </a:lnTo>
                  <a:lnTo>
                    <a:pt x="87106" y="57560"/>
                  </a:lnTo>
                  <a:lnTo>
                    <a:pt x="87821" y="58426"/>
                  </a:lnTo>
                  <a:lnTo>
                    <a:pt x="89678" y="59836"/>
                  </a:lnTo>
                  <a:lnTo>
                    <a:pt x="92059" y="61046"/>
                  </a:lnTo>
                  <a:lnTo>
                    <a:pt x="93298" y="60951"/>
                  </a:lnTo>
                  <a:lnTo>
                    <a:pt x="93754" y="59779"/>
                  </a:lnTo>
                  <a:lnTo>
                    <a:pt x="94193" y="56969"/>
                  </a:lnTo>
                  <a:lnTo>
                    <a:pt x="94355" y="53959"/>
                  </a:lnTo>
                  <a:lnTo>
                    <a:pt x="93812" y="52235"/>
                  </a:lnTo>
                  <a:lnTo>
                    <a:pt x="92526" y="51816"/>
                  </a:lnTo>
                  <a:lnTo>
                    <a:pt x="90992" y="51673"/>
                  </a:lnTo>
                  <a:lnTo>
                    <a:pt x="90173" y="51311"/>
                  </a:lnTo>
                  <a:lnTo>
                    <a:pt x="90469" y="50368"/>
                  </a:lnTo>
                  <a:lnTo>
                    <a:pt x="91688" y="47911"/>
                  </a:lnTo>
                  <a:lnTo>
                    <a:pt x="91678" y="44625"/>
                  </a:lnTo>
                  <a:lnTo>
                    <a:pt x="88906" y="40872"/>
                  </a:lnTo>
                  <a:lnTo>
                    <a:pt x="86497" y="37243"/>
                  </a:lnTo>
                  <a:lnTo>
                    <a:pt x="86506" y="36004"/>
                  </a:lnTo>
                  <a:lnTo>
                    <a:pt x="87954" y="33852"/>
                  </a:lnTo>
                  <a:lnTo>
                    <a:pt x="90173" y="32138"/>
                  </a:lnTo>
                  <a:lnTo>
                    <a:pt x="95117" y="29280"/>
                  </a:lnTo>
                  <a:lnTo>
                    <a:pt x="96669" y="28690"/>
                  </a:lnTo>
                  <a:lnTo>
                    <a:pt x="98670" y="28213"/>
                  </a:lnTo>
                  <a:lnTo>
                    <a:pt x="101546" y="27032"/>
                  </a:lnTo>
                  <a:lnTo>
                    <a:pt x="102927" y="25822"/>
                  </a:lnTo>
                  <a:lnTo>
                    <a:pt x="103861" y="24508"/>
                  </a:lnTo>
                  <a:lnTo>
                    <a:pt x="105213" y="17659"/>
                  </a:lnTo>
                  <a:lnTo>
                    <a:pt x="105528" y="17364"/>
                  </a:lnTo>
                  <a:lnTo>
                    <a:pt x="105928" y="16964"/>
                  </a:lnTo>
                  <a:lnTo>
                    <a:pt x="110966" y="19336"/>
                  </a:lnTo>
                  <a:lnTo>
                    <a:pt x="111414" y="18936"/>
                  </a:lnTo>
                  <a:lnTo>
                    <a:pt x="112271" y="18555"/>
                  </a:lnTo>
                  <a:lnTo>
                    <a:pt x="113910" y="16736"/>
                  </a:lnTo>
                  <a:lnTo>
                    <a:pt x="114272" y="15364"/>
                  </a:lnTo>
                  <a:lnTo>
                    <a:pt x="114233" y="12745"/>
                  </a:lnTo>
                  <a:lnTo>
                    <a:pt x="114386" y="10278"/>
                  </a:lnTo>
                  <a:lnTo>
                    <a:pt x="114700" y="9487"/>
                  </a:lnTo>
                  <a:lnTo>
                    <a:pt x="115453" y="9782"/>
                  </a:lnTo>
                  <a:lnTo>
                    <a:pt x="117625" y="11059"/>
                  </a:lnTo>
                  <a:lnTo>
                    <a:pt x="119348" y="12507"/>
                  </a:lnTo>
                  <a:lnTo>
                    <a:pt x="120958" y="16135"/>
                  </a:lnTo>
                  <a:lnTo>
                    <a:pt x="124721" y="17098"/>
                  </a:lnTo>
                  <a:lnTo>
                    <a:pt x="129473" y="17193"/>
                  </a:lnTo>
                  <a:lnTo>
                    <a:pt x="131169" y="15573"/>
                  </a:lnTo>
                  <a:lnTo>
                    <a:pt x="132712" y="15202"/>
                  </a:lnTo>
                  <a:lnTo>
                    <a:pt x="134455" y="15697"/>
                  </a:lnTo>
                  <a:lnTo>
                    <a:pt x="138132" y="16259"/>
                  </a:lnTo>
                  <a:lnTo>
                    <a:pt x="138541" y="13335"/>
                  </a:lnTo>
                  <a:lnTo>
                    <a:pt x="140656" y="10278"/>
                  </a:lnTo>
                  <a:lnTo>
                    <a:pt x="141618" y="9211"/>
                  </a:lnTo>
                  <a:lnTo>
                    <a:pt x="144314" y="9315"/>
                  </a:lnTo>
                  <a:lnTo>
                    <a:pt x="144971" y="7030"/>
                  </a:lnTo>
                  <a:lnTo>
                    <a:pt x="145637" y="695"/>
                  </a:lnTo>
                  <a:lnTo>
                    <a:pt x="146200" y="0"/>
                  </a:lnTo>
                  <a:lnTo>
                    <a:pt x="148162" y="133"/>
                  </a:lnTo>
                  <a:lnTo>
                    <a:pt x="150114" y="1286"/>
                  </a:lnTo>
                  <a:lnTo>
                    <a:pt x="150695" y="2229"/>
                  </a:lnTo>
                  <a:lnTo>
                    <a:pt x="151714" y="2153"/>
                  </a:lnTo>
                  <a:lnTo>
                    <a:pt x="153133" y="1505"/>
                  </a:lnTo>
                  <a:lnTo>
                    <a:pt x="154686" y="1096"/>
                  </a:lnTo>
                  <a:lnTo>
                    <a:pt x="157153" y="1772"/>
                  </a:lnTo>
                  <a:lnTo>
                    <a:pt x="162401" y="4648"/>
                  </a:lnTo>
                  <a:lnTo>
                    <a:pt x="165116" y="5705"/>
                  </a:lnTo>
                  <a:lnTo>
                    <a:pt x="166830" y="5505"/>
                  </a:lnTo>
                  <a:lnTo>
                    <a:pt x="168440" y="5544"/>
                  </a:lnTo>
                  <a:lnTo>
                    <a:pt x="174641" y="9982"/>
                  </a:lnTo>
                  <a:lnTo>
                    <a:pt x="178975" y="10601"/>
                  </a:lnTo>
                  <a:lnTo>
                    <a:pt x="182928" y="10621"/>
                  </a:lnTo>
                  <a:lnTo>
                    <a:pt x="184204" y="9287"/>
                  </a:lnTo>
                  <a:lnTo>
                    <a:pt x="185880" y="8154"/>
                  </a:lnTo>
                  <a:lnTo>
                    <a:pt x="187643" y="8306"/>
                  </a:lnTo>
                  <a:lnTo>
                    <a:pt x="189176" y="8887"/>
                  </a:lnTo>
                  <a:lnTo>
                    <a:pt x="192167" y="10811"/>
                  </a:lnTo>
                  <a:lnTo>
                    <a:pt x="193548" y="11306"/>
                  </a:lnTo>
                  <a:lnTo>
                    <a:pt x="195387" y="11621"/>
                  </a:lnTo>
                  <a:lnTo>
                    <a:pt x="196730" y="12049"/>
                  </a:lnTo>
                  <a:lnTo>
                    <a:pt x="197920" y="15383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1" name="Forme libre : forme 7">
              <a:extLst>
                <a:ext uri="{FF2B5EF4-FFF2-40B4-BE49-F238E27FC236}">
                  <a16:creationId xmlns:a16="http://schemas.microsoft.com/office/drawing/2014/main" id="{6F7A7431-B052-BC58-94BF-6C412464B2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792737" y="2467776"/>
              <a:ext cx="101131" cy="73292"/>
            </a:xfrm>
            <a:custGeom>
              <a:avLst/>
              <a:gdLst>
                <a:gd name="connsiteX0" fmla="*/ 12582 w 29203"/>
                <a:gd name="connsiteY0" fmla="*/ 2953 h 21164"/>
                <a:gd name="connsiteX1" fmla="*/ 13402 w 29203"/>
                <a:gd name="connsiteY1" fmla="*/ 2962 h 21164"/>
                <a:gd name="connsiteX2" fmla="*/ 13773 w 29203"/>
                <a:gd name="connsiteY2" fmla="*/ 2505 h 21164"/>
                <a:gd name="connsiteX3" fmla="*/ 15202 w 29203"/>
                <a:gd name="connsiteY3" fmla="*/ 2829 h 21164"/>
                <a:gd name="connsiteX4" fmla="*/ 17355 w 29203"/>
                <a:gd name="connsiteY4" fmla="*/ 4915 h 21164"/>
                <a:gd name="connsiteX5" fmla="*/ 17793 w 29203"/>
                <a:gd name="connsiteY5" fmla="*/ 6048 h 21164"/>
                <a:gd name="connsiteX6" fmla="*/ 19269 w 29203"/>
                <a:gd name="connsiteY6" fmla="*/ 6629 h 21164"/>
                <a:gd name="connsiteX7" fmla="*/ 19784 w 29203"/>
                <a:gd name="connsiteY7" fmla="*/ 7801 h 21164"/>
                <a:gd name="connsiteX8" fmla="*/ 18069 w 29203"/>
                <a:gd name="connsiteY8" fmla="*/ 11440 h 21164"/>
                <a:gd name="connsiteX9" fmla="*/ 17012 w 29203"/>
                <a:gd name="connsiteY9" fmla="*/ 11506 h 21164"/>
                <a:gd name="connsiteX10" fmla="*/ 16221 w 29203"/>
                <a:gd name="connsiteY10" fmla="*/ 11049 h 21164"/>
                <a:gd name="connsiteX11" fmla="*/ 14821 w 29203"/>
                <a:gd name="connsiteY11" fmla="*/ 11449 h 21164"/>
                <a:gd name="connsiteX12" fmla="*/ 14001 w 29203"/>
                <a:gd name="connsiteY12" fmla="*/ 12135 h 21164"/>
                <a:gd name="connsiteX13" fmla="*/ 13725 w 29203"/>
                <a:gd name="connsiteY13" fmla="*/ 13649 h 21164"/>
                <a:gd name="connsiteX14" fmla="*/ 13773 w 29203"/>
                <a:gd name="connsiteY14" fmla="*/ 16812 h 21164"/>
                <a:gd name="connsiteX15" fmla="*/ 7515 w 29203"/>
                <a:gd name="connsiteY15" fmla="*/ 17440 h 21164"/>
                <a:gd name="connsiteX16" fmla="*/ 6077 w 29203"/>
                <a:gd name="connsiteY16" fmla="*/ 16516 h 21164"/>
                <a:gd name="connsiteX17" fmla="*/ 4105 w 29203"/>
                <a:gd name="connsiteY17" fmla="*/ 9325 h 21164"/>
                <a:gd name="connsiteX18" fmla="*/ 4506 w 29203"/>
                <a:gd name="connsiteY18" fmla="*/ 7458 h 21164"/>
                <a:gd name="connsiteX19" fmla="*/ 5829 w 29203"/>
                <a:gd name="connsiteY19" fmla="*/ 6667 h 21164"/>
                <a:gd name="connsiteX20" fmla="*/ 6963 w 29203"/>
                <a:gd name="connsiteY20" fmla="*/ 6496 h 21164"/>
                <a:gd name="connsiteX21" fmla="*/ 7134 w 29203"/>
                <a:gd name="connsiteY21" fmla="*/ 10382 h 21164"/>
                <a:gd name="connsiteX22" fmla="*/ 8801 w 29203"/>
                <a:gd name="connsiteY22" fmla="*/ 9992 h 21164"/>
                <a:gd name="connsiteX23" fmla="*/ 9325 w 29203"/>
                <a:gd name="connsiteY23" fmla="*/ 7429 h 21164"/>
                <a:gd name="connsiteX24" fmla="*/ 9439 w 29203"/>
                <a:gd name="connsiteY24" fmla="*/ 5629 h 21164"/>
                <a:gd name="connsiteX25" fmla="*/ 8991 w 29203"/>
                <a:gd name="connsiteY25" fmla="*/ 4715 h 21164"/>
                <a:gd name="connsiteX26" fmla="*/ 7858 w 29203"/>
                <a:gd name="connsiteY26" fmla="*/ 4010 h 21164"/>
                <a:gd name="connsiteX27" fmla="*/ 7201 w 29203"/>
                <a:gd name="connsiteY27" fmla="*/ 2800 h 21164"/>
                <a:gd name="connsiteX28" fmla="*/ 8144 w 29203"/>
                <a:gd name="connsiteY28" fmla="*/ 848 h 21164"/>
                <a:gd name="connsiteX29" fmla="*/ 9887 w 29203"/>
                <a:gd name="connsiteY29" fmla="*/ 0 h 21164"/>
                <a:gd name="connsiteX30" fmla="*/ 11392 w 29203"/>
                <a:gd name="connsiteY30" fmla="*/ 2610 h 21164"/>
                <a:gd name="connsiteX31" fmla="*/ 12582 w 29203"/>
                <a:gd name="connsiteY31" fmla="*/ 2953 h 21164"/>
                <a:gd name="connsiteX32" fmla="*/ 3829 w 29203"/>
                <a:gd name="connsiteY32" fmla="*/ 11782 h 21164"/>
                <a:gd name="connsiteX33" fmla="*/ 3972 w 29203"/>
                <a:gd name="connsiteY33" fmla="*/ 12983 h 21164"/>
                <a:gd name="connsiteX34" fmla="*/ 2953 w 29203"/>
                <a:gd name="connsiteY34" fmla="*/ 12678 h 21164"/>
                <a:gd name="connsiteX35" fmla="*/ 2162 w 29203"/>
                <a:gd name="connsiteY35" fmla="*/ 13087 h 21164"/>
                <a:gd name="connsiteX36" fmla="*/ 1629 w 29203"/>
                <a:gd name="connsiteY36" fmla="*/ 14564 h 21164"/>
                <a:gd name="connsiteX37" fmla="*/ 467 w 29203"/>
                <a:gd name="connsiteY37" fmla="*/ 14030 h 21164"/>
                <a:gd name="connsiteX38" fmla="*/ 0 w 29203"/>
                <a:gd name="connsiteY38" fmla="*/ 11906 h 21164"/>
                <a:gd name="connsiteX39" fmla="*/ 867 w 29203"/>
                <a:gd name="connsiteY39" fmla="*/ 8725 h 21164"/>
                <a:gd name="connsiteX40" fmla="*/ 2934 w 29203"/>
                <a:gd name="connsiteY40" fmla="*/ 8601 h 21164"/>
                <a:gd name="connsiteX41" fmla="*/ 3829 w 29203"/>
                <a:gd name="connsiteY41" fmla="*/ 11782 h 21164"/>
                <a:gd name="connsiteX42" fmla="*/ 29203 w 29203"/>
                <a:gd name="connsiteY42" fmla="*/ 19621 h 21164"/>
                <a:gd name="connsiteX43" fmla="*/ 28994 w 29203"/>
                <a:gd name="connsiteY43" fmla="*/ 20888 h 21164"/>
                <a:gd name="connsiteX44" fmla="*/ 26813 w 29203"/>
                <a:gd name="connsiteY44" fmla="*/ 21165 h 21164"/>
                <a:gd name="connsiteX45" fmla="*/ 25898 w 29203"/>
                <a:gd name="connsiteY45" fmla="*/ 20041 h 21164"/>
                <a:gd name="connsiteX46" fmla="*/ 23860 w 29203"/>
                <a:gd name="connsiteY46" fmla="*/ 20184 h 21164"/>
                <a:gd name="connsiteX47" fmla="*/ 23508 w 29203"/>
                <a:gd name="connsiteY47" fmla="*/ 19621 h 21164"/>
                <a:gd name="connsiteX48" fmla="*/ 24355 w 29203"/>
                <a:gd name="connsiteY48" fmla="*/ 18498 h 21164"/>
                <a:gd name="connsiteX49" fmla="*/ 25975 w 29203"/>
                <a:gd name="connsiteY49" fmla="*/ 17793 h 21164"/>
                <a:gd name="connsiteX50" fmla="*/ 28089 w 29203"/>
                <a:gd name="connsiteY50" fmla="*/ 18079 h 21164"/>
                <a:gd name="connsiteX51" fmla="*/ 29203 w 29203"/>
                <a:gd name="connsiteY51" fmla="*/ 19621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9203" h="21164">
                  <a:moveTo>
                    <a:pt x="12582" y="2953"/>
                  </a:moveTo>
                  <a:lnTo>
                    <a:pt x="13402" y="2962"/>
                  </a:lnTo>
                  <a:lnTo>
                    <a:pt x="13773" y="2505"/>
                  </a:lnTo>
                  <a:lnTo>
                    <a:pt x="15202" y="2829"/>
                  </a:lnTo>
                  <a:lnTo>
                    <a:pt x="17355" y="4915"/>
                  </a:lnTo>
                  <a:lnTo>
                    <a:pt x="17793" y="6048"/>
                  </a:lnTo>
                  <a:lnTo>
                    <a:pt x="19269" y="6629"/>
                  </a:lnTo>
                  <a:lnTo>
                    <a:pt x="19784" y="7801"/>
                  </a:lnTo>
                  <a:lnTo>
                    <a:pt x="18069" y="11440"/>
                  </a:lnTo>
                  <a:lnTo>
                    <a:pt x="17012" y="11506"/>
                  </a:lnTo>
                  <a:lnTo>
                    <a:pt x="16221" y="11049"/>
                  </a:lnTo>
                  <a:lnTo>
                    <a:pt x="14821" y="11449"/>
                  </a:lnTo>
                  <a:lnTo>
                    <a:pt x="14001" y="12135"/>
                  </a:lnTo>
                  <a:lnTo>
                    <a:pt x="13725" y="13649"/>
                  </a:lnTo>
                  <a:lnTo>
                    <a:pt x="13773" y="16812"/>
                  </a:lnTo>
                  <a:lnTo>
                    <a:pt x="7515" y="17440"/>
                  </a:lnTo>
                  <a:lnTo>
                    <a:pt x="6077" y="16516"/>
                  </a:lnTo>
                  <a:lnTo>
                    <a:pt x="4105" y="9325"/>
                  </a:lnTo>
                  <a:lnTo>
                    <a:pt x="4506" y="7458"/>
                  </a:lnTo>
                  <a:lnTo>
                    <a:pt x="5829" y="6667"/>
                  </a:lnTo>
                  <a:lnTo>
                    <a:pt x="6963" y="6496"/>
                  </a:lnTo>
                  <a:lnTo>
                    <a:pt x="7134" y="10382"/>
                  </a:lnTo>
                  <a:lnTo>
                    <a:pt x="8801" y="9992"/>
                  </a:lnTo>
                  <a:lnTo>
                    <a:pt x="9325" y="7429"/>
                  </a:lnTo>
                  <a:lnTo>
                    <a:pt x="9439" y="5629"/>
                  </a:lnTo>
                  <a:lnTo>
                    <a:pt x="8991" y="4715"/>
                  </a:lnTo>
                  <a:lnTo>
                    <a:pt x="7858" y="4010"/>
                  </a:lnTo>
                  <a:lnTo>
                    <a:pt x="7201" y="2800"/>
                  </a:lnTo>
                  <a:lnTo>
                    <a:pt x="8144" y="848"/>
                  </a:lnTo>
                  <a:lnTo>
                    <a:pt x="9887" y="0"/>
                  </a:lnTo>
                  <a:lnTo>
                    <a:pt x="11392" y="2610"/>
                  </a:lnTo>
                  <a:lnTo>
                    <a:pt x="12582" y="2953"/>
                  </a:lnTo>
                  <a:close/>
                  <a:moveTo>
                    <a:pt x="3829" y="11782"/>
                  </a:moveTo>
                  <a:lnTo>
                    <a:pt x="3972" y="12983"/>
                  </a:lnTo>
                  <a:lnTo>
                    <a:pt x="2953" y="12678"/>
                  </a:lnTo>
                  <a:lnTo>
                    <a:pt x="2162" y="13087"/>
                  </a:lnTo>
                  <a:lnTo>
                    <a:pt x="1629" y="14564"/>
                  </a:lnTo>
                  <a:lnTo>
                    <a:pt x="467" y="14030"/>
                  </a:lnTo>
                  <a:lnTo>
                    <a:pt x="0" y="11906"/>
                  </a:lnTo>
                  <a:lnTo>
                    <a:pt x="867" y="8725"/>
                  </a:lnTo>
                  <a:lnTo>
                    <a:pt x="2934" y="8601"/>
                  </a:lnTo>
                  <a:lnTo>
                    <a:pt x="3829" y="11782"/>
                  </a:lnTo>
                  <a:close/>
                  <a:moveTo>
                    <a:pt x="29203" y="19621"/>
                  </a:moveTo>
                  <a:lnTo>
                    <a:pt x="28994" y="20888"/>
                  </a:lnTo>
                  <a:lnTo>
                    <a:pt x="26813" y="21165"/>
                  </a:lnTo>
                  <a:lnTo>
                    <a:pt x="25898" y="20041"/>
                  </a:lnTo>
                  <a:lnTo>
                    <a:pt x="23860" y="20184"/>
                  </a:lnTo>
                  <a:lnTo>
                    <a:pt x="23508" y="19621"/>
                  </a:lnTo>
                  <a:lnTo>
                    <a:pt x="24355" y="18498"/>
                  </a:lnTo>
                  <a:lnTo>
                    <a:pt x="25975" y="17793"/>
                  </a:lnTo>
                  <a:lnTo>
                    <a:pt x="28089" y="18079"/>
                  </a:lnTo>
                  <a:lnTo>
                    <a:pt x="29203" y="19621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2" name="Forme libre : forme 8">
              <a:extLst>
                <a:ext uri="{FF2B5EF4-FFF2-40B4-BE49-F238E27FC236}">
                  <a16:creationId xmlns:a16="http://schemas.microsoft.com/office/drawing/2014/main" id="{945B7F9D-4C8E-2BCC-DA58-683566B8E4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442597" y="4811780"/>
              <a:ext cx="356142" cy="348028"/>
            </a:xfrm>
            <a:custGeom>
              <a:avLst/>
              <a:gdLst>
                <a:gd name="connsiteX0" fmla="*/ 31604 w 102841"/>
                <a:gd name="connsiteY0" fmla="*/ 0 h 100498"/>
                <a:gd name="connsiteX1" fmla="*/ 37129 w 102841"/>
                <a:gd name="connsiteY1" fmla="*/ 3963 h 100498"/>
                <a:gd name="connsiteX2" fmla="*/ 39405 w 102841"/>
                <a:gd name="connsiteY2" fmla="*/ 4553 h 100498"/>
                <a:gd name="connsiteX3" fmla="*/ 40691 w 102841"/>
                <a:gd name="connsiteY3" fmla="*/ 4010 h 100498"/>
                <a:gd name="connsiteX4" fmla="*/ 42433 w 102841"/>
                <a:gd name="connsiteY4" fmla="*/ 4258 h 100498"/>
                <a:gd name="connsiteX5" fmla="*/ 46320 w 102841"/>
                <a:gd name="connsiteY5" fmla="*/ 5420 h 100498"/>
                <a:gd name="connsiteX6" fmla="*/ 47206 w 102841"/>
                <a:gd name="connsiteY6" fmla="*/ 5905 h 100498"/>
                <a:gd name="connsiteX7" fmla="*/ 48377 w 102841"/>
                <a:gd name="connsiteY7" fmla="*/ 5820 h 100498"/>
                <a:gd name="connsiteX8" fmla="*/ 51245 w 102841"/>
                <a:gd name="connsiteY8" fmla="*/ 4277 h 100498"/>
                <a:gd name="connsiteX9" fmla="*/ 52225 w 102841"/>
                <a:gd name="connsiteY9" fmla="*/ 4467 h 100498"/>
                <a:gd name="connsiteX10" fmla="*/ 55502 w 102841"/>
                <a:gd name="connsiteY10" fmla="*/ 7496 h 100498"/>
                <a:gd name="connsiteX11" fmla="*/ 57150 w 102841"/>
                <a:gd name="connsiteY11" fmla="*/ 7534 h 100498"/>
                <a:gd name="connsiteX12" fmla="*/ 59131 w 102841"/>
                <a:gd name="connsiteY12" fmla="*/ 6230 h 100498"/>
                <a:gd name="connsiteX13" fmla="*/ 60407 w 102841"/>
                <a:gd name="connsiteY13" fmla="*/ 5096 h 100498"/>
                <a:gd name="connsiteX14" fmla="*/ 64179 w 102841"/>
                <a:gd name="connsiteY14" fmla="*/ 5944 h 100498"/>
                <a:gd name="connsiteX15" fmla="*/ 66332 w 102841"/>
                <a:gd name="connsiteY15" fmla="*/ 5429 h 100498"/>
                <a:gd name="connsiteX16" fmla="*/ 68123 w 102841"/>
                <a:gd name="connsiteY16" fmla="*/ 5382 h 100498"/>
                <a:gd name="connsiteX17" fmla="*/ 70065 w 102841"/>
                <a:gd name="connsiteY17" fmla="*/ 5896 h 100498"/>
                <a:gd name="connsiteX18" fmla="*/ 71837 w 102841"/>
                <a:gd name="connsiteY18" fmla="*/ 6601 h 100498"/>
                <a:gd name="connsiteX19" fmla="*/ 73561 w 102841"/>
                <a:gd name="connsiteY19" fmla="*/ 7211 h 100498"/>
                <a:gd name="connsiteX20" fmla="*/ 78219 w 102841"/>
                <a:gd name="connsiteY20" fmla="*/ 7525 h 100498"/>
                <a:gd name="connsiteX21" fmla="*/ 80448 w 102841"/>
                <a:gd name="connsiteY21" fmla="*/ 9449 h 100498"/>
                <a:gd name="connsiteX22" fmla="*/ 81343 w 102841"/>
                <a:gd name="connsiteY22" fmla="*/ 11306 h 100498"/>
                <a:gd name="connsiteX23" fmla="*/ 81362 w 102841"/>
                <a:gd name="connsiteY23" fmla="*/ 12440 h 100498"/>
                <a:gd name="connsiteX24" fmla="*/ 81582 w 102841"/>
                <a:gd name="connsiteY24" fmla="*/ 13649 h 100498"/>
                <a:gd name="connsiteX25" fmla="*/ 82858 w 102841"/>
                <a:gd name="connsiteY25" fmla="*/ 14840 h 100498"/>
                <a:gd name="connsiteX26" fmla="*/ 85667 w 102841"/>
                <a:gd name="connsiteY26" fmla="*/ 15516 h 100498"/>
                <a:gd name="connsiteX27" fmla="*/ 87430 w 102841"/>
                <a:gd name="connsiteY27" fmla="*/ 15373 h 100498"/>
                <a:gd name="connsiteX28" fmla="*/ 88363 w 102841"/>
                <a:gd name="connsiteY28" fmla="*/ 15288 h 100498"/>
                <a:gd name="connsiteX29" fmla="*/ 90754 w 102841"/>
                <a:gd name="connsiteY29" fmla="*/ 14221 h 100498"/>
                <a:gd name="connsiteX30" fmla="*/ 93573 w 102841"/>
                <a:gd name="connsiteY30" fmla="*/ 13668 h 100498"/>
                <a:gd name="connsiteX31" fmla="*/ 95593 w 102841"/>
                <a:gd name="connsiteY31" fmla="*/ 14307 h 100498"/>
                <a:gd name="connsiteX32" fmla="*/ 96555 w 102841"/>
                <a:gd name="connsiteY32" fmla="*/ 14926 h 100498"/>
                <a:gd name="connsiteX33" fmla="*/ 96774 w 102841"/>
                <a:gd name="connsiteY33" fmla="*/ 15773 h 100498"/>
                <a:gd name="connsiteX34" fmla="*/ 96174 w 102841"/>
                <a:gd name="connsiteY34" fmla="*/ 18698 h 100498"/>
                <a:gd name="connsiteX35" fmla="*/ 95040 w 102841"/>
                <a:gd name="connsiteY35" fmla="*/ 21841 h 100498"/>
                <a:gd name="connsiteX36" fmla="*/ 93202 w 102841"/>
                <a:gd name="connsiteY36" fmla="*/ 25108 h 100498"/>
                <a:gd name="connsiteX37" fmla="*/ 91278 w 102841"/>
                <a:gd name="connsiteY37" fmla="*/ 28185 h 100498"/>
                <a:gd name="connsiteX38" fmla="*/ 90783 w 102841"/>
                <a:gd name="connsiteY38" fmla="*/ 29804 h 100498"/>
                <a:gd name="connsiteX39" fmla="*/ 90640 w 102841"/>
                <a:gd name="connsiteY39" fmla="*/ 32395 h 100498"/>
                <a:gd name="connsiteX40" fmla="*/ 90401 w 102841"/>
                <a:gd name="connsiteY40" fmla="*/ 34423 h 100498"/>
                <a:gd name="connsiteX41" fmla="*/ 90668 w 102841"/>
                <a:gd name="connsiteY41" fmla="*/ 35528 h 100498"/>
                <a:gd name="connsiteX42" fmla="*/ 91297 w 102841"/>
                <a:gd name="connsiteY42" fmla="*/ 36567 h 100498"/>
                <a:gd name="connsiteX43" fmla="*/ 93421 w 102841"/>
                <a:gd name="connsiteY43" fmla="*/ 37386 h 100498"/>
                <a:gd name="connsiteX44" fmla="*/ 96298 w 102841"/>
                <a:gd name="connsiteY44" fmla="*/ 39424 h 100498"/>
                <a:gd name="connsiteX45" fmla="*/ 98736 w 102841"/>
                <a:gd name="connsiteY45" fmla="*/ 42072 h 100498"/>
                <a:gd name="connsiteX46" fmla="*/ 101870 w 102841"/>
                <a:gd name="connsiteY46" fmla="*/ 45072 h 100498"/>
                <a:gd name="connsiteX47" fmla="*/ 102841 w 102841"/>
                <a:gd name="connsiteY47" fmla="*/ 46187 h 100498"/>
                <a:gd name="connsiteX48" fmla="*/ 102841 w 102841"/>
                <a:gd name="connsiteY48" fmla="*/ 47387 h 100498"/>
                <a:gd name="connsiteX49" fmla="*/ 101927 w 102841"/>
                <a:gd name="connsiteY49" fmla="*/ 48273 h 100498"/>
                <a:gd name="connsiteX50" fmla="*/ 99250 w 102841"/>
                <a:gd name="connsiteY50" fmla="*/ 48616 h 100498"/>
                <a:gd name="connsiteX51" fmla="*/ 96469 w 102841"/>
                <a:gd name="connsiteY51" fmla="*/ 48349 h 100498"/>
                <a:gd name="connsiteX52" fmla="*/ 95402 w 102841"/>
                <a:gd name="connsiteY52" fmla="*/ 48044 h 100498"/>
                <a:gd name="connsiteX53" fmla="*/ 94402 w 102841"/>
                <a:gd name="connsiteY53" fmla="*/ 48406 h 100498"/>
                <a:gd name="connsiteX54" fmla="*/ 93783 w 102841"/>
                <a:gd name="connsiteY54" fmla="*/ 49092 h 100498"/>
                <a:gd name="connsiteX55" fmla="*/ 94116 w 102841"/>
                <a:gd name="connsiteY55" fmla="*/ 49902 h 100498"/>
                <a:gd name="connsiteX56" fmla="*/ 96964 w 102841"/>
                <a:gd name="connsiteY56" fmla="*/ 53540 h 100498"/>
                <a:gd name="connsiteX57" fmla="*/ 100289 w 102841"/>
                <a:gd name="connsiteY57" fmla="*/ 58750 h 100498"/>
                <a:gd name="connsiteX58" fmla="*/ 100469 w 102841"/>
                <a:gd name="connsiteY58" fmla="*/ 60989 h 100498"/>
                <a:gd name="connsiteX59" fmla="*/ 100069 w 102841"/>
                <a:gd name="connsiteY59" fmla="*/ 62741 h 100498"/>
                <a:gd name="connsiteX60" fmla="*/ 99298 w 102841"/>
                <a:gd name="connsiteY60" fmla="*/ 63960 h 100498"/>
                <a:gd name="connsiteX61" fmla="*/ 97927 w 102841"/>
                <a:gd name="connsiteY61" fmla="*/ 63751 h 100498"/>
                <a:gd name="connsiteX62" fmla="*/ 96869 w 102841"/>
                <a:gd name="connsiteY62" fmla="*/ 62798 h 100498"/>
                <a:gd name="connsiteX63" fmla="*/ 95278 w 102841"/>
                <a:gd name="connsiteY63" fmla="*/ 62865 h 100498"/>
                <a:gd name="connsiteX64" fmla="*/ 94040 w 102841"/>
                <a:gd name="connsiteY64" fmla="*/ 63132 h 100498"/>
                <a:gd name="connsiteX65" fmla="*/ 92430 w 102841"/>
                <a:gd name="connsiteY65" fmla="*/ 65018 h 100498"/>
                <a:gd name="connsiteX66" fmla="*/ 91630 w 102841"/>
                <a:gd name="connsiteY66" fmla="*/ 64932 h 100498"/>
                <a:gd name="connsiteX67" fmla="*/ 90249 w 102841"/>
                <a:gd name="connsiteY67" fmla="*/ 65218 h 100498"/>
                <a:gd name="connsiteX68" fmla="*/ 89382 w 102841"/>
                <a:gd name="connsiteY68" fmla="*/ 65589 h 100498"/>
                <a:gd name="connsiteX69" fmla="*/ 88002 w 102841"/>
                <a:gd name="connsiteY69" fmla="*/ 65037 h 100498"/>
                <a:gd name="connsiteX70" fmla="*/ 86544 w 102841"/>
                <a:gd name="connsiteY70" fmla="*/ 64675 h 100498"/>
                <a:gd name="connsiteX71" fmla="*/ 85915 w 102841"/>
                <a:gd name="connsiteY71" fmla="*/ 65256 h 100498"/>
                <a:gd name="connsiteX72" fmla="*/ 85639 w 102841"/>
                <a:gd name="connsiteY72" fmla="*/ 66361 h 100498"/>
                <a:gd name="connsiteX73" fmla="*/ 86534 w 102841"/>
                <a:gd name="connsiteY73" fmla="*/ 68351 h 100498"/>
                <a:gd name="connsiteX74" fmla="*/ 88220 w 102841"/>
                <a:gd name="connsiteY74" fmla="*/ 71466 h 100498"/>
                <a:gd name="connsiteX75" fmla="*/ 87954 w 102841"/>
                <a:gd name="connsiteY75" fmla="*/ 73848 h 100498"/>
                <a:gd name="connsiteX76" fmla="*/ 86668 w 102841"/>
                <a:gd name="connsiteY76" fmla="*/ 74104 h 100498"/>
                <a:gd name="connsiteX77" fmla="*/ 85487 w 102841"/>
                <a:gd name="connsiteY77" fmla="*/ 72124 h 100498"/>
                <a:gd name="connsiteX78" fmla="*/ 84448 w 102841"/>
                <a:gd name="connsiteY78" fmla="*/ 71799 h 100498"/>
                <a:gd name="connsiteX79" fmla="*/ 83258 w 102841"/>
                <a:gd name="connsiteY79" fmla="*/ 71876 h 100498"/>
                <a:gd name="connsiteX80" fmla="*/ 80533 w 102841"/>
                <a:gd name="connsiteY80" fmla="*/ 74171 h 100498"/>
                <a:gd name="connsiteX81" fmla="*/ 78524 w 102841"/>
                <a:gd name="connsiteY81" fmla="*/ 76105 h 100498"/>
                <a:gd name="connsiteX82" fmla="*/ 78067 w 102841"/>
                <a:gd name="connsiteY82" fmla="*/ 77448 h 100498"/>
                <a:gd name="connsiteX83" fmla="*/ 77343 w 102841"/>
                <a:gd name="connsiteY83" fmla="*/ 78915 h 100498"/>
                <a:gd name="connsiteX84" fmla="*/ 77124 w 102841"/>
                <a:gd name="connsiteY84" fmla="*/ 79981 h 100498"/>
                <a:gd name="connsiteX85" fmla="*/ 77171 w 102841"/>
                <a:gd name="connsiteY85" fmla="*/ 83515 h 100498"/>
                <a:gd name="connsiteX86" fmla="*/ 73561 w 102841"/>
                <a:gd name="connsiteY86" fmla="*/ 84077 h 100498"/>
                <a:gd name="connsiteX87" fmla="*/ 72809 w 102841"/>
                <a:gd name="connsiteY87" fmla="*/ 84601 h 100498"/>
                <a:gd name="connsiteX88" fmla="*/ 72371 w 102841"/>
                <a:gd name="connsiteY88" fmla="*/ 85668 h 100498"/>
                <a:gd name="connsiteX89" fmla="*/ 72666 w 102841"/>
                <a:gd name="connsiteY89" fmla="*/ 90192 h 100498"/>
                <a:gd name="connsiteX90" fmla="*/ 72961 w 102841"/>
                <a:gd name="connsiteY90" fmla="*/ 92621 h 100498"/>
                <a:gd name="connsiteX91" fmla="*/ 75029 w 102841"/>
                <a:gd name="connsiteY91" fmla="*/ 96355 h 100498"/>
                <a:gd name="connsiteX92" fmla="*/ 75105 w 102841"/>
                <a:gd name="connsiteY92" fmla="*/ 97536 h 100498"/>
                <a:gd name="connsiteX93" fmla="*/ 74809 w 102841"/>
                <a:gd name="connsiteY93" fmla="*/ 98317 h 100498"/>
                <a:gd name="connsiteX94" fmla="*/ 73333 w 102841"/>
                <a:gd name="connsiteY94" fmla="*/ 99794 h 100498"/>
                <a:gd name="connsiteX95" fmla="*/ 72637 w 102841"/>
                <a:gd name="connsiteY95" fmla="*/ 100327 h 100498"/>
                <a:gd name="connsiteX96" fmla="*/ 72171 w 102841"/>
                <a:gd name="connsiteY96" fmla="*/ 100498 h 100498"/>
                <a:gd name="connsiteX97" fmla="*/ 69771 w 102841"/>
                <a:gd name="connsiteY97" fmla="*/ 99527 h 100498"/>
                <a:gd name="connsiteX98" fmla="*/ 68627 w 102841"/>
                <a:gd name="connsiteY98" fmla="*/ 99060 h 100498"/>
                <a:gd name="connsiteX99" fmla="*/ 63818 w 102841"/>
                <a:gd name="connsiteY99" fmla="*/ 95765 h 100498"/>
                <a:gd name="connsiteX100" fmla="*/ 61693 w 102841"/>
                <a:gd name="connsiteY100" fmla="*/ 93926 h 100498"/>
                <a:gd name="connsiteX101" fmla="*/ 58331 w 102841"/>
                <a:gd name="connsiteY101" fmla="*/ 91526 h 100498"/>
                <a:gd name="connsiteX102" fmla="*/ 56264 w 102841"/>
                <a:gd name="connsiteY102" fmla="*/ 90154 h 100498"/>
                <a:gd name="connsiteX103" fmla="*/ 55216 w 102841"/>
                <a:gd name="connsiteY103" fmla="*/ 88078 h 100498"/>
                <a:gd name="connsiteX104" fmla="*/ 53559 w 102841"/>
                <a:gd name="connsiteY104" fmla="*/ 87602 h 100498"/>
                <a:gd name="connsiteX105" fmla="*/ 51616 w 102841"/>
                <a:gd name="connsiteY105" fmla="*/ 88268 h 100498"/>
                <a:gd name="connsiteX106" fmla="*/ 49416 w 102841"/>
                <a:gd name="connsiteY106" fmla="*/ 86763 h 100498"/>
                <a:gd name="connsiteX107" fmla="*/ 50978 w 102841"/>
                <a:gd name="connsiteY107" fmla="*/ 85992 h 100498"/>
                <a:gd name="connsiteX108" fmla="*/ 51358 w 102841"/>
                <a:gd name="connsiteY108" fmla="*/ 85249 h 100498"/>
                <a:gd name="connsiteX109" fmla="*/ 51159 w 102841"/>
                <a:gd name="connsiteY109" fmla="*/ 84277 h 100498"/>
                <a:gd name="connsiteX110" fmla="*/ 50473 w 102841"/>
                <a:gd name="connsiteY110" fmla="*/ 82963 h 100498"/>
                <a:gd name="connsiteX111" fmla="*/ 44529 w 102841"/>
                <a:gd name="connsiteY111" fmla="*/ 77267 h 100498"/>
                <a:gd name="connsiteX112" fmla="*/ 41605 w 102841"/>
                <a:gd name="connsiteY112" fmla="*/ 73362 h 100498"/>
                <a:gd name="connsiteX113" fmla="*/ 41138 w 102841"/>
                <a:gd name="connsiteY113" fmla="*/ 71961 h 100498"/>
                <a:gd name="connsiteX114" fmla="*/ 41091 w 102841"/>
                <a:gd name="connsiteY114" fmla="*/ 68228 h 100498"/>
                <a:gd name="connsiteX115" fmla="*/ 40405 w 102841"/>
                <a:gd name="connsiteY115" fmla="*/ 67332 h 100498"/>
                <a:gd name="connsiteX116" fmla="*/ 36033 w 102841"/>
                <a:gd name="connsiteY116" fmla="*/ 65627 h 100498"/>
                <a:gd name="connsiteX117" fmla="*/ 31156 w 102841"/>
                <a:gd name="connsiteY117" fmla="*/ 60760 h 100498"/>
                <a:gd name="connsiteX118" fmla="*/ 26108 w 102841"/>
                <a:gd name="connsiteY118" fmla="*/ 55969 h 100498"/>
                <a:gd name="connsiteX119" fmla="*/ 25422 w 102841"/>
                <a:gd name="connsiteY119" fmla="*/ 54635 h 100498"/>
                <a:gd name="connsiteX120" fmla="*/ 22831 w 102841"/>
                <a:gd name="connsiteY120" fmla="*/ 51006 h 100498"/>
                <a:gd name="connsiteX121" fmla="*/ 19659 w 102841"/>
                <a:gd name="connsiteY121" fmla="*/ 47701 h 100498"/>
                <a:gd name="connsiteX122" fmla="*/ 17136 w 102841"/>
                <a:gd name="connsiteY122" fmla="*/ 45587 h 100498"/>
                <a:gd name="connsiteX123" fmla="*/ 15068 w 102841"/>
                <a:gd name="connsiteY123" fmla="*/ 43186 h 100498"/>
                <a:gd name="connsiteX124" fmla="*/ 12773 w 102841"/>
                <a:gd name="connsiteY124" fmla="*/ 39814 h 100498"/>
                <a:gd name="connsiteX125" fmla="*/ 11582 w 102841"/>
                <a:gd name="connsiteY125" fmla="*/ 34719 h 100498"/>
                <a:gd name="connsiteX126" fmla="*/ 10525 w 102841"/>
                <a:gd name="connsiteY126" fmla="*/ 30185 h 100498"/>
                <a:gd name="connsiteX127" fmla="*/ 9810 w 102841"/>
                <a:gd name="connsiteY127" fmla="*/ 28423 h 100498"/>
                <a:gd name="connsiteX128" fmla="*/ 8354 w 102841"/>
                <a:gd name="connsiteY128" fmla="*/ 27794 h 100498"/>
                <a:gd name="connsiteX129" fmla="*/ 3839 w 102841"/>
                <a:gd name="connsiteY129" fmla="*/ 22393 h 100498"/>
                <a:gd name="connsiteX130" fmla="*/ 0 w 102841"/>
                <a:gd name="connsiteY130" fmla="*/ 19250 h 100498"/>
                <a:gd name="connsiteX131" fmla="*/ 38 w 102841"/>
                <a:gd name="connsiteY131" fmla="*/ 15850 h 100498"/>
                <a:gd name="connsiteX132" fmla="*/ 667 w 102841"/>
                <a:gd name="connsiteY132" fmla="*/ 10163 h 100498"/>
                <a:gd name="connsiteX133" fmla="*/ 1381 w 102841"/>
                <a:gd name="connsiteY133" fmla="*/ 3696 h 100498"/>
                <a:gd name="connsiteX134" fmla="*/ 2305 w 102841"/>
                <a:gd name="connsiteY134" fmla="*/ 2791 h 100498"/>
                <a:gd name="connsiteX135" fmla="*/ 4057 w 102841"/>
                <a:gd name="connsiteY135" fmla="*/ 2305 h 100498"/>
                <a:gd name="connsiteX136" fmla="*/ 6058 w 102841"/>
                <a:gd name="connsiteY136" fmla="*/ 2486 h 100498"/>
                <a:gd name="connsiteX137" fmla="*/ 7801 w 102841"/>
                <a:gd name="connsiteY137" fmla="*/ 3296 h 100498"/>
                <a:gd name="connsiteX138" fmla="*/ 11249 w 102841"/>
                <a:gd name="connsiteY138" fmla="*/ 7725 h 100498"/>
                <a:gd name="connsiteX139" fmla="*/ 13221 w 102841"/>
                <a:gd name="connsiteY139" fmla="*/ 9449 h 100498"/>
                <a:gd name="connsiteX140" fmla="*/ 14887 w 102841"/>
                <a:gd name="connsiteY140" fmla="*/ 10116 h 100498"/>
                <a:gd name="connsiteX141" fmla="*/ 16802 w 102841"/>
                <a:gd name="connsiteY141" fmla="*/ 8249 h 100498"/>
                <a:gd name="connsiteX142" fmla="*/ 19164 w 102841"/>
                <a:gd name="connsiteY142" fmla="*/ 4334 h 100498"/>
                <a:gd name="connsiteX143" fmla="*/ 21231 w 102841"/>
                <a:gd name="connsiteY143" fmla="*/ 2267 h 100498"/>
                <a:gd name="connsiteX144" fmla="*/ 28184 w 102841"/>
                <a:gd name="connsiteY144" fmla="*/ 3020 h 10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102841" h="100498">
                  <a:moveTo>
                    <a:pt x="31604" y="0"/>
                  </a:moveTo>
                  <a:lnTo>
                    <a:pt x="37129" y="3963"/>
                  </a:lnTo>
                  <a:lnTo>
                    <a:pt x="39405" y="4553"/>
                  </a:lnTo>
                  <a:lnTo>
                    <a:pt x="40691" y="4010"/>
                  </a:lnTo>
                  <a:lnTo>
                    <a:pt x="42433" y="4258"/>
                  </a:lnTo>
                  <a:lnTo>
                    <a:pt x="46320" y="5420"/>
                  </a:lnTo>
                  <a:lnTo>
                    <a:pt x="47206" y="5905"/>
                  </a:lnTo>
                  <a:lnTo>
                    <a:pt x="48377" y="5820"/>
                  </a:lnTo>
                  <a:lnTo>
                    <a:pt x="51245" y="4277"/>
                  </a:lnTo>
                  <a:lnTo>
                    <a:pt x="52225" y="4467"/>
                  </a:lnTo>
                  <a:lnTo>
                    <a:pt x="55502" y="7496"/>
                  </a:lnTo>
                  <a:lnTo>
                    <a:pt x="57150" y="7534"/>
                  </a:lnTo>
                  <a:lnTo>
                    <a:pt x="59131" y="6230"/>
                  </a:lnTo>
                  <a:lnTo>
                    <a:pt x="60407" y="5096"/>
                  </a:lnTo>
                  <a:lnTo>
                    <a:pt x="64179" y="5944"/>
                  </a:lnTo>
                  <a:lnTo>
                    <a:pt x="66332" y="5429"/>
                  </a:lnTo>
                  <a:lnTo>
                    <a:pt x="68123" y="5382"/>
                  </a:lnTo>
                  <a:lnTo>
                    <a:pt x="70065" y="5896"/>
                  </a:lnTo>
                  <a:lnTo>
                    <a:pt x="71837" y="6601"/>
                  </a:lnTo>
                  <a:lnTo>
                    <a:pt x="73561" y="7211"/>
                  </a:lnTo>
                  <a:lnTo>
                    <a:pt x="78219" y="7525"/>
                  </a:lnTo>
                  <a:lnTo>
                    <a:pt x="80448" y="9449"/>
                  </a:lnTo>
                  <a:lnTo>
                    <a:pt x="81343" y="11306"/>
                  </a:lnTo>
                  <a:lnTo>
                    <a:pt x="81362" y="12440"/>
                  </a:lnTo>
                  <a:lnTo>
                    <a:pt x="81582" y="13649"/>
                  </a:lnTo>
                  <a:lnTo>
                    <a:pt x="82858" y="14840"/>
                  </a:lnTo>
                  <a:lnTo>
                    <a:pt x="85667" y="15516"/>
                  </a:lnTo>
                  <a:lnTo>
                    <a:pt x="87430" y="15373"/>
                  </a:lnTo>
                  <a:lnTo>
                    <a:pt x="88363" y="15288"/>
                  </a:lnTo>
                  <a:lnTo>
                    <a:pt x="90754" y="14221"/>
                  </a:lnTo>
                  <a:lnTo>
                    <a:pt x="93573" y="13668"/>
                  </a:lnTo>
                  <a:lnTo>
                    <a:pt x="95593" y="14307"/>
                  </a:lnTo>
                  <a:lnTo>
                    <a:pt x="96555" y="14926"/>
                  </a:lnTo>
                  <a:lnTo>
                    <a:pt x="96774" y="15773"/>
                  </a:lnTo>
                  <a:lnTo>
                    <a:pt x="96174" y="18698"/>
                  </a:lnTo>
                  <a:lnTo>
                    <a:pt x="95040" y="21841"/>
                  </a:lnTo>
                  <a:lnTo>
                    <a:pt x="93202" y="25108"/>
                  </a:lnTo>
                  <a:lnTo>
                    <a:pt x="91278" y="28185"/>
                  </a:lnTo>
                  <a:lnTo>
                    <a:pt x="90783" y="29804"/>
                  </a:lnTo>
                  <a:lnTo>
                    <a:pt x="90640" y="32395"/>
                  </a:lnTo>
                  <a:lnTo>
                    <a:pt x="90401" y="34423"/>
                  </a:lnTo>
                  <a:lnTo>
                    <a:pt x="90668" y="35528"/>
                  </a:lnTo>
                  <a:lnTo>
                    <a:pt x="91297" y="36567"/>
                  </a:lnTo>
                  <a:lnTo>
                    <a:pt x="93421" y="37386"/>
                  </a:lnTo>
                  <a:lnTo>
                    <a:pt x="96298" y="39424"/>
                  </a:lnTo>
                  <a:lnTo>
                    <a:pt x="98736" y="42072"/>
                  </a:lnTo>
                  <a:lnTo>
                    <a:pt x="101870" y="45072"/>
                  </a:lnTo>
                  <a:lnTo>
                    <a:pt x="102841" y="46187"/>
                  </a:lnTo>
                  <a:lnTo>
                    <a:pt x="102841" y="47387"/>
                  </a:lnTo>
                  <a:lnTo>
                    <a:pt x="101927" y="48273"/>
                  </a:lnTo>
                  <a:lnTo>
                    <a:pt x="99250" y="48616"/>
                  </a:lnTo>
                  <a:lnTo>
                    <a:pt x="96469" y="48349"/>
                  </a:lnTo>
                  <a:lnTo>
                    <a:pt x="95402" y="48044"/>
                  </a:lnTo>
                  <a:lnTo>
                    <a:pt x="94402" y="48406"/>
                  </a:lnTo>
                  <a:lnTo>
                    <a:pt x="93783" y="49092"/>
                  </a:lnTo>
                  <a:lnTo>
                    <a:pt x="94116" y="49902"/>
                  </a:lnTo>
                  <a:lnTo>
                    <a:pt x="96964" y="53540"/>
                  </a:lnTo>
                  <a:lnTo>
                    <a:pt x="100289" y="58750"/>
                  </a:lnTo>
                  <a:lnTo>
                    <a:pt x="100469" y="60989"/>
                  </a:lnTo>
                  <a:lnTo>
                    <a:pt x="100069" y="62741"/>
                  </a:lnTo>
                  <a:lnTo>
                    <a:pt x="99298" y="63960"/>
                  </a:lnTo>
                  <a:lnTo>
                    <a:pt x="97927" y="63751"/>
                  </a:lnTo>
                  <a:lnTo>
                    <a:pt x="96869" y="62798"/>
                  </a:lnTo>
                  <a:lnTo>
                    <a:pt x="95278" y="62865"/>
                  </a:lnTo>
                  <a:lnTo>
                    <a:pt x="94040" y="63132"/>
                  </a:lnTo>
                  <a:lnTo>
                    <a:pt x="92430" y="65018"/>
                  </a:lnTo>
                  <a:lnTo>
                    <a:pt x="91630" y="64932"/>
                  </a:lnTo>
                  <a:lnTo>
                    <a:pt x="90249" y="65218"/>
                  </a:lnTo>
                  <a:lnTo>
                    <a:pt x="89382" y="65589"/>
                  </a:lnTo>
                  <a:lnTo>
                    <a:pt x="88002" y="65037"/>
                  </a:lnTo>
                  <a:lnTo>
                    <a:pt x="86544" y="64675"/>
                  </a:lnTo>
                  <a:lnTo>
                    <a:pt x="85915" y="65256"/>
                  </a:lnTo>
                  <a:lnTo>
                    <a:pt x="85639" y="66361"/>
                  </a:lnTo>
                  <a:lnTo>
                    <a:pt x="86534" y="68351"/>
                  </a:lnTo>
                  <a:lnTo>
                    <a:pt x="88220" y="71466"/>
                  </a:lnTo>
                  <a:lnTo>
                    <a:pt x="87954" y="73848"/>
                  </a:lnTo>
                  <a:lnTo>
                    <a:pt x="86668" y="74104"/>
                  </a:lnTo>
                  <a:lnTo>
                    <a:pt x="85487" y="72124"/>
                  </a:lnTo>
                  <a:lnTo>
                    <a:pt x="84448" y="71799"/>
                  </a:lnTo>
                  <a:lnTo>
                    <a:pt x="83258" y="71876"/>
                  </a:lnTo>
                  <a:lnTo>
                    <a:pt x="80533" y="74171"/>
                  </a:lnTo>
                  <a:lnTo>
                    <a:pt x="78524" y="76105"/>
                  </a:lnTo>
                  <a:lnTo>
                    <a:pt x="78067" y="77448"/>
                  </a:lnTo>
                  <a:lnTo>
                    <a:pt x="77343" y="78915"/>
                  </a:lnTo>
                  <a:lnTo>
                    <a:pt x="77124" y="79981"/>
                  </a:lnTo>
                  <a:lnTo>
                    <a:pt x="77171" y="83515"/>
                  </a:lnTo>
                  <a:lnTo>
                    <a:pt x="73561" y="84077"/>
                  </a:lnTo>
                  <a:lnTo>
                    <a:pt x="72809" y="84601"/>
                  </a:lnTo>
                  <a:lnTo>
                    <a:pt x="72371" y="85668"/>
                  </a:lnTo>
                  <a:lnTo>
                    <a:pt x="72666" y="90192"/>
                  </a:lnTo>
                  <a:lnTo>
                    <a:pt x="72961" y="92621"/>
                  </a:lnTo>
                  <a:lnTo>
                    <a:pt x="75029" y="96355"/>
                  </a:lnTo>
                  <a:lnTo>
                    <a:pt x="75105" y="97536"/>
                  </a:lnTo>
                  <a:lnTo>
                    <a:pt x="74809" y="98317"/>
                  </a:lnTo>
                  <a:lnTo>
                    <a:pt x="73333" y="99794"/>
                  </a:lnTo>
                  <a:lnTo>
                    <a:pt x="72637" y="100327"/>
                  </a:lnTo>
                  <a:lnTo>
                    <a:pt x="72171" y="100498"/>
                  </a:lnTo>
                  <a:lnTo>
                    <a:pt x="69771" y="99527"/>
                  </a:lnTo>
                  <a:lnTo>
                    <a:pt x="68627" y="99060"/>
                  </a:lnTo>
                  <a:lnTo>
                    <a:pt x="63818" y="95765"/>
                  </a:lnTo>
                  <a:lnTo>
                    <a:pt x="61693" y="93926"/>
                  </a:lnTo>
                  <a:lnTo>
                    <a:pt x="58331" y="91526"/>
                  </a:lnTo>
                  <a:lnTo>
                    <a:pt x="56264" y="90154"/>
                  </a:lnTo>
                  <a:lnTo>
                    <a:pt x="55216" y="88078"/>
                  </a:lnTo>
                  <a:lnTo>
                    <a:pt x="53559" y="87602"/>
                  </a:lnTo>
                  <a:lnTo>
                    <a:pt x="51616" y="88268"/>
                  </a:lnTo>
                  <a:lnTo>
                    <a:pt x="49416" y="86763"/>
                  </a:lnTo>
                  <a:lnTo>
                    <a:pt x="50978" y="85992"/>
                  </a:lnTo>
                  <a:lnTo>
                    <a:pt x="51358" y="85249"/>
                  </a:lnTo>
                  <a:lnTo>
                    <a:pt x="51159" y="84277"/>
                  </a:lnTo>
                  <a:lnTo>
                    <a:pt x="50473" y="82963"/>
                  </a:lnTo>
                  <a:lnTo>
                    <a:pt x="44529" y="77267"/>
                  </a:lnTo>
                  <a:lnTo>
                    <a:pt x="41605" y="73362"/>
                  </a:lnTo>
                  <a:lnTo>
                    <a:pt x="41138" y="71961"/>
                  </a:lnTo>
                  <a:lnTo>
                    <a:pt x="41091" y="68228"/>
                  </a:lnTo>
                  <a:lnTo>
                    <a:pt x="40405" y="67332"/>
                  </a:lnTo>
                  <a:lnTo>
                    <a:pt x="36033" y="65627"/>
                  </a:lnTo>
                  <a:lnTo>
                    <a:pt x="31156" y="60760"/>
                  </a:lnTo>
                  <a:lnTo>
                    <a:pt x="26108" y="55969"/>
                  </a:lnTo>
                  <a:lnTo>
                    <a:pt x="25422" y="54635"/>
                  </a:lnTo>
                  <a:lnTo>
                    <a:pt x="22831" y="51006"/>
                  </a:lnTo>
                  <a:lnTo>
                    <a:pt x="19659" y="47701"/>
                  </a:lnTo>
                  <a:lnTo>
                    <a:pt x="17136" y="45587"/>
                  </a:lnTo>
                  <a:lnTo>
                    <a:pt x="15068" y="43186"/>
                  </a:lnTo>
                  <a:lnTo>
                    <a:pt x="12773" y="39814"/>
                  </a:lnTo>
                  <a:lnTo>
                    <a:pt x="11582" y="34719"/>
                  </a:lnTo>
                  <a:lnTo>
                    <a:pt x="10525" y="30185"/>
                  </a:lnTo>
                  <a:lnTo>
                    <a:pt x="9810" y="28423"/>
                  </a:lnTo>
                  <a:lnTo>
                    <a:pt x="8354" y="27794"/>
                  </a:lnTo>
                  <a:lnTo>
                    <a:pt x="3839" y="22393"/>
                  </a:lnTo>
                  <a:lnTo>
                    <a:pt x="0" y="19250"/>
                  </a:lnTo>
                  <a:lnTo>
                    <a:pt x="38" y="15850"/>
                  </a:lnTo>
                  <a:lnTo>
                    <a:pt x="667" y="10163"/>
                  </a:lnTo>
                  <a:lnTo>
                    <a:pt x="1381" y="3696"/>
                  </a:lnTo>
                  <a:lnTo>
                    <a:pt x="2305" y="2791"/>
                  </a:lnTo>
                  <a:lnTo>
                    <a:pt x="4057" y="2305"/>
                  </a:lnTo>
                  <a:lnTo>
                    <a:pt x="6058" y="2486"/>
                  </a:lnTo>
                  <a:lnTo>
                    <a:pt x="7801" y="3296"/>
                  </a:lnTo>
                  <a:lnTo>
                    <a:pt x="11249" y="7725"/>
                  </a:lnTo>
                  <a:lnTo>
                    <a:pt x="13221" y="9449"/>
                  </a:lnTo>
                  <a:lnTo>
                    <a:pt x="14887" y="10116"/>
                  </a:lnTo>
                  <a:lnTo>
                    <a:pt x="16802" y="8249"/>
                  </a:lnTo>
                  <a:lnTo>
                    <a:pt x="19164" y="4334"/>
                  </a:lnTo>
                  <a:lnTo>
                    <a:pt x="21231" y="2267"/>
                  </a:lnTo>
                  <a:lnTo>
                    <a:pt x="28184" y="3020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3" name="Forme libre : forme 9">
              <a:extLst>
                <a:ext uri="{FF2B5EF4-FFF2-40B4-BE49-F238E27FC236}">
                  <a16:creationId xmlns:a16="http://schemas.microsoft.com/office/drawing/2014/main" id="{112A4339-5312-BCE4-6F2D-92A2AF4842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219564" y="3946608"/>
              <a:ext cx="355449" cy="287466"/>
            </a:xfrm>
            <a:custGeom>
              <a:avLst/>
              <a:gdLst>
                <a:gd name="connsiteX0" fmla="*/ 61246 w 102641"/>
                <a:gd name="connsiteY0" fmla="*/ 2496 h 83010"/>
                <a:gd name="connsiteX1" fmla="*/ 61370 w 102641"/>
                <a:gd name="connsiteY1" fmla="*/ 3381 h 83010"/>
                <a:gd name="connsiteX2" fmla="*/ 62103 w 102641"/>
                <a:gd name="connsiteY2" fmla="*/ 3753 h 83010"/>
                <a:gd name="connsiteX3" fmla="*/ 64665 w 102641"/>
                <a:gd name="connsiteY3" fmla="*/ 3563 h 83010"/>
                <a:gd name="connsiteX4" fmla="*/ 65961 w 102641"/>
                <a:gd name="connsiteY4" fmla="*/ 1953 h 83010"/>
                <a:gd name="connsiteX5" fmla="*/ 66989 w 102641"/>
                <a:gd name="connsiteY5" fmla="*/ 943 h 83010"/>
                <a:gd name="connsiteX6" fmla="*/ 67751 w 102641"/>
                <a:gd name="connsiteY6" fmla="*/ 1629 h 83010"/>
                <a:gd name="connsiteX7" fmla="*/ 68123 w 102641"/>
                <a:gd name="connsiteY7" fmla="*/ 3610 h 83010"/>
                <a:gd name="connsiteX8" fmla="*/ 68827 w 102641"/>
                <a:gd name="connsiteY8" fmla="*/ 6182 h 83010"/>
                <a:gd name="connsiteX9" fmla="*/ 71885 w 102641"/>
                <a:gd name="connsiteY9" fmla="*/ 9058 h 83010"/>
                <a:gd name="connsiteX10" fmla="*/ 74466 w 102641"/>
                <a:gd name="connsiteY10" fmla="*/ 9878 h 83010"/>
                <a:gd name="connsiteX11" fmla="*/ 77648 w 102641"/>
                <a:gd name="connsiteY11" fmla="*/ 9315 h 83010"/>
                <a:gd name="connsiteX12" fmla="*/ 78905 w 102641"/>
                <a:gd name="connsiteY12" fmla="*/ 8801 h 83010"/>
                <a:gd name="connsiteX13" fmla="*/ 79762 w 102641"/>
                <a:gd name="connsiteY13" fmla="*/ 9230 h 83010"/>
                <a:gd name="connsiteX14" fmla="*/ 80610 w 102641"/>
                <a:gd name="connsiteY14" fmla="*/ 10754 h 83010"/>
                <a:gd name="connsiteX15" fmla="*/ 82429 w 102641"/>
                <a:gd name="connsiteY15" fmla="*/ 12487 h 83010"/>
                <a:gd name="connsiteX16" fmla="*/ 86277 w 102641"/>
                <a:gd name="connsiteY16" fmla="*/ 13726 h 83010"/>
                <a:gd name="connsiteX17" fmla="*/ 87449 w 102641"/>
                <a:gd name="connsiteY17" fmla="*/ 14421 h 83010"/>
                <a:gd name="connsiteX18" fmla="*/ 88268 w 102641"/>
                <a:gd name="connsiteY18" fmla="*/ 15593 h 83010"/>
                <a:gd name="connsiteX19" fmla="*/ 88030 w 102641"/>
                <a:gd name="connsiteY19" fmla="*/ 17250 h 83010"/>
                <a:gd name="connsiteX20" fmla="*/ 86201 w 102641"/>
                <a:gd name="connsiteY20" fmla="*/ 21393 h 83010"/>
                <a:gd name="connsiteX21" fmla="*/ 85963 w 102641"/>
                <a:gd name="connsiteY21" fmla="*/ 22613 h 83010"/>
                <a:gd name="connsiteX22" fmla="*/ 86211 w 102641"/>
                <a:gd name="connsiteY22" fmla="*/ 23022 h 83010"/>
                <a:gd name="connsiteX23" fmla="*/ 85849 w 102641"/>
                <a:gd name="connsiteY23" fmla="*/ 23784 h 83010"/>
                <a:gd name="connsiteX24" fmla="*/ 83468 w 102641"/>
                <a:gd name="connsiteY24" fmla="*/ 26556 h 83010"/>
                <a:gd name="connsiteX25" fmla="*/ 83258 w 102641"/>
                <a:gd name="connsiteY25" fmla="*/ 27527 h 83010"/>
                <a:gd name="connsiteX26" fmla="*/ 84048 w 102641"/>
                <a:gd name="connsiteY26" fmla="*/ 29118 h 83010"/>
                <a:gd name="connsiteX27" fmla="*/ 84706 w 102641"/>
                <a:gd name="connsiteY27" fmla="*/ 30432 h 83010"/>
                <a:gd name="connsiteX28" fmla="*/ 84725 w 102641"/>
                <a:gd name="connsiteY28" fmla="*/ 30175 h 83010"/>
                <a:gd name="connsiteX29" fmla="*/ 88373 w 102641"/>
                <a:gd name="connsiteY29" fmla="*/ 28985 h 83010"/>
                <a:gd name="connsiteX30" fmla="*/ 90021 w 102641"/>
                <a:gd name="connsiteY30" fmla="*/ 31375 h 83010"/>
                <a:gd name="connsiteX31" fmla="*/ 92726 w 102641"/>
                <a:gd name="connsiteY31" fmla="*/ 31461 h 83010"/>
                <a:gd name="connsiteX32" fmla="*/ 93050 w 102641"/>
                <a:gd name="connsiteY32" fmla="*/ 32233 h 83010"/>
                <a:gd name="connsiteX33" fmla="*/ 96088 w 102641"/>
                <a:gd name="connsiteY33" fmla="*/ 34462 h 83010"/>
                <a:gd name="connsiteX34" fmla="*/ 97021 w 102641"/>
                <a:gd name="connsiteY34" fmla="*/ 36224 h 83010"/>
                <a:gd name="connsiteX35" fmla="*/ 99203 w 102641"/>
                <a:gd name="connsiteY35" fmla="*/ 37929 h 83010"/>
                <a:gd name="connsiteX36" fmla="*/ 97393 w 102641"/>
                <a:gd name="connsiteY36" fmla="*/ 40081 h 83010"/>
                <a:gd name="connsiteX37" fmla="*/ 97669 w 102641"/>
                <a:gd name="connsiteY37" fmla="*/ 41043 h 83010"/>
                <a:gd name="connsiteX38" fmla="*/ 98317 w 102641"/>
                <a:gd name="connsiteY38" fmla="*/ 42024 h 83010"/>
                <a:gd name="connsiteX39" fmla="*/ 100774 w 102641"/>
                <a:gd name="connsiteY39" fmla="*/ 42596 h 83010"/>
                <a:gd name="connsiteX40" fmla="*/ 102003 w 102641"/>
                <a:gd name="connsiteY40" fmla="*/ 44006 h 83010"/>
                <a:gd name="connsiteX41" fmla="*/ 102079 w 102641"/>
                <a:gd name="connsiteY41" fmla="*/ 46168 h 83010"/>
                <a:gd name="connsiteX42" fmla="*/ 102641 w 102641"/>
                <a:gd name="connsiteY42" fmla="*/ 49673 h 83010"/>
                <a:gd name="connsiteX43" fmla="*/ 97574 w 102641"/>
                <a:gd name="connsiteY43" fmla="*/ 53159 h 83010"/>
                <a:gd name="connsiteX44" fmla="*/ 96136 w 102641"/>
                <a:gd name="connsiteY44" fmla="*/ 57045 h 83010"/>
                <a:gd name="connsiteX45" fmla="*/ 96002 w 102641"/>
                <a:gd name="connsiteY45" fmla="*/ 57807 h 83010"/>
                <a:gd name="connsiteX46" fmla="*/ 95831 w 102641"/>
                <a:gd name="connsiteY46" fmla="*/ 57693 h 83010"/>
                <a:gd name="connsiteX47" fmla="*/ 95278 w 102641"/>
                <a:gd name="connsiteY47" fmla="*/ 56407 h 83010"/>
                <a:gd name="connsiteX48" fmla="*/ 94354 w 102641"/>
                <a:gd name="connsiteY48" fmla="*/ 56426 h 83010"/>
                <a:gd name="connsiteX49" fmla="*/ 92259 w 102641"/>
                <a:gd name="connsiteY49" fmla="*/ 55883 h 83010"/>
                <a:gd name="connsiteX50" fmla="*/ 89335 w 102641"/>
                <a:gd name="connsiteY50" fmla="*/ 59389 h 83010"/>
                <a:gd name="connsiteX51" fmla="*/ 88011 w 102641"/>
                <a:gd name="connsiteY51" fmla="*/ 62303 h 83010"/>
                <a:gd name="connsiteX52" fmla="*/ 87230 w 102641"/>
                <a:gd name="connsiteY52" fmla="*/ 64437 h 83010"/>
                <a:gd name="connsiteX53" fmla="*/ 86049 w 102641"/>
                <a:gd name="connsiteY53" fmla="*/ 66161 h 83010"/>
                <a:gd name="connsiteX54" fmla="*/ 85811 w 102641"/>
                <a:gd name="connsiteY54" fmla="*/ 67980 h 83010"/>
                <a:gd name="connsiteX55" fmla="*/ 85963 w 102641"/>
                <a:gd name="connsiteY55" fmla="*/ 68752 h 83010"/>
                <a:gd name="connsiteX56" fmla="*/ 85563 w 102641"/>
                <a:gd name="connsiteY56" fmla="*/ 69733 h 83010"/>
                <a:gd name="connsiteX57" fmla="*/ 85544 w 102641"/>
                <a:gd name="connsiteY57" fmla="*/ 70771 h 83010"/>
                <a:gd name="connsiteX58" fmla="*/ 87220 w 102641"/>
                <a:gd name="connsiteY58" fmla="*/ 72800 h 83010"/>
                <a:gd name="connsiteX59" fmla="*/ 87649 w 102641"/>
                <a:gd name="connsiteY59" fmla="*/ 73905 h 83010"/>
                <a:gd name="connsiteX60" fmla="*/ 89697 w 102641"/>
                <a:gd name="connsiteY60" fmla="*/ 77514 h 83010"/>
                <a:gd name="connsiteX61" fmla="*/ 89059 w 102641"/>
                <a:gd name="connsiteY61" fmla="*/ 78820 h 83010"/>
                <a:gd name="connsiteX62" fmla="*/ 88554 w 102641"/>
                <a:gd name="connsiteY62" fmla="*/ 80239 h 83010"/>
                <a:gd name="connsiteX63" fmla="*/ 87963 w 102641"/>
                <a:gd name="connsiteY63" fmla="*/ 81248 h 83010"/>
                <a:gd name="connsiteX64" fmla="*/ 87268 w 102641"/>
                <a:gd name="connsiteY64" fmla="*/ 81887 h 83010"/>
                <a:gd name="connsiteX65" fmla="*/ 85154 w 102641"/>
                <a:gd name="connsiteY65" fmla="*/ 81848 h 83010"/>
                <a:gd name="connsiteX66" fmla="*/ 82467 w 102641"/>
                <a:gd name="connsiteY66" fmla="*/ 82296 h 83010"/>
                <a:gd name="connsiteX67" fmla="*/ 80658 w 102641"/>
                <a:gd name="connsiteY67" fmla="*/ 83010 h 83010"/>
                <a:gd name="connsiteX68" fmla="*/ 79724 w 102641"/>
                <a:gd name="connsiteY68" fmla="*/ 83010 h 83010"/>
                <a:gd name="connsiteX69" fmla="*/ 77781 w 102641"/>
                <a:gd name="connsiteY69" fmla="*/ 81220 h 83010"/>
                <a:gd name="connsiteX70" fmla="*/ 75609 w 102641"/>
                <a:gd name="connsiteY70" fmla="*/ 78534 h 83010"/>
                <a:gd name="connsiteX71" fmla="*/ 74238 w 102641"/>
                <a:gd name="connsiteY71" fmla="*/ 77248 h 83010"/>
                <a:gd name="connsiteX72" fmla="*/ 73609 w 102641"/>
                <a:gd name="connsiteY72" fmla="*/ 76143 h 83010"/>
                <a:gd name="connsiteX73" fmla="*/ 71904 w 102641"/>
                <a:gd name="connsiteY73" fmla="*/ 75676 h 83010"/>
                <a:gd name="connsiteX74" fmla="*/ 69475 w 102641"/>
                <a:gd name="connsiteY74" fmla="*/ 74352 h 83010"/>
                <a:gd name="connsiteX75" fmla="*/ 67789 w 102641"/>
                <a:gd name="connsiteY75" fmla="*/ 72905 h 83010"/>
                <a:gd name="connsiteX76" fmla="*/ 66342 w 102641"/>
                <a:gd name="connsiteY76" fmla="*/ 72000 h 83010"/>
                <a:gd name="connsiteX77" fmla="*/ 64303 w 102641"/>
                <a:gd name="connsiteY77" fmla="*/ 71552 h 83010"/>
                <a:gd name="connsiteX78" fmla="*/ 62617 w 102641"/>
                <a:gd name="connsiteY78" fmla="*/ 71599 h 83010"/>
                <a:gd name="connsiteX79" fmla="*/ 62131 w 102641"/>
                <a:gd name="connsiteY79" fmla="*/ 69161 h 83010"/>
                <a:gd name="connsiteX80" fmla="*/ 61922 w 102641"/>
                <a:gd name="connsiteY80" fmla="*/ 66380 h 83010"/>
                <a:gd name="connsiteX81" fmla="*/ 60550 w 102641"/>
                <a:gd name="connsiteY81" fmla="*/ 64503 h 83010"/>
                <a:gd name="connsiteX82" fmla="*/ 62436 w 102641"/>
                <a:gd name="connsiteY82" fmla="*/ 57188 h 83010"/>
                <a:gd name="connsiteX83" fmla="*/ 61312 w 102641"/>
                <a:gd name="connsiteY83" fmla="*/ 56474 h 83010"/>
                <a:gd name="connsiteX84" fmla="*/ 60093 w 102641"/>
                <a:gd name="connsiteY84" fmla="*/ 57055 h 83010"/>
                <a:gd name="connsiteX85" fmla="*/ 58321 w 102641"/>
                <a:gd name="connsiteY85" fmla="*/ 58807 h 83010"/>
                <a:gd name="connsiteX86" fmla="*/ 57474 w 102641"/>
                <a:gd name="connsiteY86" fmla="*/ 60884 h 83010"/>
                <a:gd name="connsiteX87" fmla="*/ 56969 w 102641"/>
                <a:gd name="connsiteY87" fmla="*/ 62732 h 83010"/>
                <a:gd name="connsiteX88" fmla="*/ 53997 w 102641"/>
                <a:gd name="connsiteY88" fmla="*/ 64475 h 83010"/>
                <a:gd name="connsiteX89" fmla="*/ 49282 w 102641"/>
                <a:gd name="connsiteY89" fmla="*/ 65113 h 83010"/>
                <a:gd name="connsiteX90" fmla="*/ 44129 w 102641"/>
                <a:gd name="connsiteY90" fmla="*/ 64475 h 83010"/>
                <a:gd name="connsiteX91" fmla="*/ 43424 w 102641"/>
                <a:gd name="connsiteY91" fmla="*/ 64008 h 83010"/>
                <a:gd name="connsiteX92" fmla="*/ 43091 w 102641"/>
                <a:gd name="connsiteY92" fmla="*/ 63475 h 83010"/>
                <a:gd name="connsiteX93" fmla="*/ 43091 w 102641"/>
                <a:gd name="connsiteY93" fmla="*/ 62837 h 83010"/>
                <a:gd name="connsiteX94" fmla="*/ 43443 w 102641"/>
                <a:gd name="connsiteY94" fmla="*/ 61846 h 83010"/>
                <a:gd name="connsiteX95" fmla="*/ 44339 w 102641"/>
                <a:gd name="connsiteY95" fmla="*/ 60636 h 83010"/>
                <a:gd name="connsiteX96" fmla="*/ 44567 w 102641"/>
                <a:gd name="connsiteY96" fmla="*/ 58922 h 83010"/>
                <a:gd name="connsiteX97" fmla="*/ 43644 w 102641"/>
                <a:gd name="connsiteY97" fmla="*/ 57436 h 83010"/>
                <a:gd name="connsiteX98" fmla="*/ 43043 w 102641"/>
                <a:gd name="connsiteY98" fmla="*/ 56855 h 83010"/>
                <a:gd name="connsiteX99" fmla="*/ 43281 w 102641"/>
                <a:gd name="connsiteY99" fmla="*/ 55417 h 83010"/>
                <a:gd name="connsiteX100" fmla="*/ 43958 w 102641"/>
                <a:gd name="connsiteY100" fmla="*/ 53616 h 83010"/>
                <a:gd name="connsiteX101" fmla="*/ 44101 w 102641"/>
                <a:gd name="connsiteY101" fmla="*/ 52578 h 83010"/>
                <a:gd name="connsiteX102" fmla="*/ 40605 w 102641"/>
                <a:gd name="connsiteY102" fmla="*/ 49464 h 83010"/>
                <a:gd name="connsiteX103" fmla="*/ 38081 w 102641"/>
                <a:gd name="connsiteY103" fmla="*/ 48854 h 83010"/>
                <a:gd name="connsiteX104" fmla="*/ 35633 w 102641"/>
                <a:gd name="connsiteY104" fmla="*/ 48739 h 83010"/>
                <a:gd name="connsiteX105" fmla="*/ 33776 w 102641"/>
                <a:gd name="connsiteY105" fmla="*/ 48387 h 83010"/>
                <a:gd name="connsiteX106" fmla="*/ 32690 w 102641"/>
                <a:gd name="connsiteY106" fmla="*/ 48539 h 83010"/>
                <a:gd name="connsiteX107" fmla="*/ 31918 w 102641"/>
                <a:gd name="connsiteY107" fmla="*/ 49444 h 83010"/>
                <a:gd name="connsiteX108" fmla="*/ 31127 w 102641"/>
                <a:gd name="connsiteY108" fmla="*/ 50102 h 83010"/>
                <a:gd name="connsiteX109" fmla="*/ 30537 w 102641"/>
                <a:gd name="connsiteY109" fmla="*/ 49321 h 83010"/>
                <a:gd name="connsiteX110" fmla="*/ 29451 w 102641"/>
                <a:gd name="connsiteY110" fmla="*/ 43777 h 83010"/>
                <a:gd name="connsiteX111" fmla="*/ 28613 w 102641"/>
                <a:gd name="connsiteY111" fmla="*/ 42939 h 83010"/>
                <a:gd name="connsiteX112" fmla="*/ 25451 w 102641"/>
                <a:gd name="connsiteY112" fmla="*/ 42005 h 83010"/>
                <a:gd name="connsiteX113" fmla="*/ 21146 w 102641"/>
                <a:gd name="connsiteY113" fmla="*/ 41672 h 83010"/>
                <a:gd name="connsiteX114" fmla="*/ 20002 w 102641"/>
                <a:gd name="connsiteY114" fmla="*/ 40662 h 83010"/>
                <a:gd name="connsiteX115" fmla="*/ 19374 w 102641"/>
                <a:gd name="connsiteY115" fmla="*/ 38157 h 83010"/>
                <a:gd name="connsiteX116" fmla="*/ 18974 w 102641"/>
                <a:gd name="connsiteY116" fmla="*/ 35147 h 83010"/>
                <a:gd name="connsiteX117" fmla="*/ 17564 w 102641"/>
                <a:gd name="connsiteY117" fmla="*/ 32252 h 83010"/>
                <a:gd name="connsiteX118" fmla="*/ 16840 w 102641"/>
                <a:gd name="connsiteY118" fmla="*/ 31518 h 83010"/>
                <a:gd name="connsiteX119" fmla="*/ 15554 w 102641"/>
                <a:gd name="connsiteY119" fmla="*/ 30242 h 83010"/>
                <a:gd name="connsiteX120" fmla="*/ 13306 w 102641"/>
                <a:gd name="connsiteY120" fmla="*/ 30766 h 83010"/>
                <a:gd name="connsiteX121" fmla="*/ 10611 w 102641"/>
                <a:gd name="connsiteY121" fmla="*/ 32452 h 83010"/>
                <a:gd name="connsiteX122" fmla="*/ 9020 w 102641"/>
                <a:gd name="connsiteY122" fmla="*/ 32909 h 83010"/>
                <a:gd name="connsiteX123" fmla="*/ 8411 w 102641"/>
                <a:gd name="connsiteY123" fmla="*/ 33090 h 83010"/>
                <a:gd name="connsiteX124" fmla="*/ 6267 w 102641"/>
                <a:gd name="connsiteY124" fmla="*/ 31452 h 83010"/>
                <a:gd name="connsiteX125" fmla="*/ 3848 w 102641"/>
                <a:gd name="connsiteY125" fmla="*/ 28890 h 83010"/>
                <a:gd name="connsiteX126" fmla="*/ 1914 w 102641"/>
                <a:gd name="connsiteY126" fmla="*/ 26165 h 83010"/>
                <a:gd name="connsiteX127" fmla="*/ 1448 w 102641"/>
                <a:gd name="connsiteY127" fmla="*/ 24651 h 83010"/>
                <a:gd name="connsiteX128" fmla="*/ 2038 w 102641"/>
                <a:gd name="connsiteY128" fmla="*/ 22813 h 83010"/>
                <a:gd name="connsiteX129" fmla="*/ 1333 w 102641"/>
                <a:gd name="connsiteY129" fmla="*/ 21403 h 83010"/>
                <a:gd name="connsiteX130" fmla="*/ 295 w 102641"/>
                <a:gd name="connsiteY130" fmla="*/ 18822 h 83010"/>
                <a:gd name="connsiteX131" fmla="*/ 0 w 102641"/>
                <a:gd name="connsiteY131" fmla="*/ 16802 h 83010"/>
                <a:gd name="connsiteX132" fmla="*/ 11630 w 102641"/>
                <a:gd name="connsiteY132" fmla="*/ 9640 h 83010"/>
                <a:gd name="connsiteX133" fmla="*/ 18717 w 102641"/>
                <a:gd name="connsiteY133" fmla="*/ 5963 h 83010"/>
                <a:gd name="connsiteX134" fmla="*/ 22060 w 102641"/>
                <a:gd name="connsiteY134" fmla="*/ 4848 h 83010"/>
                <a:gd name="connsiteX135" fmla="*/ 22860 w 102641"/>
                <a:gd name="connsiteY135" fmla="*/ 8544 h 83010"/>
                <a:gd name="connsiteX136" fmla="*/ 23469 w 102641"/>
                <a:gd name="connsiteY136" fmla="*/ 9716 h 83010"/>
                <a:gd name="connsiteX137" fmla="*/ 24260 w 102641"/>
                <a:gd name="connsiteY137" fmla="*/ 10478 h 83010"/>
                <a:gd name="connsiteX138" fmla="*/ 25308 w 102641"/>
                <a:gd name="connsiteY138" fmla="*/ 10630 h 83010"/>
                <a:gd name="connsiteX139" fmla="*/ 26518 w 102641"/>
                <a:gd name="connsiteY139" fmla="*/ 9716 h 83010"/>
                <a:gd name="connsiteX140" fmla="*/ 28213 w 102641"/>
                <a:gd name="connsiteY140" fmla="*/ 8754 h 83010"/>
                <a:gd name="connsiteX141" fmla="*/ 30927 w 102641"/>
                <a:gd name="connsiteY141" fmla="*/ 9201 h 83010"/>
                <a:gd name="connsiteX142" fmla="*/ 32899 w 102641"/>
                <a:gd name="connsiteY142" fmla="*/ 10087 h 83010"/>
                <a:gd name="connsiteX143" fmla="*/ 33594 w 102641"/>
                <a:gd name="connsiteY143" fmla="*/ 11011 h 83010"/>
                <a:gd name="connsiteX144" fmla="*/ 34909 w 102641"/>
                <a:gd name="connsiteY144" fmla="*/ 11887 h 83010"/>
                <a:gd name="connsiteX145" fmla="*/ 36814 w 102641"/>
                <a:gd name="connsiteY145" fmla="*/ 12097 h 83010"/>
                <a:gd name="connsiteX146" fmla="*/ 40500 w 102641"/>
                <a:gd name="connsiteY146" fmla="*/ 10421 h 83010"/>
                <a:gd name="connsiteX147" fmla="*/ 44044 w 102641"/>
                <a:gd name="connsiteY147" fmla="*/ 7868 h 83010"/>
                <a:gd name="connsiteX148" fmla="*/ 45082 w 102641"/>
                <a:gd name="connsiteY148" fmla="*/ 6087 h 83010"/>
                <a:gd name="connsiteX149" fmla="*/ 45472 w 102641"/>
                <a:gd name="connsiteY149" fmla="*/ 4477 h 83010"/>
                <a:gd name="connsiteX150" fmla="*/ 47568 w 102641"/>
                <a:gd name="connsiteY150" fmla="*/ 5544 h 83010"/>
                <a:gd name="connsiteX151" fmla="*/ 49416 w 102641"/>
                <a:gd name="connsiteY151" fmla="*/ 5772 h 83010"/>
                <a:gd name="connsiteX152" fmla="*/ 50235 w 102641"/>
                <a:gd name="connsiteY152" fmla="*/ 5296 h 83010"/>
                <a:gd name="connsiteX153" fmla="*/ 49711 w 102641"/>
                <a:gd name="connsiteY153" fmla="*/ 2715 h 83010"/>
                <a:gd name="connsiteX154" fmla="*/ 51216 w 102641"/>
                <a:gd name="connsiteY154" fmla="*/ 1334 h 83010"/>
                <a:gd name="connsiteX155" fmla="*/ 52883 w 102641"/>
                <a:gd name="connsiteY155" fmla="*/ 705 h 83010"/>
                <a:gd name="connsiteX156" fmla="*/ 53635 w 102641"/>
                <a:gd name="connsiteY156" fmla="*/ 1819 h 83010"/>
                <a:gd name="connsiteX157" fmla="*/ 55169 w 102641"/>
                <a:gd name="connsiteY157" fmla="*/ 2962 h 83010"/>
                <a:gd name="connsiteX158" fmla="*/ 56378 w 102641"/>
                <a:gd name="connsiteY158" fmla="*/ 2972 h 83010"/>
                <a:gd name="connsiteX159" fmla="*/ 59626 w 102641"/>
                <a:gd name="connsiteY159" fmla="*/ 0 h 83010"/>
                <a:gd name="connsiteX160" fmla="*/ 60388 w 102641"/>
                <a:gd name="connsiteY160" fmla="*/ 591 h 83010"/>
                <a:gd name="connsiteX161" fmla="*/ 61093 w 102641"/>
                <a:gd name="connsiteY161" fmla="*/ 1648 h 83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102641" h="83010">
                  <a:moveTo>
                    <a:pt x="61246" y="2496"/>
                  </a:moveTo>
                  <a:lnTo>
                    <a:pt x="61370" y="3381"/>
                  </a:lnTo>
                  <a:lnTo>
                    <a:pt x="62103" y="3753"/>
                  </a:lnTo>
                  <a:lnTo>
                    <a:pt x="64665" y="3563"/>
                  </a:lnTo>
                  <a:lnTo>
                    <a:pt x="65961" y="1953"/>
                  </a:lnTo>
                  <a:lnTo>
                    <a:pt x="66989" y="943"/>
                  </a:lnTo>
                  <a:lnTo>
                    <a:pt x="67751" y="1629"/>
                  </a:lnTo>
                  <a:lnTo>
                    <a:pt x="68123" y="3610"/>
                  </a:lnTo>
                  <a:lnTo>
                    <a:pt x="68827" y="6182"/>
                  </a:lnTo>
                  <a:lnTo>
                    <a:pt x="71885" y="9058"/>
                  </a:lnTo>
                  <a:lnTo>
                    <a:pt x="74466" y="9878"/>
                  </a:lnTo>
                  <a:lnTo>
                    <a:pt x="77648" y="9315"/>
                  </a:lnTo>
                  <a:lnTo>
                    <a:pt x="78905" y="8801"/>
                  </a:lnTo>
                  <a:lnTo>
                    <a:pt x="79762" y="9230"/>
                  </a:lnTo>
                  <a:lnTo>
                    <a:pt x="80610" y="10754"/>
                  </a:lnTo>
                  <a:lnTo>
                    <a:pt x="82429" y="12487"/>
                  </a:lnTo>
                  <a:lnTo>
                    <a:pt x="86277" y="13726"/>
                  </a:lnTo>
                  <a:lnTo>
                    <a:pt x="87449" y="14421"/>
                  </a:lnTo>
                  <a:lnTo>
                    <a:pt x="88268" y="15593"/>
                  </a:lnTo>
                  <a:lnTo>
                    <a:pt x="88030" y="17250"/>
                  </a:lnTo>
                  <a:lnTo>
                    <a:pt x="86201" y="21393"/>
                  </a:lnTo>
                  <a:lnTo>
                    <a:pt x="85963" y="22613"/>
                  </a:lnTo>
                  <a:lnTo>
                    <a:pt x="86211" y="23022"/>
                  </a:lnTo>
                  <a:lnTo>
                    <a:pt x="85849" y="23784"/>
                  </a:lnTo>
                  <a:lnTo>
                    <a:pt x="83468" y="26556"/>
                  </a:lnTo>
                  <a:lnTo>
                    <a:pt x="83258" y="27527"/>
                  </a:lnTo>
                  <a:lnTo>
                    <a:pt x="84048" y="29118"/>
                  </a:lnTo>
                  <a:lnTo>
                    <a:pt x="84706" y="30432"/>
                  </a:lnTo>
                  <a:lnTo>
                    <a:pt x="84725" y="30175"/>
                  </a:lnTo>
                  <a:lnTo>
                    <a:pt x="88373" y="28985"/>
                  </a:lnTo>
                  <a:lnTo>
                    <a:pt x="90021" y="31375"/>
                  </a:lnTo>
                  <a:lnTo>
                    <a:pt x="92726" y="31461"/>
                  </a:lnTo>
                  <a:lnTo>
                    <a:pt x="93050" y="32233"/>
                  </a:lnTo>
                  <a:lnTo>
                    <a:pt x="96088" y="34462"/>
                  </a:lnTo>
                  <a:lnTo>
                    <a:pt x="97021" y="36224"/>
                  </a:lnTo>
                  <a:lnTo>
                    <a:pt x="99203" y="37929"/>
                  </a:lnTo>
                  <a:lnTo>
                    <a:pt x="97393" y="40081"/>
                  </a:lnTo>
                  <a:lnTo>
                    <a:pt x="97669" y="41043"/>
                  </a:lnTo>
                  <a:lnTo>
                    <a:pt x="98317" y="42024"/>
                  </a:lnTo>
                  <a:lnTo>
                    <a:pt x="100774" y="42596"/>
                  </a:lnTo>
                  <a:lnTo>
                    <a:pt x="102003" y="44006"/>
                  </a:lnTo>
                  <a:lnTo>
                    <a:pt x="102079" y="46168"/>
                  </a:lnTo>
                  <a:lnTo>
                    <a:pt x="102641" y="49673"/>
                  </a:lnTo>
                  <a:lnTo>
                    <a:pt x="97574" y="53159"/>
                  </a:lnTo>
                  <a:lnTo>
                    <a:pt x="96136" y="57045"/>
                  </a:lnTo>
                  <a:lnTo>
                    <a:pt x="96002" y="57807"/>
                  </a:lnTo>
                  <a:lnTo>
                    <a:pt x="95831" y="57693"/>
                  </a:lnTo>
                  <a:lnTo>
                    <a:pt x="95278" y="56407"/>
                  </a:lnTo>
                  <a:lnTo>
                    <a:pt x="94354" y="56426"/>
                  </a:lnTo>
                  <a:lnTo>
                    <a:pt x="92259" y="55883"/>
                  </a:lnTo>
                  <a:lnTo>
                    <a:pt x="89335" y="59389"/>
                  </a:lnTo>
                  <a:lnTo>
                    <a:pt x="88011" y="62303"/>
                  </a:lnTo>
                  <a:lnTo>
                    <a:pt x="87230" y="64437"/>
                  </a:lnTo>
                  <a:lnTo>
                    <a:pt x="86049" y="66161"/>
                  </a:lnTo>
                  <a:lnTo>
                    <a:pt x="85811" y="67980"/>
                  </a:lnTo>
                  <a:lnTo>
                    <a:pt x="85963" y="68752"/>
                  </a:lnTo>
                  <a:lnTo>
                    <a:pt x="85563" y="69733"/>
                  </a:lnTo>
                  <a:lnTo>
                    <a:pt x="85544" y="70771"/>
                  </a:lnTo>
                  <a:lnTo>
                    <a:pt x="87220" y="72800"/>
                  </a:lnTo>
                  <a:lnTo>
                    <a:pt x="87649" y="73905"/>
                  </a:lnTo>
                  <a:lnTo>
                    <a:pt x="89697" y="77514"/>
                  </a:lnTo>
                  <a:lnTo>
                    <a:pt x="89059" y="78820"/>
                  </a:lnTo>
                  <a:lnTo>
                    <a:pt x="88554" y="80239"/>
                  </a:lnTo>
                  <a:lnTo>
                    <a:pt x="87963" y="81248"/>
                  </a:lnTo>
                  <a:lnTo>
                    <a:pt x="87268" y="81887"/>
                  </a:lnTo>
                  <a:lnTo>
                    <a:pt x="85154" y="81848"/>
                  </a:lnTo>
                  <a:lnTo>
                    <a:pt x="82467" y="82296"/>
                  </a:lnTo>
                  <a:lnTo>
                    <a:pt x="80658" y="83010"/>
                  </a:lnTo>
                  <a:lnTo>
                    <a:pt x="79724" y="83010"/>
                  </a:lnTo>
                  <a:lnTo>
                    <a:pt x="77781" y="81220"/>
                  </a:lnTo>
                  <a:lnTo>
                    <a:pt x="75609" y="78534"/>
                  </a:lnTo>
                  <a:lnTo>
                    <a:pt x="74238" y="77248"/>
                  </a:lnTo>
                  <a:lnTo>
                    <a:pt x="73609" y="76143"/>
                  </a:lnTo>
                  <a:lnTo>
                    <a:pt x="71904" y="75676"/>
                  </a:lnTo>
                  <a:lnTo>
                    <a:pt x="69475" y="74352"/>
                  </a:lnTo>
                  <a:lnTo>
                    <a:pt x="67789" y="72905"/>
                  </a:lnTo>
                  <a:lnTo>
                    <a:pt x="66342" y="72000"/>
                  </a:lnTo>
                  <a:lnTo>
                    <a:pt x="64303" y="71552"/>
                  </a:lnTo>
                  <a:lnTo>
                    <a:pt x="62617" y="71599"/>
                  </a:lnTo>
                  <a:lnTo>
                    <a:pt x="62131" y="69161"/>
                  </a:lnTo>
                  <a:lnTo>
                    <a:pt x="61922" y="66380"/>
                  </a:lnTo>
                  <a:lnTo>
                    <a:pt x="60550" y="64503"/>
                  </a:lnTo>
                  <a:lnTo>
                    <a:pt x="62436" y="57188"/>
                  </a:lnTo>
                  <a:lnTo>
                    <a:pt x="61312" y="56474"/>
                  </a:lnTo>
                  <a:lnTo>
                    <a:pt x="60093" y="57055"/>
                  </a:lnTo>
                  <a:lnTo>
                    <a:pt x="58321" y="58807"/>
                  </a:lnTo>
                  <a:lnTo>
                    <a:pt x="57474" y="60884"/>
                  </a:lnTo>
                  <a:lnTo>
                    <a:pt x="56969" y="62732"/>
                  </a:lnTo>
                  <a:lnTo>
                    <a:pt x="53997" y="64475"/>
                  </a:lnTo>
                  <a:lnTo>
                    <a:pt x="49282" y="65113"/>
                  </a:lnTo>
                  <a:lnTo>
                    <a:pt x="44129" y="64475"/>
                  </a:lnTo>
                  <a:lnTo>
                    <a:pt x="43424" y="64008"/>
                  </a:lnTo>
                  <a:lnTo>
                    <a:pt x="43091" y="63475"/>
                  </a:lnTo>
                  <a:lnTo>
                    <a:pt x="43091" y="62837"/>
                  </a:lnTo>
                  <a:lnTo>
                    <a:pt x="43443" y="61846"/>
                  </a:lnTo>
                  <a:lnTo>
                    <a:pt x="44339" y="60636"/>
                  </a:lnTo>
                  <a:lnTo>
                    <a:pt x="44567" y="58922"/>
                  </a:lnTo>
                  <a:lnTo>
                    <a:pt x="43644" y="57436"/>
                  </a:lnTo>
                  <a:lnTo>
                    <a:pt x="43043" y="56855"/>
                  </a:lnTo>
                  <a:lnTo>
                    <a:pt x="43281" y="55417"/>
                  </a:lnTo>
                  <a:lnTo>
                    <a:pt x="43958" y="53616"/>
                  </a:lnTo>
                  <a:lnTo>
                    <a:pt x="44101" y="52578"/>
                  </a:lnTo>
                  <a:lnTo>
                    <a:pt x="40605" y="49464"/>
                  </a:lnTo>
                  <a:lnTo>
                    <a:pt x="38081" y="48854"/>
                  </a:lnTo>
                  <a:lnTo>
                    <a:pt x="35633" y="48739"/>
                  </a:lnTo>
                  <a:lnTo>
                    <a:pt x="33776" y="48387"/>
                  </a:lnTo>
                  <a:lnTo>
                    <a:pt x="32690" y="48539"/>
                  </a:lnTo>
                  <a:lnTo>
                    <a:pt x="31918" y="49444"/>
                  </a:lnTo>
                  <a:lnTo>
                    <a:pt x="31127" y="50102"/>
                  </a:lnTo>
                  <a:lnTo>
                    <a:pt x="30537" y="49321"/>
                  </a:lnTo>
                  <a:lnTo>
                    <a:pt x="29451" y="43777"/>
                  </a:lnTo>
                  <a:lnTo>
                    <a:pt x="28613" y="42939"/>
                  </a:lnTo>
                  <a:lnTo>
                    <a:pt x="25451" y="42005"/>
                  </a:lnTo>
                  <a:lnTo>
                    <a:pt x="21146" y="41672"/>
                  </a:lnTo>
                  <a:lnTo>
                    <a:pt x="20002" y="40662"/>
                  </a:lnTo>
                  <a:lnTo>
                    <a:pt x="19374" y="38157"/>
                  </a:lnTo>
                  <a:lnTo>
                    <a:pt x="18974" y="35147"/>
                  </a:lnTo>
                  <a:lnTo>
                    <a:pt x="17564" y="32252"/>
                  </a:lnTo>
                  <a:lnTo>
                    <a:pt x="16840" y="31518"/>
                  </a:lnTo>
                  <a:lnTo>
                    <a:pt x="15554" y="30242"/>
                  </a:lnTo>
                  <a:lnTo>
                    <a:pt x="13306" y="30766"/>
                  </a:lnTo>
                  <a:lnTo>
                    <a:pt x="10611" y="32452"/>
                  </a:lnTo>
                  <a:lnTo>
                    <a:pt x="9020" y="32909"/>
                  </a:lnTo>
                  <a:lnTo>
                    <a:pt x="8411" y="33090"/>
                  </a:lnTo>
                  <a:lnTo>
                    <a:pt x="6267" y="31452"/>
                  </a:lnTo>
                  <a:lnTo>
                    <a:pt x="3848" y="28890"/>
                  </a:lnTo>
                  <a:lnTo>
                    <a:pt x="1914" y="26165"/>
                  </a:lnTo>
                  <a:lnTo>
                    <a:pt x="1448" y="24651"/>
                  </a:lnTo>
                  <a:lnTo>
                    <a:pt x="2038" y="22813"/>
                  </a:lnTo>
                  <a:lnTo>
                    <a:pt x="1333" y="21403"/>
                  </a:lnTo>
                  <a:lnTo>
                    <a:pt x="295" y="18822"/>
                  </a:lnTo>
                  <a:lnTo>
                    <a:pt x="0" y="16802"/>
                  </a:lnTo>
                  <a:lnTo>
                    <a:pt x="11630" y="9640"/>
                  </a:lnTo>
                  <a:lnTo>
                    <a:pt x="18717" y="5963"/>
                  </a:lnTo>
                  <a:lnTo>
                    <a:pt x="22060" y="4848"/>
                  </a:lnTo>
                  <a:lnTo>
                    <a:pt x="22860" y="8544"/>
                  </a:lnTo>
                  <a:lnTo>
                    <a:pt x="23469" y="9716"/>
                  </a:lnTo>
                  <a:lnTo>
                    <a:pt x="24260" y="10478"/>
                  </a:lnTo>
                  <a:lnTo>
                    <a:pt x="25308" y="10630"/>
                  </a:lnTo>
                  <a:lnTo>
                    <a:pt x="26518" y="9716"/>
                  </a:lnTo>
                  <a:lnTo>
                    <a:pt x="28213" y="8754"/>
                  </a:lnTo>
                  <a:lnTo>
                    <a:pt x="30927" y="9201"/>
                  </a:lnTo>
                  <a:lnTo>
                    <a:pt x="32899" y="10087"/>
                  </a:lnTo>
                  <a:lnTo>
                    <a:pt x="33594" y="11011"/>
                  </a:lnTo>
                  <a:lnTo>
                    <a:pt x="34909" y="11887"/>
                  </a:lnTo>
                  <a:lnTo>
                    <a:pt x="36814" y="12097"/>
                  </a:lnTo>
                  <a:lnTo>
                    <a:pt x="40500" y="10421"/>
                  </a:lnTo>
                  <a:lnTo>
                    <a:pt x="44044" y="7868"/>
                  </a:lnTo>
                  <a:lnTo>
                    <a:pt x="45082" y="6087"/>
                  </a:lnTo>
                  <a:lnTo>
                    <a:pt x="45472" y="4477"/>
                  </a:lnTo>
                  <a:lnTo>
                    <a:pt x="47568" y="5544"/>
                  </a:lnTo>
                  <a:lnTo>
                    <a:pt x="49416" y="5772"/>
                  </a:lnTo>
                  <a:lnTo>
                    <a:pt x="50235" y="5296"/>
                  </a:lnTo>
                  <a:lnTo>
                    <a:pt x="49711" y="2715"/>
                  </a:lnTo>
                  <a:lnTo>
                    <a:pt x="51216" y="1334"/>
                  </a:lnTo>
                  <a:lnTo>
                    <a:pt x="52883" y="705"/>
                  </a:lnTo>
                  <a:lnTo>
                    <a:pt x="53635" y="1819"/>
                  </a:lnTo>
                  <a:lnTo>
                    <a:pt x="55169" y="2962"/>
                  </a:lnTo>
                  <a:lnTo>
                    <a:pt x="56378" y="2972"/>
                  </a:lnTo>
                  <a:lnTo>
                    <a:pt x="59626" y="0"/>
                  </a:lnTo>
                  <a:lnTo>
                    <a:pt x="60388" y="591"/>
                  </a:lnTo>
                  <a:lnTo>
                    <a:pt x="61093" y="1648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4" name="Forme libre : forme 10">
              <a:extLst>
                <a:ext uri="{FF2B5EF4-FFF2-40B4-BE49-F238E27FC236}">
                  <a16:creationId xmlns:a16="http://schemas.microsoft.com/office/drawing/2014/main" id="{E24805D7-5CCF-CD2C-9D93-E11B4272EF1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1054279" y="4946759"/>
              <a:ext cx="577769" cy="376165"/>
            </a:xfrm>
            <a:custGeom>
              <a:avLst/>
              <a:gdLst>
                <a:gd name="connsiteX0" fmla="*/ 166840 w 166839"/>
                <a:gd name="connsiteY0" fmla="*/ 18345 h 108623"/>
                <a:gd name="connsiteX1" fmla="*/ 166211 w 166839"/>
                <a:gd name="connsiteY1" fmla="*/ 27213 h 108623"/>
                <a:gd name="connsiteX2" fmla="*/ 163630 w 166839"/>
                <a:gd name="connsiteY2" fmla="*/ 31318 h 108623"/>
                <a:gd name="connsiteX3" fmla="*/ 159734 w 166839"/>
                <a:gd name="connsiteY3" fmla="*/ 29946 h 108623"/>
                <a:gd name="connsiteX4" fmla="*/ 154762 w 166839"/>
                <a:gd name="connsiteY4" fmla="*/ 31090 h 108623"/>
                <a:gd name="connsiteX5" fmla="*/ 152133 w 166839"/>
                <a:gd name="connsiteY5" fmla="*/ 35757 h 108623"/>
                <a:gd name="connsiteX6" fmla="*/ 150638 w 166839"/>
                <a:gd name="connsiteY6" fmla="*/ 37138 h 108623"/>
                <a:gd name="connsiteX7" fmla="*/ 149294 w 166839"/>
                <a:gd name="connsiteY7" fmla="*/ 38757 h 108623"/>
                <a:gd name="connsiteX8" fmla="*/ 148428 w 166839"/>
                <a:gd name="connsiteY8" fmla="*/ 44796 h 108623"/>
                <a:gd name="connsiteX9" fmla="*/ 148218 w 166839"/>
                <a:gd name="connsiteY9" fmla="*/ 54645 h 108623"/>
                <a:gd name="connsiteX10" fmla="*/ 146332 w 166839"/>
                <a:gd name="connsiteY10" fmla="*/ 55836 h 108623"/>
                <a:gd name="connsiteX11" fmla="*/ 144609 w 166839"/>
                <a:gd name="connsiteY11" fmla="*/ 56207 h 108623"/>
                <a:gd name="connsiteX12" fmla="*/ 137417 w 166839"/>
                <a:gd name="connsiteY12" fmla="*/ 64837 h 108623"/>
                <a:gd name="connsiteX13" fmla="*/ 141561 w 166839"/>
                <a:gd name="connsiteY13" fmla="*/ 67256 h 108623"/>
                <a:gd name="connsiteX14" fmla="*/ 143389 w 166839"/>
                <a:gd name="connsiteY14" fmla="*/ 69094 h 108623"/>
                <a:gd name="connsiteX15" fmla="*/ 146418 w 166839"/>
                <a:gd name="connsiteY15" fmla="*/ 74209 h 108623"/>
                <a:gd name="connsiteX16" fmla="*/ 150723 w 166839"/>
                <a:gd name="connsiteY16" fmla="*/ 79972 h 108623"/>
                <a:gd name="connsiteX17" fmla="*/ 151581 w 166839"/>
                <a:gd name="connsiteY17" fmla="*/ 82782 h 108623"/>
                <a:gd name="connsiteX18" fmla="*/ 147961 w 166839"/>
                <a:gd name="connsiteY18" fmla="*/ 82153 h 108623"/>
                <a:gd name="connsiteX19" fmla="*/ 146704 w 166839"/>
                <a:gd name="connsiteY19" fmla="*/ 82344 h 108623"/>
                <a:gd name="connsiteX20" fmla="*/ 145894 w 166839"/>
                <a:gd name="connsiteY20" fmla="*/ 83230 h 108623"/>
                <a:gd name="connsiteX21" fmla="*/ 144208 w 166839"/>
                <a:gd name="connsiteY21" fmla="*/ 83048 h 108623"/>
                <a:gd name="connsiteX22" fmla="*/ 142132 w 166839"/>
                <a:gd name="connsiteY22" fmla="*/ 83058 h 108623"/>
                <a:gd name="connsiteX23" fmla="*/ 139960 w 166839"/>
                <a:gd name="connsiteY23" fmla="*/ 84077 h 108623"/>
                <a:gd name="connsiteX24" fmla="*/ 138760 w 166839"/>
                <a:gd name="connsiteY24" fmla="*/ 84506 h 108623"/>
                <a:gd name="connsiteX25" fmla="*/ 137160 w 166839"/>
                <a:gd name="connsiteY25" fmla="*/ 83572 h 108623"/>
                <a:gd name="connsiteX26" fmla="*/ 134159 w 166839"/>
                <a:gd name="connsiteY26" fmla="*/ 80772 h 108623"/>
                <a:gd name="connsiteX27" fmla="*/ 132340 w 166839"/>
                <a:gd name="connsiteY27" fmla="*/ 78819 h 108623"/>
                <a:gd name="connsiteX28" fmla="*/ 130997 w 166839"/>
                <a:gd name="connsiteY28" fmla="*/ 78324 h 108623"/>
                <a:gd name="connsiteX29" fmla="*/ 129635 w 166839"/>
                <a:gd name="connsiteY29" fmla="*/ 78905 h 108623"/>
                <a:gd name="connsiteX30" fmla="*/ 124777 w 166839"/>
                <a:gd name="connsiteY30" fmla="*/ 79572 h 108623"/>
                <a:gd name="connsiteX31" fmla="*/ 123625 w 166839"/>
                <a:gd name="connsiteY31" fmla="*/ 80705 h 108623"/>
                <a:gd name="connsiteX32" fmla="*/ 121377 w 166839"/>
                <a:gd name="connsiteY32" fmla="*/ 81963 h 108623"/>
                <a:gd name="connsiteX33" fmla="*/ 119129 w 166839"/>
                <a:gd name="connsiteY33" fmla="*/ 82563 h 108623"/>
                <a:gd name="connsiteX34" fmla="*/ 115881 w 166839"/>
                <a:gd name="connsiteY34" fmla="*/ 82991 h 108623"/>
                <a:gd name="connsiteX35" fmla="*/ 114176 w 166839"/>
                <a:gd name="connsiteY35" fmla="*/ 82934 h 108623"/>
                <a:gd name="connsiteX36" fmla="*/ 113223 w 166839"/>
                <a:gd name="connsiteY36" fmla="*/ 83534 h 108623"/>
                <a:gd name="connsiteX37" fmla="*/ 112423 w 166839"/>
                <a:gd name="connsiteY37" fmla="*/ 85372 h 108623"/>
                <a:gd name="connsiteX38" fmla="*/ 111880 w 166839"/>
                <a:gd name="connsiteY38" fmla="*/ 87163 h 108623"/>
                <a:gd name="connsiteX39" fmla="*/ 111404 w 166839"/>
                <a:gd name="connsiteY39" fmla="*/ 87887 h 108623"/>
                <a:gd name="connsiteX40" fmla="*/ 107366 w 166839"/>
                <a:gd name="connsiteY40" fmla="*/ 88773 h 108623"/>
                <a:gd name="connsiteX41" fmla="*/ 106470 w 166839"/>
                <a:gd name="connsiteY41" fmla="*/ 89802 h 108623"/>
                <a:gd name="connsiteX42" fmla="*/ 106232 w 166839"/>
                <a:gd name="connsiteY42" fmla="*/ 90802 h 108623"/>
                <a:gd name="connsiteX43" fmla="*/ 106308 w 166839"/>
                <a:gd name="connsiteY43" fmla="*/ 91802 h 108623"/>
                <a:gd name="connsiteX44" fmla="*/ 103089 w 166839"/>
                <a:gd name="connsiteY44" fmla="*/ 90831 h 108623"/>
                <a:gd name="connsiteX45" fmla="*/ 100603 w 166839"/>
                <a:gd name="connsiteY45" fmla="*/ 91488 h 108623"/>
                <a:gd name="connsiteX46" fmla="*/ 100013 w 166839"/>
                <a:gd name="connsiteY46" fmla="*/ 92250 h 108623"/>
                <a:gd name="connsiteX47" fmla="*/ 99498 w 166839"/>
                <a:gd name="connsiteY47" fmla="*/ 93354 h 108623"/>
                <a:gd name="connsiteX48" fmla="*/ 99783 w 166839"/>
                <a:gd name="connsiteY48" fmla="*/ 94526 h 108623"/>
                <a:gd name="connsiteX49" fmla="*/ 100698 w 166839"/>
                <a:gd name="connsiteY49" fmla="*/ 95669 h 108623"/>
                <a:gd name="connsiteX50" fmla="*/ 101565 w 166839"/>
                <a:gd name="connsiteY50" fmla="*/ 98755 h 108623"/>
                <a:gd name="connsiteX51" fmla="*/ 101879 w 166839"/>
                <a:gd name="connsiteY51" fmla="*/ 101832 h 108623"/>
                <a:gd name="connsiteX52" fmla="*/ 101346 w 166839"/>
                <a:gd name="connsiteY52" fmla="*/ 103584 h 108623"/>
                <a:gd name="connsiteX53" fmla="*/ 99498 w 166839"/>
                <a:gd name="connsiteY53" fmla="*/ 104823 h 108623"/>
                <a:gd name="connsiteX54" fmla="*/ 95678 w 166839"/>
                <a:gd name="connsiteY54" fmla="*/ 106204 h 108623"/>
                <a:gd name="connsiteX55" fmla="*/ 91973 w 166839"/>
                <a:gd name="connsiteY55" fmla="*/ 105546 h 108623"/>
                <a:gd name="connsiteX56" fmla="*/ 90354 w 166839"/>
                <a:gd name="connsiteY56" fmla="*/ 106089 h 108623"/>
                <a:gd name="connsiteX57" fmla="*/ 87611 w 166839"/>
                <a:gd name="connsiteY57" fmla="*/ 106261 h 108623"/>
                <a:gd name="connsiteX58" fmla="*/ 85087 w 166839"/>
                <a:gd name="connsiteY58" fmla="*/ 106623 h 108623"/>
                <a:gd name="connsiteX59" fmla="*/ 81210 w 166839"/>
                <a:gd name="connsiteY59" fmla="*/ 107880 h 108623"/>
                <a:gd name="connsiteX60" fmla="*/ 77705 w 166839"/>
                <a:gd name="connsiteY60" fmla="*/ 108623 h 108623"/>
                <a:gd name="connsiteX61" fmla="*/ 74562 w 166839"/>
                <a:gd name="connsiteY61" fmla="*/ 106061 h 108623"/>
                <a:gd name="connsiteX62" fmla="*/ 70828 w 166839"/>
                <a:gd name="connsiteY62" fmla="*/ 104318 h 108623"/>
                <a:gd name="connsiteX63" fmla="*/ 66903 w 166839"/>
                <a:gd name="connsiteY63" fmla="*/ 103279 h 108623"/>
                <a:gd name="connsiteX64" fmla="*/ 65541 w 166839"/>
                <a:gd name="connsiteY64" fmla="*/ 104032 h 108623"/>
                <a:gd name="connsiteX65" fmla="*/ 64951 w 166839"/>
                <a:gd name="connsiteY65" fmla="*/ 104632 h 108623"/>
                <a:gd name="connsiteX66" fmla="*/ 61665 w 166839"/>
                <a:gd name="connsiteY66" fmla="*/ 102365 h 108623"/>
                <a:gd name="connsiteX67" fmla="*/ 60198 w 166839"/>
                <a:gd name="connsiteY67" fmla="*/ 101555 h 108623"/>
                <a:gd name="connsiteX68" fmla="*/ 59484 w 166839"/>
                <a:gd name="connsiteY68" fmla="*/ 100679 h 108623"/>
                <a:gd name="connsiteX69" fmla="*/ 58121 w 166839"/>
                <a:gd name="connsiteY69" fmla="*/ 97650 h 108623"/>
                <a:gd name="connsiteX70" fmla="*/ 57312 w 166839"/>
                <a:gd name="connsiteY70" fmla="*/ 97555 h 108623"/>
                <a:gd name="connsiteX71" fmla="*/ 54607 w 166839"/>
                <a:gd name="connsiteY71" fmla="*/ 98679 h 108623"/>
                <a:gd name="connsiteX72" fmla="*/ 51997 w 166839"/>
                <a:gd name="connsiteY72" fmla="*/ 98631 h 108623"/>
                <a:gd name="connsiteX73" fmla="*/ 50425 w 166839"/>
                <a:gd name="connsiteY73" fmla="*/ 98422 h 108623"/>
                <a:gd name="connsiteX74" fmla="*/ 45758 w 166839"/>
                <a:gd name="connsiteY74" fmla="*/ 98555 h 108623"/>
                <a:gd name="connsiteX75" fmla="*/ 45139 w 166839"/>
                <a:gd name="connsiteY75" fmla="*/ 100622 h 108623"/>
                <a:gd name="connsiteX76" fmla="*/ 44567 w 166839"/>
                <a:gd name="connsiteY76" fmla="*/ 100936 h 108623"/>
                <a:gd name="connsiteX77" fmla="*/ 43558 w 166839"/>
                <a:gd name="connsiteY77" fmla="*/ 101213 h 108623"/>
                <a:gd name="connsiteX78" fmla="*/ 41081 w 166839"/>
                <a:gd name="connsiteY78" fmla="*/ 101079 h 108623"/>
                <a:gd name="connsiteX79" fmla="*/ 37909 w 166839"/>
                <a:gd name="connsiteY79" fmla="*/ 102613 h 108623"/>
                <a:gd name="connsiteX80" fmla="*/ 34509 w 166839"/>
                <a:gd name="connsiteY80" fmla="*/ 103546 h 108623"/>
                <a:gd name="connsiteX81" fmla="*/ 31852 w 166839"/>
                <a:gd name="connsiteY81" fmla="*/ 103565 h 108623"/>
                <a:gd name="connsiteX82" fmla="*/ 29118 w 166839"/>
                <a:gd name="connsiteY82" fmla="*/ 103118 h 108623"/>
                <a:gd name="connsiteX83" fmla="*/ 27480 w 166839"/>
                <a:gd name="connsiteY83" fmla="*/ 103441 h 108623"/>
                <a:gd name="connsiteX84" fmla="*/ 23946 w 166839"/>
                <a:gd name="connsiteY84" fmla="*/ 103603 h 108623"/>
                <a:gd name="connsiteX85" fmla="*/ 21707 w 166839"/>
                <a:gd name="connsiteY85" fmla="*/ 105832 h 108623"/>
                <a:gd name="connsiteX86" fmla="*/ 18221 w 166839"/>
                <a:gd name="connsiteY86" fmla="*/ 105708 h 108623"/>
                <a:gd name="connsiteX87" fmla="*/ 15287 w 166839"/>
                <a:gd name="connsiteY87" fmla="*/ 105337 h 108623"/>
                <a:gd name="connsiteX88" fmla="*/ 15650 w 166839"/>
                <a:gd name="connsiteY88" fmla="*/ 104632 h 108623"/>
                <a:gd name="connsiteX89" fmla="*/ 16240 w 166839"/>
                <a:gd name="connsiteY89" fmla="*/ 95764 h 108623"/>
                <a:gd name="connsiteX90" fmla="*/ 17688 w 166839"/>
                <a:gd name="connsiteY90" fmla="*/ 91792 h 108623"/>
                <a:gd name="connsiteX91" fmla="*/ 17630 w 166839"/>
                <a:gd name="connsiteY91" fmla="*/ 90973 h 108623"/>
                <a:gd name="connsiteX92" fmla="*/ 17316 w 166839"/>
                <a:gd name="connsiteY92" fmla="*/ 90354 h 108623"/>
                <a:gd name="connsiteX93" fmla="*/ 16030 w 166839"/>
                <a:gd name="connsiteY93" fmla="*/ 89716 h 108623"/>
                <a:gd name="connsiteX94" fmla="*/ 15107 w 166839"/>
                <a:gd name="connsiteY94" fmla="*/ 87563 h 108623"/>
                <a:gd name="connsiteX95" fmla="*/ 13173 w 166839"/>
                <a:gd name="connsiteY95" fmla="*/ 81896 h 108623"/>
                <a:gd name="connsiteX96" fmla="*/ 12078 w 166839"/>
                <a:gd name="connsiteY96" fmla="*/ 80753 h 108623"/>
                <a:gd name="connsiteX97" fmla="*/ 9039 w 166839"/>
                <a:gd name="connsiteY97" fmla="*/ 79553 h 108623"/>
                <a:gd name="connsiteX98" fmla="*/ 6382 w 166839"/>
                <a:gd name="connsiteY98" fmla="*/ 77914 h 108623"/>
                <a:gd name="connsiteX99" fmla="*/ 4124 w 166839"/>
                <a:gd name="connsiteY99" fmla="*/ 75743 h 108623"/>
                <a:gd name="connsiteX100" fmla="*/ 0 w 166839"/>
                <a:gd name="connsiteY100" fmla="*/ 70390 h 108623"/>
                <a:gd name="connsiteX101" fmla="*/ 2086 w 166839"/>
                <a:gd name="connsiteY101" fmla="*/ 69856 h 108623"/>
                <a:gd name="connsiteX102" fmla="*/ 2714 w 166839"/>
                <a:gd name="connsiteY102" fmla="*/ 68761 h 108623"/>
                <a:gd name="connsiteX103" fmla="*/ 4800 w 166839"/>
                <a:gd name="connsiteY103" fmla="*/ 65808 h 108623"/>
                <a:gd name="connsiteX104" fmla="*/ 5039 w 166839"/>
                <a:gd name="connsiteY104" fmla="*/ 64360 h 108623"/>
                <a:gd name="connsiteX105" fmla="*/ 4819 w 166839"/>
                <a:gd name="connsiteY105" fmla="*/ 63541 h 108623"/>
                <a:gd name="connsiteX106" fmla="*/ 3420 w 166839"/>
                <a:gd name="connsiteY106" fmla="*/ 62122 h 108623"/>
                <a:gd name="connsiteX107" fmla="*/ 2467 w 166839"/>
                <a:gd name="connsiteY107" fmla="*/ 59007 h 108623"/>
                <a:gd name="connsiteX108" fmla="*/ 3181 w 166839"/>
                <a:gd name="connsiteY108" fmla="*/ 56102 h 108623"/>
                <a:gd name="connsiteX109" fmla="*/ 3248 w 166839"/>
                <a:gd name="connsiteY109" fmla="*/ 54607 h 108623"/>
                <a:gd name="connsiteX110" fmla="*/ 2543 w 166839"/>
                <a:gd name="connsiteY110" fmla="*/ 53121 h 108623"/>
                <a:gd name="connsiteX111" fmla="*/ 3277 w 166839"/>
                <a:gd name="connsiteY111" fmla="*/ 51273 h 108623"/>
                <a:gd name="connsiteX112" fmla="*/ 4781 w 166839"/>
                <a:gd name="connsiteY112" fmla="*/ 50264 h 108623"/>
                <a:gd name="connsiteX113" fmla="*/ 5724 w 166839"/>
                <a:gd name="connsiteY113" fmla="*/ 49968 h 108623"/>
                <a:gd name="connsiteX114" fmla="*/ 9677 w 166839"/>
                <a:gd name="connsiteY114" fmla="*/ 49768 h 108623"/>
                <a:gd name="connsiteX115" fmla="*/ 12182 w 166839"/>
                <a:gd name="connsiteY115" fmla="*/ 46063 h 108623"/>
                <a:gd name="connsiteX116" fmla="*/ 13706 w 166839"/>
                <a:gd name="connsiteY116" fmla="*/ 44882 h 108623"/>
                <a:gd name="connsiteX117" fmla="*/ 15268 w 166839"/>
                <a:gd name="connsiteY117" fmla="*/ 42777 h 108623"/>
                <a:gd name="connsiteX118" fmla="*/ 15992 w 166839"/>
                <a:gd name="connsiteY118" fmla="*/ 42005 h 108623"/>
                <a:gd name="connsiteX119" fmla="*/ 16678 w 166839"/>
                <a:gd name="connsiteY119" fmla="*/ 40367 h 108623"/>
                <a:gd name="connsiteX120" fmla="*/ 16916 w 166839"/>
                <a:gd name="connsiteY120" fmla="*/ 38691 h 108623"/>
                <a:gd name="connsiteX121" fmla="*/ 13782 w 166839"/>
                <a:gd name="connsiteY121" fmla="*/ 36338 h 108623"/>
                <a:gd name="connsiteX122" fmla="*/ 12716 w 166839"/>
                <a:gd name="connsiteY122" fmla="*/ 34566 h 108623"/>
                <a:gd name="connsiteX123" fmla="*/ 11316 w 166839"/>
                <a:gd name="connsiteY123" fmla="*/ 32604 h 108623"/>
                <a:gd name="connsiteX124" fmla="*/ 9430 w 166839"/>
                <a:gd name="connsiteY124" fmla="*/ 31252 h 108623"/>
                <a:gd name="connsiteX125" fmla="*/ 5629 w 166839"/>
                <a:gd name="connsiteY125" fmla="*/ 28927 h 108623"/>
                <a:gd name="connsiteX126" fmla="*/ 4143 w 166839"/>
                <a:gd name="connsiteY126" fmla="*/ 26565 h 108623"/>
                <a:gd name="connsiteX127" fmla="*/ 3477 w 166839"/>
                <a:gd name="connsiteY127" fmla="*/ 23498 h 108623"/>
                <a:gd name="connsiteX128" fmla="*/ 2467 w 166839"/>
                <a:gd name="connsiteY128" fmla="*/ 21174 h 108623"/>
                <a:gd name="connsiteX129" fmla="*/ 1352 w 166839"/>
                <a:gd name="connsiteY129" fmla="*/ 19660 h 108623"/>
                <a:gd name="connsiteX130" fmla="*/ 1143 w 166839"/>
                <a:gd name="connsiteY130" fmla="*/ 18421 h 108623"/>
                <a:gd name="connsiteX131" fmla="*/ 676 w 166839"/>
                <a:gd name="connsiteY131" fmla="*/ 16907 h 108623"/>
                <a:gd name="connsiteX132" fmla="*/ 571 w 166839"/>
                <a:gd name="connsiteY132" fmla="*/ 13926 h 108623"/>
                <a:gd name="connsiteX133" fmla="*/ 1476 w 166839"/>
                <a:gd name="connsiteY133" fmla="*/ 9953 h 108623"/>
                <a:gd name="connsiteX134" fmla="*/ 2057 w 166839"/>
                <a:gd name="connsiteY134" fmla="*/ 8544 h 108623"/>
                <a:gd name="connsiteX135" fmla="*/ 3343 w 166839"/>
                <a:gd name="connsiteY135" fmla="*/ 8153 h 108623"/>
                <a:gd name="connsiteX136" fmla="*/ 6772 w 166839"/>
                <a:gd name="connsiteY136" fmla="*/ 6029 h 108623"/>
                <a:gd name="connsiteX137" fmla="*/ 6934 w 166839"/>
                <a:gd name="connsiteY137" fmla="*/ 3315 h 108623"/>
                <a:gd name="connsiteX138" fmla="*/ 7553 w 166839"/>
                <a:gd name="connsiteY138" fmla="*/ 1619 h 108623"/>
                <a:gd name="connsiteX139" fmla="*/ 8639 w 166839"/>
                <a:gd name="connsiteY139" fmla="*/ 648 h 108623"/>
                <a:gd name="connsiteX140" fmla="*/ 9649 w 166839"/>
                <a:gd name="connsiteY140" fmla="*/ 0 h 108623"/>
                <a:gd name="connsiteX141" fmla="*/ 11525 w 166839"/>
                <a:gd name="connsiteY141" fmla="*/ 1581 h 108623"/>
                <a:gd name="connsiteX142" fmla="*/ 16078 w 166839"/>
                <a:gd name="connsiteY142" fmla="*/ 4105 h 108623"/>
                <a:gd name="connsiteX143" fmla="*/ 18297 w 166839"/>
                <a:gd name="connsiteY143" fmla="*/ 5934 h 108623"/>
                <a:gd name="connsiteX144" fmla="*/ 18183 w 166839"/>
                <a:gd name="connsiteY144" fmla="*/ 7068 h 108623"/>
                <a:gd name="connsiteX145" fmla="*/ 17145 w 166839"/>
                <a:gd name="connsiteY145" fmla="*/ 8191 h 108623"/>
                <a:gd name="connsiteX146" fmla="*/ 15164 w 166839"/>
                <a:gd name="connsiteY146" fmla="*/ 9296 h 108623"/>
                <a:gd name="connsiteX147" fmla="*/ 14011 w 166839"/>
                <a:gd name="connsiteY147" fmla="*/ 10754 h 108623"/>
                <a:gd name="connsiteX148" fmla="*/ 13697 w 166839"/>
                <a:gd name="connsiteY148" fmla="*/ 12554 h 108623"/>
                <a:gd name="connsiteX149" fmla="*/ 13992 w 166839"/>
                <a:gd name="connsiteY149" fmla="*/ 13830 h 108623"/>
                <a:gd name="connsiteX150" fmla="*/ 15364 w 166839"/>
                <a:gd name="connsiteY150" fmla="*/ 14945 h 108623"/>
                <a:gd name="connsiteX151" fmla="*/ 23536 w 166839"/>
                <a:gd name="connsiteY151" fmla="*/ 13487 h 108623"/>
                <a:gd name="connsiteX152" fmla="*/ 31823 w 166839"/>
                <a:gd name="connsiteY152" fmla="*/ 14240 h 108623"/>
                <a:gd name="connsiteX153" fmla="*/ 42948 w 166839"/>
                <a:gd name="connsiteY153" fmla="*/ 16707 h 108623"/>
                <a:gd name="connsiteX154" fmla="*/ 50320 w 166839"/>
                <a:gd name="connsiteY154" fmla="*/ 17564 h 108623"/>
                <a:gd name="connsiteX155" fmla="*/ 55778 w 166839"/>
                <a:gd name="connsiteY155" fmla="*/ 16421 h 108623"/>
                <a:gd name="connsiteX156" fmla="*/ 65865 w 166839"/>
                <a:gd name="connsiteY156" fmla="*/ 18488 h 108623"/>
                <a:gd name="connsiteX157" fmla="*/ 75266 w 166839"/>
                <a:gd name="connsiteY157" fmla="*/ 20412 h 108623"/>
                <a:gd name="connsiteX158" fmla="*/ 84287 w 166839"/>
                <a:gd name="connsiteY158" fmla="*/ 20974 h 108623"/>
                <a:gd name="connsiteX159" fmla="*/ 89335 w 166839"/>
                <a:gd name="connsiteY159" fmla="*/ 19469 h 108623"/>
                <a:gd name="connsiteX160" fmla="*/ 92887 w 166839"/>
                <a:gd name="connsiteY160" fmla="*/ 17440 h 108623"/>
                <a:gd name="connsiteX161" fmla="*/ 95945 w 166839"/>
                <a:gd name="connsiteY161" fmla="*/ 13611 h 108623"/>
                <a:gd name="connsiteX162" fmla="*/ 103498 w 166839"/>
                <a:gd name="connsiteY162" fmla="*/ 8554 h 108623"/>
                <a:gd name="connsiteX163" fmla="*/ 110804 w 166839"/>
                <a:gd name="connsiteY163" fmla="*/ 5705 h 108623"/>
                <a:gd name="connsiteX164" fmla="*/ 120386 w 166839"/>
                <a:gd name="connsiteY164" fmla="*/ 3400 h 108623"/>
                <a:gd name="connsiteX165" fmla="*/ 126787 w 166839"/>
                <a:gd name="connsiteY165" fmla="*/ 2619 h 108623"/>
                <a:gd name="connsiteX166" fmla="*/ 127682 w 166839"/>
                <a:gd name="connsiteY166" fmla="*/ 3400 h 108623"/>
                <a:gd name="connsiteX167" fmla="*/ 135827 w 166839"/>
                <a:gd name="connsiteY167" fmla="*/ 8058 h 108623"/>
                <a:gd name="connsiteX168" fmla="*/ 139455 w 166839"/>
                <a:gd name="connsiteY168" fmla="*/ 8077 h 108623"/>
                <a:gd name="connsiteX169" fmla="*/ 142389 w 166839"/>
                <a:gd name="connsiteY169" fmla="*/ 8906 h 108623"/>
                <a:gd name="connsiteX170" fmla="*/ 143465 w 166839"/>
                <a:gd name="connsiteY170" fmla="*/ 10135 h 108623"/>
                <a:gd name="connsiteX171" fmla="*/ 144199 w 166839"/>
                <a:gd name="connsiteY171" fmla="*/ 10439 h 108623"/>
                <a:gd name="connsiteX172" fmla="*/ 148104 w 166839"/>
                <a:gd name="connsiteY172" fmla="*/ 9287 h 108623"/>
                <a:gd name="connsiteX173" fmla="*/ 149828 w 166839"/>
                <a:gd name="connsiteY173" fmla="*/ 11830 h 108623"/>
                <a:gd name="connsiteX174" fmla="*/ 152524 w 166839"/>
                <a:gd name="connsiteY174" fmla="*/ 15392 h 108623"/>
                <a:gd name="connsiteX175" fmla="*/ 157124 w 166839"/>
                <a:gd name="connsiteY175" fmla="*/ 17221 h 108623"/>
                <a:gd name="connsiteX176" fmla="*/ 161220 w 166839"/>
                <a:gd name="connsiteY176" fmla="*/ 18250 h 108623"/>
                <a:gd name="connsiteX177" fmla="*/ 162515 w 166839"/>
                <a:gd name="connsiteY177" fmla="*/ 18412 h 108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</a:cxnLst>
              <a:rect l="l" t="t" r="r" b="b"/>
              <a:pathLst>
                <a:path w="166839" h="108623">
                  <a:moveTo>
                    <a:pt x="166840" y="18345"/>
                  </a:moveTo>
                  <a:lnTo>
                    <a:pt x="166211" y="27213"/>
                  </a:lnTo>
                  <a:lnTo>
                    <a:pt x="163630" y="31318"/>
                  </a:lnTo>
                  <a:lnTo>
                    <a:pt x="159734" y="29946"/>
                  </a:lnTo>
                  <a:lnTo>
                    <a:pt x="154762" y="31090"/>
                  </a:lnTo>
                  <a:lnTo>
                    <a:pt x="152133" y="35757"/>
                  </a:lnTo>
                  <a:lnTo>
                    <a:pt x="150638" y="37138"/>
                  </a:lnTo>
                  <a:lnTo>
                    <a:pt x="149294" y="38757"/>
                  </a:lnTo>
                  <a:lnTo>
                    <a:pt x="148428" y="44796"/>
                  </a:lnTo>
                  <a:lnTo>
                    <a:pt x="148218" y="54645"/>
                  </a:lnTo>
                  <a:lnTo>
                    <a:pt x="146332" y="55836"/>
                  </a:lnTo>
                  <a:lnTo>
                    <a:pt x="144609" y="56207"/>
                  </a:lnTo>
                  <a:lnTo>
                    <a:pt x="137417" y="64837"/>
                  </a:lnTo>
                  <a:lnTo>
                    <a:pt x="141561" y="67256"/>
                  </a:lnTo>
                  <a:lnTo>
                    <a:pt x="143389" y="69094"/>
                  </a:lnTo>
                  <a:lnTo>
                    <a:pt x="146418" y="74209"/>
                  </a:lnTo>
                  <a:lnTo>
                    <a:pt x="150723" y="79972"/>
                  </a:lnTo>
                  <a:lnTo>
                    <a:pt x="151581" y="82782"/>
                  </a:lnTo>
                  <a:lnTo>
                    <a:pt x="147961" y="82153"/>
                  </a:lnTo>
                  <a:lnTo>
                    <a:pt x="146704" y="82344"/>
                  </a:lnTo>
                  <a:lnTo>
                    <a:pt x="145894" y="83230"/>
                  </a:lnTo>
                  <a:lnTo>
                    <a:pt x="144208" y="83048"/>
                  </a:lnTo>
                  <a:lnTo>
                    <a:pt x="142132" y="83058"/>
                  </a:lnTo>
                  <a:lnTo>
                    <a:pt x="139960" y="84077"/>
                  </a:lnTo>
                  <a:lnTo>
                    <a:pt x="138760" y="84506"/>
                  </a:lnTo>
                  <a:lnTo>
                    <a:pt x="137160" y="83572"/>
                  </a:lnTo>
                  <a:lnTo>
                    <a:pt x="134159" y="80772"/>
                  </a:lnTo>
                  <a:lnTo>
                    <a:pt x="132340" y="78819"/>
                  </a:lnTo>
                  <a:lnTo>
                    <a:pt x="130997" y="78324"/>
                  </a:lnTo>
                  <a:lnTo>
                    <a:pt x="129635" y="78905"/>
                  </a:lnTo>
                  <a:lnTo>
                    <a:pt x="124777" y="79572"/>
                  </a:lnTo>
                  <a:lnTo>
                    <a:pt x="123625" y="80705"/>
                  </a:lnTo>
                  <a:lnTo>
                    <a:pt x="121377" y="81963"/>
                  </a:lnTo>
                  <a:lnTo>
                    <a:pt x="119129" y="82563"/>
                  </a:lnTo>
                  <a:lnTo>
                    <a:pt x="115881" y="82991"/>
                  </a:lnTo>
                  <a:lnTo>
                    <a:pt x="114176" y="82934"/>
                  </a:lnTo>
                  <a:lnTo>
                    <a:pt x="113223" y="83534"/>
                  </a:lnTo>
                  <a:lnTo>
                    <a:pt x="112423" y="85372"/>
                  </a:lnTo>
                  <a:lnTo>
                    <a:pt x="111880" y="87163"/>
                  </a:lnTo>
                  <a:lnTo>
                    <a:pt x="111404" y="87887"/>
                  </a:lnTo>
                  <a:lnTo>
                    <a:pt x="107366" y="88773"/>
                  </a:lnTo>
                  <a:lnTo>
                    <a:pt x="106470" y="89802"/>
                  </a:lnTo>
                  <a:lnTo>
                    <a:pt x="106232" y="90802"/>
                  </a:lnTo>
                  <a:lnTo>
                    <a:pt x="106308" y="91802"/>
                  </a:lnTo>
                  <a:lnTo>
                    <a:pt x="103089" y="90831"/>
                  </a:lnTo>
                  <a:lnTo>
                    <a:pt x="100603" y="91488"/>
                  </a:lnTo>
                  <a:lnTo>
                    <a:pt x="100013" y="92250"/>
                  </a:lnTo>
                  <a:lnTo>
                    <a:pt x="99498" y="93354"/>
                  </a:lnTo>
                  <a:lnTo>
                    <a:pt x="99783" y="94526"/>
                  </a:lnTo>
                  <a:lnTo>
                    <a:pt x="100698" y="95669"/>
                  </a:lnTo>
                  <a:lnTo>
                    <a:pt x="101565" y="98755"/>
                  </a:lnTo>
                  <a:lnTo>
                    <a:pt x="101879" y="101832"/>
                  </a:lnTo>
                  <a:lnTo>
                    <a:pt x="101346" y="103584"/>
                  </a:lnTo>
                  <a:lnTo>
                    <a:pt x="99498" y="104823"/>
                  </a:lnTo>
                  <a:lnTo>
                    <a:pt x="95678" y="106204"/>
                  </a:lnTo>
                  <a:lnTo>
                    <a:pt x="91973" y="105546"/>
                  </a:lnTo>
                  <a:lnTo>
                    <a:pt x="90354" y="106089"/>
                  </a:lnTo>
                  <a:lnTo>
                    <a:pt x="87611" y="106261"/>
                  </a:lnTo>
                  <a:lnTo>
                    <a:pt x="85087" y="106623"/>
                  </a:lnTo>
                  <a:lnTo>
                    <a:pt x="81210" y="107880"/>
                  </a:lnTo>
                  <a:lnTo>
                    <a:pt x="77705" y="108623"/>
                  </a:lnTo>
                  <a:lnTo>
                    <a:pt x="74562" y="106061"/>
                  </a:lnTo>
                  <a:lnTo>
                    <a:pt x="70828" y="104318"/>
                  </a:lnTo>
                  <a:lnTo>
                    <a:pt x="66903" y="103279"/>
                  </a:lnTo>
                  <a:lnTo>
                    <a:pt x="65541" y="104032"/>
                  </a:lnTo>
                  <a:lnTo>
                    <a:pt x="64951" y="104632"/>
                  </a:lnTo>
                  <a:lnTo>
                    <a:pt x="61665" y="102365"/>
                  </a:lnTo>
                  <a:lnTo>
                    <a:pt x="60198" y="101555"/>
                  </a:lnTo>
                  <a:lnTo>
                    <a:pt x="59484" y="100679"/>
                  </a:lnTo>
                  <a:lnTo>
                    <a:pt x="58121" y="97650"/>
                  </a:lnTo>
                  <a:lnTo>
                    <a:pt x="57312" y="97555"/>
                  </a:lnTo>
                  <a:lnTo>
                    <a:pt x="54607" y="98679"/>
                  </a:lnTo>
                  <a:lnTo>
                    <a:pt x="51997" y="98631"/>
                  </a:lnTo>
                  <a:lnTo>
                    <a:pt x="50425" y="98422"/>
                  </a:lnTo>
                  <a:lnTo>
                    <a:pt x="45758" y="98555"/>
                  </a:lnTo>
                  <a:lnTo>
                    <a:pt x="45139" y="100622"/>
                  </a:lnTo>
                  <a:lnTo>
                    <a:pt x="44567" y="100936"/>
                  </a:lnTo>
                  <a:lnTo>
                    <a:pt x="43558" y="101213"/>
                  </a:lnTo>
                  <a:lnTo>
                    <a:pt x="41081" y="101079"/>
                  </a:lnTo>
                  <a:lnTo>
                    <a:pt x="37909" y="102613"/>
                  </a:lnTo>
                  <a:lnTo>
                    <a:pt x="34509" y="103546"/>
                  </a:lnTo>
                  <a:lnTo>
                    <a:pt x="31852" y="103565"/>
                  </a:lnTo>
                  <a:lnTo>
                    <a:pt x="29118" y="103118"/>
                  </a:lnTo>
                  <a:lnTo>
                    <a:pt x="27480" y="103441"/>
                  </a:lnTo>
                  <a:lnTo>
                    <a:pt x="23946" y="103603"/>
                  </a:lnTo>
                  <a:lnTo>
                    <a:pt x="21707" y="105832"/>
                  </a:lnTo>
                  <a:lnTo>
                    <a:pt x="18221" y="105708"/>
                  </a:lnTo>
                  <a:lnTo>
                    <a:pt x="15287" y="105337"/>
                  </a:lnTo>
                  <a:lnTo>
                    <a:pt x="15650" y="104632"/>
                  </a:lnTo>
                  <a:lnTo>
                    <a:pt x="16240" y="95764"/>
                  </a:lnTo>
                  <a:lnTo>
                    <a:pt x="17688" y="91792"/>
                  </a:lnTo>
                  <a:lnTo>
                    <a:pt x="17630" y="90973"/>
                  </a:lnTo>
                  <a:lnTo>
                    <a:pt x="17316" y="90354"/>
                  </a:lnTo>
                  <a:lnTo>
                    <a:pt x="16030" y="89716"/>
                  </a:lnTo>
                  <a:lnTo>
                    <a:pt x="15107" y="87563"/>
                  </a:lnTo>
                  <a:lnTo>
                    <a:pt x="13173" y="81896"/>
                  </a:lnTo>
                  <a:lnTo>
                    <a:pt x="12078" y="80753"/>
                  </a:lnTo>
                  <a:lnTo>
                    <a:pt x="9039" y="79553"/>
                  </a:lnTo>
                  <a:lnTo>
                    <a:pt x="6382" y="77914"/>
                  </a:lnTo>
                  <a:lnTo>
                    <a:pt x="4124" y="75743"/>
                  </a:lnTo>
                  <a:lnTo>
                    <a:pt x="0" y="70390"/>
                  </a:lnTo>
                  <a:lnTo>
                    <a:pt x="2086" y="69856"/>
                  </a:lnTo>
                  <a:lnTo>
                    <a:pt x="2714" y="68761"/>
                  </a:lnTo>
                  <a:lnTo>
                    <a:pt x="4800" y="65808"/>
                  </a:lnTo>
                  <a:lnTo>
                    <a:pt x="5039" y="64360"/>
                  </a:lnTo>
                  <a:lnTo>
                    <a:pt x="4819" y="63541"/>
                  </a:lnTo>
                  <a:lnTo>
                    <a:pt x="3420" y="62122"/>
                  </a:lnTo>
                  <a:lnTo>
                    <a:pt x="2467" y="59007"/>
                  </a:lnTo>
                  <a:lnTo>
                    <a:pt x="3181" y="56102"/>
                  </a:lnTo>
                  <a:lnTo>
                    <a:pt x="3248" y="54607"/>
                  </a:lnTo>
                  <a:lnTo>
                    <a:pt x="2543" y="53121"/>
                  </a:lnTo>
                  <a:lnTo>
                    <a:pt x="3277" y="51273"/>
                  </a:lnTo>
                  <a:lnTo>
                    <a:pt x="4781" y="50264"/>
                  </a:lnTo>
                  <a:lnTo>
                    <a:pt x="5724" y="49968"/>
                  </a:lnTo>
                  <a:lnTo>
                    <a:pt x="9677" y="49768"/>
                  </a:lnTo>
                  <a:lnTo>
                    <a:pt x="12182" y="46063"/>
                  </a:lnTo>
                  <a:lnTo>
                    <a:pt x="13706" y="44882"/>
                  </a:lnTo>
                  <a:lnTo>
                    <a:pt x="15268" y="42777"/>
                  </a:lnTo>
                  <a:lnTo>
                    <a:pt x="15992" y="42005"/>
                  </a:lnTo>
                  <a:lnTo>
                    <a:pt x="16678" y="40367"/>
                  </a:lnTo>
                  <a:lnTo>
                    <a:pt x="16916" y="38691"/>
                  </a:lnTo>
                  <a:lnTo>
                    <a:pt x="13782" y="36338"/>
                  </a:lnTo>
                  <a:lnTo>
                    <a:pt x="12716" y="34566"/>
                  </a:lnTo>
                  <a:lnTo>
                    <a:pt x="11316" y="32604"/>
                  </a:lnTo>
                  <a:lnTo>
                    <a:pt x="9430" y="31252"/>
                  </a:lnTo>
                  <a:lnTo>
                    <a:pt x="5629" y="28927"/>
                  </a:lnTo>
                  <a:lnTo>
                    <a:pt x="4143" y="26565"/>
                  </a:lnTo>
                  <a:lnTo>
                    <a:pt x="3477" y="23498"/>
                  </a:lnTo>
                  <a:lnTo>
                    <a:pt x="2467" y="21174"/>
                  </a:lnTo>
                  <a:lnTo>
                    <a:pt x="1352" y="19660"/>
                  </a:lnTo>
                  <a:lnTo>
                    <a:pt x="1143" y="18421"/>
                  </a:lnTo>
                  <a:lnTo>
                    <a:pt x="676" y="16907"/>
                  </a:lnTo>
                  <a:lnTo>
                    <a:pt x="571" y="13926"/>
                  </a:lnTo>
                  <a:lnTo>
                    <a:pt x="1476" y="9953"/>
                  </a:lnTo>
                  <a:lnTo>
                    <a:pt x="2057" y="8544"/>
                  </a:lnTo>
                  <a:lnTo>
                    <a:pt x="3343" y="8153"/>
                  </a:lnTo>
                  <a:lnTo>
                    <a:pt x="6772" y="6029"/>
                  </a:lnTo>
                  <a:lnTo>
                    <a:pt x="6934" y="3315"/>
                  </a:lnTo>
                  <a:lnTo>
                    <a:pt x="7553" y="1619"/>
                  </a:lnTo>
                  <a:lnTo>
                    <a:pt x="8639" y="648"/>
                  </a:lnTo>
                  <a:lnTo>
                    <a:pt x="9649" y="0"/>
                  </a:lnTo>
                  <a:lnTo>
                    <a:pt x="11525" y="1581"/>
                  </a:lnTo>
                  <a:lnTo>
                    <a:pt x="16078" y="4105"/>
                  </a:lnTo>
                  <a:lnTo>
                    <a:pt x="18297" y="5934"/>
                  </a:lnTo>
                  <a:lnTo>
                    <a:pt x="18183" y="7068"/>
                  </a:lnTo>
                  <a:lnTo>
                    <a:pt x="17145" y="8191"/>
                  </a:lnTo>
                  <a:lnTo>
                    <a:pt x="15164" y="9296"/>
                  </a:lnTo>
                  <a:lnTo>
                    <a:pt x="14011" y="10754"/>
                  </a:lnTo>
                  <a:lnTo>
                    <a:pt x="13697" y="12554"/>
                  </a:lnTo>
                  <a:lnTo>
                    <a:pt x="13992" y="13830"/>
                  </a:lnTo>
                  <a:lnTo>
                    <a:pt x="15364" y="14945"/>
                  </a:lnTo>
                  <a:lnTo>
                    <a:pt x="23536" y="13487"/>
                  </a:lnTo>
                  <a:lnTo>
                    <a:pt x="31823" y="14240"/>
                  </a:lnTo>
                  <a:lnTo>
                    <a:pt x="42948" y="16707"/>
                  </a:lnTo>
                  <a:lnTo>
                    <a:pt x="50320" y="17564"/>
                  </a:lnTo>
                  <a:lnTo>
                    <a:pt x="55778" y="16421"/>
                  </a:lnTo>
                  <a:lnTo>
                    <a:pt x="65865" y="18488"/>
                  </a:lnTo>
                  <a:lnTo>
                    <a:pt x="75266" y="20412"/>
                  </a:lnTo>
                  <a:lnTo>
                    <a:pt x="84287" y="20974"/>
                  </a:lnTo>
                  <a:lnTo>
                    <a:pt x="89335" y="19469"/>
                  </a:lnTo>
                  <a:lnTo>
                    <a:pt x="92887" y="17440"/>
                  </a:lnTo>
                  <a:lnTo>
                    <a:pt x="95945" y="13611"/>
                  </a:lnTo>
                  <a:lnTo>
                    <a:pt x="103498" y="8554"/>
                  </a:lnTo>
                  <a:lnTo>
                    <a:pt x="110804" y="5705"/>
                  </a:lnTo>
                  <a:lnTo>
                    <a:pt x="120386" y="3400"/>
                  </a:lnTo>
                  <a:lnTo>
                    <a:pt x="126787" y="2619"/>
                  </a:lnTo>
                  <a:lnTo>
                    <a:pt x="127682" y="3400"/>
                  </a:lnTo>
                  <a:lnTo>
                    <a:pt x="135827" y="8058"/>
                  </a:lnTo>
                  <a:lnTo>
                    <a:pt x="139455" y="8077"/>
                  </a:lnTo>
                  <a:lnTo>
                    <a:pt x="142389" y="8906"/>
                  </a:lnTo>
                  <a:lnTo>
                    <a:pt x="143465" y="10135"/>
                  </a:lnTo>
                  <a:lnTo>
                    <a:pt x="144199" y="10439"/>
                  </a:lnTo>
                  <a:lnTo>
                    <a:pt x="148104" y="9287"/>
                  </a:lnTo>
                  <a:lnTo>
                    <a:pt x="149828" y="11830"/>
                  </a:lnTo>
                  <a:lnTo>
                    <a:pt x="152524" y="15392"/>
                  </a:lnTo>
                  <a:lnTo>
                    <a:pt x="157124" y="17221"/>
                  </a:lnTo>
                  <a:lnTo>
                    <a:pt x="161220" y="18250"/>
                  </a:lnTo>
                  <a:lnTo>
                    <a:pt x="162515" y="18412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5" name="Forme libre : forme 11">
              <a:extLst>
                <a:ext uri="{FF2B5EF4-FFF2-40B4-BE49-F238E27FC236}">
                  <a16:creationId xmlns:a16="http://schemas.microsoft.com/office/drawing/2014/main" id="{2C1FE44F-987E-85E7-92AB-0DEDB934BA8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1131200" y="3217432"/>
              <a:ext cx="882689" cy="762618"/>
            </a:xfrm>
            <a:custGeom>
              <a:avLst/>
              <a:gdLst>
                <a:gd name="connsiteX0" fmla="*/ 132931 w 254889"/>
                <a:gd name="connsiteY0" fmla="*/ 143 h 220217"/>
                <a:gd name="connsiteX1" fmla="*/ 136579 w 254889"/>
                <a:gd name="connsiteY1" fmla="*/ 4305 h 220217"/>
                <a:gd name="connsiteX2" fmla="*/ 137436 w 254889"/>
                <a:gd name="connsiteY2" fmla="*/ 4467 h 220217"/>
                <a:gd name="connsiteX3" fmla="*/ 139465 w 254889"/>
                <a:gd name="connsiteY3" fmla="*/ 2829 h 220217"/>
                <a:gd name="connsiteX4" fmla="*/ 139865 w 254889"/>
                <a:gd name="connsiteY4" fmla="*/ 2724 h 220217"/>
                <a:gd name="connsiteX5" fmla="*/ 144056 w 254889"/>
                <a:gd name="connsiteY5" fmla="*/ 2581 h 220217"/>
                <a:gd name="connsiteX6" fmla="*/ 145999 w 254889"/>
                <a:gd name="connsiteY6" fmla="*/ 4029 h 220217"/>
                <a:gd name="connsiteX7" fmla="*/ 147447 w 254889"/>
                <a:gd name="connsiteY7" fmla="*/ 6848 h 220217"/>
                <a:gd name="connsiteX8" fmla="*/ 148780 w 254889"/>
                <a:gd name="connsiteY8" fmla="*/ 9096 h 220217"/>
                <a:gd name="connsiteX9" fmla="*/ 150229 w 254889"/>
                <a:gd name="connsiteY9" fmla="*/ 9706 h 220217"/>
                <a:gd name="connsiteX10" fmla="*/ 154305 w 254889"/>
                <a:gd name="connsiteY10" fmla="*/ 6877 h 220217"/>
                <a:gd name="connsiteX11" fmla="*/ 156563 w 254889"/>
                <a:gd name="connsiteY11" fmla="*/ 5934 h 220217"/>
                <a:gd name="connsiteX12" fmla="*/ 158049 w 254889"/>
                <a:gd name="connsiteY12" fmla="*/ 5963 h 220217"/>
                <a:gd name="connsiteX13" fmla="*/ 163278 w 254889"/>
                <a:gd name="connsiteY13" fmla="*/ 8506 h 220217"/>
                <a:gd name="connsiteX14" fmla="*/ 165735 w 254889"/>
                <a:gd name="connsiteY14" fmla="*/ 9896 h 220217"/>
                <a:gd name="connsiteX15" fmla="*/ 166297 w 254889"/>
                <a:gd name="connsiteY15" fmla="*/ 11154 h 220217"/>
                <a:gd name="connsiteX16" fmla="*/ 166354 w 254889"/>
                <a:gd name="connsiteY16" fmla="*/ 12640 h 220217"/>
                <a:gd name="connsiteX17" fmla="*/ 165688 w 254889"/>
                <a:gd name="connsiteY17" fmla="*/ 14840 h 220217"/>
                <a:gd name="connsiteX18" fmla="*/ 165164 w 254889"/>
                <a:gd name="connsiteY18" fmla="*/ 17231 h 220217"/>
                <a:gd name="connsiteX19" fmla="*/ 166754 w 254889"/>
                <a:gd name="connsiteY19" fmla="*/ 20050 h 220217"/>
                <a:gd name="connsiteX20" fmla="*/ 168602 w 254889"/>
                <a:gd name="connsiteY20" fmla="*/ 21965 h 220217"/>
                <a:gd name="connsiteX21" fmla="*/ 172555 w 254889"/>
                <a:gd name="connsiteY21" fmla="*/ 18802 h 220217"/>
                <a:gd name="connsiteX22" fmla="*/ 174012 w 254889"/>
                <a:gd name="connsiteY22" fmla="*/ 17926 h 220217"/>
                <a:gd name="connsiteX23" fmla="*/ 175603 w 254889"/>
                <a:gd name="connsiteY23" fmla="*/ 17897 h 220217"/>
                <a:gd name="connsiteX24" fmla="*/ 177737 w 254889"/>
                <a:gd name="connsiteY24" fmla="*/ 16726 h 220217"/>
                <a:gd name="connsiteX25" fmla="*/ 179280 w 254889"/>
                <a:gd name="connsiteY25" fmla="*/ 14954 h 220217"/>
                <a:gd name="connsiteX26" fmla="*/ 180756 w 254889"/>
                <a:gd name="connsiteY26" fmla="*/ 14345 h 220217"/>
                <a:gd name="connsiteX27" fmla="*/ 183585 w 254889"/>
                <a:gd name="connsiteY27" fmla="*/ 14764 h 220217"/>
                <a:gd name="connsiteX28" fmla="*/ 188690 w 254889"/>
                <a:gd name="connsiteY28" fmla="*/ 14345 h 220217"/>
                <a:gd name="connsiteX29" fmla="*/ 194643 w 254889"/>
                <a:gd name="connsiteY29" fmla="*/ 17116 h 220217"/>
                <a:gd name="connsiteX30" fmla="*/ 195158 w 254889"/>
                <a:gd name="connsiteY30" fmla="*/ 17974 h 220217"/>
                <a:gd name="connsiteX31" fmla="*/ 198130 w 254889"/>
                <a:gd name="connsiteY31" fmla="*/ 21212 h 220217"/>
                <a:gd name="connsiteX32" fmla="*/ 199168 w 254889"/>
                <a:gd name="connsiteY32" fmla="*/ 22822 h 220217"/>
                <a:gd name="connsiteX33" fmla="*/ 200149 w 254889"/>
                <a:gd name="connsiteY33" fmla="*/ 23336 h 220217"/>
                <a:gd name="connsiteX34" fmla="*/ 201730 w 254889"/>
                <a:gd name="connsiteY34" fmla="*/ 24917 h 220217"/>
                <a:gd name="connsiteX35" fmla="*/ 203854 w 254889"/>
                <a:gd name="connsiteY35" fmla="*/ 25908 h 220217"/>
                <a:gd name="connsiteX36" fmla="*/ 205321 w 254889"/>
                <a:gd name="connsiteY36" fmla="*/ 25603 h 220217"/>
                <a:gd name="connsiteX37" fmla="*/ 206026 w 254889"/>
                <a:gd name="connsiteY37" fmla="*/ 26127 h 220217"/>
                <a:gd name="connsiteX38" fmla="*/ 206683 w 254889"/>
                <a:gd name="connsiteY38" fmla="*/ 27365 h 220217"/>
                <a:gd name="connsiteX39" fmla="*/ 206730 w 254889"/>
                <a:gd name="connsiteY39" fmla="*/ 29480 h 220217"/>
                <a:gd name="connsiteX40" fmla="*/ 206521 w 254889"/>
                <a:gd name="connsiteY40" fmla="*/ 35500 h 220217"/>
                <a:gd name="connsiteX41" fmla="*/ 205483 w 254889"/>
                <a:gd name="connsiteY41" fmla="*/ 37233 h 220217"/>
                <a:gd name="connsiteX42" fmla="*/ 204388 w 254889"/>
                <a:gd name="connsiteY42" fmla="*/ 38643 h 220217"/>
                <a:gd name="connsiteX43" fmla="*/ 204111 w 254889"/>
                <a:gd name="connsiteY43" fmla="*/ 39738 h 220217"/>
                <a:gd name="connsiteX44" fmla="*/ 204216 w 254889"/>
                <a:gd name="connsiteY44" fmla="*/ 41062 h 220217"/>
                <a:gd name="connsiteX45" fmla="*/ 205902 w 254889"/>
                <a:gd name="connsiteY45" fmla="*/ 43653 h 220217"/>
                <a:gd name="connsiteX46" fmla="*/ 208074 w 254889"/>
                <a:gd name="connsiteY46" fmla="*/ 47663 h 220217"/>
                <a:gd name="connsiteX47" fmla="*/ 208579 w 254889"/>
                <a:gd name="connsiteY47" fmla="*/ 49978 h 220217"/>
                <a:gd name="connsiteX48" fmla="*/ 208579 w 254889"/>
                <a:gd name="connsiteY48" fmla="*/ 51721 h 220217"/>
                <a:gd name="connsiteX49" fmla="*/ 205617 w 254889"/>
                <a:gd name="connsiteY49" fmla="*/ 56826 h 220217"/>
                <a:gd name="connsiteX50" fmla="*/ 204635 w 254889"/>
                <a:gd name="connsiteY50" fmla="*/ 58017 h 220217"/>
                <a:gd name="connsiteX51" fmla="*/ 203949 w 254889"/>
                <a:gd name="connsiteY51" fmla="*/ 60522 h 220217"/>
                <a:gd name="connsiteX52" fmla="*/ 203588 w 254889"/>
                <a:gd name="connsiteY52" fmla="*/ 63065 h 220217"/>
                <a:gd name="connsiteX53" fmla="*/ 203797 w 254889"/>
                <a:gd name="connsiteY53" fmla="*/ 64122 h 220217"/>
                <a:gd name="connsiteX54" fmla="*/ 208750 w 254889"/>
                <a:gd name="connsiteY54" fmla="*/ 68161 h 220217"/>
                <a:gd name="connsiteX55" fmla="*/ 212417 w 254889"/>
                <a:gd name="connsiteY55" fmla="*/ 70342 h 220217"/>
                <a:gd name="connsiteX56" fmla="*/ 213236 w 254889"/>
                <a:gd name="connsiteY56" fmla="*/ 71409 h 220217"/>
                <a:gd name="connsiteX57" fmla="*/ 213313 w 254889"/>
                <a:gd name="connsiteY57" fmla="*/ 72076 h 220217"/>
                <a:gd name="connsiteX58" fmla="*/ 211370 w 254889"/>
                <a:gd name="connsiteY58" fmla="*/ 76390 h 220217"/>
                <a:gd name="connsiteX59" fmla="*/ 211179 w 254889"/>
                <a:gd name="connsiteY59" fmla="*/ 77553 h 220217"/>
                <a:gd name="connsiteX60" fmla="*/ 214113 w 254889"/>
                <a:gd name="connsiteY60" fmla="*/ 79334 h 220217"/>
                <a:gd name="connsiteX61" fmla="*/ 215741 w 254889"/>
                <a:gd name="connsiteY61" fmla="*/ 82144 h 220217"/>
                <a:gd name="connsiteX62" fmla="*/ 217170 w 254889"/>
                <a:gd name="connsiteY62" fmla="*/ 86716 h 220217"/>
                <a:gd name="connsiteX63" fmla="*/ 219961 w 254889"/>
                <a:gd name="connsiteY63" fmla="*/ 91087 h 220217"/>
                <a:gd name="connsiteX64" fmla="*/ 225971 w 254889"/>
                <a:gd name="connsiteY64" fmla="*/ 94955 h 220217"/>
                <a:gd name="connsiteX65" fmla="*/ 230343 w 254889"/>
                <a:gd name="connsiteY65" fmla="*/ 97469 h 220217"/>
                <a:gd name="connsiteX66" fmla="*/ 231257 w 254889"/>
                <a:gd name="connsiteY66" fmla="*/ 98612 h 220217"/>
                <a:gd name="connsiteX67" fmla="*/ 231572 w 254889"/>
                <a:gd name="connsiteY67" fmla="*/ 99965 h 220217"/>
                <a:gd name="connsiteX68" fmla="*/ 231239 w 254889"/>
                <a:gd name="connsiteY68" fmla="*/ 102946 h 220217"/>
                <a:gd name="connsiteX69" fmla="*/ 230105 w 254889"/>
                <a:gd name="connsiteY69" fmla="*/ 106575 h 220217"/>
                <a:gd name="connsiteX70" fmla="*/ 229334 w 254889"/>
                <a:gd name="connsiteY70" fmla="*/ 108585 h 220217"/>
                <a:gd name="connsiteX71" fmla="*/ 231115 w 254889"/>
                <a:gd name="connsiteY71" fmla="*/ 109423 h 220217"/>
                <a:gd name="connsiteX72" fmla="*/ 235696 w 254889"/>
                <a:gd name="connsiteY72" fmla="*/ 109195 h 220217"/>
                <a:gd name="connsiteX73" fmla="*/ 241268 w 254889"/>
                <a:gd name="connsiteY73" fmla="*/ 109899 h 220217"/>
                <a:gd name="connsiteX74" fmla="*/ 247945 w 254889"/>
                <a:gd name="connsiteY74" fmla="*/ 113881 h 220217"/>
                <a:gd name="connsiteX75" fmla="*/ 247965 w 254889"/>
                <a:gd name="connsiteY75" fmla="*/ 115662 h 220217"/>
                <a:gd name="connsiteX76" fmla="*/ 247279 w 254889"/>
                <a:gd name="connsiteY76" fmla="*/ 117291 h 220217"/>
                <a:gd name="connsiteX77" fmla="*/ 247736 w 254889"/>
                <a:gd name="connsiteY77" fmla="*/ 118996 h 220217"/>
                <a:gd name="connsiteX78" fmla="*/ 248460 w 254889"/>
                <a:gd name="connsiteY78" fmla="*/ 120444 h 220217"/>
                <a:gd name="connsiteX79" fmla="*/ 254241 w 254889"/>
                <a:gd name="connsiteY79" fmla="*/ 124873 h 220217"/>
                <a:gd name="connsiteX80" fmla="*/ 254794 w 254889"/>
                <a:gd name="connsiteY80" fmla="*/ 126159 h 220217"/>
                <a:gd name="connsiteX81" fmla="*/ 254889 w 254889"/>
                <a:gd name="connsiteY81" fmla="*/ 128311 h 220217"/>
                <a:gd name="connsiteX82" fmla="*/ 254737 w 254889"/>
                <a:gd name="connsiteY82" fmla="*/ 129883 h 220217"/>
                <a:gd name="connsiteX83" fmla="*/ 253136 w 254889"/>
                <a:gd name="connsiteY83" fmla="*/ 130207 h 220217"/>
                <a:gd name="connsiteX84" fmla="*/ 251356 w 254889"/>
                <a:gd name="connsiteY84" fmla="*/ 130940 h 220217"/>
                <a:gd name="connsiteX85" fmla="*/ 248450 w 254889"/>
                <a:gd name="connsiteY85" fmla="*/ 132826 h 220217"/>
                <a:gd name="connsiteX86" fmla="*/ 247307 w 254889"/>
                <a:gd name="connsiteY86" fmla="*/ 135484 h 220217"/>
                <a:gd name="connsiteX87" fmla="*/ 242602 w 254889"/>
                <a:gd name="connsiteY87" fmla="*/ 139141 h 220217"/>
                <a:gd name="connsiteX88" fmla="*/ 239706 w 254889"/>
                <a:gd name="connsiteY88" fmla="*/ 140799 h 220217"/>
                <a:gd name="connsiteX89" fmla="*/ 237392 w 254889"/>
                <a:gd name="connsiteY89" fmla="*/ 140865 h 220217"/>
                <a:gd name="connsiteX90" fmla="*/ 231886 w 254889"/>
                <a:gd name="connsiteY90" fmla="*/ 140122 h 220217"/>
                <a:gd name="connsiteX91" fmla="*/ 229953 w 254889"/>
                <a:gd name="connsiteY91" fmla="*/ 138322 h 220217"/>
                <a:gd name="connsiteX92" fmla="*/ 229152 w 254889"/>
                <a:gd name="connsiteY92" fmla="*/ 136665 h 220217"/>
                <a:gd name="connsiteX93" fmla="*/ 227038 w 254889"/>
                <a:gd name="connsiteY93" fmla="*/ 135912 h 220217"/>
                <a:gd name="connsiteX94" fmla="*/ 224228 w 254889"/>
                <a:gd name="connsiteY94" fmla="*/ 135845 h 220217"/>
                <a:gd name="connsiteX95" fmla="*/ 220352 w 254889"/>
                <a:gd name="connsiteY95" fmla="*/ 136131 h 220217"/>
                <a:gd name="connsiteX96" fmla="*/ 219561 w 254889"/>
                <a:gd name="connsiteY96" fmla="*/ 136636 h 220217"/>
                <a:gd name="connsiteX97" fmla="*/ 218923 w 254889"/>
                <a:gd name="connsiteY97" fmla="*/ 138665 h 220217"/>
                <a:gd name="connsiteX98" fmla="*/ 217275 w 254889"/>
                <a:gd name="connsiteY98" fmla="*/ 142142 h 220217"/>
                <a:gd name="connsiteX99" fmla="*/ 216094 w 254889"/>
                <a:gd name="connsiteY99" fmla="*/ 144094 h 220217"/>
                <a:gd name="connsiteX100" fmla="*/ 217065 w 254889"/>
                <a:gd name="connsiteY100" fmla="*/ 145294 h 220217"/>
                <a:gd name="connsiteX101" fmla="*/ 218608 w 254889"/>
                <a:gd name="connsiteY101" fmla="*/ 147790 h 220217"/>
                <a:gd name="connsiteX102" fmla="*/ 221009 w 254889"/>
                <a:gd name="connsiteY102" fmla="*/ 150952 h 220217"/>
                <a:gd name="connsiteX103" fmla="*/ 223485 w 254889"/>
                <a:gd name="connsiteY103" fmla="*/ 153762 h 220217"/>
                <a:gd name="connsiteX104" fmla="*/ 224276 w 254889"/>
                <a:gd name="connsiteY104" fmla="*/ 155477 h 220217"/>
                <a:gd name="connsiteX105" fmla="*/ 224237 w 254889"/>
                <a:gd name="connsiteY105" fmla="*/ 156705 h 220217"/>
                <a:gd name="connsiteX106" fmla="*/ 223066 w 254889"/>
                <a:gd name="connsiteY106" fmla="*/ 158144 h 220217"/>
                <a:gd name="connsiteX107" fmla="*/ 223238 w 254889"/>
                <a:gd name="connsiteY107" fmla="*/ 161039 h 220217"/>
                <a:gd name="connsiteX108" fmla="*/ 225638 w 254889"/>
                <a:gd name="connsiteY108" fmla="*/ 164840 h 220217"/>
                <a:gd name="connsiteX109" fmla="*/ 224828 w 254889"/>
                <a:gd name="connsiteY109" fmla="*/ 165449 h 220217"/>
                <a:gd name="connsiteX110" fmla="*/ 224580 w 254889"/>
                <a:gd name="connsiteY110" fmla="*/ 170107 h 220217"/>
                <a:gd name="connsiteX111" fmla="*/ 224609 w 254889"/>
                <a:gd name="connsiteY111" fmla="*/ 175070 h 220217"/>
                <a:gd name="connsiteX112" fmla="*/ 225257 w 254889"/>
                <a:gd name="connsiteY112" fmla="*/ 176270 h 220217"/>
                <a:gd name="connsiteX113" fmla="*/ 226543 w 254889"/>
                <a:gd name="connsiteY113" fmla="*/ 177260 h 220217"/>
                <a:gd name="connsiteX114" fmla="*/ 227638 w 254889"/>
                <a:gd name="connsiteY114" fmla="*/ 179070 h 220217"/>
                <a:gd name="connsiteX115" fmla="*/ 229458 w 254889"/>
                <a:gd name="connsiteY115" fmla="*/ 183185 h 220217"/>
                <a:gd name="connsiteX116" fmla="*/ 229581 w 254889"/>
                <a:gd name="connsiteY116" fmla="*/ 184261 h 220217"/>
                <a:gd name="connsiteX117" fmla="*/ 224514 w 254889"/>
                <a:gd name="connsiteY117" fmla="*/ 183956 h 220217"/>
                <a:gd name="connsiteX118" fmla="*/ 218427 w 254889"/>
                <a:gd name="connsiteY118" fmla="*/ 184080 h 220217"/>
                <a:gd name="connsiteX119" fmla="*/ 215008 w 254889"/>
                <a:gd name="connsiteY119" fmla="*/ 186471 h 220217"/>
                <a:gd name="connsiteX120" fmla="*/ 213674 w 254889"/>
                <a:gd name="connsiteY120" fmla="*/ 185919 h 220217"/>
                <a:gd name="connsiteX121" fmla="*/ 211293 w 254889"/>
                <a:gd name="connsiteY121" fmla="*/ 185309 h 220217"/>
                <a:gd name="connsiteX122" fmla="*/ 208655 w 254889"/>
                <a:gd name="connsiteY122" fmla="*/ 186642 h 220217"/>
                <a:gd name="connsiteX123" fmla="*/ 205054 w 254889"/>
                <a:gd name="connsiteY123" fmla="*/ 190672 h 220217"/>
                <a:gd name="connsiteX124" fmla="*/ 202635 w 254889"/>
                <a:gd name="connsiteY124" fmla="*/ 193177 h 220217"/>
                <a:gd name="connsiteX125" fmla="*/ 200283 w 254889"/>
                <a:gd name="connsiteY125" fmla="*/ 196682 h 220217"/>
                <a:gd name="connsiteX126" fmla="*/ 199540 w 254889"/>
                <a:gd name="connsiteY126" fmla="*/ 198577 h 220217"/>
                <a:gd name="connsiteX127" fmla="*/ 198054 w 254889"/>
                <a:gd name="connsiteY127" fmla="*/ 202063 h 220217"/>
                <a:gd name="connsiteX128" fmla="*/ 196691 w 254889"/>
                <a:gd name="connsiteY128" fmla="*/ 206045 h 220217"/>
                <a:gd name="connsiteX129" fmla="*/ 197434 w 254889"/>
                <a:gd name="connsiteY129" fmla="*/ 208826 h 220217"/>
                <a:gd name="connsiteX130" fmla="*/ 198549 w 254889"/>
                <a:gd name="connsiteY130" fmla="*/ 211407 h 220217"/>
                <a:gd name="connsiteX131" fmla="*/ 198797 w 254889"/>
                <a:gd name="connsiteY131" fmla="*/ 214189 h 220217"/>
                <a:gd name="connsiteX132" fmla="*/ 199349 w 254889"/>
                <a:gd name="connsiteY132" fmla="*/ 216360 h 220217"/>
                <a:gd name="connsiteX133" fmla="*/ 197863 w 254889"/>
                <a:gd name="connsiteY133" fmla="*/ 217942 h 220217"/>
                <a:gd name="connsiteX134" fmla="*/ 196996 w 254889"/>
                <a:gd name="connsiteY134" fmla="*/ 220218 h 220217"/>
                <a:gd name="connsiteX135" fmla="*/ 194463 w 254889"/>
                <a:gd name="connsiteY135" fmla="*/ 219818 h 220217"/>
                <a:gd name="connsiteX136" fmla="*/ 191358 w 254889"/>
                <a:gd name="connsiteY136" fmla="*/ 217637 h 220217"/>
                <a:gd name="connsiteX137" fmla="*/ 190700 w 254889"/>
                <a:gd name="connsiteY137" fmla="*/ 214474 h 220217"/>
                <a:gd name="connsiteX138" fmla="*/ 188309 w 254889"/>
                <a:gd name="connsiteY138" fmla="*/ 212274 h 220217"/>
                <a:gd name="connsiteX139" fmla="*/ 186737 w 254889"/>
                <a:gd name="connsiteY139" fmla="*/ 211122 h 220217"/>
                <a:gd name="connsiteX140" fmla="*/ 184147 w 254889"/>
                <a:gd name="connsiteY140" fmla="*/ 210950 h 220217"/>
                <a:gd name="connsiteX141" fmla="*/ 180004 w 254889"/>
                <a:gd name="connsiteY141" fmla="*/ 211979 h 220217"/>
                <a:gd name="connsiteX142" fmla="*/ 174584 w 254889"/>
                <a:gd name="connsiteY142" fmla="*/ 212770 h 220217"/>
                <a:gd name="connsiteX143" fmla="*/ 170498 w 254889"/>
                <a:gd name="connsiteY143" fmla="*/ 212979 h 220217"/>
                <a:gd name="connsiteX144" fmla="*/ 168269 w 254889"/>
                <a:gd name="connsiteY144" fmla="*/ 214103 h 220217"/>
                <a:gd name="connsiteX145" fmla="*/ 164973 w 254889"/>
                <a:gd name="connsiteY145" fmla="*/ 215208 h 220217"/>
                <a:gd name="connsiteX146" fmla="*/ 163697 w 254889"/>
                <a:gd name="connsiteY146" fmla="*/ 213893 h 220217"/>
                <a:gd name="connsiteX147" fmla="*/ 161868 w 254889"/>
                <a:gd name="connsiteY147" fmla="*/ 210303 h 220217"/>
                <a:gd name="connsiteX148" fmla="*/ 160373 w 254889"/>
                <a:gd name="connsiteY148" fmla="*/ 206721 h 220217"/>
                <a:gd name="connsiteX149" fmla="*/ 159334 w 254889"/>
                <a:gd name="connsiteY149" fmla="*/ 205149 h 220217"/>
                <a:gd name="connsiteX150" fmla="*/ 158439 w 254889"/>
                <a:gd name="connsiteY150" fmla="*/ 204711 h 220217"/>
                <a:gd name="connsiteX151" fmla="*/ 157334 w 254889"/>
                <a:gd name="connsiteY151" fmla="*/ 204797 h 220217"/>
                <a:gd name="connsiteX152" fmla="*/ 156067 w 254889"/>
                <a:gd name="connsiteY152" fmla="*/ 205930 h 220217"/>
                <a:gd name="connsiteX153" fmla="*/ 155115 w 254889"/>
                <a:gd name="connsiteY153" fmla="*/ 207102 h 220217"/>
                <a:gd name="connsiteX154" fmla="*/ 153771 w 254889"/>
                <a:gd name="connsiteY154" fmla="*/ 207512 h 220217"/>
                <a:gd name="connsiteX155" fmla="*/ 151695 w 254889"/>
                <a:gd name="connsiteY155" fmla="*/ 208455 h 220217"/>
                <a:gd name="connsiteX156" fmla="*/ 150181 w 254889"/>
                <a:gd name="connsiteY156" fmla="*/ 209731 h 220217"/>
                <a:gd name="connsiteX157" fmla="*/ 148524 w 254889"/>
                <a:gd name="connsiteY157" fmla="*/ 213027 h 220217"/>
                <a:gd name="connsiteX158" fmla="*/ 147428 w 254889"/>
                <a:gd name="connsiteY158" fmla="*/ 212798 h 220217"/>
                <a:gd name="connsiteX159" fmla="*/ 146295 w 254889"/>
                <a:gd name="connsiteY159" fmla="*/ 212036 h 220217"/>
                <a:gd name="connsiteX160" fmla="*/ 144989 w 254889"/>
                <a:gd name="connsiteY160" fmla="*/ 208350 h 220217"/>
                <a:gd name="connsiteX161" fmla="*/ 143199 w 254889"/>
                <a:gd name="connsiteY161" fmla="*/ 207502 h 220217"/>
                <a:gd name="connsiteX162" fmla="*/ 140332 w 254889"/>
                <a:gd name="connsiteY162" fmla="*/ 207454 h 220217"/>
                <a:gd name="connsiteX163" fmla="*/ 136779 w 254889"/>
                <a:gd name="connsiteY163" fmla="*/ 206673 h 220217"/>
                <a:gd name="connsiteX164" fmla="*/ 133893 w 254889"/>
                <a:gd name="connsiteY164" fmla="*/ 205549 h 220217"/>
                <a:gd name="connsiteX165" fmla="*/ 132845 w 254889"/>
                <a:gd name="connsiteY165" fmla="*/ 205816 h 220217"/>
                <a:gd name="connsiteX166" fmla="*/ 131121 w 254889"/>
                <a:gd name="connsiteY166" fmla="*/ 207388 h 220217"/>
                <a:gd name="connsiteX167" fmla="*/ 129274 w 254889"/>
                <a:gd name="connsiteY167" fmla="*/ 207616 h 220217"/>
                <a:gd name="connsiteX168" fmla="*/ 125196 w 254889"/>
                <a:gd name="connsiteY168" fmla="*/ 206216 h 220217"/>
                <a:gd name="connsiteX169" fmla="*/ 124406 w 254889"/>
                <a:gd name="connsiteY169" fmla="*/ 206864 h 220217"/>
                <a:gd name="connsiteX170" fmla="*/ 123330 w 254889"/>
                <a:gd name="connsiteY170" fmla="*/ 208931 h 220217"/>
                <a:gd name="connsiteX171" fmla="*/ 122063 w 254889"/>
                <a:gd name="connsiteY171" fmla="*/ 210922 h 220217"/>
                <a:gd name="connsiteX172" fmla="*/ 120958 w 254889"/>
                <a:gd name="connsiteY172" fmla="*/ 211122 h 220217"/>
                <a:gd name="connsiteX173" fmla="*/ 120339 w 254889"/>
                <a:gd name="connsiteY173" fmla="*/ 210607 h 220217"/>
                <a:gd name="connsiteX174" fmla="*/ 120682 w 254889"/>
                <a:gd name="connsiteY174" fmla="*/ 207073 h 220217"/>
                <a:gd name="connsiteX175" fmla="*/ 118320 w 254889"/>
                <a:gd name="connsiteY175" fmla="*/ 205826 h 220217"/>
                <a:gd name="connsiteX176" fmla="*/ 114338 w 254889"/>
                <a:gd name="connsiteY176" fmla="*/ 205626 h 220217"/>
                <a:gd name="connsiteX177" fmla="*/ 111538 w 254889"/>
                <a:gd name="connsiteY177" fmla="*/ 206140 h 220217"/>
                <a:gd name="connsiteX178" fmla="*/ 110176 w 254889"/>
                <a:gd name="connsiteY178" fmla="*/ 205997 h 220217"/>
                <a:gd name="connsiteX179" fmla="*/ 109471 w 254889"/>
                <a:gd name="connsiteY179" fmla="*/ 205311 h 220217"/>
                <a:gd name="connsiteX180" fmla="*/ 106042 w 254889"/>
                <a:gd name="connsiteY180" fmla="*/ 199358 h 220217"/>
                <a:gd name="connsiteX181" fmla="*/ 104232 w 254889"/>
                <a:gd name="connsiteY181" fmla="*/ 198977 h 220217"/>
                <a:gd name="connsiteX182" fmla="*/ 100984 w 254889"/>
                <a:gd name="connsiteY182" fmla="*/ 199272 h 220217"/>
                <a:gd name="connsiteX183" fmla="*/ 96193 w 254889"/>
                <a:gd name="connsiteY183" fmla="*/ 198549 h 220217"/>
                <a:gd name="connsiteX184" fmla="*/ 90668 w 254889"/>
                <a:gd name="connsiteY184" fmla="*/ 197206 h 220217"/>
                <a:gd name="connsiteX185" fmla="*/ 87630 w 254889"/>
                <a:gd name="connsiteY185" fmla="*/ 196710 h 220217"/>
                <a:gd name="connsiteX186" fmla="*/ 86059 w 254889"/>
                <a:gd name="connsiteY186" fmla="*/ 195367 h 220217"/>
                <a:gd name="connsiteX187" fmla="*/ 82658 w 254889"/>
                <a:gd name="connsiteY187" fmla="*/ 194910 h 220217"/>
                <a:gd name="connsiteX188" fmla="*/ 73514 w 254889"/>
                <a:gd name="connsiteY188" fmla="*/ 192386 h 220217"/>
                <a:gd name="connsiteX189" fmla="*/ 69790 w 254889"/>
                <a:gd name="connsiteY189" fmla="*/ 191938 h 220217"/>
                <a:gd name="connsiteX190" fmla="*/ 64294 w 254889"/>
                <a:gd name="connsiteY190" fmla="*/ 191900 h 220217"/>
                <a:gd name="connsiteX191" fmla="*/ 55931 w 254889"/>
                <a:gd name="connsiteY191" fmla="*/ 191338 h 220217"/>
                <a:gd name="connsiteX192" fmla="*/ 50568 w 254889"/>
                <a:gd name="connsiteY192" fmla="*/ 191653 h 220217"/>
                <a:gd name="connsiteX193" fmla="*/ 48083 w 254889"/>
                <a:gd name="connsiteY193" fmla="*/ 192491 h 220217"/>
                <a:gd name="connsiteX194" fmla="*/ 45215 w 254889"/>
                <a:gd name="connsiteY194" fmla="*/ 193015 h 220217"/>
                <a:gd name="connsiteX195" fmla="*/ 40367 w 254889"/>
                <a:gd name="connsiteY195" fmla="*/ 193472 h 220217"/>
                <a:gd name="connsiteX196" fmla="*/ 38395 w 254889"/>
                <a:gd name="connsiteY196" fmla="*/ 193424 h 220217"/>
                <a:gd name="connsiteX197" fmla="*/ 35290 w 254889"/>
                <a:gd name="connsiteY197" fmla="*/ 193700 h 220217"/>
                <a:gd name="connsiteX198" fmla="*/ 31728 w 254889"/>
                <a:gd name="connsiteY198" fmla="*/ 194377 h 220217"/>
                <a:gd name="connsiteX199" fmla="*/ 30709 w 254889"/>
                <a:gd name="connsiteY199" fmla="*/ 195624 h 220217"/>
                <a:gd name="connsiteX200" fmla="*/ 29537 w 254889"/>
                <a:gd name="connsiteY200" fmla="*/ 198377 h 220217"/>
                <a:gd name="connsiteX201" fmla="*/ 25441 w 254889"/>
                <a:gd name="connsiteY201" fmla="*/ 203121 h 220217"/>
                <a:gd name="connsiteX202" fmla="*/ 21470 w 254889"/>
                <a:gd name="connsiteY202" fmla="*/ 206264 h 220217"/>
                <a:gd name="connsiteX203" fmla="*/ 20746 w 254889"/>
                <a:gd name="connsiteY203" fmla="*/ 206531 h 220217"/>
                <a:gd name="connsiteX204" fmla="*/ 18422 w 254889"/>
                <a:gd name="connsiteY204" fmla="*/ 204864 h 220217"/>
                <a:gd name="connsiteX205" fmla="*/ 16488 w 254889"/>
                <a:gd name="connsiteY205" fmla="*/ 204302 h 220217"/>
                <a:gd name="connsiteX206" fmla="*/ 14211 w 254889"/>
                <a:gd name="connsiteY206" fmla="*/ 204121 h 220217"/>
                <a:gd name="connsiteX207" fmla="*/ 12602 w 254889"/>
                <a:gd name="connsiteY207" fmla="*/ 204654 h 220217"/>
                <a:gd name="connsiteX208" fmla="*/ 11592 w 254889"/>
                <a:gd name="connsiteY208" fmla="*/ 205445 h 220217"/>
                <a:gd name="connsiteX209" fmla="*/ 11725 w 254889"/>
                <a:gd name="connsiteY209" fmla="*/ 209093 h 220217"/>
                <a:gd name="connsiteX210" fmla="*/ 11497 w 254889"/>
                <a:gd name="connsiteY210" fmla="*/ 209407 h 220217"/>
                <a:gd name="connsiteX211" fmla="*/ 9744 w 254889"/>
                <a:gd name="connsiteY211" fmla="*/ 205083 h 220217"/>
                <a:gd name="connsiteX212" fmla="*/ 9887 w 254889"/>
                <a:gd name="connsiteY212" fmla="*/ 201158 h 220217"/>
                <a:gd name="connsiteX213" fmla="*/ 10859 w 254889"/>
                <a:gd name="connsiteY213" fmla="*/ 198911 h 220217"/>
                <a:gd name="connsiteX214" fmla="*/ 12049 w 254889"/>
                <a:gd name="connsiteY214" fmla="*/ 196882 h 220217"/>
                <a:gd name="connsiteX215" fmla="*/ 11563 w 254889"/>
                <a:gd name="connsiteY215" fmla="*/ 193843 h 220217"/>
                <a:gd name="connsiteX216" fmla="*/ 12725 w 254889"/>
                <a:gd name="connsiteY216" fmla="*/ 189814 h 220217"/>
                <a:gd name="connsiteX217" fmla="*/ 12764 w 254889"/>
                <a:gd name="connsiteY217" fmla="*/ 186890 h 220217"/>
                <a:gd name="connsiteX218" fmla="*/ 12249 w 254889"/>
                <a:gd name="connsiteY218" fmla="*/ 185633 h 220217"/>
                <a:gd name="connsiteX219" fmla="*/ 11306 w 254889"/>
                <a:gd name="connsiteY219" fmla="*/ 184175 h 220217"/>
                <a:gd name="connsiteX220" fmla="*/ 8716 w 254889"/>
                <a:gd name="connsiteY220" fmla="*/ 182556 h 220217"/>
                <a:gd name="connsiteX221" fmla="*/ 7572 w 254889"/>
                <a:gd name="connsiteY221" fmla="*/ 181289 h 220217"/>
                <a:gd name="connsiteX222" fmla="*/ 4067 w 254889"/>
                <a:gd name="connsiteY222" fmla="*/ 179594 h 220217"/>
                <a:gd name="connsiteX223" fmla="*/ 591 w 254889"/>
                <a:gd name="connsiteY223" fmla="*/ 177489 h 220217"/>
                <a:gd name="connsiteX224" fmla="*/ 0 w 254889"/>
                <a:gd name="connsiteY224" fmla="*/ 176193 h 220217"/>
                <a:gd name="connsiteX225" fmla="*/ 162 w 254889"/>
                <a:gd name="connsiteY225" fmla="*/ 175308 h 220217"/>
                <a:gd name="connsiteX226" fmla="*/ 771 w 254889"/>
                <a:gd name="connsiteY226" fmla="*/ 173955 h 220217"/>
                <a:gd name="connsiteX227" fmla="*/ 3429 w 254889"/>
                <a:gd name="connsiteY227" fmla="*/ 170002 h 220217"/>
                <a:gd name="connsiteX228" fmla="*/ 6305 w 254889"/>
                <a:gd name="connsiteY228" fmla="*/ 166154 h 220217"/>
                <a:gd name="connsiteX229" fmla="*/ 8144 w 254889"/>
                <a:gd name="connsiteY229" fmla="*/ 164611 h 220217"/>
                <a:gd name="connsiteX230" fmla="*/ 17907 w 254889"/>
                <a:gd name="connsiteY230" fmla="*/ 159658 h 220217"/>
                <a:gd name="connsiteX231" fmla="*/ 19412 w 254889"/>
                <a:gd name="connsiteY231" fmla="*/ 157924 h 220217"/>
                <a:gd name="connsiteX232" fmla="*/ 19793 w 254889"/>
                <a:gd name="connsiteY232" fmla="*/ 154991 h 220217"/>
                <a:gd name="connsiteX233" fmla="*/ 19812 w 254889"/>
                <a:gd name="connsiteY233" fmla="*/ 152857 h 220217"/>
                <a:gd name="connsiteX234" fmla="*/ 19631 w 254889"/>
                <a:gd name="connsiteY234" fmla="*/ 149047 h 220217"/>
                <a:gd name="connsiteX235" fmla="*/ 19031 w 254889"/>
                <a:gd name="connsiteY235" fmla="*/ 143618 h 220217"/>
                <a:gd name="connsiteX236" fmla="*/ 18288 w 254889"/>
                <a:gd name="connsiteY236" fmla="*/ 139865 h 220217"/>
                <a:gd name="connsiteX237" fmla="*/ 16421 w 254889"/>
                <a:gd name="connsiteY237" fmla="*/ 132797 h 220217"/>
                <a:gd name="connsiteX238" fmla="*/ 11335 w 254889"/>
                <a:gd name="connsiteY238" fmla="*/ 118100 h 220217"/>
                <a:gd name="connsiteX239" fmla="*/ 8277 w 254889"/>
                <a:gd name="connsiteY239" fmla="*/ 102737 h 220217"/>
                <a:gd name="connsiteX240" fmla="*/ 10268 w 254889"/>
                <a:gd name="connsiteY240" fmla="*/ 103642 h 220217"/>
                <a:gd name="connsiteX241" fmla="*/ 14935 w 254889"/>
                <a:gd name="connsiteY241" fmla="*/ 103975 h 220217"/>
                <a:gd name="connsiteX242" fmla="*/ 18641 w 254889"/>
                <a:gd name="connsiteY242" fmla="*/ 102918 h 220217"/>
                <a:gd name="connsiteX243" fmla="*/ 20564 w 254889"/>
                <a:gd name="connsiteY243" fmla="*/ 102765 h 220217"/>
                <a:gd name="connsiteX244" fmla="*/ 22279 w 254889"/>
                <a:gd name="connsiteY244" fmla="*/ 103108 h 220217"/>
                <a:gd name="connsiteX245" fmla="*/ 24832 w 254889"/>
                <a:gd name="connsiteY245" fmla="*/ 102498 h 220217"/>
                <a:gd name="connsiteX246" fmla="*/ 27165 w 254889"/>
                <a:gd name="connsiteY246" fmla="*/ 102251 h 220217"/>
                <a:gd name="connsiteX247" fmla="*/ 28375 w 254889"/>
                <a:gd name="connsiteY247" fmla="*/ 103632 h 220217"/>
                <a:gd name="connsiteX248" fmla="*/ 30547 w 254889"/>
                <a:gd name="connsiteY248" fmla="*/ 104851 h 220217"/>
                <a:gd name="connsiteX249" fmla="*/ 34843 w 254889"/>
                <a:gd name="connsiteY249" fmla="*/ 103099 h 220217"/>
                <a:gd name="connsiteX250" fmla="*/ 38643 w 254889"/>
                <a:gd name="connsiteY250" fmla="*/ 100917 h 220217"/>
                <a:gd name="connsiteX251" fmla="*/ 42586 w 254889"/>
                <a:gd name="connsiteY251" fmla="*/ 101155 h 220217"/>
                <a:gd name="connsiteX252" fmla="*/ 43149 w 254889"/>
                <a:gd name="connsiteY252" fmla="*/ 100079 h 220217"/>
                <a:gd name="connsiteX253" fmla="*/ 44129 w 254889"/>
                <a:gd name="connsiteY253" fmla="*/ 94602 h 220217"/>
                <a:gd name="connsiteX254" fmla="*/ 45301 w 254889"/>
                <a:gd name="connsiteY254" fmla="*/ 93402 h 220217"/>
                <a:gd name="connsiteX255" fmla="*/ 50016 w 254889"/>
                <a:gd name="connsiteY255" fmla="*/ 93955 h 220217"/>
                <a:gd name="connsiteX256" fmla="*/ 51759 w 254889"/>
                <a:gd name="connsiteY256" fmla="*/ 92964 h 220217"/>
                <a:gd name="connsiteX257" fmla="*/ 53588 w 254889"/>
                <a:gd name="connsiteY257" fmla="*/ 90259 h 220217"/>
                <a:gd name="connsiteX258" fmla="*/ 56369 w 254889"/>
                <a:gd name="connsiteY258" fmla="*/ 88563 h 220217"/>
                <a:gd name="connsiteX259" fmla="*/ 58693 w 254889"/>
                <a:gd name="connsiteY259" fmla="*/ 88573 h 220217"/>
                <a:gd name="connsiteX260" fmla="*/ 61113 w 254889"/>
                <a:gd name="connsiteY260" fmla="*/ 86668 h 220217"/>
                <a:gd name="connsiteX261" fmla="*/ 62303 w 254889"/>
                <a:gd name="connsiteY261" fmla="*/ 87944 h 220217"/>
                <a:gd name="connsiteX262" fmla="*/ 62884 w 254889"/>
                <a:gd name="connsiteY262" fmla="*/ 90221 h 220217"/>
                <a:gd name="connsiteX263" fmla="*/ 62084 w 254889"/>
                <a:gd name="connsiteY263" fmla="*/ 92030 h 220217"/>
                <a:gd name="connsiteX264" fmla="*/ 62427 w 254889"/>
                <a:gd name="connsiteY264" fmla="*/ 92745 h 220217"/>
                <a:gd name="connsiteX265" fmla="*/ 64103 w 254889"/>
                <a:gd name="connsiteY265" fmla="*/ 93640 h 220217"/>
                <a:gd name="connsiteX266" fmla="*/ 66970 w 254889"/>
                <a:gd name="connsiteY266" fmla="*/ 93612 h 220217"/>
                <a:gd name="connsiteX267" fmla="*/ 68809 w 254889"/>
                <a:gd name="connsiteY267" fmla="*/ 92869 h 220217"/>
                <a:gd name="connsiteX268" fmla="*/ 69237 w 254889"/>
                <a:gd name="connsiteY268" fmla="*/ 91830 h 220217"/>
                <a:gd name="connsiteX269" fmla="*/ 69237 w 254889"/>
                <a:gd name="connsiteY269" fmla="*/ 89945 h 220217"/>
                <a:gd name="connsiteX270" fmla="*/ 68780 w 254889"/>
                <a:gd name="connsiteY270" fmla="*/ 88182 h 220217"/>
                <a:gd name="connsiteX271" fmla="*/ 67561 w 254889"/>
                <a:gd name="connsiteY271" fmla="*/ 86668 h 220217"/>
                <a:gd name="connsiteX272" fmla="*/ 65275 w 254889"/>
                <a:gd name="connsiteY272" fmla="*/ 85877 h 220217"/>
                <a:gd name="connsiteX273" fmla="*/ 63684 w 254889"/>
                <a:gd name="connsiteY273" fmla="*/ 85858 h 220217"/>
                <a:gd name="connsiteX274" fmla="*/ 63418 w 254889"/>
                <a:gd name="connsiteY274" fmla="*/ 84887 h 220217"/>
                <a:gd name="connsiteX275" fmla="*/ 63961 w 254889"/>
                <a:gd name="connsiteY275" fmla="*/ 82820 h 220217"/>
                <a:gd name="connsiteX276" fmla="*/ 65370 w 254889"/>
                <a:gd name="connsiteY276" fmla="*/ 78991 h 220217"/>
                <a:gd name="connsiteX277" fmla="*/ 67103 w 254889"/>
                <a:gd name="connsiteY277" fmla="*/ 75533 h 220217"/>
                <a:gd name="connsiteX278" fmla="*/ 68161 w 254889"/>
                <a:gd name="connsiteY278" fmla="*/ 74228 h 220217"/>
                <a:gd name="connsiteX279" fmla="*/ 68342 w 254889"/>
                <a:gd name="connsiteY279" fmla="*/ 73019 h 220217"/>
                <a:gd name="connsiteX280" fmla="*/ 68142 w 254889"/>
                <a:gd name="connsiteY280" fmla="*/ 70923 h 220217"/>
                <a:gd name="connsiteX281" fmla="*/ 68104 w 254889"/>
                <a:gd name="connsiteY281" fmla="*/ 67142 h 220217"/>
                <a:gd name="connsiteX282" fmla="*/ 69656 w 254889"/>
                <a:gd name="connsiteY282" fmla="*/ 61808 h 220217"/>
                <a:gd name="connsiteX283" fmla="*/ 71752 w 254889"/>
                <a:gd name="connsiteY283" fmla="*/ 57826 h 220217"/>
                <a:gd name="connsiteX284" fmla="*/ 74562 w 254889"/>
                <a:gd name="connsiteY284" fmla="*/ 56521 h 220217"/>
                <a:gd name="connsiteX285" fmla="*/ 78000 w 254889"/>
                <a:gd name="connsiteY285" fmla="*/ 55826 h 220217"/>
                <a:gd name="connsiteX286" fmla="*/ 80200 w 254889"/>
                <a:gd name="connsiteY286" fmla="*/ 53921 h 220217"/>
                <a:gd name="connsiteX287" fmla="*/ 81286 w 254889"/>
                <a:gd name="connsiteY287" fmla="*/ 51730 h 220217"/>
                <a:gd name="connsiteX288" fmla="*/ 81696 w 254889"/>
                <a:gd name="connsiteY288" fmla="*/ 49873 h 220217"/>
                <a:gd name="connsiteX289" fmla="*/ 82220 w 254889"/>
                <a:gd name="connsiteY289" fmla="*/ 48273 h 220217"/>
                <a:gd name="connsiteX290" fmla="*/ 83315 w 254889"/>
                <a:gd name="connsiteY290" fmla="*/ 47568 h 220217"/>
                <a:gd name="connsiteX291" fmla="*/ 91583 w 254889"/>
                <a:gd name="connsiteY291" fmla="*/ 48006 h 220217"/>
                <a:gd name="connsiteX292" fmla="*/ 92850 w 254889"/>
                <a:gd name="connsiteY292" fmla="*/ 44548 h 220217"/>
                <a:gd name="connsiteX293" fmla="*/ 93564 w 254889"/>
                <a:gd name="connsiteY293" fmla="*/ 43586 h 220217"/>
                <a:gd name="connsiteX294" fmla="*/ 95145 w 254889"/>
                <a:gd name="connsiteY294" fmla="*/ 42558 h 220217"/>
                <a:gd name="connsiteX295" fmla="*/ 96250 w 254889"/>
                <a:gd name="connsiteY295" fmla="*/ 41329 h 220217"/>
                <a:gd name="connsiteX296" fmla="*/ 95841 w 254889"/>
                <a:gd name="connsiteY296" fmla="*/ 40377 h 220217"/>
                <a:gd name="connsiteX297" fmla="*/ 93726 w 254889"/>
                <a:gd name="connsiteY297" fmla="*/ 39767 h 220217"/>
                <a:gd name="connsiteX298" fmla="*/ 88754 w 254889"/>
                <a:gd name="connsiteY298" fmla="*/ 39224 h 220217"/>
                <a:gd name="connsiteX299" fmla="*/ 87754 w 254889"/>
                <a:gd name="connsiteY299" fmla="*/ 38072 h 220217"/>
                <a:gd name="connsiteX300" fmla="*/ 88068 w 254889"/>
                <a:gd name="connsiteY300" fmla="*/ 36690 h 220217"/>
                <a:gd name="connsiteX301" fmla="*/ 89392 w 254889"/>
                <a:gd name="connsiteY301" fmla="*/ 33109 h 220217"/>
                <a:gd name="connsiteX302" fmla="*/ 90659 w 254889"/>
                <a:gd name="connsiteY302" fmla="*/ 28480 h 220217"/>
                <a:gd name="connsiteX303" fmla="*/ 91317 w 254889"/>
                <a:gd name="connsiteY303" fmla="*/ 24889 h 220217"/>
                <a:gd name="connsiteX304" fmla="*/ 91383 w 254889"/>
                <a:gd name="connsiteY304" fmla="*/ 22765 h 220217"/>
                <a:gd name="connsiteX305" fmla="*/ 92097 w 254889"/>
                <a:gd name="connsiteY305" fmla="*/ 22193 h 220217"/>
                <a:gd name="connsiteX306" fmla="*/ 96145 w 254889"/>
                <a:gd name="connsiteY306" fmla="*/ 21517 h 220217"/>
                <a:gd name="connsiteX307" fmla="*/ 97507 w 254889"/>
                <a:gd name="connsiteY307" fmla="*/ 20793 h 220217"/>
                <a:gd name="connsiteX308" fmla="*/ 100994 w 254889"/>
                <a:gd name="connsiteY308" fmla="*/ 15878 h 220217"/>
                <a:gd name="connsiteX309" fmla="*/ 103651 w 254889"/>
                <a:gd name="connsiteY309" fmla="*/ 15040 h 220217"/>
                <a:gd name="connsiteX310" fmla="*/ 110519 w 254889"/>
                <a:gd name="connsiteY310" fmla="*/ 16307 h 220217"/>
                <a:gd name="connsiteX311" fmla="*/ 113662 w 254889"/>
                <a:gd name="connsiteY311" fmla="*/ 16212 h 220217"/>
                <a:gd name="connsiteX312" fmla="*/ 114519 w 254889"/>
                <a:gd name="connsiteY312" fmla="*/ 16326 h 220217"/>
                <a:gd name="connsiteX313" fmla="*/ 117663 w 254889"/>
                <a:gd name="connsiteY313" fmla="*/ 16545 h 220217"/>
                <a:gd name="connsiteX314" fmla="*/ 118006 w 254889"/>
                <a:gd name="connsiteY314" fmla="*/ 16050 h 220217"/>
                <a:gd name="connsiteX315" fmla="*/ 119415 w 254889"/>
                <a:gd name="connsiteY315" fmla="*/ 11182 h 220217"/>
                <a:gd name="connsiteX316" fmla="*/ 120805 w 254889"/>
                <a:gd name="connsiteY316" fmla="*/ 9763 h 220217"/>
                <a:gd name="connsiteX317" fmla="*/ 126206 w 254889"/>
                <a:gd name="connsiteY317" fmla="*/ 3334 h 220217"/>
                <a:gd name="connsiteX318" fmla="*/ 129835 w 254889"/>
                <a:gd name="connsiteY318" fmla="*/ 600 h 220217"/>
                <a:gd name="connsiteX319" fmla="*/ 132131 w 254889"/>
                <a:gd name="connsiteY319" fmla="*/ 0 h 22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</a:cxnLst>
              <a:rect l="l" t="t" r="r" b="b"/>
              <a:pathLst>
                <a:path w="254889" h="220217">
                  <a:moveTo>
                    <a:pt x="132931" y="143"/>
                  </a:moveTo>
                  <a:lnTo>
                    <a:pt x="136579" y="4305"/>
                  </a:lnTo>
                  <a:lnTo>
                    <a:pt x="137436" y="4467"/>
                  </a:lnTo>
                  <a:lnTo>
                    <a:pt x="139465" y="2829"/>
                  </a:lnTo>
                  <a:lnTo>
                    <a:pt x="139865" y="2724"/>
                  </a:lnTo>
                  <a:lnTo>
                    <a:pt x="144056" y="2581"/>
                  </a:lnTo>
                  <a:lnTo>
                    <a:pt x="145999" y="4029"/>
                  </a:lnTo>
                  <a:lnTo>
                    <a:pt x="147447" y="6848"/>
                  </a:lnTo>
                  <a:lnTo>
                    <a:pt x="148780" y="9096"/>
                  </a:lnTo>
                  <a:lnTo>
                    <a:pt x="150229" y="9706"/>
                  </a:lnTo>
                  <a:lnTo>
                    <a:pt x="154305" y="6877"/>
                  </a:lnTo>
                  <a:lnTo>
                    <a:pt x="156563" y="5934"/>
                  </a:lnTo>
                  <a:lnTo>
                    <a:pt x="158049" y="5963"/>
                  </a:lnTo>
                  <a:lnTo>
                    <a:pt x="163278" y="8506"/>
                  </a:lnTo>
                  <a:lnTo>
                    <a:pt x="165735" y="9896"/>
                  </a:lnTo>
                  <a:lnTo>
                    <a:pt x="166297" y="11154"/>
                  </a:lnTo>
                  <a:lnTo>
                    <a:pt x="166354" y="12640"/>
                  </a:lnTo>
                  <a:lnTo>
                    <a:pt x="165688" y="14840"/>
                  </a:lnTo>
                  <a:lnTo>
                    <a:pt x="165164" y="17231"/>
                  </a:lnTo>
                  <a:lnTo>
                    <a:pt x="166754" y="20050"/>
                  </a:lnTo>
                  <a:lnTo>
                    <a:pt x="168602" y="21965"/>
                  </a:lnTo>
                  <a:lnTo>
                    <a:pt x="172555" y="18802"/>
                  </a:lnTo>
                  <a:lnTo>
                    <a:pt x="174012" y="17926"/>
                  </a:lnTo>
                  <a:lnTo>
                    <a:pt x="175603" y="17897"/>
                  </a:lnTo>
                  <a:lnTo>
                    <a:pt x="177737" y="16726"/>
                  </a:lnTo>
                  <a:lnTo>
                    <a:pt x="179280" y="14954"/>
                  </a:lnTo>
                  <a:lnTo>
                    <a:pt x="180756" y="14345"/>
                  </a:lnTo>
                  <a:lnTo>
                    <a:pt x="183585" y="14764"/>
                  </a:lnTo>
                  <a:lnTo>
                    <a:pt x="188690" y="14345"/>
                  </a:lnTo>
                  <a:lnTo>
                    <a:pt x="194643" y="17116"/>
                  </a:lnTo>
                  <a:lnTo>
                    <a:pt x="195158" y="17974"/>
                  </a:lnTo>
                  <a:lnTo>
                    <a:pt x="198130" y="21212"/>
                  </a:lnTo>
                  <a:lnTo>
                    <a:pt x="199168" y="22822"/>
                  </a:lnTo>
                  <a:lnTo>
                    <a:pt x="200149" y="23336"/>
                  </a:lnTo>
                  <a:lnTo>
                    <a:pt x="201730" y="24917"/>
                  </a:lnTo>
                  <a:lnTo>
                    <a:pt x="203854" y="25908"/>
                  </a:lnTo>
                  <a:lnTo>
                    <a:pt x="205321" y="25603"/>
                  </a:lnTo>
                  <a:lnTo>
                    <a:pt x="206026" y="26127"/>
                  </a:lnTo>
                  <a:lnTo>
                    <a:pt x="206683" y="27365"/>
                  </a:lnTo>
                  <a:lnTo>
                    <a:pt x="206730" y="29480"/>
                  </a:lnTo>
                  <a:lnTo>
                    <a:pt x="206521" y="35500"/>
                  </a:lnTo>
                  <a:lnTo>
                    <a:pt x="205483" y="37233"/>
                  </a:lnTo>
                  <a:lnTo>
                    <a:pt x="204388" y="38643"/>
                  </a:lnTo>
                  <a:lnTo>
                    <a:pt x="204111" y="39738"/>
                  </a:lnTo>
                  <a:lnTo>
                    <a:pt x="204216" y="41062"/>
                  </a:lnTo>
                  <a:lnTo>
                    <a:pt x="205902" y="43653"/>
                  </a:lnTo>
                  <a:lnTo>
                    <a:pt x="208074" y="47663"/>
                  </a:lnTo>
                  <a:lnTo>
                    <a:pt x="208579" y="49978"/>
                  </a:lnTo>
                  <a:lnTo>
                    <a:pt x="208579" y="51721"/>
                  </a:lnTo>
                  <a:lnTo>
                    <a:pt x="205617" y="56826"/>
                  </a:lnTo>
                  <a:lnTo>
                    <a:pt x="204635" y="58017"/>
                  </a:lnTo>
                  <a:lnTo>
                    <a:pt x="203949" y="60522"/>
                  </a:lnTo>
                  <a:lnTo>
                    <a:pt x="203588" y="63065"/>
                  </a:lnTo>
                  <a:lnTo>
                    <a:pt x="203797" y="64122"/>
                  </a:lnTo>
                  <a:lnTo>
                    <a:pt x="208750" y="68161"/>
                  </a:lnTo>
                  <a:lnTo>
                    <a:pt x="212417" y="70342"/>
                  </a:lnTo>
                  <a:lnTo>
                    <a:pt x="213236" y="71409"/>
                  </a:lnTo>
                  <a:lnTo>
                    <a:pt x="213313" y="72076"/>
                  </a:lnTo>
                  <a:lnTo>
                    <a:pt x="211370" y="76390"/>
                  </a:lnTo>
                  <a:lnTo>
                    <a:pt x="211179" y="77553"/>
                  </a:lnTo>
                  <a:lnTo>
                    <a:pt x="214113" y="79334"/>
                  </a:lnTo>
                  <a:lnTo>
                    <a:pt x="215741" y="82144"/>
                  </a:lnTo>
                  <a:lnTo>
                    <a:pt x="217170" y="86716"/>
                  </a:lnTo>
                  <a:lnTo>
                    <a:pt x="219961" y="91087"/>
                  </a:lnTo>
                  <a:lnTo>
                    <a:pt x="225971" y="94955"/>
                  </a:lnTo>
                  <a:lnTo>
                    <a:pt x="230343" y="97469"/>
                  </a:lnTo>
                  <a:lnTo>
                    <a:pt x="231257" y="98612"/>
                  </a:lnTo>
                  <a:lnTo>
                    <a:pt x="231572" y="99965"/>
                  </a:lnTo>
                  <a:lnTo>
                    <a:pt x="231239" y="102946"/>
                  </a:lnTo>
                  <a:lnTo>
                    <a:pt x="230105" y="106575"/>
                  </a:lnTo>
                  <a:lnTo>
                    <a:pt x="229334" y="108585"/>
                  </a:lnTo>
                  <a:lnTo>
                    <a:pt x="231115" y="109423"/>
                  </a:lnTo>
                  <a:lnTo>
                    <a:pt x="235696" y="109195"/>
                  </a:lnTo>
                  <a:lnTo>
                    <a:pt x="241268" y="109899"/>
                  </a:lnTo>
                  <a:lnTo>
                    <a:pt x="247945" y="113881"/>
                  </a:lnTo>
                  <a:lnTo>
                    <a:pt x="247965" y="115662"/>
                  </a:lnTo>
                  <a:lnTo>
                    <a:pt x="247279" y="117291"/>
                  </a:lnTo>
                  <a:lnTo>
                    <a:pt x="247736" y="118996"/>
                  </a:lnTo>
                  <a:lnTo>
                    <a:pt x="248460" y="120444"/>
                  </a:lnTo>
                  <a:lnTo>
                    <a:pt x="254241" y="124873"/>
                  </a:lnTo>
                  <a:lnTo>
                    <a:pt x="254794" y="126159"/>
                  </a:lnTo>
                  <a:lnTo>
                    <a:pt x="254889" y="128311"/>
                  </a:lnTo>
                  <a:lnTo>
                    <a:pt x="254737" y="129883"/>
                  </a:lnTo>
                  <a:lnTo>
                    <a:pt x="253136" y="130207"/>
                  </a:lnTo>
                  <a:lnTo>
                    <a:pt x="251356" y="130940"/>
                  </a:lnTo>
                  <a:lnTo>
                    <a:pt x="248450" y="132826"/>
                  </a:lnTo>
                  <a:lnTo>
                    <a:pt x="247307" y="135484"/>
                  </a:lnTo>
                  <a:lnTo>
                    <a:pt x="242602" y="139141"/>
                  </a:lnTo>
                  <a:lnTo>
                    <a:pt x="239706" y="140799"/>
                  </a:lnTo>
                  <a:lnTo>
                    <a:pt x="237392" y="140865"/>
                  </a:lnTo>
                  <a:lnTo>
                    <a:pt x="231886" y="140122"/>
                  </a:lnTo>
                  <a:lnTo>
                    <a:pt x="229953" y="138322"/>
                  </a:lnTo>
                  <a:lnTo>
                    <a:pt x="229152" y="136665"/>
                  </a:lnTo>
                  <a:lnTo>
                    <a:pt x="227038" y="135912"/>
                  </a:lnTo>
                  <a:lnTo>
                    <a:pt x="224228" y="135845"/>
                  </a:lnTo>
                  <a:lnTo>
                    <a:pt x="220352" y="136131"/>
                  </a:lnTo>
                  <a:lnTo>
                    <a:pt x="219561" y="136636"/>
                  </a:lnTo>
                  <a:lnTo>
                    <a:pt x="218923" y="138665"/>
                  </a:lnTo>
                  <a:lnTo>
                    <a:pt x="217275" y="142142"/>
                  </a:lnTo>
                  <a:lnTo>
                    <a:pt x="216094" y="144094"/>
                  </a:lnTo>
                  <a:lnTo>
                    <a:pt x="217065" y="145294"/>
                  </a:lnTo>
                  <a:lnTo>
                    <a:pt x="218608" y="147790"/>
                  </a:lnTo>
                  <a:lnTo>
                    <a:pt x="221009" y="150952"/>
                  </a:lnTo>
                  <a:lnTo>
                    <a:pt x="223485" y="153762"/>
                  </a:lnTo>
                  <a:lnTo>
                    <a:pt x="224276" y="155477"/>
                  </a:lnTo>
                  <a:lnTo>
                    <a:pt x="224237" y="156705"/>
                  </a:lnTo>
                  <a:lnTo>
                    <a:pt x="223066" y="158144"/>
                  </a:lnTo>
                  <a:lnTo>
                    <a:pt x="223238" y="161039"/>
                  </a:lnTo>
                  <a:lnTo>
                    <a:pt x="225638" y="164840"/>
                  </a:lnTo>
                  <a:lnTo>
                    <a:pt x="224828" y="165449"/>
                  </a:lnTo>
                  <a:lnTo>
                    <a:pt x="224580" y="170107"/>
                  </a:lnTo>
                  <a:lnTo>
                    <a:pt x="224609" y="175070"/>
                  </a:lnTo>
                  <a:lnTo>
                    <a:pt x="225257" y="176270"/>
                  </a:lnTo>
                  <a:lnTo>
                    <a:pt x="226543" y="177260"/>
                  </a:lnTo>
                  <a:lnTo>
                    <a:pt x="227638" y="179070"/>
                  </a:lnTo>
                  <a:lnTo>
                    <a:pt x="229458" y="183185"/>
                  </a:lnTo>
                  <a:lnTo>
                    <a:pt x="229581" y="184261"/>
                  </a:lnTo>
                  <a:lnTo>
                    <a:pt x="224514" y="183956"/>
                  </a:lnTo>
                  <a:lnTo>
                    <a:pt x="218427" y="184080"/>
                  </a:lnTo>
                  <a:lnTo>
                    <a:pt x="215008" y="186471"/>
                  </a:lnTo>
                  <a:lnTo>
                    <a:pt x="213674" y="185919"/>
                  </a:lnTo>
                  <a:lnTo>
                    <a:pt x="211293" y="185309"/>
                  </a:lnTo>
                  <a:lnTo>
                    <a:pt x="208655" y="186642"/>
                  </a:lnTo>
                  <a:lnTo>
                    <a:pt x="205054" y="190672"/>
                  </a:lnTo>
                  <a:lnTo>
                    <a:pt x="202635" y="193177"/>
                  </a:lnTo>
                  <a:lnTo>
                    <a:pt x="200283" y="196682"/>
                  </a:lnTo>
                  <a:lnTo>
                    <a:pt x="199540" y="198577"/>
                  </a:lnTo>
                  <a:lnTo>
                    <a:pt x="198054" y="202063"/>
                  </a:lnTo>
                  <a:lnTo>
                    <a:pt x="196691" y="206045"/>
                  </a:lnTo>
                  <a:lnTo>
                    <a:pt x="197434" y="208826"/>
                  </a:lnTo>
                  <a:lnTo>
                    <a:pt x="198549" y="211407"/>
                  </a:lnTo>
                  <a:lnTo>
                    <a:pt x="198797" y="214189"/>
                  </a:lnTo>
                  <a:lnTo>
                    <a:pt x="199349" y="216360"/>
                  </a:lnTo>
                  <a:lnTo>
                    <a:pt x="197863" y="217942"/>
                  </a:lnTo>
                  <a:lnTo>
                    <a:pt x="196996" y="220218"/>
                  </a:lnTo>
                  <a:lnTo>
                    <a:pt x="194463" y="219818"/>
                  </a:lnTo>
                  <a:lnTo>
                    <a:pt x="191358" y="217637"/>
                  </a:lnTo>
                  <a:lnTo>
                    <a:pt x="190700" y="214474"/>
                  </a:lnTo>
                  <a:lnTo>
                    <a:pt x="188309" y="212274"/>
                  </a:lnTo>
                  <a:lnTo>
                    <a:pt x="186737" y="211122"/>
                  </a:lnTo>
                  <a:lnTo>
                    <a:pt x="184147" y="210950"/>
                  </a:lnTo>
                  <a:lnTo>
                    <a:pt x="180004" y="211979"/>
                  </a:lnTo>
                  <a:lnTo>
                    <a:pt x="174584" y="212770"/>
                  </a:lnTo>
                  <a:lnTo>
                    <a:pt x="170498" y="212979"/>
                  </a:lnTo>
                  <a:lnTo>
                    <a:pt x="168269" y="214103"/>
                  </a:lnTo>
                  <a:lnTo>
                    <a:pt x="164973" y="215208"/>
                  </a:lnTo>
                  <a:lnTo>
                    <a:pt x="163697" y="213893"/>
                  </a:lnTo>
                  <a:lnTo>
                    <a:pt x="161868" y="210303"/>
                  </a:lnTo>
                  <a:lnTo>
                    <a:pt x="160373" y="206721"/>
                  </a:lnTo>
                  <a:lnTo>
                    <a:pt x="159334" y="205149"/>
                  </a:lnTo>
                  <a:lnTo>
                    <a:pt x="158439" y="204711"/>
                  </a:lnTo>
                  <a:lnTo>
                    <a:pt x="157334" y="204797"/>
                  </a:lnTo>
                  <a:lnTo>
                    <a:pt x="156067" y="205930"/>
                  </a:lnTo>
                  <a:lnTo>
                    <a:pt x="155115" y="207102"/>
                  </a:lnTo>
                  <a:lnTo>
                    <a:pt x="153771" y="207512"/>
                  </a:lnTo>
                  <a:lnTo>
                    <a:pt x="151695" y="208455"/>
                  </a:lnTo>
                  <a:lnTo>
                    <a:pt x="150181" y="209731"/>
                  </a:lnTo>
                  <a:lnTo>
                    <a:pt x="148524" y="213027"/>
                  </a:lnTo>
                  <a:lnTo>
                    <a:pt x="147428" y="212798"/>
                  </a:lnTo>
                  <a:lnTo>
                    <a:pt x="146295" y="212036"/>
                  </a:lnTo>
                  <a:lnTo>
                    <a:pt x="144989" y="208350"/>
                  </a:lnTo>
                  <a:lnTo>
                    <a:pt x="143199" y="207502"/>
                  </a:lnTo>
                  <a:lnTo>
                    <a:pt x="140332" y="207454"/>
                  </a:lnTo>
                  <a:lnTo>
                    <a:pt x="136779" y="206673"/>
                  </a:lnTo>
                  <a:lnTo>
                    <a:pt x="133893" y="205549"/>
                  </a:lnTo>
                  <a:lnTo>
                    <a:pt x="132845" y="205816"/>
                  </a:lnTo>
                  <a:lnTo>
                    <a:pt x="131121" y="207388"/>
                  </a:lnTo>
                  <a:lnTo>
                    <a:pt x="129274" y="207616"/>
                  </a:lnTo>
                  <a:lnTo>
                    <a:pt x="125196" y="206216"/>
                  </a:lnTo>
                  <a:lnTo>
                    <a:pt x="124406" y="206864"/>
                  </a:lnTo>
                  <a:lnTo>
                    <a:pt x="123330" y="208931"/>
                  </a:lnTo>
                  <a:lnTo>
                    <a:pt x="122063" y="210922"/>
                  </a:lnTo>
                  <a:lnTo>
                    <a:pt x="120958" y="211122"/>
                  </a:lnTo>
                  <a:lnTo>
                    <a:pt x="120339" y="210607"/>
                  </a:lnTo>
                  <a:lnTo>
                    <a:pt x="120682" y="207073"/>
                  </a:lnTo>
                  <a:lnTo>
                    <a:pt x="118320" y="205826"/>
                  </a:lnTo>
                  <a:lnTo>
                    <a:pt x="114338" y="205626"/>
                  </a:lnTo>
                  <a:lnTo>
                    <a:pt x="111538" y="206140"/>
                  </a:lnTo>
                  <a:lnTo>
                    <a:pt x="110176" y="205997"/>
                  </a:lnTo>
                  <a:lnTo>
                    <a:pt x="109471" y="205311"/>
                  </a:lnTo>
                  <a:lnTo>
                    <a:pt x="106042" y="199358"/>
                  </a:lnTo>
                  <a:lnTo>
                    <a:pt x="104232" y="198977"/>
                  </a:lnTo>
                  <a:lnTo>
                    <a:pt x="100984" y="199272"/>
                  </a:lnTo>
                  <a:lnTo>
                    <a:pt x="96193" y="198549"/>
                  </a:lnTo>
                  <a:lnTo>
                    <a:pt x="90668" y="197206"/>
                  </a:lnTo>
                  <a:lnTo>
                    <a:pt x="87630" y="196710"/>
                  </a:lnTo>
                  <a:lnTo>
                    <a:pt x="86059" y="195367"/>
                  </a:lnTo>
                  <a:lnTo>
                    <a:pt x="82658" y="194910"/>
                  </a:lnTo>
                  <a:lnTo>
                    <a:pt x="73514" y="192386"/>
                  </a:lnTo>
                  <a:lnTo>
                    <a:pt x="69790" y="191938"/>
                  </a:lnTo>
                  <a:lnTo>
                    <a:pt x="64294" y="191900"/>
                  </a:lnTo>
                  <a:lnTo>
                    <a:pt x="55931" y="191338"/>
                  </a:lnTo>
                  <a:lnTo>
                    <a:pt x="50568" y="191653"/>
                  </a:lnTo>
                  <a:lnTo>
                    <a:pt x="48083" y="192491"/>
                  </a:lnTo>
                  <a:lnTo>
                    <a:pt x="45215" y="193015"/>
                  </a:lnTo>
                  <a:lnTo>
                    <a:pt x="40367" y="193472"/>
                  </a:lnTo>
                  <a:lnTo>
                    <a:pt x="38395" y="193424"/>
                  </a:lnTo>
                  <a:lnTo>
                    <a:pt x="35290" y="193700"/>
                  </a:lnTo>
                  <a:lnTo>
                    <a:pt x="31728" y="194377"/>
                  </a:lnTo>
                  <a:lnTo>
                    <a:pt x="30709" y="195624"/>
                  </a:lnTo>
                  <a:lnTo>
                    <a:pt x="29537" y="198377"/>
                  </a:lnTo>
                  <a:lnTo>
                    <a:pt x="25441" y="203121"/>
                  </a:lnTo>
                  <a:lnTo>
                    <a:pt x="21470" y="206264"/>
                  </a:lnTo>
                  <a:lnTo>
                    <a:pt x="20746" y="206531"/>
                  </a:lnTo>
                  <a:lnTo>
                    <a:pt x="18422" y="204864"/>
                  </a:lnTo>
                  <a:lnTo>
                    <a:pt x="16488" y="204302"/>
                  </a:lnTo>
                  <a:lnTo>
                    <a:pt x="14211" y="204121"/>
                  </a:lnTo>
                  <a:lnTo>
                    <a:pt x="12602" y="204654"/>
                  </a:lnTo>
                  <a:lnTo>
                    <a:pt x="11592" y="205445"/>
                  </a:lnTo>
                  <a:lnTo>
                    <a:pt x="11725" y="209093"/>
                  </a:lnTo>
                  <a:lnTo>
                    <a:pt x="11497" y="209407"/>
                  </a:lnTo>
                  <a:lnTo>
                    <a:pt x="9744" y="205083"/>
                  </a:lnTo>
                  <a:lnTo>
                    <a:pt x="9887" y="201158"/>
                  </a:lnTo>
                  <a:lnTo>
                    <a:pt x="10859" y="198911"/>
                  </a:lnTo>
                  <a:lnTo>
                    <a:pt x="12049" y="196882"/>
                  </a:lnTo>
                  <a:lnTo>
                    <a:pt x="11563" y="193843"/>
                  </a:lnTo>
                  <a:lnTo>
                    <a:pt x="12725" y="189814"/>
                  </a:lnTo>
                  <a:lnTo>
                    <a:pt x="12764" y="186890"/>
                  </a:lnTo>
                  <a:lnTo>
                    <a:pt x="12249" y="185633"/>
                  </a:lnTo>
                  <a:lnTo>
                    <a:pt x="11306" y="184175"/>
                  </a:lnTo>
                  <a:lnTo>
                    <a:pt x="8716" y="182556"/>
                  </a:lnTo>
                  <a:lnTo>
                    <a:pt x="7572" y="181289"/>
                  </a:lnTo>
                  <a:lnTo>
                    <a:pt x="4067" y="179594"/>
                  </a:lnTo>
                  <a:lnTo>
                    <a:pt x="591" y="177489"/>
                  </a:lnTo>
                  <a:lnTo>
                    <a:pt x="0" y="176193"/>
                  </a:lnTo>
                  <a:lnTo>
                    <a:pt x="162" y="175308"/>
                  </a:lnTo>
                  <a:lnTo>
                    <a:pt x="771" y="173955"/>
                  </a:lnTo>
                  <a:lnTo>
                    <a:pt x="3429" y="170002"/>
                  </a:lnTo>
                  <a:lnTo>
                    <a:pt x="6305" y="166154"/>
                  </a:lnTo>
                  <a:lnTo>
                    <a:pt x="8144" y="164611"/>
                  </a:lnTo>
                  <a:lnTo>
                    <a:pt x="17907" y="159658"/>
                  </a:lnTo>
                  <a:lnTo>
                    <a:pt x="19412" y="157924"/>
                  </a:lnTo>
                  <a:lnTo>
                    <a:pt x="19793" y="154991"/>
                  </a:lnTo>
                  <a:lnTo>
                    <a:pt x="19812" y="152857"/>
                  </a:lnTo>
                  <a:lnTo>
                    <a:pt x="19631" y="149047"/>
                  </a:lnTo>
                  <a:lnTo>
                    <a:pt x="19031" y="143618"/>
                  </a:lnTo>
                  <a:lnTo>
                    <a:pt x="18288" y="139865"/>
                  </a:lnTo>
                  <a:lnTo>
                    <a:pt x="16421" y="132797"/>
                  </a:lnTo>
                  <a:lnTo>
                    <a:pt x="11335" y="118100"/>
                  </a:lnTo>
                  <a:lnTo>
                    <a:pt x="8277" y="102737"/>
                  </a:lnTo>
                  <a:lnTo>
                    <a:pt x="10268" y="103642"/>
                  </a:lnTo>
                  <a:lnTo>
                    <a:pt x="14935" y="103975"/>
                  </a:lnTo>
                  <a:lnTo>
                    <a:pt x="18641" y="102918"/>
                  </a:lnTo>
                  <a:lnTo>
                    <a:pt x="20564" y="102765"/>
                  </a:lnTo>
                  <a:lnTo>
                    <a:pt x="22279" y="103108"/>
                  </a:lnTo>
                  <a:lnTo>
                    <a:pt x="24832" y="102498"/>
                  </a:lnTo>
                  <a:lnTo>
                    <a:pt x="27165" y="102251"/>
                  </a:lnTo>
                  <a:lnTo>
                    <a:pt x="28375" y="103632"/>
                  </a:lnTo>
                  <a:lnTo>
                    <a:pt x="30547" y="104851"/>
                  </a:lnTo>
                  <a:lnTo>
                    <a:pt x="34843" y="103099"/>
                  </a:lnTo>
                  <a:lnTo>
                    <a:pt x="38643" y="100917"/>
                  </a:lnTo>
                  <a:lnTo>
                    <a:pt x="42586" y="101155"/>
                  </a:lnTo>
                  <a:lnTo>
                    <a:pt x="43149" y="100079"/>
                  </a:lnTo>
                  <a:lnTo>
                    <a:pt x="44129" y="94602"/>
                  </a:lnTo>
                  <a:lnTo>
                    <a:pt x="45301" y="93402"/>
                  </a:lnTo>
                  <a:lnTo>
                    <a:pt x="50016" y="93955"/>
                  </a:lnTo>
                  <a:lnTo>
                    <a:pt x="51759" y="92964"/>
                  </a:lnTo>
                  <a:lnTo>
                    <a:pt x="53588" y="90259"/>
                  </a:lnTo>
                  <a:lnTo>
                    <a:pt x="56369" y="88563"/>
                  </a:lnTo>
                  <a:lnTo>
                    <a:pt x="58693" y="88573"/>
                  </a:lnTo>
                  <a:lnTo>
                    <a:pt x="61113" y="86668"/>
                  </a:lnTo>
                  <a:lnTo>
                    <a:pt x="62303" y="87944"/>
                  </a:lnTo>
                  <a:lnTo>
                    <a:pt x="62884" y="90221"/>
                  </a:lnTo>
                  <a:lnTo>
                    <a:pt x="62084" y="92030"/>
                  </a:lnTo>
                  <a:lnTo>
                    <a:pt x="62427" y="92745"/>
                  </a:lnTo>
                  <a:lnTo>
                    <a:pt x="64103" y="93640"/>
                  </a:lnTo>
                  <a:lnTo>
                    <a:pt x="66970" y="93612"/>
                  </a:lnTo>
                  <a:lnTo>
                    <a:pt x="68809" y="92869"/>
                  </a:lnTo>
                  <a:lnTo>
                    <a:pt x="69237" y="91830"/>
                  </a:lnTo>
                  <a:lnTo>
                    <a:pt x="69237" y="89945"/>
                  </a:lnTo>
                  <a:lnTo>
                    <a:pt x="68780" y="88182"/>
                  </a:lnTo>
                  <a:lnTo>
                    <a:pt x="67561" y="86668"/>
                  </a:lnTo>
                  <a:lnTo>
                    <a:pt x="65275" y="85877"/>
                  </a:lnTo>
                  <a:lnTo>
                    <a:pt x="63684" y="85858"/>
                  </a:lnTo>
                  <a:lnTo>
                    <a:pt x="63418" y="84887"/>
                  </a:lnTo>
                  <a:lnTo>
                    <a:pt x="63961" y="82820"/>
                  </a:lnTo>
                  <a:lnTo>
                    <a:pt x="65370" y="78991"/>
                  </a:lnTo>
                  <a:lnTo>
                    <a:pt x="67103" y="75533"/>
                  </a:lnTo>
                  <a:lnTo>
                    <a:pt x="68161" y="74228"/>
                  </a:lnTo>
                  <a:lnTo>
                    <a:pt x="68342" y="73019"/>
                  </a:lnTo>
                  <a:lnTo>
                    <a:pt x="68142" y="70923"/>
                  </a:lnTo>
                  <a:lnTo>
                    <a:pt x="68104" y="67142"/>
                  </a:lnTo>
                  <a:lnTo>
                    <a:pt x="69656" y="61808"/>
                  </a:lnTo>
                  <a:lnTo>
                    <a:pt x="71752" y="57826"/>
                  </a:lnTo>
                  <a:lnTo>
                    <a:pt x="74562" y="56521"/>
                  </a:lnTo>
                  <a:lnTo>
                    <a:pt x="78000" y="55826"/>
                  </a:lnTo>
                  <a:lnTo>
                    <a:pt x="80200" y="53921"/>
                  </a:lnTo>
                  <a:lnTo>
                    <a:pt x="81286" y="51730"/>
                  </a:lnTo>
                  <a:lnTo>
                    <a:pt x="81696" y="49873"/>
                  </a:lnTo>
                  <a:lnTo>
                    <a:pt x="82220" y="48273"/>
                  </a:lnTo>
                  <a:lnTo>
                    <a:pt x="83315" y="47568"/>
                  </a:lnTo>
                  <a:lnTo>
                    <a:pt x="91583" y="48006"/>
                  </a:lnTo>
                  <a:lnTo>
                    <a:pt x="92850" y="44548"/>
                  </a:lnTo>
                  <a:lnTo>
                    <a:pt x="93564" y="43586"/>
                  </a:lnTo>
                  <a:lnTo>
                    <a:pt x="95145" y="42558"/>
                  </a:lnTo>
                  <a:lnTo>
                    <a:pt x="96250" y="41329"/>
                  </a:lnTo>
                  <a:lnTo>
                    <a:pt x="95841" y="40377"/>
                  </a:lnTo>
                  <a:lnTo>
                    <a:pt x="93726" y="39767"/>
                  </a:lnTo>
                  <a:lnTo>
                    <a:pt x="88754" y="39224"/>
                  </a:lnTo>
                  <a:lnTo>
                    <a:pt x="87754" y="38072"/>
                  </a:lnTo>
                  <a:lnTo>
                    <a:pt x="88068" y="36690"/>
                  </a:lnTo>
                  <a:lnTo>
                    <a:pt x="89392" y="33109"/>
                  </a:lnTo>
                  <a:lnTo>
                    <a:pt x="90659" y="28480"/>
                  </a:lnTo>
                  <a:lnTo>
                    <a:pt x="91317" y="24889"/>
                  </a:lnTo>
                  <a:lnTo>
                    <a:pt x="91383" y="22765"/>
                  </a:lnTo>
                  <a:lnTo>
                    <a:pt x="92097" y="22193"/>
                  </a:lnTo>
                  <a:lnTo>
                    <a:pt x="96145" y="21517"/>
                  </a:lnTo>
                  <a:lnTo>
                    <a:pt x="97507" y="20793"/>
                  </a:lnTo>
                  <a:lnTo>
                    <a:pt x="100994" y="15878"/>
                  </a:lnTo>
                  <a:lnTo>
                    <a:pt x="103651" y="15040"/>
                  </a:lnTo>
                  <a:lnTo>
                    <a:pt x="110519" y="16307"/>
                  </a:lnTo>
                  <a:lnTo>
                    <a:pt x="113662" y="16212"/>
                  </a:lnTo>
                  <a:lnTo>
                    <a:pt x="114519" y="16326"/>
                  </a:lnTo>
                  <a:lnTo>
                    <a:pt x="117663" y="16545"/>
                  </a:lnTo>
                  <a:lnTo>
                    <a:pt x="118006" y="16050"/>
                  </a:lnTo>
                  <a:lnTo>
                    <a:pt x="119415" y="11182"/>
                  </a:lnTo>
                  <a:lnTo>
                    <a:pt x="120805" y="9763"/>
                  </a:lnTo>
                  <a:lnTo>
                    <a:pt x="126206" y="3334"/>
                  </a:lnTo>
                  <a:lnTo>
                    <a:pt x="129835" y="600"/>
                  </a:lnTo>
                  <a:lnTo>
                    <a:pt x="132131" y="0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6" name="Forme libre : forme 12">
              <a:extLst>
                <a:ext uri="{FF2B5EF4-FFF2-40B4-BE49-F238E27FC236}">
                  <a16:creationId xmlns:a16="http://schemas.microsoft.com/office/drawing/2014/main" id="{0BF9A78C-00D8-7104-CC75-D5D3C47C52B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538468" y="4476517"/>
              <a:ext cx="415152" cy="262331"/>
            </a:xfrm>
            <a:custGeom>
              <a:avLst/>
              <a:gdLst>
                <a:gd name="connsiteX0" fmla="*/ 95012 w 119881"/>
                <a:gd name="connsiteY0" fmla="*/ 9944 h 75752"/>
                <a:gd name="connsiteX1" fmla="*/ 95821 w 119881"/>
                <a:gd name="connsiteY1" fmla="*/ 10459 h 75752"/>
                <a:gd name="connsiteX2" fmla="*/ 97726 w 119881"/>
                <a:gd name="connsiteY2" fmla="*/ 12202 h 75752"/>
                <a:gd name="connsiteX3" fmla="*/ 97279 w 119881"/>
                <a:gd name="connsiteY3" fmla="*/ 15164 h 75752"/>
                <a:gd name="connsiteX4" fmla="*/ 95097 w 119881"/>
                <a:gd name="connsiteY4" fmla="*/ 19926 h 75752"/>
                <a:gd name="connsiteX5" fmla="*/ 93945 w 119881"/>
                <a:gd name="connsiteY5" fmla="*/ 23774 h 75752"/>
                <a:gd name="connsiteX6" fmla="*/ 93821 w 119881"/>
                <a:gd name="connsiteY6" fmla="*/ 26718 h 75752"/>
                <a:gd name="connsiteX7" fmla="*/ 94040 w 119881"/>
                <a:gd name="connsiteY7" fmla="*/ 28099 h 75752"/>
                <a:gd name="connsiteX8" fmla="*/ 94431 w 119881"/>
                <a:gd name="connsiteY8" fmla="*/ 28080 h 75752"/>
                <a:gd name="connsiteX9" fmla="*/ 96507 w 119881"/>
                <a:gd name="connsiteY9" fmla="*/ 28289 h 75752"/>
                <a:gd name="connsiteX10" fmla="*/ 97574 w 119881"/>
                <a:gd name="connsiteY10" fmla="*/ 28289 h 75752"/>
                <a:gd name="connsiteX11" fmla="*/ 100917 w 119881"/>
                <a:gd name="connsiteY11" fmla="*/ 29080 h 75752"/>
                <a:gd name="connsiteX12" fmla="*/ 103594 w 119881"/>
                <a:gd name="connsiteY12" fmla="*/ 30242 h 75752"/>
                <a:gd name="connsiteX13" fmla="*/ 104118 w 119881"/>
                <a:gd name="connsiteY13" fmla="*/ 31471 h 75752"/>
                <a:gd name="connsiteX14" fmla="*/ 104460 w 119881"/>
                <a:gd name="connsiteY14" fmla="*/ 32966 h 75752"/>
                <a:gd name="connsiteX15" fmla="*/ 107652 w 119881"/>
                <a:gd name="connsiteY15" fmla="*/ 35005 h 75752"/>
                <a:gd name="connsiteX16" fmla="*/ 111300 w 119881"/>
                <a:gd name="connsiteY16" fmla="*/ 36328 h 75752"/>
                <a:gd name="connsiteX17" fmla="*/ 112538 w 119881"/>
                <a:gd name="connsiteY17" fmla="*/ 35900 h 75752"/>
                <a:gd name="connsiteX18" fmla="*/ 117072 w 119881"/>
                <a:gd name="connsiteY18" fmla="*/ 31128 h 75752"/>
                <a:gd name="connsiteX19" fmla="*/ 118824 w 119881"/>
                <a:gd name="connsiteY19" fmla="*/ 31918 h 75752"/>
                <a:gd name="connsiteX20" fmla="*/ 119882 w 119881"/>
                <a:gd name="connsiteY20" fmla="*/ 34452 h 75752"/>
                <a:gd name="connsiteX21" fmla="*/ 119834 w 119881"/>
                <a:gd name="connsiteY21" fmla="*/ 35805 h 75752"/>
                <a:gd name="connsiteX22" fmla="*/ 118586 w 119881"/>
                <a:gd name="connsiteY22" fmla="*/ 40862 h 75752"/>
                <a:gd name="connsiteX23" fmla="*/ 118367 w 119881"/>
                <a:gd name="connsiteY23" fmla="*/ 43577 h 75752"/>
                <a:gd name="connsiteX24" fmla="*/ 119443 w 119881"/>
                <a:gd name="connsiteY24" fmla="*/ 45368 h 75752"/>
                <a:gd name="connsiteX25" fmla="*/ 119558 w 119881"/>
                <a:gd name="connsiteY25" fmla="*/ 46768 h 75752"/>
                <a:gd name="connsiteX26" fmla="*/ 119243 w 119881"/>
                <a:gd name="connsiteY26" fmla="*/ 48035 h 75752"/>
                <a:gd name="connsiteX27" fmla="*/ 117434 w 119881"/>
                <a:gd name="connsiteY27" fmla="*/ 48149 h 75752"/>
                <a:gd name="connsiteX28" fmla="*/ 115005 w 119881"/>
                <a:gd name="connsiteY28" fmla="*/ 47463 h 75752"/>
                <a:gd name="connsiteX29" fmla="*/ 112957 w 119881"/>
                <a:gd name="connsiteY29" fmla="*/ 45282 h 75752"/>
                <a:gd name="connsiteX30" fmla="*/ 111404 w 119881"/>
                <a:gd name="connsiteY30" fmla="*/ 45549 h 75752"/>
                <a:gd name="connsiteX31" fmla="*/ 110061 w 119881"/>
                <a:gd name="connsiteY31" fmla="*/ 46111 h 75752"/>
                <a:gd name="connsiteX32" fmla="*/ 109366 w 119881"/>
                <a:gd name="connsiteY32" fmla="*/ 48168 h 75752"/>
                <a:gd name="connsiteX33" fmla="*/ 108756 w 119881"/>
                <a:gd name="connsiteY33" fmla="*/ 50625 h 75752"/>
                <a:gd name="connsiteX34" fmla="*/ 108956 w 119881"/>
                <a:gd name="connsiteY34" fmla="*/ 51988 h 75752"/>
                <a:gd name="connsiteX35" fmla="*/ 109918 w 119881"/>
                <a:gd name="connsiteY35" fmla="*/ 53045 h 75752"/>
                <a:gd name="connsiteX36" fmla="*/ 110661 w 119881"/>
                <a:gd name="connsiteY36" fmla="*/ 55274 h 75752"/>
                <a:gd name="connsiteX37" fmla="*/ 111204 w 119881"/>
                <a:gd name="connsiteY37" fmla="*/ 58169 h 75752"/>
                <a:gd name="connsiteX38" fmla="*/ 111614 w 119881"/>
                <a:gd name="connsiteY38" fmla="*/ 59493 h 75752"/>
                <a:gd name="connsiteX39" fmla="*/ 111166 w 119881"/>
                <a:gd name="connsiteY39" fmla="*/ 60084 h 75752"/>
                <a:gd name="connsiteX40" fmla="*/ 109890 w 119881"/>
                <a:gd name="connsiteY40" fmla="*/ 60484 h 75752"/>
                <a:gd name="connsiteX41" fmla="*/ 108823 w 119881"/>
                <a:gd name="connsiteY41" fmla="*/ 60093 h 75752"/>
                <a:gd name="connsiteX42" fmla="*/ 106975 w 119881"/>
                <a:gd name="connsiteY42" fmla="*/ 56636 h 75752"/>
                <a:gd name="connsiteX43" fmla="*/ 106108 w 119881"/>
                <a:gd name="connsiteY43" fmla="*/ 55321 h 75752"/>
                <a:gd name="connsiteX44" fmla="*/ 104642 w 119881"/>
                <a:gd name="connsiteY44" fmla="*/ 55083 h 75752"/>
                <a:gd name="connsiteX45" fmla="*/ 102060 w 119881"/>
                <a:gd name="connsiteY45" fmla="*/ 55931 h 75752"/>
                <a:gd name="connsiteX46" fmla="*/ 98098 w 119881"/>
                <a:gd name="connsiteY46" fmla="*/ 57864 h 75752"/>
                <a:gd name="connsiteX47" fmla="*/ 96488 w 119881"/>
                <a:gd name="connsiteY47" fmla="*/ 57855 h 75752"/>
                <a:gd name="connsiteX48" fmla="*/ 95135 w 119881"/>
                <a:gd name="connsiteY48" fmla="*/ 57465 h 75752"/>
                <a:gd name="connsiteX49" fmla="*/ 93859 w 119881"/>
                <a:gd name="connsiteY49" fmla="*/ 55826 h 75752"/>
                <a:gd name="connsiteX50" fmla="*/ 92773 w 119881"/>
                <a:gd name="connsiteY50" fmla="*/ 52654 h 75752"/>
                <a:gd name="connsiteX51" fmla="*/ 92430 w 119881"/>
                <a:gd name="connsiteY51" fmla="*/ 50663 h 75752"/>
                <a:gd name="connsiteX52" fmla="*/ 91678 w 119881"/>
                <a:gd name="connsiteY52" fmla="*/ 50721 h 75752"/>
                <a:gd name="connsiteX53" fmla="*/ 89135 w 119881"/>
                <a:gd name="connsiteY53" fmla="*/ 50149 h 75752"/>
                <a:gd name="connsiteX54" fmla="*/ 87954 w 119881"/>
                <a:gd name="connsiteY54" fmla="*/ 50940 h 75752"/>
                <a:gd name="connsiteX55" fmla="*/ 87944 w 119881"/>
                <a:gd name="connsiteY55" fmla="*/ 54178 h 75752"/>
                <a:gd name="connsiteX56" fmla="*/ 87716 w 119881"/>
                <a:gd name="connsiteY56" fmla="*/ 58217 h 75752"/>
                <a:gd name="connsiteX57" fmla="*/ 86439 w 119881"/>
                <a:gd name="connsiteY57" fmla="*/ 60817 h 75752"/>
                <a:gd name="connsiteX58" fmla="*/ 82896 w 119881"/>
                <a:gd name="connsiteY58" fmla="*/ 65313 h 75752"/>
                <a:gd name="connsiteX59" fmla="*/ 81601 w 119881"/>
                <a:gd name="connsiteY59" fmla="*/ 67266 h 75752"/>
                <a:gd name="connsiteX60" fmla="*/ 81077 w 119881"/>
                <a:gd name="connsiteY60" fmla="*/ 68675 h 75752"/>
                <a:gd name="connsiteX61" fmla="*/ 80972 w 119881"/>
                <a:gd name="connsiteY61" fmla="*/ 69895 h 75752"/>
                <a:gd name="connsiteX62" fmla="*/ 81515 w 119881"/>
                <a:gd name="connsiteY62" fmla="*/ 72000 h 75752"/>
                <a:gd name="connsiteX63" fmla="*/ 82248 w 119881"/>
                <a:gd name="connsiteY63" fmla="*/ 74009 h 75752"/>
                <a:gd name="connsiteX64" fmla="*/ 81629 w 119881"/>
                <a:gd name="connsiteY64" fmla="*/ 75152 h 75752"/>
                <a:gd name="connsiteX65" fmla="*/ 79762 w 119881"/>
                <a:gd name="connsiteY65" fmla="*/ 75752 h 75752"/>
                <a:gd name="connsiteX66" fmla="*/ 78438 w 119881"/>
                <a:gd name="connsiteY66" fmla="*/ 74533 h 75752"/>
                <a:gd name="connsiteX67" fmla="*/ 77933 w 119881"/>
                <a:gd name="connsiteY67" fmla="*/ 72362 h 75752"/>
                <a:gd name="connsiteX68" fmla="*/ 75066 w 119881"/>
                <a:gd name="connsiteY68" fmla="*/ 69390 h 75752"/>
                <a:gd name="connsiteX69" fmla="*/ 76371 w 119881"/>
                <a:gd name="connsiteY69" fmla="*/ 66904 h 75752"/>
                <a:gd name="connsiteX70" fmla="*/ 76152 w 119881"/>
                <a:gd name="connsiteY70" fmla="*/ 66285 h 75752"/>
                <a:gd name="connsiteX71" fmla="*/ 71418 w 119881"/>
                <a:gd name="connsiteY71" fmla="*/ 64989 h 75752"/>
                <a:gd name="connsiteX72" fmla="*/ 69380 w 119881"/>
                <a:gd name="connsiteY72" fmla="*/ 63103 h 75752"/>
                <a:gd name="connsiteX73" fmla="*/ 66522 w 119881"/>
                <a:gd name="connsiteY73" fmla="*/ 59789 h 75752"/>
                <a:gd name="connsiteX74" fmla="*/ 65989 w 119881"/>
                <a:gd name="connsiteY74" fmla="*/ 58369 h 75752"/>
                <a:gd name="connsiteX75" fmla="*/ 66113 w 119881"/>
                <a:gd name="connsiteY75" fmla="*/ 53740 h 75752"/>
                <a:gd name="connsiteX76" fmla="*/ 65942 w 119881"/>
                <a:gd name="connsiteY76" fmla="*/ 52616 h 75752"/>
                <a:gd name="connsiteX77" fmla="*/ 65561 w 119881"/>
                <a:gd name="connsiteY77" fmla="*/ 52064 h 75752"/>
                <a:gd name="connsiteX78" fmla="*/ 64179 w 119881"/>
                <a:gd name="connsiteY78" fmla="*/ 52102 h 75752"/>
                <a:gd name="connsiteX79" fmla="*/ 62246 w 119881"/>
                <a:gd name="connsiteY79" fmla="*/ 53712 h 75752"/>
                <a:gd name="connsiteX80" fmla="*/ 60465 w 119881"/>
                <a:gd name="connsiteY80" fmla="*/ 56112 h 75752"/>
                <a:gd name="connsiteX81" fmla="*/ 56826 w 119881"/>
                <a:gd name="connsiteY81" fmla="*/ 58826 h 75752"/>
                <a:gd name="connsiteX82" fmla="*/ 56445 w 119881"/>
                <a:gd name="connsiteY82" fmla="*/ 59398 h 75752"/>
                <a:gd name="connsiteX83" fmla="*/ 57674 w 119881"/>
                <a:gd name="connsiteY83" fmla="*/ 62036 h 75752"/>
                <a:gd name="connsiteX84" fmla="*/ 57617 w 119881"/>
                <a:gd name="connsiteY84" fmla="*/ 63055 h 75752"/>
                <a:gd name="connsiteX85" fmla="*/ 54645 w 119881"/>
                <a:gd name="connsiteY85" fmla="*/ 67256 h 75752"/>
                <a:gd name="connsiteX86" fmla="*/ 54083 w 119881"/>
                <a:gd name="connsiteY86" fmla="*/ 68637 h 75752"/>
                <a:gd name="connsiteX87" fmla="*/ 50320 w 119881"/>
                <a:gd name="connsiteY87" fmla="*/ 71257 h 75752"/>
                <a:gd name="connsiteX88" fmla="*/ 48596 w 119881"/>
                <a:gd name="connsiteY88" fmla="*/ 72238 h 75752"/>
                <a:gd name="connsiteX89" fmla="*/ 43377 w 119881"/>
                <a:gd name="connsiteY89" fmla="*/ 70314 h 75752"/>
                <a:gd name="connsiteX90" fmla="*/ 41929 w 119881"/>
                <a:gd name="connsiteY90" fmla="*/ 70085 h 75752"/>
                <a:gd name="connsiteX91" fmla="*/ 39605 w 119881"/>
                <a:gd name="connsiteY91" fmla="*/ 71371 h 75752"/>
                <a:gd name="connsiteX92" fmla="*/ 36309 w 119881"/>
                <a:gd name="connsiteY92" fmla="*/ 72600 h 75752"/>
                <a:gd name="connsiteX93" fmla="*/ 30985 w 119881"/>
                <a:gd name="connsiteY93" fmla="*/ 73828 h 75752"/>
                <a:gd name="connsiteX94" fmla="*/ 29023 w 119881"/>
                <a:gd name="connsiteY94" fmla="*/ 72933 h 75752"/>
                <a:gd name="connsiteX95" fmla="*/ 28099 w 119881"/>
                <a:gd name="connsiteY95" fmla="*/ 72095 h 75752"/>
                <a:gd name="connsiteX96" fmla="*/ 27641 w 119881"/>
                <a:gd name="connsiteY96" fmla="*/ 70818 h 75752"/>
                <a:gd name="connsiteX97" fmla="*/ 26298 w 119881"/>
                <a:gd name="connsiteY97" fmla="*/ 68580 h 75752"/>
                <a:gd name="connsiteX98" fmla="*/ 24794 w 119881"/>
                <a:gd name="connsiteY98" fmla="*/ 67256 h 75752"/>
                <a:gd name="connsiteX99" fmla="*/ 23746 w 119881"/>
                <a:gd name="connsiteY99" fmla="*/ 65808 h 75752"/>
                <a:gd name="connsiteX100" fmla="*/ 22345 w 119881"/>
                <a:gd name="connsiteY100" fmla="*/ 64227 h 75752"/>
                <a:gd name="connsiteX101" fmla="*/ 21441 w 119881"/>
                <a:gd name="connsiteY101" fmla="*/ 62903 h 75752"/>
                <a:gd name="connsiteX102" fmla="*/ 22641 w 119881"/>
                <a:gd name="connsiteY102" fmla="*/ 58655 h 75752"/>
                <a:gd name="connsiteX103" fmla="*/ 21765 w 119881"/>
                <a:gd name="connsiteY103" fmla="*/ 57169 h 75752"/>
                <a:gd name="connsiteX104" fmla="*/ 21317 w 119881"/>
                <a:gd name="connsiteY104" fmla="*/ 55036 h 75752"/>
                <a:gd name="connsiteX105" fmla="*/ 21545 w 119881"/>
                <a:gd name="connsiteY105" fmla="*/ 53588 h 75752"/>
                <a:gd name="connsiteX106" fmla="*/ 21069 w 119881"/>
                <a:gd name="connsiteY106" fmla="*/ 53235 h 75752"/>
                <a:gd name="connsiteX107" fmla="*/ 16259 w 119881"/>
                <a:gd name="connsiteY107" fmla="*/ 52397 h 75752"/>
                <a:gd name="connsiteX108" fmla="*/ 12268 w 119881"/>
                <a:gd name="connsiteY108" fmla="*/ 52664 h 75752"/>
                <a:gd name="connsiteX109" fmla="*/ 9410 w 119881"/>
                <a:gd name="connsiteY109" fmla="*/ 54083 h 75752"/>
                <a:gd name="connsiteX110" fmla="*/ 7077 w 119881"/>
                <a:gd name="connsiteY110" fmla="*/ 56445 h 75752"/>
                <a:gd name="connsiteX111" fmla="*/ 6791 w 119881"/>
                <a:gd name="connsiteY111" fmla="*/ 56960 h 75752"/>
                <a:gd name="connsiteX112" fmla="*/ 6944 w 119881"/>
                <a:gd name="connsiteY112" fmla="*/ 57379 h 75752"/>
                <a:gd name="connsiteX113" fmla="*/ 8106 w 119881"/>
                <a:gd name="connsiteY113" fmla="*/ 59541 h 75752"/>
                <a:gd name="connsiteX114" fmla="*/ 6134 w 119881"/>
                <a:gd name="connsiteY114" fmla="*/ 61827 h 75752"/>
                <a:gd name="connsiteX115" fmla="*/ 3115 w 119881"/>
                <a:gd name="connsiteY115" fmla="*/ 63598 h 75752"/>
                <a:gd name="connsiteX116" fmla="*/ 981 w 119881"/>
                <a:gd name="connsiteY116" fmla="*/ 63780 h 75752"/>
                <a:gd name="connsiteX117" fmla="*/ 38 w 119881"/>
                <a:gd name="connsiteY117" fmla="*/ 63437 h 75752"/>
                <a:gd name="connsiteX118" fmla="*/ 0 w 119881"/>
                <a:gd name="connsiteY118" fmla="*/ 60998 h 75752"/>
                <a:gd name="connsiteX119" fmla="*/ 1772 w 119881"/>
                <a:gd name="connsiteY119" fmla="*/ 60093 h 75752"/>
                <a:gd name="connsiteX120" fmla="*/ 3372 w 119881"/>
                <a:gd name="connsiteY120" fmla="*/ 58503 h 75752"/>
                <a:gd name="connsiteX121" fmla="*/ 3905 w 119881"/>
                <a:gd name="connsiteY121" fmla="*/ 56255 h 75752"/>
                <a:gd name="connsiteX122" fmla="*/ 4096 w 119881"/>
                <a:gd name="connsiteY122" fmla="*/ 54674 h 75752"/>
                <a:gd name="connsiteX123" fmla="*/ 2419 w 119881"/>
                <a:gd name="connsiteY123" fmla="*/ 52759 h 75752"/>
                <a:gd name="connsiteX124" fmla="*/ 2619 w 119881"/>
                <a:gd name="connsiteY124" fmla="*/ 51578 h 75752"/>
                <a:gd name="connsiteX125" fmla="*/ 3667 w 119881"/>
                <a:gd name="connsiteY125" fmla="*/ 49349 h 75752"/>
                <a:gd name="connsiteX126" fmla="*/ 4267 w 119881"/>
                <a:gd name="connsiteY126" fmla="*/ 47377 h 75752"/>
                <a:gd name="connsiteX127" fmla="*/ 5105 w 119881"/>
                <a:gd name="connsiteY127" fmla="*/ 45673 h 75752"/>
                <a:gd name="connsiteX128" fmla="*/ 8429 w 119881"/>
                <a:gd name="connsiteY128" fmla="*/ 42882 h 75752"/>
                <a:gd name="connsiteX129" fmla="*/ 11763 w 119881"/>
                <a:gd name="connsiteY129" fmla="*/ 40062 h 75752"/>
                <a:gd name="connsiteX130" fmla="*/ 12268 w 119881"/>
                <a:gd name="connsiteY130" fmla="*/ 37071 h 75752"/>
                <a:gd name="connsiteX131" fmla="*/ 12535 w 119881"/>
                <a:gd name="connsiteY131" fmla="*/ 33423 h 75752"/>
                <a:gd name="connsiteX132" fmla="*/ 13002 w 119881"/>
                <a:gd name="connsiteY132" fmla="*/ 32547 h 75752"/>
                <a:gd name="connsiteX133" fmla="*/ 17507 w 119881"/>
                <a:gd name="connsiteY133" fmla="*/ 30356 h 75752"/>
                <a:gd name="connsiteX134" fmla="*/ 18631 w 119881"/>
                <a:gd name="connsiteY134" fmla="*/ 29489 h 75752"/>
                <a:gd name="connsiteX135" fmla="*/ 19202 w 119881"/>
                <a:gd name="connsiteY135" fmla="*/ 28251 h 75752"/>
                <a:gd name="connsiteX136" fmla="*/ 22746 w 119881"/>
                <a:gd name="connsiteY136" fmla="*/ 24146 h 75752"/>
                <a:gd name="connsiteX137" fmla="*/ 26251 w 119881"/>
                <a:gd name="connsiteY137" fmla="*/ 20069 h 75752"/>
                <a:gd name="connsiteX138" fmla="*/ 26965 w 119881"/>
                <a:gd name="connsiteY138" fmla="*/ 18698 h 75752"/>
                <a:gd name="connsiteX139" fmla="*/ 27556 w 119881"/>
                <a:gd name="connsiteY139" fmla="*/ 17888 h 75752"/>
                <a:gd name="connsiteX140" fmla="*/ 27556 w 119881"/>
                <a:gd name="connsiteY140" fmla="*/ 17221 h 75752"/>
                <a:gd name="connsiteX141" fmla="*/ 27108 w 119881"/>
                <a:gd name="connsiteY141" fmla="*/ 16707 h 75752"/>
                <a:gd name="connsiteX142" fmla="*/ 25441 w 119881"/>
                <a:gd name="connsiteY142" fmla="*/ 16373 h 75752"/>
                <a:gd name="connsiteX143" fmla="*/ 24870 w 119881"/>
                <a:gd name="connsiteY143" fmla="*/ 15069 h 75752"/>
                <a:gd name="connsiteX144" fmla="*/ 26689 w 119881"/>
                <a:gd name="connsiteY144" fmla="*/ 12745 h 75752"/>
                <a:gd name="connsiteX145" fmla="*/ 28965 w 119881"/>
                <a:gd name="connsiteY145" fmla="*/ 11325 h 75752"/>
                <a:gd name="connsiteX146" fmla="*/ 31175 w 119881"/>
                <a:gd name="connsiteY146" fmla="*/ 11297 h 75752"/>
                <a:gd name="connsiteX147" fmla="*/ 32061 w 119881"/>
                <a:gd name="connsiteY147" fmla="*/ 11954 h 75752"/>
                <a:gd name="connsiteX148" fmla="*/ 32013 w 119881"/>
                <a:gd name="connsiteY148" fmla="*/ 12725 h 75752"/>
                <a:gd name="connsiteX149" fmla="*/ 32966 w 119881"/>
                <a:gd name="connsiteY149" fmla="*/ 13554 h 75752"/>
                <a:gd name="connsiteX150" fmla="*/ 34642 w 119881"/>
                <a:gd name="connsiteY150" fmla="*/ 13821 h 75752"/>
                <a:gd name="connsiteX151" fmla="*/ 36709 w 119881"/>
                <a:gd name="connsiteY151" fmla="*/ 13535 h 75752"/>
                <a:gd name="connsiteX152" fmla="*/ 38767 w 119881"/>
                <a:gd name="connsiteY152" fmla="*/ 12668 h 75752"/>
                <a:gd name="connsiteX153" fmla="*/ 40034 w 119881"/>
                <a:gd name="connsiteY153" fmla="*/ 10601 h 75752"/>
                <a:gd name="connsiteX154" fmla="*/ 40767 w 119881"/>
                <a:gd name="connsiteY154" fmla="*/ 9030 h 75752"/>
                <a:gd name="connsiteX155" fmla="*/ 43996 w 119881"/>
                <a:gd name="connsiteY155" fmla="*/ 7239 h 75752"/>
                <a:gd name="connsiteX156" fmla="*/ 46196 w 119881"/>
                <a:gd name="connsiteY156" fmla="*/ 8144 h 75752"/>
                <a:gd name="connsiteX157" fmla="*/ 52321 w 119881"/>
                <a:gd name="connsiteY157" fmla="*/ 8382 h 75752"/>
                <a:gd name="connsiteX158" fmla="*/ 56779 w 119881"/>
                <a:gd name="connsiteY158" fmla="*/ 7896 h 75752"/>
                <a:gd name="connsiteX159" fmla="*/ 59569 w 119881"/>
                <a:gd name="connsiteY159" fmla="*/ 6677 h 75752"/>
                <a:gd name="connsiteX160" fmla="*/ 63027 w 119881"/>
                <a:gd name="connsiteY160" fmla="*/ 6677 h 75752"/>
                <a:gd name="connsiteX161" fmla="*/ 65351 w 119881"/>
                <a:gd name="connsiteY161" fmla="*/ 7363 h 75752"/>
                <a:gd name="connsiteX162" fmla="*/ 65761 w 119881"/>
                <a:gd name="connsiteY162" fmla="*/ 7258 h 75752"/>
                <a:gd name="connsiteX163" fmla="*/ 66408 w 119881"/>
                <a:gd name="connsiteY163" fmla="*/ 7106 h 75752"/>
                <a:gd name="connsiteX164" fmla="*/ 67037 w 119881"/>
                <a:gd name="connsiteY164" fmla="*/ 6448 h 75752"/>
                <a:gd name="connsiteX165" fmla="*/ 69227 w 119881"/>
                <a:gd name="connsiteY165" fmla="*/ 6001 h 75752"/>
                <a:gd name="connsiteX166" fmla="*/ 69513 w 119881"/>
                <a:gd name="connsiteY166" fmla="*/ 5458 h 75752"/>
                <a:gd name="connsiteX167" fmla="*/ 69428 w 119881"/>
                <a:gd name="connsiteY167" fmla="*/ 4896 h 75752"/>
                <a:gd name="connsiteX168" fmla="*/ 69037 w 119881"/>
                <a:gd name="connsiteY168" fmla="*/ 4620 h 75752"/>
                <a:gd name="connsiteX169" fmla="*/ 66342 w 119881"/>
                <a:gd name="connsiteY169" fmla="*/ 4906 h 75752"/>
                <a:gd name="connsiteX170" fmla="*/ 65322 w 119881"/>
                <a:gd name="connsiteY170" fmla="*/ 4477 h 75752"/>
                <a:gd name="connsiteX171" fmla="*/ 65056 w 119881"/>
                <a:gd name="connsiteY171" fmla="*/ 3486 h 75752"/>
                <a:gd name="connsiteX172" fmla="*/ 65922 w 119881"/>
                <a:gd name="connsiteY172" fmla="*/ 1753 h 75752"/>
                <a:gd name="connsiteX173" fmla="*/ 67904 w 119881"/>
                <a:gd name="connsiteY173" fmla="*/ 343 h 75752"/>
                <a:gd name="connsiteX174" fmla="*/ 69580 w 119881"/>
                <a:gd name="connsiteY174" fmla="*/ 0 h 75752"/>
                <a:gd name="connsiteX175" fmla="*/ 70790 w 119881"/>
                <a:gd name="connsiteY175" fmla="*/ 381 h 75752"/>
                <a:gd name="connsiteX176" fmla="*/ 73733 w 119881"/>
                <a:gd name="connsiteY176" fmla="*/ 2991 h 75752"/>
                <a:gd name="connsiteX177" fmla="*/ 74447 w 119881"/>
                <a:gd name="connsiteY177" fmla="*/ 3077 h 75752"/>
                <a:gd name="connsiteX178" fmla="*/ 74857 w 119881"/>
                <a:gd name="connsiteY178" fmla="*/ 2610 h 75752"/>
                <a:gd name="connsiteX179" fmla="*/ 75467 w 119881"/>
                <a:gd name="connsiteY179" fmla="*/ 2343 h 75752"/>
                <a:gd name="connsiteX180" fmla="*/ 76486 w 119881"/>
                <a:gd name="connsiteY180" fmla="*/ 2858 h 75752"/>
                <a:gd name="connsiteX181" fmla="*/ 77629 w 119881"/>
                <a:gd name="connsiteY181" fmla="*/ 4477 h 75752"/>
                <a:gd name="connsiteX182" fmla="*/ 77829 w 119881"/>
                <a:gd name="connsiteY182" fmla="*/ 4724 h 75752"/>
                <a:gd name="connsiteX183" fmla="*/ 84411 w 119881"/>
                <a:gd name="connsiteY183" fmla="*/ 4153 h 75752"/>
                <a:gd name="connsiteX184" fmla="*/ 85887 w 119881"/>
                <a:gd name="connsiteY184" fmla="*/ 4153 h 75752"/>
                <a:gd name="connsiteX185" fmla="*/ 90354 w 119881"/>
                <a:gd name="connsiteY185" fmla="*/ 7001 h 7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</a:cxnLst>
              <a:rect l="l" t="t" r="r" b="b"/>
              <a:pathLst>
                <a:path w="119881" h="75752">
                  <a:moveTo>
                    <a:pt x="95012" y="9944"/>
                  </a:moveTo>
                  <a:lnTo>
                    <a:pt x="95821" y="10459"/>
                  </a:lnTo>
                  <a:lnTo>
                    <a:pt x="97726" y="12202"/>
                  </a:lnTo>
                  <a:lnTo>
                    <a:pt x="97279" y="15164"/>
                  </a:lnTo>
                  <a:lnTo>
                    <a:pt x="95097" y="19926"/>
                  </a:lnTo>
                  <a:lnTo>
                    <a:pt x="93945" y="23774"/>
                  </a:lnTo>
                  <a:lnTo>
                    <a:pt x="93821" y="26718"/>
                  </a:lnTo>
                  <a:lnTo>
                    <a:pt x="94040" y="28099"/>
                  </a:lnTo>
                  <a:lnTo>
                    <a:pt x="94431" y="28080"/>
                  </a:lnTo>
                  <a:lnTo>
                    <a:pt x="96507" y="28289"/>
                  </a:lnTo>
                  <a:lnTo>
                    <a:pt x="97574" y="28289"/>
                  </a:lnTo>
                  <a:lnTo>
                    <a:pt x="100917" y="29080"/>
                  </a:lnTo>
                  <a:lnTo>
                    <a:pt x="103594" y="30242"/>
                  </a:lnTo>
                  <a:lnTo>
                    <a:pt x="104118" y="31471"/>
                  </a:lnTo>
                  <a:lnTo>
                    <a:pt x="104460" y="32966"/>
                  </a:lnTo>
                  <a:lnTo>
                    <a:pt x="107652" y="35005"/>
                  </a:lnTo>
                  <a:lnTo>
                    <a:pt x="111300" y="36328"/>
                  </a:lnTo>
                  <a:lnTo>
                    <a:pt x="112538" y="35900"/>
                  </a:lnTo>
                  <a:lnTo>
                    <a:pt x="117072" y="31128"/>
                  </a:lnTo>
                  <a:lnTo>
                    <a:pt x="118824" y="31918"/>
                  </a:lnTo>
                  <a:lnTo>
                    <a:pt x="119882" y="34452"/>
                  </a:lnTo>
                  <a:lnTo>
                    <a:pt x="119834" y="35805"/>
                  </a:lnTo>
                  <a:lnTo>
                    <a:pt x="118586" y="40862"/>
                  </a:lnTo>
                  <a:lnTo>
                    <a:pt x="118367" y="43577"/>
                  </a:lnTo>
                  <a:lnTo>
                    <a:pt x="119443" y="45368"/>
                  </a:lnTo>
                  <a:lnTo>
                    <a:pt x="119558" y="46768"/>
                  </a:lnTo>
                  <a:lnTo>
                    <a:pt x="119243" y="48035"/>
                  </a:lnTo>
                  <a:lnTo>
                    <a:pt x="117434" y="48149"/>
                  </a:lnTo>
                  <a:lnTo>
                    <a:pt x="115005" y="47463"/>
                  </a:lnTo>
                  <a:lnTo>
                    <a:pt x="112957" y="45282"/>
                  </a:lnTo>
                  <a:lnTo>
                    <a:pt x="111404" y="45549"/>
                  </a:lnTo>
                  <a:lnTo>
                    <a:pt x="110061" y="46111"/>
                  </a:lnTo>
                  <a:lnTo>
                    <a:pt x="109366" y="48168"/>
                  </a:lnTo>
                  <a:lnTo>
                    <a:pt x="108756" y="50625"/>
                  </a:lnTo>
                  <a:lnTo>
                    <a:pt x="108956" y="51988"/>
                  </a:lnTo>
                  <a:lnTo>
                    <a:pt x="109918" y="53045"/>
                  </a:lnTo>
                  <a:lnTo>
                    <a:pt x="110661" y="55274"/>
                  </a:lnTo>
                  <a:lnTo>
                    <a:pt x="111204" y="58169"/>
                  </a:lnTo>
                  <a:lnTo>
                    <a:pt x="111614" y="59493"/>
                  </a:lnTo>
                  <a:lnTo>
                    <a:pt x="111166" y="60084"/>
                  </a:lnTo>
                  <a:lnTo>
                    <a:pt x="109890" y="60484"/>
                  </a:lnTo>
                  <a:lnTo>
                    <a:pt x="108823" y="60093"/>
                  </a:lnTo>
                  <a:lnTo>
                    <a:pt x="106975" y="56636"/>
                  </a:lnTo>
                  <a:lnTo>
                    <a:pt x="106108" y="55321"/>
                  </a:lnTo>
                  <a:lnTo>
                    <a:pt x="104642" y="55083"/>
                  </a:lnTo>
                  <a:lnTo>
                    <a:pt x="102060" y="55931"/>
                  </a:lnTo>
                  <a:lnTo>
                    <a:pt x="98098" y="57864"/>
                  </a:lnTo>
                  <a:lnTo>
                    <a:pt x="96488" y="57855"/>
                  </a:lnTo>
                  <a:lnTo>
                    <a:pt x="95135" y="57465"/>
                  </a:lnTo>
                  <a:lnTo>
                    <a:pt x="93859" y="55826"/>
                  </a:lnTo>
                  <a:lnTo>
                    <a:pt x="92773" y="52654"/>
                  </a:lnTo>
                  <a:lnTo>
                    <a:pt x="92430" y="50663"/>
                  </a:lnTo>
                  <a:lnTo>
                    <a:pt x="91678" y="50721"/>
                  </a:lnTo>
                  <a:lnTo>
                    <a:pt x="89135" y="50149"/>
                  </a:lnTo>
                  <a:lnTo>
                    <a:pt x="87954" y="50940"/>
                  </a:lnTo>
                  <a:lnTo>
                    <a:pt x="87944" y="54178"/>
                  </a:lnTo>
                  <a:lnTo>
                    <a:pt x="87716" y="58217"/>
                  </a:lnTo>
                  <a:lnTo>
                    <a:pt x="86439" y="60817"/>
                  </a:lnTo>
                  <a:lnTo>
                    <a:pt x="82896" y="65313"/>
                  </a:lnTo>
                  <a:lnTo>
                    <a:pt x="81601" y="67266"/>
                  </a:lnTo>
                  <a:lnTo>
                    <a:pt x="81077" y="68675"/>
                  </a:lnTo>
                  <a:lnTo>
                    <a:pt x="80972" y="69895"/>
                  </a:lnTo>
                  <a:lnTo>
                    <a:pt x="81515" y="72000"/>
                  </a:lnTo>
                  <a:lnTo>
                    <a:pt x="82248" y="74009"/>
                  </a:lnTo>
                  <a:lnTo>
                    <a:pt x="81629" y="75152"/>
                  </a:lnTo>
                  <a:lnTo>
                    <a:pt x="79762" y="75752"/>
                  </a:lnTo>
                  <a:lnTo>
                    <a:pt x="78438" y="74533"/>
                  </a:lnTo>
                  <a:lnTo>
                    <a:pt x="77933" y="72362"/>
                  </a:lnTo>
                  <a:lnTo>
                    <a:pt x="75066" y="69390"/>
                  </a:lnTo>
                  <a:lnTo>
                    <a:pt x="76371" y="66904"/>
                  </a:lnTo>
                  <a:lnTo>
                    <a:pt x="76152" y="66285"/>
                  </a:lnTo>
                  <a:lnTo>
                    <a:pt x="71418" y="64989"/>
                  </a:lnTo>
                  <a:lnTo>
                    <a:pt x="69380" y="63103"/>
                  </a:lnTo>
                  <a:lnTo>
                    <a:pt x="66522" y="59789"/>
                  </a:lnTo>
                  <a:lnTo>
                    <a:pt x="65989" y="58369"/>
                  </a:lnTo>
                  <a:lnTo>
                    <a:pt x="66113" y="53740"/>
                  </a:lnTo>
                  <a:lnTo>
                    <a:pt x="65942" y="52616"/>
                  </a:lnTo>
                  <a:lnTo>
                    <a:pt x="65561" y="52064"/>
                  </a:lnTo>
                  <a:lnTo>
                    <a:pt x="64179" y="52102"/>
                  </a:lnTo>
                  <a:lnTo>
                    <a:pt x="62246" y="53712"/>
                  </a:lnTo>
                  <a:lnTo>
                    <a:pt x="60465" y="56112"/>
                  </a:lnTo>
                  <a:lnTo>
                    <a:pt x="56826" y="58826"/>
                  </a:lnTo>
                  <a:lnTo>
                    <a:pt x="56445" y="59398"/>
                  </a:lnTo>
                  <a:lnTo>
                    <a:pt x="57674" y="62036"/>
                  </a:lnTo>
                  <a:lnTo>
                    <a:pt x="57617" y="63055"/>
                  </a:lnTo>
                  <a:lnTo>
                    <a:pt x="54645" y="67256"/>
                  </a:lnTo>
                  <a:lnTo>
                    <a:pt x="54083" y="68637"/>
                  </a:lnTo>
                  <a:lnTo>
                    <a:pt x="50320" y="71257"/>
                  </a:lnTo>
                  <a:lnTo>
                    <a:pt x="48596" y="72238"/>
                  </a:lnTo>
                  <a:lnTo>
                    <a:pt x="43377" y="70314"/>
                  </a:lnTo>
                  <a:lnTo>
                    <a:pt x="41929" y="70085"/>
                  </a:lnTo>
                  <a:lnTo>
                    <a:pt x="39605" y="71371"/>
                  </a:lnTo>
                  <a:lnTo>
                    <a:pt x="36309" y="72600"/>
                  </a:lnTo>
                  <a:lnTo>
                    <a:pt x="30985" y="73828"/>
                  </a:lnTo>
                  <a:lnTo>
                    <a:pt x="29023" y="72933"/>
                  </a:lnTo>
                  <a:lnTo>
                    <a:pt x="28099" y="72095"/>
                  </a:lnTo>
                  <a:lnTo>
                    <a:pt x="27641" y="70818"/>
                  </a:lnTo>
                  <a:lnTo>
                    <a:pt x="26298" y="68580"/>
                  </a:lnTo>
                  <a:lnTo>
                    <a:pt x="24794" y="67256"/>
                  </a:lnTo>
                  <a:lnTo>
                    <a:pt x="23746" y="65808"/>
                  </a:lnTo>
                  <a:lnTo>
                    <a:pt x="22345" y="64227"/>
                  </a:lnTo>
                  <a:lnTo>
                    <a:pt x="21441" y="62903"/>
                  </a:lnTo>
                  <a:lnTo>
                    <a:pt x="22641" y="58655"/>
                  </a:lnTo>
                  <a:lnTo>
                    <a:pt x="21765" y="57169"/>
                  </a:lnTo>
                  <a:lnTo>
                    <a:pt x="21317" y="55036"/>
                  </a:lnTo>
                  <a:lnTo>
                    <a:pt x="21545" y="53588"/>
                  </a:lnTo>
                  <a:lnTo>
                    <a:pt x="21069" y="53235"/>
                  </a:lnTo>
                  <a:lnTo>
                    <a:pt x="16259" y="52397"/>
                  </a:lnTo>
                  <a:lnTo>
                    <a:pt x="12268" y="52664"/>
                  </a:lnTo>
                  <a:lnTo>
                    <a:pt x="9410" y="54083"/>
                  </a:lnTo>
                  <a:lnTo>
                    <a:pt x="7077" y="56445"/>
                  </a:lnTo>
                  <a:lnTo>
                    <a:pt x="6791" y="56960"/>
                  </a:lnTo>
                  <a:lnTo>
                    <a:pt x="6944" y="57379"/>
                  </a:lnTo>
                  <a:lnTo>
                    <a:pt x="8106" y="59541"/>
                  </a:lnTo>
                  <a:lnTo>
                    <a:pt x="6134" y="61827"/>
                  </a:lnTo>
                  <a:lnTo>
                    <a:pt x="3115" y="63598"/>
                  </a:lnTo>
                  <a:lnTo>
                    <a:pt x="981" y="63780"/>
                  </a:lnTo>
                  <a:lnTo>
                    <a:pt x="38" y="63437"/>
                  </a:lnTo>
                  <a:lnTo>
                    <a:pt x="0" y="60998"/>
                  </a:lnTo>
                  <a:lnTo>
                    <a:pt x="1772" y="60093"/>
                  </a:lnTo>
                  <a:lnTo>
                    <a:pt x="3372" y="58503"/>
                  </a:lnTo>
                  <a:lnTo>
                    <a:pt x="3905" y="56255"/>
                  </a:lnTo>
                  <a:lnTo>
                    <a:pt x="4096" y="54674"/>
                  </a:lnTo>
                  <a:lnTo>
                    <a:pt x="2419" y="52759"/>
                  </a:lnTo>
                  <a:lnTo>
                    <a:pt x="2619" y="51578"/>
                  </a:lnTo>
                  <a:lnTo>
                    <a:pt x="3667" y="49349"/>
                  </a:lnTo>
                  <a:lnTo>
                    <a:pt x="4267" y="47377"/>
                  </a:lnTo>
                  <a:lnTo>
                    <a:pt x="5105" y="45673"/>
                  </a:lnTo>
                  <a:lnTo>
                    <a:pt x="8429" y="42882"/>
                  </a:lnTo>
                  <a:lnTo>
                    <a:pt x="11763" y="40062"/>
                  </a:lnTo>
                  <a:lnTo>
                    <a:pt x="12268" y="37071"/>
                  </a:lnTo>
                  <a:lnTo>
                    <a:pt x="12535" y="33423"/>
                  </a:lnTo>
                  <a:lnTo>
                    <a:pt x="13002" y="32547"/>
                  </a:lnTo>
                  <a:lnTo>
                    <a:pt x="17507" y="30356"/>
                  </a:lnTo>
                  <a:lnTo>
                    <a:pt x="18631" y="29489"/>
                  </a:lnTo>
                  <a:lnTo>
                    <a:pt x="19202" y="28251"/>
                  </a:lnTo>
                  <a:lnTo>
                    <a:pt x="22746" y="24146"/>
                  </a:lnTo>
                  <a:lnTo>
                    <a:pt x="26251" y="20069"/>
                  </a:lnTo>
                  <a:lnTo>
                    <a:pt x="26965" y="18698"/>
                  </a:lnTo>
                  <a:lnTo>
                    <a:pt x="27556" y="17888"/>
                  </a:lnTo>
                  <a:lnTo>
                    <a:pt x="27556" y="17221"/>
                  </a:lnTo>
                  <a:lnTo>
                    <a:pt x="27108" y="16707"/>
                  </a:lnTo>
                  <a:lnTo>
                    <a:pt x="25441" y="16373"/>
                  </a:lnTo>
                  <a:lnTo>
                    <a:pt x="24870" y="15069"/>
                  </a:lnTo>
                  <a:lnTo>
                    <a:pt x="26689" y="12745"/>
                  </a:lnTo>
                  <a:lnTo>
                    <a:pt x="28965" y="11325"/>
                  </a:lnTo>
                  <a:lnTo>
                    <a:pt x="31175" y="11297"/>
                  </a:lnTo>
                  <a:lnTo>
                    <a:pt x="32061" y="11954"/>
                  </a:lnTo>
                  <a:lnTo>
                    <a:pt x="32013" y="12725"/>
                  </a:lnTo>
                  <a:lnTo>
                    <a:pt x="32966" y="13554"/>
                  </a:lnTo>
                  <a:lnTo>
                    <a:pt x="34642" y="13821"/>
                  </a:lnTo>
                  <a:lnTo>
                    <a:pt x="36709" y="13535"/>
                  </a:lnTo>
                  <a:lnTo>
                    <a:pt x="38767" y="12668"/>
                  </a:lnTo>
                  <a:lnTo>
                    <a:pt x="40034" y="10601"/>
                  </a:lnTo>
                  <a:lnTo>
                    <a:pt x="40767" y="9030"/>
                  </a:lnTo>
                  <a:lnTo>
                    <a:pt x="43996" y="7239"/>
                  </a:lnTo>
                  <a:lnTo>
                    <a:pt x="46196" y="8144"/>
                  </a:lnTo>
                  <a:lnTo>
                    <a:pt x="52321" y="8382"/>
                  </a:lnTo>
                  <a:lnTo>
                    <a:pt x="56779" y="7896"/>
                  </a:lnTo>
                  <a:lnTo>
                    <a:pt x="59569" y="6677"/>
                  </a:lnTo>
                  <a:lnTo>
                    <a:pt x="63027" y="6677"/>
                  </a:lnTo>
                  <a:lnTo>
                    <a:pt x="65351" y="7363"/>
                  </a:lnTo>
                  <a:lnTo>
                    <a:pt x="65761" y="7258"/>
                  </a:lnTo>
                  <a:lnTo>
                    <a:pt x="66408" y="7106"/>
                  </a:lnTo>
                  <a:lnTo>
                    <a:pt x="67037" y="6448"/>
                  </a:lnTo>
                  <a:lnTo>
                    <a:pt x="69227" y="6001"/>
                  </a:lnTo>
                  <a:lnTo>
                    <a:pt x="69513" y="5458"/>
                  </a:lnTo>
                  <a:lnTo>
                    <a:pt x="69428" y="4896"/>
                  </a:lnTo>
                  <a:lnTo>
                    <a:pt x="69037" y="4620"/>
                  </a:lnTo>
                  <a:lnTo>
                    <a:pt x="66342" y="4906"/>
                  </a:lnTo>
                  <a:lnTo>
                    <a:pt x="65322" y="4477"/>
                  </a:lnTo>
                  <a:lnTo>
                    <a:pt x="65056" y="3486"/>
                  </a:lnTo>
                  <a:lnTo>
                    <a:pt x="65922" y="1753"/>
                  </a:lnTo>
                  <a:lnTo>
                    <a:pt x="67904" y="343"/>
                  </a:lnTo>
                  <a:lnTo>
                    <a:pt x="69580" y="0"/>
                  </a:lnTo>
                  <a:lnTo>
                    <a:pt x="70790" y="381"/>
                  </a:lnTo>
                  <a:lnTo>
                    <a:pt x="73733" y="2991"/>
                  </a:lnTo>
                  <a:lnTo>
                    <a:pt x="74447" y="3077"/>
                  </a:lnTo>
                  <a:lnTo>
                    <a:pt x="74857" y="2610"/>
                  </a:lnTo>
                  <a:lnTo>
                    <a:pt x="75467" y="2343"/>
                  </a:lnTo>
                  <a:lnTo>
                    <a:pt x="76486" y="2858"/>
                  </a:lnTo>
                  <a:lnTo>
                    <a:pt x="77629" y="4477"/>
                  </a:lnTo>
                  <a:lnTo>
                    <a:pt x="77829" y="4724"/>
                  </a:lnTo>
                  <a:lnTo>
                    <a:pt x="84411" y="4153"/>
                  </a:lnTo>
                  <a:lnTo>
                    <a:pt x="85887" y="4153"/>
                  </a:lnTo>
                  <a:lnTo>
                    <a:pt x="90354" y="7001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7" name="Forme libre : forme 13">
              <a:extLst>
                <a:ext uri="{FF2B5EF4-FFF2-40B4-BE49-F238E27FC236}">
                  <a16:creationId xmlns:a16="http://schemas.microsoft.com/office/drawing/2014/main" id="{64ADECC6-BC60-F0BF-7A7F-F8B3B338BD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104993" y="4013503"/>
              <a:ext cx="624181" cy="352218"/>
            </a:xfrm>
            <a:custGeom>
              <a:avLst/>
              <a:gdLst>
                <a:gd name="connsiteX0" fmla="*/ 72705 w 180241"/>
                <a:gd name="connsiteY0" fmla="*/ 7563 h 101708"/>
                <a:gd name="connsiteX1" fmla="*/ 75010 w 180241"/>
                <a:gd name="connsiteY1" fmla="*/ 7458 h 101708"/>
                <a:gd name="connsiteX2" fmla="*/ 77343 w 180241"/>
                <a:gd name="connsiteY2" fmla="*/ 6401 h 101708"/>
                <a:gd name="connsiteX3" fmla="*/ 77533 w 180241"/>
                <a:gd name="connsiteY3" fmla="*/ 4677 h 101708"/>
                <a:gd name="connsiteX4" fmla="*/ 77381 w 180241"/>
                <a:gd name="connsiteY4" fmla="*/ 1457 h 101708"/>
                <a:gd name="connsiteX5" fmla="*/ 77629 w 180241"/>
                <a:gd name="connsiteY5" fmla="*/ 991 h 101708"/>
                <a:gd name="connsiteX6" fmla="*/ 81163 w 180241"/>
                <a:gd name="connsiteY6" fmla="*/ 1905 h 101708"/>
                <a:gd name="connsiteX7" fmla="*/ 84706 w 180241"/>
                <a:gd name="connsiteY7" fmla="*/ 3353 h 101708"/>
                <a:gd name="connsiteX8" fmla="*/ 85201 w 180241"/>
                <a:gd name="connsiteY8" fmla="*/ 6553 h 101708"/>
                <a:gd name="connsiteX9" fmla="*/ 86154 w 180241"/>
                <a:gd name="connsiteY9" fmla="*/ 8125 h 101708"/>
                <a:gd name="connsiteX10" fmla="*/ 87278 w 180241"/>
                <a:gd name="connsiteY10" fmla="*/ 9563 h 101708"/>
                <a:gd name="connsiteX11" fmla="*/ 88344 w 180241"/>
                <a:gd name="connsiteY11" fmla="*/ 10211 h 101708"/>
                <a:gd name="connsiteX12" fmla="*/ 90202 w 180241"/>
                <a:gd name="connsiteY12" fmla="*/ 10316 h 101708"/>
                <a:gd name="connsiteX13" fmla="*/ 95012 w 180241"/>
                <a:gd name="connsiteY13" fmla="*/ 12211 h 101708"/>
                <a:gd name="connsiteX14" fmla="*/ 97326 w 180241"/>
                <a:gd name="connsiteY14" fmla="*/ 12592 h 101708"/>
                <a:gd name="connsiteX15" fmla="*/ 99698 w 180241"/>
                <a:gd name="connsiteY15" fmla="*/ 13906 h 101708"/>
                <a:gd name="connsiteX16" fmla="*/ 101699 w 180241"/>
                <a:gd name="connsiteY16" fmla="*/ 15240 h 101708"/>
                <a:gd name="connsiteX17" fmla="*/ 103156 w 180241"/>
                <a:gd name="connsiteY17" fmla="*/ 15526 h 101708"/>
                <a:gd name="connsiteX18" fmla="*/ 103832 w 180241"/>
                <a:gd name="connsiteY18" fmla="*/ 16983 h 101708"/>
                <a:gd name="connsiteX19" fmla="*/ 104728 w 180241"/>
                <a:gd name="connsiteY19" fmla="*/ 17983 h 101708"/>
                <a:gd name="connsiteX20" fmla="*/ 106308 w 180241"/>
                <a:gd name="connsiteY20" fmla="*/ 17212 h 101708"/>
                <a:gd name="connsiteX21" fmla="*/ 112081 w 180241"/>
                <a:gd name="connsiteY21" fmla="*/ 16135 h 101708"/>
                <a:gd name="connsiteX22" fmla="*/ 114157 w 180241"/>
                <a:gd name="connsiteY22" fmla="*/ 17574 h 101708"/>
                <a:gd name="connsiteX23" fmla="*/ 115557 w 180241"/>
                <a:gd name="connsiteY23" fmla="*/ 19098 h 101708"/>
                <a:gd name="connsiteX24" fmla="*/ 115748 w 180241"/>
                <a:gd name="connsiteY24" fmla="*/ 19574 h 101708"/>
                <a:gd name="connsiteX25" fmla="*/ 115014 w 180241"/>
                <a:gd name="connsiteY25" fmla="*/ 20917 h 101708"/>
                <a:gd name="connsiteX26" fmla="*/ 114662 w 180241"/>
                <a:gd name="connsiteY26" fmla="*/ 21955 h 101708"/>
                <a:gd name="connsiteX27" fmla="*/ 114062 w 180241"/>
                <a:gd name="connsiteY27" fmla="*/ 22650 h 101708"/>
                <a:gd name="connsiteX28" fmla="*/ 112081 w 180241"/>
                <a:gd name="connsiteY28" fmla="*/ 23384 h 101708"/>
                <a:gd name="connsiteX29" fmla="*/ 110966 w 180241"/>
                <a:gd name="connsiteY29" fmla="*/ 24565 h 101708"/>
                <a:gd name="connsiteX30" fmla="*/ 110147 w 180241"/>
                <a:gd name="connsiteY30" fmla="*/ 25860 h 101708"/>
                <a:gd name="connsiteX31" fmla="*/ 110699 w 180241"/>
                <a:gd name="connsiteY31" fmla="*/ 27099 h 101708"/>
                <a:gd name="connsiteX32" fmla="*/ 112319 w 180241"/>
                <a:gd name="connsiteY32" fmla="*/ 28032 h 101708"/>
                <a:gd name="connsiteX33" fmla="*/ 113462 w 180241"/>
                <a:gd name="connsiteY33" fmla="*/ 28242 h 101708"/>
                <a:gd name="connsiteX34" fmla="*/ 113900 w 180241"/>
                <a:gd name="connsiteY34" fmla="*/ 29146 h 101708"/>
                <a:gd name="connsiteX35" fmla="*/ 117567 w 180241"/>
                <a:gd name="connsiteY35" fmla="*/ 33185 h 101708"/>
                <a:gd name="connsiteX36" fmla="*/ 120482 w 180241"/>
                <a:gd name="connsiteY36" fmla="*/ 38452 h 101708"/>
                <a:gd name="connsiteX37" fmla="*/ 121615 w 180241"/>
                <a:gd name="connsiteY37" fmla="*/ 39271 h 101708"/>
                <a:gd name="connsiteX38" fmla="*/ 122682 w 180241"/>
                <a:gd name="connsiteY38" fmla="*/ 39471 h 101708"/>
                <a:gd name="connsiteX39" fmla="*/ 123920 w 180241"/>
                <a:gd name="connsiteY39" fmla="*/ 38700 h 101708"/>
                <a:gd name="connsiteX40" fmla="*/ 125349 w 180241"/>
                <a:gd name="connsiteY40" fmla="*/ 36986 h 101708"/>
                <a:gd name="connsiteX41" fmla="*/ 127035 w 180241"/>
                <a:gd name="connsiteY41" fmla="*/ 35757 h 101708"/>
                <a:gd name="connsiteX42" fmla="*/ 128464 w 180241"/>
                <a:gd name="connsiteY42" fmla="*/ 35118 h 101708"/>
                <a:gd name="connsiteX43" fmla="*/ 130988 w 180241"/>
                <a:gd name="connsiteY43" fmla="*/ 33661 h 101708"/>
                <a:gd name="connsiteX44" fmla="*/ 131093 w 180241"/>
                <a:gd name="connsiteY44" fmla="*/ 32718 h 101708"/>
                <a:gd name="connsiteX45" fmla="*/ 128978 w 180241"/>
                <a:gd name="connsiteY45" fmla="*/ 29146 h 101708"/>
                <a:gd name="connsiteX46" fmla="*/ 127769 w 180241"/>
                <a:gd name="connsiteY46" fmla="*/ 26251 h 101708"/>
                <a:gd name="connsiteX47" fmla="*/ 128054 w 180241"/>
                <a:gd name="connsiteY47" fmla="*/ 25727 h 101708"/>
                <a:gd name="connsiteX48" fmla="*/ 130750 w 180241"/>
                <a:gd name="connsiteY48" fmla="*/ 26184 h 101708"/>
                <a:gd name="connsiteX49" fmla="*/ 135322 w 180241"/>
                <a:gd name="connsiteY49" fmla="*/ 27765 h 101708"/>
                <a:gd name="connsiteX50" fmla="*/ 142361 w 180241"/>
                <a:gd name="connsiteY50" fmla="*/ 32918 h 101708"/>
                <a:gd name="connsiteX51" fmla="*/ 143628 w 180241"/>
                <a:gd name="connsiteY51" fmla="*/ 32918 h 101708"/>
                <a:gd name="connsiteX52" fmla="*/ 146085 w 180241"/>
                <a:gd name="connsiteY52" fmla="*/ 32528 h 101708"/>
                <a:gd name="connsiteX53" fmla="*/ 148762 w 180241"/>
                <a:gd name="connsiteY53" fmla="*/ 31690 h 101708"/>
                <a:gd name="connsiteX54" fmla="*/ 150038 w 180241"/>
                <a:gd name="connsiteY54" fmla="*/ 30737 h 101708"/>
                <a:gd name="connsiteX55" fmla="*/ 150514 w 180241"/>
                <a:gd name="connsiteY55" fmla="*/ 31090 h 101708"/>
                <a:gd name="connsiteX56" fmla="*/ 150924 w 180241"/>
                <a:gd name="connsiteY56" fmla="*/ 33919 h 101708"/>
                <a:gd name="connsiteX57" fmla="*/ 150219 w 180241"/>
                <a:gd name="connsiteY57" fmla="*/ 35471 h 101708"/>
                <a:gd name="connsiteX58" fmla="*/ 147019 w 180241"/>
                <a:gd name="connsiteY58" fmla="*/ 36976 h 101708"/>
                <a:gd name="connsiteX59" fmla="*/ 147199 w 180241"/>
                <a:gd name="connsiteY59" fmla="*/ 37719 h 101708"/>
                <a:gd name="connsiteX60" fmla="*/ 148028 w 180241"/>
                <a:gd name="connsiteY60" fmla="*/ 38681 h 101708"/>
                <a:gd name="connsiteX61" fmla="*/ 149466 w 180241"/>
                <a:gd name="connsiteY61" fmla="*/ 39329 h 101708"/>
                <a:gd name="connsiteX62" fmla="*/ 151219 w 180241"/>
                <a:gd name="connsiteY62" fmla="*/ 41157 h 101708"/>
                <a:gd name="connsiteX63" fmla="*/ 152429 w 180241"/>
                <a:gd name="connsiteY63" fmla="*/ 43244 h 101708"/>
                <a:gd name="connsiteX64" fmla="*/ 153486 w 180241"/>
                <a:gd name="connsiteY64" fmla="*/ 44205 h 101708"/>
                <a:gd name="connsiteX65" fmla="*/ 154648 w 180241"/>
                <a:gd name="connsiteY65" fmla="*/ 44663 h 101708"/>
                <a:gd name="connsiteX66" fmla="*/ 157563 w 180241"/>
                <a:gd name="connsiteY66" fmla="*/ 43548 h 101708"/>
                <a:gd name="connsiteX67" fmla="*/ 158382 w 180241"/>
                <a:gd name="connsiteY67" fmla="*/ 42672 h 101708"/>
                <a:gd name="connsiteX68" fmla="*/ 158753 w 180241"/>
                <a:gd name="connsiteY68" fmla="*/ 42053 h 101708"/>
                <a:gd name="connsiteX69" fmla="*/ 159315 w 180241"/>
                <a:gd name="connsiteY69" fmla="*/ 42186 h 101708"/>
                <a:gd name="connsiteX70" fmla="*/ 160334 w 180241"/>
                <a:gd name="connsiteY70" fmla="*/ 43215 h 101708"/>
                <a:gd name="connsiteX71" fmla="*/ 160649 w 180241"/>
                <a:gd name="connsiteY71" fmla="*/ 43815 h 101708"/>
                <a:gd name="connsiteX72" fmla="*/ 163478 w 180241"/>
                <a:gd name="connsiteY72" fmla="*/ 44977 h 101708"/>
                <a:gd name="connsiteX73" fmla="*/ 165116 w 180241"/>
                <a:gd name="connsiteY73" fmla="*/ 46406 h 101708"/>
                <a:gd name="connsiteX74" fmla="*/ 166154 w 180241"/>
                <a:gd name="connsiteY74" fmla="*/ 47072 h 101708"/>
                <a:gd name="connsiteX75" fmla="*/ 167306 w 180241"/>
                <a:gd name="connsiteY75" fmla="*/ 46425 h 101708"/>
                <a:gd name="connsiteX76" fmla="*/ 171793 w 180241"/>
                <a:gd name="connsiteY76" fmla="*/ 47558 h 101708"/>
                <a:gd name="connsiteX77" fmla="*/ 173031 w 180241"/>
                <a:gd name="connsiteY77" fmla="*/ 48511 h 101708"/>
                <a:gd name="connsiteX78" fmla="*/ 173422 w 180241"/>
                <a:gd name="connsiteY78" fmla="*/ 50092 h 101708"/>
                <a:gd name="connsiteX79" fmla="*/ 173203 w 180241"/>
                <a:gd name="connsiteY79" fmla="*/ 51054 h 101708"/>
                <a:gd name="connsiteX80" fmla="*/ 173889 w 180241"/>
                <a:gd name="connsiteY80" fmla="*/ 53530 h 101708"/>
                <a:gd name="connsiteX81" fmla="*/ 179566 w 180241"/>
                <a:gd name="connsiteY81" fmla="*/ 59465 h 101708"/>
                <a:gd name="connsiteX82" fmla="*/ 180156 w 180241"/>
                <a:gd name="connsiteY82" fmla="*/ 62494 h 101708"/>
                <a:gd name="connsiteX83" fmla="*/ 180242 w 180241"/>
                <a:gd name="connsiteY83" fmla="*/ 63703 h 101708"/>
                <a:gd name="connsiteX84" fmla="*/ 179566 w 180241"/>
                <a:gd name="connsiteY84" fmla="*/ 63760 h 101708"/>
                <a:gd name="connsiteX85" fmla="*/ 178032 w 180241"/>
                <a:gd name="connsiteY85" fmla="*/ 64389 h 101708"/>
                <a:gd name="connsiteX86" fmla="*/ 176070 w 180241"/>
                <a:gd name="connsiteY86" fmla="*/ 64618 h 101708"/>
                <a:gd name="connsiteX87" fmla="*/ 173945 w 180241"/>
                <a:gd name="connsiteY87" fmla="*/ 64494 h 101708"/>
                <a:gd name="connsiteX88" fmla="*/ 172288 w 180241"/>
                <a:gd name="connsiteY88" fmla="*/ 65589 h 101708"/>
                <a:gd name="connsiteX89" fmla="*/ 170726 w 180241"/>
                <a:gd name="connsiteY89" fmla="*/ 67380 h 101708"/>
                <a:gd name="connsiteX90" fmla="*/ 169107 w 180241"/>
                <a:gd name="connsiteY90" fmla="*/ 68618 h 101708"/>
                <a:gd name="connsiteX91" fmla="*/ 168240 w 180241"/>
                <a:gd name="connsiteY91" fmla="*/ 69713 h 101708"/>
                <a:gd name="connsiteX92" fmla="*/ 167745 w 180241"/>
                <a:gd name="connsiteY92" fmla="*/ 70856 h 101708"/>
                <a:gd name="connsiteX93" fmla="*/ 162297 w 180241"/>
                <a:gd name="connsiteY93" fmla="*/ 74076 h 101708"/>
                <a:gd name="connsiteX94" fmla="*/ 161535 w 180241"/>
                <a:gd name="connsiteY94" fmla="*/ 75419 h 101708"/>
                <a:gd name="connsiteX95" fmla="*/ 160935 w 180241"/>
                <a:gd name="connsiteY95" fmla="*/ 77248 h 101708"/>
                <a:gd name="connsiteX96" fmla="*/ 160677 w 180241"/>
                <a:gd name="connsiteY96" fmla="*/ 79705 h 101708"/>
                <a:gd name="connsiteX97" fmla="*/ 160296 w 180241"/>
                <a:gd name="connsiteY97" fmla="*/ 81915 h 101708"/>
                <a:gd name="connsiteX98" fmla="*/ 159353 w 180241"/>
                <a:gd name="connsiteY98" fmla="*/ 83077 h 101708"/>
                <a:gd name="connsiteX99" fmla="*/ 156410 w 180241"/>
                <a:gd name="connsiteY99" fmla="*/ 84077 h 101708"/>
                <a:gd name="connsiteX100" fmla="*/ 155677 w 180241"/>
                <a:gd name="connsiteY100" fmla="*/ 84611 h 101708"/>
                <a:gd name="connsiteX101" fmla="*/ 155124 w 180241"/>
                <a:gd name="connsiteY101" fmla="*/ 85735 h 101708"/>
                <a:gd name="connsiteX102" fmla="*/ 153476 w 180241"/>
                <a:gd name="connsiteY102" fmla="*/ 87459 h 101708"/>
                <a:gd name="connsiteX103" fmla="*/ 151543 w 180241"/>
                <a:gd name="connsiteY103" fmla="*/ 89097 h 101708"/>
                <a:gd name="connsiteX104" fmla="*/ 147980 w 180241"/>
                <a:gd name="connsiteY104" fmla="*/ 90973 h 101708"/>
                <a:gd name="connsiteX105" fmla="*/ 144161 w 180241"/>
                <a:gd name="connsiteY105" fmla="*/ 91545 h 101708"/>
                <a:gd name="connsiteX106" fmla="*/ 139198 w 180241"/>
                <a:gd name="connsiteY106" fmla="*/ 90935 h 101708"/>
                <a:gd name="connsiteX107" fmla="*/ 136293 w 180241"/>
                <a:gd name="connsiteY107" fmla="*/ 90202 h 101708"/>
                <a:gd name="connsiteX108" fmla="*/ 134893 w 180241"/>
                <a:gd name="connsiteY108" fmla="*/ 91011 h 101708"/>
                <a:gd name="connsiteX109" fmla="*/ 132950 w 180241"/>
                <a:gd name="connsiteY109" fmla="*/ 93450 h 101708"/>
                <a:gd name="connsiteX110" fmla="*/ 130874 w 180241"/>
                <a:gd name="connsiteY110" fmla="*/ 97641 h 101708"/>
                <a:gd name="connsiteX111" fmla="*/ 130007 w 180241"/>
                <a:gd name="connsiteY111" fmla="*/ 100794 h 101708"/>
                <a:gd name="connsiteX112" fmla="*/ 129340 w 180241"/>
                <a:gd name="connsiteY112" fmla="*/ 99898 h 101708"/>
                <a:gd name="connsiteX113" fmla="*/ 128149 w 180241"/>
                <a:gd name="connsiteY113" fmla="*/ 96564 h 101708"/>
                <a:gd name="connsiteX114" fmla="*/ 126807 w 180241"/>
                <a:gd name="connsiteY114" fmla="*/ 96136 h 101708"/>
                <a:gd name="connsiteX115" fmla="*/ 124968 w 180241"/>
                <a:gd name="connsiteY115" fmla="*/ 95821 h 101708"/>
                <a:gd name="connsiteX116" fmla="*/ 123587 w 180241"/>
                <a:gd name="connsiteY116" fmla="*/ 95326 h 101708"/>
                <a:gd name="connsiteX117" fmla="*/ 120596 w 180241"/>
                <a:gd name="connsiteY117" fmla="*/ 93402 h 101708"/>
                <a:gd name="connsiteX118" fmla="*/ 119063 w 180241"/>
                <a:gd name="connsiteY118" fmla="*/ 92821 h 101708"/>
                <a:gd name="connsiteX119" fmla="*/ 117300 w 180241"/>
                <a:gd name="connsiteY119" fmla="*/ 92669 h 101708"/>
                <a:gd name="connsiteX120" fmla="*/ 115624 w 180241"/>
                <a:gd name="connsiteY120" fmla="*/ 93802 h 101708"/>
                <a:gd name="connsiteX121" fmla="*/ 114347 w 180241"/>
                <a:gd name="connsiteY121" fmla="*/ 95136 h 101708"/>
                <a:gd name="connsiteX122" fmla="*/ 110395 w 180241"/>
                <a:gd name="connsiteY122" fmla="*/ 95117 h 101708"/>
                <a:gd name="connsiteX123" fmla="*/ 106061 w 180241"/>
                <a:gd name="connsiteY123" fmla="*/ 94497 h 101708"/>
                <a:gd name="connsiteX124" fmla="*/ 99860 w 180241"/>
                <a:gd name="connsiteY124" fmla="*/ 90059 h 101708"/>
                <a:gd name="connsiteX125" fmla="*/ 98250 w 180241"/>
                <a:gd name="connsiteY125" fmla="*/ 90021 h 101708"/>
                <a:gd name="connsiteX126" fmla="*/ 96536 w 180241"/>
                <a:gd name="connsiteY126" fmla="*/ 90221 h 101708"/>
                <a:gd name="connsiteX127" fmla="*/ 93821 w 180241"/>
                <a:gd name="connsiteY127" fmla="*/ 89163 h 101708"/>
                <a:gd name="connsiteX128" fmla="*/ 88573 w 180241"/>
                <a:gd name="connsiteY128" fmla="*/ 86287 h 101708"/>
                <a:gd name="connsiteX129" fmla="*/ 86106 w 180241"/>
                <a:gd name="connsiteY129" fmla="*/ 85611 h 101708"/>
                <a:gd name="connsiteX130" fmla="*/ 84553 w 180241"/>
                <a:gd name="connsiteY130" fmla="*/ 86020 h 101708"/>
                <a:gd name="connsiteX131" fmla="*/ 83134 w 180241"/>
                <a:gd name="connsiteY131" fmla="*/ 86668 h 101708"/>
                <a:gd name="connsiteX132" fmla="*/ 82115 w 180241"/>
                <a:gd name="connsiteY132" fmla="*/ 86744 h 101708"/>
                <a:gd name="connsiteX133" fmla="*/ 81534 w 180241"/>
                <a:gd name="connsiteY133" fmla="*/ 85801 h 101708"/>
                <a:gd name="connsiteX134" fmla="*/ 79581 w 180241"/>
                <a:gd name="connsiteY134" fmla="*/ 84649 h 101708"/>
                <a:gd name="connsiteX135" fmla="*/ 77619 w 180241"/>
                <a:gd name="connsiteY135" fmla="*/ 84515 h 101708"/>
                <a:gd name="connsiteX136" fmla="*/ 77057 w 180241"/>
                <a:gd name="connsiteY136" fmla="*/ 85211 h 101708"/>
                <a:gd name="connsiteX137" fmla="*/ 76390 w 180241"/>
                <a:gd name="connsiteY137" fmla="*/ 91545 h 101708"/>
                <a:gd name="connsiteX138" fmla="*/ 75733 w 180241"/>
                <a:gd name="connsiteY138" fmla="*/ 93831 h 101708"/>
                <a:gd name="connsiteX139" fmla="*/ 73038 w 180241"/>
                <a:gd name="connsiteY139" fmla="*/ 93726 h 101708"/>
                <a:gd name="connsiteX140" fmla="*/ 72076 w 180241"/>
                <a:gd name="connsiteY140" fmla="*/ 94793 h 101708"/>
                <a:gd name="connsiteX141" fmla="*/ 69961 w 180241"/>
                <a:gd name="connsiteY141" fmla="*/ 97850 h 101708"/>
                <a:gd name="connsiteX142" fmla="*/ 69552 w 180241"/>
                <a:gd name="connsiteY142" fmla="*/ 100774 h 101708"/>
                <a:gd name="connsiteX143" fmla="*/ 65875 w 180241"/>
                <a:gd name="connsiteY143" fmla="*/ 100212 h 101708"/>
                <a:gd name="connsiteX144" fmla="*/ 64132 w 180241"/>
                <a:gd name="connsiteY144" fmla="*/ 99717 h 101708"/>
                <a:gd name="connsiteX145" fmla="*/ 62589 w 180241"/>
                <a:gd name="connsiteY145" fmla="*/ 100089 h 101708"/>
                <a:gd name="connsiteX146" fmla="*/ 60893 w 180241"/>
                <a:gd name="connsiteY146" fmla="*/ 101708 h 101708"/>
                <a:gd name="connsiteX147" fmla="*/ 56140 w 180241"/>
                <a:gd name="connsiteY147" fmla="*/ 101613 h 101708"/>
                <a:gd name="connsiteX148" fmla="*/ 52378 w 180241"/>
                <a:gd name="connsiteY148" fmla="*/ 100651 h 101708"/>
                <a:gd name="connsiteX149" fmla="*/ 50768 w 180241"/>
                <a:gd name="connsiteY149" fmla="*/ 97022 h 101708"/>
                <a:gd name="connsiteX150" fmla="*/ 49044 w 180241"/>
                <a:gd name="connsiteY150" fmla="*/ 95574 h 101708"/>
                <a:gd name="connsiteX151" fmla="*/ 46872 w 180241"/>
                <a:gd name="connsiteY151" fmla="*/ 94297 h 101708"/>
                <a:gd name="connsiteX152" fmla="*/ 46120 w 180241"/>
                <a:gd name="connsiteY152" fmla="*/ 94002 h 101708"/>
                <a:gd name="connsiteX153" fmla="*/ 44920 w 180241"/>
                <a:gd name="connsiteY153" fmla="*/ 92021 h 101708"/>
                <a:gd name="connsiteX154" fmla="*/ 42644 w 180241"/>
                <a:gd name="connsiteY154" fmla="*/ 89563 h 101708"/>
                <a:gd name="connsiteX155" fmla="*/ 38976 w 180241"/>
                <a:gd name="connsiteY155" fmla="*/ 86192 h 101708"/>
                <a:gd name="connsiteX156" fmla="*/ 36119 w 180241"/>
                <a:gd name="connsiteY156" fmla="*/ 86363 h 101708"/>
                <a:gd name="connsiteX157" fmla="*/ 35062 w 180241"/>
                <a:gd name="connsiteY157" fmla="*/ 85468 h 101708"/>
                <a:gd name="connsiteX158" fmla="*/ 34595 w 180241"/>
                <a:gd name="connsiteY158" fmla="*/ 84229 h 101708"/>
                <a:gd name="connsiteX159" fmla="*/ 33404 w 180241"/>
                <a:gd name="connsiteY159" fmla="*/ 82087 h 101708"/>
                <a:gd name="connsiteX160" fmla="*/ 32052 w 180241"/>
                <a:gd name="connsiteY160" fmla="*/ 80601 h 101708"/>
                <a:gd name="connsiteX161" fmla="*/ 30423 w 180241"/>
                <a:gd name="connsiteY161" fmla="*/ 80020 h 101708"/>
                <a:gd name="connsiteX162" fmla="*/ 28089 w 180241"/>
                <a:gd name="connsiteY162" fmla="*/ 78114 h 101708"/>
                <a:gd name="connsiteX163" fmla="*/ 24965 w 180241"/>
                <a:gd name="connsiteY163" fmla="*/ 73961 h 101708"/>
                <a:gd name="connsiteX164" fmla="*/ 22108 w 180241"/>
                <a:gd name="connsiteY164" fmla="*/ 71085 h 101708"/>
                <a:gd name="connsiteX165" fmla="*/ 19345 w 180241"/>
                <a:gd name="connsiteY165" fmla="*/ 71133 h 101708"/>
                <a:gd name="connsiteX166" fmla="*/ 17602 w 180241"/>
                <a:gd name="connsiteY166" fmla="*/ 69628 h 101708"/>
                <a:gd name="connsiteX167" fmla="*/ 15812 w 180241"/>
                <a:gd name="connsiteY167" fmla="*/ 67646 h 101708"/>
                <a:gd name="connsiteX168" fmla="*/ 14497 w 180241"/>
                <a:gd name="connsiteY168" fmla="*/ 65732 h 101708"/>
                <a:gd name="connsiteX169" fmla="*/ 12459 w 180241"/>
                <a:gd name="connsiteY169" fmla="*/ 61065 h 101708"/>
                <a:gd name="connsiteX170" fmla="*/ 10973 w 180241"/>
                <a:gd name="connsiteY170" fmla="*/ 58398 h 101708"/>
                <a:gd name="connsiteX171" fmla="*/ 9820 w 180241"/>
                <a:gd name="connsiteY171" fmla="*/ 56750 h 101708"/>
                <a:gd name="connsiteX172" fmla="*/ 8515 w 180241"/>
                <a:gd name="connsiteY172" fmla="*/ 55378 h 101708"/>
                <a:gd name="connsiteX173" fmla="*/ 8039 w 180241"/>
                <a:gd name="connsiteY173" fmla="*/ 54283 h 101708"/>
                <a:gd name="connsiteX174" fmla="*/ 9639 w 180241"/>
                <a:gd name="connsiteY174" fmla="*/ 51787 h 101708"/>
                <a:gd name="connsiteX175" fmla="*/ 10220 w 180241"/>
                <a:gd name="connsiteY175" fmla="*/ 50549 h 101708"/>
                <a:gd name="connsiteX176" fmla="*/ 10906 w 180241"/>
                <a:gd name="connsiteY176" fmla="*/ 49597 h 101708"/>
                <a:gd name="connsiteX177" fmla="*/ 11306 w 180241"/>
                <a:gd name="connsiteY177" fmla="*/ 48587 h 101708"/>
                <a:gd name="connsiteX178" fmla="*/ 11287 w 180241"/>
                <a:gd name="connsiteY178" fmla="*/ 47835 h 101708"/>
                <a:gd name="connsiteX179" fmla="*/ 9839 w 180241"/>
                <a:gd name="connsiteY179" fmla="*/ 45358 h 101708"/>
                <a:gd name="connsiteX180" fmla="*/ 7877 w 180241"/>
                <a:gd name="connsiteY180" fmla="*/ 43567 h 101708"/>
                <a:gd name="connsiteX181" fmla="*/ 4991 w 180241"/>
                <a:gd name="connsiteY181" fmla="*/ 41758 h 101708"/>
                <a:gd name="connsiteX182" fmla="*/ 3153 w 180241"/>
                <a:gd name="connsiteY182" fmla="*/ 39462 h 101708"/>
                <a:gd name="connsiteX183" fmla="*/ 2486 w 180241"/>
                <a:gd name="connsiteY183" fmla="*/ 37367 h 101708"/>
                <a:gd name="connsiteX184" fmla="*/ 2286 w 180241"/>
                <a:gd name="connsiteY184" fmla="*/ 36204 h 101708"/>
                <a:gd name="connsiteX185" fmla="*/ 1019 w 180241"/>
                <a:gd name="connsiteY185" fmla="*/ 34642 h 101708"/>
                <a:gd name="connsiteX186" fmla="*/ 0 w 180241"/>
                <a:gd name="connsiteY186" fmla="*/ 32347 h 101708"/>
                <a:gd name="connsiteX187" fmla="*/ 0 w 180241"/>
                <a:gd name="connsiteY187" fmla="*/ 30966 h 101708"/>
                <a:gd name="connsiteX188" fmla="*/ 257 w 180241"/>
                <a:gd name="connsiteY188" fmla="*/ 30575 h 101708"/>
                <a:gd name="connsiteX189" fmla="*/ 1210 w 180241"/>
                <a:gd name="connsiteY189" fmla="*/ 30575 h 101708"/>
                <a:gd name="connsiteX190" fmla="*/ 2277 w 180241"/>
                <a:gd name="connsiteY190" fmla="*/ 31518 h 101708"/>
                <a:gd name="connsiteX191" fmla="*/ 3781 w 180241"/>
                <a:gd name="connsiteY191" fmla="*/ 33328 h 101708"/>
                <a:gd name="connsiteX192" fmla="*/ 5020 w 180241"/>
                <a:gd name="connsiteY192" fmla="*/ 35976 h 101708"/>
                <a:gd name="connsiteX193" fmla="*/ 5772 w 180241"/>
                <a:gd name="connsiteY193" fmla="*/ 34966 h 101708"/>
                <a:gd name="connsiteX194" fmla="*/ 7191 w 180241"/>
                <a:gd name="connsiteY194" fmla="*/ 32147 h 101708"/>
                <a:gd name="connsiteX195" fmla="*/ 9706 w 180241"/>
                <a:gd name="connsiteY195" fmla="*/ 28956 h 101708"/>
                <a:gd name="connsiteX196" fmla="*/ 12278 w 180241"/>
                <a:gd name="connsiteY196" fmla="*/ 27127 h 101708"/>
                <a:gd name="connsiteX197" fmla="*/ 14592 w 180241"/>
                <a:gd name="connsiteY197" fmla="*/ 26975 h 101708"/>
                <a:gd name="connsiteX198" fmla="*/ 16488 w 180241"/>
                <a:gd name="connsiteY198" fmla="*/ 26470 h 101708"/>
                <a:gd name="connsiteX199" fmla="*/ 18059 w 180241"/>
                <a:gd name="connsiteY199" fmla="*/ 25555 h 101708"/>
                <a:gd name="connsiteX200" fmla="*/ 20812 w 180241"/>
                <a:gd name="connsiteY200" fmla="*/ 25927 h 101708"/>
                <a:gd name="connsiteX201" fmla="*/ 22803 w 180241"/>
                <a:gd name="connsiteY201" fmla="*/ 26584 h 101708"/>
                <a:gd name="connsiteX202" fmla="*/ 23451 w 180241"/>
                <a:gd name="connsiteY202" fmla="*/ 26175 h 101708"/>
                <a:gd name="connsiteX203" fmla="*/ 24260 w 180241"/>
                <a:gd name="connsiteY203" fmla="*/ 24508 h 101708"/>
                <a:gd name="connsiteX204" fmla="*/ 24774 w 180241"/>
                <a:gd name="connsiteY204" fmla="*/ 23070 h 101708"/>
                <a:gd name="connsiteX205" fmla="*/ 29175 w 180241"/>
                <a:gd name="connsiteY205" fmla="*/ 22231 h 101708"/>
                <a:gd name="connsiteX206" fmla="*/ 30690 w 180241"/>
                <a:gd name="connsiteY206" fmla="*/ 19450 h 101708"/>
                <a:gd name="connsiteX207" fmla="*/ 31537 w 180241"/>
                <a:gd name="connsiteY207" fmla="*/ 19460 h 101708"/>
                <a:gd name="connsiteX208" fmla="*/ 32519 w 180241"/>
                <a:gd name="connsiteY208" fmla="*/ 19050 h 101708"/>
                <a:gd name="connsiteX209" fmla="*/ 33452 w 180241"/>
                <a:gd name="connsiteY209" fmla="*/ 17993 h 101708"/>
                <a:gd name="connsiteX210" fmla="*/ 34347 w 180241"/>
                <a:gd name="connsiteY210" fmla="*/ 17554 h 101708"/>
                <a:gd name="connsiteX211" fmla="*/ 35062 w 180241"/>
                <a:gd name="connsiteY211" fmla="*/ 18088 h 101708"/>
                <a:gd name="connsiteX212" fmla="*/ 35995 w 180241"/>
                <a:gd name="connsiteY212" fmla="*/ 18431 h 101708"/>
                <a:gd name="connsiteX213" fmla="*/ 36967 w 180241"/>
                <a:gd name="connsiteY213" fmla="*/ 17764 h 101708"/>
                <a:gd name="connsiteX214" fmla="*/ 38414 w 180241"/>
                <a:gd name="connsiteY214" fmla="*/ 14564 h 101708"/>
                <a:gd name="connsiteX215" fmla="*/ 39214 w 180241"/>
                <a:gd name="connsiteY215" fmla="*/ 14068 h 101708"/>
                <a:gd name="connsiteX216" fmla="*/ 43081 w 180241"/>
                <a:gd name="connsiteY216" fmla="*/ 13573 h 101708"/>
                <a:gd name="connsiteX217" fmla="*/ 48358 w 180241"/>
                <a:gd name="connsiteY217" fmla="*/ 11687 h 101708"/>
                <a:gd name="connsiteX218" fmla="*/ 51026 w 180241"/>
                <a:gd name="connsiteY218" fmla="*/ 10011 h 101708"/>
                <a:gd name="connsiteX219" fmla="*/ 53645 w 180241"/>
                <a:gd name="connsiteY219" fmla="*/ 9096 h 101708"/>
                <a:gd name="connsiteX220" fmla="*/ 56464 w 180241"/>
                <a:gd name="connsiteY220" fmla="*/ 7468 h 101708"/>
                <a:gd name="connsiteX221" fmla="*/ 60931 w 180241"/>
                <a:gd name="connsiteY221" fmla="*/ 5887 h 101708"/>
                <a:gd name="connsiteX222" fmla="*/ 61141 w 180241"/>
                <a:gd name="connsiteY222" fmla="*/ 5239 h 101708"/>
                <a:gd name="connsiteX223" fmla="*/ 59074 w 180241"/>
                <a:gd name="connsiteY223" fmla="*/ 3610 h 101708"/>
                <a:gd name="connsiteX224" fmla="*/ 58379 w 180241"/>
                <a:gd name="connsiteY224" fmla="*/ 2581 h 101708"/>
                <a:gd name="connsiteX225" fmla="*/ 57903 w 180241"/>
                <a:gd name="connsiteY225" fmla="*/ 1524 h 101708"/>
                <a:gd name="connsiteX226" fmla="*/ 58636 w 180241"/>
                <a:gd name="connsiteY226" fmla="*/ 352 h 101708"/>
                <a:gd name="connsiteX227" fmla="*/ 59617 w 180241"/>
                <a:gd name="connsiteY227" fmla="*/ 0 h 101708"/>
                <a:gd name="connsiteX228" fmla="*/ 60884 w 180241"/>
                <a:gd name="connsiteY228" fmla="*/ 486 h 101708"/>
                <a:gd name="connsiteX229" fmla="*/ 64627 w 180241"/>
                <a:gd name="connsiteY229" fmla="*/ 1181 h 101708"/>
                <a:gd name="connsiteX230" fmla="*/ 65656 w 180241"/>
                <a:gd name="connsiteY230" fmla="*/ 1857 h 101708"/>
                <a:gd name="connsiteX231" fmla="*/ 66027 w 180241"/>
                <a:gd name="connsiteY231" fmla="*/ 3505 h 101708"/>
                <a:gd name="connsiteX232" fmla="*/ 66980 w 180241"/>
                <a:gd name="connsiteY232" fmla="*/ 5039 h 101708"/>
                <a:gd name="connsiteX233" fmla="*/ 67742 w 180241"/>
                <a:gd name="connsiteY233" fmla="*/ 5210 h 101708"/>
                <a:gd name="connsiteX234" fmla="*/ 67465 w 180241"/>
                <a:gd name="connsiteY234" fmla="*/ 7706 h 101708"/>
                <a:gd name="connsiteX235" fmla="*/ 68656 w 180241"/>
                <a:gd name="connsiteY235" fmla="*/ 8677 h 101708"/>
                <a:gd name="connsiteX236" fmla="*/ 70409 w 180241"/>
                <a:gd name="connsiteY236" fmla="*/ 9430 h 101708"/>
                <a:gd name="connsiteX237" fmla="*/ 71562 w 180241"/>
                <a:gd name="connsiteY237" fmla="*/ 9277 h 101708"/>
                <a:gd name="connsiteX238" fmla="*/ 72390 w 180241"/>
                <a:gd name="connsiteY238" fmla="*/ 8268 h 101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</a:cxnLst>
              <a:rect l="l" t="t" r="r" b="b"/>
              <a:pathLst>
                <a:path w="180241" h="101708">
                  <a:moveTo>
                    <a:pt x="72705" y="7563"/>
                  </a:moveTo>
                  <a:lnTo>
                    <a:pt x="75010" y="7458"/>
                  </a:lnTo>
                  <a:lnTo>
                    <a:pt x="77343" y="6401"/>
                  </a:lnTo>
                  <a:lnTo>
                    <a:pt x="77533" y="4677"/>
                  </a:lnTo>
                  <a:lnTo>
                    <a:pt x="77381" y="1457"/>
                  </a:lnTo>
                  <a:lnTo>
                    <a:pt x="77629" y="991"/>
                  </a:lnTo>
                  <a:lnTo>
                    <a:pt x="81163" y="1905"/>
                  </a:lnTo>
                  <a:lnTo>
                    <a:pt x="84706" y="3353"/>
                  </a:lnTo>
                  <a:lnTo>
                    <a:pt x="85201" y="6553"/>
                  </a:lnTo>
                  <a:lnTo>
                    <a:pt x="86154" y="8125"/>
                  </a:lnTo>
                  <a:lnTo>
                    <a:pt x="87278" y="9563"/>
                  </a:lnTo>
                  <a:lnTo>
                    <a:pt x="88344" y="10211"/>
                  </a:lnTo>
                  <a:lnTo>
                    <a:pt x="90202" y="10316"/>
                  </a:lnTo>
                  <a:lnTo>
                    <a:pt x="95012" y="12211"/>
                  </a:lnTo>
                  <a:lnTo>
                    <a:pt x="97326" y="12592"/>
                  </a:lnTo>
                  <a:lnTo>
                    <a:pt x="99698" y="13906"/>
                  </a:lnTo>
                  <a:lnTo>
                    <a:pt x="101699" y="15240"/>
                  </a:lnTo>
                  <a:lnTo>
                    <a:pt x="103156" y="15526"/>
                  </a:lnTo>
                  <a:lnTo>
                    <a:pt x="103832" y="16983"/>
                  </a:lnTo>
                  <a:lnTo>
                    <a:pt x="104728" y="17983"/>
                  </a:lnTo>
                  <a:lnTo>
                    <a:pt x="106308" y="17212"/>
                  </a:lnTo>
                  <a:lnTo>
                    <a:pt x="112081" y="16135"/>
                  </a:lnTo>
                  <a:lnTo>
                    <a:pt x="114157" y="17574"/>
                  </a:lnTo>
                  <a:lnTo>
                    <a:pt x="115557" y="19098"/>
                  </a:lnTo>
                  <a:lnTo>
                    <a:pt x="115748" y="19574"/>
                  </a:lnTo>
                  <a:lnTo>
                    <a:pt x="115014" y="20917"/>
                  </a:lnTo>
                  <a:lnTo>
                    <a:pt x="114662" y="21955"/>
                  </a:lnTo>
                  <a:lnTo>
                    <a:pt x="114062" y="22650"/>
                  </a:lnTo>
                  <a:lnTo>
                    <a:pt x="112081" y="23384"/>
                  </a:lnTo>
                  <a:lnTo>
                    <a:pt x="110966" y="24565"/>
                  </a:lnTo>
                  <a:lnTo>
                    <a:pt x="110147" y="25860"/>
                  </a:lnTo>
                  <a:lnTo>
                    <a:pt x="110699" y="27099"/>
                  </a:lnTo>
                  <a:lnTo>
                    <a:pt x="112319" y="28032"/>
                  </a:lnTo>
                  <a:lnTo>
                    <a:pt x="113462" y="28242"/>
                  </a:lnTo>
                  <a:lnTo>
                    <a:pt x="113900" y="29146"/>
                  </a:lnTo>
                  <a:lnTo>
                    <a:pt x="117567" y="33185"/>
                  </a:lnTo>
                  <a:lnTo>
                    <a:pt x="120482" y="38452"/>
                  </a:lnTo>
                  <a:lnTo>
                    <a:pt x="121615" y="39271"/>
                  </a:lnTo>
                  <a:lnTo>
                    <a:pt x="122682" y="39471"/>
                  </a:lnTo>
                  <a:lnTo>
                    <a:pt x="123920" y="38700"/>
                  </a:lnTo>
                  <a:lnTo>
                    <a:pt x="125349" y="36986"/>
                  </a:lnTo>
                  <a:lnTo>
                    <a:pt x="127035" y="35757"/>
                  </a:lnTo>
                  <a:lnTo>
                    <a:pt x="128464" y="35118"/>
                  </a:lnTo>
                  <a:lnTo>
                    <a:pt x="130988" y="33661"/>
                  </a:lnTo>
                  <a:lnTo>
                    <a:pt x="131093" y="32718"/>
                  </a:lnTo>
                  <a:lnTo>
                    <a:pt x="128978" y="29146"/>
                  </a:lnTo>
                  <a:lnTo>
                    <a:pt x="127769" y="26251"/>
                  </a:lnTo>
                  <a:lnTo>
                    <a:pt x="128054" y="25727"/>
                  </a:lnTo>
                  <a:lnTo>
                    <a:pt x="130750" y="26184"/>
                  </a:lnTo>
                  <a:lnTo>
                    <a:pt x="135322" y="27765"/>
                  </a:lnTo>
                  <a:lnTo>
                    <a:pt x="142361" y="32918"/>
                  </a:lnTo>
                  <a:lnTo>
                    <a:pt x="143628" y="32918"/>
                  </a:lnTo>
                  <a:lnTo>
                    <a:pt x="146085" y="32528"/>
                  </a:lnTo>
                  <a:lnTo>
                    <a:pt x="148762" y="31690"/>
                  </a:lnTo>
                  <a:lnTo>
                    <a:pt x="150038" y="30737"/>
                  </a:lnTo>
                  <a:lnTo>
                    <a:pt x="150514" y="31090"/>
                  </a:lnTo>
                  <a:lnTo>
                    <a:pt x="150924" y="33919"/>
                  </a:lnTo>
                  <a:lnTo>
                    <a:pt x="150219" y="35471"/>
                  </a:lnTo>
                  <a:lnTo>
                    <a:pt x="147019" y="36976"/>
                  </a:lnTo>
                  <a:lnTo>
                    <a:pt x="147199" y="37719"/>
                  </a:lnTo>
                  <a:lnTo>
                    <a:pt x="148028" y="38681"/>
                  </a:lnTo>
                  <a:lnTo>
                    <a:pt x="149466" y="39329"/>
                  </a:lnTo>
                  <a:lnTo>
                    <a:pt x="151219" y="41157"/>
                  </a:lnTo>
                  <a:lnTo>
                    <a:pt x="152429" y="43244"/>
                  </a:lnTo>
                  <a:lnTo>
                    <a:pt x="153486" y="44205"/>
                  </a:lnTo>
                  <a:lnTo>
                    <a:pt x="154648" y="44663"/>
                  </a:lnTo>
                  <a:lnTo>
                    <a:pt x="157563" y="43548"/>
                  </a:lnTo>
                  <a:lnTo>
                    <a:pt x="158382" y="42672"/>
                  </a:lnTo>
                  <a:lnTo>
                    <a:pt x="158753" y="42053"/>
                  </a:lnTo>
                  <a:lnTo>
                    <a:pt x="159315" y="42186"/>
                  </a:lnTo>
                  <a:lnTo>
                    <a:pt x="160334" y="43215"/>
                  </a:lnTo>
                  <a:lnTo>
                    <a:pt x="160649" y="43815"/>
                  </a:lnTo>
                  <a:lnTo>
                    <a:pt x="163478" y="44977"/>
                  </a:lnTo>
                  <a:lnTo>
                    <a:pt x="165116" y="46406"/>
                  </a:lnTo>
                  <a:lnTo>
                    <a:pt x="166154" y="47072"/>
                  </a:lnTo>
                  <a:lnTo>
                    <a:pt x="167306" y="46425"/>
                  </a:lnTo>
                  <a:lnTo>
                    <a:pt x="171793" y="47558"/>
                  </a:lnTo>
                  <a:lnTo>
                    <a:pt x="173031" y="48511"/>
                  </a:lnTo>
                  <a:lnTo>
                    <a:pt x="173422" y="50092"/>
                  </a:lnTo>
                  <a:lnTo>
                    <a:pt x="173203" y="51054"/>
                  </a:lnTo>
                  <a:lnTo>
                    <a:pt x="173889" y="53530"/>
                  </a:lnTo>
                  <a:lnTo>
                    <a:pt x="179566" y="59465"/>
                  </a:lnTo>
                  <a:lnTo>
                    <a:pt x="180156" y="62494"/>
                  </a:lnTo>
                  <a:lnTo>
                    <a:pt x="180242" y="63703"/>
                  </a:lnTo>
                  <a:lnTo>
                    <a:pt x="179566" y="63760"/>
                  </a:lnTo>
                  <a:lnTo>
                    <a:pt x="178032" y="64389"/>
                  </a:lnTo>
                  <a:lnTo>
                    <a:pt x="176070" y="64618"/>
                  </a:lnTo>
                  <a:lnTo>
                    <a:pt x="173945" y="64494"/>
                  </a:lnTo>
                  <a:lnTo>
                    <a:pt x="172288" y="65589"/>
                  </a:lnTo>
                  <a:lnTo>
                    <a:pt x="170726" y="67380"/>
                  </a:lnTo>
                  <a:lnTo>
                    <a:pt x="169107" y="68618"/>
                  </a:lnTo>
                  <a:lnTo>
                    <a:pt x="168240" y="69713"/>
                  </a:lnTo>
                  <a:lnTo>
                    <a:pt x="167745" y="70856"/>
                  </a:lnTo>
                  <a:lnTo>
                    <a:pt x="162297" y="74076"/>
                  </a:lnTo>
                  <a:lnTo>
                    <a:pt x="161535" y="75419"/>
                  </a:lnTo>
                  <a:lnTo>
                    <a:pt x="160935" y="77248"/>
                  </a:lnTo>
                  <a:lnTo>
                    <a:pt x="160677" y="79705"/>
                  </a:lnTo>
                  <a:lnTo>
                    <a:pt x="160296" y="81915"/>
                  </a:lnTo>
                  <a:lnTo>
                    <a:pt x="159353" y="83077"/>
                  </a:lnTo>
                  <a:lnTo>
                    <a:pt x="156410" y="84077"/>
                  </a:lnTo>
                  <a:lnTo>
                    <a:pt x="155677" y="84611"/>
                  </a:lnTo>
                  <a:lnTo>
                    <a:pt x="155124" y="85735"/>
                  </a:lnTo>
                  <a:lnTo>
                    <a:pt x="153476" y="87459"/>
                  </a:lnTo>
                  <a:lnTo>
                    <a:pt x="151543" y="89097"/>
                  </a:lnTo>
                  <a:lnTo>
                    <a:pt x="147980" y="90973"/>
                  </a:lnTo>
                  <a:lnTo>
                    <a:pt x="144161" y="91545"/>
                  </a:lnTo>
                  <a:lnTo>
                    <a:pt x="139198" y="90935"/>
                  </a:lnTo>
                  <a:lnTo>
                    <a:pt x="136293" y="90202"/>
                  </a:lnTo>
                  <a:lnTo>
                    <a:pt x="134893" y="91011"/>
                  </a:lnTo>
                  <a:lnTo>
                    <a:pt x="132950" y="93450"/>
                  </a:lnTo>
                  <a:lnTo>
                    <a:pt x="130874" y="97641"/>
                  </a:lnTo>
                  <a:lnTo>
                    <a:pt x="130007" y="100794"/>
                  </a:lnTo>
                  <a:lnTo>
                    <a:pt x="129340" y="99898"/>
                  </a:lnTo>
                  <a:lnTo>
                    <a:pt x="128149" y="96564"/>
                  </a:lnTo>
                  <a:lnTo>
                    <a:pt x="126807" y="96136"/>
                  </a:lnTo>
                  <a:lnTo>
                    <a:pt x="124968" y="95821"/>
                  </a:lnTo>
                  <a:lnTo>
                    <a:pt x="123587" y="95326"/>
                  </a:lnTo>
                  <a:lnTo>
                    <a:pt x="120596" y="93402"/>
                  </a:lnTo>
                  <a:lnTo>
                    <a:pt x="119063" y="92821"/>
                  </a:lnTo>
                  <a:lnTo>
                    <a:pt x="117300" y="92669"/>
                  </a:lnTo>
                  <a:lnTo>
                    <a:pt x="115624" y="93802"/>
                  </a:lnTo>
                  <a:lnTo>
                    <a:pt x="114347" y="95136"/>
                  </a:lnTo>
                  <a:lnTo>
                    <a:pt x="110395" y="95117"/>
                  </a:lnTo>
                  <a:lnTo>
                    <a:pt x="106061" y="94497"/>
                  </a:lnTo>
                  <a:lnTo>
                    <a:pt x="99860" y="90059"/>
                  </a:lnTo>
                  <a:lnTo>
                    <a:pt x="98250" y="90021"/>
                  </a:lnTo>
                  <a:lnTo>
                    <a:pt x="96536" y="90221"/>
                  </a:lnTo>
                  <a:lnTo>
                    <a:pt x="93821" y="89163"/>
                  </a:lnTo>
                  <a:lnTo>
                    <a:pt x="88573" y="86287"/>
                  </a:lnTo>
                  <a:lnTo>
                    <a:pt x="86106" y="85611"/>
                  </a:lnTo>
                  <a:lnTo>
                    <a:pt x="84553" y="86020"/>
                  </a:lnTo>
                  <a:lnTo>
                    <a:pt x="83134" y="86668"/>
                  </a:lnTo>
                  <a:lnTo>
                    <a:pt x="82115" y="86744"/>
                  </a:lnTo>
                  <a:lnTo>
                    <a:pt x="81534" y="85801"/>
                  </a:lnTo>
                  <a:lnTo>
                    <a:pt x="79581" y="84649"/>
                  </a:lnTo>
                  <a:lnTo>
                    <a:pt x="77619" y="84515"/>
                  </a:lnTo>
                  <a:lnTo>
                    <a:pt x="77057" y="85211"/>
                  </a:lnTo>
                  <a:lnTo>
                    <a:pt x="76390" y="91545"/>
                  </a:lnTo>
                  <a:lnTo>
                    <a:pt x="75733" y="93831"/>
                  </a:lnTo>
                  <a:lnTo>
                    <a:pt x="73038" y="93726"/>
                  </a:lnTo>
                  <a:lnTo>
                    <a:pt x="72076" y="94793"/>
                  </a:lnTo>
                  <a:lnTo>
                    <a:pt x="69961" y="97850"/>
                  </a:lnTo>
                  <a:lnTo>
                    <a:pt x="69552" y="100774"/>
                  </a:lnTo>
                  <a:lnTo>
                    <a:pt x="65875" y="100212"/>
                  </a:lnTo>
                  <a:lnTo>
                    <a:pt x="64132" y="99717"/>
                  </a:lnTo>
                  <a:lnTo>
                    <a:pt x="62589" y="100089"/>
                  </a:lnTo>
                  <a:lnTo>
                    <a:pt x="60893" y="101708"/>
                  </a:lnTo>
                  <a:lnTo>
                    <a:pt x="56140" y="101613"/>
                  </a:lnTo>
                  <a:lnTo>
                    <a:pt x="52378" y="100651"/>
                  </a:lnTo>
                  <a:lnTo>
                    <a:pt x="50768" y="97022"/>
                  </a:lnTo>
                  <a:lnTo>
                    <a:pt x="49044" y="95574"/>
                  </a:lnTo>
                  <a:lnTo>
                    <a:pt x="46872" y="94297"/>
                  </a:lnTo>
                  <a:lnTo>
                    <a:pt x="46120" y="94002"/>
                  </a:lnTo>
                  <a:lnTo>
                    <a:pt x="44920" y="92021"/>
                  </a:lnTo>
                  <a:lnTo>
                    <a:pt x="42644" y="89563"/>
                  </a:lnTo>
                  <a:lnTo>
                    <a:pt x="38976" y="86192"/>
                  </a:lnTo>
                  <a:lnTo>
                    <a:pt x="36119" y="86363"/>
                  </a:lnTo>
                  <a:lnTo>
                    <a:pt x="35062" y="85468"/>
                  </a:lnTo>
                  <a:lnTo>
                    <a:pt x="34595" y="84229"/>
                  </a:lnTo>
                  <a:lnTo>
                    <a:pt x="33404" y="82087"/>
                  </a:lnTo>
                  <a:lnTo>
                    <a:pt x="32052" y="80601"/>
                  </a:lnTo>
                  <a:lnTo>
                    <a:pt x="30423" y="80020"/>
                  </a:lnTo>
                  <a:lnTo>
                    <a:pt x="28089" y="78114"/>
                  </a:lnTo>
                  <a:lnTo>
                    <a:pt x="24965" y="73961"/>
                  </a:lnTo>
                  <a:lnTo>
                    <a:pt x="22108" y="71085"/>
                  </a:lnTo>
                  <a:lnTo>
                    <a:pt x="19345" y="71133"/>
                  </a:lnTo>
                  <a:lnTo>
                    <a:pt x="17602" y="69628"/>
                  </a:lnTo>
                  <a:lnTo>
                    <a:pt x="15812" y="67646"/>
                  </a:lnTo>
                  <a:lnTo>
                    <a:pt x="14497" y="65732"/>
                  </a:lnTo>
                  <a:lnTo>
                    <a:pt x="12459" y="61065"/>
                  </a:lnTo>
                  <a:lnTo>
                    <a:pt x="10973" y="58398"/>
                  </a:lnTo>
                  <a:lnTo>
                    <a:pt x="9820" y="56750"/>
                  </a:lnTo>
                  <a:lnTo>
                    <a:pt x="8515" y="55378"/>
                  </a:lnTo>
                  <a:lnTo>
                    <a:pt x="8039" y="54283"/>
                  </a:lnTo>
                  <a:lnTo>
                    <a:pt x="9639" y="51787"/>
                  </a:lnTo>
                  <a:lnTo>
                    <a:pt x="10220" y="50549"/>
                  </a:lnTo>
                  <a:lnTo>
                    <a:pt x="10906" y="49597"/>
                  </a:lnTo>
                  <a:lnTo>
                    <a:pt x="11306" y="48587"/>
                  </a:lnTo>
                  <a:lnTo>
                    <a:pt x="11287" y="47835"/>
                  </a:lnTo>
                  <a:lnTo>
                    <a:pt x="9839" y="45358"/>
                  </a:lnTo>
                  <a:lnTo>
                    <a:pt x="7877" y="43567"/>
                  </a:lnTo>
                  <a:lnTo>
                    <a:pt x="4991" y="41758"/>
                  </a:lnTo>
                  <a:lnTo>
                    <a:pt x="3153" y="39462"/>
                  </a:lnTo>
                  <a:lnTo>
                    <a:pt x="2486" y="37367"/>
                  </a:lnTo>
                  <a:lnTo>
                    <a:pt x="2286" y="36204"/>
                  </a:lnTo>
                  <a:lnTo>
                    <a:pt x="1019" y="34642"/>
                  </a:lnTo>
                  <a:lnTo>
                    <a:pt x="0" y="32347"/>
                  </a:lnTo>
                  <a:lnTo>
                    <a:pt x="0" y="30966"/>
                  </a:lnTo>
                  <a:lnTo>
                    <a:pt x="257" y="30575"/>
                  </a:lnTo>
                  <a:lnTo>
                    <a:pt x="1210" y="30575"/>
                  </a:lnTo>
                  <a:lnTo>
                    <a:pt x="2277" y="31518"/>
                  </a:lnTo>
                  <a:lnTo>
                    <a:pt x="3781" y="33328"/>
                  </a:lnTo>
                  <a:lnTo>
                    <a:pt x="5020" y="35976"/>
                  </a:lnTo>
                  <a:lnTo>
                    <a:pt x="5772" y="34966"/>
                  </a:lnTo>
                  <a:lnTo>
                    <a:pt x="7191" y="32147"/>
                  </a:lnTo>
                  <a:lnTo>
                    <a:pt x="9706" y="28956"/>
                  </a:lnTo>
                  <a:lnTo>
                    <a:pt x="12278" y="27127"/>
                  </a:lnTo>
                  <a:lnTo>
                    <a:pt x="14592" y="26975"/>
                  </a:lnTo>
                  <a:lnTo>
                    <a:pt x="16488" y="26470"/>
                  </a:lnTo>
                  <a:lnTo>
                    <a:pt x="18059" y="25555"/>
                  </a:lnTo>
                  <a:lnTo>
                    <a:pt x="20812" y="25927"/>
                  </a:lnTo>
                  <a:lnTo>
                    <a:pt x="22803" y="26584"/>
                  </a:lnTo>
                  <a:lnTo>
                    <a:pt x="23451" y="26175"/>
                  </a:lnTo>
                  <a:lnTo>
                    <a:pt x="24260" y="24508"/>
                  </a:lnTo>
                  <a:lnTo>
                    <a:pt x="24774" y="23070"/>
                  </a:lnTo>
                  <a:lnTo>
                    <a:pt x="29175" y="22231"/>
                  </a:lnTo>
                  <a:lnTo>
                    <a:pt x="30690" y="19450"/>
                  </a:lnTo>
                  <a:lnTo>
                    <a:pt x="31537" y="19460"/>
                  </a:lnTo>
                  <a:lnTo>
                    <a:pt x="32519" y="19050"/>
                  </a:lnTo>
                  <a:lnTo>
                    <a:pt x="33452" y="17993"/>
                  </a:lnTo>
                  <a:lnTo>
                    <a:pt x="34347" y="17554"/>
                  </a:lnTo>
                  <a:lnTo>
                    <a:pt x="35062" y="18088"/>
                  </a:lnTo>
                  <a:lnTo>
                    <a:pt x="35995" y="18431"/>
                  </a:lnTo>
                  <a:lnTo>
                    <a:pt x="36967" y="17764"/>
                  </a:lnTo>
                  <a:lnTo>
                    <a:pt x="38414" y="14564"/>
                  </a:lnTo>
                  <a:lnTo>
                    <a:pt x="39214" y="14068"/>
                  </a:lnTo>
                  <a:lnTo>
                    <a:pt x="43081" y="13573"/>
                  </a:lnTo>
                  <a:lnTo>
                    <a:pt x="48358" y="11687"/>
                  </a:lnTo>
                  <a:lnTo>
                    <a:pt x="51026" y="10011"/>
                  </a:lnTo>
                  <a:lnTo>
                    <a:pt x="53645" y="9096"/>
                  </a:lnTo>
                  <a:lnTo>
                    <a:pt x="56464" y="7468"/>
                  </a:lnTo>
                  <a:lnTo>
                    <a:pt x="60931" y="5887"/>
                  </a:lnTo>
                  <a:lnTo>
                    <a:pt x="61141" y="5239"/>
                  </a:lnTo>
                  <a:lnTo>
                    <a:pt x="59074" y="3610"/>
                  </a:lnTo>
                  <a:lnTo>
                    <a:pt x="58379" y="2581"/>
                  </a:lnTo>
                  <a:lnTo>
                    <a:pt x="57903" y="1524"/>
                  </a:lnTo>
                  <a:lnTo>
                    <a:pt x="58636" y="352"/>
                  </a:lnTo>
                  <a:lnTo>
                    <a:pt x="59617" y="0"/>
                  </a:lnTo>
                  <a:lnTo>
                    <a:pt x="60884" y="486"/>
                  </a:lnTo>
                  <a:lnTo>
                    <a:pt x="64627" y="1181"/>
                  </a:lnTo>
                  <a:lnTo>
                    <a:pt x="65656" y="1857"/>
                  </a:lnTo>
                  <a:lnTo>
                    <a:pt x="66027" y="3505"/>
                  </a:lnTo>
                  <a:lnTo>
                    <a:pt x="66980" y="5039"/>
                  </a:lnTo>
                  <a:lnTo>
                    <a:pt x="67742" y="5210"/>
                  </a:lnTo>
                  <a:lnTo>
                    <a:pt x="67465" y="7706"/>
                  </a:lnTo>
                  <a:lnTo>
                    <a:pt x="68656" y="8677"/>
                  </a:lnTo>
                  <a:lnTo>
                    <a:pt x="70409" y="9430"/>
                  </a:lnTo>
                  <a:lnTo>
                    <a:pt x="71562" y="9277"/>
                  </a:lnTo>
                  <a:lnTo>
                    <a:pt x="72390" y="8268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8" name="Forme libre : forme 14">
              <a:extLst>
                <a:ext uri="{FF2B5EF4-FFF2-40B4-BE49-F238E27FC236}">
                  <a16:creationId xmlns:a16="http://schemas.microsoft.com/office/drawing/2014/main" id="{0AC09C89-C105-BE93-5CC2-C3337B1F50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528079" y="3395193"/>
              <a:ext cx="848021" cy="1149110"/>
            </a:xfrm>
            <a:custGeom>
              <a:avLst/>
              <a:gdLst>
                <a:gd name="connsiteX0" fmla="*/ 65494 w 244878"/>
                <a:gd name="connsiteY0" fmla="*/ 12620 h 331822"/>
                <a:gd name="connsiteX1" fmla="*/ 64875 w 244878"/>
                <a:gd name="connsiteY1" fmla="*/ 13535 h 331822"/>
                <a:gd name="connsiteX2" fmla="*/ 65170 w 244878"/>
                <a:gd name="connsiteY2" fmla="*/ 6991 h 331822"/>
                <a:gd name="connsiteX3" fmla="*/ 68094 w 244878"/>
                <a:gd name="connsiteY3" fmla="*/ 0 h 331822"/>
                <a:gd name="connsiteX4" fmla="*/ 69332 w 244878"/>
                <a:gd name="connsiteY4" fmla="*/ 162 h 331822"/>
                <a:gd name="connsiteX5" fmla="*/ 68066 w 244878"/>
                <a:gd name="connsiteY5" fmla="*/ 2057 h 331822"/>
                <a:gd name="connsiteX6" fmla="*/ 67694 w 244878"/>
                <a:gd name="connsiteY6" fmla="*/ 3381 h 331822"/>
                <a:gd name="connsiteX7" fmla="*/ 67180 w 244878"/>
                <a:gd name="connsiteY7" fmla="*/ 6020 h 331822"/>
                <a:gd name="connsiteX8" fmla="*/ 67408 w 244878"/>
                <a:gd name="connsiteY8" fmla="*/ 7391 h 331822"/>
                <a:gd name="connsiteX9" fmla="*/ 74085 w 244878"/>
                <a:gd name="connsiteY9" fmla="*/ 7772 h 331822"/>
                <a:gd name="connsiteX10" fmla="*/ 73304 w 244878"/>
                <a:gd name="connsiteY10" fmla="*/ 8992 h 331822"/>
                <a:gd name="connsiteX11" fmla="*/ 66532 w 244878"/>
                <a:gd name="connsiteY11" fmla="*/ 9811 h 331822"/>
                <a:gd name="connsiteX12" fmla="*/ 65494 w 244878"/>
                <a:gd name="connsiteY12" fmla="*/ 12620 h 331822"/>
                <a:gd name="connsiteX13" fmla="*/ 103775 w 244878"/>
                <a:gd name="connsiteY13" fmla="*/ 10839 h 331822"/>
                <a:gd name="connsiteX14" fmla="*/ 103937 w 244878"/>
                <a:gd name="connsiteY14" fmla="*/ 11687 h 331822"/>
                <a:gd name="connsiteX15" fmla="*/ 107852 w 244878"/>
                <a:gd name="connsiteY15" fmla="*/ 12916 h 331822"/>
                <a:gd name="connsiteX16" fmla="*/ 109499 w 244878"/>
                <a:gd name="connsiteY16" fmla="*/ 14878 h 331822"/>
                <a:gd name="connsiteX17" fmla="*/ 111328 w 244878"/>
                <a:gd name="connsiteY17" fmla="*/ 17850 h 331822"/>
                <a:gd name="connsiteX18" fmla="*/ 111509 w 244878"/>
                <a:gd name="connsiteY18" fmla="*/ 22117 h 331822"/>
                <a:gd name="connsiteX19" fmla="*/ 109166 w 244878"/>
                <a:gd name="connsiteY19" fmla="*/ 25184 h 331822"/>
                <a:gd name="connsiteX20" fmla="*/ 107223 w 244878"/>
                <a:gd name="connsiteY20" fmla="*/ 27127 h 331822"/>
                <a:gd name="connsiteX21" fmla="*/ 114567 w 244878"/>
                <a:gd name="connsiteY21" fmla="*/ 26394 h 331822"/>
                <a:gd name="connsiteX22" fmla="*/ 115300 w 244878"/>
                <a:gd name="connsiteY22" fmla="*/ 28146 h 331822"/>
                <a:gd name="connsiteX23" fmla="*/ 116414 w 244878"/>
                <a:gd name="connsiteY23" fmla="*/ 30042 h 331822"/>
                <a:gd name="connsiteX24" fmla="*/ 120367 w 244878"/>
                <a:gd name="connsiteY24" fmla="*/ 28689 h 331822"/>
                <a:gd name="connsiteX25" fmla="*/ 130292 w 244878"/>
                <a:gd name="connsiteY25" fmla="*/ 34280 h 331822"/>
                <a:gd name="connsiteX26" fmla="*/ 136293 w 244878"/>
                <a:gd name="connsiteY26" fmla="*/ 31556 h 331822"/>
                <a:gd name="connsiteX27" fmla="*/ 137827 w 244878"/>
                <a:gd name="connsiteY27" fmla="*/ 31394 h 331822"/>
                <a:gd name="connsiteX28" fmla="*/ 139189 w 244878"/>
                <a:gd name="connsiteY28" fmla="*/ 35909 h 331822"/>
                <a:gd name="connsiteX29" fmla="*/ 137693 w 244878"/>
                <a:gd name="connsiteY29" fmla="*/ 40443 h 331822"/>
                <a:gd name="connsiteX30" fmla="*/ 132407 w 244878"/>
                <a:gd name="connsiteY30" fmla="*/ 45263 h 331822"/>
                <a:gd name="connsiteX31" fmla="*/ 133578 w 244878"/>
                <a:gd name="connsiteY31" fmla="*/ 48235 h 331822"/>
                <a:gd name="connsiteX32" fmla="*/ 135274 w 244878"/>
                <a:gd name="connsiteY32" fmla="*/ 48892 h 331822"/>
                <a:gd name="connsiteX33" fmla="*/ 140256 w 244878"/>
                <a:gd name="connsiteY33" fmla="*/ 48263 h 331822"/>
                <a:gd name="connsiteX34" fmla="*/ 148152 w 244878"/>
                <a:gd name="connsiteY34" fmla="*/ 51187 h 331822"/>
                <a:gd name="connsiteX35" fmla="*/ 149800 w 244878"/>
                <a:gd name="connsiteY35" fmla="*/ 50273 h 331822"/>
                <a:gd name="connsiteX36" fmla="*/ 156200 w 244878"/>
                <a:gd name="connsiteY36" fmla="*/ 43520 h 331822"/>
                <a:gd name="connsiteX37" fmla="*/ 158763 w 244878"/>
                <a:gd name="connsiteY37" fmla="*/ 42062 h 331822"/>
                <a:gd name="connsiteX38" fmla="*/ 167183 w 244878"/>
                <a:gd name="connsiteY38" fmla="*/ 41024 h 331822"/>
                <a:gd name="connsiteX39" fmla="*/ 168716 w 244878"/>
                <a:gd name="connsiteY39" fmla="*/ 38395 h 331822"/>
                <a:gd name="connsiteX40" fmla="*/ 172126 w 244878"/>
                <a:gd name="connsiteY40" fmla="*/ 35757 h 331822"/>
                <a:gd name="connsiteX41" fmla="*/ 174317 w 244878"/>
                <a:gd name="connsiteY41" fmla="*/ 32871 h 331822"/>
                <a:gd name="connsiteX42" fmla="*/ 179584 w 244878"/>
                <a:gd name="connsiteY42" fmla="*/ 27356 h 331822"/>
                <a:gd name="connsiteX43" fmla="*/ 185033 w 244878"/>
                <a:gd name="connsiteY43" fmla="*/ 28346 h 331822"/>
                <a:gd name="connsiteX44" fmla="*/ 188214 w 244878"/>
                <a:gd name="connsiteY44" fmla="*/ 29404 h 331822"/>
                <a:gd name="connsiteX45" fmla="*/ 191700 w 244878"/>
                <a:gd name="connsiteY45" fmla="*/ 29937 h 331822"/>
                <a:gd name="connsiteX46" fmla="*/ 194872 w 244878"/>
                <a:gd name="connsiteY46" fmla="*/ 35814 h 331822"/>
                <a:gd name="connsiteX47" fmla="*/ 202911 w 244878"/>
                <a:gd name="connsiteY47" fmla="*/ 42281 h 331822"/>
                <a:gd name="connsiteX48" fmla="*/ 210293 w 244878"/>
                <a:gd name="connsiteY48" fmla="*/ 41720 h 331822"/>
                <a:gd name="connsiteX49" fmla="*/ 212912 w 244878"/>
                <a:gd name="connsiteY49" fmla="*/ 47825 h 331822"/>
                <a:gd name="connsiteX50" fmla="*/ 214074 w 244878"/>
                <a:gd name="connsiteY50" fmla="*/ 55331 h 331822"/>
                <a:gd name="connsiteX51" fmla="*/ 216341 w 244878"/>
                <a:gd name="connsiteY51" fmla="*/ 57683 h 331822"/>
                <a:gd name="connsiteX52" fmla="*/ 218332 w 244878"/>
                <a:gd name="connsiteY52" fmla="*/ 59217 h 331822"/>
                <a:gd name="connsiteX53" fmla="*/ 224342 w 244878"/>
                <a:gd name="connsiteY53" fmla="*/ 60817 h 331822"/>
                <a:gd name="connsiteX54" fmla="*/ 224580 w 244878"/>
                <a:gd name="connsiteY54" fmla="*/ 60912 h 331822"/>
                <a:gd name="connsiteX55" fmla="*/ 224780 w 244878"/>
                <a:gd name="connsiteY55" fmla="*/ 61922 h 331822"/>
                <a:gd name="connsiteX56" fmla="*/ 225152 w 244878"/>
                <a:gd name="connsiteY56" fmla="*/ 65637 h 331822"/>
                <a:gd name="connsiteX57" fmla="*/ 225657 w 244878"/>
                <a:gd name="connsiteY57" fmla="*/ 68704 h 331822"/>
                <a:gd name="connsiteX58" fmla="*/ 228753 w 244878"/>
                <a:gd name="connsiteY58" fmla="*/ 80915 h 331822"/>
                <a:gd name="connsiteX59" fmla="*/ 228695 w 244878"/>
                <a:gd name="connsiteY59" fmla="*/ 83886 h 331822"/>
                <a:gd name="connsiteX60" fmla="*/ 228657 w 244878"/>
                <a:gd name="connsiteY60" fmla="*/ 84677 h 331822"/>
                <a:gd name="connsiteX61" fmla="*/ 227524 w 244878"/>
                <a:gd name="connsiteY61" fmla="*/ 88840 h 331822"/>
                <a:gd name="connsiteX62" fmla="*/ 225514 w 244878"/>
                <a:gd name="connsiteY62" fmla="*/ 92335 h 331822"/>
                <a:gd name="connsiteX63" fmla="*/ 222856 w 244878"/>
                <a:gd name="connsiteY63" fmla="*/ 94307 h 331822"/>
                <a:gd name="connsiteX64" fmla="*/ 221390 w 244878"/>
                <a:gd name="connsiteY64" fmla="*/ 96498 h 331822"/>
                <a:gd name="connsiteX65" fmla="*/ 221123 w 244878"/>
                <a:gd name="connsiteY65" fmla="*/ 98908 h 331822"/>
                <a:gd name="connsiteX66" fmla="*/ 224466 w 244878"/>
                <a:gd name="connsiteY66" fmla="*/ 103127 h 331822"/>
                <a:gd name="connsiteX67" fmla="*/ 231429 w 244878"/>
                <a:gd name="connsiteY67" fmla="*/ 109156 h 331822"/>
                <a:gd name="connsiteX68" fmla="*/ 234239 w 244878"/>
                <a:gd name="connsiteY68" fmla="*/ 114300 h 331822"/>
                <a:gd name="connsiteX69" fmla="*/ 232915 w 244878"/>
                <a:gd name="connsiteY69" fmla="*/ 118567 h 331822"/>
                <a:gd name="connsiteX70" fmla="*/ 232515 w 244878"/>
                <a:gd name="connsiteY70" fmla="*/ 121691 h 331822"/>
                <a:gd name="connsiteX71" fmla="*/ 233029 w 244878"/>
                <a:gd name="connsiteY71" fmla="*/ 123672 h 331822"/>
                <a:gd name="connsiteX72" fmla="*/ 234144 w 244878"/>
                <a:gd name="connsiteY72" fmla="*/ 125263 h 331822"/>
                <a:gd name="connsiteX73" fmla="*/ 235858 w 244878"/>
                <a:gd name="connsiteY73" fmla="*/ 126463 h 331822"/>
                <a:gd name="connsiteX74" fmla="*/ 236544 w 244878"/>
                <a:gd name="connsiteY74" fmla="*/ 128311 h 331822"/>
                <a:gd name="connsiteX75" fmla="*/ 236191 w 244878"/>
                <a:gd name="connsiteY75" fmla="*/ 130807 h 331822"/>
                <a:gd name="connsiteX76" fmla="*/ 236515 w 244878"/>
                <a:gd name="connsiteY76" fmla="*/ 132540 h 331822"/>
                <a:gd name="connsiteX77" fmla="*/ 237801 w 244878"/>
                <a:gd name="connsiteY77" fmla="*/ 133769 h 331822"/>
                <a:gd name="connsiteX78" fmla="*/ 237677 w 244878"/>
                <a:gd name="connsiteY78" fmla="*/ 134245 h 331822"/>
                <a:gd name="connsiteX79" fmla="*/ 237058 w 244878"/>
                <a:gd name="connsiteY79" fmla="*/ 135979 h 331822"/>
                <a:gd name="connsiteX80" fmla="*/ 236210 w 244878"/>
                <a:gd name="connsiteY80" fmla="*/ 139132 h 331822"/>
                <a:gd name="connsiteX81" fmla="*/ 235725 w 244878"/>
                <a:gd name="connsiteY81" fmla="*/ 141437 h 331822"/>
                <a:gd name="connsiteX82" fmla="*/ 233763 w 244878"/>
                <a:gd name="connsiteY82" fmla="*/ 144561 h 331822"/>
                <a:gd name="connsiteX83" fmla="*/ 234363 w 244878"/>
                <a:gd name="connsiteY83" fmla="*/ 147218 h 331822"/>
                <a:gd name="connsiteX84" fmla="*/ 235896 w 244878"/>
                <a:gd name="connsiteY84" fmla="*/ 150343 h 331822"/>
                <a:gd name="connsiteX85" fmla="*/ 237068 w 244878"/>
                <a:gd name="connsiteY85" fmla="*/ 151914 h 331822"/>
                <a:gd name="connsiteX86" fmla="*/ 237439 w 244878"/>
                <a:gd name="connsiteY86" fmla="*/ 153400 h 331822"/>
                <a:gd name="connsiteX87" fmla="*/ 236696 w 244878"/>
                <a:gd name="connsiteY87" fmla="*/ 156924 h 331822"/>
                <a:gd name="connsiteX88" fmla="*/ 237068 w 244878"/>
                <a:gd name="connsiteY88" fmla="*/ 157829 h 331822"/>
                <a:gd name="connsiteX89" fmla="*/ 241916 w 244878"/>
                <a:gd name="connsiteY89" fmla="*/ 160420 h 331822"/>
                <a:gd name="connsiteX90" fmla="*/ 242706 w 244878"/>
                <a:gd name="connsiteY90" fmla="*/ 161610 h 331822"/>
                <a:gd name="connsiteX91" fmla="*/ 243173 w 244878"/>
                <a:gd name="connsiteY91" fmla="*/ 164097 h 331822"/>
                <a:gd name="connsiteX92" fmla="*/ 244878 w 244878"/>
                <a:gd name="connsiteY92" fmla="*/ 169402 h 331822"/>
                <a:gd name="connsiteX93" fmla="*/ 243469 w 244878"/>
                <a:gd name="connsiteY93" fmla="*/ 176108 h 331822"/>
                <a:gd name="connsiteX94" fmla="*/ 242230 w 244878"/>
                <a:gd name="connsiteY94" fmla="*/ 179775 h 331822"/>
                <a:gd name="connsiteX95" fmla="*/ 239468 w 244878"/>
                <a:gd name="connsiteY95" fmla="*/ 185576 h 331822"/>
                <a:gd name="connsiteX96" fmla="*/ 239335 w 244878"/>
                <a:gd name="connsiteY96" fmla="*/ 186109 h 331822"/>
                <a:gd name="connsiteX97" fmla="*/ 239020 w 244878"/>
                <a:gd name="connsiteY97" fmla="*/ 186814 h 331822"/>
                <a:gd name="connsiteX98" fmla="*/ 238192 w 244878"/>
                <a:gd name="connsiteY98" fmla="*/ 187823 h 331822"/>
                <a:gd name="connsiteX99" fmla="*/ 237039 w 244878"/>
                <a:gd name="connsiteY99" fmla="*/ 187976 h 331822"/>
                <a:gd name="connsiteX100" fmla="*/ 235296 w 244878"/>
                <a:gd name="connsiteY100" fmla="*/ 187223 h 331822"/>
                <a:gd name="connsiteX101" fmla="*/ 234105 w 244878"/>
                <a:gd name="connsiteY101" fmla="*/ 186252 h 331822"/>
                <a:gd name="connsiteX102" fmla="*/ 234381 w 244878"/>
                <a:gd name="connsiteY102" fmla="*/ 183756 h 331822"/>
                <a:gd name="connsiteX103" fmla="*/ 233610 w 244878"/>
                <a:gd name="connsiteY103" fmla="*/ 183585 h 331822"/>
                <a:gd name="connsiteX104" fmla="*/ 232658 w 244878"/>
                <a:gd name="connsiteY104" fmla="*/ 182051 h 331822"/>
                <a:gd name="connsiteX105" fmla="*/ 232286 w 244878"/>
                <a:gd name="connsiteY105" fmla="*/ 180404 h 331822"/>
                <a:gd name="connsiteX106" fmla="*/ 231258 w 244878"/>
                <a:gd name="connsiteY106" fmla="*/ 179727 h 331822"/>
                <a:gd name="connsiteX107" fmla="*/ 227514 w 244878"/>
                <a:gd name="connsiteY107" fmla="*/ 179032 h 331822"/>
                <a:gd name="connsiteX108" fmla="*/ 226238 w 244878"/>
                <a:gd name="connsiteY108" fmla="*/ 178546 h 331822"/>
                <a:gd name="connsiteX109" fmla="*/ 225257 w 244878"/>
                <a:gd name="connsiteY109" fmla="*/ 178898 h 331822"/>
                <a:gd name="connsiteX110" fmla="*/ 224523 w 244878"/>
                <a:gd name="connsiteY110" fmla="*/ 180070 h 331822"/>
                <a:gd name="connsiteX111" fmla="*/ 224990 w 244878"/>
                <a:gd name="connsiteY111" fmla="*/ 181127 h 331822"/>
                <a:gd name="connsiteX112" fmla="*/ 225685 w 244878"/>
                <a:gd name="connsiteY112" fmla="*/ 182156 h 331822"/>
                <a:gd name="connsiteX113" fmla="*/ 227762 w 244878"/>
                <a:gd name="connsiteY113" fmla="*/ 183785 h 331822"/>
                <a:gd name="connsiteX114" fmla="*/ 227552 w 244878"/>
                <a:gd name="connsiteY114" fmla="*/ 184433 h 331822"/>
                <a:gd name="connsiteX115" fmla="*/ 223076 w 244878"/>
                <a:gd name="connsiteY115" fmla="*/ 186023 h 331822"/>
                <a:gd name="connsiteX116" fmla="*/ 220265 w 244878"/>
                <a:gd name="connsiteY116" fmla="*/ 187642 h 331822"/>
                <a:gd name="connsiteX117" fmla="*/ 217646 w 244878"/>
                <a:gd name="connsiteY117" fmla="*/ 188557 h 331822"/>
                <a:gd name="connsiteX118" fmla="*/ 214979 w 244878"/>
                <a:gd name="connsiteY118" fmla="*/ 190233 h 331822"/>
                <a:gd name="connsiteX119" fmla="*/ 209712 w 244878"/>
                <a:gd name="connsiteY119" fmla="*/ 192119 h 331822"/>
                <a:gd name="connsiteX120" fmla="*/ 205845 w 244878"/>
                <a:gd name="connsiteY120" fmla="*/ 192614 h 331822"/>
                <a:gd name="connsiteX121" fmla="*/ 205045 w 244878"/>
                <a:gd name="connsiteY121" fmla="*/ 193110 h 331822"/>
                <a:gd name="connsiteX122" fmla="*/ 203606 w 244878"/>
                <a:gd name="connsiteY122" fmla="*/ 196301 h 331822"/>
                <a:gd name="connsiteX123" fmla="*/ 202635 w 244878"/>
                <a:gd name="connsiteY123" fmla="*/ 196967 h 331822"/>
                <a:gd name="connsiteX124" fmla="*/ 201692 w 244878"/>
                <a:gd name="connsiteY124" fmla="*/ 196625 h 331822"/>
                <a:gd name="connsiteX125" fmla="*/ 200987 w 244878"/>
                <a:gd name="connsiteY125" fmla="*/ 196101 h 331822"/>
                <a:gd name="connsiteX126" fmla="*/ 200092 w 244878"/>
                <a:gd name="connsiteY126" fmla="*/ 196529 h 331822"/>
                <a:gd name="connsiteX127" fmla="*/ 199158 w 244878"/>
                <a:gd name="connsiteY127" fmla="*/ 197586 h 331822"/>
                <a:gd name="connsiteX128" fmla="*/ 198177 w 244878"/>
                <a:gd name="connsiteY128" fmla="*/ 197996 h 331822"/>
                <a:gd name="connsiteX129" fmla="*/ 197330 w 244878"/>
                <a:gd name="connsiteY129" fmla="*/ 197986 h 331822"/>
                <a:gd name="connsiteX130" fmla="*/ 195815 w 244878"/>
                <a:gd name="connsiteY130" fmla="*/ 200768 h 331822"/>
                <a:gd name="connsiteX131" fmla="*/ 191414 w 244878"/>
                <a:gd name="connsiteY131" fmla="*/ 201606 h 331822"/>
                <a:gd name="connsiteX132" fmla="*/ 190900 w 244878"/>
                <a:gd name="connsiteY132" fmla="*/ 203044 h 331822"/>
                <a:gd name="connsiteX133" fmla="*/ 190090 w 244878"/>
                <a:gd name="connsiteY133" fmla="*/ 204711 h 331822"/>
                <a:gd name="connsiteX134" fmla="*/ 189443 w 244878"/>
                <a:gd name="connsiteY134" fmla="*/ 205121 h 331822"/>
                <a:gd name="connsiteX135" fmla="*/ 187462 w 244878"/>
                <a:gd name="connsiteY135" fmla="*/ 204464 h 331822"/>
                <a:gd name="connsiteX136" fmla="*/ 184709 w 244878"/>
                <a:gd name="connsiteY136" fmla="*/ 204092 h 331822"/>
                <a:gd name="connsiteX137" fmla="*/ 183127 w 244878"/>
                <a:gd name="connsiteY137" fmla="*/ 205006 h 331822"/>
                <a:gd name="connsiteX138" fmla="*/ 181232 w 244878"/>
                <a:gd name="connsiteY138" fmla="*/ 205511 h 331822"/>
                <a:gd name="connsiteX139" fmla="*/ 178918 w 244878"/>
                <a:gd name="connsiteY139" fmla="*/ 205664 h 331822"/>
                <a:gd name="connsiteX140" fmla="*/ 176336 w 244878"/>
                <a:gd name="connsiteY140" fmla="*/ 207483 h 331822"/>
                <a:gd name="connsiteX141" fmla="*/ 173822 w 244878"/>
                <a:gd name="connsiteY141" fmla="*/ 210674 h 331822"/>
                <a:gd name="connsiteX142" fmla="*/ 172412 w 244878"/>
                <a:gd name="connsiteY142" fmla="*/ 213493 h 331822"/>
                <a:gd name="connsiteX143" fmla="*/ 171650 w 244878"/>
                <a:gd name="connsiteY143" fmla="*/ 214503 h 331822"/>
                <a:gd name="connsiteX144" fmla="*/ 170421 w 244878"/>
                <a:gd name="connsiteY144" fmla="*/ 211855 h 331822"/>
                <a:gd name="connsiteX145" fmla="*/ 168916 w 244878"/>
                <a:gd name="connsiteY145" fmla="*/ 210045 h 331822"/>
                <a:gd name="connsiteX146" fmla="*/ 167849 w 244878"/>
                <a:gd name="connsiteY146" fmla="*/ 209102 h 331822"/>
                <a:gd name="connsiteX147" fmla="*/ 166897 w 244878"/>
                <a:gd name="connsiteY147" fmla="*/ 209102 h 331822"/>
                <a:gd name="connsiteX148" fmla="*/ 166649 w 244878"/>
                <a:gd name="connsiteY148" fmla="*/ 209493 h 331822"/>
                <a:gd name="connsiteX149" fmla="*/ 166649 w 244878"/>
                <a:gd name="connsiteY149" fmla="*/ 210874 h 331822"/>
                <a:gd name="connsiteX150" fmla="*/ 167669 w 244878"/>
                <a:gd name="connsiteY150" fmla="*/ 213170 h 331822"/>
                <a:gd name="connsiteX151" fmla="*/ 168926 w 244878"/>
                <a:gd name="connsiteY151" fmla="*/ 214741 h 331822"/>
                <a:gd name="connsiteX152" fmla="*/ 169126 w 244878"/>
                <a:gd name="connsiteY152" fmla="*/ 215903 h 331822"/>
                <a:gd name="connsiteX153" fmla="*/ 169802 w 244878"/>
                <a:gd name="connsiteY153" fmla="*/ 217999 h 331822"/>
                <a:gd name="connsiteX154" fmla="*/ 171640 w 244878"/>
                <a:gd name="connsiteY154" fmla="*/ 220294 h 331822"/>
                <a:gd name="connsiteX155" fmla="*/ 174517 w 244878"/>
                <a:gd name="connsiteY155" fmla="*/ 222104 h 331822"/>
                <a:gd name="connsiteX156" fmla="*/ 176479 w 244878"/>
                <a:gd name="connsiteY156" fmla="*/ 223894 h 331822"/>
                <a:gd name="connsiteX157" fmla="*/ 177937 w 244878"/>
                <a:gd name="connsiteY157" fmla="*/ 226371 h 331822"/>
                <a:gd name="connsiteX158" fmla="*/ 177946 w 244878"/>
                <a:gd name="connsiteY158" fmla="*/ 227133 h 331822"/>
                <a:gd name="connsiteX159" fmla="*/ 177546 w 244878"/>
                <a:gd name="connsiteY159" fmla="*/ 228143 h 331822"/>
                <a:gd name="connsiteX160" fmla="*/ 176860 w 244878"/>
                <a:gd name="connsiteY160" fmla="*/ 229095 h 331822"/>
                <a:gd name="connsiteX161" fmla="*/ 176279 w 244878"/>
                <a:gd name="connsiteY161" fmla="*/ 230333 h 331822"/>
                <a:gd name="connsiteX162" fmla="*/ 174679 w 244878"/>
                <a:gd name="connsiteY162" fmla="*/ 232829 h 331822"/>
                <a:gd name="connsiteX163" fmla="*/ 175155 w 244878"/>
                <a:gd name="connsiteY163" fmla="*/ 233924 h 331822"/>
                <a:gd name="connsiteX164" fmla="*/ 176460 w 244878"/>
                <a:gd name="connsiteY164" fmla="*/ 235296 h 331822"/>
                <a:gd name="connsiteX165" fmla="*/ 177613 w 244878"/>
                <a:gd name="connsiteY165" fmla="*/ 236944 h 331822"/>
                <a:gd name="connsiteX166" fmla="*/ 179098 w 244878"/>
                <a:gd name="connsiteY166" fmla="*/ 239611 h 331822"/>
                <a:gd name="connsiteX167" fmla="*/ 181137 w 244878"/>
                <a:gd name="connsiteY167" fmla="*/ 244278 h 331822"/>
                <a:gd name="connsiteX168" fmla="*/ 182451 w 244878"/>
                <a:gd name="connsiteY168" fmla="*/ 246193 h 331822"/>
                <a:gd name="connsiteX169" fmla="*/ 184242 w 244878"/>
                <a:gd name="connsiteY169" fmla="*/ 248174 h 331822"/>
                <a:gd name="connsiteX170" fmla="*/ 185994 w 244878"/>
                <a:gd name="connsiteY170" fmla="*/ 249679 h 331822"/>
                <a:gd name="connsiteX171" fmla="*/ 188757 w 244878"/>
                <a:gd name="connsiteY171" fmla="*/ 249631 h 331822"/>
                <a:gd name="connsiteX172" fmla="*/ 191614 w 244878"/>
                <a:gd name="connsiteY172" fmla="*/ 252508 h 331822"/>
                <a:gd name="connsiteX173" fmla="*/ 194738 w 244878"/>
                <a:gd name="connsiteY173" fmla="*/ 256661 h 331822"/>
                <a:gd name="connsiteX174" fmla="*/ 197072 w 244878"/>
                <a:gd name="connsiteY174" fmla="*/ 258556 h 331822"/>
                <a:gd name="connsiteX175" fmla="*/ 198701 w 244878"/>
                <a:gd name="connsiteY175" fmla="*/ 259137 h 331822"/>
                <a:gd name="connsiteX176" fmla="*/ 200054 w 244878"/>
                <a:gd name="connsiteY176" fmla="*/ 260633 h 331822"/>
                <a:gd name="connsiteX177" fmla="*/ 201244 w 244878"/>
                <a:gd name="connsiteY177" fmla="*/ 262776 h 331822"/>
                <a:gd name="connsiteX178" fmla="*/ 201711 w 244878"/>
                <a:gd name="connsiteY178" fmla="*/ 264014 h 331822"/>
                <a:gd name="connsiteX179" fmla="*/ 202768 w 244878"/>
                <a:gd name="connsiteY179" fmla="*/ 264909 h 331822"/>
                <a:gd name="connsiteX180" fmla="*/ 205626 w 244878"/>
                <a:gd name="connsiteY180" fmla="*/ 264738 h 331822"/>
                <a:gd name="connsiteX181" fmla="*/ 209302 w 244878"/>
                <a:gd name="connsiteY181" fmla="*/ 268110 h 331822"/>
                <a:gd name="connsiteX182" fmla="*/ 211569 w 244878"/>
                <a:gd name="connsiteY182" fmla="*/ 270567 h 331822"/>
                <a:gd name="connsiteX183" fmla="*/ 212769 w 244878"/>
                <a:gd name="connsiteY183" fmla="*/ 272548 h 331822"/>
                <a:gd name="connsiteX184" fmla="*/ 212455 w 244878"/>
                <a:gd name="connsiteY184" fmla="*/ 273339 h 331822"/>
                <a:gd name="connsiteX185" fmla="*/ 212302 w 244878"/>
                <a:gd name="connsiteY185" fmla="*/ 275806 h 331822"/>
                <a:gd name="connsiteX186" fmla="*/ 212341 w 244878"/>
                <a:gd name="connsiteY186" fmla="*/ 278416 h 331822"/>
                <a:gd name="connsiteX187" fmla="*/ 211979 w 244878"/>
                <a:gd name="connsiteY187" fmla="*/ 279797 h 331822"/>
                <a:gd name="connsiteX188" fmla="*/ 210340 w 244878"/>
                <a:gd name="connsiteY188" fmla="*/ 281616 h 331822"/>
                <a:gd name="connsiteX189" fmla="*/ 209493 w 244878"/>
                <a:gd name="connsiteY189" fmla="*/ 282007 h 331822"/>
                <a:gd name="connsiteX190" fmla="*/ 209036 w 244878"/>
                <a:gd name="connsiteY190" fmla="*/ 282397 h 331822"/>
                <a:gd name="connsiteX191" fmla="*/ 203997 w 244878"/>
                <a:gd name="connsiteY191" fmla="*/ 280025 h 331822"/>
                <a:gd name="connsiteX192" fmla="*/ 203597 w 244878"/>
                <a:gd name="connsiteY192" fmla="*/ 280425 h 331822"/>
                <a:gd name="connsiteX193" fmla="*/ 203283 w 244878"/>
                <a:gd name="connsiteY193" fmla="*/ 280721 h 331822"/>
                <a:gd name="connsiteX194" fmla="*/ 201930 w 244878"/>
                <a:gd name="connsiteY194" fmla="*/ 287569 h 331822"/>
                <a:gd name="connsiteX195" fmla="*/ 201006 w 244878"/>
                <a:gd name="connsiteY195" fmla="*/ 288884 h 331822"/>
                <a:gd name="connsiteX196" fmla="*/ 199615 w 244878"/>
                <a:gd name="connsiteY196" fmla="*/ 290093 h 331822"/>
                <a:gd name="connsiteX197" fmla="*/ 196739 w 244878"/>
                <a:gd name="connsiteY197" fmla="*/ 291274 h 331822"/>
                <a:gd name="connsiteX198" fmla="*/ 194738 w 244878"/>
                <a:gd name="connsiteY198" fmla="*/ 291751 h 331822"/>
                <a:gd name="connsiteX199" fmla="*/ 193176 w 244878"/>
                <a:gd name="connsiteY199" fmla="*/ 292351 h 331822"/>
                <a:gd name="connsiteX200" fmla="*/ 188233 w 244878"/>
                <a:gd name="connsiteY200" fmla="*/ 295208 h 331822"/>
                <a:gd name="connsiteX201" fmla="*/ 186014 w 244878"/>
                <a:gd name="connsiteY201" fmla="*/ 296923 h 331822"/>
                <a:gd name="connsiteX202" fmla="*/ 184575 w 244878"/>
                <a:gd name="connsiteY202" fmla="*/ 299075 h 331822"/>
                <a:gd name="connsiteX203" fmla="*/ 184566 w 244878"/>
                <a:gd name="connsiteY203" fmla="*/ 300314 h 331822"/>
                <a:gd name="connsiteX204" fmla="*/ 186966 w 244878"/>
                <a:gd name="connsiteY204" fmla="*/ 303943 h 331822"/>
                <a:gd name="connsiteX205" fmla="*/ 189738 w 244878"/>
                <a:gd name="connsiteY205" fmla="*/ 307695 h 331822"/>
                <a:gd name="connsiteX206" fmla="*/ 189747 w 244878"/>
                <a:gd name="connsiteY206" fmla="*/ 310982 h 331822"/>
                <a:gd name="connsiteX207" fmla="*/ 188528 w 244878"/>
                <a:gd name="connsiteY207" fmla="*/ 313439 h 331822"/>
                <a:gd name="connsiteX208" fmla="*/ 188243 w 244878"/>
                <a:gd name="connsiteY208" fmla="*/ 314382 h 331822"/>
                <a:gd name="connsiteX209" fmla="*/ 189062 w 244878"/>
                <a:gd name="connsiteY209" fmla="*/ 314744 h 331822"/>
                <a:gd name="connsiteX210" fmla="*/ 190595 w 244878"/>
                <a:gd name="connsiteY210" fmla="*/ 314877 h 331822"/>
                <a:gd name="connsiteX211" fmla="*/ 191881 w 244878"/>
                <a:gd name="connsiteY211" fmla="*/ 315296 h 331822"/>
                <a:gd name="connsiteX212" fmla="*/ 192424 w 244878"/>
                <a:gd name="connsiteY212" fmla="*/ 317030 h 331822"/>
                <a:gd name="connsiteX213" fmla="*/ 192262 w 244878"/>
                <a:gd name="connsiteY213" fmla="*/ 320030 h 331822"/>
                <a:gd name="connsiteX214" fmla="*/ 191824 w 244878"/>
                <a:gd name="connsiteY214" fmla="*/ 322840 h 331822"/>
                <a:gd name="connsiteX215" fmla="*/ 191367 w 244878"/>
                <a:gd name="connsiteY215" fmla="*/ 324022 h 331822"/>
                <a:gd name="connsiteX216" fmla="*/ 190128 w 244878"/>
                <a:gd name="connsiteY216" fmla="*/ 324117 h 331822"/>
                <a:gd name="connsiteX217" fmla="*/ 187747 w 244878"/>
                <a:gd name="connsiteY217" fmla="*/ 322907 h 331822"/>
                <a:gd name="connsiteX218" fmla="*/ 185890 w 244878"/>
                <a:gd name="connsiteY218" fmla="*/ 321497 h 331822"/>
                <a:gd name="connsiteX219" fmla="*/ 185175 w 244878"/>
                <a:gd name="connsiteY219" fmla="*/ 320630 h 331822"/>
                <a:gd name="connsiteX220" fmla="*/ 185137 w 244878"/>
                <a:gd name="connsiteY220" fmla="*/ 319592 h 331822"/>
                <a:gd name="connsiteX221" fmla="*/ 185538 w 244878"/>
                <a:gd name="connsiteY221" fmla="*/ 318935 h 331822"/>
                <a:gd name="connsiteX222" fmla="*/ 184880 w 244878"/>
                <a:gd name="connsiteY222" fmla="*/ 317659 h 331822"/>
                <a:gd name="connsiteX223" fmla="*/ 182594 w 244878"/>
                <a:gd name="connsiteY223" fmla="*/ 316468 h 331822"/>
                <a:gd name="connsiteX224" fmla="*/ 180146 w 244878"/>
                <a:gd name="connsiteY224" fmla="*/ 316982 h 331822"/>
                <a:gd name="connsiteX225" fmla="*/ 178346 w 244878"/>
                <a:gd name="connsiteY225" fmla="*/ 317773 h 331822"/>
                <a:gd name="connsiteX226" fmla="*/ 177174 w 244878"/>
                <a:gd name="connsiteY226" fmla="*/ 317725 h 331822"/>
                <a:gd name="connsiteX227" fmla="*/ 175917 w 244878"/>
                <a:gd name="connsiteY227" fmla="*/ 316582 h 331822"/>
                <a:gd name="connsiteX228" fmla="*/ 173974 w 244878"/>
                <a:gd name="connsiteY228" fmla="*/ 315706 h 331822"/>
                <a:gd name="connsiteX229" fmla="*/ 171440 w 244878"/>
                <a:gd name="connsiteY229" fmla="*/ 315125 h 331822"/>
                <a:gd name="connsiteX230" fmla="*/ 169859 w 244878"/>
                <a:gd name="connsiteY230" fmla="*/ 314515 h 331822"/>
                <a:gd name="connsiteX231" fmla="*/ 169526 w 244878"/>
                <a:gd name="connsiteY231" fmla="*/ 314877 h 331822"/>
                <a:gd name="connsiteX232" fmla="*/ 169707 w 244878"/>
                <a:gd name="connsiteY232" fmla="*/ 317344 h 331822"/>
                <a:gd name="connsiteX233" fmla="*/ 169221 w 244878"/>
                <a:gd name="connsiteY233" fmla="*/ 318421 h 331822"/>
                <a:gd name="connsiteX234" fmla="*/ 156686 w 244878"/>
                <a:gd name="connsiteY234" fmla="*/ 319849 h 331822"/>
                <a:gd name="connsiteX235" fmla="*/ 152867 w 244878"/>
                <a:gd name="connsiteY235" fmla="*/ 321183 h 331822"/>
                <a:gd name="connsiteX236" fmla="*/ 150085 w 244878"/>
                <a:gd name="connsiteY236" fmla="*/ 322907 h 331822"/>
                <a:gd name="connsiteX237" fmla="*/ 148028 w 244878"/>
                <a:gd name="connsiteY237" fmla="*/ 323650 h 331822"/>
                <a:gd name="connsiteX238" fmla="*/ 147523 w 244878"/>
                <a:gd name="connsiteY238" fmla="*/ 324707 h 331822"/>
                <a:gd name="connsiteX239" fmla="*/ 145485 w 244878"/>
                <a:gd name="connsiteY239" fmla="*/ 326098 h 331822"/>
                <a:gd name="connsiteX240" fmla="*/ 143189 w 244878"/>
                <a:gd name="connsiteY240" fmla="*/ 326536 h 331822"/>
                <a:gd name="connsiteX241" fmla="*/ 142627 w 244878"/>
                <a:gd name="connsiteY241" fmla="*/ 326088 h 331822"/>
                <a:gd name="connsiteX242" fmla="*/ 141151 w 244878"/>
                <a:gd name="connsiteY242" fmla="*/ 326727 h 331822"/>
                <a:gd name="connsiteX243" fmla="*/ 138636 w 244878"/>
                <a:gd name="connsiteY243" fmla="*/ 327346 h 331822"/>
                <a:gd name="connsiteX244" fmla="*/ 137008 w 244878"/>
                <a:gd name="connsiteY244" fmla="*/ 327145 h 331822"/>
                <a:gd name="connsiteX245" fmla="*/ 136236 w 244878"/>
                <a:gd name="connsiteY245" fmla="*/ 326022 h 331822"/>
                <a:gd name="connsiteX246" fmla="*/ 134683 w 244878"/>
                <a:gd name="connsiteY246" fmla="*/ 324298 h 331822"/>
                <a:gd name="connsiteX247" fmla="*/ 134055 w 244878"/>
                <a:gd name="connsiteY247" fmla="*/ 323107 h 331822"/>
                <a:gd name="connsiteX248" fmla="*/ 134121 w 244878"/>
                <a:gd name="connsiteY248" fmla="*/ 322336 h 331822"/>
                <a:gd name="connsiteX249" fmla="*/ 130607 w 244878"/>
                <a:gd name="connsiteY249" fmla="*/ 322183 h 331822"/>
                <a:gd name="connsiteX250" fmla="*/ 128397 w 244878"/>
                <a:gd name="connsiteY250" fmla="*/ 321269 h 331822"/>
                <a:gd name="connsiteX251" fmla="*/ 123692 w 244878"/>
                <a:gd name="connsiteY251" fmla="*/ 321478 h 331822"/>
                <a:gd name="connsiteX252" fmla="*/ 122529 w 244878"/>
                <a:gd name="connsiteY252" fmla="*/ 321088 h 331822"/>
                <a:gd name="connsiteX253" fmla="*/ 122291 w 244878"/>
                <a:gd name="connsiteY253" fmla="*/ 321497 h 331822"/>
                <a:gd name="connsiteX254" fmla="*/ 121586 w 244878"/>
                <a:gd name="connsiteY254" fmla="*/ 326393 h 331822"/>
                <a:gd name="connsiteX255" fmla="*/ 120653 w 244878"/>
                <a:gd name="connsiteY255" fmla="*/ 328393 h 331822"/>
                <a:gd name="connsiteX256" fmla="*/ 119148 w 244878"/>
                <a:gd name="connsiteY256" fmla="*/ 330460 h 331822"/>
                <a:gd name="connsiteX257" fmla="*/ 117215 w 244878"/>
                <a:gd name="connsiteY257" fmla="*/ 331613 h 331822"/>
                <a:gd name="connsiteX258" fmla="*/ 115681 w 244878"/>
                <a:gd name="connsiteY258" fmla="*/ 331822 h 331822"/>
                <a:gd name="connsiteX259" fmla="*/ 115748 w 244878"/>
                <a:gd name="connsiteY259" fmla="*/ 330317 h 331822"/>
                <a:gd name="connsiteX260" fmla="*/ 116138 w 244878"/>
                <a:gd name="connsiteY260" fmla="*/ 328498 h 331822"/>
                <a:gd name="connsiteX261" fmla="*/ 115024 w 244878"/>
                <a:gd name="connsiteY261" fmla="*/ 328070 h 331822"/>
                <a:gd name="connsiteX262" fmla="*/ 113357 w 244878"/>
                <a:gd name="connsiteY262" fmla="*/ 327870 h 331822"/>
                <a:gd name="connsiteX263" fmla="*/ 112557 w 244878"/>
                <a:gd name="connsiteY263" fmla="*/ 327327 h 331822"/>
                <a:gd name="connsiteX264" fmla="*/ 112766 w 244878"/>
                <a:gd name="connsiteY264" fmla="*/ 325936 h 331822"/>
                <a:gd name="connsiteX265" fmla="*/ 112376 w 244878"/>
                <a:gd name="connsiteY265" fmla="*/ 325126 h 331822"/>
                <a:gd name="connsiteX266" fmla="*/ 111690 w 244878"/>
                <a:gd name="connsiteY266" fmla="*/ 324155 h 331822"/>
                <a:gd name="connsiteX267" fmla="*/ 110014 w 244878"/>
                <a:gd name="connsiteY267" fmla="*/ 322907 h 331822"/>
                <a:gd name="connsiteX268" fmla="*/ 106470 w 244878"/>
                <a:gd name="connsiteY268" fmla="*/ 321059 h 331822"/>
                <a:gd name="connsiteX269" fmla="*/ 104061 w 244878"/>
                <a:gd name="connsiteY269" fmla="*/ 320135 h 331822"/>
                <a:gd name="connsiteX270" fmla="*/ 103156 w 244878"/>
                <a:gd name="connsiteY270" fmla="*/ 321116 h 331822"/>
                <a:gd name="connsiteX271" fmla="*/ 101432 w 244878"/>
                <a:gd name="connsiteY271" fmla="*/ 322097 h 331822"/>
                <a:gd name="connsiteX272" fmla="*/ 98717 w 244878"/>
                <a:gd name="connsiteY272" fmla="*/ 321773 h 331822"/>
                <a:gd name="connsiteX273" fmla="*/ 98050 w 244878"/>
                <a:gd name="connsiteY273" fmla="*/ 322164 h 331822"/>
                <a:gd name="connsiteX274" fmla="*/ 93393 w 244878"/>
                <a:gd name="connsiteY274" fmla="*/ 319211 h 331822"/>
                <a:gd name="connsiteX275" fmla="*/ 88925 w 244878"/>
                <a:gd name="connsiteY275" fmla="*/ 316373 h 331822"/>
                <a:gd name="connsiteX276" fmla="*/ 87449 w 244878"/>
                <a:gd name="connsiteY276" fmla="*/ 316373 h 331822"/>
                <a:gd name="connsiteX277" fmla="*/ 80867 w 244878"/>
                <a:gd name="connsiteY277" fmla="*/ 316944 h 331822"/>
                <a:gd name="connsiteX278" fmla="*/ 80677 w 244878"/>
                <a:gd name="connsiteY278" fmla="*/ 316697 h 331822"/>
                <a:gd name="connsiteX279" fmla="*/ 79524 w 244878"/>
                <a:gd name="connsiteY279" fmla="*/ 315077 h 331822"/>
                <a:gd name="connsiteX280" fmla="*/ 78514 w 244878"/>
                <a:gd name="connsiteY280" fmla="*/ 314563 h 331822"/>
                <a:gd name="connsiteX281" fmla="*/ 77905 w 244878"/>
                <a:gd name="connsiteY281" fmla="*/ 314830 h 331822"/>
                <a:gd name="connsiteX282" fmla="*/ 77495 w 244878"/>
                <a:gd name="connsiteY282" fmla="*/ 315296 h 331822"/>
                <a:gd name="connsiteX283" fmla="*/ 76790 w 244878"/>
                <a:gd name="connsiteY283" fmla="*/ 315220 h 331822"/>
                <a:gd name="connsiteX284" fmla="*/ 73838 w 244878"/>
                <a:gd name="connsiteY284" fmla="*/ 312610 h 331822"/>
                <a:gd name="connsiteX285" fmla="*/ 72628 w 244878"/>
                <a:gd name="connsiteY285" fmla="*/ 312230 h 331822"/>
                <a:gd name="connsiteX286" fmla="*/ 70952 w 244878"/>
                <a:gd name="connsiteY286" fmla="*/ 312582 h 331822"/>
                <a:gd name="connsiteX287" fmla="*/ 68971 w 244878"/>
                <a:gd name="connsiteY287" fmla="*/ 313992 h 331822"/>
                <a:gd name="connsiteX288" fmla="*/ 68104 w 244878"/>
                <a:gd name="connsiteY288" fmla="*/ 315716 h 331822"/>
                <a:gd name="connsiteX289" fmla="*/ 68370 w 244878"/>
                <a:gd name="connsiteY289" fmla="*/ 316706 h 331822"/>
                <a:gd name="connsiteX290" fmla="*/ 69390 w 244878"/>
                <a:gd name="connsiteY290" fmla="*/ 317135 h 331822"/>
                <a:gd name="connsiteX291" fmla="*/ 72085 w 244878"/>
                <a:gd name="connsiteY291" fmla="*/ 316849 h 331822"/>
                <a:gd name="connsiteX292" fmla="*/ 72476 w 244878"/>
                <a:gd name="connsiteY292" fmla="*/ 317135 h 331822"/>
                <a:gd name="connsiteX293" fmla="*/ 72571 w 244878"/>
                <a:gd name="connsiteY293" fmla="*/ 317697 h 331822"/>
                <a:gd name="connsiteX294" fmla="*/ 72276 w 244878"/>
                <a:gd name="connsiteY294" fmla="*/ 318240 h 331822"/>
                <a:gd name="connsiteX295" fmla="*/ 70094 w 244878"/>
                <a:gd name="connsiteY295" fmla="*/ 318687 h 331822"/>
                <a:gd name="connsiteX296" fmla="*/ 69466 w 244878"/>
                <a:gd name="connsiteY296" fmla="*/ 319344 h 331822"/>
                <a:gd name="connsiteX297" fmla="*/ 68827 w 244878"/>
                <a:gd name="connsiteY297" fmla="*/ 319507 h 331822"/>
                <a:gd name="connsiteX298" fmla="*/ 68418 w 244878"/>
                <a:gd name="connsiteY298" fmla="*/ 319611 h 331822"/>
                <a:gd name="connsiteX299" fmla="*/ 66094 w 244878"/>
                <a:gd name="connsiteY299" fmla="*/ 318926 h 331822"/>
                <a:gd name="connsiteX300" fmla="*/ 62636 w 244878"/>
                <a:gd name="connsiteY300" fmla="*/ 318926 h 331822"/>
                <a:gd name="connsiteX301" fmla="*/ 59845 w 244878"/>
                <a:gd name="connsiteY301" fmla="*/ 320135 h 331822"/>
                <a:gd name="connsiteX302" fmla="*/ 55388 w 244878"/>
                <a:gd name="connsiteY302" fmla="*/ 320621 h 331822"/>
                <a:gd name="connsiteX303" fmla="*/ 49263 w 244878"/>
                <a:gd name="connsiteY303" fmla="*/ 320383 h 331822"/>
                <a:gd name="connsiteX304" fmla="*/ 47063 w 244878"/>
                <a:gd name="connsiteY304" fmla="*/ 319478 h 331822"/>
                <a:gd name="connsiteX305" fmla="*/ 45720 w 244878"/>
                <a:gd name="connsiteY305" fmla="*/ 318935 h 331822"/>
                <a:gd name="connsiteX306" fmla="*/ 44748 w 244878"/>
                <a:gd name="connsiteY306" fmla="*/ 316268 h 331822"/>
                <a:gd name="connsiteX307" fmla="*/ 44996 w 244878"/>
                <a:gd name="connsiteY307" fmla="*/ 312315 h 331822"/>
                <a:gd name="connsiteX308" fmla="*/ 46453 w 244878"/>
                <a:gd name="connsiteY308" fmla="*/ 307067 h 331822"/>
                <a:gd name="connsiteX309" fmla="*/ 46863 w 244878"/>
                <a:gd name="connsiteY309" fmla="*/ 303209 h 331822"/>
                <a:gd name="connsiteX310" fmla="*/ 46215 w 244878"/>
                <a:gd name="connsiteY310" fmla="*/ 300752 h 331822"/>
                <a:gd name="connsiteX311" fmla="*/ 47082 w 244878"/>
                <a:gd name="connsiteY311" fmla="*/ 297056 h 331822"/>
                <a:gd name="connsiteX312" fmla="*/ 49463 w 244878"/>
                <a:gd name="connsiteY312" fmla="*/ 292122 h 331822"/>
                <a:gd name="connsiteX313" fmla="*/ 51054 w 244878"/>
                <a:gd name="connsiteY313" fmla="*/ 286912 h 331822"/>
                <a:gd name="connsiteX314" fmla="*/ 51845 w 244878"/>
                <a:gd name="connsiteY314" fmla="*/ 281407 h 331822"/>
                <a:gd name="connsiteX315" fmla="*/ 52997 w 244878"/>
                <a:gd name="connsiteY315" fmla="*/ 277816 h 331822"/>
                <a:gd name="connsiteX316" fmla="*/ 55264 w 244878"/>
                <a:gd name="connsiteY316" fmla="*/ 275291 h 331822"/>
                <a:gd name="connsiteX317" fmla="*/ 60646 w 244878"/>
                <a:gd name="connsiteY317" fmla="*/ 268224 h 331822"/>
                <a:gd name="connsiteX318" fmla="*/ 61084 w 244878"/>
                <a:gd name="connsiteY318" fmla="*/ 267691 h 331822"/>
                <a:gd name="connsiteX319" fmla="*/ 60931 w 244878"/>
                <a:gd name="connsiteY319" fmla="*/ 264157 h 331822"/>
                <a:gd name="connsiteX320" fmla="*/ 59484 w 244878"/>
                <a:gd name="connsiteY320" fmla="*/ 263652 h 331822"/>
                <a:gd name="connsiteX321" fmla="*/ 57360 w 244878"/>
                <a:gd name="connsiteY321" fmla="*/ 262633 h 331822"/>
                <a:gd name="connsiteX322" fmla="*/ 51959 w 244878"/>
                <a:gd name="connsiteY322" fmla="*/ 261375 h 331822"/>
                <a:gd name="connsiteX323" fmla="*/ 46930 w 244878"/>
                <a:gd name="connsiteY323" fmla="*/ 260566 h 331822"/>
                <a:gd name="connsiteX324" fmla="*/ 44643 w 244878"/>
                <a:gd name="connsiteY324" fmla="*/ 259566 h 331822"/>
                <a:gd name="connsiteX325" fmla="*/ 42643 w 244878"/>
                <a:gd name="connsiteY325" fmla="*/ 256889 h 331822"/>
                <a:gd name="connsiteX326" fmla="*/ 41405 w 244878"/>
                <a:gd name="connsiteY326" fmla="*/ 256851 h 331822"/>
                <a:gd name="connsiteX327" fmla="*/ 38976 w 244878"/>
                <a:gd name="connsiteY327" fmla="*/ 257813 h 331822"/>
                <a:gd name="connsiteX328" fmla="*/ 35947 w 244878"/>
                <a:gd name="connsiteY328" fmla="*/ 258461 h 331822"/>
                <a:gd name="connsiteX329" fmla="*/ 33737 w 244878"/>
                <a:gd name="connsiteY329" fmla="*/ 257899 h 331822"/>
                <a:gd name="connsiteX330" fmla="*/ 32356 w 244878"/>
                <a:gd name="connsiteY330" fmla="*/ 258004 h 331822"/>
                <a:gd name="connsiteX331" fmla="*/ 31585 w 244878"/>
                <a:gd name="connsiteY331" fmla="*/ 258499 h 331822"/>
                <a:gd name="connsiteX332" fmla="*/ 31194 w 244878"/>
                <a:gd name="connsiteY332" fmla="*/ 258061 h 331822"/>
                <a:gd name="connsiteX333" fmla="*/ 30642 w 244878"/>
                <a:gd name="connsiteY333" fmla="*/ 255765 h 331822"/>
                <a:gd name="connsiteX334" fmla="*/ 29489 w 244878"/>
                <a:gd name="connsiteY334" fmla="*/ 255165 h 331822"/>
                <a:gd name="connsiteX335" fmla="*/ 27699 w 244878"/>
                <a:gd name="connsiteY335" fmla="*/ 254632 h 331822"/>
                <a:gd name="connsiteX336" fmla="*/ 26584 w 244878"/>
                <a:gd name="connsiteY336" fmla="*/ 254860 h 331822"/>
                <a:gd name="connsiteX337" fmla="*/ 25813 w 244878"/>
                <a:gd name="connsiteY337" fmla="*/ 256003 h 331822"/>
                <a:gd name="connsiteX338" fmla="*/ 24622 w 244878"/>
                <a:gd name="connsiteY338" fmla="*/ 256804 h 331822"/>
                <a:gd name="connsiteX339" fmla="*/ 23536 w 244878"/>
                <a:gd name="connsiteY339" fmla="*/ 256546 h 331822"/>
                <a:gd name="connsiteX340" fmla="*/ 20117 w 244878"/>
                <a:gd name="connsiteY340" fmla="*/ 251231 h 331822"/>
                <a:gd name="connsiteX341" fmla="*/ 19240 w 244878"/>
                <a:gd name="connsiteY341" fmla="*/ 250050 h 331822"/>
                <a:gd name="connsiteX342" fmla="*/ 19021 w 244878"/>
                <a:gd name="connsiteY342" fmla="*/ 248964 h 331822"/>
                <a:gd name="connsiteX343" fmla="*/ 18164 w 244878"/>
                <a:gd name="connsiteY343" fmla="*/ 246983 h 331822"/>
                <a:gd name="connsiteX344" fmla="*/ 16126 w 244878"/>
                <a:gd name="connsiteY344" fmla="*/ 245002 h 331822"/>
                <a:gd name="connsiteX345" fmla="*/ 14097 w 244878"/>
                <a:gd name="connsiteY345" fmla="*/ 244373 h 331822"/>
                <a:gd name="connsiteX346" fmla="*/ 13087 w 244878"/>
                <a:gd name="connsiteY346" fmla="*/ 244592 h 331822"/>
                <a:gd name="connsiteX347" fmla="*/ 13202 w 244878"/>
                <a:gd name="connsiteY347" fmla="*/ 242135 h 331822"/>
                <a:gd name="connsiteX348" fmla="*/ 13992 w 244878"/>
                <a:gd name="connsiteY348" fmla="*/ 238563 h 331822"/>
                <a:gd name="connsiteX349" fmla="*/ 14754 w 244878"/>
                <a:gd name="connsiteY349" fmla="*/ 236696 h 331822"/>
                <a:gd name="connsiteX350" fmla="*/ 15764 w 244878"/>
                <a:gd name="connsiteY350" fmla="*/ 235172 h 331822"/>
                <a:gd name="connsiteX351" fmla="*/ 16840 w 244878"/>
                <a:gd name="connsiteY351" fmla="*/ 234105 h 331822"/>
                <a:gd name="connsiteX352" fmla="*/ 17078 w 244878"/>
                <a:gd name="connsiteY352" fmla="*/ 232181 h 331822"/>
                <a:gd name="connsiteX353" fmla="*/ 16907 w 244878"/>
                <a:gd name="connsiteY353" fmla="*/ 230362 h 331822"/>
                <a:gd name="connsiteX354" fmla="*/ 15669 w 244878"/>
                <a:gd name="connsiteY354" fmla="*/ 230076 h 331822"/>
                <a:gd name="connsiteX355" fmla="*/ 12563 w 244878"/>
                <a:gd name="connsiteY355" fmla="*/ 228733 h 331822"/>
                <a:gd name="connsiteX356" fmla="*/ 10725 w 244878"/>
                <a:gd name="connsiteY356" fmla="*/ 227314 h 331822"/>
                <a:gd name="connsiteX357" fmla="*/ 9363 w 244878"/>
                <a:gd name="connsiteY357" fmla="*/ 225533 h 331822"/>
                <a:gd name="connsiteX358" fmla="*/ 7572 w 244878"/>
                <a:gd name="connsiteY358" fmla="*/ 223085 h 331822"/>
                <a:gd name="connsiteX359" fmla="*/ 6810 w 244878"/>
                <a:gd name="connsiteY359" fmla="*/ 220589 h 331822"/>
                <a:gd name="connsiteX360" fmla="*/ 6772 w 244878"/>
                <a:gd name="connsiteY360" fmla="*/ 218103 h 331822"/>
                <a:gd name="connsiteX361" fmla="*/ 6982 w 244878"/>
                <a:gd name="connsiteY361" fmla="*/ 216989 h 331822"/>
                <a:gd name="connsiteX362" fmla="*/ 7115 w 244878"/>
                <a:gd name="connsiteY362" fmla="*/ 216217 h 331822"/>
                <a:gd name="connsiteX363" fmla="*/ 8553 w 244878"/>
                <a:gd name="connsiteY363" fmla="*/ 212331 h 331822"/>
                <a:gd name="connsiteX364" fmla="*/ 13621 w 244878"/>
                <a:gd name="connsiteY364" fmla="*/ 208845 h 331822"/>
                <a:gd name="connsiteX365" fmla="*/ 13059 w 244878"/>
                <a:gd name="connsiteY365" fmla="*/ 205330 h 331822"/>
                <a:gd name="connsiteX366" fmla="*/ 12983 w 244878"/>
                <a:gd name="connsiteY366" fmla="*/ 203168 h 331822"/>
                <a:gd name="connsiteX367" fmla="*/ 11754 w 244878"/>
                <a:gd name="connsiteY367" fmla="*/ 201758 h 331822"/>
                <a:gd name="connsiteX368" fmla="*/ 9296 w 244878"/>
                <a:gd name="connsiteY368" fmla="*/ 201187 h 331822"/>
                <a:gd name="connsiteX369" fmla="*/ 8649 w 244878"/>
                <a:gd name="connsiteY369" fmla="*/ 200206 h 331822"/>
                <a:gd name="connsiteX370" fmla="*/ 8372 w 244878"/>
                <a:gd name="connsiteY370" fmla="*/ 199244 h 331822"/>
                <a:gd name="connsiteX371" fmla="*/ 10173 w 244878"/>
                <a:gd name="connsiteY371" fmla="*/ 197082 h 331822"/>
                <a:gd name="connsiteX372" fmla="*/ 7991 w 244878"/>
                <a:gd name="connsiteY372" fmla="*/ 195377 h 331822"/>
                <a:gd name="connsiteX373" fmla="*/ 7001 w 244878"/>
                <a:gd name="connsiteY373" fmla="*/ 193691 h 331822"/>
                <a:gd name="connsiteX374" fmla="*/ 3972 w 244878"/>
                <a:gd name="connsiteY374" fmla="*/ 191462 h 331822"/>
                <a:gd name="connsiteX375" fmla="*/ 3648 w 244878"/>
                <a:gd name="connsiteY375" fmla="*/ 190690 h 331822"/>
                <a:gd name="connsiteX376" fmla="*/ 5105 w 244878"/>
                <a:gd name="connsiteY376" fmla="*/ 184166 h 331822"/>
                <a:gd name="connsiteX377" fmla="*/ 3991 w 244878"/>
                <a:gd name="connsiteY377" fmla="*/ 182261 h 331822"/>
                <a:gd name="connsiteX378" fmla="*/ 2610 w 244878"/>
                <a:gd name="connsiteY378" fmla="*/ 181289 h 331822"/>
                <a:gd name="connsiteX379" fmla="*/ 1000 w 244878"/>
                <a:gd name="connsiteY379" fmla="*/ 180813 h 331822"/>
                <a:gd name="connsiteX380" fmla="*/ 257 w 244878"/>
                <a:gd name="connsiteY380" fmla="*/ 179908 h 331822"/>
                <a:gd name="connsiteX381" fmla="*/ 0 w 244878"/>
                <a:gd name="connsiteY381" fmla="*/ 178870 h 331822"/>
                <a:gd name="connsiteX382" fmla="*/ 286 w 244878"/>
                <a:gd name="connsiteY382" fmla="*/ 178232 h 331822"/>
                <a:gd name="connsiteX383" fmla="*/ 2181 w 244878"/>
                <a:gd name="connsiteY383" fmla="*/ 178422 h 331822"/>
                <a:gd name="connsiteX384" fmla="*/ 2772 w 244878"/>
                <a:gd name="connsiteY384" fmla="*/ 177746 h 331822"/>
                <a:gd name="connsiteX385" fmla="*/ 7286 w 244878"/>
                <a:gd name="connsiteY385" fmla="*/ 173898 h 331822"/>
                <a:gd name="connsiteX386" fmla="*/ 7477 w 244878"/>
                <a:gd name="connsiteY386" fmla="*/ 173155 h 331822"/>
                <a:gd name="connsiteX387" fmla="*/ 6848 w 244878"/>
                <a:gd name="connsiteY387" fmla="*/ 172736 h 331822"/>
                <a:gd name="connsiteX388" fmla="*/ 6029 w 244878"/>
                <a:gd name="connsiteY388" fmla="*/ 172517 h 331822"/>
                <a:gd name="connsiteX389" fmla="*/ 5820 w 244878"/>
                <a:gd name="connsiteY389" fmla="*/ 171707 h 331822"/>
                <a:gd name="connsiteX390" fmla="*/ 5848 w 244878"/>
                <a:gd name="connsiteY390" fmla="*/ 170640 h 331822"/>
                <a:gd name="connsiteX391" fmla="*/ 8258 w 244878"/>
                <a:gd name="connsiteY391" fmla="*/ 165068 h 331822"/>
                <a:gd name="connsiteX392" fmla="*/ 8972 w 244878"/>
                <a:gd name="connsiteY392" fmla="*/ 162687 h 331822"/>
                <a:gd name="connsiteX393" fmla="*/ 9134 w 244878"/>
                <a:gd name="connsiteY393" fmla="*/ 161001 h 331822"/>
                <a:gd name="connsiteX394" fmla="*/ 8982 w 244878"/>
                <a:gd name="connsiteY394" fmla="*/ 159334 h 331822"/>
                <a:gd name="connsiteX395" fmla="*/ 7591 w 244878"/>
                <a:gd name="connsiteY395" fmla="*/ 156715 h 331822"/>
                <a:gd name="connsiteX396" fmla="*/ 6248 w 244878"/>
                <a:gd name="connsiteY396" fmla="*/ 154619 h 331822"/>
                <a:gd name="connsiteX397" fmla="*/ 6201 w 244878"/>
                <a:gd name="connsiteY397" fmla="*/ 152952 h 331822"/>
                <a:gd name="connsiteX398" fmla="*/ 5220 w 244878"/>
                <a:gd name="connsiteY398" fmla="*/ 152076 h 331822"/>
                <a:gd name="connsiteX399" fmla="*/ 2438 w 244878"/>
                <a:gd name="connsiteY399" fmla="*/ 147590 h 331822"/>
                <a:gd name="connsiteX400" fmla="*/ 2438 w 244878"/>
                <a:gd name="connsiteY400" fmla="*/ 145856 h 331822"/>
                <a:gd name="connsiteX401" fmla="*/ 4010 w 244878"/>
                <a:gd name="connsiteY401" fmla="*/ 144504 h 331822"/>
                <a:gd name="connsiteX402" fmla="*/ 6210 w 244878"/>
                <a:gd name="connsiteY402" fmla="*/ 143646 h 331822"/>
                <a:gd name="connsiteX403" fmla="*/ 6944 w 244878"/>
                <a:gd name="connsiteY403" fmla="*/ 142932 h 331822"/>
                <a:gd name="connsiteX404" fmla="*/ 8258 w 244878"/>
                <a:gd name="connsiteY404" fmla="*/ 142484 h 331822"/>
                <a:gd name="connsiteX405" fmla="*/ 11754 w 244878"/>
                <a:gd name="connsiteY405" fmla="*/ 143780 h 331822"/>
                <a:gd name="connsiteX406" fmla="*/ 13316 w 244878"/>
                <a:gd name="connsiteY406" fmla="*/ 144904 h 331822"/>
                <a:gd name="connsiteX407" fmla="*/ 13754 w 244878"/>
                <a:gd name="connsiteY407" fmla="*/ 144675 h 331822"/>
                <a:gd name="connsiteX408" fmla="*/ 15164 w 244878"/>
                <a:gd name="connsiteY408" fmla="*/ 143456 h 331822"/>
                <a:gd name="connsiteX409" fmla="*/ 17640 w 244878"/>
                <a:gd name="connsiteY409" fmla="*/ 143646 h 331822"/>
                <a:gd name="connsiteX410" fmla="*/ 23631 w 244878"/>
                <a:gd name="connsiteY410" fmla="*/ 141189 h 331822"/>
                <a:gd name="connsiteX411" fmla="*/ 24527 w 244878"/>
                <a:gd name="connsiteY411" fmla="*/ 140008 h 331822"/>
                <a:gd name="connsiteX412" fmla="*/ 25194 w 244878"/>
                <a:gd name="connsiteY412" fmla="*/ 138751 h 331822"/>
                <a:gd name="connsiteX413" fmla="*/ 25251 w 244878"/>
                <a:gd name="connsiteY413" fmla="*/ 138198 h 331822"/>
                <a:gd name="connsiteX414" fmla="*/ 22927 w 244878"/>
                <a:gd name="connsiteY414" fmla="*/ 135769 h 331822"/>
                <a:gd name="connsiteX415" fmla="*/ 22860 w 244878"/>
                <a:gd name="connsiteY415" fmla="*/ 134874 h 331822"/>
                <a:gd name="connsiteX416" fmla="*/ 23165 w 244878"/>
                <a:gd name="connsiteY416" fmla="*/ 133864 h 331822"/>
                <a:gd name="connsiteX417" fmla="*/ 23822 w 244878"/>
                <a:gd name="connsiteY417" fmla="*/ 133064 h 331822"/>
                <a:gd name="connsiteX418" fmla="*/ 25194 w 244878"/>
                <a:gd name="connsiteY418" fmla="*/ 132521 h 331822"/>
                <a:gd name="connsiteX419" fmla="*/ 26651 w 244878"/>
                <a:gd name="connsiteY419" fmla="*/ 131454 h 331822"/>
                <a:gd name="connsiteX420" fmla="*/ 29918 w 244878"/>
                <a:gd name="connsiteY420" fmla="*/ 128426 h 331822"/>
                <a:gd name="connsiteX421" fmla="*/ 31051 w 244878"/>
                <a:gd name="connsiteY421" fmla="*/ 125797 h 331822"/>
                <a:gd name="connsiteX422" fmla="*/ 31404 w 244878"/>
                <a:gd name="connsiteY422" fmla="*/ 122939 h 331822"/>
                <a:gd name="connsiteX423" fmla="*/ 31470 w 244878"/>
                <a:gd name="connsiteY423" fmla="*/ 120805 h 331822"/>
                <a:gd name="connsiteX424" fmla="*/ 30575 w 244878"/>
                <a:gd name="connsiteY424" fmla="*/ 119110 h 331822"/>
                <a:gd name="connsiteX425" fmla="*/ 29670 w 244878"/>
                <a:gd name="connsiteY425" fmla="*/ 118015 h 331822"/>
                <a:gd name="connsiteX426" fmla="*/ 28442 w 244878"/>
                <a:gd name="connsiteY426" fmla="*/ 118186 h 331822"/>
                <a:gd name="connsiteX427" fmla="*/ 26051 w 244878"/>
                <a:gd name="connsiteY427" fmla="*/ 118100 h 331822"/>
                <a:gd name="connsiteX428" fmla="*/ 23813 w 244878"/>
                <a:gd name="connsiteY428" fmla="*/ 117148 h 331822"/>
                <a:gd name="connsiteX429" fmla="*/ 22584 w 244878"/>
                <a:gd name="connsiteY429" fmla="*/ 115605 h 331822"/>
                <a:gd name="connsiteX430" fmla="*/ 22279 w 244878"/>
                <a:gd name="connsiteY430" fmla="*/ 114252 h 331822"/>
                <a:gd name="connsiteX431" fmla="*/ 22841 w 244878"/>
                <a:gd name="connsiteY431" fmla="*/ 113395 h 331822"/>
                <a:gd name="connsiteX432" fmla="*/ 23012 w 244878"/>
                <a:gd name="connsiteY432" fmla="*/ 112347 h 331822"/>
                <a:gd name="connsiteX433" fmla="*/ 22650 w 244878"/>
                <a:gd name="connsiteY433" fmla="*/ 111290 h 331822"/>
                <a:gd name="connsiteX434" fmla="*/ 22793 w 244878"/>
                <a:gd name="connsiteY434" fmla="*/ 110404 h 331822"/>
                <a:gd name="connsiteX435" fmla="*/ 23803 w 244878"/>
                <a:gd name="connsiteY435" fmla="*/ 109690 h 331822"/>
                <a:gd name="connsiteX436" fmla="*/ 30880 w 244878"/>
                <a:gd name="connsiteY436" fmla="*/ 109709 h 331822"/>
                <a:gd name="connsiteX437" fmla="*/ 31413 w 244878"/>
                <a:gd name="connsiteY437" fmla="*/ 108928 h 331822"/>
                <a:gd name="connsiteX438" fmla="*/ 31890 w 244878"/>
                <a:gd name="connsiteY438" fmla="*/ 104813 h 331822"/>
                <a:gd name="connsiteX439" fmla="*/ 33661 w 244878"/>
                <a:gd name="connsiteY439" fmla="*/ 98536 h 331822"/>
                <a:gd name="connsiteX440" fmla="*/ 35328 w 244878"/>
                <a:gd name="connsiteY440" fmla="*/ 95031 h 331822"/>
                <a:gd name="connsiteX441" fmla="*/ 35605 w 244878"/>
                <a:gd name="connsiteY441" fmla="*/ 93554 h 331822"/>
                <a:gd name="connsiteX442" fmla="*/ 35576 w 244878"/>
                <a:gd name="connsiteY442" fmla="*/ 85220 h 331822"/>
                <a:gd name="connsiteX443" fmla="*/ 35805 w 244878"/>
                <a:gd name="connsiteY443" fmla="*/ 80981 h 331822"/>
                <a:gd name="connsiteX444" fmla="*/ 34595 w 244878"/>
                <a:gd name="connsiteY444" fmla="*/ 78991 h 331822"/>
                <a:gd name="connsiteX445" fmla="*/ 31956 w 244878"/>
                <a:gd name="connsiteY445" fmla="*/ 76810 h 331822"/>
                <a:gd name="connsiteX446" fmla="*/ 32518 w 244878"/>
                <a:gd name="connsiteY446" fmla="*/ 72257 h 331822"/>
                <a:gd name="connsiteX447" fmla="*/ 33394 w 244878"/>
                <a:gd name="connsiteY447" fmla="*/ 68694 h 331822"/>
                <a:gd name="connsiteX448" fmla="*/ 36052 w 244878"/>
                <a:gd name="connsiteY448" fmla="*/ 64313 h 331822"/>
                <a:gd name="connsiteX449" fmla="*/ 38157 w 244878"/>
                <a:gd name="connsiteY449" fmla="*/ 63112 h 331822"/>
                <a:gd name="connsiteX450" fmla="*/ 47349 w 244878"/>
                <a:gd name="connsiteY450" fmla="*/ 62398 h 331822"/>
                <a:gd name="connsiteX451" fmla="*/ 57502 w 244878"/>
                <a:gd name="connsiteY451" fmla="*/ 62694 h 331822"/>
                <a:gd name="connsiteX452" fmla="*/ 61722 w 244878"/>
                <a:gd name="connsiteY452" fmla="*/ 69313 h 331822"/>
                <a:gd name="connsiteX453" fmla="*/ 60160 w 244878"/>
                <a:gd name="connsiteY453" fmla="*/ 72704 h 331822"/>
                <a:gd name="connsiteX454" fmla="*/ 62627 w 244878"/>
                <a:gd name="connsiteY454" fmla="*/ 74285 h 331822"/>
                <a:gd name="connsiteX455" fmla="*/ 63817 w 244878"/>
                <a:gd name="connsiteY455" fmla="*/ 73705 h 331822"/>
                <a:gd name="connsiteX456" fmla="*/ 64722 w 244878"/>
                <a:gd name="connsiteY456" fmla="*/ 70751 h 331822"/>
                <a:gd name="connsiteX457" fmla="*/ 65322 w 244878"/>
                <a:gd name="connsiteY457" fmla="*/ 67475 h 331822"/>
                <a:gd name="connsiteX458" fmla="*/ 66189 w 244878"/>
                <a:gd name="connsiteY458" fmla="*/ 66484 h 331822"/>
                <a:gd name="connsiteX459" fmla="*/ 69332 w 244878"/>
                <a:gd name="connsiteY459" fmla="*/ 68932 h 331822"/>
                <a:gd name="connsiteX460" fmla="*/ 70437 w 244878"/>
                <a:gd name="connsiteY460" fmla="*/ 70609 h 331822"/>
                <a:gd name="connsiteX461" fmla="*/ 70504 w 244878"/>
                <a:gd name="connsiteY461" fmla="*/ 75981 h 331822"/>
                <a:gd name="connsiteX462" fmla="*/ 71666 w 244878"/>
                <a:gd name="connsiteY462" fmla="*/ 68694 h 331822"/>
                <a:gd name="connsiteX463" fmla="*/ 70799 w 244878"/>
                <a:gd name="connsiteY463" fmla="*/ 63579 h 331822"/>
                <a:gd name="connsiteX464" fmla="*/ 71390 w 244878"/>
                <a:gd name="connsiteY464" fmla="*/ 58607 h 331822"/>
                <a:gd name="connsiteX465" fmla="*/ 72657 w 244878"/>
                <a:gd name="connsiteY465" fmla="*/ 56016 h 331822"/>
                <a:gd name="connsiteX466" fmla="*/ 73819 w 244878"/>
                <a:gd name="connsiteY466" fmla="*/ 54368 h 331822"/>
                <a:gd name="connsiteX467" fmla="*/ 81267 w 244878"/>
                <a:gd name="connsiteY467" fmla="*/ 56150 h 331822"/>
                <a:gd name="connsiteX468" fmla="*/ 89497 w 244878"/>
                <a:gd name="connsiteY468" fmla="*/ 55235 h 331822"/>
                <a:gd name="connsiteX469" fmla="*/ 92612 w 244878"/>
                <a:gd name="connsiteY469" fmla="*/ 57159 h 331822"/>
                <a:gd name="connsiteX470" fmla="*/ 99651 w 244878"/>
                <a:gd name="connsiteY470" fmla="*/ 66751 h 331822"/>
                <a:gd name="connsiteX471" fmla="*/ 102003 w 244878"/>
                <a:gd name="connsiteY471" fmla="*/ 68323 h 331822"/>
                <a:gd name="connsiteX472" fmla="*/ 104965 w 244878"/>
                <a:gd name="connsiteY472" fmla="*/ 68818 h 331822"/>
                <a:gd name="connsiteX473" fmla="*/ 100879 w 244878"/>
                <a:gd name="connsiteY473" fmla="*/ 66770 h 331822"/>
                <a:gd name="connsiteX474" fmla="*/ 92345 w 244878"/>
                <a:gd name="connsiteY474" fmla="*/ 55093 h 331822"/>
                <a:gd name="connsiteX475" fmla="*/ 89792 w 244878"/>
                <a:gd name="connsiteY475" fmla="*/ 53645 h 331822"/>
                <a:gd name="connsiteX476" fmla="*/ 85868 w 244878"/>
                <a:gd name="connsiteY476" fmla="*/ 53207 h 331822"/>
                <a:gd name="connsiteX477" fmla="*/ 83420 w 244878"/>
                <a:gd name="connsiteY477" fmla="*/ 52064 h 331822"/>
                <a:gd name="connsiteX478" fmla="*/ 81877 w 244878"/>
                <a:gd name="connsiteY478" fmla="*/ 50292 h 331822"/>
                <a:gd name="connsiteX479" fmla="*/ 81429 w 244878"/>
                <a:gd name="connsiteY479" fmla="*/ 48701 h 331822"/>
                <a:gd name="connsiteX480" fmla="*/ 81515 w 244878"/>
                <a:gd name="connsiteY480" fmla="*/ 36843 h 331822"/>
                <a:gd name="connsiteX481" fmla="*/ 80048 w 244878"/>
                <a:gd name="connsiteY481" fmla="*/ 35071 h 331822"/>
                <a:gd name="connsiteX482" fmla="*/ 78143 w 244878"/>
                <a:gd name="connsiteY482" fmla="*/ 34461 h 331822"/>
                <a:gd name="connsiteX483" fmla="*/ 76952 w 244878"/>
                <a:gd name="connsiteY483" fmla="*/ 35271 h 331822"/>
                <a:gd name="connsiteX484" fmla="*/ 74514 w 244878"/>
                <a:gd name="connsiteY484" fmla="*/ 35280 h 331822"/>
                <a:gd name="connsiteX485" fmla="*/ 74000 w 244878"/>
                <a:gd name="connsiteY485" fmla="*/ 32585 h 331822"/>
                <a:gd name="connsiteX486" fmla="*/ 74600 w 244878"/>
                <a:gd name="connsiteY486" fmla="*/ 30585 h 331822"/>
                <a:gd name="connsiteX487" fmla="*/ 79495 w 244878"/>
                <a:gd name="connsiteY487" fmla="*/ 29213 h 331822"/>
                <a:gd name="connsiteX488" fmla="*/ 82725 w 244878"/>
                <a:gd name="connsiteY488" fmla="*/ 27375 h 331822"/>
                <a:gd name="connsiteX489" fmla="*/ 82867 w 244878"/>
                <a:gd name="connsiteY489" fmla="*/ 24127 h 331822"/>
                <a:gd name="connsiteX490" fmla="*/ 80829 w 244878"/>
                <a:gd name="connsiteY490" fmla="*/ 21564 h 331822"/>
                <a:gd name="connsiteX491" fmla="*/ 78391 w 244878"/>
                <a:gd name="connsiteY491" fmla="*/ 16859 h 331822"/>
                <a:gd name="connsiteX492" fmla="*/ 75524 w 244878"/>
                <a:gd name="connsiteY492" fmla="*/ 12430 h 331822"/>
                <a:gd name="connsiteX493" fmla="*/ 75200 w 244878"/>
                <a:gd name="connsiteY493" fmla="*/ 7268 h 331822"/>
                <a:gd name="connsiteX494" fmla="*/ 75209 w 244878"/>
                <a:gd name="connsiteY494" fmla="*/ 7268 h 331822"/>
                <a:gd name="connsiteX495" fmla="*/ 80200 w 244878"/>
                <a:gd name="connsiteY495" fmla="*/ 7363 h 331822"/>
                <a:gd name="connsiteX496" fmla="*/ 81420 w 244878"/>
                <a:gd name="connsiteY496" fmla="*/ 7563 h 331822"/>
                <a:gd name="connsiteX497" fmla="*/ 88982 w 244878"/>
                <a:gd name="connsiteY497" fmla="*/ 9982 h 331822"/>
                <a:gd name="connsiteX498" fmla="*/ 90830 w 244878"/>
                <a:gd name="connsiteY498" fmla="*/ 11677 h 331822"/>
                <a:gd name="connsiteX499" fmla="*/ 93154 w 244878"/>
                <a:gd name="connsiteY499" fmla="*/ 11754 h 331822"/>
                <a:gd name="connsiteX500" fmla="*/ 97346 w 244878"/>
                <a:gd name="connsiteY500" fmla="*/ 10173 h 331822"/>
                <a:gd name="connsiteX501" fmla="*/ 100479 w 244878"/>
                <a:gd name="connsiteY501" fmla="*/ 9477 h 331822"/>
                <a:gd name="connsiteX502" fmla="*/ 101689 w 244878"/>
                <a:gd name="connsiteY502" fmla="*/ 10458 h 331822"/>
                <a:gd name="connsiteX503" fmla="*/ 103394 w 244878"/>
                <a:gd name="connsiteY503" fmla="*/ 10868 h 331822"/>
                <a:gd name="connsiteX504" fmla="*/ 103775 w 244878"/>
                <a:gd name="connsiteY504" fmla="*/ 10868 h 331822"/>
                <a:gd name="connsiteX505" fmla="*/ 72980 w 244878"/>
                <a:gd name="connsiteY505" fmla="*/ 16059 h 331822"/>
                <a:gd name="connsiteX506" fmla="*/ 71942 w 244878"/>
                <a:gd name="connsiteY506" fmla="*/ 17193 h 331822"/>
                <a:gd name="connsiteX507" fmla="*/ 69390 w 244878"/>
                <a:gd name="connsiteY507" fmla="*/ 17059 h 331822"/>
                <a:gd name="connsiteX508" fmla="*/ 67961 w 244878"/>
                <a:gd name="connsiteY508" fmla="*/ 15992 h 331822"/>
                <a:gd name="connsiteX509" fmla="*/ 68428 w 244878"/>
                <a:gd name="connsiteY509" fmla="*/ 14859 h 331822"/>
                <a:gd name="connsiteX510" fmla="*/ 69780 w 244878"/>
                <a:gd name="connsiteY510" fmla="*/ 13992 h 331822"/>
                <a:gd name="connsiteX511" fmla="*/ 70904 w 244878"/>
                <a:gd name="connsiteY511" fmla="*/ 13859 h 331822"/>
                <a:gd name="connsiteX512" fmla="*/ 72599 w 244878"/>
                <a:gd name="connsiteY512" fmla="*/ 14392 h 331822"/>
                <a:gd name="connsiteX513" fmla="*/ 72980 w 244878"/>
                <a:gd name="connsiteY513" fmla="*/ 16059 h 331822"/>
                <a:gd name="connsiteX514" fmla="*/ 209883 w 244878"/>
                <a:gd name="connsiteY514" fmla="*/ 31223 h 331822"/>
                <a:gd name="connsiteX515" fmla="*/ 210550 w 244878"/>
                <a:gd name="connsiteY515" fmla="*/ 34299 h 331822"/>
                <a:gd name="connsiteX516" fmla="*/ 209836 w 244878"/>
                <a:gd name="connsiteY516" fmla="*/ 35871 h 331822"/>
                <a:gd name="connsiteX517" fmla="*/ 206835 w 244878"/>
                <a:gd name="connsiteY517" fmla="*/ 33261 h 331822"/>
                <a:gd name="connsiteX518" fmla="*/ 203816 w 244878"/>
                <a:gd name="connsiteY518" fmla="*/ 33299 h 331822"/>
                <a:gd name="connsiteX519" fmla="*/ 202016 w 244878"/>
                <a:gd name="connsiteY519" fmla="*/ 37309 h 331822"/>
                <a:gd name="connsiteX520" fmla="*/ 200672 w 244878"/>
                <a:gd name="connsiteY520" fmla="*/ 37481 h 331822"/>
                <a:gd name="connsiteX521" fmla="*/ 196015 w 244878"/>
                <a:gd name="connsiteY521" fmla="*/ 33833 h 331822"/>
                <a:gd name="connsiteX522" fmla="*/ 195262 w 244878"/>
                <a:gd name="connsiteY522" fmla="*/ 32052 h 331822"/>
                <a:gd name="connsiteX523" fmla="*/ 195110 w 244878"/>
                <a:gd name="connsiteY523" fmla="*/ 30566 h 331822"/>
                <a:gd name="connsiteX524" fmla="*/ 195777 w 244878"/>
                <a:gd name="connsiteY524" fmla="*/ 25422 h 331822"/>
                <a:gd name="connsiteX525" fmla="*/ 195653 w 244878"/>
                <a:gd name="connsiteY525" fmla="*/ 23803 h 331822"/>
                <a:gd name="connsiteX526" fmla="*/ 197120 w 244878"/>
                <a:gd name="connsiteY526" fmla="*/ 22031 h 331822"/>
                <a:gd name="connsiteX527" fmla="*/ 197348 w 244878"/>
                <a:gd name="connsiteY527" fmla="*/ 19460 h 331822"/>
                <a:gd name="connsiteX528" fmla="*/ 199930 w 244878"/>
                <a:gd name="connsiteY528" fmla="*/ 16755 h 331822"/>
                <a:gd name="connsiteX529" fmla="*/ 202234 w 244878"/>
                <a:gd name="connsiteY529" fmla="*/ 16650 h 331822"/>
                <a:gd name="connsiteX530" fmla="*/ 202959 w 244878"/>
                <a:gd name="connsiteY530" fmla="*/ 18945 h 331822"/>
                <a:gd name="connsiteX531" fmla="*/ 204063 w 244878"/>
                <a:gd name="connsiteY531" fmla="*/ 20526 h 331822"/>
                <a:gd name="connsiteX532" fmla="*/ 207931 w 244878"/>
                <a:gd name="connsiteY532" fmla="*/ 22298 h 331822"/>
                <a:gd name="connsiteX533" fmla="*/ 208512 w 244878"/>
                <a:gd name="connsiteY533" fmla="*/ 23098 h 331822"/>
                <a:gd name="connsiteX534" fmla="*/ 208864 w 244878"/>
                <a:gd name="connsiteY534" fmla="*/ 24212 h 331822"/>
                <a:gd name="connsiteX535" fmla="*/ 207064 w 244878"/>
                <a:gd name="connsiteY535" fmla="*/ 26384 h 331822"/>
                <a:gd name="connsiteX536" fmla="*/ 206455 w 244878"/>
                <a:gd name="connsiteY536" fmla="*/ 27499 h 331822"/>
                <a:gd name="connsiteX537" fmla="*/ 207026 w 244878"/>
                <a:gd name="connsiteY537" fmla="*/ 29280 h 331822"/>
                <a:gd name="connsiteX538" fmla="*/ 209883 w 244878"/>
                <a:gd name="connsiteY538" fmla="*/ 31223 h 331822"/>
                <a:gd name="connsiteX539" fmla="*/ 145027 w 244878"/>
                <a:gd name="connsiteY539" fmla="*/ 29613 h 331822"/>
                <a:gd name="connsiteX540" fmla="*/ 140922 w 244878"/>
                <a:gd name="connsiteY540" fmla="*/ 29699 h 331822"/>
                <a:gd name="connsiteX541" fmla="*/ 139351 w 244878"/>
                <a:gd name="connsiteY541" fmla="*/ 27870 h 331822"/>
                <a:gd name="connsiteX542" fmla="*/ 137779 w 244878"/>
                <a:gd name="connsiteY542" fmla="*/ 27403 h 331822"/>
                <a:gd name="connsiteX543" fmla="*/ 138627 w 244878"/>
                <a:gd name="connsiteY543" fmla="*/ 25146 h 331822"/>
                <a:gd name="connsiteX544" fmla="*/ 139732 w 244878"/>
                <a:gd name="connsiteY544" fmla="*/ 24317 h 331822"/>
                <a:gd name="connsiteX545" fmla="*/ 143704 w 244878"/>
                <a:gd name="connsiteY545" fmla="*/ 25793 h 331822"/>
                <a:gd name="connsiteX546" fmla="*/ 144951 w 244878"/>
                <a:gd name="connsiteY546" fmla="*/ 28680 h 331822"/>
                <a:gd name="connsiteX547" fmla="*/ 145027 w 244878"/>
                <a:gd name="connsiteY547" fmla="*/ 29613 h 331822"/>
                <a:gd name="connsiteX548" fmla="*/ 223304 w 244878"/>
                <a:gd name="connsiteY548" fmla="*/ 50920 h 331822"/>
                <a:gd name="connsiteX549" fmla="*/ 222952 w 244878"/>
                <a:gd name="connsiteY549" fmla="*/ 52340 h 331822"/>
                <a:gd name="connsiteX550" fmla="*/ 223361 w 244878"/>
                <a:gd name="connsiteY550" fmla="*/ 54521 h 331822"/>
                <a:gd name="connsiteX551" fmla="*/ 222256 w 244878"/>
                <a:gd name="connsiteY551" fmla="*/ 54359 h 331822"/>
                <a:gd name="connsiteX552" fmla="*/ 218942 w 244878"/>
                <a:gd name="connsiteY552" fmla="*/ 54873 h 331822"/>
                <a:gd name="connsiteX553" fmla="*/ 215665 w 244878"/>
                <a:gd name="connsiteY553" fmla="*/ 54150 h 331822"/>
                <a:gd name="connsiteX554" fmla="*/ 215037 w 244878"/>
                <a:gd name="connsiteY554" fmla="*/ 51435 h 331822"/>
                <a:gd name="connsiteX555" fmla="*/ 215560 w 244878"/>
                <a:gd name="connsiteY555" fmla="*/ 48825 h 331822"/>
                <a:gd name="connsiteX556" fmla="*/ 214246 w 244878"/>
                <a:gd name="connsiteY556" fmla="*/ 47025 h 331822"/>
                <a:gd name="connsiteX557" fmla="*/ 213036 w 244878"/>
                <a:gd name="connsiteY557" fmla="*/ 45968 h 331822"/>
                <a:gd name="connsiteX558" fmla="*/ 212855 w 244878"/>
                <a:gd name="connsiteY558" fmla="*/ 44463 h 331822"/>
                <a:gd name="connsiteX559" fmla="*/ 213055 w 244878"/>
                <a:gd name="connsiteY559" fmla="*/ 42891 h 331822"/>
                <a:gd name="connsiteX560" fmla="*/ 218703 w 244878"/>
                <a:gd name="connsiteY560" fmla="*/ 47101 h 331822"/>
                <a:gd name="connsiteX561" fmla="*/ 223304 w 244878"/>
                <a:gd name="connsiteY561" fmla="*/ 50920 h 331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</a:cxnLst>
              <a:rect l="l" t="t" r="r" b="b"/>
              <a:pathLst>
                <a:path w="244878" h="331822">
                  <a:moveTo>
                    <a:pt x="65494" y="12620"/>
                  </a:moveTo>
                  <a:lnTo>
                    <a:pt x="64875" y="13535"/>
                  </a:lnTo>
                  <a:lnTo>
                    <a:pt x="65170" y="6991"/>
                  </a:lnTo>
                  <a:lnTo>
                    <a:pt x="68094" y="0"/>
                  </a:lnTo>
                  <a:lnTo>
                    <a:pt x="69332" y="162"/>
                  </a:lnTo>
                  <a:lnTo>
                    <a:pt x="68066" y="2057"/>
                  </a:lnTo>
                  <a:lnTo>
                    <a:pt x="67694" y="3381"/>
                  </a:lnTo>
                  <a:lnTo>
                    <a:pt x="67180" y="6020"/>
                  </a:lnTo>
                  <a:lnTo>
                    <a:pt x="67408" y="7391"/>
                  </a:lnTo>
                  <a:lnTo>
                    <a:pt x="74085" y="7772"/>
                  </a:lnTo>
                  <a:lnTo>
                    <a:pt x="73304" y="8992"/>
                  </a:lnTo>
                  <a:lnTo>
                    <a:pt x="66532" y="9811"/>
                  </a:lnTo>
                  <a:lnTo>
                    <a:pt x="65494" y="12620"/>
                  </a:lnTo>
                  <a:close/>
                  <a:moveTo>
                    <a:pt x="103775" y="10839"/>
                  </a:moveTo>
                  <a:lnTo>
                    <a:pt x="103937" y="11687"/>
                  </a:lnTo>
                  <a:lnTo>
                    <a:pt x="107852" y="12916"/>
                  </a:lnTo>
                  <a:lnTo>
                    <a:pt x="109499" y="14878"/>
                  </a:lnTo>
                  <a:lnTo>
                    <a:pt x="111328" y="17850"/>
                  </a:lnTo>
                  <a:lnTo>
                    <a:pt x="111509" y="22117"/>
                  </a:lnTo>
                  <a:lnTo>
                    <a:pt x="109166" y="25184"/>
                  </a:lnTo>
                  <a:lnTo>
                    <a:pt x="107223" y="27127"/>
                  </a:lnTo>
                  <a:lnTo>
                    <a:pt x="114567" y="26394"/>
                  </a:lnTo>
                  <a:lnTo>
                    <a:pt x="115300" y="28146"/>
                  </a:lnTo>
                  <a:lnTo>
                    <a:pt x="116414" y="30042"/>
                  </a:lnTo>
                  <a:lnTo>
                    <a:pt x="120367" y="28689"/>
                  </a:lnTo>
                  <a:lnTo>
                    <a:pt x="130292" y="34280"/>
                  </a:lnTo>
                  <a:lnTo>
                    <a:pt x="136293" y="31556"/>
                  </a:lnTo>
                  <a:lnTo>
                    <a:pt x="137827" y="31394"/>
                  </a:lnTo>
                  <a:lnTo>
                    <a:pt x="139189" y="35909"/>
                  </a:lnTo>
                  <a:lnTo>
                    <a:pt x="137693" y="40443"/>
                  </a:lnTo>
                  <a:lnTo>
                    <a:pt x="132407" y="45263"/>
                  </a:lnTo>
                  <a:lnTo>
                    <a:pt x="133578" y="48235"/>
                  </a:lnTo>
                  <a:lnTo>
                    <a:pt x="135274" y="48892"/>
                  </a:lnTo>
                  <a:lnTo>
                    <a:pt x="140256" y="48263"/>
                  </a:lnTo>
                  <a:lnTo>
                    <a:pt x="148152" y="51187"/>
                  </a:lnTo>
                  <a:lnTo>
                    <a:pt x="149800" y="50273"/>
                  </a:lnTo>
                  <a:lnTo>
                    <a:pt x="156200" y="43520"/>
                  </a:lnTo>
                  <a:lnTo>
                    <a:pt x="158763" y="42062"/>
                  </a:lnTo>
                  <a:lnTo>
                    <a:pt x="167183" y="41024"/>
                  </a:lnTo>
                  <a:lnTo>
                    <a:pt x="168716" y="38395"/>
                  </a:lnTo>
                  <a:lnTo>
                    <a:pt x="172126" y="35757"/>
                  </a:lnTo>
                  <a:lnTo>
                    <a:pt x="174317" y="32871"/>
                  </a:lnTo>
                  <a:lnTo>
                    <a:pt x="179584" y="27356"/>
                  </a:lnTo>
                  <a:lnTo>
                    <a:pt x="185033" y="28346"/>
                  </a:lnTo>
                  <a:lnTo>
                    <a:pt x="188214" y="29404"/>
                  </a:lnTo>
                  <a:lnTo>
                    <a:pt x="191700" y="29937"/>
                  </a:lnTo>
                  <a:lnTo>
                    <a:pt x="194872" y="35814"/>
                  </a:lnTo>
                  <a:lnTo>
                    <a:pt x="202911" y="42281"/>
                  </a:lnTo>
                  <a:lnTo>
                    <a:pt x="210293" y="41720"/>
                  </a:lnTo>
                  <a:lnTo>
                    <a:pt x="212912" y="47825"/>
                  </a:lnTo>
                  <a:lnTo>
                    <a:pt x="214074" y="55331"/>
                  </a:lnTo>
                  <a:lnTo>
                    <a:pt x="216341" y="57683"/>
                  </a:lnTo>
                  <a:lnTo>
                    <a:pt x="218332" y="59217"/>
                  </a:lnTo>
                  <a:lnTo>
                    <a:pt x="224342" y="60817"/>
                  </a:lnTo>
                  <a:lnTo>
                    <a:pt x="224580" y="60912"/>
                  </a:lnTo>
                  <a:lnTo>
                    <a:pt x="224780" y="61922"/>
                  </a:lnTo>
                  <a:lnTo>
                    <a:pt x="225152" y="65637"/>
                  </a:lnTo>
                  <a:lnTo>
                    <a:pt x="225657" y="68704"/>
                  </a:lnTo>
                  <a:lnTo>
                    <a:pt x="228753" y="80915"/>
                  </a:lnTo>
                  <a:lnTo>
                    <a:pt x="228695" y="83886"/>
                  </a:lnTo>
                  <a:lnTo>
                    <a:pt x="228657" y="84677"/>
                  </a:lnTo>
                  <a:lnTo>
                    <a:pt x="227524" y="88840"/>
                  </a:lnTo>
                  <a:lnTo>
                    <a:pt x="225514" y="92335"/>
                  </a:lnTo>
                  <a:lnTo>
                    <a:pt x="222856" y="94307"/>
                  </a:lnTo>
                  <a:lnTo>
                    <a:pt x="221390" y="96498"/>
                  </a:lnTo>
                  <a:lnTo>
                    <a:pt x="221123" y="98908"/>
                  </a:lnTo>
                  <a:lnTo>
                    <a:pt x="224466" y="103127"/>
                  </a:lnTo>
                  <a:lnTo>
                    <a:pt x="231429" y="109156"/>
                  </a:lnTo>
                  <a:lnTo>
                    <a:pt x="234239" y="114300"/>
                  </a:lnTo>
                  <a:lnTo>
                    <a:pt x="232915" y="118567"/>
                  </a:lnTo>
                  <a:lnTo>
                    <a:pt x="232515" y="121691"/>
                  </a:lnTo>
                  <a:lnTo>
                    <a:pt x="233029" y="123672"/>
                  </a:lnTo>
                  <a:lnTo>
                    <a:pt x="234144" y="125263"/>
                  </a:lnTo>
                  <a:lnTo>
                    <a:pt x="235858" y="126463"/>
                  </a:lnTo>
                  <a:lnTo>
                    <a:pt x="236544" y="128311"/>
                  </a:lnTo>
                  <a:lnTo>
                    <a:pt x="236191" y="130807"/>
                  </a:lnTo>
                  <a:lnTo>
                    <a:pt x="236515" y="132540"/>
                  </a:lnTo>
                  <a:lnTo>
                    <a:pt x="237801" y="133769"/>
                  </a:lnTo>
                  <a:lnTo>
                    <a:pt x="237677" y="134245"/>
                  </a:lnTo>
                  <a:lnTo>
                    <a:pt x="237058" y="135979"/>
                  </a:lnTo>
                  <a:lnTo>
                    <a:pt x="236210" y="139132"/>
                  </a:lnTo>
                  <a:lnTo>
                    <a:pt x="235725" y="141437"/>
                  </a:lnTo>
                  <a:lnTo>
                    <a:pt x="233763" y="144561"/>
                  </a:lnTo>
                  <a:lnTo>
                    <a:pt x="234363" y="147218"/>
                  </a:lnTo>
                  <a:lnTo>
                    <a:pt x="235896" y="150343"/>
                  </a:lnTo>
                  <a:lnTo>
                    <a:pt x="237068" y="151914"/>
                  </a:lnTo>
                  <a:lnTo>
                    <a:pt x="237439" y="153400"/>
                  </a:lnTo>
                  <a:lnTo>
                    <a:pt x="236696" y="156924"/>
                  </a:lnTo>
                  <a:lnTo>
                    <a:pt x="237068" y="157829"/>
                  </a:lnTo>
                  <a:lnTo>
                    <a:pt x="241916" y="160420"/>
                  </a:lnTo>
                  <a:lnTo>
                    <a:pt x="242706" y="161610"/>
                  </a:lnTo>
                  <a:lnTo>
                    <a:pt x="243173" y="164097"/>
                  </a:lnTo>
                  <a:lnTo>
                    <a:pt x="244878" y="169402"/>
                  </a:lnTo>
                  <a:lnTo>
                    <a:pt x="243469" y="176108"/>
                  </a:lnTo>
                  <a:lnTo>
                    <a:pt x="242230" y="179775"/>
                  </a:lnTo>
                  <a:lnTo>
                    <a:pt x="239468" y="185576"/>
                  </a:lnTo>
                  <a:lnTo>
                    <a:pt x="239335" y="186109"/>
                  </a:lnTo>
                  <a:lnTo>
                    <a:pt x="239020" y="186814"/>
                  </a:lnTo>
                  <a:lnTo>
                    <a:pt x="238192" y="187823"/>
                  </a:lnTo>
                  <a:lnTo>
                    <a:pt x="237039" y="187976"/>
                  </a:lnTo>
                  <a:lnTo>
                    <a:pt x="235296" y="187223"/>
                  </a:lnTo>
                  <a:lnTo>
                    <a:pt x="234105" y="186252"/>
                  </a:lnTo>
                  <a:lnTo>
                    <a:pt x="234381" y="183756"/>
                  </a:lnTo>
                  <a:lnTo>
                    <a:pt x="233610" y="183585"/>
                  </a:lnTo>
                  <a:lnTo>
                    <a:pt x="232658" y="182051"/>
                  </a:lnTo>
                  <a:lnTo>
                    <a:pt x="232286" y="180404"/>
                  </a:lnTo>
                  <a:lnTo>
                    <a:pt x="231258" y="179727"/>
                  </a:lnTo>
                  <a:lnTo>
                    <a:pt x="227514" y="179032"/>
                  </a:lnTo>
                  <a:lnTo>
                    <a:pt x="226238" y="178546"/>
                  </a:lnTo>
                  <a:lnTo>
                    <a:pt x="225257" y="178898"/>
                  </a:lnTo>
                  <a:lnTo>
                    <a:pt x="224523" y="180070"/>
                  </a:lnTo>
                  <a:lnTo>
                    <a:pt x="224990" y="181127"/>
                  </a:lnTo>
                  <a:lnTo>
                    <a:pt x="225685" y="182156"/>
                  </a:lnTo>
                  <a:lnTo>
                    <a:pt x="227762" y="183785"/>
                  </a:lnTo>
                  <a:lnTo>
                    <a:pt x="227552" y="184433"/>
                  </a:lnTo>
                  <a:lnTo>
                    <a:pt x="223076" y="186023"/>
                  </a:lnTo>
                  <a:lnTo>
                    <a:pt x="220265" y="187642"/>
                  </a:lnTo>
                  <a:lnTo>
                    <a:pt x="217646" y="188557"/>
                  </a:lnTo>
                  <a:lnTo>
                    <a:pt x="214979" y="190233"/>
                  </a:lnTo>
                  <a:lnTo>
                    <a:pt x="209712" y="192119"/>
                  </a:lnTo>
                  <a:lnTo>
                    <a:pt x="205845" y="192614"/>
                  </a:lnTo>
                  <a:lnTo>
                    <a:pt x="205045" y="193110"/>
                  </a:lnTo>
                  <a:lnTo>
                    <a:pt x="203606" y="196301"/>
                  </a:lnTo>
                  <a:lnTo>
                    <a:pt x="202635" y="196967"/>
                  </a:lnTo>
                  <a:lnTo>
                    <a:pt x="201692" y="196625"/>
                  </a:lnTo>
                  <a:lnTo>
                    <a:pt x="200987" y="196101"/>
                  </a:lnTo>
                  <a:lnTo>
                    <a:pt x="200092" y="196529"/>
                  </a:lnTo>
                  <a:lnTo>
                    <a:pt x="199158" y="197586"/>
                  </a:lnTo>
                  <a:lnTo>
                    <a:pt x="198177" y="197996"/>
                  </a:lnTo>
                  <a:lnTo>
                    <a:pt x="197330" y="197986"/>
                  </a:lnTo>
                  <a:lnTo>
                    <a:pt x="195815" y="200768"/>
                  </a:lnTo>
                  <a:lnTo>
                    <a:pt x="191414" y="201606"/>
                  </a:lnTo>
                  <a:lnTo>
                    <a:pt x="190900" y="203044"/>
                  </a:lnTo>
                  <a:lnTo>
                    <a:pt x="190090" y="204711"/>
                  </a:lnTo>
                  <a:lnTo>
                    <a:pt x="189443" y="205121"/>
                  </a:lnTo>
                  <a:lnTo>
                    <a:pt x="187462" y="204464"/>
                  </a:lnTo>
                  <a:lnTo>
                    <a:pt x="184709" y="204092"/>
                  </a:lnTo>
                  <a:lnTo>
                    <a:pt x="183127" y="205006"/>
                  </a:lnTo>
                  <a:lnTo>
                    <a:pt x="181232" y="205511"/>
                  </a:lnTo>
                  <a:lnTo>
                    <a:pt x="178918" y="205664"/>
                  </a:lnTo>
                  <a:lnTo>
                    <a:pt x="176336" y="207483"/>
                  </a:lnTo>
                  <a:lnTo>
                    <a:pt x="173822" y="210674"/>
                  </a:lnTo>
                  <a:lnTo>
                    <a:pt x="172412" y="213493"/>
                  </a:lnTo>
                  <a:lnTo>
                    <a:pt x="171650" y="214503"/>
                  </a:lnTo>
                  <a:lnTo>
                    <a:pt x="170421" y="211855"/>
                  </a:lnTo>
                  <a:lnTo>
                    <a:pt x="168916" y="210045"/>
                  </a:lnTo>
                  <a:lnTo>
                    <a:pt x="167849" y="209102"/>
                  </a:lnTo>
                  <a:lnTo>
                    <a:pt x="166897" y="209102"/>
                  </a:lnTo>
                  <a:lnTo>
                    <a:pt x="166649" y="209493"/>
                  </a:lnTo>
                  <a:lnTo>
                    <a:pt x="166649" y="210874"/>
                  </a:lnTo>
                  <a:lnTo>
                    <a:pt x="167669" y="213170"/>
                  </a:lnTo>
                  <a:lnTo>
                    <a:pt x="168926" y="214741"/>
                  </a:lnTo>
                  <a:lnTo>
                    <a:pt x="169126" y="215903"/>
                  </a:lnTo>
                  <a:lnTo>
                    <a:pt x="169802" y="217999"/>
                  </a:lnTo>
                  <a:lnTo>
                    <a:pt x="171640" y="220294"/>
                  </a:lnTo>
                  <a:lnTo>
                    <a:pt x="174517" y="222104"/>
                  </a:lnTo>
                  <a:lnTo>
                    <a:pt x="176479" y="223894"/>
                  </a:lnTo>
                  <a:lnTo>
                    <a:pt x="177937" y="226371"/>
                  </a:lnTo>
                  <a:lnTo>
                    <a:pt x="177946" y="227133"/>
                  </a:lnTo>
                  <a:lnTo>
                    <a:pt x="177546" y="228143"/>
                  </a:lnTo>
                  <a:lnTo>
                    <a:pt x="176860" y="229095"/>
                  </a:lnTo>
                  <a:lnTo>
                    <a:pt x="176279" y="230333"/>
                  </a:lnTo>
                  <a:lnTo>
                    <a:pt x="174679" y="232829"/>
                  </a:lnTo>
                  <a:lnTo>
                    <a:pt x="175155" y="233924"/>
                  </a:lnTo>
                  <a:lnTo>
                    <a:pt x="176460" y="235296"/>
                  </a:lnTo>
                  <a:lnTo>
                    <a:pt x="177613" y="236944"/>
                  </a:lnTo>
                  <a:lnTo>
                    <a:pt x="179098" y="239611"/>
                  </a:lnTo>
                  <a:lnTo>
                    <a:pt x="181137" y="244278"/>
                  </a:lnTo>
                  <a:lnTo>
                    <a:pt x="182451" y="246193"/>
                  </a:lnTo>
                  <a:lnTo>
                    <a:pt x="184242" y="248174"/>
                  </a:lnTo>
                  <a:lnTo>
                    <a:pt x="185994" y="249679"/>
                  </a:lnTo>
                  <a:lnTo>
                    <a:pt x="188757" y="249631"/>
                  </a:lnTo>
                  <a:lnTo>
                    <a:pt x="191614" y="252508"/>
                  </a:lnTo>
                  <a:lnTo>
                    <a:pt x="194738" y="256661"/>
                  </a:lnTo>
                  <a:lnTo>
                    <a:pt x="197072" y="258556"/>
                  </a:lnTo>
                  <a:lnTo>
                    <a:pt x="198701" y="259137"/>
                  </a:lnTo>
                  <a:lnTo>
                    <a:pt x="200054" y="260633"/>
                  </a:lnTo>
                  <a:lnTo>
                    <a:pt x="201244" y="262776"/>
                  </a:lnTo>
                  <a:lnTo>
                    <a:pt x="201711" y="264014"/>
                  </a:lnTo>
                  <a:lnTo>
                    <a:pt x="202768" y="264909"/>
                  </a:lnTo>
                  <a:lnTo>
                    <a:pt x="205626" y="264738"/>
                  </a:lnTo>
                  <a:lnTo>
                    <a:pt x="209302" y="268110"/>
                  </a:lnTo>
                  <a:lnTo>
                    <a:pt x="211569" y="270567"/>
                  </a:lnTo>
                  <a:lnTo>
                    <a:pt x="212769" y="272548"/>
                  </a:lnTo>
                  <a:lnTo>
                    <a:pt x="212455" y="273339"/>
                  </a:lnTo>
                  <a:lnTo>
                    <a:pt x="212302" y="275806"/>
                  </a:lnTo>
                  <a:lnTo>
                    <a:pt x="212341" y="278416"/>
                  </a:lnTo>
                  <a:lnTo>
                    <a:pt x="211979" y="279797"/>
                  </a:lnTo>
                  <a:lnTo>
                    <a:pt x="210340" y="281616"/>
                  </a:lnTo>
                  <a:lnTo>
                    <a:pt x="209493" y="282007"/>
                  </a:lnTo>
                  <a:lnTo>
                    <a:pt x="209036" y="282397"/>
                  </a:lnTo>
                  <a:lnTo>
                    <a:pt x="203997" y="280025"/>
                  </a:lnTo>
                  <a:lnTo>
                    <a:pt x="203597" y="280425"/>
                  </a:lnTo>
                  <a:lnTo>
                    <a:pt x="203283" y="280721"/>
                  </a:lnTo>
                  <a:lnTo>
                    <a:pt x="201930" y="287569"/>
                  </a:lnTo>
                  <a:lnTo>
                    <a:pt x="201006" y="288884"/>
                  </a:lnTo>
                  <a:lnTo>
                    <a:pt x="199615" y="290093"/>
                  </a:lnTo>
                  <a:lnTo>
                    <a:pt x="196739" y="291274"/>
                  </a:lnTo>
                  <a:lnTo>
                    <a:pt x="194738" y="291751"/>
                  </a:lnTo>
                  <a:lnTo>
                    <a:pt x="193176" y="292351"/>
                  </a:lnTo>
                  <a:lnTo>
                    <a:pt x="188233" y="295208"/>
                  </a:lnTo>
                  <a:lnTo>
                    <a:pt x="186014" y="296923"/>
                  </a:lnTo>
                  <a:lnTo>
                    <a:pt x="184575" y="299075"/>
                  </a:lnTo>
                  <a:lnTo>
                    <a:pt x="184566" y="300314"/>
                  </a:lnTo>
                  <a:lnTo>
                    <a:pt x="186966" y="303943"/>
                  </a:lnTo>
                  <a:lnTo>
                    <a:pt x="189738" y="307695"/>
                  </a:lnTo>
                  <a:lnTo>
                    <a:pt x="189747" y="310982"/>
                  </a:lnTo>
                  <a:lnTo>
                    <a:pt x="188528" y="313439"/>
                  </a:lnTo>
                  <a:lnTo>
                    <a:pt x="188243" y="314382"/>
                  </a:lnTo>
                  <a:lnTo>
                    <a:pt x="189062" y="314744"/>
                  </a:lnTo>
                  <a:lnTo>
                    <a:pt x="190595" y="314877"/>
                  </a:lnTo>
                  <a:lnTo>
                    <a:pt x="191881" y="315296"/>
                  </a:lnTo>
                  <a:lnTo>
                    <a:pt x="192424" y="317030"/>
                  </a:lnTo>
                  <a:lnTo>
                    <a:pt x="192262" y="320030"/>
                  </a:lnTo>
                  <a:lnTo>
                    <a:pt x="191824" y="322840"/>
                  </a:lnTo>
                  <a:lnTo>
                    <a:pt x="191367" y="324022"/>
                  </a:lnTo>
                  <a:lnTo>
                    <a:pt x="190128" y="324117"/>
                  </a:lnTo>
                  <a:lnTo>
                    <a:pt x="187747" y="322907"/>
                  </a:lnTo>
                  <a:lnTo>
                    <a:pt x="185890" y="321497"/>
                  </a:lnTo>
                  <a:lnTo>
                    <a:pt x="185175" y="320630"/>
                  </a:lnTo>
                  <a:lnTo>
                    <a:pt x="185137" y="319592"/>
                  </a:lnTo>
                  <a:lnTo>
                    <a:pt x="185538" y="318935"/>
                  </a:lnTo>
                  <a:lnTo>
                    <a:pt x="184880" y="317659"/>
                  </a:lnTo>
                  <a:lnTo>
                    <a:pt x="182594" y="316468"/>
                  </a:lnTo>
                  <a:lnTo>
                    <a:pt x="180146" y="316982"/>
                  </a:lnTo>
                  <a:lnTo>
                    <a:pt x="178346" y="317773"/>
                  </a:lnTo>
                  <a:lnTo>
                    <a:pt x="177174" y="317725"/>
                  </a:lnTo>
                  <a:lnTo>
                    <a:pt x="175917" y="316582"/>
                  </a:lnTo>
                  <a:lnTo>
                    <a:pt x="173974" y="315706"/>
                  </a:lnTo>
                  <a:lnTo>
                    <a:pt x="171440" y="315125"/>
                  </a:lnTo>
                  <a:lnTo>
                    <a:pt x="169859" y="314515"/>
                  </a:lnTo>
                  <a:lnTo>
                    <a:pt x="169526" y="314877"/>
                  </a:lnTo>
                  <a:lnTo>
                    <a:pt x="169707" y="317344"/>
                  </a:lnTo>
                  <a:lnTo>
                    <a:pt x="169221" y="318421"/>
                  </a:lnTo>
                  <a:lnTo>
                    <a:pt x="156686" y="319849"/>
                  </a:lnTo>
                  <a:lnTo>
                    <a:pt x="152867" y="321183"/>
                  </a:lnTo>
                  <a:lnTo>
                    <a:pt x="150085" y="322907"/>
                  </a:lnTo>
                  <a:lnTo>
                    <a:pt x="148028" y="323650"/>
                  </a:lnTo>
                  <a:lnTo>
                    <a:pt x="147523" y="324707"/>
                  </a:lnTo>
                  <a:lnTo>
                    <a:pt x="145485" y="326098"/>
                  </a:lnTo>
                  <a:lnTo>
                    <a:pt x="143189" y="326536"/>
                  </a:lnTo>
                  <a:lnTo>
                    <a:pt x="142627" y="326088"/>
                  </a:lnTo>
                  <a:lnTo>
                    <a:pt x="141151" y="326727"/>
                  </a:lnTo>
                  <a:lnTo>
                    <a:pt x="138636" y="327346"/>
                  </a:lnTo>
                  <a:lnTo>
                    <a:pt x="137008" y="327145"/>
                  </a:lnTo>
                  <a:lnTo>
                    <a:pt x="136236" y="326022"/>
                  </a:lnTo>
                  <a:lnTo>
                    <a:pt x="134683" y="324298"/>
                  </a:lnTo>
                  <a:lnTo>
                    <a:pt x="134055" y="323107"/>
                  </a:lnTo>
                  <a:lnTo>
                    <a:pt x="134121" y="322336"/>
                  </a:lnTo>
                  <a:lnTo>
                    <a:pt x="130607" y="322183"/>
                  </a:lnTo>
                  <a:lnTo>
                    <a:pt x="128397" y="321269"/>
                  </a:lnTo>
                  <a:lnTo>
                    <a:pt x="123692" y="321478"/>
                  </a:lnTo>
                  <a:lnTo>
                    <a:pt x="122529" y="321088"/>
                  </a:lnTo>
                  <a:lnTo>
                    <a:pt x="122291" y="321497"/>
                  </a:lnTo>
                  <a:lnTo>
                    <a:pt x="121586" y="326393"/>
                  </a:lnTo>
                  <a:lnTo>
                    <a:pt x="120653" y="328393"/>
                  </a:lnTo>
                  <a:lnTo>
                    <a:pt x="119148" y="330460"/>
                  </a:lnTo>
                  <a:lnTo>
                    <a:pt x="117215" y="331613"/>
                  </a:lnTo>
                  <a:lnTo>
                    <a:pt x="115681" y="331822"/>
                  </a:lnTo>
                  <a:lnTo>
                    <a:pt x="115748" y="330317"/>
                  </a:lnTo>
                  <a:lnTo>
                    <a:pt x="116138" y="328498"/>
                  </a:lnTo>
                  <a:lnTo>
                    <a:pt x="115024" y="328070"/>
                  </a:lnTo>
                  <a:lnTo>
                    <a:pt x="113357" y="327870"/>
                  </a:lnTo>
                  <a:lnTo>
                    <a:pt x="112557" y="327327"/>
                  </a:lnTo>
                  <a:lnTo>
                    <a:pt x="112766" y="325936"/>
                  </a:lnTo>
                  <a:lnTo>
                    <a:pt x="112376" y="325126"/>
                  </a:lnTo>
                  <a:lnTo>
                    <a:pt x="111690" y="324155"/>
                  </a:lnTo>
                  <a:lnTo>
                    <a:pt x="110014" y="322907"/>
                  </a:lnTo>
                  <a:lnTo>
                    <a:pt x="106470" y="321059"/>
                  </a:lnTo>
                  <a:lnTo>
                    <a:pt x="104061" y="320135"/>
                  </a:lnTo>
                  <a:lnTo>
                    <a:pt x="103156" y="321116"/>
                  </a:lnTo>
                  <a:lnTo>
                    <a:pt x="101432" y="322097"/>
                  </a:lnTo>
                  <a:lnTo>
                    <a:pt x="98717" y="321773"/>
                  </a:lnTo>
                  <a:lnTo>
                    <a:pt x="98050" y="322164"/>
                  </a:lnTo>
                  <a:lnTo>
                    <a:pt x="93393" y="319211"/>
                  </a:lnTo>
                  <a:lnTo>
                    <a:pt x="88925" y="316373"/>
                  </a:lnTo>
                  <a:lnTo>
                    <a:pt x="87449" y="316373"/>
                  </a:lnTo>
                  <a:lnTo>
                    <a:pt x="80867" y="316944"/>
                  </a:lnTo>
                  <a:lnTo>
                    <a:pt x="80677" y="316697"/>
                  </a:lnTo>
                  <a:lnTo>
                    <a:pt x="79524" y="315077"/>
                  </a:lnTo>
                  <a:lnTo>
                    <a:pt x="78514" y="314563"/>
                  </a:lnTo>
                  <a:lnTo>
                    <a:pt x="77905" y="314830"/>
                  </a:lnTo>
                  <a:lnTo>
                    <a:pt x="77495" y="315296"/>
                  </a:lnTo>
                  <a:lnTo>
                    <a:pt x="76790" y="315220"/>
                  </a:lnTo>
                  <a:lnTo>
                    <a:pt x="73838" y="312610"/>
                  </a:lnTo>
                  <a:lnTo>
                    <a:pt x="72628" y="312230"/>
                  </a:lnTo>
                  <a:lnTo>
                    <a:pt x="70952" y="312582"/>
                  </a:lnTo>
                  <a:lnTo>
                    <a:pt x="68971" y="313992"/>
                  </a:lnTo>
                  <a:lnTo>
                    <a:pt x="68104" y="315716"/>
                  </a:lnTo>
                  <a:lnTo>
                    <a:pt x="68370" y="316706"/>
                  </a:lnTo>
                  <a:lnTo>
                    <a:pt x="69390" y="317135"/>
                  </a:lnTo>
                  <a:lnTo>
                    <a:pt x="72085" y="316849"/>
                  </a:lnTo>
                  <a:lnTo>
                    <a:pt x="72476" y="317135"/>
                  </a:lnTo>
                  <a:lnTo>
                    <a:pt x="72571" y="317697"/>
                  </a:lnTo>
                  <a:lnTo>
                    <a:pt x="72276" y="318240"/>
                  </a:lnTo>
                  <a:lnTo>
                    <a:pt x="70094" y="318687"/>
                  </a:lnTo>
                  <a:lnTo>
                    <a:pt x="69466" y="319344"/>
                  </a:lnTo>
                  <a:lnTo>
                    <a:pt x="68827" y="319507"/>
                  </a:lnTo>
                  <a:lnTo>
                    <a:pt x="68418" y="319611"/>
                  </a:lnTo>
                  <a:lnTo>
                    <a:pt x="66094" y="318926"/>
                  </a:lnTo>
                  <a:lnTo>
                    <a:pt x="62636" y="318926"/>
                  </a:lnTo>
                  <a:lnTo>
                    <a:pt x="59845" y="320135"/>
                  </a:lnTo>
                  <a:lnTo>
                    <a:pt x="55388" y="320621"/>
                  </a:lnTo>
                  <a:lnTo>
                    <a:pt x="49263" y="320383"/>
                  </a:lnTo>
                  <a:lnTo>
                    <a:pt x="47063" y="319478"/>
                  </a:lnTo>
                  <a:lnTo>
                    <a:pt x="45720" y="318935"/>
                  </a:lnTo>
                  <a:lnTo>
                    <a:pt x="44748" y="316268"/>
                  </a:lnTo>
                  <a:lnTo>
                    <a:pt x="44996" y="312315"/>
                  </a:lnTo>
                  <a:lnTo>
                    <a:pt x="46453" y="307067"/>
                  </a:lnTo>
                  <a:lnTo>
                    <a:pt x="46863" y="303209"/>
                  </a:lnTo>
                  <a:lnTo>
                    <a:pt x="46215" y="300752"/>
                  </a:lnTo>
                  <a:lnTo>
                    <a:pt x="47082" y="297056"/>
                  </a:lnTo>
                  <a:lnTo>
                    <a:pt x="49463" y="292122"/>
                  </a:lnTo>
                  <a:lnTo>
                    <a:pt x="51054" y="286912"/>
                  </a:lnTo>
                  <a:lnTo>
                    <a:pt x="51845" y="281407"/>
                  </a:lnTo>
                  <a:lnTo>
                    <a:pt x="52997" y="277816"/>
                  </a:lnTo>
                  <a:lnTo>
                    <a:pt x="55264" y="275291"/>
                  </a:lnTo>
                  <a:lnTo>
                    <a:pt x="60646" y="268224"/>
                  </a:lnTo>
                  <a:lnTo>
                    <a:pt x="61084" y="267691"/>
                  </a:lnTo>
                  <a:lnTo>
                    <a:pt x="60931" y="264157"/>
                  </a:lnTo>
                  <a:lnTo>
                    <a:pt x="59484" y="263652"/>
                  </a:lnTo>
                  <a:lnTo>
                    <a:pt x="57360" y="262633"/>
                  </a:lnTo>
                  <a:lnTo>
                    <a:pt x="51959" y="261375"/>
                  </a:lnTo>
                  <a:lnTo>
                    <a:pt x="46930" y="260566"/>
                  </a:lnTo>
                  <a:lnTo>
                    <a:pt x="44643" y="259566"/>
                  </a:lnTo>
                  <a:lnTo>
                    <a:pt x="42643" y="256889"/>
                  </a:lnTo>
                  <a:lnTo>
                    <a:pt x="41405" y="256851"/>
                  </a:lnTo>
                  <a:lnTo>
                    <a:pt x="38976" y="257813"/>
                  </a:lnTo>
                  <a:lnTo>
                    <a:pt x="35947" y="258461"/>
                  </a:lnTo>
                  <a:lnTo>
                    <a:pt x="33737" y="257899"/>
                  </a:lnTo>
                  <a:lnTo>
                    <a:pt x="32356" y="258004"/>
                  </a:lnTo>
                  <a:lnTo>
                    <a:pt x="31585" y="258499"/>
                  </a:lnTo>
                  <a:lnTo>
                    <a:pt x="31194" y="258061"/>
                  </a:lnTo>
                  <a:lnTo>
                    <a:pt x="30642" y="255765"/>
                  </a:lnTo>
                  <a:lnTo>
                    <a:pt x="29489" y="255165"/>
                  </a:lnTo>
                  <a:lnTo>
                    <a:pt x="27699" y="254632"/>
                  </a:lnTo>
                  <a:lnTo>
                    <a:pt x="26584" y="254860"/>
                  </a:lnTo>
                  <a:lnTo>
                    <a:pt x="25813" y="256003"/>
                  </a:lnTo>
                  <a:lnTo>
                    <a:pt x="24622" y="256804"/>
                  </a:lnTo>
                  <a:lnTo>
                    <a:pt x="23536" y="256546"/>
                  </a:lnTo>
                  <a:lnTo>
                    <a:pt x="20117" y="251231"/>
                  </a:lnTo>
                  <a:lnTo>
                    <a:pt x="19240" y="250050"/>
                  </a:lnTo>
                  <a:lnTo>
                    <a:pt x="19021" y="248964"/>
                  </a:lnTo>
                  <a:lnTo>
                    <a:pt x="18164" y="246983"/>
                  </a:lnTo>
                  <a:lnTo>
                    <a:pt x="16126" y="245002"/>
                  </a:lnTo>
                  <a:lnTo>
                    <a:pt x="14097" y="244373"/>
                  </a:lnTo>
                  <a:lnTo>
                    <a:pt x="13087" y="244592"/>
                  </a:lnTo>
                  <a:lnTo>
                    <a:pt x="13202" y="242135"/>
                  </a:lnTo>
                  <a:lnTo>
                    <a:pt x="13992" y="238563"/>
                  </a:lnTo>
                  <a:lnTo>
                    <a:pt x="14754" y="236696"/>
                  </a:lnTo>
                  <a:lnTo>
                    <a:pt x="15764" y="235172"/>
                  </a:lnTo>
                  <a:lnTo>
                    <a:pt x="16840" y="234105"/>
                  </a:lnTo>
                  <a:lnTo>
                    <a:pt x="17078" y="232181"/>
                  </a:lnTo>
                  <a:lnTo>
                    <a:pt x="16907" y="230362"/>
                  </a:lnTo>
                  <a:lnTo>
                    <a:pt x="15669" y="230076"/>
                  </a:lnTo>
                  <a:lnTo>
                    <a:pt x="12563" y="228733"/>
                  </a:lnTo>
                  <a:lnTo>
                    <a:pt x="10725" y="227314"/>
                  </a:lnTo>
                  <a:lnTo>
                    <a:pt x="9363" y="225533"/>
                  </a:lnTo>
                  <a:lnTo>
                    <a:pt x="7572" y="223085"/>
                  </a:lnTo>
                  <a:lnTo>
                    <a:pt x="6810" y="220589"/>
                  </a:lnTo>
                  <a:lnTo>
                    <a:pt x="6772" y="218103"/>
                  </a:lnTo>
                  <a:lnTo>
                    <a:pt x="6982" y="216989"/>
                  </a:lnTo>
                  <a:lnTo>
                    <a:pt x="7115" y="216217"/>
                  </a:lnTo>
                  <a:lnTo>
                    <a:pt x="8553" y="212331"/>
                  </a:lnTo>
                  <a:lnTo>
                    <a:pt x="13621" y="208845"/>
                  </a:lnTo>
                  <a:lnTo>
                    <a:pt x="13059" y="205330"/>
                  </a:lnTo>
                  <a:lnTo>
                    <a:pt x="12983" y="203168"/>
                  </a:lnTo>
                  <a:lnTo>
                    <a:pt x="11754" y="201758"/>
                  </a:lnTo>
                  <a:lnTo>
                    <a:pt x="9296" y="201187"/>
                  </a:lnTo>
                  <a:lnTo>
                    <a:pt x="8649" y="200206"/>
                  </a:lnTo>
                  <a:lnTo>
                    <a:pt x="8372" y="199244"/>
                  </a:lnTo>
                  <a:lnTo>
                    <a:pt x="10173" y="197082"/>
                  </a:lnTo>
                  <a:lnTo>
                    <a:pt x="7991" y="195377"/>
                  </a:lnTo>
                  <a:lnTo>
                    <a:pt x="7001" y="193691"/>
                  </a:lnTo>
                  <a:lnTo>
                    <a:pt x="3972" y="191462"/>
                  </a:lnTo>
                  <a:lnTo>
                    <a:pt x="3648" y="190690"/>
                  </a:lnTo>
                  <a:lnTo>
                    <a:pt x="5105" y="184166"/>
                  </a:lnTo>
                  <a:lnTo>
                    <a:pt x="3991" y="182261"/>
                  </a:lnTo>
                  <a:lnTo>
                    <a:pt x="2610" y="181289"/>
                  </a:lnTo>
                  <a:lnTo>
                    <a:pt x="1000" y="180813"/>
                  </a:lnTo>
                  <a:lnTo>
                    <a:pt x="257" y="179908"/>
                  </a:lnTo>
                  <a:lnTo>
                    <a:pt x="0" y="178870"/>
                  </a:lnTo>
                  <a:lnTo>
                    <a:pt x="286" y="178232"/>
                  </a:lnTo>
                  <a:lnTo>
                    <a:pt x="2181" y="178422"/>
                  </a:lnTo>
                  <a:lnTo>
                    <a:pt x="2772" y="177746"/>
                  </a:lnTo>
                  <a:lnTo>
                    <a:pt x="7286" y="173898"/>
                  </a:lnTo>
                  <a:lnTo>
                    <a:pt x="7477" y="173155"/>
                  </a:lnTo>
                  <a:lnTo>
                    <a:pt x="6848" y="172736"/>
                  </a:lnTo>
                  <a:lnTo>
                    <a:pt x="6029" y="172517"/>
                  </a:lnTo>
                  <a:lnTo>
                    <a:pt x="5820" y="171707"/>
                  </a:lnTo>
                  <a:lnTo>
                    <a:pt x="5848" y="170640"/>
                  </a:lnTo>
                  <a:lnTo>
                    <a:pt x="8258" y="165068"/>
                  </a:lnTo>
                  <a:lnTo>
                    <a:pt x="8972" y="162687"/>
                  </a:lnTo>
                  <a:lnTo>
                    <a:pt x="9134" y="161001"/>
                  </a:lnTo>
                  <a:lnTo>
                    <a:pt x="8982" y="159334"/>
                  </a:lnTo>
                  <a:lnTo>
                    <a:pt x="7591" y="156715"/>
                  </a:lnTo>
                  <a:lnTo>
                    <a:pt x="6248" y="154619"/>
                  </a:lnTo>
                  <a:lnTo>
                    <a:pt x="6201" y="152952"/>
                  </a:lnTo>
                  <a:lnTo>
                    <a:pt x="5220" y="152076"/>
                  </a:lnTo>
                  <a:lnTo>
                    <a:pt x="2438" y="147590"/>
                  </a:lnTo>
                  <a:lnTo>
                    <a:pt x="2438" y="145856"/>
                  </a:lnTo>
                  <a:lnTo>
                    <a:pt x="4010" y="144504"/>
                  </a:lnTo>
                  <a:lnTo>
                    <a:pt x="6210" y="143646"/>
                  </a:lnTo>
                  <a:lnTo>
                    <a:pt x="6944" y="142932"/>
                  </a:lnTo>
                  <a:lnTo>
                    <a:pt x="8258" y="142484"/>
                  </a:lnTo>
                  <a:lnTo>
                    <a:pt x="11754" y="143780"/>
                  </a:lnTo>
                  <a:lnTo>
                    <a:pt x="13316" y="144904"/>
                  </a:lnTo>
                  <a:lnTo>
                    <a:pt x="13754" y="144675"/>
                  </a:lnTo>
                  <a:lnTo>
                    <a:pt x="15164" y="143456"/>
                  </a:lnTo>
                  <a:lnTo>
                    <a:pt x="17640" y="143646"/>
                  </a:lnTo>
                  <a:lnTo>
                    <a:pt x="23631" y="141189"/>
                  </a:lnTo>
                  <a:lnTo>
                    <a:pt x="24527" y="140008"/>
                  </a:lnTo>
                  <a:lnTo>
                    <a:pt x="25194" y="138751"/>
                  </a:lnTo>
                  <a:lnTo>
                    <a:pt x="25251" y="138198"/>
                  </a:lnTo>
                  <a:lnTo>
                    <a:pt x="22927" y="135769"/>
                  </a:lnTo>
                  <a:lnTo>
                    <a:pt x="22860" y="134874"/>
                  </a:lnTo>
                  <a:lnTo>
                    <a:pt x="23165" y="133864"/>
                  </a:lnTo>
                  <a:lnTo>
                    <a:pt x="23822" y="133064"/>
                  </a:lnTo>
                  <a:lnTo>
                    <a:pt x="25194" y="132521"/>
                  </a:lnTo>
                  <a:lnTo>
                    <a:pt x="26651" y="131454"/>
                  </a:lnTo>
                  <a:lnTo>
                    <a:pt x="29918" y="128426"/>
                  </a:lnTo>
                  <a:lnTo>
                    <a:pt x="31051" y="125797"/>
                  </a:lnTo>
                  <a:lnTo>
                    <a:pt x="31404" y="122939"/>
                  </a:lnTo>
                  <a:lnTo>
                    <a:pt x="31470" y="120805"/>
                  </a:lnTo>
                  <a:lnTo>
                    <a:pt x="30575" y="119110"/>
                  </a:lnTo>
                  <a:lnTo>
                    <a:pt x="29670" y="118015"/>
                  </a:lnTo>
                  <a:lnTo>
                    <a:pt x="28442" y="118186"/>
                  </a:lnTo>
                  <a:lnTo>
                    <a:pt x="26051" y="118100"/>
                  </a:lnTo>
                  <a:lnTo>
                    <a:pt x="23813" y="117148"/>
                  </a:lnTo>
                  <a:lnTo>
                    <a:pt x="22584" y="115605"/>
                  </a:lnTo>
                  <a:lnTo>
                    <a:pt x="22279" y="114252"/>
                  </a:lnTo>
                  <a:lnTo>
                    <a:pt x="22841" y="113395"/>
                  </a:lnTo>
                  <a:lnTo>
                    <a:pt x="23012" y="112347"/>
                  </a:lnTo>
                  <a:lnTo>
                    <a:pt x="22650" y="111290"/>
                  </a:lnTo>
                  <a:lnTo>
                    <a:pt x="22793" y="110404"/>
                  </a:lnTo>
                  <a:lnTo>
                    <a:pt x="23803" y="109690"/>
                  </a:lnTo>
                  <a:lnTo>
                    <a:pt x="30880" y="109709"/>
                  </a:lnTo>
                  <a:lnTo>
                    <a:pt x="31413" y="108928"/>
                  </a:lnTo>
                  <a:lnTo>
                    <a:pt x="31890" y="104813"/>
                  </a:lnTo>
                  <a:lnTo>
                    <a:pt x="33661" y="98536"/>
                  </a:lnTo>
                  <a:lnTo>
                    <a:pt x="35328" y="95031"/>
                  </a:lnTo>
                  <a:lnTo>
                    <a:pt x="35605" y="93554"/>
                  </a:lnTo>
                  <a:lnTo>
                    <a:pt x="35576" y="85220"/>
                  </a:lnTo>
                  <a:lnTo>
                    <a:pt x="35805" y="80981"/>
                  </a:lnTo>
                  <a:lnTo>
                    <a:pt x="34595" y="78991"/>
                  </a:lnTo>
                  <a:lnTo>
                    <a:pt x="31956" y="76810"/>
                  </a:lnTo>
                  <a:lnTo>
                    <a:pt x="32518" y="72257"/>
                  </a:lnTo>
                  <a:lnTo>
                    <a:pt x="33394" y="68694"/>
                  </a:lnTo>
                  <a:lnTo>
                    <a:pt x="36052" y="64313"/>
                  </a:lnTo>
                  <a:lnTo>
                    <a:pt x="38157" y="63112"/>
                  </a:lnTo>
                  <a:lnTo>
                    <a:pt x="47349" y="62398"/>
                  </a:lnTo>
                  <a:lnTo>
                    <a:pt x="57502" y="62694"/>
                  </a:lnTo>
                  <a:lnTo>
                    <a:pt x="61722" y="69313"/>
                  </a:lnTo>
                  <a:lnTo>
                    <a:pt x="60160" y="72704"/>
                  </a:lnTo>
                  <a:lnTo>
                    <a:pt x="62627" y="74285"/>
                  </a:lnTo>
                  <a:lnTo>
                    <a:pt x="63817" y="73705"/>
                  </a:lnTo>
                  <a:lnTo>
                    <a:pt x="64722" y="70751"/>
                  </a:lnTo>
                  <a:lnTo>
                    <a:pt x="65322" y="67475"/>
                  </a:lnTo>
                  <a:lnTo>
                    <a:pt x="66189" y="66484"/>
                  </a:lnTo>
                  <a:lnTo>
                    <a:pt x="69332" y="68932"/>
                  </a:lnTo>
                  <a:lnTo>
                    <a:pt x="70437" y="70609"/>
                  </a:lnTo>
                  <a:lnTo>
                    <a:pt x="70504" y="75981"/>
                  </a:lnTo>
                  <a:lnTo>
                    <a:pt x="71666" y="68694"/>
                  </a:lnTo>
                  <a:lnTo>
                    <a:pt x="70799" y="63579"/>
                  </a:lnTo>
                  <a:lnTo>
                    <a:pt x="71390" y="58607"/>
                  </a:lnTo>
                  <a:lnTo>
                    <a:pt x="72657" y="56016"/>
                  </a:lnTo>
                  <a:lnTo>
                    <a:pt x="73819" y="54368"/>
                  </a:lnTo>
                  <a:lnTo>
                    <a:pt x="81267" y="56150"/>
                  </a:lnTo>
                  <a:lnTo>
                    <a:pt x="89497" y="55235"/>
                  </a:lnTo>
                  <a:lnTo>
                    <a:pt x="92612" y="57159"/>
                  </a:lnTo>
                  <a:lnTo>
                    <a:pt x="99651" y="66751"/>
                  </a:lnTo>
                  <a:lnTo>
                    <a:pt x="102003" y="68323"/>
                  </a:lnTo>
                  <a:lnTo>
                    <a:pt x="104965" y="68818"/>
                  </a:lnTo>
                  <a:lnTo>
                    <a:pt x="100879" y="66770"/>
                  </a:lnTo>
                  <a:lnTo>
                    <a:pt x="92345" y="55093"/>
                  </a:lnTo>
                  <a:lnTo>
                    <a:pt x="89792" y="53645"/>
                  </a:lnTo>
                  <a:lnTo>
                    <a:pt x="85868" y="53207"/>
                  </a:lnTo>
                  <a:lnTo>
                    <a:pt x="83420" y="52064"/>
                  </a:lnTo>
                  <a:lnTo>
                    <a:pt x="81877" y="50292"/>
                  </a:lnTo>
                  <a:lnTo>
                    <a:pt x="81429" y="48701"/>
                  </a:lnTo>
                  <a:lnTo>
                    <a:pt x="81515" y="36843"/>
                  </a:lnTo>
                  <a:lnTo>
                    <a:pt x="80048" y="35071"/>
                  </a:lnTo>
                  <a:lnTo>
                    <a:pt x="78143" y="34461"/>
                  </a:lnTo>
                  <a:lnTo>
                    <a:pt x="76952" y="35271"/>
                  </a:lnTo>
                  <a:lnTo>
                    <a:pt x="74514" y="35280"/>
                  </a:lnTo>
                  <a:lnTo>
                    <a:pt x="74000" y="32585"/>
                  </a:lnTo>
                  <a:lnTo>
                    <a:pt x="74600" y="30585"/>
                  </a:lnTo>
                  <a:lnTo>
                    <a:pt x="79495" y="29213"/>
                  </a:lnTo>
                  <a:lnTo>
                    <a:pt x="82725" y="27375"/>
                  </a:lnTo>
                  <a:lnTo>
                    <a:pt x="82867" y="24127"/>
                  </a:lnTo>
                  <a:lnTo>
                    <a:pt x="80829" y="21564"/>
                  </a:lnTo>
                  <a:lnTo>
                    <a:pt x="78391" y="16859"/>
                  </a:lnTo>
                  <a:lnTo>
                    <a:pt x="75524" y="12430"/>
                  </a:lnTo>
                  <a:lnTo>
                    <a:pt x="75200" y="7268"/>
                  </a:lnTo>
                  <a:lnTo>
                    <a:pt x="75209" y="7268"/>
                  </a:lnTo>
                  <a:lnTo>
                    <a:pt x="80200" y="7363"/>
                  </a:lnTo>
                  <a:lnTo>
                    <a:pt x="81420" y="7563"/>
                  </a:lnTo>
                  <a:lnTo>
                    <a:pt x="88982" y="9982"/>
                  </a:lnTo>
                  <a:lnTo>
                    <a:pt x="90830" y="11677"/>
                  </a:lnTo>
                  <a:lnTo>
                    <a:pt x="93154" y="11754"/>
                  </a:lnTo>
                  <a:lnTo>
                    <a:pt x="97346" y="10173"/>
                  </a:lnTo>
                  <a:lnTo>
                    <a:pt x="100479" y="9477"/>
                  </a:lnTo>
                  <a:lnTo>
                    <a:pt x="101689" y="10458"/>
                  </a:lnTo>
                  <a:lnTo>
                    <a:pt x="103394" y="10868"/>
                  </a:lnTo>
                  <a:lnTo>
                    <a:pt x="103775" y="10868"/>
                  </a:lnTo>
                  <a:close/>
                  <a:moveTo>
                    <a:pt x="72980" y="16059"/>
                  </a:moveTo>
                  <a:lnTo>
                    <a:pt x="71942" y="17193"/>
                  </a:lnTo>
                  <a:lnTo>
                    <a:pt x="69390" y="17059"/>
                  </a:lnTo>
                  <a:lnTo>
                    <a:pt x="67961" y="15992"/>
                  </a:lnTo>
                  <a:lnTo>
                    <a:pt x="68428" y="14859"/>
                  </a:lnTo>
                  <a:lnTo>
                    <a:pt x="69780" y="13992"/>
                  </a:lnTo>
                  <a:lnTo>
                    <a:pt x="70904" y="13859"/>
                  </a:lnTo>
                  <a:lnTo>
                    <a:pt x="72599" y="14392"/>
                  </a:lnTo>
                  <a:lnTo>
                    <a:pt x="72980" y="16059"/>
                  </a:lnTo>
                  <a:close/>
                  <a:moveTo>
                    <a:pt x="209883" y="31223"/>
                  </a:moveTo>
                  <a:lnTo>
                    <a:pt x="210550" y="34299"/>
                  </a:lnTo>
                  <a:lnTo>
                    <a:pt x="209836" y="35871"/>
                  </a:lnTo>
                  <a:lnTo>
                    <a:pt x="206835" y="33261"/>
                  </a:lnTo>
                  <a:lnTo>
                    <a:pt x="203816" y="33299"/>
                  </a:lnTo>
                  <a:lnTo>
                    <a:pt x="202016" y="37309"/>
                  </a:lnTo>
                  <a:lnTo>
                    <a:pt x="200672" y="37481"/>
                  </a:lnTo>
                  <a:lnTo>
                    <a:pt x="196015" y="33833"/>
                  </a:lnTo>
                  <a:lnTo>
                    <a:pt x="195262" y="32052"/>
                  </a:lnTo>
                  <a:lnTo>
                    <a:pt x="195110" y="30566"/>
                  </a:lnTo>
                  <a:lnTo>
                    <a:pt x="195777" y="25422"/>
                  </a:lnTo>
                  <a:lnTo>
                    <a:pt x="195653" y="23803"/>
                  </a:lnTo>
                  <a:lnTo>
                    <a:pt x="197120" y="22031"/>
                  </a:lnTo>
                  <a:lnTo>
                    <a:pt x="197348" y="19460"/>
                  </a:lnTo>
                  <a:lnTo>
                    <a:pt x="199930" y="16755"/>
                  </a:lnTo>
                  <a:lnTo>
                    <a:pt x="202234" y="16650"/>
                  </a:lnTo>
                  <a:lnTo>
                    <a:pt x="202959" y="18945"/>
                  </a:lnTo>
                  <a:lnTo>
                    <a:pt x="204063" y="20526"/>
                  </a:lnTo>
                  <a:lnTo>
                    <a:pt x="207931" y="22298"/>
                  </a:lnTo>
                  <a:lnTo>
                    <a:pt x="208512" y="23098"/>
                  </a:lnTo>
                  <a:lnTo>
                    <a:pt x="208864" y="24212"/>
                  </a:lnTo>
                  <a:lnTo>
                    <a:pt x="207064" y="26384"/>
                  </a:lnTo>
                  <a:lnTo>
                    <a:pt x="206455" y="27499"/>
                  </a:lnTo>
                  <a:lnTo>
                    <a:pt x="207026" y="29280"/>
                  </a:lnTo>
                  <a:lnTo>
                    <a:pt x="209883" y="31223"/>
                  </a:lnTo>
                  <a:close/>
                  <a:moveTo>
                    <a:pt x="145027" y="29613"/>
                  </a:moveTo>
                  <a:lnTo>
                    <a:pt x="140922" y="29699"/>
                  </a:lnTo>
                  <a:lnTo>
                    <a:pt x="139351" y="27870"/>
                  </a:lnTo>
                  <a:lnTo>
                    <a:pt x="137779" y="27403"/>
                  </a:lnTo>
                  <a:lnTo>
                    <a:pt x="138627" y="25146"/>
                  </a:lnTo>
                  <a:lnTo>
                    <a:pt x="139732" y="24317"/>
                  </a:lnTo>
                  <a:lnTo>
                    <a:pt x="143704" y="25793"/>
                  </a:lnTo>
                  <a:lnTo>
                    <a:pt x="144951" y="28680"/>
                  </a:lnTo>
                  <a:lnTo>
                    <a:pt x="145027" y="29613"/>
                  </a:lnTo>
                  <a:close/>
                  <a:moveTo>
                    <a:pt x="223304" y="50920"/>
                  </a:moveTo>
                  <a:lnTo>
                    <a:pt x="222952" y="52340"/>
                  </a:lnTo>
                  <a:lnTo>
                    <a:pt x="223361" y="54521"/>
                  </a:lnTo>
                  <a:lnTo>
                    <a:pt x="222256" y="54359"/>
                  </a:lnTo>
                  <a:lnTo>
                    <a:pt x="218942" y="54873"/>
                  </a:lnTo>
                  <a:lnTo>
                    <a:pt x="215665" y="54150"/>
                  </a:lnTo>
                  <a:lnTo>
                    <a:pt x="215037" y="51435"/>
                  </a:lnTo>
                  <a:lnTo>
                    <a:pt x="215560" y="48825"/>
                  </a:lnTo>
                  <a:lnTo>
                    <a:pt x="214246" y="47025"/>
                  </a:lnTo>
                  <a:lnTo>
                    <a:pt x="213036" y="45968"/>
                  </a:lnTo>
                  <a:lnTo>
                    <a:pt x="212855" y="44463"/>
                  </a:lnTo>
                  <a:lnTo>
                    <a:pt x="213055" y="42891"/>
                  </a:lnTo>
                  <a:lnTo>
                    <a:pt x="218703" y="47101"/>
                  </a:lnTo>
                  <a:lnTo>
                    <a:pt x="223304" y="50920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9" name="Forme libre : forme 15">
              <a:extLst>
                <a:ext uri="{FF2B5EF4-FFF2-40B4-BE49-F238E27FC236}">
                  <a16:creationId xmlns:a16="http://schemas.microsoft.com/office/drawing/2014/main" id="{38A03FBF-3C76-1EE0-3062-8EF0DB4FBD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737599" y="2948074"/>
              <a:ext cx="649513" cy="516120"/>
            </a:xfrm>
            <a:custGeom>
              <a:avLst/>
              <a:gdLst>
                <a:gd name="connsiteX0" fmla="*/ 43272 w 187556"/>
                <a:gd name="connsiteY0" fmla="*/ 139951 h 149037"/>
                <a:gd name="connsiteX1" fmla="*/ 42872 w 187556"/>
                <a:gd name="connsiteY1" fmla="*/ 139951 h 149037"/>
                <a:gd name="connsiteX2" fmla="*/ 41167 w 187556"/>
                <a:gd name="connsiteY2" fmla="*/ 139541 h 149037"/>
                <a:gd name="connsiteX3" fmla="*/ 39957 w 187556"/>
                <a:gd name="connsiteY3" fmla="*/ 138560 h 149037"/>
                <a:gd name="connsiteX4" fmla="*/ 36824 w 187556"/>
                <a:gd name="connsiteY4" fmla="*/ 139256 h 149037"/>
                <a:gd name="connsiteX5" fmla="*/ 32633 w 187556"/>
                <a:gd name="connsiteY5" fmla="*/ 140837 h 149037"/>
                <a:gd name="connsiteX6" fmla="*/ 30309 w 187556"/>
                <a:gd name="connsiteY6" fmla="*/ 140761 h 149037"/>
                <a:gd name="connsiteX7" fmla="*/ 28461 w 187556"/>
                <a:gd name="connsiteY7" fmla="*/ 139065 h 149037"/>
                <a:gd name="connsiteX8" fmla="*/ 20898 w 187556"/>
                <a:gd name="connsiteY8" fmla="*/ 136646 h 149037"/>
                <a:gd name="connsiteX9" fmla="*/ 19679 w 187556"/>
                <a:gd name="connsiteY9" fmla="*/ 136446 h 149037"/>
                <a:gd name="connsiteX10" fmla="*/ 14687 w 187556"/>
                <a:gd name="connsiteY10" fmla="*/ 136350 h 149037"/>
                <a:gd name="connsiteX11" fmla="*/ 14678 w 187556"/>
                <a:gd name="connsiteY11" fmla="*/ 136350 h 149037"/>
                <a:gd name="connsiteX12" fmla="*/ 14440 w 187556"/>
                <a:gd name="connsiteY12" fmla="*/ 132522 h 149037"/>
                <a:gd name="connsiteX13" fmla="*/ 13821 w 187556"/>
                <a:gd name="connsiteY13" fmla="*/ 129750 h 149037"/>
                <a:gd name="connsiteX14" fmla="*/ 12068 w 187556"/>
                <a:gd name="connsiteY14" fmla="*/ 125616 h 149037"/>
                <a:gd name="connsiteX15" fmla="*/ 14659 w 187556"/>
                <a:gd name="connsiteY15" fmla="*/ 124616 h 149037"/>
                <a:gd name="connsiteX16" fmla="*/ 14154 w 187556"/>
                <a:gd name="connsiteY16" fmla="*/ 116519 h 149037"/>
                <a:gd name="connsiteX17" fmla="*/ 13211 w 187556"/>
                <a:gd name="connsiteY17" fmla="*/ 112319 h 149037"/>
                <a:gd name="connsiteX18" fmla="*/ 5982 w 187556"/>
                <a:gd name="connsiteY18" fmla="*/ 107985 h 149037"/>
                <a:gd name="connsiteX19" fmla="*/ 286 w 187556"/>
                <a:gd name="connsiteY19" fmla="*/ 103765 h 149037"/>
                <a:gd name="connsiteX20" fmla="*/ 1600 w 187556"/>
                <a:gd name="connsiteY20" fmla="*/ 89478 h 149037"/>
                <a:gd name="connsiteX21" fmla="*/ 2162 w 187556"/>
                <a:gd name="connsiteY21" fmla="*/ 85611 h 149037"/>
                <a:gd name="connsiteX22" fmla="*/ 0 w 187556"/>
                <a:gd name="connsiteY22" fmla="*/ 78086 h 149037"/>
                <a:gd name="connsiteX23" fmla="*/ 229 w 187556"/>
                <a:gd name="connsiteY23" fmla="*/ 69380 h 149037"/>
                <a:gd name="connsiteX24" fmla="*/ 1143 w 187556"/>
                <a:gd name="connsiteY24" fmla="*/ 55588 h 149037"/>
                <a:gd name="connsiteX25" fmla="*/ 2953 w 187556"/>
                <a:gd name="connsiteY25" fmla="*/ 55045 h 149037"/>
                <a:gd name="connsiteX26" fmla="*/ 4286 w 187556"/>
                <a:gd name="connsiteY26" fmla="*/ 55112 h 149037"/>
                <a:gd name="connsiteX27" fmla="*/ 9411 w 187556"/>
                <a:gd name="connsiteY27" fmla="*/ 57598 h 149037"/>
                <a:gd name="connsiteX28" fmla="*/ 11544 w 187556"/>
                <a:gd name="connsiteY28" fmla="*/ 57846 h 149037"/>
                <a:gd name="connsiteX29" fmla="*/ 13011 w 187556"/>
                <a:gd name="connsiteY29" fmla="*/ 60065 h 149037"/>
                <a:gd name="connsiteX30" fmla="*/ 14726 w 187556"/>
                <a:gd name="connsiteY30" fmla="*/ 60979 h 149037"/>
                <a:gd name="connsiteX31" fmla="*/ 15964 w 187556"/>
                <a:gd name="connsiteY31" fmla="*/ 58627 h 149037"/>
                <a:gd name="connsiteX32" fmla="*/ 16450 w 187556"/>
                <a:gd name="connsiteY32" fmla="*/ 54598 h 149037"/>
                <a:gd name="connsiteX33" fmla="*/ 20507 w 187556"/>
                <a:gd name="connsiteY33" fmla="*/ 49368 h 149037"/>
                <a:gd name="connsiteX34" fmla="*/ 23355 w 187556"/>
                <a:gd name="connsiteY34" fmla="*/ 47435 h 149037"/>
                <a:gd name="connsiteX35" fmla="*/ 25298 w 187556"/>
                <a:gd name="connsiteY35" fmla="*/ 46511 h 149037"/>
                <a:gd name="connsiteX36" fmla="*/ 27261 w 187556"/>
                <a:gd name="connsiteY36" fmla="*/ 48625 h 149037"/>
                <a:gd name="connsiteX37" fmla="*/ 28756 w 187556"/>
                <a:gd name="connsiteY37" fmla="*/ 50997 h 149037"/>
                <a:gd name="connsiteX38" fmla="*/ 29108 w 187556"/>
                <a:gd name="connsiteY38" fmla="*/ 45806 h 149037"/>
                <a:gd name="connsiteX39" fmla="*/ 30318 w 187556"/>
                <a:gd name="connsiteY39" fmla="*/ 35871 h 149037"/>
                <a:gd name="connsiteX40" fmla="*/ 26461 w 187556"/>
                <a:gd name="connsiteY40" fmla="*/ 34309 h 149037"/>
                <a:gd name="connsiteX41" fmla="*/ 23308 w 187556"/>
                <a:gd name="connsiteY41" fmla="*/ 35662 h 149037"/>
                <a:gd name="connsiteX42" fmla="*/ 20193 w 187556"/>
                <a:gd name="connsiteY42" fmla="*/ 41967 h 149037"/>
                <a:gd name="connsiteX43" fmla="*/ 17412 w 187556"/>
                <a:gd name="connsiteY43" fmla="*/ 49864 h 149037"/>
                <a:gd name="connsiteX44" fmla="*/ 12897 w 187556"/>
                <a:gd name="connsiteY44" fmla="*/ 50587 h 149037"/>
                <a:gd name="connsiteX45" fmla="*/ 9297 w 187556"/>
                <a:gd name="connsiteY45" fmla="*/ 52816 h 149037"/>
                <a:gd name="connsiteX46" fmla="*/ 6048 w 187556"/>
                <a:gd name="connsiteY46" fmla="*/ 50502 h 149037"/>
                <a:gd name="connsiteX47" fmla="*/ 3953 w 187556"/>
                <a:gd name="connsiteY47" fmla="*/ 48463 h 149037"/>
                <a:gd name="connsiteX48" fmla="*/ 3905 w 187556"/>
                <a:gd name="connsiteY48" fmla="*/ 45482 h 149037"/>
                <a:gd name="connsiteX49" fmla="*/ 4381 w 187556"/>
                <a:gd name="connsiteY49" fmla="*/ 43682 h 149037"/>
                <a:gd name="connsiteX50" fmla="*/ 8201 w 187556"/>
                <a:gd name="connsiteY50" fmla="*/ 37224 h 149037"/>
                <a:gd name="connsiteX51" fmla="*/ 13326 w 187556"/>
                <a:gd name="connsiteY51" fmla="*/ 31004 h 149037"/>
                <a:gd name="connsiteX52" fmla="*/ 18488 w 187556"/>
                <a:gd name="connsiteY52" fmla="*/ 31061 h 149037"/>
                <a:gd name="connsiteX53" fmla="*/ 22250 w 187556"/>
                <a:gd name="connsiteY53" fmla="*/ 29070 h 149037"/>
                <a:gd name="connsiteX54" fmla="*/ 24498 w 187556"/>
                <a:gd name="connsiteY54" fmla="*/ 28832 h 149037"/>
                <a:gd name="connsiteX55" fmla="*/ 31518 w 187556"/>
                <a:gd name="connsiteY55" fmla="*/ 29261 h 149037"/>
                <a:gd name="connsiteX56" fmla="*/ 35119 w 187556"/>
                <a:gd name="connsiteY56" fmla="*/ 27889 h 149037"/>
                <a:gd name="connsiteX57" fmla="*/ 38348 w 187556"/>
                <a:gd name="connsiteY57" fmla="*/ 25032 h 149037"/>
                <a:gd name="connsiteX58" fmla="*/ 45320 w 187556"/>
                <a:gd name="connsiteY58" fmla="*/ 12868 h 149037"/>
                <a:gd name="connsiteX59" fmla="*/ 49254 w 187556"/>
                <a:gd name="connsiteY59" fmla="*/ 7772 h 149037"/>
                <a:gd name="connsiteX60" fmla="*/ 57188 w 187556"/>
                <a:gd name="connsiteY60" fmla="*/ 5982 h 149037"/>
                <a:gd name="connsiteX61" fmla="*/ 64523 w 187556"/>
                <a:gd name="connsiteY61" fmla="*/ 76 h 149037"/>
                <a:gd name="connsiteX62" fmla="*/ 66570 w 187556"/>
                <a:gd name="connsiteY62" fmla="*/ 0 h 149037"/>
                <a:gd name="connsiteX63" fmla="*/ 63122 w 187556"/>
                <a:gd name="connsiteY63" fmla="*/ 4401 h 149037"/>
                <a:gd name="connsiteX64" fmla="*/ 62570 w 187556"/>
                <a:gd name="connsiteY64" fmla="*/ 6106 h 149037"/>
                <a:gd name="connsiteX65" fmla="*/ 62151 w 187556"/>
                <a:gd name="connsiteY65" fmla="*/ 8706 h 149037"/>
                <a:gd name="connsiteX66" fmla="*/ 64618 w 187556"/>
                <a:gd name="connsiteY66" fmla="*/ 14345 h 149037"/>
                <a:gd name="connsiteX67" fmla="*/ 64094 w 187556"/>
                <a:gd name="connsiteY67" fmla="*/ 17774 h 149037"/>
                <a:gd name="connsiteX68" fmla="*/ 64275 w 187556"/>
                <a:gd name="connsiteY68" fmla="*/ 24499 h 149037"/>
                <a:gd name="connsiteX69" fmla="*/ 61941 w 187556"/>
                <a:gd name="connsiteY69" fmla="*/ 27994 h 149037"/>
                <a:gd name="connsiteX70" fmla="*/ 59312 w 187556"/>
                <a:gd name="connsiteY70" fmla="*/ 35405 h 149037"/>
                <a:gd name="connsiteX71" fmla="*/ 58179 w 187556"/>
                <a:gd name="connsiteY71" fmla="*/ 36491 h 149037"/>
                <a:gd name="connsiteX72" fmla="*/ 57931 w 187556"/>
                <a:gd name="connsiteY72" fmla="*/ 45101 h 149037"/>
                <a:gd name="connsiteX73" fmla="*/ 58188 w 187556"/>
                <a:gd name="connsiteY73" fmla="*/ 47149 h 149037"/>
                <a:gd name="connsiteX74" fmla="*/ 57807 w 187556"/>
                <a:gd name="connsiteY74" fmla="*/ 54940 h 149037"/>
                <a:gd name="connsiteX75" fmla="*/ 60503 w 187556"/>
                <a:gd name="connsiteY75" fmla="*/ 58122 h 149037"/>
                <a:gd name="connsiteX76" fmla="*/ 63351 w 187556"/>
                <a:gd name="connsiteY76" fmla="*/ 59779 h 149037"/>
                <a:gd name="connsiteX77" fmla="*/ 72857 w 187556"/>
                <a:gd name="connsiteY77" fmla="*/ 59722 h 149037"/>
                <a:gd name="connsiteX78" fmla="*/ 73847 w 187556"/>
                <a:gd name="connsiteY78" fmla="*/ 61113 h 149037"/>
                <a:gd name="connsiteX79" fmla="*/ 75009 w 187556"/>
                <a:gd name="connsiteY79" fmla="*/ 63503 h 149037"/>
                <a:gd name="connsiteX80" fmla="*/ 74162 w 187556"/>
                <a:gd name="connsiteY80" fmla="*/ 67561 h 149037"/>
                <a:gd name="connsiteX81" fmla="*/ 73143 w 187556"/>
                <a:gd name="connsiteY81" fmla="*/ 70618 h 149037"/>
                <a:gd name="connsiteX82" fmla="*/ 70390 w 187556"/>
                <a:gd name="connsiteY82" fmla="*/ 73190 h 149037"/>
                <a:gd name="connsiteX83" fmla="*/ 66856 w 187556"/>
                <a:gd name="connsiteY83" fmla="*/ 75105 h 149037"/>
                <a:gd name="connsiteX84" fmla="*/ 64656 w 187556"/>
                <a:gd name="connsiteY84" fmla="*/ 75190 h 149037"/>
                <a:gd name="connsiteX85" fmla="*/ 61665 w 187556"/>
                <a:gd name="connsiteY85" fmla="*/ 71552 h 149037"/>
                <a:gd name="connsiteX86" fmla="*/ 60246 w 187556"/>
                <a:gd name="connsiteY86" fmla="*/ 72733 h 149037"/>
                <a:gd name="connsiteX87" fmla="*/ 58779 w 187556"/>
                <a:gd name="connsiteY87" fmla="*/ 74591 h 149037"/>
                <a:gd name="connsiteX88" fmla="*/ 56312 w 187556"/>
                <a:gd name="connsiteY88" fmla="*/ 84515 h 149037"/>
                <a:gd name="connsiteX89" fmla="*/ 55140 w 187556"/>
                <a:gd name="connsiteY89" fmla="*/ 91192 h 149037"/>
                <a:gd name="connsiteX90" fmla="*/ 54512 w 187556"/>
                <a:gd name="connsiteY90" fmla="*/ 91735 h 149037"/>
                <a:gd name="connsiteX91" fmla="*/ 53121 w 187556"/>
                <a:gd name="connsiteY91" fmla="*/ 90745 h 149037"/>
                <a:gd name="connsiteX92" fmla="*/ 50721 w 187556"/>
                <a:gd name="connsiteY92" fmla="*/ 90669 h 149037"/>
                <a:gd name="connsiteX93" fmla="*/ 47682 w 187556"/>
                <a:gd name="connsiteY93" fmla="*/ 92250 h 149037"/>
                <a:gd name="connsiteX94" fmla="*/ 49244 w 187556"/>
                <a:gd name="connsiteY94" fmla="*/ 93659 h 149037"/>
                <a:gd name="connsiteX95" fmla="*/ 50892 w 187556"/>
                <a:gd name="connsiteY95" fmla="*/ 96108 h 149037"/>
                <a:gd name="connsiteX96" fmla="*/ 50235 w 187556"/>
                <a:gd name="connsiteY96" fmla="*/ 97336 h 149037"/>
                <a:gd name="connsiteX97" fmla="*/ 47558 w 187556"/>
                <a:gd name="connsiteY97" fmla="*/ 98660 h 149037"/>
                <a:gd name="connsiteX98" fmla="*/ 45186 w 187556"/>
                <a:gd name="connsiteY98" fmla="*/ 101337 h 149037"/>
                <a:gd name="connsiteX99" fmla="*/ 44196 w 187556"/>
                <a:gd name="connsiteY99" fmla="*/ 103356 h 149037"/>
                <a:gd name="connsiteX100" fmla="*/ 41215 w 187556"/>
                <a:gd name="connsiteY100" fmla="*/ 105747 h 149037"/>
                <a:gd name="connsiteX101" fmla="*/ 39329 w 187556"/>
                <a:gd name="connsiteY101" fmla="*/ 108776 h 149037"/>
                <a:gd name="connsiteX102" fmla="*/ 40253 w 187556"/>
                <a:gd name="connsiteY102" fmla="*/ 112519 h 149037"/>
                <a:gd name="connsiteX103" fmla="*/ 40643 w 187556"/>
                <a:gd name="connsiteY103" fmla="*/ 115805 h 149037"/>
                <a:gd name="connsiteX104" fmla="*/ 41462 w 187556"/>
                <a:gd name="connsiteY104" fmla="*/ 119425 h 149037"/>
                <a:gd name="connsiteX105" fmla="*/ 40719 w 187556"/>
                <a:gd name="connsiteY105" fmla="*/ 122311 h 149037"/>
                <a:gd name="connsiteX106" fmla="*/ 37014 w 187556"/>
                <a:gd name="connsiteY106" fmla="*/ 126445 h 149037"/>
                <a:gd name="connsiteX107" fmla="*/ 35652 w 187556"/>
                <a:gd name="connsiteY107" fmla="*/ 130016 h 149037"/>
                <a:gd name="connsiteX108" fmla="*/ 38824 w 187556"/>
                <a:gd name="connsiteY108" fmla="*/ 129969 h 149037"/>
                <a:gd name="connsiteX109" fmla="*/ 40777 w 187556"/>
                <a:gd name="connsiteY109" fmla="*/ 130788 h 149037"/>
                <a:gd name="connsiteX110" fmla="*/ 41920 w 187556"/>
                <a:gd name="connsiteY110" fmla="*/ 131845 h 149037"/>
                <a:gd name="connsiteX111" fmla="*/ 43101 w 187556"/>
                <a:gd name="connsiteY111" fmla="*/ 133341 h 149037"/>
                <a:gd name="connsiteX112" fmla="*/ 42377 w 187556"/>
                <a:gd name="connsiteY112" fmla="*/ 135189 h 149037"/>
                <a:gd name="connsiteX113" fmla="*/ 43272 w 187556"/>
                <a:gd name="connsiteY113" fmla="*/ 139951 h 149037"/>
                <a:gd name="connsiteX114" fmla="*/ 78353 w 187556"/>
                <a:gd name="connsiteY114" fmla="*/ 24003 h 149037"/>
                <a:gd name="connsiteX115" fmla="*/ 77267 w 187556"/>
                <a:gd name="connsiteY115" fmla="*/ 25156 h 149037"/>
                <a:gd name="connsiteX116" fmla="*/ 73590 w 187556"/>
                <a:gd name="connsiteY116" fmla="*/ 23527 h 149037"/>
                <a:gd name="connsiteX117" fmla="*/ 75209 w 187556"/>
                <a:gd name="connsiteY117" fmla="*/ 21241 h 149037"/>
                <a:gd name="connsiteX118" fmla="*/ 79248 w 187556"/>
                <a:gd name="connsiteY118" fmla="*/ 20184 h 149037"/>
                <a:gd name="connsiteX119" fmla="*/ 81620 w 187556"/>
                <a:gd name="connsiteY119" fmla="*/ 20536 h 149037"/>
                <a:gd name="connsiteX120" fmla="*/ 79010 w 187556"/>
                <a:gd name="connsiteY120" fmla="*/ 22803 h 149037"/>
                <a:gd name="connsiteX121" fmla="*/ 78353 w 187556"/>
                <a:gd name="connsiteY121" fmla="*/ 24003 h 149037"/>
                <a:gd name="connsiteX122" fmla="*/ 118901 w 187556"/>
                <a:gd name="connsiteY122" fmla="*/ 94983 h 149037"/>
                <a:gd name="connsiteX123" fmla="*/ 118967 w 187556"/>
                <a:gd name="connsiteY123" fmla="*/ 99727 h 149037"/>
                <a:gd name="connsiteX124" fmla="*/ 118272 w 187556"/>
                <a:gd name="connsiteY124" fmla="*/ 101108 h 149037"/>
                <a:gd name="connsiteX125" fmla="*/ 117253 w 187556"/>
                <a:gd name="connsiteY125" fmla="*/ 102023 h 149037"/>
                <a:gd name="connsiteX126" fmla="*/ 114586 w 187556"/>
                <a:gd name="connsiteY126" fmla="*/ 102984 h 149037"/>
                <a:gd name="connsiteX127" fmla="*/ 112271 w 187556"/>
                <a:gd name="connsiteY127" fmla="*/ 104327 h 149037"/>
                <a:gd name="connsiteX128" fmla="*/ 110204 w 187556"/>
                <a:gd name="connsiteY128" fmla="*/ 106680 h 149037"/>
                <a:gd name="connsiteX129" fmla="*/ 109442 w 187556"/>
                <a:gd name="connsiteY129" fmla="*/ 110042 h 149037"/>
                <a:gd name="connsiteX130" fmla="*/ 111052 w 187556"/>
                <a:gd name="connsiteY130" fmla="*/ 112500 h 149037"/>
                <a:gd name="connsiteX131" fmla="*/ 113986 w 187556"/>
                <a:gd name="connsiteY131" fmla="*/ 113843 h 149037"/>
                <a:gd name="connsiteX132" fmla="*/ 114738 w 187556"/>
                <a:gd name="connsiteY132" fmla="*/ 118510 h 149037"/>
                <a:gd name="connsiteX133" fmla="*/ 112319 w 187556"/>
                <a:gd name="connsiteY133" fmla="*/ 120806 h 149037"/>
                <a:gd name="connsiteX134" fmla="*/ 106109 w 187556"/>
                <a:gd name="connsiteY134" fmla="*/ 123092 h 149037"/>
                <a:gd name="connsiteX135" fmla="*/ 105461 w 187556"/>
                <a:gd name="connsiteY135" fmla="*/ 128607 h 149037"/>
                <a:gd name="connsiteX136" fmla="*/ 105661 w 187556"/>
                <a:gd name="connsiteY136" fmla="*/ 132940 h 149037"/>
                <a:gd name="connsiteX137" fmla="*/ 105546 w 187556"/>
                <a:gd name="connsiteY137" fmla="*/ 136084 h 149037"/>
                <a:gd name="connsiteX138" fmla="*/ 105051 w 187556"/>
                <a:gd name="connsiteY138" fmla="*/ 140427 h 149037"/>
                <a:gd name="connsiteX139" fmla="*/ 100032 w 187556"/>
                <a:gd name="connsiteY139" fmla="*/ 142399 h 149037"/>
                <a:gd name="connsiteX140" fmla="*/ 96784 w 187556"/>
                <a:gd name="connsiteY140" fmla="*/ 135789 h 149037"/>
                <a:gd name="connsiteX141" fmla="*/ 96755 w 187556"/>
                <a:gd name="connsiteY141" fmla="*/ 133131 h 149037"/>
                <a:gd name="connsiteX142" fmla="*/ 95783 w 187556"/>
                <a:gd name="connsiteY142" fmla="*/ 130026 h 149037"/>
                <a:gd name="connsiteX143" fmla="*/ 95603 w 187556"/>
                <a:gd name="connsiteY143" fmla="*/ 127378 h 149037"/>
                <a:gd name="connsiteX144" fmla="*/ 94450 w 187556"/>
                <a:gd name="connsiteY144" fmla="*/ 123139 h 149037"/>
                <a:gd name="connsiteX145" fmla="*/ 89697 w 187556"/>
                <a:gd name="connsiteY145" fmla="*/ 121987 h 149037"/>
                <a:gd name="connsiteX146" fmla="*/ 87849 w 187556"/>
                <a:gd name="connsiteY146" fmla="*/ 121834 h 149037"/>
                <a:gd name="connsiteX147" fmla="*/ 85268 w 187556"/>
                <a:gd name="connsiteY147" fmla="*/ 122625 h 149037"/>
                <a:gd name="connsiteX148" fmla="*/ 84630 w 187556"/>
                <a:gd name="connsiteY148" fmla="*/ 122320 h 149037"/>
                <a:gd name="connsiteX149" fmla="*/ 81534 w 187556"/>
                <a:gd name="connsiteY149" fmla="*/ 116510 h 149037"/>
                <a:gd name="connsiteX150" fmla="*/ 82048 w 187556"/>
                <a:gd name="connsiteY150" fmla="*/ 110071 h 149037"/>
                <a:gd name="connsiteX151" fmla="*/ 80401 w 187556"/>
                <a:gd name="connsiteY151" fmla="*/ 106814 h 149037"/>
                <a:gd name="connsiteX152" fmla="*/ 80172 w 187556"/>
                <a:gd name="connsiteY152" fmla="*/ 105337 h 149037"/>
                <a:gd name="connsiteX153" fmla="*/ 80210 w 187556"/>
                <a:gd name="connsiteY153" fmla="*/ 103699 h 149037"/>
                <a:gd name="connsiteX154" fmla="*/ 78848 w 187556"/>
                <a:gd name="connsiteY154" fmla="*/ 102346 h 149037"/>
                <a:gd name="connsiteX155" fmla="*/ 77210 w 187556"/>
                <a:gd name="connsiteY155" fmla="*/ 101632 h 149037"/>
                <a:gd name="connsiteX156" fmla="*/ 76410 w 187556"/>
                <a:gd name="connsiteY156" fmla="*/ 97984 h 149037"/>
                <a:gd name="connsiteX157" fmla="*/ 78296 w 187556"/>
                <a:gd name="connsiteY157" fmla="*/ 97098 h 149037"/>
                <a:gd name="connsiteX158" fmla="*/ 82972 w 187556"/>
                <a:gd name="connsiteY158" fmla="*/ 97527 h 149037"/>
                <a:gd name="connsiteX159" fmla="*/ 84344 w 187556"/>
                <a:gd name="connsiteY159" fmla="*/ 97279 h 149037"/>
                <a:gd name="connsiteX160" fmla="*/ 85592 w 187556"/>
                <a:gd name="connsiteY160" fmla="*/ 96517 h 149037"/>
                <a:gd name="connsiteX161" fmla="*/ 89373 w 187556"/>
                <a:gd name="connsiteY161" fmla="*/ 90497 h 149037"/>
                <a:gd name="connsiteX162" fmla="*/ 89259 w 187556"/>
                <a:gd name="connsiteY162" fmla="*/ 89164 h 149037"/>
                <a:gd name="connsiteX163" fmla="*/ 89659 w 187556"/>
                <a:gd name="connsiteY163" fmla="*/ 87440 h 149037"/>
                <a:gd name="connsiteX164" fmla="*/ 93745 w 187556"/>
                <a:gd name="connsiteY164" fmla="*/ 86801 h 149037"/>
                <a:gd name="connsiteX165" fmla="*/ 95564 w 187556"/>
                <a:gd name="connsiteY165" fmla="*/ 89135 h 149037"/>
                <a:gd name="connsiteX166" fmla="*/ 95193 w 187556"/>
                <a:gd name="connsiteY166" fmla="*/ 92869 h 149037"/>
                <a:gd name="connsiteX167" fmla="*/ 95422 w 187556"/>
                <a:gd name="connsiteY167" fmla="*/ 97631 h 149037"/>
                <a:gd name="connsiteX168" fmla="*/ 97898 w 187556"/>
                <a:gd name="connsiteY168" fmla="*/ 98927 h 149037"/>
                <a:gd name="connsiteX169" fmla="*/ 98860 w 187556"/>
                <a:gd name="connsiteY169" fmla="*/ 99117 h 149037"/>
                <a:gd name="connsiteX170" fmla="*/ 99898 w 187556"/>
                <a:gd name="connsiteY170" fmla="*/ 95603 h 149037"/>
                <a:gd name="connsiteX171" fmla="*/ 100622 w 187556"/>
                <a:gd name="connsiteY171" fmla="*/ 93888 h 149037"/>
                <a:gd name="connsiteX172" fmla="*/ 101603 w 187556"/>
                <a:gd name="connsiteY172" fmla="*/ 92926 h 149037"/>
                <a:gd name="connsiteX173" fmla="*/ 101937 w 187556"/>
                <a:gd name="connsiteY173" fmla="*/ 89707 h 149037"/>
                <a:gd name="connsiteX174" fmla="*/ 101355 w 187556"/>
                <a:gd name="connsiteY174" fmla="*/ 87735 h 149037"/>
                <a:gd name="connsiteX175" fmla="*/ 100117 w 187556"/>
                <a:gd name="connsiteY175" fmla="*/ 86258 h 149037"/>
                <a:gd name="connsiteX176" fmla="*/ 104747 w 187556"/>
                <a:gd name="connsiteY176" fmla="*/ 82258 h 149037"/>
                <a:gd name="connsiteX177" fmla="*/ 109538 w 187556"/>
                <a:gd name="connsiteY177" fmla="*/ 79077 h 149037"/>
                <a:gd name="connsiteX178" fmla="*/ 112328 w 187556"/>
                <a:gd name="connsiteY178" fmla="*/ 78905 h 149037"/>
                <a:gd name="connsiteX179" fmla="*/ 115129 w 187556"/>
                <a:gd name="connsiteY179" fmla="*/ 79686 h 149037"/>
                <a:gd name="connsiteX180" fmla="*/ 117738 w 187556"/>
                <a:gd name="connsiteY180" fmla="*/ 80753 h 149037"/>
                <a:gd name="connsiteX181" fmla="*/ 119148 w 187556"/>
                <a:gd name="connsiteY181" fmla="*/ 81677 h 149037"/>
                <a:gd name="connsiteX182" fmla="*/ 119939 w 187556"/>
                <a:gd name="connsiteY182" fmla="*/ 83163 h 149037"/>
                <a:gd name="connsiteX183" fmla="*/ 118186 w 187556"/>
                <a:gd name="connsiteY183" fmla="*/ 86697 h 149037"/>
                <a:gd name="connsiteX184" fmla="*/ 117700 w 187556"/>
                <a:gd name="connsiteY184" fmla="*/ 88621 h 149037"/>
                <a:gd name="connsiteX185" fmla="*/ 118901 w 187556"/>
                <a:gd name="connsiteY185" fmla="*/ 94983 h 149037"/>
                <a:gd name="connsiteX186" fmla="*/ 66465 w 187556"/>
                <a:gd name="connsiteY186" fmla="*/ 95079 h 149037"/>
                <a:gd name="connsiteX187" fmla="*/ 66008 w 187556"/>
                <a:gd name="connsiteY187" fmla="*/ 95926 h 149037"/>
                <a:gd name="connsiteX188" fmla="*/ 64313 w 187556"/>
                <a:gd name="connsiteY188" fmla="*/ 95041 h 149037"/>
                <a:gd name="connsiteX189" fmla="*/ 64132 w 187556"/>
                <a:gd name="connsiteY189" fmla="*/ 91973 h 149037"/>
                <a:gd name="connsiteX190" fmla="*/ 64770 w 187556"/>
                <a:gd name="connsiteY190" fmla="*/ 89211 h 149037"/>
                <a:gd name="connsiteX191" fmla="*/ 64018 w 187556"/>
                <a:gd name="connsiteY191" fmla="*/ 86735 h 149037"/>
                <a:gd name="connsiteX192" fmla="*/ 64846 w 187556"/>
                <a:gd name="connsiteY192" fmla="*/ 85144 h 149037"/>
                <a:gd name="connsiteX193" fmla="*/ 67228 w 187556"/>
                <a:gd name="connsiteY193" fmla="*/ 88849 h 149037"/>
                <a:gd name="connsiteX194" fmla="*/ 67904 w 187556"/>
                <a:gd name="connsiteY194" fmla="*/ 90592 h 149037"/>
                <a:gd name="connsiteX195" fmla="*/ 66980 w 187556"/>
                <a:gd name="connsiteY195" fmla="*/ 92669 h 149037"/>
                <a:gd name="connsiteX196" fmla="*/ 66465 w 187556"/>
                <a:gd name="connsiteY196" fmla="*/ 95079 h 149037"/>
                <a:gd name="connsiteX197" fmla="*/ 121491 w 187556"/>
                <a:gd name="connsiteY197" fmla="*/ 103899 h 149037"/>
                <a:gd name="connsiteX198" fmla="*/ 118977 w 187556"/>
                <a:gd name="connsiteY198" fmla="*/ 105909 h 149037"/>
                <a:gd name="connsiteX199" fmla="*/ 118424 w 187556"/>
                <a:gd name="connsiteY199" fmla="*/ 105804 h 149037"/>
                <a:gd name="connsiteX200" fmla="*/ 117605 w 187556"/>
                <a:gd name="connsiteY200" fmla="*/ 103051 h 149037"/>
                <a:gd name="connsiteX201" fmla="*/ 118939 w 187556"/>
                <a:gd name="connsiteY201" fmla="*/ 101375 h 149037"/>
                <a:gd name="connsiteX202" fmla="*/ 119720 w 187556"/>
                <a:gd name="connsiteY202" fmla="*/ 99956 h 149037"/>
                <a:gd name="connsiteX203" fmla="*/ 120282 w 187556"/>
                <a:gd name="connsiteY203" fmla="*/ 99994 h 149037"/>
                <a:gd name="connsiteX204" fmla="*/ 121044 w 187556"/>
                <a:gd name="connsiteY204" fmla="*/ 101537 h 149037"/>
                <a:gd name="connsiteX205" fmla="*/ 121491 w 187556"/>
                <a:gd name="connsiteY205" fmla="*/ 103899 h 149037"/>
                <a:gd name="connsiteX206" fmla="*/ 67475 w 187556"/>
                <a:gd name="connsiteY206" fmla="*/ 103280 h 149037"/>
                <a:gd name="connsiteX207" fmla="*/ 68589 w 187556"/>
                <a:gd name="connsiteY207" fmla="*/ 105737 h 149037"/>
                <a:gd name="connsiteX208" fmla="*/ 69961 w 187556"/>
                <a:gd name="connsiteY208" fmla="*/ 110976 h 149037"/>
                <a:gd name="connsiteX209" fmla="*/ 72133 w 187556"/>
                <a:gd name="connsiteY209" fmla="*/ 116824 h 149037"/>
                <a:gd name="connsiteX210" fmla="*/ 71228 w 187556"/>
                <a:gd name="connsiteY210" fmla="*/ 119263 h 149037"/>
                <a:gd name="connsiteX211" fmla="*/ 71847 w 187556"/>
                <a:gd name="connsiteY211" fmla="*/ 122387 h 149037"/>
                <a:gd name="connsiteX212" fmla="*/ 71228 w 187556"/>
                <a:gd name="connsiteY212" fmla="*/ 125635 h 149037"/>
                <a:gd name="connsiteX213" fmla="*/ 66913 w 187556"/>
                <a:gd name="connsiteY213" fmla="*/ 129407 h 149037"/>
                <a:gd name="connsiteX214" fmla="*/ 62074 w 187556"/>
                <a:gd name="connsiteY214" fmla="*/ 129578 h 149037"/>
                <a:gd name="connsiteX215" fmla="*/ 57045 w 187556"/>
                <a:gd name="connsiteY215" fmla="*/ 127759 h 149037"/>
                <a:gd name="connsiteX216" fmla="*/ 49940 w 187556"/>
                <a:gd name="connsiteY216" fmla="*/ 124244 h 149037"/>
                <a:gd name="connsiteX217" fmla="*/ 49368 w 187556"/>
                <a:gd name="connsiteY217" fmla="*/ 122272 h 149037"/>
                <a:gd name="connsiteX218" fmla="*/ 48378 w 187556"/>
                <a:gd name="connsiteY218" fmla="*/ 121177 h 149037"/>
                <a:gd name="connsiteX219" fmla="*/ 46472 w 187556"/>
                <a:gd name="connsiteY219" fmla="*/ 115167 h 149037"/>
                <a:gd name="connsiteX220" fmla="*/ 46511 w 187556"/>
                <a:gd name="connsiteY220" fmla="*/ 107728 h 149037"/>
                <a:gd name="connsiteX221" fmla="*/ 50082 w 187556"/>
                <a:gd name="connsiteY221" fmla="*/ 106785 h 149037"/>
                <a:gd name="connsiteX222" fmla="*/ 57883 w 187556"/>
                <a:gd name="connsiteY222" fmla="*/ 103222 h 149037"/>
                <a:gd name="connsiteX223" fmla="*/ 59684 w 187556"/>
                <a:gd name="connsiteY223" fmla="*/ 103785 h 149037"/>
                <a:gd name="connsiteX224" fmla="*/ 61569 w 187556"/>
                <a:gd name="connsiteY224" fmla="*/ 105604 h 149037"/>
                <a:gd name="connsiteX225" fmla="*/ 63741 w 187556"/>
                <a:gd name="connsiteY225" fmla="*/ 105709 h 149037"/>
                <a:gd name="connsiteX226" fmla="*/ 66885 w 187556"/>
                <a:gd name="connsiteY226" fmla="*/ 103127 h 149037"/>
                <a:gd name="connsiteX227" fmla="*/ 67475 w 187556"/>
                <a:gd name="connsiteY227" fmla="*/ 103280 h 149037"/>
                <a:gd name="connsiteX228" fmla="*/ 186233 w 187556"/>
                <a:gd name="connsiteY228" fmla="*/ 130836 h 149037"/>
                <a:gd name="connsiteX229" fmla="*/ 185242 w 187556"/>
                <a:gd name="connsiteY229" fmla="*/ 131626 h 149037"/>
                <a:gd name="connsiteX230" fmla="*/ 180822 w 187556"/>
                <a:gd name="connsiteY230" fmla="*/ 130321 h 149037"/>
                <a:gd name="connsiteX231" fmla="*/ 175441 w 187556"/>
                <a:gd name="connsiteY231" fmla="*/ 127092 h 149037"/>
                <a:gd name="connsiteX232" fmla="*/ 176231 w 187556"/>
                <a:gd name="connsiteY232" fmla="*/ 120748 h 149037"/>
                <a:gd name="connsiteX233" fmla="*/ 177613 w 187556"/>
                <a:gd name="connsiteY233" fmla="*/ 117996 h 149037"/>
                <a:gd name="connsiteX234" fmla="*/ 187433 w 187556"/>
                <a:gd name="connsiteY234" fmla="*/ 125111 h 149037"/>
                <a:gd name="connsiteX235" fmla="*/ 187557 w 187556"/>
                <a:gd name="connsiteY235" fmla="*/ 127788 h 149037"/>
                <a:gd name="connsiteX236" fmla="*/ 186233 w 187556"/>
                <a:gd name="connsiteY236" fmla="*/ 130836 h 149037"/>
                <a:gd name="connsiteX237" fmla="*/ 69856 w 187556"/>
                <a:gd name="connsiteY237" fmla="*/ 143408 h 149037"/>
                <a:gd name="connsiteX238" fmla="*/ 68666 w 187556"/>
                <a:gd name="connsiteY238" fmla="*/ 143666 h 149037"/>
                <a:gd name="connsiteX239" fmla="*/ 67056 w 187556"/>
                <a:gd name="connsiteY239" fmla="*/ 139922 h 149037"/>
                <a:gd name="connsiteX240" fmla="*/ 66847 w 187556"/>
                <a:gd name="connsiteY240" fmla="*/ 138741 h 149037"/>
                <a:gd name="connsiteX241" fmla="*/ 68742 w 187556"/>
                <a:gd name="connsiteY241" fmla="*/ 136341 h 149037"/>
                <a:gd name="connsiteX242" fmla="*/ 69961 w 187556"/>
                <a:gd name="connsiteY242" fmla="*/ 133617 h 149037"/>
                <a:gd name="connsiteX243" fmla="*/ 73133 w 187556"/>
                <a:gd name="connsiteY243" fmla="*/ 129426 h 149037"/>
                <a:gd name="connsiteX244" fmla="*/ 74952 w 187556"/>
                <a:gd name="connsiteY244" fmla="*/ 124501 h 149037"/>
                <a:gd name="connsiteX245" fmla="*/ 75648 w 187556"/>
                <a:gd name="connsiteY245" fmla="*/ 124578 h 149037"/>
                <a:gd name="connsiteX246" fmla="*/ 74838 w 187556"/>
                <a:gd name="connsiteY246" fmla="*/ 128969 h 149037"/>
                <a:gd name="connsiteX247" fmla="*/ 70676 w 187556"/>
                <a:gd name="connsiteY247" fmla="*/ 141151 h 149037"/>
                <a:gd name="connsiteX248" fmla="*/ 69856 w 187556"/>
                <a:gd name="connsiteY248" fmla="*/ 143408 h 149037"/>
                <a:gd name="connsiteX249" fmla="*/ 51864 w 187556"/>
                <a:gd name="connsiteY249" fmla="*/ 137131 h 149037"/>
                <a:gd name="connsiteX250" fmla="*/ 49082 w 187556"/>
                <a:gd name="connsiteY250" fmla="*/ 137770 h 149037"/>
                <a:gd name="connsiteX251" fmla="*/ 47663 w 187556"/>
                <a:gd name="connsiteY251" fmla="*/ 136646 h 149037"/>
                <a:gd name="connsiteX252" fmla="*/ 45053 w 187556"/>
                <a:gd name="connsiteY252" fmla="*/ 136217 h 149037"/>
                <a:gd name="connsiteX253" fmla="*/ 44120 w 187556"/>
                <a:gd name="connsiteY253" fmla="*/ 129064 h 149037"/>
                <a:gd name="connsiteX254" fmla="*/ 44387 w 187556"/>
                <a:gd name="connsiteY254" fmla="*/ 128635 h 149037"/>
                <a:gd name="connsiteX255" fmla="*/ 45701 w 187556"/>
                <a:gd name="connsiteY255" fmla="*/ 129140 h 149037"/>
                <a:gd name="connsiteX256" fmla="*/ 50206 w 187556"/>
                <a:gd name="connsiteY256" fmla="*/ 132483 h 149037"/>
                <a:gd name="connsiteX257" fmla="*/ 51778 w 187556"/>
                <a:gd name="connsiteY257" fmla="*/ 136132 h 149037"/>
                <a:gd name="connsiteX258" fmla="*/ 51864 w 187556"/>
                <a:gd name="connsiteY258" fmla="*/ 137131 h 149037"/>
                <a:gd name="connsiteX259" fmla="*/ 118377 w 187556"/>
                <a:gd name="connsiteY259" fmla="*/ 133445 h 149037"/>
                <a:gd name="connsiteX260" fmla="*/ 117358 w 187556"/>
                <a:gd name="connsiteY260" fmla="*/ 134141 h 149037"/>
                <a:gd name="connsiteX261" fmla="*/ 113252 w 187556"/>
                <a:gd name="connsiteY261" fmla="*/ 133636 h 149037"/>
                <a:gd name="connsiteX262" fmla="*/ 108623 w 187556"/>
                <a:gd name="connsiteY262" fmla="*/ 136855 h 149037"/>
                <a:gd name="connsiteX263" fmla="*/ 106871 w 187556"/>
                <a:gd name="connsiteY263" fmla="*/ 135836 h 149037"/>
                <a:gd name="connsiteX264" fmla="*/ 107537 w 187556"/>
                <a:gd name="connsiteY264" fmla="*/ 133779 h 149037"/>
                <a:gd name="connsiteX265" fmla="*/ 108023 w 187556"/>
                <a:gd name="connsiteY265" fmla="*/ 133026 h 149037"/>
                <a:gd name="connsiteX266" fmla="*/ 109576 w 187556"/>
                <a:gd name="connsiteY266" fmla="*/ 132150 h 149037"/>
                <a:gd name="connsiteX267" fmla="*/ 110614 w 187556"/>
                <a:gd name="connsiteY267" fmla="*/ 130874 h 149037"/>
                <a:gd name="connsiteX268" fmla="*/ 111023 w 187556"/>
                <a:gd name="connsiteY268" fmla="*/ 128874 h 149037"/>
                <a:gd name="connsiteX269" fmla="*/ 111985 w 187556"/>
                <a:gd name="connsiteY269" fmla="*/ 129950 h 149037"/>
                <a:gd name="connsiteX270" fmla="*/ 114853 w 187556"/>
                <a:gd name="connsiteY270" fmla="*/ 130397 h 149037"/>
                <a:gd name="connsiteX271" fmla="*/ 116253 w 187556"/>
                <a:gd name="connsiteY271" fmla="*/ 131036 h 149037"/>
                <a:gd name="connsiteX272" fmla="*/ 117424 w 187556"/>
                <a:gd name="connsiteY272" fmla="*/ 131979 h 149037"/>
                <a:gd name="connsiteX273" fmla="*/ 118377 w 187556"/>
                <a:gd name="connsiteY273" fmla="*/ 133445 h 149037"/>
                <a:gd name="connsiteX274" fmla="*/ 63179 w 187556"/>
                <a:gd name="connsiteY274" fmla="*/ 138922 h 149037"/>
                <a:gd name="connsiteX275" fmla="*/ 61389 w 187556"/>
                <a:gd name="connsiteY275" fmla="*/ 139408 h 149037"/>
                <a:gd name="connsiteX276" fmla="*/ 59341 w 187556"/>
                <a:gd name="connsiteY276" fmla="*/ 138399 h 149037"/>
                <a:gd name="connsiteX277" fmla="*/ 55997 w 187556"/>
                <a:gd name="connsiteY277" fmla="*/ 134598 h 149037"/>
                <a:gd name="connsiteX278" fmla="*/ 55578 w 187556"/>
                <a:gd name="connsiteY278" fmla="*/ 133588 h 149037"/>
                <a:gd name="connsiteX279" fmla="*/ 57331 w 187556"/>
                <a:gd name="connsiteY279" fmla="*/ 134226 h 149037"/>
                <a:gd name="connsiteX280" fmla="*/ 59512 w 187556"/>
                <a:gd name="connsiteY280" fmla="*/ 136217 h 149037"/>
                <a:gd name="connsiteX281" fmla="*/ 61293 w 187556"/>
                <a:gd name="connsiteY281" fmla="*/ 136646 h 149037"/>
                <a:gd name="connsiteX282" fmla="*/ 63732 w 187556"/>
                <a:gd name="connsiteY282" fmla="*/ 138322 h 149037"/>
                <a:gd name="connsiteX283" fmla="*/ 63179 w 187556"/>
                <a:gd name="connsiteY283" fmla="*/ 138922 h 149037"/>
                <a:gd name="connsiteX284" fmla="*/ 86620 w 187556"/>
                <a:gd name="connsiteY284" fmla="*/ 136884 h 149037"/>
                <a:gd name="connsiteX285" fmla="*/ 91354 w 187556"/>
                <a:gd name="connsiteY285" fmla="*/ 139760 h 149037"/>
                <a:gd name="connsiteX286" fmla="*/ 94555 w 187556"/>
                <a:gd name="connsiteY286" fmla="*/ 139589 h 149037"/>
                <a:gd name="connsiteX287" fmla="*/ 96736 w 187556"/>
                <a:gd name="connsiteY287" fmla="*/ 140780 h 149037"/>
                <a:gd name="connsiteX288" fmla="*/ 97260 w 187556"/>
                <a:gd name="connsiteY288" fmla="*/ 142618 h 149037"/>
                <a:gd name="connsiteX289" fmla="*/ 97450 w 187556"/>
                <a:gd name="connsiteY289" fmla="*/ 146695 h 149037"/>
                <a:gd name="connsiteX290" fmla="*/ 95164 w 187556"/>
                <a:gd name="connsiteY290" fmla="*/ 147885 h 149037"/>
                <a:gd name="connsiteX291" fmla="*/ 92640 w 187556"/>
                <a:gd name="connsiteY291" fmla="*/ 147485 h 149037"/>
                <a:gd name="connsiteX292" fmla="*/ 89202 w 187556"/>
                <a:gd name="connsiteY292" fmla="*/ 149038 h 149037"/>
                <a:gd name="connsiteX293" fmla="*/ 77924 w 187556"/>
                <a:gd name="connsiteY293" fmla="*/ 142380 h 149037"/>
                <a:gd name="connsiteX294" fmla="*/ 78086 w 187556"/>
                <a:gd name="connsiteY294" fmla="*/ 136808 h 149037"/>
                <a:gd name="connsiteX295" fmla="*/ 78534 w 187556"/>
                <a:gd name="connsiteY295" fmla="*/ 134617 h 149037"/>
                <a:gd name="connsiteX296" fmla="*/ 83877 w 187556"/>
                <a:gd name="connsiteY296" fmla="*/ 134093 h 149037"/>
                <a:gd name="connsiteX297" fmla="*/ 86620 w 187556"/>
                <a:gd name="connsiteY297" fmla="*/ 136884 h 149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</a:cxnLst>
              <a:rect l="l" t="t" r="r" b="b"/>
              <a:pathLst>
                <a:path w="187556" h="149037">
                  <a:moveTo>
                    <a:pt x="43272" y="139951"/>
                  </a:moveTo>
                  <a:lnTo>
                    <a:pt x="42872" y="139951"/>
                  </a:lnTo>
                  <a:lnTo>
                    <a:pt x="41167" y="139541"/>
                  </a:lnTo>
                  <a:lnTo>
                    <a:pt x="39957" y="138560"/>
                  </a:lnTo>
                  <a:lnTo>
                    <a:pt x="36824" y="139256"/>
                  </a:lnTo>
                  <a:lnTo>
                    <a:pt x="32633" y="140837"/>
                  </a:lnTo>
                  <a:lnTo>
                    <a:pt x="30309" y="140761"/>
                  </a:lnTo>
                  <a:lnTo>
                    <a:pt x="28461" y="139065"/>
                  </a:lnTo>
                  <a:lnTo>
                    <a:pt x="20898" y="136646"/>
                  </a:lnTo>
                  <a:lnTo>
                    <a:pt x="19679" y="136446"/>
                  </a:lnTo>
                  <a:lnTo>
                    <a:pt x="14687" y="136350"/>
                  </a:lnTo>
                  <a:lnTo>
                    <a:pt x="14678" y="136350"/>
                  </a:lnTo>
                  <a:lnTo>
                    <a:pt x="14440" y="132522"/>
                  </a:lnTo>
                  <a:lnTo>
                    <a:pt x="13821" y="129750"/>
                  </a:lnTo>
                  <a:lnTo>
                    <a:pt x="12068" y="125616"/>
                  </a:lnTo>
                  <a:lnTo>
                    <a:pt x="14659" y="124616"/>
                  </a:lnTo>
                  <a:lnTo>
                    <a:pt x="14154" y="116519"/>
                  </a:lnTo>
                  <a:lnTo>
                    <a:pt x="13211" y="112319"/>
                  </a:lnTo>
                  <a:lnTo>
                    <a:pt x="5982" y="107985"/>
                  </a:lnTo>
                  <a:lnTo>
                    <a:pt x="286" y="103765"/>
                  </a:lnTo>
                  <a:lnTo>
                    <a:pt x="1600" y="89478"/>
                  </a:lnTo>
                  <a:lnTo>
                    <a:pt x="2162" y="85611"/>
                  </a:lnTo>
                  <a:lnTo>
                    <a:pt x="0" y="78086"/>
                  </a:lnTo>
                  <a:lnTo>
                    <a:pt x="229" y="69380"/>
                  </a:lnTo>
                  <a:lnTo>
                    <a:pt x="1143" y="55588"/>
                  </a:lnTo>
                  <a:lnTo>
                    <a:pt x="2953" y="55045"/>
                  </a:lnTo>
                  <a:lnTo>
                    <a:pt x="4286" y="55112"/>
                  </a:lnTo>
                  <a:lnTo>
                    <a:pt x="9411" y="57598"/>
                  </a:lnTo>
                  <a:lnTo>
                    <a:pt x="11544" y="57846"/>
                  </a:lnTo>
                  <a:lnTo>
                    <a:pt x="13011" y="60065"/>
                  </a:lnTo>
                  <a:lnTo>
                    <a:pt x="14726" y="60979"/>
                  </a:lnTo>
                  <a:lnTo>
                    <a:pt x="15964" y="58627"/>
                  </a:lnTo>
                  <a:lnTo>
                    <a:pt x="16450" y="54598"/>
                  </a:lnTo>
                  <a:lnTo>
                    <a:pt x="20507" y="49368"/>
                  </a:lnTo>
                  <a:lnTo>
                    <a:pt x="23355" y="47435"/>
                  </a:lnTo>
                  <a:lnTo>
                    <a:pt x="25298" y="46511"/>
                  </a:lnTo>
                  <a:lnTo>
                    <a:pt x="27261" y="48625"/>
                  </a:lnTo>
                  <a:lnTo>
                    <a:pt x="28756" y="50997"/>
                  </a:lnTo>
                  <a:lnTo>
                    <a:pt x="29108" y="45806"/>
                  </a:lnTo>
                  <a:lnTo>
                    <a:pt x="30318" y="35871"/>
                  </a:lnTo>
                  <a:lnTo>
                    <a:pt x="26461" y="34309"/>
                  </a:lnTo>
                  <a:lnTo>
                    <a:pt x="23308" y="35662"/>
                  </a:lnTo>
                  <a:lnTo>
                    <a:pt x="20193" y="41967"/>
                  </a:lnTo>
                  <a:lnTo>
                    <a:pt x="17412" y="49864"/>
                  </a:lnTo>
                  <a:lnTo>
                    <a:pt x="12897" y="50587"/>
                  </a:lnTo>
                  <a:lnTo>
                    <a:pt x="9297" y="52816"/>
                  </a:lnTo>
                  <a:lnTo>
                    <a:pt x="6048" y="50502"/>
                  </a:lnTo>
                  <a:lnTo>
                    <a:pt x="3953" y="48463"/>
                  </a:lnTo>
                  <a:lnTo>
                    <a:pt x="3905" y="45482"/>
                  </a:lnTo>
                  <a:lnTo>
                    <a:pt x="4381" y="43682"/>
                  </a:lnTo>
                  <a:lnTo>
                    <a:pt x="8201" y="37224"/>
                  </a:lnTo>
                  <a:lnTo>
                    <a:pt x="13326" y="31004"/>
                  </a:lnTo>
                  <a:lnTo>
                    <a:pt x="18488" y="31061"/>
                  </a:lnTo>
                  <a:lnTo>
                    <a:pt x="22250" y="29070"/>
                  </a:lnTo>
                  <a:lnTo>
                    <a:pt x="24498" y="28832"/>
                  </a:lnTo>
                  <a:lnTo>
                    <a:pt x="31518" y="29261"/>
                  </a:lnTo>
                  <a:lnTo>
                    <a:pt x="35119" y="27889"/>
                  </a:lnTo>
                  <a:lnTo>
                    <a:pt x="38348" y="25032"/>
                  </a:lnTo>
                  <a:lnTo>
                    <a:pt x="45320" y="12868"/>
                  </a:lnTo>
                  <a:lnTo>
                    <a:pt x="49254" y="7772"/>
                  </a:lnTo>
                  <a:lnTo>
                    <a:pt x="57188" y="5982"/>
                  </a:lnTo>
                  <a:lnTo>
                    <a:pt x="64523" y="76"/>
                  </a:lnTo>
                  <a:lnTo>
                    <a:pt x="66570" y="0"/>
                  </a:lnTo>
                  <a:lnTo>
                    <a:pt x="63122" y="4401"/>
                  </a:lnTo>
                  <a:lnTo>
                    <a:pt x="62570" y="6106"/>
                  </a:lnTo>
                  <a:lnTo>
                    <a:pt x="62151" y="8706"/>
                  </a:lnTo>
                  <a:lnTo>
                    <a:pt x="64618" y="14345"/>
                  </a:lnTo>
                  <a:lnTo>
                    <a:pt x="64094" y="17774"/>
                  </a:lnTo>
                  <a:lnTo>
                    <a:pt x="64275" y="24499"/>
                  </a:lnTo>
                  <a:lnTo>
                    <a:pt x="61941" y="27994"/>
                  </a:lnTo>
                  <a:lnTo>
                    <a:pt x="59312" y="35405"/>
                  </a:lnTo>
                  <a:lnTo>
                    <a:pt x="58179" y="36491"/>
                  </a:lnTo>
                  <a:lnTo>
                    <a:pt x="57931" y="45101"/>
                  </a:lnTo>
                  <a:lnTo>
                    <a:pt x="58188" y="47149"/>
                  </a:lnTo>
                  <a:lnTo>
                    <a:pt x="57807" y="54940"/>
                  </a:lnTo>
                  <a:lnTo>
                    <a:pt x="60503" y="58122"/>
                  </a:lnTo>
                  <a:lnTo>
                    <a:pt x="63351" y="59779"/>
                  </a:lnTo>
                  <a:lnTo>
                    <a:pt x="72857" y="59722"/>
                  </a:lnTo>
                  <a:lnTo>
                    <a:pt x="73847" y="61113"/>
                  </a:lnTo>
                  <a:lnTo>
                    <a:pt x="75009" y="63503"/>
                  </a:lnTo>
                  <a:lnTo>
                    <a:pt x="74162" y="67561"/>
                  </a:lnTo>
                  <a:lnTo>
                    <a:pt x="73143" y="70618"/>
                  </a:lnTo>
                  <a:lnTo>
                    <a:pt x="70390" y="73190"/>
                  </a:lnTo>
                  <a:lnTo>
                    <a:pt x="66856" y="75105"/>
                  </a:lnTo>
                  <a:lnTo>
                    <a:pt x="64656" y="75190"/>
                  </a:lnTo>
                  <a:lnTo>
                    <a:pt x="61665" y="71552"/>
                  </a:lnTo>
                  <a:lnTo>
                    <a:pt x="60246" y="72733"/>
                  </a:lnTo>
                  <a:lnTo>
                    <a:pt x="58779" y="74591"/>
                  </a:lnTo>
                  <a:lnTo>
                    <a:pt x="56312" y="84515"/>
                  </a:lnTo>
                  <a:lnTo>
                    <a:pt x="55140" y="91192"/>
                  </a:lnTo>
                  <a:lnTo>
                    <a:pt x="54512" y="91735"/>
                  </a:lnTo>
                  <a:lnTo>
                    <a:pt x="53121" y="90745"/>
                  </a:lnTo>
                  <a:lnTo>
                    <a:pt x="50721" y="90669"/>
                  </a:lnTo>
                  <a:lnTo>
                    <a:pt x="47682" y="92250"/>
                  </a:lnTo>
                  <a:lnTo>
                    <a:pt x="49244" y="93659"/>
                  </a:lnTo>
                  <a:lnTo>
                    <a:pt x="50892" y="96108"/>
                  </a:lnTo>
                  <a:lnTo>
                    <a:pt x="50235" y="97336"/>
                  </a:lnTo>
                  <a:lnTo>
                    <a:pt x="47558" y="98660"/>
                  </a:lnTo>
                  <a:lnTo>
                    <a:pt x="45186" y="101337"/>
                  </a:lnTo>
                  <a:lnTo>
                    <a:pt x="44196" y="103356"/>
                  </a:lnTo>
                  <a:lnTo>
                    <a:pt x="41215" y="105747"/>
                  </a:lnTo>
                  <a:lnTo>
                    <a:pt x="39329" y="108776"/>
                  </a:lnTo>
                  <a:lnTo>
                    <a:pt x="40253" y="112519"/>
                  </a:lnTo>
                  <a:lnTo>
                    <a:pt x="40643" y="115805"/>
                  </a:lnTo>
                  <a:lnTo>
                    <a:pt x="41462" y="119425"/>
                  </a:lnTo>
                  <a:lnTo>
                    <a:pt x="40719" y="122311"/>
                  </a:lnTo>
                  <a:lnTo>
                    <a:pt x="37014" y="126445"/>
                  </a:lnTo>
                  <a:lnTo>
                    <a:pt x="35652" y="130016"/>
                  </a:lnTo>
                  <a:lnTo>
                    <a:pt x="38824" y="129969"/>
                  </a:lnTo>
                  <a:lnTo>
                    <a:pt x="40777" y="130788"/>
                  </a:lnTo>
                  <a:lnTo>
                    <a:pt x="41920" y="131845"/>
                  </a:lnTo>
                  <a:lnTo>
                    <a:pt x="43101" y="133341"/>
                  </a:lnTo>
                  <a:lnTo>
                    <a:pt x="42377" y="135189"/>
                  </a:lnTo>
                  <a:lnTo>
                    <a:pt x="43272" y="139951"/>
                  </a:lnTo>
                  <a:close/>
                  <a:moveTo>
                    <a:pt x="78353" y="24003"/>
                  </a:moveTo>
                  <a:lnTo>
                    <a:pt x="77267" y="25156"/>
                  </a:lnTo>
                  <a:lnTo>
                    <a:pt x="73590" y="23527"/>
                  </a:lnTo>
                  <a:lnTo>
                    <a:pt x="75209" y="21241"/>
                  </a:lnTo>
                  <a:lnTo>
                    <a:pt x="79248" y="20184"/>
                  </a:lnTo>
                  <a:lnTo>
                    <a:pt x="81620" y="20536"/>
                  </a:lnTo>
                  <a:lnTo>
                    <a:pt x="79010" y="22803"/>
                  </a:lnTo>
                  <a:lnTo>
                    <a:pt x="78353" y="24003"/>
                  </a:lnTo>
                  <a:close/>
                  <a:moveTo>
                    <a:pt x="118901" y="94983"/>
                  </a:moveTo>
                  <a:lnTo>
                    <a:pt x="118967" y="99727"/>
                  </a:lnTo>
                  <a:lnTo>
                    <a:pt x="118272" y="101108"/>
                  </a:lnTo>
                  <a:lnTo>
                    <a:pt x="117253" y="102023"/>
                  </a:lnTo>
                  <a:lnTo>
                    <a:pt x="114586" y="102984"/>
                  </a:lnTo>
                  <a:lnTo>
                    <a:pt x="112271" y="104327"/>
                  </a:lnTo>
                  <a:lnTo>
                    <a:pt x="110204" y="106680"/>
                  </a:lnTo>
                  <a:lnTo>
                    <a:pt x="109442" y="110042"/>
                  </a:lnTo>
                  <a:lnTo>
                    <a:pt x="111052" y="112500"/>
                  </a:lnTo>
                  <a:lnTo>
                    <a:pt x="113986" y="113843"/>
                  </a:lnTo>
                  <a:lnTo>
                    <a:pt x="114738" y="118510"/>
                  </a:lnTo>
                  <a:lnTo>
                    <a:pt x="112319" y="120806"/>
                  </a:lnTo>
                  <a:lnTo>
                    <a:pt x="106109" y="123092"/>
                  </a:lnTo>
                  <a:lnTo>
                    <a:pt x="105461" y="128607"/>
                  </a:lnTo>
                  <a:lnTo>
                    <a:pt x="105661" y="132940"/>
                  </a:lnTo>
                  <a:lnTo>
                    <a:pt x="105546" y="136084"/>
                  </a:lnTo>
                  <a:lnTo>
                    <a:pt x="105051" y="140427"/>
                  </a:lnTo>
                  <a:lnTo>
                    <a:pt x="100032" y="142399"/>
                  </a:lnTo>
                  <a:lnTo>
                    <a:pt x="96784" y="135789"/>
                  </a:lnTo>
                  <a:lnTo>
                    <a:pt x="96755" y="133131"/>
                  </a:lnTo>
                  <a:lnTo>
                    <a:pt x="95783" y="130026"/>
                  </a:lnTo>
                  <a:lnTo>
                    <a:pt x="95603" y="127378"/>
                  </a:lnTo>
                  <a:lnTo>
                    <a:pt x="94450" y="123139"/>
                  </a:lnTo>
                  <a:lnTo>
                    <a:pt x="89697" y="121987"/>
                  </a:lnTo>
                  <a:lnTo>
                    <a:pt x="87849" y="121834"/>
                  </a:lnTo>
                  <a:lnTo>
                    <a:pt x="85268" y="122625"/>
                  </a:lnTo>
                  <a:lnTo>
                    <a:pt x="84630" y="122320"/>
                  </a:lnTo>
                  <a:lnTo>
                    <a:pt x="81534" y="116510"/>
                  </a:lnTo>
                  <a:lnTo>
                    <a:pt x="82048" y="110071"/>
                  </a:lnTo>
                  <a:lnTo>
                    <a:pt x="80401" y="106814"/>
                  </a:lnTo>
                  <a:lnTo>
                    <a:pt x="80172" y="105337"/>
                  </a:lnTo>
                  <a:lnTo>
                    <a:pt x="80210" y="103699"/>
                  </a:lnTo>
                  <a:lnTo>
                    <a:pt x="78848" y="102346"/>
                  </a:lnTo>
                  <a:lnTo>
                    <a:pt x="77210" y="101632"/>
                  </a:lnTo>
                  <a:lnTo>
                    <a:pt x="76410" y="97984"/>
                  </a:lnTo>
                  <a:lnTo>
                    <a:pt x="78296" y="97098"/>
                  </a:lnTo>
                  <a:lnTo>
                    <a:pt x="82972" y="97527"/>
                  </a:lnTo>
                  <a:lnTo>
                    <a:pt x="84344" y="97279"/>
                  </a:lnTo>
                  <a:lnTo>
                    <a:pt x="85592" y="96517"/>
                  </a:lnTo>
                  <a:lnTo>
                    <a:pt x="89373" y="90497"/>
                  </a:lnTo>
                  <a:lnTo>
                    <a:pt x="89259" y="89164"/>
                  </a:lnTo>
                  <a:lnTo>
                    <a:pt x="89659" y="87440"/>
                  </a:lnTo>
                  <a:lnTo>
                    <a:pt x="93745" y="86801"/>
                  </a:lnTo>
                  <a:lnTo>
                    <a:pt x="95564" y="89135"/>
                  </a:lnTo>
                  <a:lnTo>
                    <a:pt x="95193" y="92869"/>
                  </a:lnTo>
                  <a:lnTo>
                    <a:pt x="95422" y="97631"/>
                  </a:lnTo>
                  <a:lnTo>
                    <a:pt x="97898" y="98927"/>
                  </a:lnTo>
                  <a:lnTo>
                    <a:pt x="98860" y="99117"/>
                  </a:lnTo>
                  <a:lnTo>
                    <a:pt x="99898" y="95603"/>
                  </a:lnTo>
                  <a:lnTo>
                    <a:pt x="100622" y="93888"/>
                  </a:lnTo>
                  <a:lnTo>
                    <a:pt x="101603" y="92926"/>
                  </a:lnTo>
                  <a:lnTo>
                    <a:pt x="101937" y="89707"/>
                  </a:lnTo>
                  <a:lnTo>
                    <a:pt x="101355" y="87735"/>
                  </a:lnTo>
                  <a:lnTo>
                    <a:pt x="100117" y="86258"/>
                  </a:lnTo>
                  <a:lnTo>
                    <a:pt x="104747" y="82258"/>
                  </a:lnTo>
                  <a:lnTo>
                    <a:pt x="109538" y="79077"/>
                  </a:lnTo>
                  <a:lnTo>
                    <a:pt x="112328" y="78905"/>
                  </a:lnTo>
                  <a:lnTo>
                    <a:pt x="115129" y="79686"/>
                  </a:lnTo>
                  <a:lnTo>
                    <a:pt x="117738" y="80753"/>
                  </a:lnTo>
                  <a:lnTo>
                    <a:pt x="119148" y="81677"/>
                  </a:lnTo>
                  <a:lnTo>
                    <a:pt x="119939" y="83163"/>
                  </a:lnTo>
                  <a:lnTo>
                    <a:pt x="118186" y="86697"/>
                  </a:lnTo>
                  <a:lnTo>
                    <a:pt x="117700" y="88621"/>
                  </a:lnTo>
                  <a:lnTo>
                    <a:pt x="118901" y="94983"/>
                  </a:lnTo>
                  <a:close/>
                  <a:moveTo>
                    <a:pt x="66465" y="95079"/>
                  </a:moveTo>
                  <a:lnTo>
                    <a:pt x="66008" y="95926"/>
                  </a:lnTo>
                  <a:lnTo>
                    <a:pt x="64313" y="95041"/>
                  </a:lnTo>
                  <a:lnTo>
                    <a:pt x="64132" y="91973"/>
                  </a:lnTo>
                  <a:lnTo>
                    <a:pt x="64770" y="89211"/>
                  </a:lnTo>
                  <a:lnTo>
                    <a:pt x="64018" y="86735"/>
                  </a:lnTo>
                  <a:lnTo>
                    <a:pt x="64846" y="85144"/>
                  </a:lnTo>
                  <a:lnTo>
                    <a:pt x="67228" y="88849"/>
                  </a:lnTo>
                  <a:lnTo>
                    <a:pt x="67904" y="90592"/>
                  </a:lnTo>
                  <a:lnTo>
                    <a:pt x="66980" y="92669"/>
                  </a:lnTo>
                  <a:lnTo>
                    <a:pt x="66465" y="95079"/>
                  </a:lnTo>
                  <a:close/>
                  <a:moveTo>
                    <a:pt x="121491" y="103899"/>
                  </a:moveTo>
                  <a:lnTo>
                    <a:pt x="118977" y="105909"/>
                  </a:lnTo>
                  <a:lnTo>
                    <a:pt x="118424" y="105804"/>
                  </a:lnTo>
                  <a:lnTo>
                    <a:pt x="117605" y="103051"/>
                  </a:lnTo>
                  <a:lnTo>
                    <a:pt x="118939" y="101375"/>
                  </a:lnTo>
                  <a:lnTo>
                    <a:pt x="119720" y="99956"/>
                  </a:lnTo>
                  <a:lnTo>
                    <a:pt x="120282" y="99994"/>
                  </a:lnTo>
                  <a:lnTo>
                    <a:pt x="121044" y="101537"/>
                  </a:lnTo>
                  <a:lnTo>
                    <a:pt x="121491" y="103899"/>
                  </a:lnTo>
                  <a:close/>
                  <a:moveTo>
                    <a:pt x="67475" y="103280"/>
                  </a:moveTo>
                  <a:lnTo>
                    <a:pt x="68589" y="105737"/>
                  </a:lnTo>
                  <a:lnTo>
                    <a:pt x="69961" y="110976"/>
                  </a:lnTo>
                  <a:lnTo>
                    <a:pt x="72133" y="116824"/>
                  </a:lnTo>
                  <a:lnTo>
                    <a:pt x="71228" y="119263"/>
                  </a:lnTo>
                  <a:lnTo>
                    <a:pt x="71847" y="122387"/>
                  </a:lnTo>
                  <a:lnTo>
                    <a:pt x="71228" y="125635"/>
                  </a:lnTo>
                  <a:lnTo>
                    <a:pt x="66913" y="129407"/>
                  </a:lnTo>
                  <a:lnTo>
                    <a:pt x="62074" y="129578"/>
                  </a:lnTo>
                  <a:lnTo>
                    <a:pt x="57045" y="127759"/>
                  </a:lnTo>
                  <a:lnTo>
                    <a:pt x="49940" y="124244"/>
                  </a:lnTo>
                  <a:lnTo>
                    <a:pt x="49368" y="122272"/>
                  </a:lnTo>
                  <a:lnTo>
                    <a:pt x="48378" y="121177"/>
                  </a:lnTo>
                  <a:lnTo>
                    <a:pt x="46472" y="115167"/>
                  </a:lnTo>
                  <a:lnTo>
                    <a:pt x="46511" y="107728"/>
                  </a:lnTo>
                  <a:lnTo>
                    <a:pt x="50082" y="106785"/>
                  </a:lnTo>
                  <a:lnTo>
                    <a:pt x="57883" y="103222"/>
                  </a:lnTo>
                  <a:lnTo>
                    <a:pt x="59684" y="103785"/>
                  </a:lnTo>
                  <a:lnTo>
                    <a:pt x="61569" y="105604"/>
                  </a:lnTo>
                  <a:lnTo>
                    <a:pt x="63741" y="105709"/>
                  </a:lnTo>
                  <a:lnTo>
                    <a:pt x="66885" y="103127"/>
                  </a:lnTo>
                  <a:lnTo>
                    <a:pt x="67475" y="103280"/>
                  </a:lnTo>
                  <a:close/>
                  <a:moveTo>
                    <a:pt x="186233" y="130836"/>
                  </a:moveTo>
                  <a:lnTo>
                    <a:pt x="185242" y="131626"/>
                  </a:lnTo>
                  <a:lnTo>
                    <a:pt x="180822" y="130321"/>
                  </a:lnTo>
                  <a:lnTo>
                    <a:pt x="175441" y="127092"/>
                  </a:lnTo>
                  <a:lnTo>
                    <a:pt x="176231" y="120748"/>
                  </a:lnTo>
                  <a:lnTo>
                    <a:pt x="177613" y="117996"/>
                  </a:lnTo>
                  <a:lnTo>
                    <a:pt x="187433" y="125111"/>
                  </a:lnTo>
                  <a:lnTo>
                    <a:pt x="187557" y="127788"/>
                  </a:lnTo>
                  <a:lnTo>
                    <a:pt x="186233" y="130836"/>
                  </a:lnTo>
                  <a:close/>
                  <a:moveTo>
                    <a:pt x="69856" y="143408"/>
                  </a:moveTo>
                  <a:lnTo>
                    <a:pt x="68666" y="143666"/>
                  </a:lnTo>
                  <a:lnTo>
                    <a:pt x="67056" y="139922"/>
                  </a:lnTo>
                  <a:lnTo>
                    <a:pt x="66847" y="138741"/>
                  </a:lnTo>
                  <a:lnTo>
                    <a:pt x="68742" y="136341"/>
                  </a:lnTo>
                  <a:lnTo>
                    <a:pt x="69961" y="133617"/>
                  </a:lnTo>
                  <a:lnTo>
                    <a:pt x="73133" y="129426"/>
                  </a:lnTo>
                  <a:lnTo>
                    <a:pt x="74952" y="124501"/>
                  </a:lnTo>
                  <a:lnTo>
                    <a:pt x="75648" y="124578"/>
                  </a:lnTo>
                  <a:lnTo>
                    <a:pt x="74838" y="128969"/>
                  </a:lnTo>
                  <a:lnTo>
                    <a:pt x="70676" y="141151"/>
                  </a:lnTo>
                  <a:lnTo>
                    <a:pt x="69856" y="143408"/>
                  </a:lnTo>
                  <a:close/>
                  <a:moveTo>
                    <a:pt x="51864" y="137131"/>
                  </a:moveTo>
                  <a:lnTo>
                    <a:pt x="49082" y="137770"/>
                  </a:lnTo>
                  <a:lnTo>
                    <a:pt x="47663" y="136646"/>
                  </a:lnTo>
                  <a:lnTo>
                    <a:pt x="45053" y="136217"/>
                  </a:lnTo>
                  <a:lnTo>
                    <a:pt x="44120" y="129064"/>
                  </a:lnTo>
                  <a:lnTo>
                    <a:pt x="44387" y="128635"/>
                  </a:lnTo>
                  <a:lnTo>
                    <a:pt x="45701" y="129140"/>
                  </a:lnTo>
                  <a:lnTo>
                    <a:pt x="50206" y="132483"/>
                  </a:lnTo>
                  <a:lnTo>
                    <a:pt x="51778" y="136132"/>
                  </a:lnTo>
                  <a:lnTo>
                    <a:pt x="51864" y="137131"/>
                  </a:lnTo>
                  <a:close/>
                  <a:moveTo>
                    <a:pt x="118377" y="133445"/>
                  </a:moveTo>
                  <a:lnTo>
                    <a:pt x="117358" y="134141"/>
                  </a:lnTo>
                  <a:lnTo>
                    <a:pt x="113252" y="133636"/>
                  </a:lnTo>
                  <a:lnTo>
                    <a:pt x="108623" y="136855"/>
                  </a:lnTo>
                  <a:lnTo>
                    <a:pt x="106871" y="135836"/>
                  </a:lnTo>
                  <a:lnTo>
                    <a:pt x="107537" y="133779"/>
                  </a:lnTo>
                  <a:lnTo>
                    <a:pt x="108023" y="133026"/>
                  </a:lnTo>
                  <a:lnTo>
                    <a:pt x="109576" y="132150"/>
                  </a:lnTo>
                  <a:lnTo>
                    <a:pt x="110614" y="130874"/>
                  </a:lnTo>
                  <a:lnTo>
                    <a:pt x="111023" y="128874"/>
                  </a:lnTo>
                  <a:lnTo>
                    <a:pt x="111985" y="129950"/>
                  </a:lnTo>
                  <a:lnTo>
                    <a:pt x="114853" y="130397"/>
                  </a:lnTo>
                  <a:lnTo>
                    <a:pt x="116253" y="131036"/>
                  </a:lnTo>
                  <a:lnTo>
                    <a:pt x="117424" y="131979"/>
                  </a:lnTo>
                  <a:lnTo>
                    <a:pt x="118377" y="133445"/>
                  </a:lnTo>
                  <a:close/>
                  <a:moveTo>
                    <a:pt x="63179" y="138922"/>
                  </a:moveTo>
                  <a:lnTo>
                    <a:pt x="61389" y="139408"/>
                  </a:lnTo>
                  <a:lnTo>
                    <a:pt x="59341" y="138399"/>
                  </a:lnTo>
                  <a:lnTo>
                    <a:pt x="55997" y="134598"/>
                  </a:lnTo>
                  <a:lnTo>
                    <a:pt x="55578" y="133588"/>
                  </a:lnTo>
                  <a:lnTo>
                    <a:pt x="57331" y="134226"/>
                  </a:lnTo>
                  <a:lnTo>
                    <a:pt x="59512" y="136217"/>
                  </a:lnTo>
                  <a:lnTo>
                    <a:pt x="61293" y="136646"/>
                  </a:lnTo>
                  <a:lnTo>
                    <a:pt x="63732" y="138322"/>
                  </a:lnTo>
                  <a:lnTo>
                    <a:pt x="63179" y="138922"/>
                  </a:lnTo>
                  <a:close/>
                  <a:moveTo>
                    <a:pt x="86620" y="136884"/>
                  </a:moveTo>
                  <a:lnTo>
                    <a:pt x="91354" y="139760"/>
                  </a:lnTo>
                  <a:lnTo>
                    <a:pt x="94555" y="139589"/>
                  </a:lnTo>
                  <a:lnTo>
                    <a:pt x="96736" y="140780"/>
                  </a:lnTo>
                  <a:lnTo>
                    <a:pt x="97260" y="142618"/>
                  </a:lnTo>
                  <a:lnTo>
                    <a:pt x="97450" y="146695"/>
                  </a:lnTo>
                  <a:lnTo>
                    <a:pt x="95164" y="147885"/>
                  </a:lnTo>
                  <a:lnTo>
                    <a:pt x="92640" y="147485"/>
                  </a:lnTo>
                  <a:lnTo>
                    <a:pt x="89202" y="149038"/>
                  </a:lnTo>
                  <a:lnTo>
                    <a:pt x="77924" y="142380"/>
                  </a:lnTo>
                  <a:lnTo>
                    <a:pt x="78086" y="136808"/>
                  </a:lnTo>
                  <a:lnTo>
                    <a:pt x="78534" y="134617"/>
                  </a:lnTo>
                  <a:lnTo>
                    <a:pt x="83877" y="134093"/>
                  </a:lnTo>
                  <a:lnTo>
                    <a:pt x="86620" y="136884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0" name="Forme libre : forme 16">
              <a:extLst>
                <a:ext uri="{FF2B5EF4-FFF2-40B4-BE49-F238E27FC236}">
                  <a16:creationId xmlns:a16="http://schemas.microsoft.com/office/drawing/2014/main" id="{313D6C48-1357-34C4-4646-F3609BADAD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1008955" y="2609612"/>
              <a:ext cx="582849" cy="374811"/>
            </a:xfrm>
            <a:custGeom>
              <a:avLst/>
              <a:gdLst>
                <a:gd name="connsiteX0" fmla="*/ 164611 w 168306"/>
                <a:gd name="connsiteY0" fmla="*/ 8153 h 108232"/>
                <a:gd name="connsiteX1" fmla="*/ 166031 w 168306"/>
                <a:gd name="connsiteY1" fmla="*/ 9782 h 108232"/>
                <a:gd name="connsiteX2" fmla="*/ 167821 w 168306"/>
                <a:gd name="connsiteY2" fmla="*/ 12411 h 108232"/>
                <a:gd name="connsiteX3" fmla="*/ 168307 w 168306"/>
                <a:gd name="connsiteY3" fmla="*/ 13916 h 108232"/>
                <a:gd name="connsiteX4" fmla="*/ 167697 w 168306"/>
                <a:gd name="connsiteY4" fmla="*/ 14802 h 108232"/>
                <a:gd name="connsiteX5" fmla="*/ 165907 w 168306"/>
                <a:gd name="connsiteY5" fmla="*/ 15554 h 108232"/>
                <a:gd name="connsiteX6" fmla="*/ 165497 w 168306"/>
                <a:gd name="connsiteY6" fmla="*/ 16364 h 108232"/>
                <a:gd name="connsiteX7" fmla="*/ 164706 w 168306"/>
                <a:gd name="connsiteY7" fmla="*/ 17726 h 108232"/>
                <a:gd name="connsiteX8" fmla="*/ 162611 w 168306"/>
                <a:gd name="connsiteY8" fmla="*/ 17974 h 108232"/>
                <a:gd name="connsiteX9" fmla="*/ 161534 w 168306"/>
                <a:gd name="connsiteY9" fmla="*/ 18983 h 108232"/>
                <a:gd name="connsiteX10" fmla="*/ 160248 w 168306"/>
                <a:gd name="connsiteY10" fmla="*/ 23413 h 108232"/>
                <a:gd name="connsiteX11" fmla="*/ 157791 w 168306"/>
                <a:gd name="connsiteY11" fmla="*/ 30728 h 108232"/>
                <a:gd name="connsiteX12" fmla="*/ 154162 w 168306"/>
                <a:gd name="connsiteY12" fmla="*/ 36271 h 108232"/>
                <a:gd name="connsiteX13" fmla="*/ 151257 w 168306"/>
                <a:gd name="connsiteY13" fmla="*/ 39300 h 108232"/>
                <a:gd name="connsiteX14" fmla="*/ 149962 w 168306"/>
                <a:gd name="connsiteY14" fmla="*/ 41624 h 108232"/>
                <a:gd name="connsiteX15" fmla="*/ 149152 w 168306"/>
                <a:gd name="connsiteY15" fmla="*/ 44405 h 108232"/>
                <a:gd name="connsiteX16" fmla="*/ 148961 w 168306"/>
                <a:gd name="connsiteY16" fmla="*/ 47196 h 108232"/>
                <a:gd name="connsiteX17" fmla="*/ 151743 w 168306"/>
                <a:gd name="connsiteY17" fmla="*/ 62436 h 108232"/>
                <a:gd name="connsiteX18" fmla="*/ 151714 w 168306"/>
                <a:gd name="connsiteY18" fmla="*/ 65179 h 108232"/>
                <a:gd name="connsiteX19" fmla="*/ 151057 w 168306"/>
                <a:gd name="connsiteY19" fmla="*/ 67989 h 108232"/>
                <a:gd name="connsiteX20" fmla="*/ 150581 w 168306"/>
                <a:gd name="connsiteY20" fmla="*/ 70838 h 108232"/>
                <a:gd name="connsiteX21" fmla="*/ 150971 w 168306"/>
                <a:gd name="connsiteY21" fmla="*/ 73305 h 108232"/>
                <a:gd name="connsiteX22" fmla="*/ 152810 w 168306"/>
                <a:gd name="connsiteY22" fmla="*/ 77514 h 108232"/>
                <a:gd name="connsiteX23" fmla="*/ 154762 w 168306"/>
                <a:gd name="connsiteY23" fmla="*/ 83782 h 108232"/>
                <a:gd name="connsiteX24" fmla="*/ 155553 w 168306"/>
                <a:gd name="connsiteY24" fmla="*/ 87773 h 108232"/>
                <a:gd name="connsiteX25" fmla="*/ 156848 w 168306"/>
                <a:gd name="connsiteY25" fmla="*/ 89230 h 108232"/>
                <a:gd name="connsiteX26" fmla="*/ 158096 w 168306"/>
                <a:gd name="connsiteY26" fmla="*/ 90306 h 108232"/>
                <a:gd name="connsiteX27" fmla="*/ 158353 w 168306"/>
                <a:gd name="connsiteY27" fmla="*/ 90983 h 108232"/>
                <a:gd name="connsiteX28" fmla="*/ 158315 w 168306"/>
                <a:gd name="connsiteY28" fmla="*/ 91678 h 108232"/>
                <a:gd name="connsiteX29" fmla="*/ 157667 w 168306"/>
                <a:gd name="connsiteY29" fmla="*/ 92469 h 108232"/>
                <a:gd name="connsiteX30" fmla="*/ 152038 w 168306"/>
                <a:gd name="connsiteY30" fmla="*/ 94555 h 108232"/>
                <a:gd name="connsiteX31" fmla="*/ 151305 w 168306"/>
                <a:gd name="connsiteY31" fmla="*/ 96317 h 108232"/>
                <a:gd name="connsiteX32" fmla="*/ 150695 w 168306"/>
                <a:gd name="connsiteY32" fmla="*/ 98288 h 108232"/>
                <a:gd name="connsiteX33" fmla="*/ 148237 w 168306"/>
                <a:gd name="connsiteY33" fmla="*/ 101194 h 108232"/>
                <a:gd name="connsiteX34" fmla="*/ 147485 w 168306"/>
                <a:gd name="connsiteY34" fmla="*/ 103899 h 108232"/>
                <a:gd name="connsiteX35" fmla="*/ 147018 w 168306"/>
                <a:gd name="connsiteY35" fmla="*/ 106994 h 108232"/>
                <a:gd name="connsiteX36" fmla="*/ 146961 w 168306"/>
                <a:gd name="connsiteY36" fmla="*/ 108099 h 108232"/>
                <a:gd name="connsiteX37" fmla="*/ 146285 w 168306"/>
                <a:gd name="connsiteY37" fmla="*/ 108233 h 108232"/>
                <a:gd name="connsiteX38" fmla="*/ 142551 w 168306"/>
                <a:gd name="connsiteY38" fmla="*/ 107594 h 108232"/>
                <a:gd name="connsiteX39" fmla="*/ 138436 w 168306"/>
                <a:gd name="connsiteY39" fmla="*/ 105585 h 108232"/>
                <a:gd name="connsiteX40" fmla="*/ 136636 w 168306"/>
                <a:gd name="connsiteY40" fmla="*/ 104070 h 108232"/>
                <a:gd name="connsiteX41" fmla="*/ 134864 w 168306"/>
                <a:gd name="connsiteY41" fmla="*/ 104089 h 108232"/>
                <a:gd name="connsiteX42" fmla="*/ 132722 w 168306"/>
                <a:gd name="connsiteY42" fmla="*/ 105080 h 108232"/>
                <a:gd name="connsiteX43" fmla="*/ 125044 w 168306"/>
                <a:gd name="connsiteY43" fmla="*/ 107947 h 108232"/>
                <a:gd name="connsiteX44" fmla="*/ 123158 w 168306"/>
                <a:gd name="connsiteY44" fmla="*/ 107280 h 108232"/>
                <a:gd name="connsiteX45" fmla="*/ 118777 w 168306"/>
                <a:gd name="connsiteY45" fmla="*/ 104461 h 108232"/>
                <a:gd name="connsiteX46" fmla="*/ 116557 w 168306"/>
                <a:gd name="connsiteY46" fmla="*/ 101384 h 108232"/>
                <a:gd name="connsiteX47" fmla="*/ 111614 w 168306"/>
                <a:gd name="connsiteY47" fmla="*/ 95250 h 108232"/>
                <a:gd name="connsiteX48" fmla="*/ 111214 w 168306"/>
                <a:gd name="connsiteY48" fmla="*/ 93783 h 108232"/>
                <a:gd name="connsiteX49" fmla="*/ 110567 w 168306"/>
                <a:gd name="connsiteY49" fmla="*/ 92612 h 108232"/>
                <a:gd name="connsiteX50" fmla="*/ 105290 w 168306"/>
                <a:gd name="connsiteY50" fmla="*/ 91087 h 108232"/>
                <a:gd name="connsiteX51" fmla="*/ 103337 w 168306"/>
                <a:gd name="connsiteY51" fmla="*/ 88811 h 108232"/>
                <a:gd name="connsiteX52" fmla="*/ 101718 w 168306"/>
                <a:gd name="connsiteY52" fmla="*/ 88497 h 108232"/>
                <a:gd name="connsiteX53" fmla="*/ 99336 w 168306"/>
                <a:gd name="connsiteY53" fmla="*/ 87354 h 108232"/>
                <a:gd name="connsiteX54" fmla="*/ 93155 w 168306"/>
                <a:gd name="connsiteY54" fmla="*/ 82487 h 108232"/>
                <a:gd name="connsiteX55" fmla="*/ 91621 w 168306"/>
                <a:gd name="connsiteY55" fmla="*/ 82029 h 108232"/>
                <a:gd name="connsiteX56" fmla="*/ 91250 w 168306"/>
                <a:gd name="connsiteY56" fmla="*/ 82848 h 108232"/>
                <a:gd name="connsiteX57" fmla="*/ 91354 w 168306"/>
                <a:gd name="connsiteY57" fmla="*/ 84001 h 108232"/>
                <a:gd name="connsiteX58" fmla="*/ 90964 w 168306"/>
                <a:gd name="connsiteY58" fmla="*/ 84668 h 108232"/>
                <a:gd name="connsiteX59" fmla="*/ 90173 w 168306"/>
                <a:gd name="connsiteY59" fmla="*/ 84649 h 108232"/>
                <a:gd name="connsiteX60" fmla="*/ 88745 w 168306"/>
                <a:gd name="connsiteY60" fmla="*/ 82858 h 108232"/>
                <a:gd name="connsiteX61" fmla="*/ 87030 w 168306"/>
                <a:gd name="connsiteY61" fmla="*/ 81277 h 108232"/>
                <a:gd name="connsiteX62" fmla="*/ 81686 w 168306"/>
                <a:gd name="connsiteY62" fmla="*/ 84249 h 108232"/>
                <a:gd name="connsiteX63" fmla="*/ 79753 w 168306"/>
                <a:gd name="connsiteY63" fmla="*/ 85039 h 108232"/>
                <a:gd name="connsiteX64" fmla="*/ 78057 w 168306"/>
                <a:gd name="connsiteY64" fmla="*/ 85220 h 108232"/>
                <a:gd name="connsiteX65" fmla="*/ 69590 w 168306"/>
                <a:gd name="connsiteY65" fmla="*/ 89106 h 108232"/>
                <a:gd name="connsiteX66" fmla="*/ 67008 w 168306"/>
                <a:gd name="connsiteY66" fmla="*/ 91202 h 108232"/>
                <a:gd name="connsiteX67" fmla="*/ 65941 w 168306"/>
                <a:gd name="connsiteY67" fmla="*/ 90983 h 108232"/>
                <a:gd name="connsiteX68" fmla="*/ 66189 w 168306"/>
                <a:gd name="connsiteY68" fmla="*/ 89011 h 108232"/>
                <a:gd name="connsiteX69" fmla="*/ 69714 w 168306"/>
                <a:gd name="connsiteY69" fmla="*/ 79134 h 108232"/>
                <a:gd name="connsiteX70" fmla="*/ 70342 w 168306"/>
                <a:gd name="connsiteY70" fmla="*/ 71256 h 108232"/>
                <a:gd name="connsiteX71" fmla="*/ 71628 w 168306"/>
                <a:gd name="connsiteY71" fmla="*/ 70171 h 108232"/>
                <a:gd name="connsiteX72" fmla="*/ 72009 w 168306"/>
                <a:gd name="connsiteY72" fmla="*/ 69075 h 108232"/>
                <a:gd name="connsiteX73" fmla="*/ 71457 w 168306"/>
                <a:gd name="connsiteY73" fmla="*/ 66551 h 108232"/>
                <a:gd name="connsiteX74" fmla="*/ 67799 w 168306"/>
                <a:gd name="connsiteY74" fmla="*/ 64932 h 108232"/>
                <a:gd name="connsiteX75" fmla="*/ 66323 w 168306"/>
                <a:gd name="connsiteY75" fmla="*/ 65170 h 108232"/>
                <a:gd name="connsiteX76" fmla="*/ 64989 w 168306"/>
                <a:gd name="connsiteY76" fmla="*/ 67885 h 108232"/>
                <a:gd name="connsiteX77" fmla="*/ 63608 w 168306"/>
                <a:gd name="connsiteY77" fmla="*/ 69837 h 108232"/>
                <a:gd name="connsiteX78" fmla="*/ 60379 w 168306"/>
                <a:gd name="connsiteY78" fmla="*/ 71028 h 108232"/>
                <a:gd name="connsiteX79" fmla="*/ 57598 w 168306"/>
                <a:gd name="connsiteY79" fmla="*/ 68971 h 108232"/>
                <a:gd name="connsiteX80" fmla="*/ 51092 w 168306"/>
                <a:gd name="connsiteY80" fmla="*/ 66218 h 108232"/>
                <a:gd name="connsiteX81" fmla="*/ 49454 w 168306"/>
                <a:gd name="connsiteY81" fmla="*/ 62541 h 108232"/>
                <a:gd name="connsiteX82" fmla="*/ 49063 w 168306"/>
                <a:gd name="connsiteY82" fmla="*/ 58836 h 108232"/>
                <a:gd name="connsiteX83" fmla="*/ 45625 w 168306"/>
                <a:gd name="connsiteY83" fmla="*/ 55254 h 108232"/>
                <a:gd name="connsiteX84" fmla="*/ 44196 w 168306"/>
                <a:gd name="connsiteY84" fmla="*/ 51016 h 108232"/>
                <a:gd name="connsiteX85" fmla="*/ 44768 w 168306"/>
                <a:gd name="connsiteY85" fmla="*/ 48054 h 108232"/>
                <a:gd name="connsiteX86" fmla="*/ 47892 w 168306"/>
                <a:gd name="connsiteY86" fmla="*/ 46101 h 108232"/>
                <a:gd name="connsiteX87" fmla="*/ 48778 w 168306"/>
                <a:gd name="connsiteY87" fmla="*/ 44405 h 108232"/>
                <a:gd name="connsiteX88" fmla="*/ 44844 w 168306"/>
                <a:gd name="connsiteY88" fmla="*/ 44672 h 108232"/>
                <a:gd name="connsiteX89" fmla="*/ 44044 w 168306"/>
                <a:gd name="connsiteY89" fmla="*/ 44263 h 108232"/>
                <a:gd name="connsiteX90" fmla="*/ 43872 w 168306"/>
                <a:gd name="connsiteY90" fmla="*/ 42739 h 108232"/>
                <a:gd name="connsiteX91" fmla="*/ 42129 w 168306"/>
                <a:gd name="connsiteY91" fmla="*/ 37519 h 108232"/>
                <a:gd name="connsiteX92" fmla="*/ 43672 w 168306"/>
                <a:gd name="connsiteY92" fmla="*/ 35462 h 108232"/>
                <a:gd name="connsiteX93" fmla="*/ 44348 w 168306"/>
                <a:gd name="connsiteY93" fmla="*/ 33461 h 108232"/>
                <a:gd name="connsiteX94" fmla="*/ 43082 w 168306"/>
                <a:gd name="connsiteY94" fmla="*/ 31756 h 108232"/>
                <a:gd name="connsiteX95" fmla="*/ 43415 w 168306"/>
                <a:gd name="connsiteY95" fmla="*/ 29804 h 108232"/>
                <a:gd name="connsiteX96" fmla="*/ 44405 w 168306"/>
                <a:gd name="connsiteY96" fmla="*/ 27832 h 108232"/>
                <a:gd name="connsiteX97" fmla="*/ 43805 w 168306"/>
                <a:gd name="connsiteY97" fmla="*/ 23251 h 108232"/>
                <a:gd name="connsiteX98" fmla="*/ 47711 w 168306"/>
                <a:gd name="connsiteY98" fmla="*/ 20822 h 108232"/>
                <a:gd name="connsiteX99" fmla="*/ 51502 w 168306"/>
                <a:gd name="connsiteY99" fmla="*/ 19107 h 108232"/>
                <a:gd name="connsiteX100" fmla="*/ 59550 w 168306"/>
                <a:gd name="connsiteY100" fmla="*/ 18231 h 108232"/>
                <a:gd name="connsiteX101" fmla="*/ 58760 w 168306"/>
                <a:gd name="connsiteY101" fmla="*/ 14021 h 108232"/>
                <a:gd name="connsiteX102" fmla="*/ 62008 w 168306"/>
                <a:gd name="connsiteY102" fmla="*/ 13830 h 108232"/>
                <a:gd name="connsiteX103" fmla="*/ 67485 w 168306"/>
                <a:gd name="connsiteY103" fmla="*/ 8754 h 108232"/>
                <a:gd name="connsiteX104" fmla="*/ 72914 w 168306"/>
                <a:gd name="connsiteY104" fmla="*/ 9649 h 108232"/>
                <a:gd name="connsiteX105" fmla="*/ 80772 w 168306"/>
                <a:gd name="connsiteY105" fmla="*/ 6163 h 108232"/>
                <a:gd name="connsiteX106" fmla="*/ 95908 w 168306"/>
                <a:gd name="connsiteY106" fmla="*/ 6210 h 108232"/>
                <a:gd name="connsiteX107" fmla="*/ 97974 w 168306"/>
                <a:gd name="connsiteY107" fmla="*/ 4191 h 108232"/>
                <a:gd name="connsiteX108" fmla="*/ 97612 w 168306"/>
                <a:gd name="connsiteY108" fmla="*/ 2162 h 108232"/>
                <a:gd name="connsiteX109" fmla="*/ 97660 w 168306"/>
                <a:gd name="connsiteY109" fmla="*/ 0 h 108232"/>
                <a:gd name="connsiteX110" fmla="*/ 100508 w 168306"/>
                <a:gd name="connsiteY110" fmla="*/ 600 h 108232"/>
                <a:gd name="connsiteX111" fmla="*/ 105270 w 168306"/>
                <a:gd name="connsiteY111" fmla="*/ 219 h 108232"/>
                <a:gd name="connsiteX112" fmla="*/ 123101 w 168306"/>
                <a:gd name="connsiteY112" fmla="*/ 4477 h 108232"/>
                <a:gd name="connsiteX113" fmla="*/ 127492 w 168306"/>
                <a:gd name="connsiteY113" fmla="*/ 4477 h 108232"/>
                <a:gd name="connsiteX114" fmla="*/ 133560 w 168306"/>
                <a:gd name="connsiteY114" fmla="*/ 8792 h 108232"/>
                <a:gd name="connsiteX115" fmla="*/ 136836 w 168306"/>
                <a:gd name="connsiteY115" fmla="*/ 9906 h 108232"/>
                <a:gd name="connsiteX116" fmla="*/ 146485 w 168306"/>
                <a:gd name="connsiteY116" fmla="*/ 9906 h 108232"/>
                <a:gd name="connsiteX117" fmla="*/ 161373 w 168306"/>
                <a:gd name="connsiteY117" fmla="*/ 11811 h 108232"/>
                <a:gd name="connsiteX118" fmla="*/ 164297 w 168306"/>
                <a:gd name="connsiteY118" fmla="*/ 8896 h 108232"/>
                <a:gd name="connsiteX119" fmla="*/ 164611 w 168306"/>
                <a:gd name="connsiteY119" fmla="*/ 8153 h 108232"/>
                <a:gd name="connsiteX120" fmla="*/ 28584 w 168306"/>
                <a:gd name="connsiteY120" fmla="*/ 42367 h 108232"/>
                <a:gd name="connsiteX121" fmla="*/ 26394 w 168306"/>
                <a:gd name="connsiteY121" fmla="*/ 44910 h 108232"/>
                <a:gd name="connsiteX122" fmla="*/ 25089 w 168306"/>
                <a:gd name="connsiteY122" fmla="*/ 43901 h 108232"/>
                <a:gd name="connsiteX123" fmla="*/ 24403 w 168306"/>
                <a:gd name="connsiteY123" fmla="*/ 42681 h 108232"/>
                <a:gd name="connsiteX124" fmla="*/ 21574 w 168306"/>
                <a:gd name="connsiteY124" fmla="*/ 48435 h 108232"/>
                <a:gd name="connsiteX125" fmla="*/ 18393 w 168306"/>
                <a:gd name="connsiteY125" fmla="*/ 49416 h 108232"/>
                <a:gd name="connsiteX126" fmla="*/ 16536 w 168306"/>
                <a:gd name="connsiteY126" fmla="*/ 48282 h 108232"/>
                <a:gd name="connsiteX127" fmla="*/ 16707 w 168306"/>
                <a:gd name="connsiteY127" fmla="*/ 46139 h 108232"/>
                <a:gd name="connsiteX128" fmla="*/ 14897 w 168306"/>
                <a:gd name="connsiteY128" fmla="*/ 40491 h 108232"/>
                <a:gd name="connsiteX129" fmla="*/ 12125 w 168306"/>
                <a:gd name="connsiteY129" fmla="*/ 38833 h 108232"/>
                <a:gd name="connsiteX130" fmla="*/ 8230 w 168306"/>
                <a:gd name="connsiteY130" fmla="*/ 38681 h 108232"/>
                <a:gd name="connsiteX131" fmla="*/ 5410 w 168306"/>
                <a:gd name="connsiteY131" fmla="*/ 36347 h 108232"/>
                <a:gd name="connsiteX132" fmla="*/ 16278 w 168306"/>
                <a:gd name="connsiteY132" fmla="*/ 34757 h 108232"/>
                <a:gd name="connsiteX133" fmla="*/ 17402 w 168306"/>
                <a:gd name="connsiteY133" fmla="*/ 32052 h 108232"/>
                <a:gd name="connsiteX134" fmla="*/ 19612 w 168306"/>
                <a:gd name="connsiteY134" fmla="*/ 29213 h 108232"/>
                <a:gd name="connsiteX135" fmla="*/ 21270 w 168306"/>
                <a:gd name="connsiteY135" fmla="*/ 28908 h 108232"/>
                <a:gd name="connsiteX136" fmla="*/ 22679 w 168306"/>
                <a:gd name="connsiteY136" fmla="*/ 29566 h 108232"/>
                <a:gd name="connsiteX137" fmla="*/ 22946 w 168306"/>
                <a:gd name="connsiteY137" fmla="*/ 31766 h 108232"/>
                <a:gd name="connsiteX138" fmla="*/ 23298 w 168306"/>
                <a:gd name="connsiteY138" fmla="*/ 32642 h 108232"/>
                <a:gd name="connsiteX139" fmla="*/ 28223 w 168306"/>
                <a:gd name="connsiteY139" fmla="*/ 33880 h 108232"/>
                <a:gd name="connsiteX140" fmla="*/ 30146 w 168306"/>
                <a:gd name="connsiteY140" fmla="*/ 37576 h 108232"/>
                <a:gd name="connsiteX141" fmla="*/ 30871 w 168306"/>
                <a:gd name="connsiteY141" fmla="*/ 42005 h 108232"/>
                <a:gd name="connsiteX142" fmla="*/ 28584 w 168306"/>
                <a:gd name="connsiteY142" fmla="*/ 42367 h 108232"/>
                <a:gd name="connsiteX143" fmla="*/ 39805 w 168306"/>
                <a:gd name="connsiteY143" fmla="*/ 56569 h 108232"/>
                <a:gd name="connsiteX144" fmla="*/ 37585 w 168306"/>
                <a:gd name="connsiteY144" fmla="*/ 57102 h 108232"/>
                <a:gd name="connsiteX145" fmla="*/ 32318 w 168306"/>
                <a:gd name="connsiteY145" fmla="*/ 53464 h 108232"/>
                <a:gd name="connsiteX146" fmla="*/ 33537 w 168306"/>
                <a:gd name="connsiteY146" fmla="*/ 50997 h 108232"/>
                <a:gd name="connsiteX147" fmla="*/ 35043 w 168306"/>
                <a:gd name="connsiteY147" fmla="*/ 50025 h 108232"/>
                <a:gd name="connsiteX148" fmla="*/ 39519 w 168306"/>
                <a:gd name="connsiteY148" fmla="*/ 51540 h 108232"/>
                <a:gd name="connsiteX149" fmla="*/ 40148 w 168306"/>
                <a:gd name="connsiteY149" fmla="*/ 55283 h 108232"/>
                <a:gd name="connsiteX150" fmla="*/ 39805 w 168306"/>
                <a:gd name="connsiteY150" fmla="*/ 56569 h 108232"/>
                <a:gd name="connsiteX151" fmla="*/ 20393 w 168306"/>
                <a:gd name="connsiteY151" fmla="*/ 52940 h 108232"/>
                <a:gd name="connsiteX152" fmla="*/ 22289 w 168306"/>
                <a:gd name="connsiteY152" fmla="*/ 54178 h 108232"/>
                <a:gd name="connsiteX153" fmla="*/ 24041 w 168306"/>
                <a:gd name="connsiteY153" fmla="*/ 53788 h 108232"/>
                <a:gd name="connsiteX154" fmla="*/ 25822 w 168306"/>
                <a:gd name="connsiteY154" fmla="*/ 52921 h 108232"/>
                <a:gd name="connsiteX155" fmla="*/ 29670 w 168306"/>
                <a:gd name="connsiteY155" fmla="*/ 53730 h 108232"/>
                <a:gd name="connsiteX156" fmla="*/ 38452 w 168306"/>
                <a:gd name="connsiteY156" fmla="*/ 59979 h 108232"/>
                <a:gd name="connsiteX157" fmla="*/ 39262 w 168306"/>
                <a:gd name="connsiteY157" fmla="*/ 61646 h 108232"/>
                <a:gd name="connsiteX158" fmla="*/ 34014 w 168306"/>
                <a:gd name="connsiteY158" fmla="*/ 62408 h 108232"/>
                <a:gd name="connsiteX159" fmla="*/ 32823 w 168306"/>
                <a:gd name="connsiteY159" fmla="*/ 64313 h 108232"/>
                <a:gd name="connsiteX160" fmla="*/ 31566 w 168306"/>
                <a:gd name="connsiteY160" fmla="*/ 65646 h 108232"/>
                <a:gd name="connsiteX161" fmla="*/ 30080 w 168306"/>
                <a:gd name="connsiteY161" fmla="*/ 66075 h 108232"/>
                <a:gd name="connsiteX162" fmla="*/ 27547 w 168306"/>
                <a:gd name="connsiteY162" fmla="*/ 68751 h 108232"/>
                <a:gd name="connsiteX163" fmla="*/ 24127 w 168306"/>
                <a:gd name="connsiteY163" fmla="*/ 71314 h 108232"/>
                <a:gd name="connsiteX164" fmla="*/ 23413 w 168306"/>
                <a:gd name="connsiteY164" fmla="*/ 72847 h 108232"/>
                <a:gd name="connsiteX165" fmla="*/ 17212 w 168306"/>
                <a:gd name="connsiteY165" fmla="*/ 72562 h 108232"/>
                <a:gd name="connsiteX166" fmla="*/ 13831 w 168306"/>
                <a:gd name="connsiteY166" fmla="*/ 73533 h 108232"/>
                <a:gd name="connsiteX167" fmla="*/ 11096 w 168306"/>
                <a:gd name="connsiteY167" fmla="*/ 76390 h 108232"/>
                <a:gd name="connsiteX168" fmla="*/ 9973 w 168306"/>
                <a:gd name="connsiteY168" fmla="*/ 81896 h 108232"/>
                <a:gd name="connsiteX169" fmla="*/ 7972 w 168306"/>
                <a:gd name="connsiteY169" fmla="*/ 86182 h 108232"/>
                <a:gd name="connsiteX170" fmla="*/ 5934 w 168306"/>
                <a:gd name="connsiteY170" fmla="*/ 87725 h 108232"/>
                <a:gd name="connsiteX171" fmla="*/ 3810 w 168306"/>
                <a:gd name="connsiteY171" fmla="*/ 87964 h 108232"/>
                <a:gd name="connsiteX172" fmla="*/ 3305 w 168306"/>
                <a:gd name="connsiteY172" fmla="*/ 86363 h 108232"/>
                <a:gd name="connsiteX173" fmla="*/ 3505 w 168306"/>
                <a:gd name="connsiteY173" fmla="*/ 84763 h 108232"/>
                <a:gd name="connsiteX174" fmla="*/ 7972 w 168306"/>
                <a:gd name="connsiteY174" fmla="*/ 78705 h 108232"/>
                <a:gd name="connsiteX175" fmla="*/ 8906 w 168306"/>
                <a:gd name="connsiteY175" fmla="*/ 76733 h 108232"/>
                <a:gd name="connsiteX176" fmla="*/ 6677 w 168306"/>
                <a:gd name="connsiteY176" fmla="*/ 75857 h 108232"/>
                <a:gd name="connsiteX177" fmla="*/ 4810 w 168306"/>
                <a:gd name="connsiteY177" fmla="*/ 73743 h 108232"/>
                <a:gd name="connsiteX178" fmla="*/ 734 w 168306"/>
                <a:gd name="connsiteY178" fmla="*/ 71266 h 108232"/>
                <a:gd name="connsiteX179" fmla="*/ 0 w 168306"/>
                <a:gd name="connsiteY179" fmla="*/ 69275 h 108232"/>
                <a:gd name="connsiteX180" fmla="*/ 971 w 168306"/>
                <a:gd name="connsiteY180" fmla="*/ 69123 h 108232"/>
                <a:gd name="connsiteX181" fmla="*/ 1867 w 168306"/>
                <a:gd name="connsiteY181" fmla="*/ 68551 h 108232"/>
                <a:gd name="connsiteX182" fmla="*/ 2953 w 168306"/>
                <a:gd name="connsiteY182" fmla="*/ 66875 h 108232"/>
                <a:gd name="connsiteX183" fmla="*/ 3457 w 168306"/>
                <a:gd name="connsiteY183" fmla="*/ 64951 h 108232"/>
                <a:gd name="connsiteX184" fmla="*/ 200 w 168306"/>
                <a:gd name="connsiteY184" fmla="*/ 59312 h 108232"/>
                <a:gd name="connsiteX185" fmla="*/ 1857 w 168306"/>
                <a:gd name="connsiteY185" fmla="*/ 58436 h 108232"/>
                <a:gd name="connsiteX186" fmla="*/ 3934 w 168306"/>
                <a:gd name="connsiteY186" fmla="*/ 58636 h 108232"/>
                <a:gd name="connsiteX187" fmla="*/ 6058 w 168306"/>
                <a:gd name="connsiteY187" fmla="*/ 60274 h 108232"/>
                <a:gd name="connsiteX188" fmla="*/ 8391 w 168306"/>
                <a:gd name="connsiteY188" fmla="*/ 58350 h 108232"/>
                <a:gd name="connsiteX189" fmla="*/ 9382 w 168306"/>
                <a:gd name="connsiteY189" fmla="*/ 58064 h 108232"/>
                <a:gd name="connsiteX190" fmla="*/ 11011 w 168306"/>
                <a:gd name="connsiteY190" fmla="*/ 58750 h 108232"/>
                <a:gd name="connsiteX191" fmla="*/ 12659 w 168306"/>
                <a:gd name="connsiteY191" fmla="*/ 55016 h 108232"/>
                <a:gd name="connsiteX192" fmla="*/ 16573 w 168306"/>
                <a:gd name="connsiteY192" fmla="*/ 53788 h 108232"/>
                <a:gd name="connsiteX193" fmla="*/ 18517 w 168306"/>
                <a:gd name="connsiteY193" fmla="*/ 52635 h 108232"/>
                <a:gd name="connsiteX194" fmla="*/ 20393 w 168306"/>
                <a:gd name="connsiteY194" fmla="*/ 52940 h 10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168306" h="108232">
                  <a:moveTo>
                    <a:pt x="164611" y="8153"/>
                  </a:moveTo>
                  <a:lnTo>
                    <a:pt x="166031" y="9782"/>
                  </a:lnTo>
                  <a:lnTo>
                    <a:pt x="167821" y="12411"/>
                  </a:lnTo>
                  <a:lnTo>
                    <a:pt x="168307" y="13916"/>
                  </a:lnTo>
                  <a:lnTo>
                    <a:pt x="167697" y="14802"/>
                  </a:lnTo>
                  <a:lnTo>
                    <a:pt x="165907" y="15554"/>
                  </a:lnTo>
                  <a:lnTo>
                    <a:pt x="165497" y="16364"/>
                  </a:lnTo>
                  <a:lnTo>
                    <a:pt x="164706" y="17726"/>
                  </a:lnTo>
                  <a:lnTo>
                    <a:pt x="162611" y="17974"/>
                  </a:lnTo>
                  <a:lnTo>
                    <a:pt x="161534" y="18983"/>
                  </a:lnTo>
                  <a:lnTo>
                    <a:pt x="160248" y="23413"/>
                  </a:lnTo>
                  <a:lnTo>
                    <a:pt x="157791" y="30728"/>
                  </a:lnTo>
                  <a:lnTo>
                    <a:pt x="154162" y="36271"/>
                  </a:lnTo>
                  <a:lnTo>
                    <a:pt x="151257" y="39300"/>
                  </a:lnTo>
                  <a:lnTo>
                    <a:pt x="149962" y="41624"/>
                  </a:lnTo>
                  <a:lnTo>
                    <a:pt x="149152" y="44405"/>
                  </a:lnTo>
                  <a:lnTo>
                    <a:pt x="148961" y="47196"/>
                  </a:lnTo>
                  <a:lnTo>
                    <a:pt x="151743" y="62436"/>
                  </a:lnTo>
                  <a:lnTo>
                    <a:pt x="151714" y="65179"/>
                  </a:lnTo>
                  <a:lnTo>
                    <a:pt x="151057" y="67989"/>
                  </a:lnTo>
                  <a:lnTo>
                    <a:pt x="150581" y="70838"/>
                  </a:lnTo>
                  <a:lnTo>
                    <a:pt x="150971" y="73305"/>
                  </a:lnTo>
                  <a:lnTo>
                    <a:pt x="152810" y="77514"/>
                  </a:lnTo>
                  <a:lnTo>
                    <a:pt x="154762" y="83782"/>
                  </a:lnTo>
                  <a:lnTo>
                    <a:pt x="155553" y="87773"/>
                  </a:lnTo>
                  <a:lnTo>
                    <a:pt x="156848" y="89230"/>
                  </a:lnTo>
                  <a:lnTo>
                    <a:pt x="158096" y="90306"/>
                  </a:lnTo>
                  <a:lnTo>
                    <a:pt x="158353" y="90983"/>
                  </a:lnTo>
                  <a:lnTo>
                    <a:pt x="158315" y="91678"/>
                  </a:lnTo>
                  <a:lnTo>
                    <a:pt x="157667" y="92469"/>
                  </a:lnTo>
                  <a:lnTo>
                    <a:pt x="152038" y="94555"/>
                  </a:lnTo>
                  <a:lnTo>
                    <a:pt x="151305" y="96317"/>
                  </a:lnTo>
                  <a:lnTo>
                    <a:pt x="150695" y="98288"/>
                  </a:lnTo>
                  <a:lnTo>
                    <a:pt x="148237" y="101194"/>
                  </a:lnTo>
                  <a:lnTo>
                    <a:pt x="147485" y="103899"/>
                  </a:lnTo>
                  <a:lnTo>
                    <a:pt x="147018" y="106994"/>
                  </a:lnTo>
                  <a:lnTo>
                    <a:pt x="146961" y="108099"/>
                  </a:lnTo>
                  <a:lnTo>
                    <a:pt x="146285" y="108233"/>
                  </a:lnTo>
                  <a:lnTo>
                    <a:pt x="142551" y="107594"/>
                  </a:lnTo>
                  <a:lnTo>
                    <a:pt x="138436" y="105585"/>
                  </a:lnTo>
                  <a:lnTo>
                    <a:pt x="136636" y="104070"/>
                  </a:lnTo>
                  <a:lnTo>
                    <a:pt x="134864" y="104089"/>
                  </a:lnTo>
                  <a:lnTo>
                    <a:pt x="132722" y="105080"/>
                  </a:lnTo>
                  <a:lnTo>
                    <a:pt x="125044" y="107947"/>
                  </a:lnTo>
                  <a:lnTo>
                    <a:pt x="123158" y="107280"/>
                  </a:lnTo>
                  <a:lnTo>
                    <a:pt x="118777" y="104461"/>
                  </a:lnTo>
                  <a:lnTo>
                    <a:pt x="116557" y="101384"/>
                  </a:lnTo>
                  <a:lnTo>
                    <a:pt x="111614" y="95250"/>
                  </a:lnTo>
                  <a:lnTo>
                    <a:pt x="111214" y="93783"/>
                  </a:lnTo>
                  <a:lnTo>
                    <a:pt x="110567" y="92612"/>
                  </a:lnTo>
                  <a:lnTo>
                    <a:pt x="105290" y="91087"/>
                  </a:lnTo>
                  <a:lnTo>
                    <a:pt x="103337" y="88811"/>
                  </a:lnTo>
                  <a:lnTo>
                    <a:pt x="101718" y="88497"/>
                  </a:lnTo>
                  <a:lnTo>
                    <a:pt x="99336" y="87354"/>
                  </a:lnTo>
                  <a:lnTo>
                    <a:pt x="93155" y="82487"/>
                  </a:lnTo>
                  <a:lnTo>
                    <a:pt x="91621" y="82029"/>
                  </a:lnTo>
                  <a:lnTo>
                    <a:pt x="91250" y="82848"/>
                  </a:lnTo>
                  <a:lnTo>
                    <a:pt x="91354" y="84001"/>
                  </a:lnTo>
                  <a:lnTo>
                    <a:pt x="90964" y="84668"/>
                  </a:lnTo>
                  <a:lnTo>
                    <a:pt x="90173" y="84649"/>
                  </a:lnTo>
                  <a:lnTo>
                    <a:pt x="88745" y="82858"/>
                  </a:lnTo>
                  <a:lnTo>
                    <a:pt x="87030" y="81277"/>
                  </a:lnTo>
                  <a:lnTo>
                    <a:pt x="81686" y="84249"/>
                  </a:lnTo>
                  <a:lnTo>
                    <a:pt x="79753" y="85039"/>
                  </a:lnTo>
                  <a:lnTo>
                    <a:pt x="78057" y="85220"/>
                  </a:lnTo>
                  <a:lnTo>
                    <a:pt x="69590" y="89106"/>
                  </a:lnTo>
                  <a:lnTo>
                    <a:pt x="67008" y="91202"/>
                  </a:lnTo>
                  <a:lnTo>
                    <a:pt x="65941" y="90983"/>
                  </a:lnTo>
                  <a:lnTo>
                    <a:pt x="66189" y="89011"/>
                  </a:lnTo>
                  <a:lnTo>
                    <a:pt x="69714" y="79134"/>
                  </a:lnTo>
                  <a:lnTo>
                    <a:pt x="70342" y="71256"/>
                  </a:lnTo>
                  <a:lnTo>
                    <a:pt x="71628" y="70171"/>
                  </a:lnTo>
                  <a:lnTo>
                    <a:pt x="72009" y="69075"/>
                  </a:lnTo>
                  <a:lnTo>
                    <a:pt x="71457" y="66551"/>
                  </a:lnTo>
                  <a:lnTo>
                    <a:pt x="67799" y="64932"/>
                  </a:lnTo>
                  <a:lnTo>
                    <a:pt x="66323" y="65170"/>
                  </a:lnTo>
                  <a:lnTo>
                    <a:pt x="64989" y="67885"/>
                  </a:lnTo>
                  <a:lnTo>
                    <a:pt x="63608" y="69837"/>
                  </a:lnTo>
                  <a:lnTo>
                    <a:pt x="60379" y="71028"/>
                  </a:lnTo>
                  <a:lnTo>
                    <a:pt x="57598" y="68971"/>
                  </a:lnTo>
                  <a:lnTo>
                    <a:pt x="51092" y="66218"/>
                  </a:lnTo>
                  <a:lnTo>
                    <a:pt x="49454" y="62541"/>
                  </a:lnTo>
                  <a:lnTo>
                    <a:pt x="49063" y="58836"/>
                  </a:lnTo>
                  <a:lnTo>
                    <a:pt x="45625" y="55254"/>
                  </a:lnTo>
                  <a:lnTo>
                    <a:pt x="44196" y="51016"/>
                  </a:lnTo>
                  <a:lnTo>
                    <a:pt x="44768" y="48054"/>
                  </a:lnTo>
                  <a:lnTo>
                    <a:pt x="47892" y="46101"/>
                  </a:lnTo>
                  <a:lnTo>
                    <a:pt x="48778" y="44405"/>
                  </a:lnTo>
                  <a:lnTo>
                    <a:pt x="44844" y="44672"/>
                  </a:lnTo>
                  <a:lnTo>
                    <a:pt x="44044" y="44263"/>
                  </a:lnTo>
                  <a:lnTo>
                    <a:pt x="43872" y="42739"/>
                  </a:lnTo>
                  <a:lnTo>
                    <a:pt x="42129" y="37519"/>
                  </a:lnTo>
                  <a:lnTo>
                    <a:pt x="43672" y="35462"/>
                  </a:lnTo>
                  <a:lnTo>
                    <a:pt x="44348" y="33461"/>
                  </a:lnTo>
                  <a:lnTo>
                    <a:pt x="43082" y="31756"/>
                  </a:lnTo>
                  <a:lnTo>
                    <a:pt x="43415" y="29804"/>
                  </a:lnTo>
                  <a:lnTo>
                    <a:pt x="44405" y="27832"/>
                  </a:lnTo>
                  <a:lnTo>
                    <a:pt x="43805" y="23251"/>
                  </a:lnTo>
                  <a:lnTo>
                    <a:pt x="47711" y="20822"/>
                  </a:lnTo>
                  <a:lnTo>
                    <a:pt x="51502" y="19107"/>
                  </a:lnTo>
                  <a:lnTo>
                    <a:pt x="59550" y="18231"/>
                  </a:lnTo>
                  <a:lnTo>
                    <a:pt x="58760" y="14021"/>
                  </a:lnTo>
                  <a:lnTo>
                    <a:pt x="62008" y="13830"/>
                  </a:lnTo>
                  <a:lnTo>
                    <a:pt x="67485" y="8754"/>
                  </a:lnTo>
                  <a:lnTo>
                    <a:pt x="72914" y="9649"/>
                  </a:lnTo>
                  <a:lnTo>
                    <a:pt x="80772" y="6163"/>
                  </a:lnTo>
                  <a:lnTo>
                    <a:pt x="95908" y="6210"/>
                  </a:lnTo>
                  <a:lnTo>
                    <a:pt x="97974" y="4191"/>
                  </a:lnTo>
                  <a:lnTo>
                    <a:pt x="97612" y="2162"/>
                  </a:lnTo>
                  <a:lnTo>
                    <a:pt x="97660" y="0"/>
                  </a:lnTo>
                  <a:lnTo>
                    <a:pt x="100508" y="600"/>
                  </a:lnTo>
                  <a:lnTo>
                    <a:pt x="105270" y="219"/>
                  </a:lnTo>
                  <a:lnTo>
                    <a:pt x="123101" y="4477"/>
                  </a:lnTo>
                  <a:lnTo>
                    <a:pt x="127492" y="4477"/>
                  </a:lnTo>
                  <a:lnTo>
                    <a:pt x="133560" y="8792"/>
                  </a:lnTo>
                  <a:lnTo>
                    <a:pt x="136836" y="9906"/>
                  </a:lnTo>
                  <a:lnTo>
                    <a:pt x="146485" y="9906"/>
                  </a:lnTo>
                  <a:lnTo>
                    <a:pt x="161373" y="11811"/>
                  </a:lnTo>
                  <a:lnTo>
                    <a:pt x="164297" y="8896"/>
                  </a:lnTo>
                  <a:lnTo>
                    <a:pt x="164611" y="8153"/>
                  </a:lnTo>
                  <a:close/>
                  <a:moveTo>
                    <a:pt x="28584" y="42367"/>
                  </a:moveTo>
                  <a:lnTo>
                    <a:pt x="26394" y="44910"/>
                  </a:lnTo>
                  <a:lnTo>
                    <a:pt x="25089" y="43901"/>
                  </a:lnTo>
                  <a:lnTo>
                    <a:pt x="24403" y="42681"/>
                  </a:lnTo>
                  <a:lnTo>
                    <a:pt x="21574" y="48435"/>
                  </a:lnTo>
                  <a:lnTo>
                    <a:pt x="18393" y="49416"/>
                  </a:lnTo>
                  <a:lnTo>
                    <a:pt x="16536" y="48282"/>
                  </a:lnTo>
                  <a:lnTo>
                    <a:pt x="16707" y="46139"/>
                  </a:lnTo>
                  <a:lnTo>
                    <a:pt x="14897" y="40491"/>
                  </a:lnTo>
                  <a:lnTo>
                    <a:pt x="12125" y="38833"/>
                  </a:lnTo>
                  <a:lnTo>
                    <a:pt x="8230" y="38681"/>
                  </a:lnTo>
                  <a:lnTo>
                    <a:pt x="5410" y="36347"/>
                  </a:lnTo>
                  <a:lnTo>
                    <a:pt x="16278" y="34757"/>
                  </a:lnTo>
                  <a:lnTo>
                    <a:pt x="17402" y="32052"/>
                  </a:lnTo>
                  <a:lnTo>
                    <a:pt x="19612" y="29213"/>
                  </a:lnTo>
                  <a:lnTo>
                    <a:pt x="21270" y="28908"/>
                  </a:lnTo>
                  <a:lnTo>
                    <a:pt x="22679" y="29566"/>
                  </a:lnTo>
                  <a:lnTo>
                    <a:pt x="22946" y="31766"/>
                  </a:lnTo>
                  <a:lnTo>
                    <a:pt x="23298" y="32642"/>
                  </a:lnTo>
                  <a:lnTo>
                    <a:pt x="28223" y="33880"/>
                  </a:lnTo>
                  <a:lnTo>
                    <a:pt x="30146" y="37576"/>
                  </a:lnTo>
                  <a:lnTo>
                    <a:pt x="30871" y="42005"/>
                  </a:lnTo>
                  <a:lnTo>
                    <a:pt x="28584" y="42367"/>
                  </a:lnTo>
                  <a:close/>
                  <a:moveTo>
                    <a:pt x="39805" y="56569"/>
                  </a:moveTo>
                  <a:lnTo>
                    <a:pt x="37585" y="57102"/>
                  </a:lnTo>
                  <a:lnTo>
                    <a:pt x="32318" y="53464"/>
                  </a:lnTo>
                  <a:lnTo>
                    <a:pt x="33537" y="50997"/>
                  </a:lnTo>
                  <a:lnTo>
                    <a:pt x="35043" y="50025"/>
                  </a:lnTo>
                  <a:lnTo>
                    <a:pt x="39519" y="51540"/>
                  </a:lnTo>
                  <a:lnTo>
                    <a:pt x="40148" y="55283"/>
                  </a:lnTo>
                  <a:lnTo>
                    <a:pt x="39805" y="56569"/>
                  </a:lnTo>
                  <a:close/>
                  <a:moveTo>
                    <a:pt x="20393" y="52940"/>
                  </a:moveTo>
                  <a:lnTo>
                    <a:pt x="22289" y="54178"/>
                  </a:lnTo>
                  <a:lnTo>
                    <a:pt x="24041" y="53788"/>
                  </a:lnTo>
                  <a:lnTo>
                    <a:pt x="25822" y="52921"/>
                  </a:lnTo>
                  <a:lnTo>
                    <a:pt x="29670" y="53730"/>
                  </a:lnTo>
                  <a:lnTo>
                    <a:pt x="38452" y="59979"/>
                  </a:lnTo>
                  <a:lnTo>
                    <a:pt x="39262" y="61646"/>
                  </a:lnTo>
                  <a:lnTo>
                    <a:pt x="34014" y="62408"/>
                  </a:lnTo>
                  <a:lnTo>
                    <a:pt x="32823" y="64313"/>
                  </a:lnTo>
                  <a:lnTo>
                    <a:pt x="31566" y="65646"/>
                  </a:lnTo>
                  <a:lnTo>
                    <a:pt x="30080" y="66075"/>
                  </a:lnTo>
                  <a:lnTo>
                    <a:pt x="27547" y="68751"/>
                  </a:lnTo>
                  <a:lnTo>
                    <a:pt x="24127" y="71314"/>
                  </a:lnTo>
                  <a:lnTo>
                    <a:pt x="23413" y="72847"/>
                  </a:lnTo>
                  <a:lnTo>
                    <a:pt x="17212" y="72562"/>
                  </a:lnTo>
                  <a:lnTo>
                    <a:pt x="13831" y="73533"/>
                  </a:lnTo>
                  <a:lnTo>
                    <a:pt x="11096" y="76390"/>
                  </a:lnTo>
                  <a:lnTo>
                    <a:pt x="9973" y="81896"/>
                  </a:lnTo>
                  <a:lnTo>
                    <a:pt x="7972" y="86182"/>
                  </a:lnTo>
                  <a:lnTo>
                    <a:pt x="5934" y="87725"/>
                  </a:lnTo>
                  <a:lnTo>
                    <a:pt x="3810" y="87964"/>
                  </a:lnTo>
                  <a:lnTo>
                    <a:pt x="3305" y="86363"/>
                  </a:lnTo>
                  <a:lnTo>
                    <a:pt x="3505" y="84763"/>
                  </a:lnTo>
                  <a:lnTo>
                    <a:pt x="7972" y="78705"/>
                  </a:lnTo>
                  <a:lnTo>
                    <a:pt x="8906" y="76733"/>
                  </a:lnTo>
                  <a:lnTo>
                    <a:pt x="6677" y="75857"/>
                  </a:lnTo>
                  <a:lnTo>
                    <a:pt x="4810" y="73743"/>
                  </a:lnTo>
                  <a:lnTo>
                    <a:pt x="734" y="71266"/>
                  </a:lnTo>
                  <a:lnTo>
                    <a:pt x="0" y="69275"/>
                  </a:lnTo>
                  <a:lnTo>
                    <a:pt x="971" y="69123"/>
                  </a:lnTo>
                  <a:lnTo>
                    <a:pt x="1867" y="68551"/>
                  </a:lnTo>
                  <a:lnTo>
                    <a:pt x="2953" y="66875"/>
                  </a:lnTo>
                  <a:lnTo>
                    <a:pt x="3457" y="64951"/>
                  </a:lnTo>
                  <a:lnTo>
                    <a:pt x="200" y="59312"/>
                  </a:lnTo>
                  <a:lnTo>
                    <a:pt x="1857" y="58436"/>
                  </a:lnTo>
                  <a:lnTo>
                    <a:pt x="3934" y="58636"/>
                  </a:lnTo>
                  <a:lnTo>
                    <a:pt x="6058" y="60274"/>
                  </a:lnTo>
                  <a:lnTo>
                    <a:pt x="8391" y="58350"/>
                  </a:lnTo>
                  <a:lnTo>
                    <a:pt x="9382" y="58064"/>
                  </a:lnTo>
                  <a:lnTo>
                    <a:pt x="11011" y="58750"/>
                  </a:lnTo>
                  <a:lnTo>
                    <a:pt x="12659" y="55016"/>
                  </a:lnTo>
                  <a:lnTo>
                    <a:pt x="16573" y="53788"/>
                  </a:lnTo>
                  <a:lnTo>
                    <a:pt x="18517" y="52635"/>
                  </a:lnTo>
                  <a:lnTo>
                    <a:pt x="20393" y="52940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1" name="Forme libre : forme 17">
              <a:extLst>
                <a:ext uri="{FF2B5EF4-FFF2-40B4-BE49-F238E27FC236}">
                  <a16:creationId xmlns:a16="http://schemas.microsoft.com/office/drawing/2014/main" id="{0B7A829C-E102-4BAD-714B-387C8B27CD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131080" y="5007781"/>
              <a:ext cx="1254861" cy="931541"/>
            </a:xfrm>
            <a:custGeom>
              <a:avLst/>
              <a:gdLst>
                <a:gd name="connsiteX0" fmla="*/ 987712 w 1254861"/>
                <a:gd name="connsiteY0" fmla="*/ 613164 h 931541"/>
                <a:gd name="connsiteX1" fmla="*/ 993322 w 1254861"/>
                <a:gd name="connsiteY1" fmla="*/ 619827 h 931541"/>
                <a:gd name="connsiteX2" fmla="*/ 1002195 w 1254861"/>
                <a:gd name="connsiteY2" fmla="*/ 621081 h 931541"/>
                <a:gd name="connsiteX3" fmla="*/ 1002295 w 1254861"/>
                <a:gd name="connsiteY3" fmla="*/ 624544 h 931541"/>
                <a:gd name="connsiteX4" fmla="*/ 1000214 w 1254861"/>
                <a:gd name="connsiteY4" fmla="*/ 626095 h 931541"/>
                <a:gd name="connsiteX5" fmla="*/ 994081 w 1254861"/>
                <a:gd name="connsiteY5" fmla="*/ 624675 h 931541"/>
                <a:gd name="connsiteX6" fmla="*/ 984876 w 1254861"/>
                <a:gd name="connsiteY6" fmla="*/ 624675 h 931541"/>
                <a:gd name="connsiteX7" fmla="*/ 984516 w 1254861"/>
                <a:gd name="connsiteY7" fmla="*/ 619893 h 931541"/>
                <a:gd name="connsiteX8" fmla="*/ 985932 w 1254861"/>
                <a:gd name="connsiteY8" fmla="*/ 616562 h 931541"/>
                <a:gd name="connsiteX9" fmla="*/ 999556 w 1254861"/>
                <a:gd name="connsiteY9" fmla="*/ 571338 h 931541"/>
                <a:gd name="connsiteX10" fmla="*/ 1004075 w 1254861"/>
                <a:gd name="connsiteY10" fmla="*/ 575365 h 931541"/>
                <a:gd name="connsiteX11" fmla="*/ 1005031 w 1254861"/>
                <a:gd name="connsiteY11" fmla="*/ 581135 h 931541"/>
                <a:gd name="connsiteX12" fmla="*/ 993090 w 1254861"/>
                <a:gd name="connsiteY12" fmla="*/ 593737 h 931541"/>
                <a:gd name="connsiteX13" fmla="*/ 988505 w 1254861"/>
                <a:gd name="connsiteY13" fmla="*/ 595354 h 931541"/>
                <a:gd name="connsiteX14" fmla="*/ 985143 w 1254861"/>
                <a:gd name="connsiteY14" fmla="*/ 602644 h 931541"/>
                <a:gd name="connsiteX15" fmla="*/ 971059 w 1254861"/>
                <a:gd name="connsiteY15" fmla="*/ 600071 h 931541"/>
                <a:gd name="connsiteX16" fmla="*/ 967956 w 1254861"/>
                <a:gd name="connsiteY16" fmla="*/ 597134 h 931541"/>
                <a:gd name="connsiteX17" fmla="*/ 970989 w 1254861"/>
                <a:gd name="connsiteY17" fmla="*/ 588888 h 931541"/>
                <a:gd name="connsiteX18" fmla="*/ 975048 w 1254861"/>
                <a:gd name="connsiteY18" fmla="*/ 587898 h 931541"/>
                <a:gd name="connsiteX19" fmla="*/ 975311 w 1254861"/>
                <a:gd name="connsiteY19" fmla="*/ 582028 h 931541"/>
                <a:gd name="connsiteX20" fmla="*/ 979567 w 1254861"/>
                <a:gd name="connsiteY20" fmla="*/ 576124 h 931541"/>
                <a:gd name="connsiteX21" fmla="*/ 1147199 w 1254861"/>
                <a:gd name="connsiteY21" fmla="*/ 469746 h 931541"/>
                <a:gd name="connsiteX22" fmla="*/ 1150793 w 1254861"/>
                <a:gd name="connsiteY22" fmla="*/ 470865 h 931541"/>
                <a:gd name="connsiteX23" fmla="*/ 1147725 w 1254861"/>
                <a:gd name="connsiteY23" fmla="*/ 475287 h 931541"/>
                <a:gd name="connsiteX24" fmla="*/ 1147957 w 1254861"/>
                <a:gd name="connsiteY24" fmla="*/ 477299 h 931541"/>
                <a:gd name="connsiteX25" fmla="*/ 1150894 w 1254861"/>
                <a:gd name="connsiteY25" fmla="*/ 479443 h 931541"/>
                <a:gd name="connsiteX26" fmla="*/ 1150201 w 1254861"/>
                <a:gd name="connsiteY26" fmla="*/ 482871 h 931541"/>
                <a:gd name="connsiteX27" fmla="*/ 1147230 w 1254861"/>
                <a:gd name="connsiteY27" fmla="*/ 485843 h 931541"/>
                <a:gd name="connsiteX28" fmla="*/ 1145914 w 1254861"/>
                <a:gd name="connsiteY28" fmla="*/ 491449 h 931541"/>
                <a:gd name="connsiteX29" fmla="*/ 1154786 w 1254861"/>
                <a:gd name="connsiteY29" fmla="*/ 495439 h 931541"/>
                <a:gd name="connsiteX30" fmla="*/ 1164154 w 1254861"/>
                <a:gd name="connsiteY30" fmla="*/ 491844 h 931541"/>
                <a:gd name="connsiteX31" fmla="*/ 1169134 w 1254861"/>
                <a:gd name="connsiteY31" fmla="*/ 492966 h 931541"/>
                <a:gd name="connsiteX32" fmla="*/ 1174048 w 1254861"/>
                <a:gd name="connsiteY32" fmla="*/ 494912 h 931541"/>
                <a:gd name="connsiteX33" fmla="*/ 1175235 w 1254861"/>
                <a:gd name="connsiteY33" fmla="*/ 502500 h 931541"/>
                <a:gd name="connsiteX34" fmla="*/ 1170882 w 1254861"/>
                <a:gd name="connsiteY34" fmla="*/ 510943 h 931541"/>
                <a:gd name="connsiteX35" fmla="*/ 1164781 w 1254861"/>
                <a:gd name="connsiteY35" fmla="*/ 519521 h 931541"/>
                <a:gd name="connsiteX36" fmla="*/ 1159635 w 1254861"/>
                <a:gd name="connsiteY36" fmla="*/ 528919 h 931541"/>
                <a:gd name="connsiteX37" fmla="*/ 1155150 w 1254861"/>
                <a:gd name="connsiteY37" fmla="*/ 539707 h 931541"/>
                <a:gd name="connsiteX38" fmla="*/ 1146801 w 1254861"/>
                <a:gd name="connsiteY38" fmla="*/ 546072 h 931541"/>
                <a:gd name="connsiteX39" fmla="*/ 1139251 w 1254861"/>
                <a:gd name="connsiteY39" fmla="*/ 549898 h 931541"/>
                <a:gd name="connsiteX40" fmla="*/ 1123283 w 1254861"/>
                <a:gd name="connsiteY40" fmla="*/ 541885 h 931541"/>
                <a:gd name="connsiteX41" fmla="*/ 1113981 w 1254861"/>
                <a:gd name="connsiteY41" fmla="*/ 539873 h 931541"/>
                <a:gd name="connsiteX42" fmla="*/ 1111211 w 1254861"/>
                <a:gd name="connsiteY42" fmla="*/ 536870 h 931541"/>
                <a:gd name="connsiteX43" fmla="*/ 1109001 w 1254861"/>
                <a:gd name="connsiteY43" fmla="*/ 524930 h 931541"/>
                <a:gd name="connsiteX44" fmla="*/ 1104811 w 1254861"/>
                <a:gd name="connsiteY44" fmla="*/ 521134 h 931541"/>
                <a:gd name="connsiteX45" fmla="*/ 1098643 w 1254861"/>
                <a:gd name="connsiteY45" fmla="*/ 519455 h 931541"/>
                <a:gd name="connsiteX46" fmla="*/ 1093234 w 1254861"/>
                <a:gd name="connsiteY46" fmla="*/ 522523 h 931541"/>
                <a:gd name="connsiteX47" fmla="*/ 1086177 w 1254861"/>
                <a:gd name="connsiteY47" fmla="*/ 528822 h 931541"/>
                <a:gd name="connsiteX48" fmla="*/ 1082416 w 1254861"/>
                <a:gd name="connsiteY48" fmla="*/ 522523 h 931541"/>
                <a:gd name="connsiteX49" fmla="*/ 1076445 w 1254861"/>
                <a:gd name="connsiteY49" fmla="*/ 521335 h 931541"/>
                <a:gd name="connsiteX50" fmla="*/ 1074201 w 1254861"/>
                <a:gd name="connsiteY50" fmla="*/ 517540 h 931541"/>
                <a:gd name="connsiteX51" fmla="*/ 1074302 w 1254861"/>
                <a:gd name="connsiteY51" fmla="*/ 512657 h 931541"/>
                <a:gd name="connsiteX52" fmla="*/ 1112596 w 1254861"/>
                <a:gd name="connsiteY52" fmla="*/ 483664 h 931541"/>
                <a:gd name="connsiteX53" fmla="*/ 1123681 w 1254861"/>
                <a:gd name="connsiteY53" fmla="*/ 477233 h 931541"/>
                <a:gd name="connsiteX54" fmla="*/ 1230551 w 1254861"/>
                <a:gd name="connsiteY54" fmla="*/ 457210 h 931541"/>
                <a:gd name="connsiteX55" fmla="*/ 1245957 w 1254861"/>
                <a:gd name="connsiteY55" fmla="*/ 462356 h 931541"/>
                <a:gd name="connsiteX56" fmla="*/ 1254238 w 1254861"/>
                <a:gd name="connsiteY56" fmla="*/ 476208 h 931541"/>
                <a:gd name="connsiteX57" fmla="*/ 1254861 w 1254861"/>
                <a:gd name="connsiteY57" fmla="*/ 478584 h 931541"/>
                <a:gd name="connsiteX58" fmla="*/ 1252226 w 1254861"/>
                <a:gd name="connsiteY58" fmla="*/ 485247 h 931541"/>
                <a:gd name="connsiteX59" fmla="*/ 1250543 w 1254861"/>
                <a:gd name="connsiteY59" fmla="*/ 486632 h 931541"/>
                <a:gd name="connsiteX60" fmla="*/ 1222077 w 1254861"/>
                <a:gd name="connsiteY60" fmla="*/ 472745 h 931541"/>
                <a:gd name="connsiteX61" fmla="*/ 1212771 w 1254861"/>
                <a:gd name="connsiteY61" fmla="*/ 471197 h 931541"/>
                <a:gd name="connsiteX62" fmla="*/ 1210496 w 1254861"/>
                <a:gd name="connsiteY62" fmla="*/ 469085 h 931541"/>
                <a:gd name="connsiteX63" fmla="*/ 1210763 w 1254861"/>
                <a:gd name="connsiteY63" fmla="*/ 461861 h 931541"/>
                <a:gd name="connsiteX64" fmla="*/ 1211487 w 1254861"/>
                <a:gd name="connsiteY64" fmla="*/ 458661 h 931541"/>
                <a:gd name="connsiteX65" fmla="*/ 142299 w 1254861"/>
                <a:gd name="connsiteY65" fmla="*/ 0 h 931541"/>
                <a:gd name="connsiteX66" fmla="*/ 151899 w 1254861"/>
                <a:gd name="connsiteY66" fmla="*/ 4748 h 931541"/>
                <a:gd name="connsiteX67" fmla="*/ 160307 w 1254861"/>
                <a:gd name="connsiteY67" fmla="*/ 3134 h 931541"/>
                <a:gd name="connsiteX68" fmla="*/ 169972 w 1254861"/>
                <a:gd name="connsiteY68" fmla="*/ 8776 h 931541"/>
                <a:gd name="connsiteX69" fmla="*/ 182675 w 1254861"/>
                <a:gd name="connsiteY69" fmla="*/ 21672 h 931541"/>
                <a:gd name="connsiteX70" fmla="*/ 201278 w 1254861"/>
                <a:gd name="connsiteY70" fmla="*/ 26849 h 931541"/>
                <a:gd name="connsiteX71" fmla="*/ 216121 w 1254861"/>
                <a:gd name="connsiteY71" fmla="*/ 22794 h 931541"/>
                <a:gd name="connsiteX72" fmla="*/ 242343 w 1254861"/>
                <a:gd name="connsiteY72" fmla="*/ 21935 h 931541"/>
                <a:gd name="connsiteX73" fmla="*/ 255440 w 1254861"/>
                <a:gd name="connsiteY73" fmla="*/ 23649 h 931541"/>
                <a:gd name="connsiteX74" fmla="*/ 278725 w 1254861"/>
                <a:gd name="connsiteY74" fmla="*/ 20449 h 931541"/>
                <a:gd name="connsiteX75" fmla="*/ 292051 w 1254861"/>
                <a:gd name="connsiteY75" fmla="*/ 21606 h 931541"/>
                <a:gd name="connsiteX76" fmla="*/ 313657 w 1254861"/>
                <a:gd name="connsiteY76" fmla="*/ 15206 h 931541"/>
                <a:gd name="connsiteX77" fmla="*/ 330380 w 1254861"/>
                <a:gd name="connsiteY77" fmla="*/ 23189 h 931541"/>
                <a:gd name="connsiteX78" fmla="*/ 362808 w 1254861"/>
                <a:gd name="connsiteY78" fmla="*/ 26915 h 931541"/>
                <a:gd name="connsiteX79" fmla="*/ 382267 w 1254861"/>
                <a:gd name="connsiteY79" fmla="*/ 33446 h 931541"/>
                <a:gd name="connsiteX80" fmla="*/ 436165 w 1254861"/>
                <a:gd name="connsiteY80" fmla="*/ 44396 h 931541"/>
                <a:gd name="connsiteX81" fmla="*/ 455627 w 1254861"/>
                <a:gd name="connsiteY81" fmla="*/ 44531 h 931541"/>
                <a:gd name="connsiteX82" fmla="*/ 483169 w 1254861"/>
                <a:gd name="connsiteY82" fmla="*/ 38364 h 931541"/>
                <a:gd name="connsiteX83" fmla="*/ 494846 w 1254861"/>
                <a:gd name="connsiteY83" fmla="*/ 33744 h 931541"/>
                <a:gd name="connsiteX84" fmla="*/ 505533 w 1254861"/>
                <a:gd name="connsiteY84" fmla="*/ 36483 h 931541"/>
                <a:gd name="connsiteX85" fmla="*/ 521203 w 1254861"/>
                <a:gd name="connsiteY85" fmla="*/ 31171 h 931541"/>
                <a:gd name="connsiteX86" fmla="*/ 528722 w 1254861"/>
                <a:gd name="connsiteY86" fmla="*/ 32258 h 931541"/>
                <a:gd name="connsiteX87" fmla="*/ 538519 w 1254861"/>
                <a:gd name="connsiteY87" fmla="*/ 39815 h 931541"/>
                <a:gd name="connsiteX88" fmla="*/ 572990 w 1254861"/>
                <a:gd name="connsiteY88" fmla="*/ 50006 h 931541"/>
                <a:gd name="connsiteX89" fmla="*/ 582028 w 1254861"/>
                <a:gd name="connsiteY89" fmla="*/ 41363 h 931541"/>
                <a:gd name="connsiteX90" fmla="*/ 588757 w 1254861"/>
                <a:gd name="connsiteY90" fmla="*/ 39482 h 931541"/>
                <a:gd name="connsiteX91" fmla="*/ 613559 w 1254861"/>
                <a:gd name="connsiteY91" fmla="*/ 44760 h 931541"/>
                <a:gd name="connsiteX92" fmla="*/ 638562 w 1254861"/>
                <a:gd name="connsiteY92" fmla="*/ 55513 h 931541"/>
                <a:gd name="connsiteX93" fmla="*/ 651559 w 1254861"/>
                <a:gd name="connsiteY93" fmla="*/ 56274 h 931541"/>
                <a:gd name="connsiteX94" fmla="*/ 670561 w 1254861"/>
                <a:gd name="connsiteY94" fmla="*/ 53338 h 931541"/>
                <a:gd name="connsiteX95" fmla="*/ 685635 w 1254861"/>
                <a:gd name="connsiteY95" fmla="*/ 46277 h 931541"/>
                <a:gd name="connsiteX96" fmla="*/ 688669 w 1254861"/>
                <a:gd name="connsiteY96" fmla="*/ 45158 h 931541"/>
                <a:gd name="connsiteX97" fmla="*/ 688800 w 1254861"/>
                <a:gd name="connsiteY97" fmla="*/ 49577 h 931541"/>
                <a:gd name="connsiteX98" fmla="*/ 692430 w 1254861"/>
                <a:gd name="connsiteY98" fmla="*/ 55644 h 931541"/>
                <a:gd name="connsiteX99" fmla="*/ 696191 w 1254861"/>
                <a:gd name="connsiteY99" fmla="*/ 57888 h 931541"/>
                <a:gd name="connsiteX100" fmla="*/ 704107 w 1254861"/>
                <a:gd name="connsiteY100" fmla="*/ 60991 h 931541"/>
                <a:gd name="connsiteX101" fmla="*/ 710209 w 1254861"/>
                <a:gd name="connsiteY101" fmla="*/ 61421 h 931541"/>
                <a:gd name="connsiteX102" fmla="*/ 718520 w 1254861"/>
                <a:gd name="connsiteY102" fmla="*/ 62872 h 931541"/>
                <a:gd name="connsiteX103" fmla="*/ 724161 w 1254861"/>
                <a:gd name="connsiteY103" fmla="*/ 66366 h 931541"/>
                <a:gd name="connsiteX104" fmla="*/ 724491 w 1254861"/>
                <a:gd name="connsiteY104" fmla="*/ 71810 h 931541"/>
                <a:gd name="connsiteX105" fmla="*/ 723074 w 1254861"/>
                <a:gd name="connsiteY105" fmla="*/ 77877 h 931541"/>
                <a:gd name="connsiteX106" fmla="*/ 719642 w 1254861"/>
                <a:gd name="connsiteY106" fmla="*/ 83452 h 931541"/>
                <a:gd name="connsiteX107" fmla="*/ 717696 w 1254861"/>
                <a:gd name="connsiteY107" fmla="*/ 87708 h 931541"/>
                <a:gd name="connsiteX108" fmla="*/ 719511 w 1254861"/>
                <a:gd name="connsiteY108" fmla="*/ 90150 h 931541"/>
                <a:gd name="connsiteX109" fmla="*/ 722478 w 1254861"/>
                <a:gd name="connsiteY109" fmla="*/ 92061 h 931541"/>
                <a:gd name="connsiteX110" fmla="*/ 725678 w 1254861"/>
                <a:gd name="connsiteY110" fmla="*/ 92588 h 931541"/>
                <a:gd name="connsiteX111" fmla="*/ 727857 w 1254861"/>
                <a:gd name="connsiteY111" fmla="*/ 91964 h 931541"/>
                <a:gd name="connsiteX112" fmla="*/ 729505 w 1254861"/>
                <a:gd name="connsiteY112" fmla="*/ 88598 h 931541"/>
                <a:gd name="connsiteX113" fmla="*/ 732639 w 1254861"/>
                <a:gd name="connsiteY113" fmla="*/ 84477 h 931541"/>
                <a:gd name="connsiteX114" fmla="*/ 734384 w 1254861"/>
                <a:gd name="connsiteY114" fmla="*/ 83948 h 931541"/>
                <a:gd name="connsiteX115" fmla="*/ 734253 w 1254861"/>
                <a:gd name="connsiteY115" fmla="*/ 86289 h 931541"/>
                <a:gd name="connsiteX116" fmla="*/ 735738 w 1254861"/>
                <a:gd name="connsiteY116" fmla="*/ 89191 h 931541"/>
                <a:gd name="connsiteX117" fmla="*/ 745930 w 1254861"/>
                <a:gd name="connsiteY117" fmla="*/ 94042 h 931541"/>
                <a:gd name="connsiteX118" fmla="*/ 768294 w 1254861"/>
                <a:gd name="connsiteY118" fmla="*/ 103081 h 931541"/>
                <a:gd name="connsiteX119" fmla="*/ 777070 w 1254861"/>
                <a:gd name="connsiteY119" fmla="*/ 103244 h 931541"/>
                <a:gd name="connsiteX120" fmla="*/ 784162 w 1254861"/>
                <a:gd name="connsiteY120" fmla="*/ 104300 h 931541"/>
                <a:gd name="connsiteX121" fmla="*/ 786240 w 1254861"/>
                <a:gd name="connsiteY121" fmla="*/ 108092 h 931541"/>
                <a:gd name="connsiteX122" fmla="*/ 800490 w 1254861"/>
                <a:gd name="connsiteY122" fmla="*/ 122013 h 931541"/>
                <a:gd name="connsiteX123" fmla="*/ 803887 w 1254861"/>
                <a:gd name="connsiteY123" fmla="*/ 121650 h 931541"/>
                <a:gd name="connsiteX124" fmla="*/ 810221 w 1254861"/>
                <a:gd name="connsiteY124" fmla="*/ 121979 h 931541"/>
                <a:gd name="connsiteX125" fmla="*/ 817871 w 1254861"/>
                <a:gd name="connsiteY125" fmla="*/ 120860 h 931541"/>
                <a:gd name="connsiteX126" fmla="*/ 823415 w 1254861"/>
                <a:gd name="connsiteY126" fmla="*/ 118252 h 931541"/>
                <a:gd name="connsiteX127" fmla="*/ 827041 w 1254861"/>
                <a:gd name="connsiteY127" fmla="*/ 118682 h 931541"/>
                <a:gd name="connsiteX128" fmla="*/ 831065 w 1254861"/>
                <a:gd name="connsiteY128" fmla="*/ 121386 h 931541"/>
                <a:gd name="connsiteX129" fmla="*/ 835751 w 1254861"/>
                <a:gd name="connsiteY129" fmla="*/ 123727 h 931541"/>
                <a:gd name="connsiteX130" fmla="*/ 841821 w 1254861"/>
                <a:gd name="connsiteY130" fmla="*/ 128312 h 931541"/>
                <a:gd name="connsiteX131" fmla="*/ 847227 w 1254861"/>
                <a:gd name="connsiteY131" fmla="*/ 133954 h 931541"/>
                <a:gd name="connsiteX132" fmla="*/ 850957 w 1254861"/>
                <a:gd name="connsiteY132" fmla="*/ 135800 h 931541"/>
                <a:gd name="connsiteX133" fmla="*/ 873418 w 1254861"/>
                <a:gd name="connsiteY133" fmla="*/ 132007 h 931541"/>
                <a:gd name="connsiteX134" fmla="*/ 878433 w 1254861"/>
                <a:gd name="connsiteY134" fmla="*/ 135339 h 931541"/>
                <a:gd name="connsiteX135" fmla="*/ 883745 w 1254861"/>
                <a:gd name="connsiteY135" fmla="*/ 135304 h 931541"/>
                <a:gd name="connsiteX136" fmla="*/ 889715 w 1254861"/>
                <a:gd name="connsiteY136" fmla="*/ 134449 h 931541"/>
                <a:gd name="connsiteX137" fmla="*/ 902712 w 1254861"/>
                <a:gd name="connsiteY137" fmla="*/ 136198 h 931541"/>
                <a:gd name="connsiteX138" fmla="*/ 913267 w 1254861"/>
                <a:gd name="connsiteY138" fmla="*/ 135768 h 931541"/>
                <a:gd name="connsiteX139" fmla="*/ 914223 w 1254861"/>
                <a:gd name="connsiteY139" fmla="*/ 134383 h 931541"/>
                <a:gd name="connsiteX140" fmla="*/ 915113 w 1254861"/>
                <a:gd name="connsiteY140" fmla="*/ 121847 h 931541"/>
                <a:gd name="connsiteX141" fmla="*/ 916796 w 1254861"/>
                <a:gd name="connsiteY141" fmla="*/ 117394 h 931541"/>
                <a:gd name="connsiteX142" fmla="*/ 919303 w 1254861"/>
                <a:gd name="connsiteY142" fmla="*/ 116206 h 931541"/>
                <a:gd name="connsiteX143" fmla="*/ 925537 w 1254861"/>
                <a:gd name="connsiteY143" fmla="*/ 117099 h 931541"/>
                <a:gd name="connsiteX144" fmla="*/ 948265 w 1254861"/>
                <a:gd name="connsiteY144" fmla="*/ 124520 h 931541"/>
                <a:gd name="connsiteX145" fmla="*/ 957632 w 1254861"/>
                <a:gd name="connsiteY145" fmla="*/ 129171 h 931541"/>
                <a:gd name="connsiteX146" fmla="*/ 966636 w 1254861"/>
                <a:gd name="connsiteY146" fmla="*/ 132801 h 931541"/>
                <a:gd name="connsiteX147" fmla="*/ 974487 w 1254861"/>
                <a:gd name="connsiteY147" fmla="*/ 133195 h 931541"/>
                <a:gd name="connsiteX148" fmla="*/ 979699 w 1254861"/>
                <a:gd name="connsiteY148" fmla="*/ 135637 h 931541"/>
                <a:gd name="connsiteX149" fmla="*/ 986988 w 1254861"/>
                <a:gd name="connsiteY149" fmla="*/ 147511 h 931541"/>
                <a:gd name="connsiteX150" fmla="*/ 985735 w 1254861"/>
                <a:gd name="connsiteY150" fmla="*/ 153482 h 931541"/>
                <a:gd name="connsiteX151" fmla="*/ 986396 w 1254861"/>
                <a:gd name="connsiteY151" fmla="*/ 155691 h 931541"/>
                <a:gd name="connsiteX152" fmla="*/ 987155 w 1254861"/>
                <a:gd name="connsiteY152" fmla="*/ 159816 h 931541"/>
                <a:gd name="connsiteX153" fmla="*/ 986957 w 1254861"/>
                <a:gd name="connsiteY153" fmla="*/ 164397 h 931541"/>
                <a:gd name="connsiteX154" fmla="*/ 988869 w 1254861"/>
                <a:gd name="connsiteY154" fmla="*/ 167400 h 931541"/>
                <a:gd name="connsiteX155" fmla="*/ 992332 w 1254861"/>
                <a:gd name="connsiteY155" fmla="*/ 167763 h 931541"/>
                <a:gd name="connsiteX156" fmla="*/ 996751 w 1254861"/>
                <a:gd name="connsiteY156" fmla="*/ 166873 h 931541"/>
                <a:gd name="connsiteX157" fmla="*/ 1001602 w 1254861"/>
                <a:gd name="connsiteY157" fmla="*/ 165093 h 931541"/>
                <a:gd name="connsiteX158" fmla="*/ 1010111 w 1254861"/>
                <a:gd name="connsiteY158" fmla="*/ 160013 h 931541"/>
                <a:gd name="connsiteX159" fmla="*/ 1012649 w 1254861"/>
                <a:gd name="connsiteY159" fmla="*/ 159189 h 931541"/>
                <a:gd name="connsiteX160" fmla="*/ 1026900 w 1254861"/>
                <a:gd name="connsiteY160" fmla="*/ 164958 h 931541"/>
                <a:gd name="connsiteX161" fmla="*/ 1033199 w 1254861"/>
                <a:gd name="connsiteY161" fmla="*/ 168819 h 931541"/>
                <a:gd name="connsiteX162" fmla="*/ 1035377 w 1254861"/>
                <a:gd name="connsiteY162" fmla="*/ 173010 h 931541"/>
                <a:gd name="connsiteX163" fmla="*/ 1038643 w 1254861"/>
                <a:gd name="connsiteY163" fmla="*/ 177297 h 931541"/>
                <a:gd name="connsiteX164" fmla="*/ 1042899 w 1254861"/>
                <a:gd name="connsiteY164" fmla="*/ 177924 h 931541"/>
                <a:gd name="connsiteX165" fmla="*/ 1048970 w 1254861"/>
                <a:gd name="connsiteY165" fmla="*/ 173865 h 931541"/>
                <a:gd name="connsiteX166" fmla="*/ 1058434 w 1254861"/>
                <a:gd name="connsiteY166" fmla="*/ 169512 h 931541"/>
                <a:gd name="connsiteX167" fmla="*/ 1074531 w 1254861"/>
                <a:gd name="connsiteY167" fmla="*/ 173339 h 931541"/>
                <a:gd name="connsiteX168" fmla="*/ 1092441 w 1254861"/>
                <a:gd name="connsiteY168" fmla="*/ 178880 h 931541"/>
                <a:gd name="connsiteX169" fmla="*/ 1100195 w 1254861"/>
                <a:gd name="connsiteY169" fmla="*/ 179541 h 931541"/>
                <a:gd name="connsiteX170" fmla="*/ 1100458 w 1254861"/>
                <a:gd name="connsiteY170" fmla="*/ 176833 h 931541"/>
                <a:gd name="connsiteX171" fmla="*/ 1101875 w 1254861"/>
                <a:gd name="connsiteY171" fmla="*/ 172975 h 931541"/>
                <a:gd name="connsiteX172" fmla="*/ 1104811 w 1254861"/>
                <a:gd name="connsiteY172" fmla="*/ 171029 h 931541"/>
                <a:gd name="connsiteX173" fmla="*/ 1109233 w 1254861"/>
                <a:gd name="connsiteY173" fmla="*/ 170468 h 931541"/>
                <a:gd name="connsiteX174" fmla="*/ 1115367 w 1254861"/>
                <a:gd name="connsiteY174" fmla="*/ 168425 h 931541"/>
                <a:gd name="connsiteX175" fmla="*/ 1122358 w 1254861"/>
                <a:gd name="connsiteY175" fmla="*/ 165059 h 931541"/>
                <a:gd name="connsiteX176" fmla="*/ 1129651 w 1254861"/>
                <a:gd name="connsiteY176" fmla="*/ 163673 h 931541"/>
                <a:gd name="connsiteX177" fmla="*/ 1137270 w 1254861"/>
                <a:gd name="connsiteY177" fmla="*/ 166181 h 931541"/>
                <a:gd name="connsiteX178" fmla="*/ 1146471 w 1254861"/>
                <a:gd name="connsiteY178" fmla="*/ 168227 h 931541"/>
                <a:gd name="connsiteX179" fmla="*/ 1151981 w 1254861"/>
                <a:gd name="connsiteY179" fmla="*/ 168193 h 931541"/>
                <a:gd name="connsiteX180" fmla="*/ 1154620 w 1254861"/>
                <a:gd name="connsiteY180" fmla="*/ 176109 h 931541"/>
                <a:gd name="connsiteX181" fmla="*/ 1159073 w 1254861"/>
                <a:gd name="connsiteY181" fmla="*/ 179112 h 931541"/>
                <a:gd name="connsiteX182" fmla="*/ 1160822 w 1254861"/>
                <a:gd name="connsiteY182" fmla="*/ 185972 h 931541"/>
                <a:gd name="connsiteX183" fmla="*/ 1152639 w 1254861"/>
                <a:gd name="connsiteY183" fmla="*/ 189535 h 931541"/>
                <a:gd name="connsiteX184" fmla="*/ 1147825 w 1254861"/>
                <a:gd name="connsiteY184" fmla="*/ 190027 h 931541"/>
                <a:gd name="connsiteX185" fmla="*/ 1146340 w 1254861"/>
                <a:gd name="connsiteY185" fmla="*/ 201739 h 931541"/>
                <a:gd name="connsiteX186" fmla="*/ 1148650 w 1254861"/>
                <a:gd name="connsiteY186" fmla="*/ 205036 h 931541"/>
                <a:gd name="connsiteX187" fmla="*/ 1153235 w 1254861"/>
                <a:gd name="connsiteY187" fmla="*/ 208139 h 931541"/>
                <a:gd name="connsiteX188" fmla="*/ 1154488 w 1254861"/>
                <a:gd name="connsiteY188" fmla="*/ 211733 h 931541"/>
                <a:gd name="connsiteX189" fmla="*/ 1155413 w 1254861"/>
                <a:gd name="connsiteY189" fmla="*/ 228886 h 931541"/>
                <a:gd name="connsiteX190" fmla="*/ 1146045 w 1254861"/>
                <a:gd name="connsiteY190" fmla="*/ 239209 h 931541"/>
                <a:gd name="connsiteX191" fmla="*/ 1132917 w 1254861"/>
                <a:gd name="connsiteY191" fmla="*/ 250789 h 931541"/>
                <a:gd name="connsiteX192" fmla="*/ 1068661 w 1254861"/>
                <a:gd name="connsiteY192" fmla="*/ 287896 h 931541"/>
                <a:gd name="connsiteX193" fmla="*/ 1053354 w 1254861"/>
                <a:gd name="connsiteY193" fmla="*/ 305807 h 931541"/>
                <a:gd name="connsiteX194" fmla="*/ 1047515 w 1254861"/>
                <a:gd name="connsiteY194" fmla="*/ 309931 h 931541"/>
                <a:gd name="connsiteX195" fmla="*/ 999753 w 1254861"/>
                <a:gd name="connsiteY195" fmla="*/ 321179 h 931541"/>
                <a:gd name="connsiteX196" fmla="*/ 966373 w 1254861"/>
                <a:gd name="connsiteY196" fmla="*/ 333185 h 931541"/>
                <a:gd name="connsiteX197" fmla="*/ 950374 w 1254861"/>
                <a:gd name="connsiteY197" fmla="*/ 337538 h 931541"/>
                <a:gd name="connsiteX198" fmla="*/ 930385 w 1254861"/>
                <a:gd name="connsiteY198" fmla="*/ 358351 h 931541"/>
                <a:gd name="connsiteX199" fmla="*/ 920917 w 1254861"/>
                <a:gd name="connsiteY199" fmla="*/ 366732 h 931541"/>
                <a:gd name="connsiteX200" fmla="*/ 928473 w 1254861"/>
                <a:gd name="connsiteY200" fmla="*/ 369042 h 931541"/>
                <a:gd name="connsiteX201" fmla="*/ 937280 w 1254861"/>
                <a:gd name="connsiteY201" fmla="*/ 378970 h 931541"/>
                <a:gd name="connsiteX202" fmla="*/ 934312 w 1254861"/>
                <a:gd name="connsiteY202" fmla="*/ 383354 h 931541"/>
                <a:gd name="connsiteX203" fmla="*/ 921478 w 1254861"/>
                <a:gd name="connsiteY203" fmla="*/ 390152 h 931541"/>
                <a:gd name="connsiteX204" fmla="*/ 915871 w 1254861"/>
                <a:gd name="connsiteY204" fmla="*/ 392230 h 931541"/>
                <a:gd name="connsiteX205" fmla="*/ 912838 w 1254861"/>
                <a:gd name="connsiteY205" fmla="*/ 391139 h 931541"/>
                <a:gd name="connsiteX206" fmla="*/ 909967 w 1254861"/>
                <a:gd name="connsiteY206" fmla="*/ 392064 h 931541"/>
                <a:gd name="connsiteX207" fmla="*/ 888462 w 1254861"/>
                <a:gd name="connsiteY207" fmla="*/ 427854 h 931541"/>
                <a:gd name="connsiteX208" fmla="*/ 869460 w 1254861"/>
                <a:gd name="connsiteY208" fmla="*/ 453515 h 931541"/>
                <a:gd name="connsiteX209" fmla="*/ 858773 w 1254861"/>
                <a:gd name="connsiteY209" fmla="*/ 464666 h 931541"/>
                <a:gd name="connsiteX210" fmla="*/ 847823 w 1254861"/>
                <a:gd name="connsiteY210" fmla="*/ 481258 h 931541"/>
                <a:gd name="connsiteX211" fmla="*/ 824503 w 1254861"/>
                <a:gd name="connsiteY211" fmla="*/ 523908 h 931541"/>
                <a:gd name="connsiteX212" fmla="*/ 824337 w 1254861"/>
                <a:gd name="connsiteY212" fmla="*/ 536178 h 931541"/>
                <a:gd name="connsiteX213" fmla="*/ 835817 w 1254861"/>
                <a:gd name="connsiteY213" fmla="*/ 578364 h 931541"/>
                <a:gd name="connsiteX214" fmla="*/ 842414 w 1254861"/>
                <a:gd name="connsiteY214" fmla="*/ 589415 h 931541"/>
                <a:gd name="connsiteX215" fmla="*/ 851650 w 1254861"/>
                <a:gd name="connsiteY215" fmla="*/ 598685 h 931541"/>
                <a:gd name="connsiteX216" fmla="*/ 869131 w 1254861"/>
                <a:gd name="connsiteY216" fmla="*/ 606567 h 931541"/>
                <a:gd name="connsiteX217" fmla="*/ 873453 w 1254861"/>
                <a:gd name="connsiteY217" fmla="*/ 614321 h 931541"/>
                <a:gd name="connsiteX218" fmla="*/ 867417 w 1254861"/>
                <a:gd name="connsiteY218" fmla="*/ 621708 h 931541"/>
                <a:gd name="connsiteX219" fmla="*/ 849932 w 1254861"/>
                <a:gd name="connsiteY219" fmla="*/ 634805 h 931541"/>
                <a:gd name="connsiteX220" fmla="*/ 819519 w 1254861"/>
                <a:gd name="connsiteY220" fmla="*/ 652484 h 931541"/>
                <a:gd name="connsiteX221" fmla="*/ 806592 w 1254861"/>
                <a:gd name="connsiteY221" fmla="*/ 666405 h 931541"/>
                <a:gd name="connsiteX222" fmla="*/ 803853 w 1254861"/>
                <a:gd name="connsiteY222" fmla="*/ 679796 h 931541"/>
                <a:gd name="connsiteX223" fmla="*/ 794946 w 1254861"/>
                <a:gd name="connsiteY223" fmla="*/ 685833 h 931541"/>
                <a:gd name="connsiteX224" fmla="*/ 791583 w 1254861"/>
                <a:gd name="connsiteY224" fmla="*/ 704533 h 931541"/>
                <a:gd name="connsiteX225" fmla="*/ 786174 w 1254861"/>
                <a:gd name="connsiteY225" fmla="*/ 716903 h 931541"/>
                <a:gd name="connsiteX226" fmla="*/ 785149 w 1254861"/>
                <a:gd name="connsiteY226" fmla="*/ 721093 h 931541"/>
                <a:gd name="connsiteX227" fmla="*/ 779411 w 1254861"/>
                <a:gd name="connsiteY227" fmla="*/ 730461 h 931541"/>
                <a:gd name="connsiteX228" fmla="*/ 778652 w 1254861"/>
                <a:gd name="connsiteY228" fmla="*/ 737290 h 931541"/>
                <a:gd name="connsiteX229" fmla="*/ 788054 w 1254861"/>
                <a:gd name="connsiteY229" fmla="*/ 746657 h 931541"/>
                <a:gd name="connsiteX230" fmla="*/ 783404 w 1254861"/>
                <a:gd name="connsiteY230" fmla="*/ 750716 h 931541"/>
                <a:gd name="connsiteX231" fmla="*/ 778753 w 1254861"/>
                <a:gd name="connsiteY231" fmla="*/ 752496 h 931541"/>
                <a:gd name="connsiteX232" fmla="*/ 768031 w 1254861"/>
                <a:gd name="connsiteY232" fmla="*/ 753583 h 931541"/>
                <a:gd name="connsiteX233" fmla="*/ 731977 w 1254861"/>
                <a:gd name="connsiteY233" fmla="*/ 754771 h 931541"/>
                <a:gd name="connsiteX234" fmla="*/ 702985 w 1254861"/>
                <a:gd name="connsiteY234" fmla="*/ 774992 h 931541"/>
                <a:gd name="connsiteX235" fmla="*/ 688503 w 1254861"/>
                <a:gd name="connsiteY235" fmla="*/ 792868 h 931541"/>
                <a:gd name="connsiteX236" fmla="*/ 675374 w 1254861"/>
                <a:gd name="connsiteY236" fmla="*/ 826019 h 931541"/>
                <a:gd name="connsiteX237" fmla="*/ 659444 w 1254861"/>
                <a:gd name="connsiteY237" fmla="*/ 845513 h 931541"/>
                <a:gd name="connsiteX238" fmla="*/ 652418 w 1254861"/>
                <a:gd name="connsiteY238" fmla="*/ 849111 h 931541"/>
                <a:gd name="connsiteX239" fmla="*/ 641499 w 1254861"/>
                <a:gd name="connsiteY239" fmla="*/ 840568 h 931541"/>
                <a:gd name="connsiteX240" fmla="*/ 627844 w 1254861"/>
                <a:gd name="connsiteY240" fmla="*/ 839248 h 931541"/>
                <a:gd name="connsiteX241" fmla="*/ 614615 w 1254861"/>
                <a:gd name="connsiteY241" fmla="*/ 842084 h 931541"/>
                <a:gd name="connsiteX242" fmla="*/ 607689 w 1254861"/>
                <a:gd name="connsiteY242" fmla="*/ 848879 h 931541"/>
                <a:gd name="connsiteX243" fmla="*/ 596871 w 1254861"/>
                <a:gd name="connsiteY243" fmla="*/ 852671 h 931541"/>
                <a:gd name="connsiteX244" fmla="*/ 586281 w 1254861"/>
                <a:gd name="connsiteY244" fmla="*/ 849405 h 931541"/>
                <a:gd name="connsiteX245" fmla="*/ 563390 w 1254861"/>
                <a:gd name="connsiteY245" fmla="*/ 847625 h 931541"/>
                <a:gd name="connsiteX246" fmla="*/ 553198 w 1254861"/>
                <a:gd name="connsiteY246" fmla="*/ 847954 h 931541"/>
                <a:gd name="connsiteX247" fmla="*/ 537265 w 1254861"/>
                <a:gd name="connsiteY247" fmla="*/ 853464 h 931541"/>
                <a:gd name="connsiteX248" fmla="*/ 523610 w 1254861"/>
                <a:gd name="connsiteY248" fmla="*/ 849804 h 931541"/>
                <a:gd name="connsiteX249" fmla="*/ 500553 w 1254861"/>
                <a:gd name="connsiteY249" fmla="*/ 847923 h 931541"/>
                <a:gd name="connsiteX250" fmla="*/ 450648 w 1254861"/>
                <a:gd name="connsiteY250" fmla="*/ 852307 h 931541"/>
                <a:gd name="connsiteX251" fmla="*/ 444345 w 1254861"/>
                <a:gd name="connsiteY251" fmla="*/ 854354 h 931541"/>
                <a:gd name="connsiteX252" fmla="*/ 438111 w 1254861"/>
                <a:gd name="connsiteY252" fmla="*/ 862534 h 931541"/>
                <a:gd name="connsiteX253" fmla="*/ 422213 w 1254861"/>
                <a:gd name="connsiteY253" fmla="*/ 876618 h 931541"/>
                <a:gd name="connsiteX254" fmla="*/ 398034 w 1254861"/>
                <a:gd name="connsiteY254" fmla="*/ 877113 h 931541"/>
                <a:gd name="connsiteX255" fmla="*/ 376165 w 1254861"/>
                <a:gd name="connsiteY255" fmla="*/ 886086 h 931541"/>
                <a:gd name="connsiteX256" fmla="*/ 370690 w 1254861"/>
                <a:gd name="connsiteY256" fmla="*/ 891824 h 931541"/>
                <a:gd name="connsiteX257" fmla="*/ 361519 w 1254861"/>
                <a:gd name="connsiteY257" fmla="*/ 907626 h 931541"/>
                <a:gd name="connsiteX258" fmla="*/ 358649 w 1254861"/>
                <a:gd name="connsiteY258" fmla="*/ 919137 h 931541"/>
                <a:gd name="connsiteX259" fmla="*/ 356737 w 1254861"/>
                <a:gd name="connsiteY259" fmla="*/ 919237 h 931541"/>
                <a:gd name="connsiteX260" fmla="*/ 354361 w 1254861"/>
                <a:gd name="connsiteY260" fmla="*/ 916398 h 931541"/>
                <a:gd name="connsiteX261" fmla="*/ 350999 w 1254861"/>
                <a:gd name="connsiteY261" fmla="*/ 917322 h 931541"/>
                <a:gd name="connsiteX262" fmla="*/ 349250 w 1254861"/>
                <a:gd name="connsiteY262" fmla="*/ 926098 h 931541"/>
                <a:gd name="connsiteX263" fmla="*/ 341036 w 1254861"/>
                <a:gd name="connsiteY263" fmla="*/ 930087 h 931541"/>
                <a:gd name="connsiteX264" fmla="*/ 334175 w 1254861"/>
                <a:gd name="connsiteY264" fmla="*/ 931541 h 931541"/>
                <a:gd name="connsiteX265" fmla="*/ 317251 w 1254861"/>
                <a:gd name="connsiteY265" fmla="*/ 924449 h 931541"/>
                <a:gd name="connsiteX266" fmla="*/ 303136 w 1254861"/>
                <a:gd name="connsiteY266" fmla="*/ 913793 h 931541"/>
                <a:gd name="connsiteX267" fmla="*/ 295746 w 1254861"/>
                <a:gd name="connsiteY267" fmla="*/ 913035 h 931541"/>
                <a:gd name="connsiteX268" fmla="*/ 283740 w 1254861"/>
                <a:gd name="connsiteY268" fmla="*/ 896409 h 931541"/>
                <a:gd name="connsiteX269" fmla="*/ 278563 w 1254861"/>
                <a:gd name="connsiteY269" fmla="*/ 885823 h 931541"/>
                <a:gd name="connsiteX270" fmla="*/ 274899 w 1254861"/>
                <a:gd name="connsiteY270" fmla="*/ 874343 h 931541"/>
                <a:gd name="connsiteX271" fmla="*/ 275657 w 1254861"/>
                <a:gd name="connsiteY271" fmla="*/ 869955 h 931541"/>
                <a:gd name="connsiteX272" fmla="*/ 274635 w 1254861"/>
                <a:gd name="connsiteY272" fmla="*/ 866295 h 931541"/>
                <a:gd name="connsiteX273" fmla="*/ 263983 w 1254861"/>
                <a:gd name="connsiteY273" fmla="*/ 861644 h 931541"/>
                <a:gd name="connsiteX274" fmla="*/ 261375 w 1254861"/>
                <a:gd name="connsiteY274" fmla="*/ 851088 h 931541"/>
                <a:gd name="connsiteX275" fmla="*/ 269160 w 1254861"/>
                <a:gd name="connsiteY275" fmla="*/ 837333 h 931541"/>
                <a:gd name="connsiteX276" fmla="*/ 275525 w 1254861"/>
                <a:gd name="connsiteY276" fmla="*/ 831495 h 931541"/>
                <a:gd name="connsiteX277" fmla="*/ 279484 w 1254861"/>
                <a:gd name="connsiteY277" fmla="*/ 829812 h 931541"/>
                <a:gd name="connsiteX278" fmla="*/ 269853 w 1254861"/>
                <a:gd name="connsiteY278" fmla="*/ 830407 h 931541"/>
                <a:gd name="connsiteX279" fmla="*/ 262892 w 1254861"/>
                <a:gd name="connsiteY279" fmla="*/ 839248 h 931541"/>
                <a:gd name="connsiteX280" fmla="*/ 253986 w 1254861"/>
                <a:gd name="connsiteY280" fmla="*/ 825064 h 931541"/>
                <a:gd name="connsiteX281" fmla="*/ 217669 w 1254861"/>
                <a:gd name="connsiteY281" fmla="*/ 797387 h 931541"/>
                <a:gd name="connsiteX282" fmla="*/ 220013 w 1254861"/>
                <a:gd name="connsiteY282" fmla="*/ 791022 h 931541"/>
                <a:gd name="connsiteX283" fmla="*/ 219615 w 1254861"/>
                <a:gd name="connsiteY283" fmla="*/ 787590 h 931541"/>
                <a:gd name="connsiteX284" fmla="*/ 213513 w 1254861"/>
                <a:gd name="connsiteY284" fmla="*/ 795012 h 931541"/>
                <a:gd name="connsiteX285" fmla="*/ 209357 w 1254861"/>
                <a:gd name="connsiteY285" fmla="*/ 796927 h 931541"/>
                <a:gd name="connsiteX286" fmla="*/ 190789 w 1254861"/>
                <a:gd name="connsiteY286" fmla="*/ 795739 h 931541"/>
                <a:gd name="connsiteX287" fmla="*/ 169411 w 1254861"/>
                <a:gd name="connsiteY287" fmla="*/ 799136 h 931541"/>
                <a:gd name="connsiteX288" fmla="*/ 163774 w 1254861"/>
                <a:gd name="connsiteY288" fmla="*/ 770306 h 931541"/>
                <a:gd name="connsiteX289" fmla="*/ 161100 w 1254861"/>
                <a:gd name="connsiteY289" fmla="*/ 759225 h 931541"/>
                <a:gd name="connsiteX290" fmla="*/ 160407 w 1254861"/>
                <a:gd name="connsiteY290" fmla="*/ 752032 h 931541"/>
                <a:gd name="connsiteX291" fmla="*/ 165917 w 1254861"/>
                <a:gd name="connsiteY291" fmla="*/ 735409 h 931541"/>
                <a:gd name="connsiteX292" fmla="*/ 171953 w 1254861"/>
                <a:gd name="connsiteY292" fmla="*/ 728615 h 931541"/>
                <a:gd name="connsiteX293" fmla="*/ 179967 w 1254861"/>
                <a:gd name="connsiteY293" fmla="*/ 714596 h 931541"/>
                <a:gd name="connsiteX294" fmla="*/ 189864 w 1254861"/>
                <a:gd name="connsiteY294" fmla="*/ 702919 h 931541"/>
                <a:gd name="connsiteX295" fmla="*/ 200319 w 1254861"/>
                <a:gd name="connsiteY295" fmla="*/ 700145 h 931541"/>
                <a:gd name="connsiteX296" fmla="*/ 204939 w 1254861"/>
                <a:gd name="connsiteY296" fmla="*/ 698431 h 931541"/>
                <a:gd name="connsiteX297" fmla="*/ 208796 w 1254861"/>
                <a:gd name="connsiteY297" fmla="*/ 689393 h 931541"/>
                <a:gd name="connsiteX298" fmla="*/ 210975 w 1254861"/>
                <a:gd name="connsiteY298" fmla="*/ 681677 h 931541"/>
                <a:gd name="connsiteX299" fmla="*/ 209392 w 1254861"/>
                <a:gd name="connsiteY299" fmla="*/ 680919 h 931541"/>
                <a:gd name="connsiteX300" fmla="*/ 197188 w 1254861"/>
                <a:gd name="connsiteY300" fmla="*/ 682501 h 931541"/>
                <a:gd name="connsiteX301" fmla="*/ 175285 w 1254861"/>
                <a:gd name="connsiteY301" fmla="*/ 650011 h 931541"/>
                <a:gd name="connsiteX302" fmla="*/ 175977 w 1254861"/>
                <a:gd name="connsiteY302" fmla="*/ 644830 h 931541"/>
                <a:gd name="connsiteX303" fmla="*/ 178713 w 1254861"/>
                <a:gd name="connsiteY303" fmla="*/ 637146 h 931541"/>
                <a:gd name="connsiteX304" fmla="*/ 180528 w 1254861"/>
                <a:gd name="connsiteY304" fmla="*/ 627415 h 931541"/>
                <a:gd name="connsiteX305" fmla="*/ 180988 w 1254861"/>
                <a:gd name="connsiteY305" fmla="*/ 619730 h 931541"/>
                <a:gd name="connsiteX306" fmla="*/ 186695 w 1254861"/>
                <a:gd name="connsiteY306" fmla="*/ 613099 h 931541"/>
                <a:gd name="connsiteX307" fmla="*/ 195440 w 1254861"/>
                <a:gd name="connsiteY307" fmla="*/ 606436 h 931541"/>
                <a:gd name="connsiteX308" fmla="*/ 202795 w 1254861"/>
                <a:gd name="connsiteY308" fmla="*/ 596937 h 931541"/>
                <a:gd name="connsiteX309" fmla="*/ 206487 w 1254861"/>
                <a:gd name="connsiteY309" fmla="*/ 587666 h 931541"/>
                <a:gd name="connsiteX310" fmla="*/ 207248 w 1254861"/>
                <a:gd name="connsiteY310" fmla="*/ 579223 h 931541"/>
                <a:gd name="connsiteX311" fmla="*/ 203089 w 1254861"/>
                <a:gd name="connsiteY311" fmla="*/ 573187 h 931541"/>
                <a:gd name="connsiteX312" fmla="*/ 191118 w 1254861"/>
                <a:gd name="connsiteY312" fmla="*/ 569856 h 931541"/>
                <a:gd name="connsiteX313" fmla="*/ 178748 w 1254861"/>
                <a:gd name="connsiteY313" fmla="*/ 545708 h 931541"/>
                <a:gd name="connsiteX314" fmla="*/ 176008 w 1254861"/>
                <a:gd name="connsiteY314" fmla="*/ 530571 h 931541"/>
                <a:gd name="connsiteX315" fmla="*/ 173470 w 1254861"/>
                <a:gd name="connsiteY315" fmla="*/ 528985 h 931541"/>
                <a:gd name="connsiteX316" fmla="*/ 165851 w 1254861"/>
                <a:gd name="connsiteY316" fmla="*/ 522094 h 931541"/>
                <a:gd name="connsiteX317" fmla="*/ 158527 w 1254861"/>
                <a:gd name="connsiteY317" fmla="*/ 509097 h 931541"/>
                <a:gd name="connsiteX318" fmla="*/ 157471 w 1254861"/>
                <a:gd name="connsiteY318" fmla="*/ 507050 h 931541"/>
                <a:gd name="connsiteX319" fmla="*/ 165027 w 1254861"/>
                <a:gd name="connsiteY319" fmla="*/ 504775 h 931541"/>
                <a:gd name="connsiteX320" fmla="*/ 196163 w 1254861"/>
                <a:gd name="connsiteY320" fmla="*/ 504675 h 931541"/>
                <a:gd name="connsiteX321" fmla="*/ 202663 w 1254861"/>
                <a:gd name="connsiteY321" fmla="*/ 501807 h 931541"/>
                <a:gd name="connsiteX322" fmla="*/ 203650 w 1254861"/>
                <a:gd name="connsiteY322" fmla="*/ 500817 h 931541"/>
                <a:gd name="connsiteX323" fmla="*/ 209326 w 1254861"/>
                <a:gd name="connsiteY323" fmla="*/ 490691 h 931541"/>
                <a:gd name="connsiteX324" fmla="*/ 215262 w 1254861"/>
                <a:gd name="connsiteY324" fmla="*/ 474034 h 931541"/>
                <a:gd name="connsiteX325" fmla="*/ 216647 w 1254861"/>
                <a:gd name="connsiteY325" fmla="*/ 463838 h 931541"/>
                <a:gd name="connsiteX326" fmla="*/ 214767 w 1254861"/>
                <a:gd name="connsiteY326" fmla="*/ 459617 h 931541"/>
                <a:gd name="connsiteX327" fmla="*/ 204443 w 1254861"/>
                <a:gd name="connsiteY327" fmla="*/ 449294 h 931541"/>
                <a:gd name="connsiteX328" fmla="*/ 203983 w 1254861"/>
                <a:gd name="connsiteY328" fmla="*/ 446260 h 931541"/>
                <a:gd name="connsiteX329" fmla="*/ 205631 w 1254861"/>
                <a:gd name="connsiteY329" fmla="*/ 441377 h 931541"/>
                <a:gd name="connsiteX330" fmla="*/ 211764 w 1254861"/>
                <a:gd name="connsiteY330" fmla="*/ 436165 h 931541"/>
                <a:gd name="connsiteX331" fmla="*/ 220044 w 1254861"/>
                <a:gd name="connsiteY331" fmla="*/ 430230 h 931541"/>
                <a:gd name="connsiteX332" fmla="*/ 224564 w 1254861"/>
                <a:gd name="connsiteY332" fmla="*/ 425115 h 931541"/>
                <a:gd name="connsiteX333" fmla="*/ 223476 w 1254861"/>
                <a:gd name="connsiteY333" fmla="*/ 421091 h 931541"/>
                <a:gd name="connsiteX334" fmla="*/ 221069 w 1254861"/>
                <a:gd name="connsiteY334" fmla="*/ 416901 h 931541"/>
                <a:gd name="connsiteX335" fmla="*/ 220671 w 1254861"/>
                <a:gd name="connsiteY335" fmla="*/ 412977 h 931541"/>
                <a:gd name="connsiteX336" fmla="*/ 222188 w 1254861"/>
                <a:gd name="connsiteY336" fmla="*/ 408160 h 931541"/>
                <a:gd name="connsiteX337" fmla="*/ 222749 w 1254861"/>
                <a:gd name="connsiteY337" fmla="*/ 391669 h 931541"/>
                <a:gd name="connsiteX338" fmla="*/ 223805 w 1254861"/>
                <a:gd name="connsiteY338" fmla="*/ 387448 h 931541"/>
                <a:gd name="connsiteX339" fmla="*/ 222188 w 1254861"/>
                <a:gd name="connsiteY339" fmla="*/ 372404 h 931541"/>
                <a:gd name="connsiteX340" fmla="*/ 220176 w 1254861"/>
                <a:gd name="connsiteY340" fmla="*/ 360100 h 931541"/>
                <a:gd name="connsiteX341" fmla="*/ 213614 w 1254861"/>
                <a:gd name="connsiteY341" fmla="*/ 344135 h 931541"/>
                <a:gd name="connsiteX342" fmla="*/ 214801 w 1254861"/>
                <a:gd name="connsiteY342" fmla="*/ 340607 h 931541"/>
                <a:gd name="connsiteX343" fmla="*/ 217835 w 1254861"/>
                <a:gd name="connsiteY343" fmla="*/ 337639 h 931541"/>
                <a:gd name="connsiteX344" fmla="*/ 227763 w 1254861"/>
                <a:gd name="connsiteY344" fmla="*/ 332098 h 931541"/>
                <a:gd name="connsiteX345" fmla="*/ 235680 w 1254861"/>
                <a:gd name="connsiteY345" fmla="*/ 319035 h 931541"/>
                <a:gd name="connsiteX346" fmla="*/ 247191 w 1254861"/>
                <a:gd name="connsiteY346" fmla="*/ 308082 h 931541"/>
                <a:gd name="connsiteX347" fmla="*/ 262265 w 1254861"/>
                <a:gd name="connsiteY347" fmla="*/ 299275 h 931541"/>
                <a:gd name="connsiteX348" fmla="*/ 272821 w 1254861"/>
                <a:gd name="connsiteY348" fmla="*/ 289478 h 931541"/>
                <a:gd name="connsiteX349" fmla="*/ 276977 w 1254861"/>
                <a:gd name="connsiteY349" fmla="*/ 281960 h 931541"/>
                <a:gd name="connsiteX350" fmla="*/ 279913 w 1254861"/>
                <a:gd name="connsiteY350" fmla="*/ 279979 h 931541"/>
                <a:gd name="connsiteX351" fmla="*/ 279058 w 1254861"/>
                <a:gd name="connsiteY351" fmla="*/ 276482 h 931541"/>
                <a:gd name="connsiteX352" fmla="*/ 277077 w 1254861"/>
                <a:gd name="connsiteY352" fmla="*/ 271405 h 931541"/>
                <a:gd name="connsiteX353" fmla="*/ 271072 w 1254861"/>
                <a:gd name="connsiteY353" fmla="*/ 266422 h 931541"/>
                <a:gd name="connsiteX354" fmla="*/ 263322 w 1254861"/>
                <a:gd name="connsiteY354" fmla="*/ 263585 h 931541"/>
                <a:gd name="connsiteX355" fmla="*/ 254713 w 1254861"/>
                <a:gd name="connsiteY355" fmla="*/ 263717 h 931541"/>
                <a:gd name="connsiteX356" fmla="*/ 249369 w 1254861"/>
                <a:gd name="connsiteY356" fmla="*/ 262695 h 931541"/>
                <a:gd name="connsiteX357" fmla="*/ 247818 w 1254861"/>
                <a:gd name="connsiteY357" fmla="*/ 258803 h 931541"/>
                <a:gd name="connsiteX358" fmla="*/ 248414 w 1254861"/>
                <a:gd name="connsiteY358" fmla="*/ 248248 h 931541"/>
                <a:gd name="connsiteX359" fmla="*/ 247949 w 1254861"/>
                <a:gd name="connsiteY359" fmla="*/ 237793 h 931541"/>
                <a:gd name="connsiteX360" fmla="*/ 246301 w 1254861"/>
                <a:gd name="connsiteY360" fmla="*/ 232976 h 931541"/>
                <a:gd name="connsiteX361" fmla="*/ 242312 w 1254861"/>
                <a:gd name="connsiteY361" fmla="*/ 229346 h 931541"/>
                <a:gd name="connsiteX362" fmla="*/ 234426 w 1254861"/>
                <a:gd name="connsiteY362" fmla="*/ 230306 h 931541"/>
                <a:gd name="connsiteX363" fmla="*/ 227601 w 1254861"/>
                <a:gd name="connsiteY363" fmla="*/ 227334 h 931541"/>
                <a:gd name="connsiteX364" fmla="*/ 222420 w 1254861"/>
                <a:gd name="connsiteY364" fmla="*/ 226642 h 931541"/>
                <a:gd name="connsiteX365" fmla="*/ 219418 w 1254861"/>
                <a:gd name="connsiteY365" fmla="*/ 228983 h 931541"/>
                <a:gd name="connsiteX366" fmla="*/ 204146 w 1254861"/>
                <a:gd name="connsiteY366" fmla="*/ 228290 h 931541"/>
                <a:gd name="connsiteX367" fmla="*/ 197781 w 1254861"/>
                <a:gd name="connsiteY367" fmla="*/ 226611 h 931541"/>
                <a:gd name="connsiteX368" fmla="*/ 193327 w 1254861"/>
                <a:gd name="connsiteY368" fmla="*/ 224529 h 931541"/>
                <a:gd name="connsiteX369" fmla="*/ 190491 w 1254861"/>
                <a:gd name="connsiteY369" fmla="*/ 225686 h 931541"/>
                <a:gd name="connsiteX370" fmla="*/ 188874 w 1254861"/>
                <a:gd name="connsiteY370" fmla="*/ 227733 h 931541"/>
                <a:gd name="connsiteX371" fmla="*/ 188610 w 1254861"/>
                <a:gd name="connsiteY371" fmla="*/ 230929 h 931541"/>
                <a:gd name="connsiteX372" fmla="*/ 187554 w 1254861"/>
                <a:gd name="connsiteY372" fmla="*/ 235154 h 931541"/>
                <a:gd name="connsiteX373" fmla="*/ 182079 w 1254861"/>
                <a:gd name="connsiteY373" fmla="*/ 238980 h 931541"/>
                <a:gd name="connsiteX374" fmla="*/ 169578 w 1254861"/>
                <a:gd name="connsiteY374" fmla="*/ 242773 h 931541"/>
                <a:gd name="connsiteX375" fmla="*/ 159483 w 1254861"/>
                <a:gd name="connsiteY375" fmla="*/ 242475 h 931541"/>
                <a:gd name="connsiteX376" fmla="*/ 150216 w 1254861"/>
                <a:gd name="connsiteY376" fmla="*/ 239770 h 931541"/>
                <a:gd name="connsiteX377" fmla="*/ 147248 w 1254861"/>
                <a:gd name="connsiteY377" fmla="*/ 237758 h 931541"/>
                <a:gd name="connsiteX378" fmla="*/ 142794 w 1254861"/>
                <a:gd name="connsiteY378" fmla="*/ 235978 h 931541"/>
                <a:gd name="connsiteX379" fmla="*/ 123959 w 1254861"/>
                <a:gd name="connsiteY379" fmla="*/ 238187 h 931541"/>
                <a:gd name="connsiteX380" fmla="*/ 121684 w 1254861"/>
                <a:gd name="connsiteY380" fmla="*/ 236570 h 931541"/>
                <a:gd name="connsiteX381" fmla="*/ 115184 w 1254861"/>
                <a:gd name="connsiteY381" fmla="*/ 240497 h 931541"/>
                <a:gd name="connsiteX382" fmla="*/ 105619 w 1254861"/>
                <a:gd name="connsiteY382" fmla="*/ 245179 h 931541"/>
                <a:gd name="connsiteX383" fmla="*/ 100241 w 1254861"/>
                <a:gd name="connsiteY383" fmla="*/ 245443 h 931541"/>
                <a:gd name="connsiteX384" fmla="*/ 98295 w 1254861"/>
                <a:gd name="connsiteY384" fmla="*/ 244456 h 931541"/>
                <a:gd name="connsiteX385" fmla="*/ 97602 w 1254861"/>
                <a:gd name="connsiteY385" fmla="*/ 242378 h 931541"/>
                <a:gd name="connsiteX386" fmla="*/ 93578 w 1254861"/>
                <a:gd name="connsiteY386" fmla="*/ 235088 h 931541"/>
                <a:gd name="connsiteX387" fmla="*/ 94634 w 1254861"/>
                <a:gd name="connsiteY387" fmla="*/ 231227 h 931541"/>
                <a:gd name="connsiteX388" fmla="*/ 102353 w 1254861"/>
                <a:gd name="connsiteY388" fmla="*/ 219913 h 931541"/>
                <a:gd name="connsiteX389" fmla="*/ 101494 w 1254861"/>
                <a:gd name="connsiteY389" fmla="*/ 217208 h 931541"/>
                <a:gd name="connsiteX390" fmla="*/ 98329 w 1254861"/>
                <a:gd name="connsiteY390" fmla="*/ 213548 h 931541"/>
                <a:gd name="connsiteX391" fmla="*/ 95493 w 1254861"/>
                <a:gd name="connsiteY391" fmla="*/ 208270 h 931541"/>
                <a:gd name="connsiteX392" fmla="*/ 94669 w 1254861"/>
                <a:gd name="connsiteY392" fmla="*/ 205531 h 931541"/>
                <a:gd name="connsiteX393" fmla="*/ 89751 w 1254861"/>
                <a:gd name="connsiteY393" fmla="*/ 205070 h 931541"/>
                <a:gd name="connsiteX394" fmla="*/ 84508 w 1254861"/>
                <a:gd name="connsiteY394" fmla="*/ 207841 h 931541"/>
                <a:gd name="connsiteX395" fmla="*/ 64551 w 1254861"/>
                <a:gd name="connsiteY395" fmla="*/ 213548 h 931541"/>
                <a:gd name="connsiteX396" fmla="*/ 59768 w 1254861"/>
                <a:gd name="connsiteY396" fmla="*/ 215626 h 931541"/>
                <a:gd name="connsiteX397" fmla="*/ 51128 w 1254861"/>
                <a:gd name="connsiteY397" fmla="*/ 221101 h 931541"/>
                <a:gd name="connsiteX398" fmla="*/ 42384 w 1254861"/>
                <a:gd name="connsiteY398" fmla="*/ 229478 h 931541"/>
                <a:gd name="connsiteX399" fmla="*/ 35427 w 1254861"/>
                <a:gd name="connsiteY399" fmla="*/ 231227 h 931541"/>
                <a:gd name="connsiteX400" fmla="*/ 33016 w 1254861"/>
                <a:gd name="connsiteY400" fmla="*/ 228754 h 931541"/>
                <a:gd name="connsiteX401" fmla="*/ 32192 w 1254861"/>
                <a:gd name="connsiteY401" fmla="*/ 209095 h 931541"/>
                <a:gd name="connsiteX402" fmla="*/ 42813 w 1254861"/>
                <a:gd name="connsiteY402" fmla="*/ 195997 h 931541"/>
                <a:gd name="connsiteX403" fmla="*/ 50370 w 1254861"/>
                <a:gd name="connsiteY403" fmla="*/ 188084 h 931541"/>
                <a:gd name="connsiteX404" fmla="*/ 46837 w 1254861"/>
                <a:gd name="connsiteY404" fmla="*/ 186467 h 931541"/>
                <a:gd name="connsiteX405" fmla="*/ 38824 w 1254861"/>
                <a:gd name="connsiteY405" fmla="*/ 186699 h 931541"/>
                <a:gd name="connsiteX406" fmla="*/ 39385 w 1254861"/>
                <a:gd name="connsiteY406" fmla="*/ 180563 h 931541"/>
                <a:gd name="connsiteX407" fmla="*/ 43146 w 1254861"/>
                <a:gd name="connsiteY407" fmla="*/ 177595 h 931541"/>
                <a:gd name="connsiteX408" fmla="*/ 46771 w 1254861"/>
                <a:gd name="connsiteY408" fmla="*/ 170897 h 931541"/>
                <a:gd name="connsiteX409" fmla="*/ 42519 w 1254861"/>
                <a:gd name="connsiteY409" fmla="*/ 168026 h 931541"/>
                <a:gd name="connsiteX410" fmla="*/ 39187 w 1254861"/>
                <a:gd name="connsiteY410" fmla="*/ 163608 h 931541"/>
                <a:gd name="connsiteX411" fmla="*/ 39385 w 1254861"/>
                <a:gd name="connsiteY411" fmla="*/ 152062 h 931541"/>
                <a:gd name="connsiteX412" fmla="*/ 40309 w 1254861"/>
                <a:gd name="connsiteY412" fmla="*/ 147380 h 931541"/>
                <a:gd name="connsiteX413" fmla="*/ 39219 w 1254861"/>
                <a:gd name="connsiteY413" fmla="*/ 142300 h 931541"/>
                <a:gd name="connsiteX414" fmla="*/ 22890 w 1254861"/>
                <a:gd name="connsiteY414" fmla="*/ 149160 h 931541"/>
                <a:gd name="connsiteX415" fmla="*/ 18704 w 1254861"/>
                <a:gd name="connsiteY415" fmla="*/ 148138 h 931541"/>
                <a:gd name="connsiteX416" fmla="*/ 18537 w 1254861"/>
                <a:gd name="connsiteY416" fmla="*/ 139560 h 931541"/>
                <a:gd name="connsiteX417" fmla="*/ 27576 w 1254861"/>
                <a:gd name="connsiteY417" fmla="*/ 126467 h 931541"/>
                <a:gd name="connsiteX418" fmla="*/ 28501 w 1254861"/>
                <a:gd name="connsiteY418" fmla="*/ 122443 h 931541"/>
                <a:gd name="connsiteX419" fmla="*/ 17911 w 1254861"/>
                <a:gd name="connsiteY419" fmla="*/ 120496 h 931541"/>
                <a:gd name="connsiteX420" fmla="*/ 9994 w 1254861"/>
                <a:gd name="connsiteY420" fmla="*/ 114062 h 931541"/>
                <a:gd name="connsiteX421" fmla="*/ 5177 w 1254861"/>
                <a:gd name="connsiteY421" fmla="*/ 108289 h 931541"/>
                <a:gd name="connsiteX422" fmla="*/ 31 w 1254861"/>
                <a:gd name="connsiteY422" fmla="*/ 100013 h 931541"/>
                <a:gd name="connsiteX423" fmla="*/ 0 w 1254861"/>
                <a:gd name="connsiteY423" fmla="*/ 92557 h 931541"/>
                <a:gd name="connsiteX424" fmla="*/ 5343 w 1254861"/>
                <a:gd name="connsiteY424" fmla="*/ 75106 h 931541"/>
                <a:gd name="connsiteX425" fmla="*/ 12962 w 1254861"/>
                <a:gd name="connsiteY425" fmla="*/ 70026 h 931541"/>
                <a:gd name="connsiteX426" fmla="*/ 19559 w 1254861"/>
                <a:gd name="connsiteY426" fmla="*/ 66896 h 931541"/>
                <a:gd name="connsiteX427" fmla="*/ 33512 w 1254861"/>
                <a:gd name="connsiteY427" fmla="*/ 54789 h 931541"/>
                <a:gd name="connsiteX428" fmla="*/ 52742 w 1254861"/>
                <a:gd name="connsiteY428" fmla="*/ 57033 h 931541"/>
                <a:gd name="connsiteX429" fmla="*/ 64651 w 1254861"/>
                <a:gd name="connsiteY429" fmla="*/ 54425 h 931541"/>
                <a:gd name="connsiteX430" fmla="*/ 75338 w 1254861"/>
                <a:gd name="connsiteY430" fmla="*/ 48226 h 931541"/>
                <a:gd name="connsiteX431" fmla="*/ 81475 w 1254861"/>
                <a:gd name="connsiteY431" fmla="*/ 46838 h 931541"/>
                <a:gd name="connsiteX432" fmla="*/ 91337 w 1254861"/>
                <a:gd name="connsiteY432" fmla="*/ 41428 h 931541"/>
                <a:gd name="connsiteX433" fmla="*/ 91005 w 1254861"/>
                <a:gd name="connsiteY433" fmla="*/ 34108 h 931541"/>
                <a:gd name="connsiteX434" fmla="*/ 87608 w 1254861"/>
                <a:gd name="connsiteY434" fmla="*/ 28664 h 931541"/>
                <a:gd name="connsiteX435" fmla="*/ 90575 w 1254861"/>
                <a:gd name="connsiteY435" fmla="*/ 23552 h 931541"/>
                <a:gd name="connsiteX436" fmla="*/ 101629 w 1254861"/>
                <a:gd name="connsiteY436" fmla="*/ 17284 h 931541"/>
                <a:gd name="connsiteX437" fmla="*/ 113899 w 1254861"/>
                <a:gd name="connsiteY437" fmla="*/ 8973 h 931541"/>
                <a:gd name="connsiteX438" fmla="*/ 127983 w 1254861"/>
                <a:gd name="connsiteY438" fmla="*/ 7356 h 93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</a:cxnLst>
              <a:rect l="l" t="t" r="r" b="b"/>
              <a:pathLst>
                <a:path w="1254861" h="931541">
                  <a:moveTo>
                    <a:pt x="987712" y="613164"/>
                  </a:moveTo>
                  <a:lnTo>
                    <a:pt x="993322" y="619827"/>
                  </a:lnTo>
                  <a:lnTo>
                    <a:pt x="1002195" y="621081"/>
                  </a:lnTo>
                  <a:lnTo>
                    <a:pt x="1002295" y="624544"/>
                  </a:lnTo>
                  <a:lnTo>
                    <a:pt x="1000214" y="626095"/>
                  </a:lnTo>
                  <a:lnTo>
                    <a:pt x="994081" y="624675"/>
                  </a:lnTo>
                  <a:lnTo>
                    <a:pt x="984876" y="624675"/>
                  </a:lnTo>
                  <a:lnTo>
                    <a:pt x="984516" y="619893"/>
                  </a:lnTo>
                  <a:lnTo>
                    <a:pt x="985932" y="616562"/>
                  </a:lnTo>
                  <a:close/>
                  <a:moveTo>
                    <a:pt x="999556" y="571338"/>
                  </a:moveTo>
                  <a:lnTo>
                    <a:pt x="1004075" y="575365"/>
                  </a:lnTo>
                  <a:lnTo>
                    <a:pt x="1005031" y="581135"/>
                  </a:lnTo>
                  <a:lnTo>
                    <a:pt x="993090" y="593737"/>
                  </a:lnTo>
                  <a:lnTo>
                    <a:pt x="988505" y="595354"/>
                  </a:lnTo>
                  <a:lnTo>
                    <a:pt x="985143" y="602644"/>
                  </a:lnTo>
                  <a:lnTo>
                    <a:pt x="971059" y="600071"/>
                  </a:lnTo>
                  <a:lnTo>
                    <a:pt x="967956" y="597134"/>
                  </a:lnTo>
                  <a:lnTo>
                    <a:pt x="970989" y="588888"/>
                  </a:lnTo>
                  <a:lnTo>
                    <a:pt x="975048" y="587898"/>
                  </a:lnTo>
                  <a:lnTo>
                    <a:pt x="975311" y="582028"/>
                  </a:lnTo>
                  <a:lnTo>
                    <a:pt x="979567" y="576124"/>
                  </a:lnTo>
                  <a:close/>
                  <a:moveTo>
                    <a:pt x="1147199" y="469746"/>
                  </a:moveTo>
                  <a:lnTo>
                    <a:pt x="1150793" y="470865"/>
                  </a:lnTo>
                  <a:lnTo>
                    <a:pt x="1147725" y="475287"/>
                  </a:lnTo>
                  <a:lnTo>
                    <a:pt x="1147957" y="477299"/>
                  </a:lnTo>
                  <a:lnTo>
                    <a:pt x="1150894" y="479443"/>
                  </a:lnTo>
                  <a:lnTo>
                    <a:pt x="1150201" y="482871"/>
                  </a:lnTo>
                  <a:lnTo>
                    <a:pt x="1147230" y="485843"/>
                  </a:lnTo>
                  <a:lnTo>
                    <a:pt x="1145914" y="491449"/>
                  </a:lnTo>
                  <a:lnTo>
                    <a:pt x="1154786" y="495439"/>
                  </a:lnTo>
                  <a:lnTo>
                    <a:pt x="1164154" y="491844"/>
                  </a:lnTo>
                  <a:lnTo>
                    <a:pt x="1169134" y="492966"/>
                  </a:lnTo>
                  <a:lnTo>
                    <a:pt x="1174048" y="494912"/>
                  </a:lnTo>
                  <a:lnTo>
                    <a:pt x="1175235" y="502500"/>
                  </a:lnTo>
                  <a:lnTo>
                    <a:pt x="1170882" y="510943"/>
                  </a:lnTo>
                  <a:lnTo>
                    <a:pt x="1164781" y="519521"/>
                  </a:lnTo>
                  <a:lnTo>
                    <a:pt x="1159635" y="528919"/>
                  </a:lnTo>
                  <a:lnTo>
                    <a:pt x="1155150" y="539707"/>
                  </a:lnTo>
                  <a:lnTo>
                    <a:pt x="1146801" y="546072"/>
                  </a:lnTo>
                  <a:lnTo>
                    <a:pt x="1139251" y="549898"/>
                  </a:lnTo>
                  <a:lnTo>
                    <a:pt x="1123283" y="541885"/>
                  </a:lnTo>
                  <a:lnTo>
                    <a:pt x="1113981" y="539873"/>
                  </a:lnTo>
                  <a:lnTo>
                    <a:pt x="1111211" y="536870"/>
                  </a:lnTo>
                  <a:lnTo>
                    <a:pt x="1109001" y="524930"/>
                  </a:lnTo>
                  <a:lnTo>
                    <a:pt x="1104811" y="521134"/>
                  </a:lnTo>
                  <a:lnTo>
                    <a:pt x="1098643" y="519455"/>
                  </a:lnTo>
                  <a:lnTo>
                    <a:pt x="1093234" y="522523"/>
                  </a:lnTo>
                  <a:lnTo>
                    <a:pt x="1086177" y="528822"/>
                  </a:lnTo>
                  <a:lnTo>
                    <a:pt x="1082416" y="522523"/>
                  </a:lnTo>
                  <a:lnTo>
                    <a:pt x="1076445" y="521335"/>
                  </a:lnTo>
                  <a:lnTo>
                    <a:pt x="1074201" y="517540"/>
                  </a:lnTo>
                  <a:lnTo>
                    <a:pt x="1074302" y="512657"/>
                  </a:lnTo>
                  <a:lnTo>
                    <a:pt x="1112596" y="483664"/>
                  </a:lnTo>
                  <a:lnTo>
                    <a:pt x="1123681" y="477233"/>
                  </a:lnTo>
                  <a:close/>
                  <a:moveTo>
                    <a:pt x="1230551" y="457210"/>
                  </a:moveTo>
                  <a:lnTo>
                    <a:pt x="1245957" y="462356"/>
                  </a:lnTo>
                  <a:lnTo>
                    <a:pt x="1254238" y="476208"/>
                  </a:lnTo>
                  <a:lnTo>
                    <a:pt x="1254861" y="478584"/>
                  </a:lnTo>
                  <a:lnTo>
                    <a:pt x="1252226" y="485247"/>
                  </a:lnTo>
                  <a:lnTo>
                    <a:pt x="1250543" y="486632"/>
                  </a:lnTo>
                  <a:lnTo>
                    <a:pt x="1222077" y="472745"/>
                  </a:lnTo>
                  <a:lnTo>
                    <a:pt x="1212771" y="471197"/>
                  </a:lnTo>
                  <a:lnTo>
                    <a:pt x="1210496" y="469085"/>
                  </a:lnTo>
                  <a:lnTo>
                    <a:pt x="1210763" y="461861"/>
                  </a:lnTo>
                  <a:lnTo>
                    <a:pt x="1211487" y="458661"/>
                  </a:lnTo>
                  <a:close/>
                  <a:moveTo>
                    <a:pt x="142299" y="0"/>
                  </a:moveTo>
                  <a:lnTo>
                    <a:pt x="151899" y="4748"/>
                  </a:lnTo>
                  <a:lnTo>
                    <a:pt x="160307" y="3134"/>
                  </a:lnTo>
                  <a:lnTo>
                    <a:pt x="169972" y="8776"/>
                  </a:lnTo>
                  <a:lnTo>
                    <a:pt x="182675" y="21672"/>
                  </a:lnTo>
                  <a:lnTo>
                    <a:pt x="201278" y="26849"/>
                  </a:lnTo>
                  <a:lnTo>
                    <a:pt x="216121" y="22794"/>
                  </a:lnTo>
                  <a:lnTo>
                    <a:pt x="242343" y="21935"/>
                  </a:lnTo>
                  <a:lnTo>
                    <a:pt x="255440" y="23649"/>
                  </a:lnTo>
                  <a:lnTo>
                    <a:pt x="278725" y="20449"/>
                  </a:lnTo>
                  <a:lnTo>
                    <a:pt x="292051" y="21606"/>
                  </a:lnTo>
                  <a:lnTo>
                    <a:pt x="313657" y="15206"/>
                  </a:lnTo>
                  <a:lnTo>
                    <a:pt x="330380" y="23189"/>
                  </a:lnTo>
                  <a:lnTo>
                    <a:pt x="362808" y="26915"/>
                  </a:lnTo>
                  <a:lnTo>
                    <a:pt x="382267" y="33446"/>
                  </a:lnTo>
                  <a:lnTo>
                    <a:pt x="436165" y="44396"/>
                  </a:lnTo>
                  <a:lnTo>
                    <a:pt x="455627" y="44531"/>
                  </a:lnTo>
                  <a:lnTo>
                    <a:pt x="483169" y="38364"/>
                  </a:lnTo>
                  <a:lnTo>
                    <a:pt x="494846" y="33744"/>
                  </a:lnTo>
                  <a:lnTo>
                    <a:pt x="505533" y="36483"/>
                  </a:lnTo>
                  <a:lnTo>
                    <a:pt x="521203" y="31171"/>
                  </a:lnTo>
                  <a:lnTo>
                    <a:pt x="528722" y="32258"/>
                  </a:lnTo>
                  <a:lnTo>
                    <a:pt x="538519" y="39815"/>
                  </a:lnTo>
                  <a:lnTo>
                    <a:pt x="572990" y="50006"/>
                  </a:lnTo>
                  <a:lnTo>
                    <a:pt x="582028" y="41363"/>
                  </a:lnTo>
                  <a:lnTo>
                    <a:pt x="588757" y="39482"/>
                  </a:lnTo>
                  <a:lnTo>
                    <a:pt x="613559" y="44760"/>
                  </a:lnTo>
                  <a:lnTo>
                    <a:pt x="638562" y="55513"/>
                  </a:lnTo>
                  <a:lnTo>
                    <a:pt x="651559" y="56274"/>
                  </a:lnTo>
                  <a:lnTo>
                    <a:pt x="670561" y="53338"/>
                  </a:lnTo>
                  <a:lnTo>
                    <a:pt x="685635" y="46277"/>
                  </a:lnTo>
                  <a:lnTo>
                    <a:pt x="688669" y="45158"/>
                  </a:lnTo>
                  <a:lnTo>
                    <a:pt x="688800" y="49577"/>
                  </a:lnTo>
                  <a:lnTo>
                    <a:pt x="692430" y="55644"/>
                  </a:lnTo>
                  <a:lnTo>
                    <a:pt x="696191" y="57888"/>
                  </a:lnTo>
                  <a:lnTo>
                    <a:pt x="704107" y="60991"/>
                  </a:lnTo>
                  <a:lnTo>
                    <a:pt x="710209" y="61421"/>
                  </a:lnTo>
                  <a:lnTo>
                    <a:pt x="718520" y="62872"/>
                  </a:lnTo>
                  <a:lnTo>
                    <a:pt x="724161" y="66366"/>
                  </a:lnTo>
                  <a:lnTo>
                    <a:pt x="724491" y="71810"/>
                  </a:lnTo>
                  <a:lnTo>
                    <a:pt x="723074" y="77877"/>
                  </a:lnTo>
                  <a:lnTo>
                    <a:pt x="719642" y="83452"/>
                  </a:lnTo>
                  <a:lnTo>
                    <a:pt x="717696" y="87708"/>
                  </a:lnTo>
                  <a:lnTo>
                    <a:pt x="719511" y="90150"/>
                  </a:lnTo>
                  <a:lnTo>
                    <a:pt x="722478" y="92061"/>
                  </a:lnTo>
                  <a:lnTo>
                    <a:pt x="725678" y="92588"/>
                  </a:lnTo>
                  <a:lnTo>
                    <a:pt x="727857" y="91964"/>
                  </a:lnTo>
                  <a:lnTo>
                    <a:pt x="729505" y="88598"/>
                  </a:lnTo>
                  <a:lnTo>
                    <a:pt x="732639" y="84477"/>
                  </a:lnTo>
                  <a:lnTo>
                    <a:pt x="734384" y="83948"/>
                  </a:lnTo>
                  <a:lnTo>
                    <a:pt x="734253" y="86289"/>
                  </a:lnTo>
                  <a:lnTo>
                    <a:pt x="735738" y="89191"/>
                  </a:lnTo>
                  <a:lnTo>
                    <a:pt x="745930" y="94042"/>
                  </a:lnTo>
                  <a:lnTo>
                    <a:pt x="768294" y="103081"/>
                  </a:lnTo>
                  <a:lnTo>
                    <a:pt x="777070" y="103244"/>
                  </a:lnTo>
                  <a:lnTo>
                    <a:pt x="784162" y="104300"/>
                  </a:lnTo>
                  <a:lnTo>
                    <a:pt x="786240" y="108092"/>
                  </a:lnTo>
                  <a:lnTo>
                    <a:pt x="800490" y="122013"/>
                  </a:lnTo>
                  <a:lnTo>
                    <a:pt x="803887" y="121650"/>
                  </a:lnTo>
                  <a:lnTo>
                    <a:pt x="810221" y="121979"/>
                  </a:lnTo>
                  <a:lnTo>
                    <a:pt x="817871" y="120860"/>
                  </a:lnTo>
                  <a:lnTo>
                    <a:pt x="823415" y="118252"/>
                  </a:lnTo>
                  <a:lnTo>
                    <a:pt x="827041" y="118682"/>
                  </a:lnTo>
                  <a:lnTo>
                    <a:pt x="831065" y="121386"/>
                  </a:lnTo>
                  <a:lnTo>
                    <a:pt x="835751" y="123727"/>
                  </a:lnTo>
                  <a:lnTo>
                    <a:pt x="841821" y="128312"/>
                  </a:lnTo>
                  <a:lnTo>
                    <a:pt x="847227" y="133954"/>
                  </a:lnTo>
                  <a:lnTo>
                    <a:pt x="850957" y="135800"/>
                  </a:lnTo>
                  <a:lnTo>
                    <a:pt x="873418" y="132007"/>
                  </a:lnTo>
                  <a:lnTo>
                    <a:pt x="878433" y="135339"/>
                  </a:lnTo>
                  <a:lnTo>
                    <a:pt x="883745" y="135304"/>
                  </a:lnTo>
                  <a:lnTo>
                    <a:pt x="889715" y="134449"/>
                  </a:lnTo>
                  <a:lnTo>
                    <a:pt x="902712" y="136198"/>
                  </a:lnTo>
                  <a:lnTo>
                    <a:pt x="913267" y="135768"/>
                  </a:lnTo>
                  <a:lnTo>
                    <a:pt x="914223" y="134383"/>
                  </a:lnTo>
                  <a:lnTo>
                    <a:pt x="915113" y="121847"/>
                  </a:lnTo>
                  <a:lnTo>
                    <a:pt x="916796" y="117394"/>
                  </a:lnTo>
                  <a:lnTo>
                    <a:pt x="919303" y="116206"/>
                  </a:lnTo>
                  <a:lnTo>
                    <a:pt x="925537" y="117099"/>
                  </a:lnTo>
                  <a:lnTo>
                    <a:pt x="948265" y="124520"/>
                  </a:lnTo>
                  <a:lnTo>
                    <a:pt x="957632" y="129171"/>
                  </a:lnTo>
                  <a:lnTo>
                    <a:pt x="966636" y="132801"/>
                  </a:lnTo>
                  <a:lnTo>
                    <a:pt x="974487" y="133195"/>
                  </a:lnTo>
                  <a:lnTo>
                    <a:pt x="979699" y="135637"/>
                  </a:lnTo>
                  <a:lnTo>
                    <a:pt x="986988" y="147511"/>
                  </a:lnTo>
                  <a:lnTo>
                    <a:pt x="985735" y="153482"/>
                  </a:lnTo>
                  <a:lnTo>
                    <a:pt x="986396" y="155691"/>
                  </a:lnTo>
                  <a:lnTo>
                    <a:pt x="987155" y="159816"/>
                  </a:lnTo>
                  <a:lnTo>
                    <a:pt x="986957" y="164397"/>
                  </a:lnTo>
                  <a:lnTo>
                    <a:pt x="988869" y="167400"/>
                  </a:lnTo>
                  <a:lnTo>
                    <a:pt x="992332" y="167763"/>
                  </a:lnTo>
                  <a:lnTo>
                    <a:pt x="996751" y="166873"/>
                  </a:lnTo>
                  <a:lnTo>
                    <a:pt x="1001602" y="165093"/>
                  </a:lnTo>
                  <a:lnTo>
                    <a:pt x="1010111" y="160013"/>
                  </a:lnTo>
                  <a:lnTo>
                    <a:pt x="1012649" y="159189"/>
                  </a:lnTo>
                  <a:lnTo>
                    <a:pt x="1026900" y="164958"/>
                  </a:lnTo>
                  <a:lnTo>
                    <a:pt x="1033199" y="168819"/>
                  </a:lnTo>
                  <a:lnTo>
                    <a:pt x="1035377" y="173010"/>
                  </a:lnTo>
                  <a:lnTo>
                    <a:pt x="1038643" y="177297"/>
                  </a:lnTo>
                  <a:lnTo>
                    <a:pt x="1042899" y="177924"/>
                  </a:lnTo>
                  <a:lnTo>
                    <a:pt x="1048970" y="173865"/>
                  </a:lnTo>
                  <a:lnTo>
                    <a:pt x="1058434" y="169512"/>
                  </a:lnTo>
                  <a:lnTo>
                    <a:pt x="1074531" y="173339"/>
                  </a:lnTo>
                  <a:lnTo>
                    <a:pt x="1092441" y="178880"/>
                  </a:lnTo>
                  <a:lnTo>
                    <a:pt x="1100195" y="179541"/>
                  </a:lnTo>
                  <a:lnTo>
                    <a:pt x="1100458" y="176833"/>
                  </a:lnTo>
                  <a:lnTo>
                    <a:pt x="1101875" y="172975"/>
                  </a:lnTo>
                  <a:lnTo>
                    <a:pt x="1104811" y="171029"/>
                  </a:lnTo>
                  <a:lnTo>
                    <a:pt x="1109233" y="170468"/>
                  </a:lnTo>
                  <a:lnTo>
                    <a:pt x="1115367" y="168425"/>
                  </a:lnTo>
                  <a:lnTo>
                    <a:pt x="1122358" y="165059"/>
                  </a:lnTo>
                  <a:lnTo>
                    <a:pt x="1129651" y="163673"/>
                  </a:lnTo>
                  <a:lnTo>
                    <a:pt x="1137270" y="166181"/>
                  </a:lnTo>
                  <a:lnTo>
                    <a:pt x="1146471" y="168227"/>
                  </a:lnTo>
                  <a:lnTo>
                    <a:pt x="1151981" y="168193"/>
                  </a:lnTo>
                  <a:lnTo>
                    <a:pt x="1154620" y="176109"/>
                  </a:lnTo>
                  <a:lnTo>
                    <a:pt x="1159073" y="179112"/>
                  </a:lnTo>
                  <a:lnTo>
                    <a:pt x="1160822" y="185972"/>
                  </a:lnTo>
                  <a:lnTo>
                    <a:pt x="1152639" y="189535"/>
                  </a:lnTo>
                  <a:lnTo>
                    <a:pt x="1147825" y="190027"/>
                  </a:lnTo>
                  <a:lnTo>
                    <a:pt x="1146340" y="201739"/>
                  </a:lnTo>
                  <a:lnTo>
                    <a:pt x="1148650" y="205036"/>
                  </a:lnTo>
                  <a:lnTo>
                    <a:pt x="1153235" y="208139"/>
                  </a:lnTo>
                  <a:lnTo>
                    <a:pt x="1154488" y="211733"/>
                  </a:lnTo>
                  <a:lnTo>
                    <a:pt x="1155413" y="228886"/>
                  </a:lnTo>
                  <a:lnTo>
                    <a:pt x="1146045" y="239209"/>
                  </a:lnTo>
                  <a:lnTo>
                    <a:pt x="1132917" y="250789"/>
                  </a:lnTo>
                  <a:lnTo>
                    <a:pt x="1068661" y="287896"/>
                  </a:lnTo>
                  <a:lnTo>
                    <a:pt x="1053354" y="305807"/>
                  </a:lnTo>
                  <a:lnTo>
                    <a:pt x="1047515" y="309931"/>
                  </a:lnTo>
                  <a:lnTo>
                    <a:pt x="999753" y="321179"/>
                  </a:lnTo>
                  <a:lnTo>
                    <a:pt x="966373" y="333185"/>
                  </a:lnTo>
                  <a:lnTo>
                    <a:pt x="950374" y="337538"/>
                  </a:lnTo>
                  <a:lnTo>
                    <a:pt x="930385" y="358351"/>
                  </a:lnTo>
                  <a:lnTo>
                    <a:pt x="920917" y="366732"/>
                  </a:lnTo>
                  <a:lnTo>
                    <a:pt x="928473" y="369042"/>
                  </a:lnTo>
                  <a:lnTo>
                    <a:pt x="937280" y="378970"/>
                  </a:lnTo>
                  <a:lnTo>
                    <a:pt x="934312" y="383354"/>
                  </a:lnTo>
                  <a:lnTo>
                    <a:pt x="921478" y="390152"/>
                  </a:lnTo>
                  <a:lnTo>
                    <a:pt x="915871" y="392230"/>
                  </a:lnTo>
                  <a:lnTo>
                    <a:pt x="912838" y="391139"/>
                  </a:lnTo>
                  <a:lnTo>
                    <a:pt x="909967" y="392064"/>
                  </a:lnTo>
                  <a:lnTo>
                    <a:pt x="888462" y="427854"/>
                  </a:lnTo>
                  <a:lnTo>
                    <a:pt x="869460" y="453515"/>
                  </a:lnTo>
                  <a:lnTo>
                    <a:pt x="858773" y="464666"/>
                  </a:lnTo>
                  <a:lnTo>
                    <a:pt x="847823" y="481258"/>
                  </a:lnTo>
                  <a:lnTo>
                    <a:pt x="824503" y="523908"/>
                  </a:lnTo>
                  <a:lnTo>
                    <a:pt x="824337" y="536178"/>
                  </a:lnTo>
                  <a:lnTo>
                    <a:pt x="835817" y="578364"/>
                  </a:lnTo>
                  <a:lnTo>
                    <a:pt x="842414" y="589415"/>
                  </a:lnTo>
                  <a:lnTo>
                    <a:pt x="851650" y="598685"/>
                  </a:lnTo>
                  <a:lnTo>
                    <a:pt x="869131" y="606567"/>
                  </a:lnTo>
                  <a:lnTo>
                    <a:pt x="873453" y="614321"/>
                  </a:lnTo>
                  <a:lnTo>
                    <a:pt x="867417" y="621708"/>
                  </a:lnTo>
                  <a:lnTo>
                    <a:pt x="849932" y="634805"/>
                  </a:lnTo>
                  <a:lnTo>
                    <a:pt x="819519" y="652484"/>
                  </a:lnTo>
                  <a:lnTo>
                    <a:pt x="806592" y="666405"/>
                  </a:lnTo>
                  <a:lnTo>
                    <a:pt x="803853" y="679796"/>
                  </a:lnTo>
                  <a:lnTo>
                    <a:pt x="794946" y="685833"/>
                  </a:lnTo>
                  <a:lnTo>
                    <a:pt x="791583" y="704533"/>
                  </a:lnTo>
                  <a:lnTo>
                    <a:pt x="786174" y="716903"/>
                  </a:lnTo>
                  <a:lnTo>
                    <a:pt x="785149" y="721093"/>
                  </a:lnTo>
                  <a:lnTo>
                    <a:pt x="779411" y="730461"/>
                  </a:lnTo>
                  <a:lnTo>
                    <a:pt x="778652" y="737290"/>
                  </a:lnTo>
                  <a:lnTo>
                    <a:pt x="788054" y="746657"/>
                  </a:lnTo>
                  <a:lnTo>
                    <a:pt x="783404" y="750716"/>
                  </a:lnTo>
                  <a:lnTo>
                    <a:pt x="778753" y="752496"/>
                  </a:lnTo>
                  <a:lnTo>
                    <a:pt x="768031" y="753583"/>
                  </a:lnTo>
                  <a:lnTo>
                    <a:pt x="731977" y="754771"/>
                  </a:lnTo>
                  <a:lnTo>
                    <a:pt x="702985" y="774992"/>
                  </a:lnTo>
                  <a:lnTo>
                    <a:pt x="688503" y="792868"/>
                  </a:lnTo>
                  <a:lnTo>
                    <a:pt x="675374" y="826019"/>
                  </a:lnTo>
                  <a:lnTo>
                    <a:pt x="659444" y="845513"/>
                  </a:lnTo>
                  <a:lnTo>
                    <a:pt x="652418" y="849111"/>
                  </a:lnTo>
                  <a:lnTo>
                    <a:pt x="641499" y="840568"/>
                  </a:lnTo>
                  <a:lnTo>
                    <a:pt x="627844" y="839248"/>
                  </a:lnTo>
                  <a:lnTo>
                    <a:pt x="614615" y="842084"/>
                  </a:lnTo>
                  <a:lnTo>
                    <a:pt x="607689" y="848879"/>
                  </a:lnTo>
                  <a:lnTo>
                    <a:pt x="596871" y="852671"/>
                  </a:lnTo>
                  <a:lnTo>
                    <a:pt x="586281" y="849405"/>
                  </a:lnTo>
                  <a:lnTo>
                    <a:pt x="563390" y="847625"/>
                  </a:lnTo>
                  <a:lnTo>
                    <a:pt x="553198" y="847954"/>
                  </a:lnTo>
                  <a:lnTo>
                    <a:pt x="537265" y="853464"/>
                  </a:lnTo>
                  <a:lnTo>
                    <a:pt x="523610" y="849804"/>
                  </a:lnTo>
                  <a:lnTo>
                    <a:pt x="500553" y="847923"/>
                  </a:lnTo>
                  <a:lnTo>
                    <a:pt x="450648" y="852307"/>
                  </a:lnTo>
                  <a:lnTo>
                    <a:pt x="444345" y="854354"/>
                  </a:lnTo>
                  <a:lnTo>
                    <a:pt x="438111" y="862534"/>
                  </a:lnTo>
                  <a:lnTo>
                    <a:pt x="422213" y="876618"/>
                  </a:lnTo>
                  <a:lnTo>
                    <a:pt x="398034" y="877113"/>
                  </a:lnTo>
                  <a:lnTo>
                    <a:pt x="376165" y="886086"/>
                  </a:lnTo>
                  <a:lnTo>
                    <a:pt x="370690" y="891824"/>
                  </a:lnTo>
                  <a:lnTo>
                    <a:pt x="361519" y="907626"/>
                  </a:lnTo>
                  <a:lnTo>
                    <a:pt x="358649" y="919137"/>
                  </a:lnTo>
                  <a:lnTo>
                    <a:pt x="356737" y="919237"/>
                  </a:lnTo>
                  <a:lnTo>
                    <a:pt x="354361" y="916398"/>
                  </a:lnTo>
                  <a:lnTo>
                    <a:pt x="350999" y="917322"/>
                  </a:lnTo>
                  <a:lnTo>
                    <a:pt x="349250" y="926098"/>
                  </a:lnTo>
                  <a:lnTo>
                    <a:pt x="341036" y="930087"/>
                  </a:lnTo>
                  <a:lnTo>
                    <a:pt x="334175" y="931541"/>
                  </a:lnTo>
                  <a:lnTo>
                    <a:pt x="317251" y="924449"/>
                  </a:lnTo>
                  <a:lnTo>
                    <a:pt x="303136" y="913793"/>
                  </a:lnTo>
                  <a:lnTo>
                    <a:pt x="295746" y="913035"/>
                  </a:lnTo>
                  <a:lnTo>
                    <a:pt x="283740" y="896409"/>
                  </a:lnTo>
                  <a:lnTo>
                    <a:pt x="278563" y="885823"/>
                  </a:lnTo>
                  <a:lnTo>
                    <a:pt x="274899" y="874343"/>
                  </a:lnTo>
                  <a:lnTo>
                    <a:pt x="275657" y="869955"/>
                  </a:lnTo>
                  <a:lnTo>
                    <a:pt x="274635" y="866295"/>
                  </a:lnTo>
                  <a:lnTo>
                    <a:pt x="263983" y="861644"/>
                  </a:lnTo>
                  <a:lnTo>
                    <a:pt x="261375" y="851088"/>
                  </a:lnTo>
                  <a:lnTo>
                    <a:pt x="269160" y="837333"/>
                  </a:lnTo>
                  <a:lnTo>
                    <a:pt x="275525" y="831495"/>
                  </a:lnTo>
                  <a:lnTo>
                    <a:pt x="279484" y="829812"/>
                  </a:lnTo>
                  <a:lnTo>
                    <a:pt x="269853" y="830407"/>
                  </a:lnTo>
                  <a:lnTo>
                    <a:pt x="262892" y="839248"/>
                  </a:lnTo>
                  <a:lnTo>
                    <a:pt x="253986" y="825064"/>
                  </a:lnTo>
                  <a:lnTo>
                    <a:pt x="217669" y="797387"/>
                  </a:lnTo>
                  <a:lnTo>
                    <a:pt x="220013" y="791022"/>
                  </a:lnTo>
                  <a:lnTo>
                    <a:pt x="219615" y="787590"/>
                  </a:lnTo>
                  <a:lnTo>
                    <a:pt x="213513" y="795012"/>
                  </a:lnTo>
                  <a:lnTo>
                    <a:pt x="209357" y="796927"/>
                  </a:lnTo>
                  <a:lnTo>
                    <a:pt x="190789" y="795739"/>
                  </a:lnTo>
                  <a:lnTo>
                    <a:pt x="169411" y="799136"/>
                  </a:lnTo>
                  <a:lnTo>
                    <a:pt x="163774" y="770306"/>
                  </a:lnTo>
                  <a:lnTo>
                    <a:pt x="161100" y="759225"/>
                  </a:lnTo>
                  <a:lnTo>
                    <a:pt x="160407" y="752032"/>
                  </a:lnTo>
                  <a:lnTo>
                    <a:pt x="165917" y="735409"/>
                  </a:lnTo>
                  <a:lnTo>
                    <a:pt x="171953" y="728615"/>
                  </a:lnTo>
                  <a:lnTo>
                    <a:pt x="179967" y="714596"/>
                  </a:lnTo>
                  <a:lnTo>
                    <a:pt x="189864" y="702919"/>
                  </a:lnTo>
                  <a:lnTo>
                    <a:pt x="200319" y="700145"/>
                  </a:lnTo>
                  <a:lnTo>
                    <a:pt x="204939" y="698431"/>
                  </a:lnTo>
                  <a:lnTo>
                    <a:pt x="208796" y="689393"/>
                  </a:lnTo>
                  <a:lnTo>
                    <a:pt x="210975" y="681677"/>
                  </a:lnTo>
                  <a:lnTo>
                    <a:pt x="209392" y="680919"/>
                  </a:lnTo>
                  <a:lnTo>
                    <a:pt x="197188" y="682501"/>
                  </a:lnTo>
                  <a:lnTo>
                    <a:pt x="175285" y="650011"/>
                  </a:lnTo>
                  <a:lnTo>
                    <a:pt x="175977" y="644830"/>
                  </a:lnTo>
                  <a:lnTo>
                    <a:pt x="178713" y="637146"/>
                  </a:lnTo>
                  <a:lnTo>
                    <a:pt x="180528" y="627415"/>
                  </a:lnTo>
                  <a:lnTo>
                    <a:pt x="180988" y="619730"/>
                  </a:lnTo>
                  <a:lnTo>
                    <a:pt x="186695" y="613099"/>
                  </a:lnTo>
                  <a:lnTo>
                    <a:pt x="195440" y="606436"/>
                  </a:lnTo>
                  <a:lnTo>
                    <a:pt x="202795" y="596937"/>
                  </a:lnTo>
                  <a:lnTo>
                    <a:pt x="206487" y="587666"/>
                  </a:lnTo>
                  <a:lnTo>
                    <a:pt x="207248" y="579223"/>
                  </a:lnTo>
                  <a:lnTo>
                    <a:pt x="203089" y="573187"/>
                  </a:lnTo>
                  <a:lnTo>
                    <a:pt x="191118" y="569856"/>
                  </a:lnTo>
                  <a:lnTo>
                    <a:pt x="178748" y="545708"/>
                  </a:lnTo>
                  <a:lnTo>
                    <a:pt x="176008" y="530571"/>
                  </a:lnTo>
                  <a:lnTo>
                    <a:pt x="173470" y="528985"/>
                  </a:lnTo>
                  <a:lnTo>
                    <a:pt x="165851" y="522094"/>
                  </a:lnTo>
                  <a:lnTo>
                    <a:pt x="158527" y="509097"/>
                  </a:lnTo>
                  <a:lnTo>
                    <a:pt x="157471" y="507050"/>
                  </a:lnTo>
                  <a:lnTo>
                    <a:pt x="165027" y="504775"/>
                  </a:lnTo>
                  <a:lnTo>
                    <a:pt x="196163" y="504675"/>
                  </a:lnTo>
                  <a:lnTo>
                    <a:pt x="202663" y="501807"/>
                  </a:lnTo>
                  <a:lnTo>
                    <a:pt x="203650" y="500817"/>
                  </a:lnTo>
                  <a:lnTo>
                    <a:pt x="209326" y="490691"/>
                  </a:lnTo>
                  <a:lnTo>
                    <a:pt x="215262" y="474034"/>
                  </a:lnTo>
                  <a:lnTo>
                    <a:pt x="216647" y="463838"/>
                  </a:lnTo>
                  <a:lnTo>
                    <a:pt x="214767" y="459617"/>
                  </a:lnTo>
                  <a:lnTo>
                    <a:pt x="204443" y="449294"/>
                  </a:lnTo>
                  <a:lnTo>
                    <a:pt x="203983" y="446260"/>
                  </a:lnTo>
                  <a:lnTo>
                    <a:pt x="205631" y="441377"/>
                  </a:lnTo>
                  <a:lnTo>
                    <a:pt x="211764" y="436165"/>
                  </a:lnTo>
                  <a:lnTo>
                    <a:pt x="220044" y="430230"/>
                  </a:lnTo>
                  <a:lnTo>
                    <a:pt x="224564" y="425115"/>
                  </a:lnTo>
                  <a:lnTo>
                    <a:pt x="223476" y="421091"/>
                  </a:lnTo>
                  <a:lnTo>
                    <a:pt x="221069" y="416901"/>
                  </a:lnTo>
                  <a:lnTo>
                    <a:pt x="220671" y="412977"/>
                  </a:lnTo>
                  <a:lnTo>
                    <a:pt x="222188" y="408160"/>
                  </a:lnTo>
                  <a:lnTo>
                    <a:pt x="222749" y="391669"/>
                  </a:lnTo>
                  <a:lnTo>
                    <a:pt x="223805" y="387448"/>
                  </a:lnTo>
                  <a:lnTo>
                    <a:pt x="222188" y="372404"/>
                  </a:lnTo>
                  <a:lnTo>
                    <a:pt x="220176" y="360100"/>
                  </a:lnTo>
                  <a:lnTo>
                    <a:pt x="213614" y="344135"/>
                  </a:lnTo>
                  <a:lnTo>
                    <a:pt x="214801" y="340607"/>
                  </a:lnTo>
                  <a:lnTo>
                    <a:pt x="217835" y="337639"/>
                  </a:lnTo>
                  <a:lnTo>
                    <a:pt x="227763" y="332098"/>
                  </a:lnTo>
                  <a:lnTo>
                    <a:pt x="235680" y="319035"/>
                  </a:lnTo>
                  <a:lnTo>
                    <a:pt x="247191" y="308082"/>
                  </a:lnTo>
                  <a:lnTo>
                    <a:pt x="262265" y="299275"/>
                  </a:lnTo>
                  <a:lnTo>
                    <a:pt x="272821" y="289478"/>
                  </a:lnTo>
                  <a:lnTo>
                    <a:pt x="276977" y="281960"/>
                  </a:lnTo>
                  <a:lnTo>
                    <a:pt x="279913" y="279979"/>
                  </a:lnTo>
                  <a:lnTo>
                    <a:pt x="279058" y="276482"/>
                  </a:lnTo>
                  <a:lnTo>
                    <a:pt x="277077" y="271405"/>
                  </a:lnTo>
                  <a:lnTo>
                    <a:pt x="271072" y="266422"/>
                  </a:lnTo>
                  <a:lnTo>
                    <a:pt x="263322" y="263585"/>
                  </a:lnTo>
                  <a:lnTo>
                    <a:pt x="254713" y="263717"/>
                  </a:lnTo>
                  <a:lnTo>
                    <a:pt x="249369" y="262695"/>
                  </a:lnTo>
                  <a:lnTo>
                    <a:pt x="247818" y="258803"/>
                  </a:lnTo>
                  <a:lnTo>
                    <a:pt x="248414" y="248248"/>
                  </a:lnTo>
                  <a:lnTo>
                    <a:pt x="247949" y="237793"/>
                  </a:lnTo>
                  <a:lnTo>
                    <a:pt x="246301" y="232976"/>
                  </a:lnTo>
                  <a:lnTo>
                    <a:pt x="242312" y="229346"/>
                  </a:lnTo>
                  <a:lnTo>
                    <a:pt x="234426" y="230306"/>
                  </a:lnTo>
                  <a:lnTo>
                    <a:pt x="227601" y="227334"/>
                  </a:lnTo>
                  <a:lnTo>
                    <a:pt x="222420" y="226642"/>
                  </a:lnTo>
                  <a:lnTo>
                    <a:pt x="219418" y="228983"/>
                  </a:lnTo>
                  <a:lnTo>
                    <a:pt x="204146" y="228290"/>
                  </a:lnTo>
                  <a:lnTo>
                    <a:pt x="197781" y="226611"/>
                  </a:lnTo>
                  <a:lnTo>
                    <a:pt x="193327" y="224529"/>
                  </a:lnTo>
                  <a:lnTo>
                    <a:pt x="190491" y="225686"/>
                  </a:lnTo>
                  <a:lnTo>
                    <a:pt x="188874" y="227733"/>
                  </a:lnTo>
                  <a:lnTo>
                    <a:pt x="188610" y="230929"/>
                  </a:lnTo>
                  <a:lnTo>
                    <a:pt x="187554" y="235154"/>
                  </a:lnTo>
                  <a:lnTo>
                    <a:pt x="182079" y="238980"/>
                  </a:lnTo>
                  <a:lnTo>
                    <a:pt x="169578" y="242773"/>
                  </a:lnTo>
                  <a:lnTo>
                    <a:pt x="159483" y="242475"/>
                  </a:lnTo>
                  <a:lnTo>
                    <a:pt x="150216" y="239770"/>
                  </a:lnTo>
                  <a:lnTo>
                    <a:pt x="147248" y="237758"/>
                  </a:lnTo>
                  <a:lnTo>
                    <a:pt x="142794" y="235978"/>
                  </a:lnTo>
                  <a:lnTo>
                    <a:pt x="123959" y="238187"/>
                  </a:lnTo>
                  <a:lnTo>
                    <a:pt x="121684" y="236570"/>
                  </a:lnTo>
                  <a:lnTo>
                    <a:pt x="115184" y="240497"/>
                  </a:lnTo>
                  <a:lnTo>
                    <a:pt x="105619" y="245179"/>
                  </a:lnTo>
                  <a:lnTo>
                    <a:pt x="100241" y="245443"/>
                  </a:lnTo>
                  <a:lnTo>
                    <a:pt x="98295" y="244456"/>
                  </a:lnTo>
                  <a:lnTo>
                    <a:pt x="97602" y="242378"/>
                  </a:lnTo>
                  <a:lnTo>
                    <a:pt x="93578" y="235088"/>
                  </a:lnTo>
                  <a:lnTo>
                    <a:pt x="94634" y="231227"/>
                  </a:lnTo>
                  <a:lnTo>
                    <a:pt x="102353" y="219913"/>
                  </a:lnTo>
                  <a:lnTo>
                    <a:pt x="101494" y="217208"/>
                  </a:lnTo>
                  <a:lnTo>
                    <a:pt x="98329" y="213548"/>
                  </a:lnTo>
                  <a:lnTo>
                    <a:pt x="95493" y="208270"/>
                  </a:lnTo>
                  <a:lnTo>
                    <a:pt x="94669" y="205531"/>
                  </a:lnTo>
                  <a:lnTo>
                    <a:pt x="89751" y="205070"/>
                  </a:lnTo>
                  <a:lnTo>
                    <a:pt x="84508" y="207841"/>
                  </a:lnTo>
                  <a:lnTo>
                    <a:pt x="64551" y="213548"/>
                  </a:lnTo>
                  <a:lnTo>
                    <a:pt x="59768" y="215626"/>
                  </a:lnTo>
                  <a:lnTo>
                    <a:pt x="51128" y="221101"/>
                  </a:lnTo>
                  <a:lnTo>
                    <a:pt x="42384" y="229478"/>
                  </a:lnTo>
                  <a:lnTo>
                    <a:pt x="35427" y="231227"/>
                  </a:lnTo>
                  <a:lnTo>
                    <a:pt x="33016" y="228754"/>
                  </a:lnTo>
                  <a:lnTo>
                    <a:pt x="32192" y="209095"/>
                  </a:lnTo>
                  <a:lnTo>
                    <a:pt x="42813" y="195997"/>
                  </a:lnTo>
                  <a:lnTo>
                    <a:pt x="50370" y="188084"/>
                  </a:lnTo>
                  <a:lnTo>
                    <a:pt x="46837" y="186467"/>
                  </a:lnTo>
                  <a:lnTo>
                    <a:pt x="38824" y="186699"/>
                  </a:lnTo>
                  <a:lnTo>
                    <a:pt x="39385" y="180563"/>
                  </a:lnTo>
                  <a:lnTo>
                    <a:pt x="43146" y="177595"/>
                  </a:lnTo>
                  <a:lnTo>
                    <a:pt x="46771" y="170897"/>
                  </a:lnTo>
                  <a:lnTo>
                    <a:pt x="42519" y="168026"/>
                  </a:lnTo>
                  <a:lnTo>
                    <a:pt x="39187" y="163608"/>
                  </a:lnTo>
                  <a:lnTo>
                    <a:pt x="39385" y="152062"/>
                  </a:lnTo>
                  <a:lnTo>
                    <a:pt x="40309" y="147380"/>
                  </a:lnTo>
                  <a:lnTo>
                    <a:pt x="39219" y="142300"/>
                  </a:lnTo>
                  <a:lnTo>
                    <a:pt x="22890" y="149160"/>
                  </a:lnTo>
                  <a:lnTo>
                    <a:pt x="18704" y="148138"/>
                  </a:lnTo>
                  <a:lnTo>
                    <a:pt x="18537" y="139560"/>
                  </a:lnTo>
                  <a:lnTo>
                    <a:pt x="27576" y="126467"/>
                  </a:lnTo>
                  <a:lnTo>
                    <a:pt x="28501" y="122443"/>
                  </a:lnTo>
                  <a:lnTo>
                    <a:pt x="17911" y="120496"/>
                  </a:lnTo>
                  <a:lnTo>
                    <a:pt x="9994" y="114062"/>
                  </a:lnTo>
                  <a:lnTo>
                    <a:pt x="5177" y="108289"/>
                  </a:lnTo>
                  <a:lnTo>
                    <a:pt x="31" y="100013"/>
                  </a:lnTo>
                  <a:lnTo>
                    <a:pt x="0" y="92557"/>
                  </a:lnTo>
                  <a:lnTo>
                    <a:pt x="5343" y="75106"/>
                  </a:lnTo>
                  <a:lnTo>
                    <a:pt x="12962" y="70026"/>
                  </a:lnTo>
                  <a:lnTo>
                    <a:pt x="19559" y="66896"/>
                  </a:lnTo>
                  <a:lnTo>
                    <a:pt x="33512" y="54789"/>
                  </a:lnTo>
                  <a:lnTo>
                    <a:pt x="52742" y="57033"/>
                  </a:lnTo>
                  <a:lnTo>
                    <a:pt x="64651" y="54425"/>
                  </a:lnTo>
                  <a:lnTo>
                    <a:pt x="75338" y="48226"/>
                  </a:lnTo>
                  <a:lnTo>
                    <a:pt x="81475" y="46838"/>
                  </a:lnTo>
                  <a:lnTo>
                    <a:pt x="91337" y="41428"/>
                  </a:lnTo>
                  <a:lnTo>
                    <a:pt x="91005" y="34108"/>
                  </a:lnTo>
                  <a:lnTo>
                    <a:pt x="87608" y="28664"/>
                  </a:lnTo>
                  <a:lnTo>
                    <a:pt x="90575" y="23552"/>
                  </a:lnTo>
                  <a:lnTo>
                    <a:pt x="101629" y="17284"/>
                  </a:lnTo>
                  <a:lnTo>
                    <a:pt x="113899" y="8973"/>
                  </a:lnTo>
                  <a:lnTo>
                    <a:pt x="127983" y="7356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2" name="Forme libre : forme 18">
              <a:extLst>
                <a:ext uri="{FF2B5EF4-FFF2-40B4-BE49-F238E27FC236}">
                  <a16:creationId xmlns:a16="http://schemas.microsoft.com/office/drawing/2014/main" id="{56D8A80F-243B-6671-1DD3-5399E4BFEF4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894727" y="309048"/>
              <a:ext cx="1010440" cy="2268271"/>
            </a:xfrm>
            <a:custGeom>
              <a:avLst/>
              <a:gdLst>
                <a:gd name="connsiteX0" fmla="*/ 223085 w 291779"/>
                <a:gd name="connsiteY0" fmla="*/ 79648 h 654996"/>
                <a:gd name="connsiteX1" fmla="*/ 221295 w 291779"/>
                <a:gd name="connsiteY1" fmla="*/ 80572 h 654996"/>
                <a:gd name="connsiteX2" fmla="*/ 215770 w 291779"/>
                <a:gd name="connsiteY2" fmla="*/ 84191 h 654996"/>
                <a:gd name="connsiteX3" fmla="*/ 212398 w 291779"/>
                <a:gd name="connsiteY3" fmla="*/ 86630 h 654996"/>
                <a:gd name="connsiteX4" fmla="*/ 208340 w 291779"/>
                <a:gd name="connsiteY4" fmla="*/ 88420 h 654996"/>
                <a:gd name="connsiteX5" fmla="*/ 209388 w 291779"/>
                <a:gd name="connsiteY5" fmla="*/ 90792 h 654996"/>
                <a:gd name="connsiteX6" fmla="*/ 216132 w 291779"/>
                <a:gd name="connsiteY6" fmla="*/ 91288 h 654996"/>
                <a:gd name="connsiteX7" fmla="*/ 217170 w 291779"/>
                <a:gd name="connsiteY7" fmla="*/ 91964 h 654996"/>
                <a:gd name="connsiteX8" fmla="*/ 217923 w 291779"/>
                <a:gd name="connsiteY8" fmla="*/ 93174 h 654996"/>
                <a:gd name="connsiteX9" fmla="*/ 218047 w 291779"/>
                <a:gd name="connsiteY9" fmla="*/ 95117 h 654996"/>
                <a:gd name="connsiteX10" fmla="*/ 217370 w 291779"/>
                <a:gd name="connsiteY10" fmla="*/ 98250 h 654996"/>
                <a:gd name="connsiteX11" fmla="*/ 210074 w 291779"/>
                <a:gd name="connsiteY11" fmla="*/ 115405 h 654996"/>
                <a:gd name="connsiteX12" fmla="*/ 209845 w 291779"/>
                <a:gd name="connsiteY12" fmla="*/ 118996 h 654996"/>
                <a:gd name="connsiteX13" fmla="*/ 212227 w 291779"/>
                <a:gd name="connsiteY13" fmla="*/ 128940 h 654996"/>
                <a:gd name="connsiteX14" fmla="*/ 215570 w 291779"/>
                <a:gd name="connsiteY14" fmla="*/ 140599 h 654996"/>
                <a:gd name="connsiteX15" fmla="*/ 225676 w 291779"/>
                <a:gd name="connsiteY15" fmla="*/ 145752 h 654996"/>
                <a:gd name="connsiteX16" fmla="*/ 233182 w 291779"/>
                <a:gd name="connsiteY16" fmla="*/ 149762 h 654996"/>
                <a:gd name="connsiteX17" fmla="*/ 238001 w 291779"/>
                <a:gd name="connsiteY17" fmla="*/ 159229 h 654996"/>
                <a:gd name="connsiteX18" fmla="*/ 245955 w 291779"/>
                <a:gd name="connsiteY18" fmla="*/ 171621 h 654996"/>
                <a:gd name="connsiteX19" fmla="*/ 250165 w 291779"/>
                <a:gd name="connsiteY19" fmla="*/ 176232 h 654996"/>
                <a:gd name="connsiteX20" fmla="*/ 250403 w 291779"/>
                <a:gd name="connsiteY20" fmla="*/ 177660 h 654996"/>
                <a:gd name="connsiteX21" fmla="*/ 249155 w 291779"/>
                <a:gd name="connsiteY21" fmla="*/ 186128 h 654996"/>
                <a:gd name="connsiteX22" fmla="*/ 244059 w 291779"/>
                <a:gd name="connsiteY22" fmla="*/ 194567 h 654996"/>
                <a:gd name="connsiteX23" fmla="*/ 239296 w 291779"/>
                <a:gd name="connsiteY23" fmla="*/ 201654 h 654996"/>
                <a:gd name="connsiteX24" fmla="*/ 234363 w 291779"/>
                <a:gd name="connsiteY24" fmla="*/ 210150 h 654996"/>
                <a:gd name="connsiteX25" fmla="*/ 230505 w 291779"/>
                <a:gd name="connsiteY25" fmla="*/ 217360 h 654996"/>
                <a:gd name="connsiteX26" fmla="*/ 226323 w 291779"/>
                <a:gd name="connsiteY26" fmla="*/ 225962 h 654996"/>
                <a:gd name="connsiteX27" fmla="*/ 225838 w 291779"/>
                <a:gd name="connsiteY27" fmla="*/ 228743 h 654996"/>
                <a:gd name="connsiteX28" fmla="*/ 225762 w 291779"/>
                <a:gd name="connsiteY28" fmla="*/ 231362 h 654996"/>
                <a:gd name="connsiteX29" fmla="*/ 226486 w 291779"/>
                <a:gd name="connsiteY29" fmla="*/ 234248 h 654996"/>
                <a:gd name="connsiteX30" fmla="*/ 231839 w 291779"/>
                <a:gd name="connsiteY30" fmla="*/ 244659 h 654996"/>
                <a:gd name="connsiteX31" fmla="*/ 233925 w 291779"/>
                <a:gd name="connsiteY31" fmla="*/ 249946 h 654996"/>
                <a:gd name="connsiteX32" fmla="*/ 236411 w 291779"/>
                <a:gd name="connsiteY32" fmla="*/ 255641 h 654996"/>
                <a:gd name="connsiteX33" fmla="*/ 238554 w 291779"/>
                <a:gd name="connsiteY33" fmla="*/ 261833 h 654996"/>
                <a:gd name="connsiteX34" fmla="*/ 239792 w 291779"/>
                <a:gd name="connsiteY34" fmla="*/ 267367 h 654996"/>
                <a:gd name="connsiteX35" fmla="*/ 241935 w 291779"/>
                <a:gd name="connsiteY35" fmla="*/ 272729 h 654996"/>
                <a:gd name="connsiteX36" fmla="*/ 243269 w 291779"/>
                <a:gd name="connsiteY36" fmla="*/ 275463 h 654996"/>
                <a:gd name="connsiteX37" fmla="*/ 245479 w 291779"/>
                <a:gd name="connsiteY37" fmla="*/ 279292 h 654996"/>
                <a:gd name="connsiteX38" fmla="*/ 248145 w 291779"/>
                <a:gd name="connsiteY38" fmla="*/ 284969 h 654996"/>
                <a:gd name="connsiteX39" fmla="*/ 249031 w 291779"/>
                <a:gd name="connsiteY39" fmla="*/ 289455 h 654996"/>
                <a:gd name="connsiteX40" fmla="*/ 253060 w 291779"/>
                <a:gd name="connsiteY40" fmla="*/ 304924 h 654996"/>
                <a:gd name="connsiteX41" fmla="*/ 253470 w 291779"/>
                <a:gd name="connsiteY41" fmla="*/ 308839 h 654996"/>
                <a:gd name="connsiteX42" fmla="*/ 253270 w 291779"/>
                <a:gd name="connsiteY42" fmla="*/ 311734 h 654996"/>
                <a:gd name="connsiteX43" fmla="*/ 251498 w 291779"/>
                <a:gd name="connsiteY43" fmla="*/ 312439 h 654996"/>
                <a:gd name="connsiteX44" fmla="*/ 247584 w 291779"/>
                <a:gd name="connsiteY44" fmla="*/ 312896 h 654996"/>
                <a:gd name="connsiteX45" fmla="*/ 243335 w 291779"/>
                <a:gd name="connsiteY45" fmla="*/ 314792 h 654996"/>
                <a:gd name="connsiteX46" fmla="*/ 243126 w 291779"/>
                <a:gd name="connsiteY46" fmla="*/ 315430 h 654996"/>
                <a:gd name="connsiteX47" fmla="*/ 245898 w 291779"/>
                <a:gd name="connsiteY47" fmla="*/ 319030 h 654996"/>
                <a:gd name="connsiteX48" fmla="*/ 243450 w 291779"/>
                <a:gd name="connsiteY48" fmla="*/ 325174 h 654996"/>
                <a:gd name="connsiteX49" fmla="*/ 243097 w 291779"/>
                <a:gd name="connsiteY49" fmla="*/ 333927 h 654996"/>
                <a:gd name="connsiteX50" fmla="*/ 240487 w 291779"/>
                <a:gd name="connsiteY50" fmla="*/ 338499 h 654996"/>
                <a:gd name="connsiteX51" fmla="*/ 240240 w 291779"/>
                <a:gd name="connsiteY51" fmla="*/ 339557 h 654996"/>
                <a:gd name="connsiteX52" fmla="*/ 240354 w 291779"/>
                <a:gd name="connsiteY52" fmla="*/ 340442 h 654996"/>
                <a:gd name="connsiteX53" fmla="*/ 240821 w 291779"/>
                <a:gd name="connsiteY53" fmla="*/ 341138 h 654996"/>
                <a:gd name="connsiteX54" fmla="*/ 245650 w 291779"/>
                <a:gd name="connsiteY54" fmla="*/ 342357 h 654996"/>
                <a:gd name="connsiteX55" fmla="*/ 246069 w 291779"/>
                <a:gd name="connsiteY55" fmla="*/ 343595 h 654996"/>
                <a:gd name="connsiteX56" fmla="*/ 246088 w 291779"/>
                <a:gd name="connsiteY56" fmla="*/ 346158 h 654996"/>
                <a:gd name="connsiteX57" fmla="*/ 245659 w 291779"/>
                <a:gd name="connsiteY57" fmla="*/ 348520 h 654996"/>
                <a:gd name="connsiteX58" fmla="*/ 243231 w 291779"/>
                <a:gd name="connsiteY58" fmla="*/ 350272 h 654996"/>
                <a:gd name="connsiteX59" fmla="*/ 240630 w 291779"/>
                <a:gd name="connsiteY59" fmla="*/ 352854 h 654996"/>
                <a:gd name="connsiteX60" fmla="*/ 240049 w 291779"/>
                <a:gd name="connsiteY60" fmla="*/ 355235 h 654996"/>
                <a:gd name="connsiteX61" fmla="*/ 240135 w 291779"/>
                <a:gd name="connsiteY61" fmla="*/ 357349 h 654996"/>
                <a:gd name="connsiteX62" fmla="*/ 241021 w 291779"/>
                <a:gd name="connsiteY62" fmla="*/ 360921 h 654996"/>
                <a:gd name="connsiteX63" fmla="*/ 242745 w 291779"/>
                <a:gd name="connsiteY63" fmla="*/ 365074 h 654996"/>
                <a:gd name="connsiteX64" fmla="*/ 244926 w 291779"/>
                <a:gd name="connsiteY64" fmla="*/ 367675 h 654996"/>
                <a:gd name="connsiteX65" fmla="*/ 252670 w 291779"/>
                <a:gd name="connsiteY65" fmla="*/ 370142 h 654996"/>
                <a:gd name="connsiteX66" fmla="*/ 253670 w 291779"/>
                <a:gd name="connsiteY66" fmla="*/ 372170 h 654996"/>
                <a:gd name="connsiteX67" fmla="*/ 254089 w 291779"/>
                <a:gd name="connsiteY67" fmla="*/ 374952 h 654996"/>
                <a:gd name="connsiteX68" fmla="*/ 253927 w 291779"/>
                <a:gd name="connsiteY68" fmla="*/ 377666 h 654996"/>
                <a:gd name="connsiteX69" fmla="*/ 250327 w 291779"/>
                <a:gd name="connsiteY69" fmla="*/ 383076 h 654996"/>
                <a:gd name="connsiteX70" fmla="*/ 250355 w 291779"/>
                <a:gd name="connsiteY70" fmla="*/ 385153 h 654996"/>
                <a:gd name="connsiteX71" fmla="*/ 251832 w 291779"/>
                <a:gd name="connsiteY71" fmla="*/ 390163 h 654996"/>
                <a:gd name="connsiteX72" fmla="*/ 253603 w 291779"/>
                <a:gd name="connsiteY72" fmla="*/ 394935 h 654996"/>
                <a:gd name="connsiteX73" fmla="*/ 261157 w 291779"/>
                <a:gd name="connsiteY73" fmla="*/ 400098 h 654996"/>
                <a:gd name="connsiteX74" fmla="*/ 263757 w 291779"/>
                <a:gd name="connsiteY74" fmla="*/ 402917 h 654996"/>
                <a:gd name="connsiteX75" fmla="*/ 264443 w 291779"/>
                <a:gd name="connsiteY75" fmla="*/ 405155 h 654996"/>
                <a:gd name="connsiteX76" fmla="*/ 264824 w 291779"/>
                <a:gd name="connsiteY76" fmla="*/ 408765 h 654996"/>
                <a:gd name="connsiteX77" fmla="*/ 264776 w 291779"/>
                <a:gd name="connsiteY77" fmla="*/ 412671 h 654996"/>
                <a:gd name="connsiteX78" fmla="*/ 264186 w 291779"/>
                <a:gd name="connsiteY78" fmla="*/ 416128 h 654996"/>
                <a:gd name="connsiteX79" fmla="*/ 261814 w 291779"/>
                <a:gd name="connsiteY79" fmla="*/ 420576 h 654996"/>
                <a:gd name="connsiteX80" fmla="*/ 256337 w 291779"/>
                <a:gd name="connsiteY80" fmla="*/ 429320 h 654996"/>
                <a:gd name="connsiteX81" fmla="*/ 250822 w 291779"/>
                <a:gd name="connsiteY81" fmla="*/ 432702 h 654996"/>
                <a:gd name="connsiteX82" fmla="*/ 250489 w 291779"/>
                <a:gd name="connsiteY82" fmla="*/ 433435 h 654996"/>
                <a:gd name="connsiteX83" fmla="*/ 252193 w 291779"/>
                <a:gd name="connsiteY83" fmla="*/ 436216 h 654996"/>
                <a:gd name="connsiteX84" fmla="*/ 261900 w 291779"/>
                <a:gd name="connsiteY84" fmla="*/ 447323 h 654996"/>
                <a:gd name="connsiteX85" fmla="*/ 268234 w 291779"/>
                <a:gd name="connsiteY85" fmla="*/ 452495 h 654996"/>
                <a:gd name="connsiteX86" fmla="*/ 276768 w 291779"/>
                <a:gd name="connsiteY86" fmla="*/ 459448 h 654996"/>
                <a:gd name="connsiteX87" fmla="*/ 282273 w 291779"/>
                <a:gd name="connsiteY87" fmla="*/ 464925 h 654996"/>
                <a:gd name="connsiteX88" fmla="*/ 284055 w 291779"/>
                <a:gd name="connsiteY88" fmla="*/ 468849 h 654996"/>
                <a:gd name="connsiteX89" fmla="*/ 286436 w 291779"/>
                <a:gd name="connsiteY89" fmla="*/ 473212 h 654996"/>
                <a:gd name="connsiteX90" fmla="*/ 289113 w 291779"/>
                <a:gd name="connsiteY90" fmla="*/ 476764 h 654996"/>
                <a:gd name="connsiteX91" fmla="*/ 291046 w 291779"/>
                <a:gd name="connsiteY91" fmla="*/ 479841 h 654996"/>
                <a:gd name="connsiteX92" fmla="*/ 291779 w 291779"/>
                <a:gd name="connsiteY92" fmla="*/ 481822 h 654996"/>
                <a:gd name="connsiteX93" fmla="*/ 291713 w 291779"/>
                <a:gd name="connsiteY93" fmla="*/ 483946 h 654996"/>
                <a:gd name="connsiteX94" fmla="*/ 289132 w 291779"/>
                <a:gd name="connsiteY94" fmla="*/ 490337 h 654996"/>
                <a:gd name="connsiteX95" fmla="*/ 287664 w 291779"/>
                <a:gd name="connsiteY95" fmla="*/ 495262 h 654996"/>
                <a:gd name="connsiteX96" fmla="*/ 285083 w 291779"/>
                <a:gd name="connsiteY96" fmla="*/ 502453 h 654996"/>
                <a:gd name="connsiteX97" fmla="*/ 282436 w 291779"/>
                <a:gd name="connsiteY97" fmla="*/ 507444 h 654996"/>
                <a:gd name="connsiteX98" fmla="*/ 275730 w 291779"/>
                <a:gd name="connsiteY98" fmla="*/ 516531 h 654996"/>
                <a:gd name="connsiteX99" fmla="*/ 265833 w 291779"/>
                <a:gd name="connsiteY99" fmla="*/ 527771 h 654996"/>
                <a:gd name="connsiteX100" fmla="*/ 263538 w 291779"/>
                <a:gd name="connsiteY100" fmla="*/ 531152 h 654996"/>
                <a:gd name="connsiteX101" fmla="*/ 258909 w 291779"/>
                <a:gd name="connsiteY101" fmla="*/ 537029 h 654996"/>
                <a:gd name="connsiteX102" fmla="*/ 250974 w 291779"/>
                <a:gd name="connsiteY102" fmla="*/ 548773 h 654996"/>
                <a:gd name="connsiteX103" fmla="*/ 248927 w 291779"/>
                <a:gd name="connsiteY103" fmla="*/ 551355 h 654996"/>
                <a:gd name="connsiteX104" fmla="*/ 242431 w 291779"/>
                <a:gd name="connsiteY104" fmla="*/ 560651 h 654996"/>
                <a:gd name="connsiteX105" fmla="*/ 239468 w 291779"/>
                <a:gd name="connsiteY105" fmla="*/ 563604 h 654996"/>
                <a:gd name="connsiteX106" fmla="*/ 237134 w 291779"/>
                <a:gd name="connsiteY106" fmla="*/ 566356 h 654996"/>
                <a:gd name="connsiteX107" fmla="*/ 230705 w 291779"/>
                <a:gd name="connsiteY107" fmla="*/ 575072 h 654996"/>
                <a:gd name="connsiteX108" fmla="*/ 223790 w 291779"/>
                <a:gd name="connsiteY108" fmla="*/ 581654 h 654996"/>
                <a:gd name="connsiteX109" fmla="*/ 217008 w 291779"/>
                <a:gd name="connsiteY109" fmla="*/ 587750 h 654996"/>
                <a:gd name="connsiteX110" fmla="*/ 214970 w 291779"/>
                <a:gd name="connsiteY110" fmla="*/ 590826 h 654996"/>
                <a:gd name="connsiteX111" fmla="*/ 212436 w 291779"/>
                <a:gd name="connsiteY111" fmla="*/ 593179 h 654996"/>
                <a:gd name="connsiteX112" fmla="*/ 209417 w 291779"/>
                <a:gd name="connsiteY112" fmla="*/ 595408 h 654996"/>
                <a:gd name="connsiteX113" fmla="*/ 208150 w 291779"/>
                <a:gd name="connsiteY113" fmla="*/ 596655 h 654996"/>
                <a:gd name="connsiteX114" fmla="*/ 201320 w 291779"/>
                <a:gd name="connsiteY114" fmla="*/ 604933 h 654996"/>
                <a:gd name="connsiteX115" fmla="*/ 191843 w 291779"/>
                <a:gd name="connsiteY115" fmla="*/ 616344 h 654996"/>
                <a:gd name="connsiteX116" fmla="*/ 190881 w 291779"/>
                <a:gd name="connsiteY116" fmla="*/ 616525 h 654996"/>
                <a:gd name="connsiteX117" fmla="*/ 188414 w 291779"/>
                <a:gd name="connsiteY117" fmla="*/ 618363 h 654996"/>
                <a:gd name="connsiteX118" fmla="*/ 184557 w 291779"/>
                <a:gd name="connsiteY118" fmla="*/ 618811 h 654996"/>
                <a:gd name="connsiteX119" fmla="*/ 182880 w 291779"/>
                <a:gd name="connsiteY119" fmla="*/ 620211 h 654996"/>
                <a:gd name="connsiteX120" fmla="*/ 176984 w 291779"/>
                <a:gd name="connsiteY120" fmla="*/ 616210 h 654996"/>
                <a:gd name="connsiteX121" fmla="*/ 176003 w 291779"/>
                <a:gd name="connsiteY121" fmla="*/ 615953 h 654996"/>
                <a:gd name="connsiteX122" fmla="*/ 172536 w 291779"/>
                <a:gd name="connsiteY122" fmla="*/ 616944 h 654996"/>
                <a:gd name="connsiteX123" fmla="*/ 169212 w 291779"/>
                <a:gd name="connsiteY123" fmla="*/ 619849 h 654996"/>
                <a:gd name="connsiteX124" fmla="*/ 163068 w 291779"/>
                <a:gd name="connsiteY124" fmla="*/ 620735 h 654996"/>
                <a:gd name="connsiteX125" fmla="*/ 160020 w 291779"/>
                <a:gd name="connsiteY125" fmla="*/ 621678 h 654996"/>
                <a:gd name="connsiteX126" fmla="*/ 158077 w 291779"/>
                <a:gd name="connsiteY126" fmla="*/ 623021 h 654996"/>
                <a:gd name="connsiteX127" fmla="*/ 157677 w 291779"/>
                <a:gd name="connsiteY127" fmla="*/ 619849 h 654996"/>
                <a:gd name="connsiteX128" fmla="*/ 158515 w 291779"/>
                <a:gd name="connsiteY128" fmla="*/ 615820 h 654996"/>
                <a:gd name="connsiteX129" fmla="*/ 159868 w 291779"/>
                <a:gd name="connsiteY129" fmla="*/ 613124 h 654996"/>
                <a:gd name="connsiteX130" fmla="*/ 159991 w 291779"/>
                <a:gd name="connsiteY130" fmla="*/ 611372 h 654996"/>
                <a:gd name="connsiteX131" fmla="*/ 159001 w 291779"/>
                <a:gd name="connsiteY131" fmla="*/ 611553 h 654996"/>
                <a:gd name="connsiteX132" fmla="*/ 157029 w 291779"/>
                <a:gd name="connsiteY132" fmla="*/ 615505 h 654996"/>
                <a:gd name="connsiteX133" fmla="*/ 155982 w 291779"/>
                <a:gd name="connsiteY133" fmla="*/ 620116 h 654996"/>
                <a:gd name="connsiteX134" fmla="*/ 153877 w 291779"/>
                <a:gd name="connsiteY134" fmla="*/ 622430 h 654996"/>
                <a:gd name="connsiteX135" fmla="*/ 149247 w 291779"/>
                <a:gd name="connsiteY135" fmla="*/ 623373 h 654996"/>
                <a:gd name="connsiteX136" fmla="*/ 144742 w 291779"/>
                <a:gd name="connsiteY136" fmla="*/ 619677 h 654996"/>
                <a:gd name="connsiteX137" fmla="*/ 142599 w 291779"/>
                <a:gd name="connsiteY137" fmla="*/ 619706 h 654996"/>
                <a:gd name="connsiteX138" fmla="*/ 143942 w 291779"/>
                <a:gd name="connsiteY138" fmla="*/ 622354 h 654996"/>
                <a:gd name="connsiteX139" fmla="*/ 144847 w 291779"/>
                <a:gd name="connsiteY139" fmla="*/ 625259 h 654996"/>
                <a:gd name="connsiteX140" fmla="*/ 144732 w 291779"/>
                <a:gd name="connsiteY140" fmla="*/ 626878 h 654996"/>
                <a:gd name="connsiteX141" fmla="*/ 142332 w 291779"/>
                <a:gd name="connsiteY141" fmla="*/ 626593 h 654996"/>
                <a:gd name="connsiteX142" fmla="*/ 139655 w 291779"/>
                <a:gd name="connsiteY142" fmla="*/ 628326 h 654996"/>
                <a:gd name="connsiteX143" fmla="*/ 137313 w 291779"/>
                <a:gd name="connsiteY143" fmla="*/ 630860 h 654996"/>
                <a:gd name="connsiteX144" fmla="*/ 136170 w 291779"/>
                <a:gd name="connsiteY144" fmla="*/ 630869 h 654996"/>
                <a:gd name="connsiteX145" fmla="*/ 134588 w 291779"/>
                <a:gd name="connsiteY145" fmla="*/ 627326 h 654996"/>
                <a:gd name="connsiteX146" fmla="*/ 131693 w 291779"/>
                <a:gd name="connsiteY146" fmla="*/ 628983 h 654996"/>
                <a:gd name="connsiteX147" fmla="*/ 129217 w 291779"/>
                <a:gd name="connsiteY147" fmla="*/ 631203 h 654996"/>
                <a:gd name="connsiteX148" fmla="*/ 124196 w 291779"/>
                <a:gd name="connsiteY148" fmla="*/ 631888 h 654996"/>
                <a:gd name="connsiteX149" fmla="*/ 121206 w 291779"/>
                <a:gd name="connsiteY149" fmla="*/ 634803 h 654996"/>
                <a:gd name="connsiteX150" fmla="*/ 115910 w 291779"/>
                <a:gd name="connsiteY150" fmla="*/ 636775 h 654996"/>
                <a:gd name="connsiteX151" fmla="*/ 113005 w 291779"/>
                <a:gd name="connsiteY151" fmla="*/ 636727 h 654996"/>
                <a:gd name="connsiteX152" fmla="*/ 106366 w 291779"/>
                <a:gd name="connsiteY152" fmla="*/ 639089 h 654996"/>
                <a:gd name="connsiteX153" fmla="*/ 104156 w 291779"/>
                <a:gd name="connsiteY153" fmla="*/ 642728 h 654996"/>
                <a:gd name="connsiteX154" fmla="*/ 102222 w 291779"/>
                <a:gd name="connsiteY154" fmla="*/ 644061 h 654996"/>
                <a:gd name="connsiteX155" fmla="*/ 99470 w 291779"/>
                <a:gd name="connsiteY155" fmla="*/ 642938 h 654996"/>
                <a:gd name="connsiteX156" fmla="*/ 90983 w 291779"/>
                <a:gd name="connsiteY156" fmla="*/ 644709 h 654996"/>
                <a:gd name="connsiteX157" fmla="*/ 82868 w 291779"/>
                <a:gd name="connsiteY157" fmla="*/ 647033 h 654996"/>
                <a:gd name="connsiteX158" fmla="*/ 79420 w 291779"/>
                <a:gd name="connsiteY158" fmla="*/ 646900 h 654996"/>
                <a:gd name="connsiteX159" fmla="*/ 75972 w 291779"/>
                <a:gd name="connsiteY159" fmla="*/ 645938 h 654996"/>
                <a:gd name="connsiteX160" fmla="*/ 72314 w 291779"/>
                <a:gd name="connsiteY160" fmla="*/ 649157 h 654996"/>
                <a:gd name="connsiteX161" fmla="*/ 68428 w 291779"/>
                <a:gd name="connsiteY161" fmla="*/ 653463 h 654996"/>
                <a:gd name="connsiteX162" fmla="*/ 64151 w 291779"/>
                <a:gd name="connsiteY162" fmla="*/ 654996 h 654996"/>
                <a:gd name="connsiteX163" fmla="*/ 62618 w 291779"/>
                <a:gd name="connsiteY163" fmla="*/ 654444 h 654996"/>
                <a:gd name="connsiteX164" fmla="*/ 63846 w 291779"/>
                <a:gd name="connsiteY164" fmla="*/ 652186 h 654996"/>
                <a:gd name="connsiteX165" fmla="*/ 66675 w 291779"/>
                <a:gd name="connsiteY165" fmla="*/ 649853 h 654996"/>
                <a:gd name="connsiteX166" fmla="*/ 68618 w 291779"/>
                <a:gd name="connsiteY166" fmla="*/ 646681 h 654996"/>
                <a:gd name="connsiteX167" fmla="*/ 68885 w 291779"/>
                <a:gd name="connsiteY167" fmla="*/ 644033 h 654996"/>
                <a:gd name="connsiteX168" fmla="*/ 67552 w 291779"/>
                <a:gd name="connsiteY168" fmla="*/ 642995 h 654996"/>
                <a:gd name="connsiteX169" fmla="*/ 65723 w 291779"/>
                <a:gd name="connsiteY169" fmla="*/ 642671 h 654996"/>
                <a:gd name="connsiteX170" fmla="*/ 63427 w 291779"/>
                <a:gd name="connsiteY170" fmla="*/ 639928 h 654996"/>
                <a:gd name="connsiteX171" fmla="*/ 61227 w 291779"/>
                <a:gd name="connsiteY171" fmla="*/ 633965 h 654996"/>
                <a:gd name="connsiteX172" fmla="*/ 60036 w 291779"/>
                <a:gd name="connsiteY172" fmla="*/ 633632 h 654996"/>
                <a:gd name="connsiteX173" fmla="*/ 59436 w 291779"/>
                <a:gd name="connsiteY173" fmla="*/ 635203 h 654996"/>
                <a:gd name="connsiteX174" fmla="*/ 58760 w 291779"/>
                <a:gd name="connsiteY174" fmla="*/ 639766 h 654996"/>
                <a:gd name="connsiteX175" fmla="*/ 58074 w 291779"/>
                <a:gd name="connsiteY175" fmla="*/ 641080 h 654996"/>
                <a:gd name="connsiteX176" fmla="*/ 56912 w 291779"/>
                <a:gd name="connsiteY176" fmla="*/ 642128 h 654996"/>
                <a:gd name="connsiteX177" fmla="*/ 55512 w 291779"/>
                <a:gd name="connsiteY177" fmla="*/ 643176 h 654996"/>
                <a:gd name="connsiteX178" fmla="*/ 54140 w 291779"/>
                <a:gd name="connsiteY178" fmla="*/ 643690 h 654996"/>
                <a:gd name="connsiteX179" fmla="*/ 49235 w 291779"/>
                <a:gd name="connsiteY179" fmla="*/ 643623 h 654996"/>
                <a:gd name="connsiteX180" fmla="*/ 48587 w 291779"/>
                <a:gd name="connsiteY180" fmla="*/ 641318 h 654996"/>
                <a:gd name="connsiteX181" fmla="*/ 48587 w 291779"/>
                <a:gd name="connsiteY181" fmla="*/ 640356 h 654996"/>
                <a:gd name="connsiteX182" fmla="*/ 49463 w 291779"/>
                <a:gd name="connsiteY182" fmla="*/ 637318 h 654996"/>
                <a:gd name="connsiteX183" fmla="*/ 48702 w 291779"/>
                <a:gd name="connsiteY183" fmla="*/ 636784 h 654996"/>
                <a:gd name="connsiteX184" fmla="*/ 49425 w 291779"/>
                <a:gd name="connsiteY184" fmla="*/ 634403 h 654996"/>
                <a:gd name="connsiteX185" fmla="*/ 50578 w 291779"/>
                <a:gd name="connsiteY185" fmla="*/ 634536 h 654996"/>
                <a:gd name="connsiteX186" fmla="*/ 51950 w 291779"/>
                <a:gd name="connsiteY186" fmla="*/ 634175 h 654996"/>
                <a:gd name="connsiteX187" fmla="*/ 52635 w 291779"/>
                <a:gd name="connsiteY187" fmla="*/ 632955 h 654996"/>
                <a:gd name="connsiteX188" fmla="*/ 52587 w 291779"/>
                <a:gd name="connsiteY188" fmla="*/ 631488 h 654996"/>
                <a:gd name="connsiteX189" fmla="*/ 50683 w 291779"/>
                <a:gd name="connsiteY189" fmla="*/ 631107 h 654996"/>
                <a:gd name="connsiteX190" fmla="*/ 50568 w 291779"/>
                <a:gd name="connsiteY190" fmla="*/ 630107 h 654996"/>
                <a:gd name="connsiteX191" fmla="*/ 52264 w 291779"/>
                <a:gd name="connsiteY191" fmla="*/ 625916 h 654996"/>
                <a:gd name="connsiteX192" fmla="*/ 52502 w 291779"/>
                <a:gd name="connsiteY192" fmla="*/ 624754 h 654996"/>
                <a:gd name="connsiteX193" fmla="*/ 51845 w 291779"/>
                <a:gd name="connsiteY193" fmla="*/ 624516 h 654996"/>
                <a:gd name="connsiteX194" fmla="*/ 50788 w 291779"/>
                <a:gd name="connsiteY194" fmla="*/ 624973 h 654996"/>
                <a:gd name="connsiteX195" fmla="*/ 43768 w 291779"/>
                <a:gd name="connsiteY195" fmla="*/ 623659 h 654996"/>
                <a:gd name="connsiteX196" fmla="*/ 35109 w 291779"/>
                <a:gd name="connsiteY196" fmla="*/ 618287 h 654996"/>
                <a:gd name="connsiteX197" fmla="*/ 32976 w 291779"/>
                <a:gd name="connsiteY197" fmla="*/ 618011 h 654996"/>
                <a:gd name="connsiteX198" fmla="*/ 31671 w 291779"/>
                <a:gd name="connsiteY198" fmla="*/ 613200 h 654996"/>
                <a:gd name="connsiteX199" fmla="*/ 29585 w 291779"/>
                <a:gd name="connsiteY199" fmla="*/ 613810 h 654996"/>
                <a:gd name="connsiteX200" fmla="*/ 26537 w 291779"/>
                <a:gd name="connsiteY200" fmla="*/ 616629 h 654996"/>
                <a:gd name="connsiteX201" fmla="*/ 24251 w 291779"/>
                <a:gd name="connsiteY201" fmla="*/ 614486 h 654996"/>
                <a:gd name="connsiteX202" fmla="*/ 21793 w 291779"/>
                <a:gd name="connsiteY202" fmla="*/ 613077 h 654996"/>
                <a:gd name="connsiteX203" fmla="*/ 21117 w 291779"/>
                <a:gd name="connsiteY203" fmla="*/ 610876 h 654996"/>
                <a:gd name="connsiteX204" fmla="*/ 21155 w 291779"/>
                <a:gd name="connsiteY204" fmla="*/ 607619 h 654996"/>
                <a:gd name="connsiteX205" fmla="*/ 20946 w 291779"/>
                <a:gd name="connsiteY205" fmla="*/ 603761 h 654996"/>
                <a:gd name="connsiteX206" fmla="*/ 20279 w 291779"/>
                <a:gd name="connsiteY206" fmla="*/ 599237 h 654996"/>
                <a:gd name="connsiteX207" fmla="*/ 19793 w 291779"/>
                <a:gd name="connsiteY207" fmla="*/ 592788 h 654996"/>
                <a:gd name="connsiteX208" fmla="*/ 20251 w 291779"/>
                <a:gd name="connsiteY208" fmla="*/ 587731 h 654996"/>
                <a:gd name="connsiteX209" fmla="*/ 22213 w 291779"/>
                <a:gd name="connsiteY209" fmla="*/ 583978 h 654996"/>
                <a:gd name="connsiteX210" fmla="*/ 22965 w 291779"/>
                <a:gd name="connsiteY210" fmla="*/ 581577 h 654996"/>
                <a:gd name="connsiteX211" fmla="*/ 23879 w 291779"/>
                <a:gd name="connsiteY211" fmla="*/ 575434 h 654996"/>
                <a:gd name="connsiteX212" fmla="*/ 24089 w 291779"/>
                <a:gd name="connsiteY212" fmla="*/ 568223 h 654996"/>
                <a:gd name="connsiteX213" fmla="*/ 23565 w 291779"/>
                <a:gd name="connsiteY213" fmla="*/ 565766 h 654996"/>
                <a:gd name="connsiteX214" fmla="*/ 23699 w 291779"/>
                <a:gd name="connsiteY214" fmla="*/ 564128 h 654996"/>
                <a:gd name="connsiteX215" fmla="*/ 25261 w 291779"/>
                <a:gd name="connsiteY215" fmla="*/ 564128 h 654996"/>
                <a:gd name="connsiteX216" fmla="*/ 24918 w 291779"/>
                <a:gd name="connsiteY216" fmla="*/ 562718 h 654996"/>
                <a:gd name="connsiteX217" fmla="*/ 24232 w 291779"/>
                <a:gd name="connsiteY217" fmla="*/ 561946 h 654996"/>
                <a:gd name="connsiteX218" fmla="*/ 23469 w 291779"/>
                <a:gd name="connsiteY218" fmla="*/ 560346 h 654996"/>
                <a:gd name="connsiteX219" fmla="*/ 24118 w 291779"/>
                <a:gd name="connsiteY219" fmla="*/ 559498 h 654996"/>
                <a:gd name="connsiteX220" fmla="*/ 25984 w 291779"/>
                <a:gd name="connsiteY220" fmla="*/ 559441 h 654996"/>
                <a:gd name="connsiteX221" fmla="*/ 26137 w 291779"/>
                <a:gd name="connsiteY221" fmla="*/ 558898 h 654996"/>
                <a:gd name="connsiteX222" fmla="*/ 26346 w 291779"/>
                <a:gd name="connsiteY222" fmla="*/ 558136 h 654996"/>
                <a:gd name="connsiteX223" fmla="*/ 24898 w 291779"/>
                <a:gd name="connsiteY223" fmla="*/ 553907 h 654996"/>
                <a:gd name="connsiteX224" fmla="*/ 24727 w 291779"/>
                <a:gd name="connsiteY224" fmla="*/ 551888 h 654996"/>
                <a:gd name="connsiteX225" fmla="*/ 22727 w 291779"/>
                <a:gd name="connsiteY225" fmla="*/ 545744 h 654996"/>
                <a:gd name="connsiteX226" fmla="*/ 20431 w 291779"/>
                <a:gd name="connsiteY226" fmla="*/ 539896 h 654996"/>
                <a:gd name="connsiteX227" fmla="*/ 16993 w 291779"/>
                <a:gd name="connsiteY227" fmla="*/ 535657 h 654996"/>
                <a:gd name="connsiteX228" fmla="*/ 18212 w 291779"/>
                <a:gd name="connsiteY228" fmla="*/ 528657 h 654996"/>
                <a:gd name="connsiteX229" fmla="*/ 19603 w 291779"/>
                <a:gd name="connsiteY229" fmla="*/ 522303 h 654996"/>
                <a:gd name="connsiteX230" fmla="*/ 19326 w 291779"/>
                <a:gd name="connsiteY230" fmla="*/ 519236 h 654996"/>
                <a:gd name="connsiteX231" fmla="*/ 18793 w 291779"/>
                <a:gd name="connsiteY231" fmla="*/ 515493 h 654996"/>
                <a:gd name="connsiteX232" fmla="*/ 14574 w 291779"/>
                <a:gd name="connsiteY232" fmla="*/ 511378 h 654996"/>
                <a:gd name="connsiteX233" fmla="*/ 13954 w 291779"/>
                <a:gd name="connsiteY233" fmla="*/ 505568 h 654996"/>
                <a:gd name="connsiteX234" fmla="*/ 12925 w 291779"/>
                <a:gd name="connsiteY234" fmla="*/ 499300 h 654996"/>
                <a:gd name="connsiteX235" fmla="*/ 13316 w 291779"/>
                <a:gd name="connsiteY235" fmla="*/ 495452 h 654996"/>
                <a:gd name="connsiteX236" fmla="*/ 14002 w 291779"/>
                <a:gd name="connsiteY236" fmla="*/ 492490 h 654996"/>
                <a:gd name="connsiteX237" fmla="*/ 15393 w 291779"/>
                <a:gd name="connsiteY237" fmla="*/ 489537 h 654996"/>
                <a:gd name="connsiteX238" fmla="*/ 22393 w 291779"/>
                <a:gd name="connsiteY238" fmla="*/ 480203 h 654996"/>
                <a:gd name="connsiteX239" fmla="*/ 22822 w 291779"/>
                <a:gd name="connsiteY239" fmla="*/ 475307 h 654996"/>
                <a:gd name="connsiteX240" fmla="*/ 27566 w 291779"/>
                <a:gd name="connsiteY240" fmla="*/ 474945 h 654996"/>
                <a:gd name="connsiteX241" fmla="*/ 25365 w 291779"/>
                <a:gd name="connsiteY241" fmla="*/ 470564 h 654996"/>
                <a:gd name="connsiteX242" fmla="*/ 24851 w 291779"/>
                <a:gd name="connsiteY242" fmla="*/ 468097 h 654996"/>
                <a:gd name="connsiteX243" fmla="*/ 24737 w 291779"/>
                <a:gd name="connsiteY243" fmla="*/ 465211 h 654996"/>
                <a:gd name="connsiteX244" fmla="*/ 31556 w 291779"/>
                <a:gd name="connsiteY244" fmla="*/ 463229 h 654996"/>
                <a:gd name="connsiteX245" fmla="*/ 34109 w 291779"/>
                <a:gd name="connsiteY245" fmla="*/ 464858 h 654996"/>
                <a:gd name="connsiteX246" fmla="*/ 40110 w 291779"/>
                <a:gd name="connsiteY246" fmla="*/ 462848 h 654996"/>
                <a:gd name="connsiteX247" fmla="*/ 45444 w 291779"/>
                <a:gd name="connsiteY247" fmla="*/ 458914 h 654996"/>
                <a:gd name="connsiteX248" fmla="*/ 45348 w 291779"/>
                <a:gd name="connsiteY248" fmla="*/ 456819 h 654996"/>
                <a:gd name="connsiteX249" fmla="*/ 44529 w 291779"/>
                <a:gd name="connsiteY249" fmla="*/ 454943 h 654996"/>
                <a:gd name="connsiteX250" fmla="*/ 43396 w 291779"/>
                <a:gd name="connsiteY250" fmla="*/ 451323 h 654996"/>
                <a:gd name="connsiteX251" fmla="*/ 44196 w 291779"/>
                <a:gd name="connsiteY251" fmla="*/ 450313 h 654996"/>
                <a:gd name="connsiteX252" fmla="*/ 46139 w 291779"/>
                <a:gd name="connsiteY252" fmla="*/ 451056 h 654996"/>
                <a:gd name="connsiteX253" fmla="*/ 45244 w 291779"/>
                <a:gd name="connsiteY253" fmla="*/ 449256 h 654996"/>
                <a:gd name="connsiteX254" fmla="*/ 45406 w 291779"/>
                <a:gd name="connsiteY254" fmla="*/ 447351 h 654996"/>
                <a:gd name="connsiteX255" fmla="*/ 47530 w 291779"/>
                <a:gd name="connsiteY255" fmla="*/ 448142 h 654996"/>
                <a:gd name="connsiteX256" fmla="*/ 50988 w 291779"/>
                <a:gd name="connsiteY256" fmla="*/ 442817 h 654996"/>
                <a:gd name="connsiteX257" fmla="*/ 51111 w 291779"/>
                <a:gd name="connsiteY257" fmla="*/ 438741 h 654996"/>
                <a:gd name="connsiteX258" fmla="*/ 57093 w 291779"/>
                <a:gd name="connsiteY258" fmla="*/ 436607 h 654996"/>
                <a:gd name="connsiteX259" fmla="*/ 63998 w 291779"/>
                <a:gd name="connsiteY259" fmla="*/ 428244 h 654996"/>
                <a:gd name="connsiteX260" fmla="*/ 67180 w 291779"/>
                <a:gd name="connsiteY260" fmla="*/ 425634 h 654996"/>
                <a:gd name="connsiteX261" fmla="*/ 70257 w 291779"/>
                <a:gd name="connsiteY261" fmla="*/ 423739 h 654996"/>
                <a:gd name="connsiteX262" fmla="*/ 76810 w 291779"/>
                <a:gd name="connsiteY262" fmla="*/ 415328 h 654996"/>
                <a:gd name="connsiteX263" fmla="*/ 79610 w 291779"/>
                <a:gd name="connsiteY263" fmla="*/ 414938 h 654996"/>
                <a:gd name="connsiteX264" fmla="*/ 81049 w 291779"/>
                <a:gd name="connsiteY264" fmla="*/ 409242 h 654996"/>
                <a:gd name="connsiteX265" fmla="*/ 86620 w 291779"/>
                <a:gd name="connsiteY265" fmla="*/ 401631 h 654996"/>
                <a:gd name="connsiteX266" fmla="*/ 88316 w 291779"/>
                <a:gd name="connsiteY266" fmla="*/ 400660 h 654996"/>
                <a:gd name="connsiteX267" fmla="*/ 90917 w 291779"/>
                <a:gd name="connsiteY267" fmla="*/ 393763 h 654996"/>
                <a:gd name="connsiteX268" fmla="*/ 97765 w 291779"/>
                <a:gd name="connsiteY268" fmla="*/ 385763 h 654996"/>
                <a:gd name="connsiteX269" fmla="*/ 102108 w 291779"/>
                <a:gd name="connsiteY269" fmla="*/ 375504 h 654996"/>
                <a:gd name="connsiteX270" fmla="*/ 104499 w 291779"/>
                <a:gd name="connsiteY270" fmla="*/ 371847 h 654996"/>
                <a:gd name="connsiteX271" fmla="*/ 105242 w 291779"/>
                <a:gd name="connsiteY271" fmla="*/ 367941 h 654996"/>
                <a:gd name="connsiteX272" fmla="*/ 107909 w 291779"/>
                <a:gd name="connsiteY272" fmla="*/ 367608 h 654996"/>
                <a:gd name="connsiteX273" fmla="*/ 110309 w 291779"/>
                <a:gd name="connsiteY273" fmla="*/ 364731 h 654996"/>
                <a:gd name="connsiteX274" fmla="*/ 115510 w 291779"/>
                <a:gd name="connsiteY274" fmla="*/ 362731 h 654996"/>
                <a:gd name="connsiteX275" fmla="*/ 120653 w 291779"/>
                <a:gd name="connsiteY275" fmla="*/ 363284 h 654996"/>
                <a:gd name="connsiteX276" fmla="*/ 122797 w 291779"/>
                <a:gd name="connsiteY276" fmla="*/ 364655 h 654996"/>
                <a:gd name="connsiteX277" fmla="*/ 124768 w 291779"/>
                <a:gd name="connsiteY277" fmla="*/ 364226 h 654996"/>
                <a:gd name="connsiteX278" fmla="*/ 124568 w 291779"/>
                <a:gd name="connsiteY278" fmla="*/ 360702 h 654996"/>
                <a:gd name="connsiteX279" fmla="*/ 123158 w 291779"/>
                <a:gd name="connsiteY279" fmla="*/ 358521 h 654996"/>
                <a:gd name="connsiteX280" fmla="*/ 124311 w 291779"/>
                <a:gd name="connsiteY280" fmla="*/ 356416 h 654996"/>
                <a:gd name="connsiteX281" fmla="*/ 127025 w 291779"/>
                <a:gd name="connsiteY281" fmla="*/ 354825 h 654996"/>
                <a:gd name="connsiteX282" fmla="*/ 126749 w 291779"/>
                <a:gd name="connsiteY282" fmla="*/ 351301 h 654996"/>
                <a:gd name="connsiteX283" fmla="*/ 126159 w 291779"/>
                <a:gd name="connsiteY283" fmla="*/ 349177 h 654996"/>
                <a:gd name="connsiteX284" fmla="*/ 123901 w 291779"/>
                <a:gd name="connsiteY284" fmla="*/ 346348 h 654996"/>
                <a:gd name="connsiteX285" fmla="*/ 125026 w 291779"/>
                <a:gd name="connsiteY285" fmla="*/ 339985 h 654996"/>
                <a:gd name="connsiteX286" fmla="*/ 125292 w 291779"/>
                <a:gd name="connsiteY286" fmla="*/ 332984 h 654996"/>
                <a:gd name="connsiteX287" fmla="*/ 126359 w 291779"/>
                <a:gd name="connsiteY287" fmla="*/ 324860 h 654996"/>
                <a:gd name="connsiteX288" fmla="*/ 123530 w 291779"/>
                <a:gd name="connsiteY288" fmla="*/ 320545 h 654996"/>
                <a:gd name="connsiteX289" fmla="*/ 112766 w 291779"/>
                <a:gd name="connsiteY289" fmla="*/ 313172 h 654996"/>
                <a:gd name="connsiteX290" fmla="*/ 110766 w 291779"/>
                <a:gd name="connsiteY290" fmla="*/ 313430 h 654996"/>
                <a:gd name="connsiteX291" fmla="*/ 108375 w 291779"/>
                <a:gd name="connsiteY291" fmla="*/ 312496 h 654996"/>
                <a:gd name="connsiteX292" fmla="*/ 105880 w 291779"/>
                <a:gd name="connsiteY292" fmla="*/ 306886 h 654996"/>
                <a:gd name="connsiteX293" fmla="*/ 106995 w 291779"/>
                <a:gd name="connsiteY293" fmla="*/ 302028 h 654996"/>
                <a:gd name="connsiteX294" fmla="*/ 107128 w 291779"/>
                <a:gd name="connsiteY294" fmla="*/ 300238 h 654996"/>
                <a:gd name="connsiteX295" fmla="*/ 106156 w 291779"/>
                <a:gd name="connsiteY295" fmla="*/ 300295 h 654996"/>
                <a:gd name="connsiteX296" fmla="*/ 104575 w 291779"/>
                <a:gd name="connsiteY296" fmla="*/ 302666 h 654996"/>
                <a:gd name="connsiteX297" fmla="*/ 101146 w 291779"/>
                <a:gd name="connsiteY297" fmla="*/ 305371 h 654996"/>
                <a:gd name="connsiteX298" fmla="*/ 96688 w 291779"/>
                <a:gd name="connsiteY298" fmla="*/ 303295 h 654996"/>
                <a:gd name="connsiteX299" fmla="*/ 94498 w 291779"/>
                <a:gd name="connsiteY299" fmla="*/ 303752 h 654996"/>
                <a:gd name="connsiteX300" fmla="*/ 91650 w 291779"/>
                <a:gd name="connsiteY300" fmla="*/ 291684 h 654996"/>
                <a:gd name="connsiteX301" fmla="*/ 90192 w 291779"/>
                <a:gd name="connsiteY301" fmla="*/ 287045 h 654996"/>
                <a:gd name="connsiteX302" fmla="*/ 87859 w 291779"/>
                <a:gd name="connsiteY302" fmla="*/ 281254 h 654996"/>
                <a:gd name="connsiteX303" fmla="*/ 83696 w 291779"/>
                <a:gd name="connsiteY303" fmla="*/ 278425 h 654996"/>
                <a:gd name="connsiteX304" fmla="*/ 82877 w 291779"/>
                <a:gd name="connsiteY304" fmla="*/ 276816 h 654996"/>
                <a:gd name="connsiteX305" fmla="*/ 82325 w 291779"/>
                <a:gd name="connsiteY305" fmla="*/ 274349 h 654996"/>
                <a:gd name="connsiteX306" fmla="*/ 82144 w 291779"/>
                <a:gd name="connsiteY306" fmla="*/ 270920 h 654996"/>
                <a:gd name="connsiteX307" fmla="*/ 81610 w 291779"/>
                <a:gd name="connsiteY307" fmla="*/ 265833 h 654996"/>
                <a:gd name="connsiteX308" fmla="*/ 81829 w 291779"/>
                <a:gd name="connsiteY308" fmla="*/ 261652 h 654996"/>
                <a:gd name="connsiteX309" fmla="*/ 82344 w 291779"/>
                <a:gd name="connsiteY309" fmla="*/ 259156 h 654996"/>
                <a:gd name="connsiteX310" fmla="*/ 84144 w 291779"/>
                <a:gd name="connsiteY310" fmla="*/ 257480 h 654996"/>
                <a:gd name="connsiteX311" fmla="*/ 86735 w 291779"/>
                <a:gd name="connsiteY311" fmla="*/ 252727 h 654996"/>
                <a:gd name="connsiteX312" fmla="*/ 87278 w 291779"/>
                <a:gd name="connsiteY312" fmla="*/ 249269 h 654996"/>
                <a:gd name="connsiteX313" fmla="*/ 87497 w 291779"/>
                <a:gd name="connsiteY313" fmla="*/ 243954 h 654996"/>
                <a:gd name="connsiteX314" fmla="*/ 88688 w 291779"/>
                <a:gd name="connsiteY314" fmla="*/ 239297 h 654996"/>
                <a:gd name="connsiteX315" fmla="*/ 90011 w 291779"/>
                <a:gd name="connsiteY315" fmla="*/ 236934 h 654996"/>
                <a:gd name="connsiteX316" fmla="*/ 89678 w 291779"/>
                <a:gd name="connsiteY316" fmla="*/ 235048 h 654996"/>
                <a:gd name="connsiteX317" fmla="*/ 88764 w 291779"/>
                <a:gd name="connsiteY317" fmla="*/ 232362 h 654996"/>
                <a:gd name="connsiteX318" fmla="*/ 86820 w 291779"/>
                <a:gd name="connsiteY318" fmla="*/ 228533 h 654996"/>
                <a:gd name="connsiteX319" fmla="*/ 83868 w 291779"/>
                <a:gd name="connsiteY319" fmla="*/ 223857 h 654996"/>
                <a:gd name="connsiteX320" fmla="*/ 81686 w 291779"/>
                <a:gd name="connsiteY320" fmla="*/ 219370 h 654996"/>
                <a:gd name="connsiteX321" fmla="*/ 80725 w 291779"/>
                <a:gd name="connsiteY321" fmla="*/ 215170 h 654996"/>
                <a:gd name="connsiteX322" fmla="*/ 80229 w 291779"/>
                <a:gd name="connsiteY322" fmla="*/ 211398 h 654996"/>
                <a:gd name="connsiteX323" fmla="*/ 80306 w 291779"/>
                <a:gd name="connsiteY323" fmla="*/ 207969 h 654996"/>
                <a:gd name="connsiteX324" fmla="*/ 81125 w 291779"/>
                <a:gd name="connsiteY324" fmla="*/ 205626 h 654996"/>
                <a:gd name="connsiteX325" fmla="*/ 83906 w 291779"/>
                <a:gd name="connsiteY325" fmla="*/ 202673 h 654996"/>
                <a:gd name="connsiteX326" fmla="*/ 84277 w 291779"/>
                <a:gd name="connsiteY326" fmla="*/ 201416 h 654996"/>
                <a:gd name="connsiteX327" fmla="*/ 83172 w 291779"/>
                <a:gd name="connsiteY327" fmla="*/ 194872 h 654996"/>
                <a:gd name="connsiteX328" fmla="*/ 81229 w 291779"/>
                <a:gd name="connsiteY328" fmla="*/ 193681 h 654996"/>
                <a:gd name="connsiteX329" fmla="*/ 77924 w 291779"/>
                <a:gd name="connsiteY329" fmla="*/ 193043 h 654996"/>
                <a:gd name="connsiteX330" fmla="*/ 76076 w 291779"/>
                <a:gd name="connsiteY330" fmla="*/ 192986 h 654996"/>
                <a:gd name="connsiteX331" fmla="*/ 75724 w 291779"/>
                <a:gd name="connsiteY331" fmla="*/ 192262 h 654996"/>
                <a:gd name="connsiteX332" fmla="*/ 75629 w 291779"/>
                <a:gd name="connsiteY332" fmla="*/ 190948 h 654996"/>
                <a:gd name="connsiteX333" fmla="*/ 76010 w 291779"/>
                <a:gd name="connsiteY333" fmla="*/ 188252 h 654996"/>
                <a:gd name="connsiteX334" fmla="*/ 77048 w 291779"/>
                <a:gd name="connsiteY334" fmla="*/ 185156 h 654996"/>
                <a:gd name="connsiteX335" fmla="*/ 77914 w 291779"/>
                <a:gd name="connsiteY335" fmla="*/ 183175 h 654996"/>
                <a:gd name="connsiteX336" fmla="*/ 78029 w 291779"/>
                <a:gd name="connsiteY336" fmla="*/ 181499 h 654996"/>
                <a:gd name="connsiteX337" fmla="*/ 76924 w 291779"/>
                <a:gd name="connsiteY337" fmla="*/ 175746 h 654996"/>
                <a:gd name="connsiteX338" fmla="*/ 76591 w 291779"/>
                <a:gd name="connsiteY338" fmla="*/ 168669 h 654996"/>
                <a:gd name="connsiteX339" fmla="*/ 76971 w 291779"/>
                <a:gd name="connsiteY339" fmla="*/ 163106 h 654996"/>
                <a:gd name="connsiteX340" fmla="*/ 80477 w 291779"/>
                <a:gd name="connsiteY340" fmla="*/ 158991 h 654996"/>
                <a:gd name="connsiteX341" fmla="*/ 80639 w 291779"/>
                <a:gd name="connsiteY341" fmla="*/ 157486 h 654996"/>
                <a:gd name="connsiteX342" fmla="*/ 76238 w 291779"/>
                <a:gd name="connsiteY342" fmla="*/ 153000 h 654996"/>
                <a:gd name="connsiteX343" fmla="*/ 73066 w 291779"/>
                <a:gd name="connsiteY343" fmla="*/ 147904 h 654996"/>
                <a:gd name="connsiteX344" fmla="*/ 72076 w 291779"/>
                <a:gd name="connsiteY344" fmla="*/ 144923 h 654996"/>
                <a:gd name="connsiteX345" fmla="*/ 68447 w 291779"/>
                <a:gd name="connsiteY345" fmla="*/ 144475 h 654996"/>
                <a:gd name="connsiteX346" fmla="*/ 66180 w 291779"/>
                <a:gd name="connsiteY346" fmla="*/ 135769 h 654996"/>
                <a:gd name="connsiteX347" fmla="*/ 62903 w 291779"/>
                <a:gd name="connsiteY347" fmla="*/ 131521 h 654996"/>
                <a:gd name="connsiteX348" fmla="*/ 59665 w 291779"/>
                <a:gd name="connsiteY348" fmla="*/ 127835 h 654996"/>
                <a:gd name="connsiteX349" fmla="*/ 57750 w 291779"/>
                <a:gd name="connsiteY349" fmla="*/ 126121 h 654996"/>
                <a:gd name="connsiteX350" fmla="*/ 46511 w 291779"/>
                <a:gd name="connsiteY350" fmla="*/ 120815 h 654996"/>
                <a:gd name="connsiteX351" fmla="*/ 42053 w 291779"/>
                <a:gd name="connsiteY351" fmla="*/ 119805 h 654996"/>
                <a:gd name="connsiteX352" fmla="*/ 36767 w 291779"/>
                <a:gd name="connsiteY352" fmla="*/ 116700 h 654996"/>
                <a:gd name="connsiteX353" fmla="*/ 32833 w 291779"/>
                <a:gd name="connsiteY353" fmla="*/ 112795 h 654996"/>
                <a:gd name="connsiteX354" fmla="*/ 29461 w 291779"/>
                <a:gd name="connsiteY354" fmla="*/ 110280 h 654996"/>
                <a:gd name="connsiteX355" fmla="*/ 26575 w 291779"/>
                <a:gd name="connsiteY355" fmla="*/ 107166 h 654996"/>
                <a:gd name="connsiteX356" fmla="*/ 22546 w 291779"/>
                <a:gd name="connsiteY356" fmla="*/ 104251 h 654996"/>
                <a:gd name="connsiteX357" fmla="*/ 21393 w 291779"/>
                <a:gd name="connsiteY357" fmla="*/ 101756 h 654996"/>
                <a:gd name="connsiteX358" fmla="*/ 17040 w 291779"/>
                <a:gd name="connsiteY358" fmla="*/ 97126 h 654996"/>
                <a:gd name="connsiteX359" fmla="*/ 15002 w 291779"/>
                <a:gd name="connsiteY359" fmla="*/ 94069 h 654996"/>
                <a:gd name="connsiteX360" fmla="*/ 7925 w 291779"/>
                <a:gd name="connsiteY360" fmla="*/ 88287 h 654996"/>
                <a:gd name="connsiteX361" fmla="*/ 7668 w 291779"/>
                <a:gd name="connsiteY361" fmla="*/ 86001 h 654996"/>
                <a:gd name="connsiteX362" fmla="*/ 7620 w 291779"/>
                <a:gd name="connsiteY362" fmla="*/ 83791 h 654996"/>
                <a:gd name="connsiteX363" fmla="*/ 7296 w 291779"/>
                <a:gd name="connsiteY363" fmla="*/ 82867 h 654996"/>
                <a:gd name="connsiteX364" fmla="*/ 0 w 291779"/>
                <a:gd name="connsiteY364" fmla="*/ 78619 h 654996"/>
                <a:gd name="connsiteX365" fmla="*/ 1438 w 291779"/>
                <a:gd name="connsiteY365" fmla="*/ 76181 h 654996"/>
                <a:gd name="connsiteX366" fmla="*/ 7144 w 291779"/>
                <a:gd name="connsiteY366" fmla="*/ 76029 h 654996"/>
                <a:gd name="connsiteX367" fmla="*/ 11859 w 291779"/>
                <a:gd name="connsiteY367" fmla="*/ 78248 h 654996"/>
                <a:gd name="connsiteX368" fmla="*/ 12897 w 291779"/>
                <a:gd name="connsiteY368" fmla="*/ 77295 h 654996"/>
                <a:gd name="connsiteX369" fmla="*/ 13516 w 291779"/>
                <a:gd name="connsiteY369" fmla="*/ 75324 h 654996"/>
                <a:gd name="connsiteX370" fmla="*/ 11506 w 291779"/>
                <a:gd name="connsiteY370" fmla="*/ 67399 h 654996"/>
                <a:gd name="connsiteX371" fmla="*/ 11868 w 291779"/>
                <a:gd name="connsiteY371" fmla="*/ 65322 h 654996"/>
                <a:gd name="connsiteX372" fmla="*/ 13944 w 291779"/>
                <a:gd name="connsiteY372" fmla="*/ 62827 h 654996"/>
                <a:gd name="connsiteX373" fmla="*/ 17240 w 291779"/>
                <a:gd name="connsiteY373" fmla="*/ 60836 h 654996"/>
                <a:gd name="connsiteX374" fmla="*/ 22432 w 291779"/>
                <a:gd name="connsiteY374" fmla="*/ 60550 h 654996"/>
                <a:gd name="connsiteX375" fmla="*/ 25975 w 291779"/>
                <a:gd name="connsiteY375" fmla="*/ 60846 h 654996"/>
                <a:gd name="connsiteX376" fmla="*/ 26727 w 291779"/>
                <a:gd name="connsiteY376" fmla="*/ 61065 h 654996"/>
                <a:gd name="connsiteX377" fmla="*/ 32014 w 291779"/>
                <a:gd name="connsiteY377" fmla="*/ 69809 h 654996"/>
                <a:gd name="connsiteX378" fmla="*/ 36557 w 291779"/>
                <a:gd name="connsiteY378" fmla="*/ 78296 h 654996"/>
                <a:gd name="connsiteX379" fmla="*/ 38967 w 291779"/>
                <a:gd name="connsiteY379" fmla="*/ 81896 h 654996"/>
                <a:gd name="connsiteX380" fmla="*/ 44863 w 291779"/>
                <a:gd name="connsiteY380" fmla="*/ 92069 h 654996"/>
                <a:gd name="connsiteX381" fmla="*/ 47073 w 291779"/>
                <a:gd name="connsiteY381" fmla="*/ 97926 h 654996"/>
                <a:gd name="connsiteX382" fmla="*/ 47825 w 291779"/>
                <a:gd name="connsiteY382" fmla="*/ 102108 h 654996"/>
                <a:gd name="connsiteX383" fmla="*/ 50225 w 291779"/>
                <a:gd name="connsiteY383" fmla="*/ 102089 h 654996"/>
                <a:gd name="connsiteX384" fmla="*/ 58522 w 291779"/>
                <a:gd name="connsiteY384" fmla="*/ 103918 h 654996"/>
                <a:gd name="connsiteX385" fmla="*/ 65494 w 291779"/>
                <a:gd name="connsiteY385" fmla="*/ 105461 h 654996"/>
                <a:gd name="connsiteX386" fmla="*/ 67437 w 291779"/>
                <a:gd name="connsiteY386" fmla="*/ 107794 h 654996"/>
                <a:gd name="connsiteX387" fmla="*/ 72238 w 291779"/>
                <a:gd name="connsiteY387" fmla="*/ 107328 h 654996"/>
                <a:gd name="connsiteX388" fmla="*/ 75943 w 291779"/>
                <a:gd name="connsiteY388" fmla="*/ 105223 h 654996"/>
                <a:gd name="connsiteX389" fmla="*/ 82477 w 291779"/>
                <a:gd name="connsiteY389" fmla="*/ 102565 h 654996"/>
                <a:gd name="connsiteX390" fmla="*/ 84230 w 291779"/>
                <a:gd name="connsiteY390" fmla="*/ 99289 h 654996"/>
                <a:gd name="connsiteX391" fmla="*/ 86411 w 291779"/>
                <a:gd name="connsiteY391" fmla="*/ 95774 h 654996"/>
                <a:gd name="connsiteX392" fmla="*/ 90240 w 291779"/>
                <a:gd name="connsiteY392" fmla="*/ 96326 h 654996"/>
                <a:gd name="connsiteX393" fmla="*/ 94431 w 291779"/>
                <a:gd name="connsiteY393" fmla="*/ 99098 h 654996"/>
                <a:gd name="connsiteX394" fmla="*/ 99184 w 291779"/>
                <a:gd name="connsiteY394" fmla="*/ 102737 h 654996"/>
                <a:gd name="connsiteX395" fmla="*/ 103423 w 291779"/>
                <a:gd name="connsiteY395" fmla="*/ 104413 h 654996"/>
                <a:gd name="connsiteX396" fmla="*/ 109109 w 291779"/>
                <a:gd name="connsiteY396" fmla="*/ 107042 h 654996"/>
                <a:gd name="connsiteX397" fmla="*/ 111757 w 291779"/>
                <a:gd name="connsiteY397" fmla="*/ 110433 h 654996"/>
                <a:gd name="connsiteX398" fmla="*/ 115471 w 291779"/>
                <a:gd name="connsiteY398" fmla="*/ 111404 h 654996"/>
                <a:gd name="connsiteX399" fmla="*/ 119358 w 291779"/>
                <a:gd name="connsiteY399" fmla="*/ 108013 h 654996"/>
                <a:gd name="connsiteX400" fmla="*/ 121654 w 291779"/>
                <a:gd name="connsiteY400" fmla="*/ 98765 h 654996"/>
                <a:gd name="connsiteX401" fmla="*/ 123692 w 291779"/>
                <a:gd name="connsiteY401" fmla="*/ 94621 h 654996"/>
                <a:gd name="connsiteX402" fmla="*/ 126578 w 291779"/>
                <a:gd name="connsiteY402" fmla="*/ 91583 h 654996"/>
                <a:gd name="connsiteX403" fmla="*/ 129883 w 291779"/>
                <a:gd name="connsiteY403" fmla="*/ 90240 h 654996"/>
                <a:gd name="connsiteX404" fmla="*/ 132407 w 291779"/>
                <a:gd name="connsiteY404" fmla="*/ 89754 h 654996"/>
                <a:gd name="connsiteX405" fmla="*/ 134321 w 291779"/>
                <a:gd name="connsiteY405" fmla="*/ 87382 h 654996"/>
                <a:gd name="connsiteX406" fmla="*/ 137036 w 291779"/>
                <a:gd name="connsiteY406" fmla="*/ 82105 h 654996"/>
                <a:gd name="connsiteX407" fmla="*/ 137570 w 291779"/>
                <a:gd name="connsiteY407" fmla="*/ 75686 h 654996"/>
                <a:gd name="connsiteX408" fmla="*/ 137046 w 291779"/>
                <a:gd name="connsiteY408" fmla="*/ 64027 h 654996"/>
                <a:gd name="connsiteX409" fmla="*/ 137541 w 291779"/>
                <a:gd name="connsiteY409" fmla="*/ 60160 h 654996"/>
                <a:gd name="connsiteX410" fmla="*/ 139761 w 291779"/>
                <a:gd name="connsiteY410" fmla="*/ 53816 h 654996"/>
                <a:gd name="connsiteX411" fmla="*/ 142742 w 291779"/>
                <a:gd name="connsiteY411" fmla="*/ 36900 h 654996"/>
                <a:gd name="connsiteX412" fmla="*/ 144076 w 291779"/>
                <a:gd name="connsiteY412" fmla="*/ 31985 h 654996"/>
                <a:gd name="connsiteX413" fmla="*/ 145704 w 291779"/>
                <a:gd name="connsiteY413" fmla="*/ 28994 h 654996"/>
                <a:gd name="connsiteX414" fmla="*/ 147943 w 291779"/>
                <a:gd name="connsiteY414" fmla="*/ 27213 h 654996"/>
                <a:gd name="connsiteX415" fmla="*/ 152010 w 291779"/>
                <a:gd name="connsiteY415" fmla="*/ 22031 h 654996"/>
                <a:gd name="connsiteX416" fmla="*/ 157820 w 291779"/>
                <a:gd name="connsiteY416" fmla="*/ 11706 h 654996"/>
                <a:gd name="connsiteX417" fmla="*/ 159391 w 291779"/>
                <a:gd name="connsiteY417" fmla="*/ 10830 h 654996"/>
                <a:gd name="connsiteX418" fmla="*/ 163563 w 291779"/>
                <a:gd name="connsiteY418" fmla="*/ 10306 h 654996"/>
                <a:gd name="connsiteX419" fmla="*/ 168745 w 291779"/>
                <a:gd name="connsiteY419" fmla="*/ 10687 h 654996"/>
                <a:gd name="connsiteX420" fmla="*/ 173412 w 291779"/>
                <a:gd name="connsiteY420" fmla="*/ 12506 h 654996"/>
                <a:gd name="connsiteX421" fmla="*/ 173917 w 291779"/>
                <a:gd name="connsiteY421" fmla="*/ 12363 h 654996"/>
                <a:gd name="connsiteX422" fmla="*/ 176013 w 291779"/>
                <a:gd name="connsiteY422" fmla="*/ 11411 h 654996"/>
                <a:gd name="connsiteX423" fmla="*/ 179813 w 291779"/>
                <a:gd name="connsiteY423" fmla="*/ 8192 h 654996"/>
                <a:gd name="connsiteX424" fmla="*/ 186328 w 291779"/>
                <a:gd name="connsiteY424" fmla="*/ 1772 h 654996"/>
                <a:gd name="connsiteX425" fmla="*/ 190500 w 291779"/>
                <a:gd name="connsiteY425" fmla="*/ 0 h 654996"/>
                <a:gd name="connsiteX426" fmla="*/ 194291 w 291779"/>
                <a:gd name="connsiteY426" fmla="*/ 248 h 654996"/>
                <a:gd name="connsiteX427" fmla="*/ 198491 w 291779"/>
                <a:gd name="connsiteY427" fmla="*/ 7277 h 654996"/>
                <a:gd name="connsiteX428" fmla="*/ 204426 w 291779"/>
                <a:gd name="connsiteY428" fmla="*/ 15078 h 654996"/>
                <a:gd name="connsiteX429" fmla="*/ 208236 w 291779"/>
                <a:gd name="connsiteY429" fmla="*/ 18850 h 654996"/>
                <a:gd name="connsiteX430" fmla="*/ 218627 w 291779"/>
                <a:gd name="connsiteY430" fmla="*/ 25908 h 654996"/>
                <a:gd name="connsiteX431" fmla="*/ 227752 w 291779"/>
                <a:gd name="connsiteY431" fmla="*/ 30528 h 654996"/>
                <a:gd name="connsiteX432" fmla="*/ 232877 w 291779"/>
                <a:gd name="connsiteY432" fmla="*/ 45710 h 654996"/>
                <a:gd name="connsiteX433" fmla="*/ 230344 w 291779"/>
                <a:gd name="connsiteY433" fmla="*/ 51721 h 654996"/>
                <a:gd name="connsiteX434" fmla="*/ 229086 w 291779"/>
                <a:gd name="connsiteY434" fmla="*/ 53788 h 654996"/>
                <a:gd name="connsiteX435" fmla="*/ 224619 w 291779"/>
                <a:gd name="connsiteY435" fmla="*/ 59741 h 654996"/>
                <a:gd name="connsiteX436" fmla="*/ 219846 w 291779"/>
                <a:gd name="connsiteY436" fmla="*/ 68104 h 654996"/>
                <a:gd name="connsiteX437" fmla="*/ 219485 w 291779"/>
                <a:gd name="connsiteY437" fmla="*/ 72447 h 654996"/>
                <a:gd name="connsiteX438" fmla="*/ 221066 w 291779"/>
                <a:gd name="connsiteY438" fmla="*/ 76819 h 654996"/>
                <a:gd name="connsiteX439" fmla="*/ 223085 w 291779"/>
                <a:gd name="connsiteY439" fmla="*/ 79648 h 654996"/>
                <a:gd name="connsiteX440" fmla="*/ 113014 w 291779"/>
                <a:gd name="connsiteY440" fmla="*/ 355911 h 654996"/>
                <a:gd name="connsiteX441" fmla="*/ 109024 w 291779"/>
                <a:gd name="connsiteY441" fmla="*/ 358007 h 654996"/>
                <a:gd name="connsiteX442" fmla="*/ 105813 w 291779"/>
                <a:gd name="connsiteY442" fmla="*/ 356702 h 654996"/>
                <a:gd name="connsiteX443" fmla="*/ 105756 w 291779"/>
                <a:gd name="connsiteY443" fmla="*/ 352635 h 654996"/>
                <a:gd name="connsiteX444" fmla="*/ 107747 w 291779"/>
                <a:gd name="connsiteY444" fmla="*/ 350663 h 654996"/>
                <a:gd name="connsiteX445" fmla="*/ 111347 w 291779"/>
                <a:gd name="connsiteY445" fmla="*/ 349872 h 654996"/>
                <a:gd name="connsiteX446" fmla="*/ 116281 w 291779"/>
                <a:gd name="connsiteY446" fmla="*/ 351844 h 654996"/>
                <a:gd name="connsiteX447" fmla="*/ 117005 w 291779"/>
                <a:gd name="connsiteY447" fmla="*/ 352892 h 654996"/>
                <a:gd name="connsiteX448" fmla="*/ 114176 w 291779"/>
                <a:gd name="connsiteY448" fmla="*/ 353682 h 654996"/>
                <a:gd name="connsiteX449" fmla="*/ 113014 w 291779"/>
                <a:gd name="connsiteY449" fmla="*/ 355911 h 654996"/>
                <a:gd name="connsiteX450" fmla="*/ 15964 w 291779"/>
                <a:gd name="connsiteY450" fmla="*/ 462953 h 654996"/>
                <a:gd name="connsiteX451" fmla="*/ 16250 w 291779"/>
                <a:gd name="connsiteY451" fmla="*/ 464058 h 654996"/>
                <a:gd name="connsiteX452" fmla="*/ 17812 w 291779"/>
                <a:gd name="connsiteY452" fmla="*/ 463753 h 654996"/>
                <a:gd name="connsiteX453" fmla="*/ 19927 w 291779"/>
                <a:gd name="connsiteY453" fmla="*/ 461734 h 654996"/>
                <a:gd name="connsiteX454" fmla="*/ 21422 w 291779"/>
                <a:gd name="connsiteY454" fmla="*/ 462677 h 654996"/>
                <a:gd name="connsiteX455" fmla="*/ 21250 w 291779"/>
                <a:gd name="connsiteY455" fmla="*/ 465553 h 654996"/>
                <a:gd name="connsiteX456" fmla="*/ 20241 w 291779"/>
                <a:gd name="connsiteY456" fmla="*/ 465439 h 654996"/>
                <a:gd name="connsiteX457" fmla="*/ 19964 w 291779"/>
                <a:gd name="connsiteY457" fmla="*/ 464963 h 654996"/>
                <a:gd name="connsiteX458" fmla="*/ 18660 w 291779"/>
                <a:gd name="connsiteY458" fmla="*/ 466601 h 654996"/>
                <a:gd name="connsiteX459" fmla="*/ 18431 w 291779"/>
                <a:gd name="connsiteY459" fmla="*/ 467592 h 654996"/>
                <a:gd name="connsiteX460" fmla="*/ 16926 w 291779"/>
                <a:gd name="connsiteY460" fmla="*/ 468220 h 654996"/>
                <a:gd name="connsiteX461" fmla="*/ 14145 w 291779"/>
                <a:gd name="connsiteY461" fmla="*/ 465411 h 654996"/>
                <a:gd name="connsiteX462" fmla="*/ 12392 w 291779"/>
                <a:gd name="connsiteY462" fmla="*/ 460781 h 654996"/>
                <a:gd name="connsiteX463" fmla="*/ 16469 w 291779"/>
                <a:gd name="connsiteY463" fmla="*/ 460772 h 654996"/>
                <a:gd name="connsiteX464" fmla="*/ 16078 w 291779"/>
                <a:gd name="connsiteY464" fmla="*/ 461877 h 654996"/>
                <a:gd name="connsiteX465" fmla="*/ 15964 w 291779"/>
                <a:gd name="connsiteY465" fmla="*/ 462953 h 654996"/>
                <a:gd name="connsiteX466" fmla="*/ 22193 w 291779"/>
                <a:gd name="connsiteY466" fmla="*/ 616667 h 654996"/>
                <a:gd name="connsiteX467" fmla="*/ 21822 w 291779"/>
                <a:gd name="connsiteY467" fmla="*/ 619192 h 654996"/>
                <a:gd name="connsiteX468" fmla="*/ 20003 w 291779"/>
                <a:gd name="connsiteY468" fmla="*/ 618915 h 654996"/>
                <a:gd name="connsiteX469" fmla="*/ 18155 w 291779"/>
                <a:gd name="connsiteY469" fmla="*/ 619373 h 654996"/>
                <a:gd name="connsiteX470" fmla="*/ 16669 w 291779"/>
                <a:gd name="connsiteY470" fmla="*/ 616868 h 654996"/>
                <a:gd name="connsiteX471" fmla="*/ 15878 w 291779"/>
                <a:gd name="connsiteY471" fmla="*/ 612639 h 654996"/>
                <a:gd name="connsiteX472" fmla="*/ 16155 w 291779"/>
                <a:gd name="connsiteY472" fmla="*/ 611724 h 654996"/>
                <a:gd name="connsiteX473" fmla="*/ 17316 w 291779"/>
                <a:gd name="connsiteY473" fmla="*/ 610762 h 654996"/>
                <a:gd name="connsiteX474" fmla="*/ 18202 w 291779"/>
                <a:gd name="connsiteY474" fmla="*/ 613086 h 654996"/>
                <a:gd name="connsiteX475" fmla="*/ 22193 w 291779"/>
                <a:gd name="connsiteY475" fmla="*/ 616667 h 654996"/>
                <a:gd name="connsiteX476" fmla="*/ 36719 w 291779"/>
                <a:gd name="connsiteY476" fmla="*/ 627097 h 654996"/>
                <a:gd name="connsiteX477" fmla="*/ 34766 w 291779"/>
                <a:gd name="connsiteY477" fmla="*/ 627336 h 654996"/>
                <a:gd name="connsiteX478" fmla="*/ 32014 w 291779"/>
                <a:gd name="connsiteY478" fmla="*/ 624659 h 654996"/>
                <a:gd name="connsiteX479" fmla="*/ 31671 w 291779"/>
                <a:gd name="connsiteY479" fmla="*/ 623611 h 654996"/>
                <a:gd name="connsiteX480" fmla="*/ 32747 w 291779"/>
                <a:gd name="connsiteY480" fmla="*/ 623002 h 654996"/>
                <a:gd name="connsiteX481" fmla="*/ 32033 w 291779"/>
                <a:gd name="connsiteY481" fmla="*/ 620849 h 654996"/>
                <a:gd name="connsiteX482" fmla="*/ 32242 w 291779"/>
                <a:gd name="connsiteY482" fmla="*/ 619896 h 654996"/>
                <a:gd name="connsiteX483" fmla="*/ 34367 w 291779"/>
                <a:gd name="connsiteY483" fmla="*/ 621601 h 654996"/>
                <a:gd name="connsiteX484" fmla="*/ 35529 w 291779"/>
                <a:gd name="connsiteY484" fmla="*/ 623583 h 654996"/>
                <a:gd name="connsiteX485" fmla="*/ 34395 w 291779"/>
                <a:gd name="connsiteY485" fmla="*/ 624040 h 654996"/>
                <a:gd name="connsiteX486" fmla="*/ 36319 w 291779"/>
                <a:gd name="connsiteY486" fmla="*/ 626088 h 654996"/>
                <a:gd name="connsiteX487" fmla="*/ 36719 w 291779"/>
                <a:gd name="connsiteY487" fmla="*/ 627097 h 654996"/>
                <a:gd name="connsiteX488" fmla="*/ 41558 w 291779"/>
                <a:gd name="connsiteY488" fmla="*/ 625269 h 654996"/>
                <a:gd name="connsiteX489" fmla="*/ 44939 w 291779"/>
                <a:gd name="connsiteY489" fmla="*/ 626516 h 654996"/>
                <a:gd name="connsiteX490" fmla="*/ 46358 w 291779"/>
                <a:gd name="connsiteY490" fmla="*/ 626069 h 654996"/>
                <a:gd name="connsiteX491" fmla="*/ 47977 w 291779"/>
                <a:gd name="connsiteY491" fmla="*/ 628898 h 654996"/>
                <a:gd name="connsiteX492" fmla="*/ 45234 w 291779"/>
                <a:gd name="connsiteY492" fmla="*/ 630688 h 654996"/>
                <a:gd name="connsiteX493" fmla="*/ 45044 w 291779"/>
                <a:gd name="connsiteY493" fmla="*/ 632917 h 654996"/>
                <a:gd name="connsiteX494" fmla="*/ 46130 w 291779"/>
                <a:gd name="connsiteY494" fmla="*/ 634298 h 654996"/>
                <a:gd name="connsiteX495" fmla="*/ 46511 w 291779"/>
                <a:gd name="connsiteY495" fmla="*/ 636299 h 654996"/>
                <a:gd name="connsiteX496" fmla="*/ 43777 w 291779"/>
                <a:gd name="connsiteY496" fmla="*/ 636299 h 654996"/>
                <a:gd name="connsiteX497" fmla="*/ 42472 w 291779"/>
                <a:gd name="connsiteY497" fmla="*/ 634613 h 654996"/>
                <a:gd name="connsiteX498" fmla="*/ 41900 w 291779"/>
                <a:gd name="connsiteY498" fmla="*/ 632470 h 654996"/>
                <a:gd name="connsiteX499" fmla="*/ 40624 w 291779"/>
                <a:gd name="connsiteY499" fmla="*/ 630955 h 654996"/>
                <a:gd name="connsiteX500" fmla="*/ 38929 w 291779"/>
                <a:gd name="connsiteY500" fmla="*/ 629803 h 654996"/>
                <a:gd name="connsiteX501" fmla="*/ 39757 w 291779"/>
                <a:gd name="connsiteY501" fmla="*/ 628260 h 654996"/>
                <a:gd name="connsiteX502" fmla="*/ 40234 w 291779"/>
                <a:gd name="connsiteY502" fmla="*/ 626050 h 654996"/>
                <a:gd name="connsiteX503" fmla="*/ 41558 w 291779"/>
                <a:gd name="connsiteY503" fmla="*/ 625269 h 654996"/>
                <a:gd name="connsiteX504" fmla="*/ 32414 w 291779"/>
                <a:gd name="connsiteY504" fmla="*/ 637642 h 654996"/>
                <a:gd name="connsiteX505" fmla="*/ 29737 w 291779"/>
                <a:gd name="connsiteY505" fmla="*/ 639480 h 654996"/>
                <a:gd name="connsiteX506" fmla="*/ 28718 w 291779"/>
                <a:gd name="connsiteY506" fmla="*/ 639042 h 654996"/>
                <a:gd name="connsiteX507" fmla="*/ 28975 w 291779"/>
                <a:gd name="connsiteY507" fmla="*/ 635937 h 654996"/>
                <a:gd name="connsiteX508" fmla="*/ 30566 w 291779"/>
                <a:gd name="connsiteY508" fmla="*/ 634517 h 654996"/>
                <a:gd name="connsiteX509" fmla="*/ 33242 w 291779"/>
                <a:gd name="connsiteY509" fmla="*/ 634355 h 654996"/>
                <a:gd name="connsiteX510" fmla="*/ 32414 w 291779"/>
                <a:gd name="connsiteY510" fmla="*/ 637642 h 654996"/>
                <a:gd name="connsiteX511" fmla="*/ 26937 w 291779"/>
                <a:gd name="connsiteY511" fmla="*/ 639394 h 654996"/>
                <a:gd name="connsiteX512" fmla="*/ 24594 w 291779"/>
                <a:gd name="connsiteY512" fmla="*/ 639928 h 654996"/>
                <a:gd name="connsiteX513" fmla="*/ 23136 w 291779"/>
                <a:gd name="connsiteY513" fmla="*/ 638375 h 654996"/>
                <a:gd name="connsiteX514" fmla="*/ 23689 w 291779"/>
                <a:gd name="connsiteY514" fmla="*/ 637222 h 654996"/>
                <a:gd name="connsiteX515" fmla="*/ 25318 w 291779"/>
                <a:gd name="connsiteY515" fmla="*/ 635937 h 654996"/>
                <a:gd name="connsiteX516" fmla="*/ 27089 w 291779"/>
                <a:gd name="connsiteY516" fmla="*/ 636118 h 654996"/>
                <a:gd name="connsiteX517" fmla="*/ 27470 w 291779"/>
                <a:gd name="connsiteY517" fmla="*/ 637623 h 654996"/>
                <a:gd name="connsiteX518" fmla="*/ 26937 w 291779"/>
                <a:gd name="connsiteY518" fmla="*/ 639394 h 65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</a:cxnLst>
              <a:rect l="l" t="t" r="r" b="b"/>
              <a:pathLst>
                <a:path w="291779" h="654996">
                  <a:moveTo>
                    <a:pt x="223085" y="79648"/>
                  </a:moveTo>
                  <a:lnTo>
                    <a:pt x="221295" y="80572"/>
                  </a:lnTo>
                  <a:lnTo>
                    <a:pt x="215770" y="84191"/>
                  </a:lnTo>
                  <a:lnTo>
                    <a:pt x="212398" y="86630"/>
                  </a:lnTo>
                  <a:lnTo>
                    <a:pt x="208340" y="88420"/>
                  </a:lnTo>
                  <a:lnTo>
                    <a:pt x="209388" y="90792"/>
                  </a:lnTo>
                  <a:lnTo>
                    <a:pt x="216132" y="91288"/>
                  </a:lnTo>
                  <a:lnTo>
                    <a:pt x="217170" y="91964"/>
                  </a:lnTo>
                  <a:lnTo>
                    <a:pt x="217923" y="93174"/>
                  </a:lnTo>
                  <a:lnTo>
                    <a:pt x="218047" y="95117"/>
                  </a:lnTo>
                  <a:lnTo>
                    <a:pt x="217370" y="98250"/>
                  </a:lnTo>
                  <a:lnTo>
                    <a:pt x="210074" y="115405"/>
                  </a:lnTo>
                  <a:lnTo>
                    <a:pt x="209845" y="118996"/>
                  </a:lnTo>
                  <a:lnTo>
                    <a:pt x="212227" y="128940"/>
                  </a:lnTo>
                  <a:lnTo>
                    <a:pt x="215570" y="140599"/>
                  </a:lnTo>
                  <a:lnTo>
                    <a:pt x="225676" y="145752"/>
                  </a:lnTo>
                  <a:lnTo>
                    <a:pt x="233182" y="149762"/>
                  </a:lnTo>
                  <a:lnTo>
                    <a:pt x="238001" y="159229"/>
                  </a:lnTo>
                  <a:lnTo>
                    <a:pt x="245955" y="171621"/>
                  </a:lnTo>
                  <a:lnTo>
                    <a:pt x="250165" y="176232"/>
                  </a:lnTo>
                  <a:lnTo>
                    <a:pt x="250403" y="177660"/>
                  </a:lnTo>
                  <a:lnTo>
                    <a:pt x="249155" y="186128"/>
                  </a:lnTo>
                  <a:lnTo>
                    <a:pt x="244059" y="194567"/>
                  </a:lnTo>
                  <a:lnTo>
                    <a:pt x="239296" y="201654"/>
                  </a:lnTo>
                  <a:lnTo>
                    <a:pt x="234363" y="210150"/>
                  </a:lnTo>
                  <a:lnTo>
                    <a:pt x="230505" y="217360"/>
                  </a:lnTo>
                  <a:lnTo>
                    <a:pt x="226323" y="225962"/>
                  </a:lnTo>
                  <a:lnTo>
                    <a:pt x="225838" y="228743"/>
                  </a:lnTo>
                  <a:lnTo>
                    <a:pt x="225762" y="231362"/>
                  </a:lnTo>
                  <a:lnTo>
                    <a:pt x="226486" y="234248"/>
                  </a:lnTo>
                  <a:lnTo>
                    <a:pt x="231839" y="244659"/>
                  </a:lnTo>
                  <a:lnTo>
                    <a:pt x="233925" y="249946"/>
                  </a:lnTo>
                  <a:lnTo>
                    <a:pt x="236411" y="255641"/>
                  </a:lnTo>
                  <a:lnTo>
                    <a:pt x="238554" y="261833"/>
                  </a:lnTo>
                  <a:lnTo>
                    <a:pt x="239792" y="267367"/>
                  </a:lnTo>
                  <a:lnTo>
                    <a:pt x="241935" y="272729"/>
                  </a:lnTo>
                  <a:lnTo>
                    <a:pt x="243269" y="275463"/>
                  </a:lnTo>
                  <a:lnTo>
                    <a:pt x="245479" y="279292"/>
                  </a:lnTo>
                  <a:lnTo>
                    <a:pt x="248145" y="284969"/>
                  </a:lnTo>
                  <a:lnTo>
                    <a:pt x="249031" y="289455"/>
                  </a:lnTo>
                  <a:lnTo>
                    <a:pt x="253060" y="304924"/>
                  </a:lnTo>
                  <a:lnTo>
                    <a:pt x="253470" y="308839"/>
                  </a:lnTo>
                  <a:lnTo>
                    <a:pt x="253270" y="311734"/>
                  </a:lnTo>
                  <a:lnTo>
                    <a:pt x="251498" y="312439"/>
                  </a:lnTo>
                  <a:lnTo>
                    <a:pt x="247584" y="312896"/>
                  </a:lnTo>
                  <a:lnTo>
                    <a:pt x="243335" y="314792"/>
                  </a:lnTo>
                  <a:lnTo>
                    <a:pt x="243126" y="315430"/>
                  </a:lnTo>
                  <a:lnTo>
                    <a:pt x="245898" y="319030"/>
                  </a:lnTo>
                  <a:lnTo>
                    <a:pt x="243450" y="325174"/>
                  </a:lnTo>
                  <a:lnTo>
                    <a:pt x="243097" y="333927"/>
                  </a:lnTo>
                  <a:lnTo>
                    <a:pt x="240487" y="338499"/>
                  </a:lnTo>
                  <a:lnTo>
                    <a:pt x="240240" y="339557"/>
                  </a:lnTo>
                  <a:lnTo>
                    <a:pt x="240354" y="340442"/>
                  </a:lnTo>
                  <a:lnTo>
                    <a:pt x="240821" y="341138"/>
                  </a:lnTo>
                  <a:lnTo>
                    <a:pt x="245650" y="342357"/>
                  </a:lnTo>
                  <a:lnTo>
                    <a:pt x="246069" y="343595"/>
                  </a:lnTo>
                  <a:lnTo>
                    <a:pt x="246088" y="346158"/>
                  </a:lnTo>
                  <a:lnTo>
                    <a:pt x="245659" y="348520"/>
                  </a:lnTo>
                  <a:lnTo>
                    <a:pt x="243231" y="350272"/>
                  </a:lnTo>
                  <a:lnTo>
                    <a:pt x="240630" y="352854"/>
                  </a:lnTo>
                  <a:lnTo>
                    <a:pt x="240049" y="355235"/>
                  </a:lnTo>
                  <a:lnTo>
                    <a:pt x="240135" y="357349"/>
                  </a:lnTo>
                  <a:lnTo>
                    <a:pt x="241021" y="360921"/>
                  </a:lnTo>
                  <a:lnTo>
                    <a:pt x="242745" y="365074"/>
                  </a:lnTo>
                  <a:lnTo>
                    <a:pt x="244926" y="367675"/>
                  </a:lnTo>
                  <a:lnTo>
                    <a:pt x="252670" y="370142"/>
                  </a:lnTo>
                  <a:lnTo>
                    <a:pt x="253670" y="372170"/>
                  </a:lnTo>
                  <a:lnTo>
                    <a:pt x="254089" y="374952"/>
                  </a:lnTo>
                  <a:lnTo>
                    <a:pt x="253927" y="377666"/>
                  </a:lnTo>
                  <a:lnTo>
                    <a:pt x="250327" y="383076"/>
                  </a:lnTo>
                  <a:lnTo>
                    <a:pt x="250355" y="385153"/>
                  </a:lnTo>
                  <a:lnTo>
                    <a:pt x="251832" y="390163"/>
                  </a:lnTo>
                  <a:lnTo>
                    <a:pt x="253603" y="394935"/>
                  </a:lnTo>
                  <a:lnTo>
                    <a:pt x="261157" y="400098"/>
                  </a:lnTo>
                  <a:lnTo>
                    <a:pt x="263757" y="402917"/>
                  </a:lnTo>
                  <a:lnTo>
                    <a:pt x="264443" y="405155"/>
                  </a:lnTo>
                  <a:lnTo>
                    <a:pt x="264824" y="408765"/>
                  </a:lnTo>
                  <a:lnTo>
                    <a:pt x="264776" y="412671"/>
                  </a:lnTo>
                  <a:lnTo>
                    <a:pt x="264186" y="416128"/>
                  </a:lnTo>
                  <a:lnTo>
                    <a:pt x="261814" y="420576"/>
                  </a:lnTo>
                  <a:lnTo>
                    <a:pt x="256337" y="429320"/>
                  </a:lnTo>
                  <a:lnTo>
                    <a:pt x="250822" y="432702"/>
                  </a:lnTo>
                  <a:lnTo>
                    <a:pt x="250489" y="433435"/>
                  </a:lnTo>
                  <a:lnTo>
                    <a:pt x="252193" y="436216"/>
                  </a:lnTo>
                  <a:lnTo>
                    <a:pt x="261900" y="447323"/>
                  </a:lnTo>
                  <a:lnTo>
                    <a:pt x="268234" y="452495"/>
                  </a:lnTo>
                  <a:lnTo>
                    <a:pt x="276768" y="459448"/>
                  </a:lnTo>
                  <a:lnTo>
                    <a:pt x="282273" y="464925"/>
                  </a:lnTo>
                  <a:lnTo>
                    <a:pt x="284055" y="468849"/>
                  </a:lnTo>
                  <a:lnTo>
                    <a:pt x="286436" y="473212"/>
                  </a:lnTo>
                  <a:lnTo>
                    <a:pt x="289113" y="476764"/>
                  </a:lnTo>
                  <a:lnTo>
                    <a:pt x="291046" y="479841"/>
                  </a:lnTo>
                  <a:lnTo>
                    <a:pt x="291779" y="481822"/>
                  </a:lnTo>
                  <a:lnTo>
                    <a:pt x="291713" y="483946"/>
                  </a:lnTo>
                  <a:lnTo>
                    <a:pt x="289132" y="490337"/>
                  </a:lnTo>
                  <a:lnTo>
                    <a:pt x="287664" y="495262"/>
                  </a:lnTo>
                  <a:lnTo>
                    <a:pt x="285083" y="502453"/>
                  </a:lnTo>
                  <a:lnTo>
                    <a:pt x="282436" y="507444"/>
                  </a:lnTo>
                  <a:lnTo>
                    <a:pt x="275730" y="516531"/>
                  </a:lnTo>
                  <a:lnTo>
                    <a:pt x="265833" y="527771"/>
                  </a:lnTo>
                  <a:lnTo>
                    <a:pt x="263538" y="531152"/>
                  </a:lnTo>
                  <a:lnTo>
                    <a:pt x="258909" y="537029"/>
                  </a:lnTo>
                  <a:lnTo>
                    <a:pt x="250974" y="548773"/>
                  </a:lnTo>
                  <a:lnTo>
                    <a:pt x="248927" y="551355"/>
                  </a:lnTo>
                  <a:lnTo>
                    <a:pt x="242431" y="560651"/>
                  </a:lnTo>
                  <a:lnTo>
                    <a:pt x="239468" y="563604"/>
                  </a:lnTo>
                  <a:lnTo>
                    <a:pt x="237134" y="566356"/>
                  </a:lnTo>
                  <a:lnTo>
                    <a:pt x="230705" y="575072"/>
                  </a:lnTo>
                  <a:lnTo>
                    <a:pt x="223790" y="581654"/>
                  </a:lnTo>
                  <a:lnTo>
                    <a:pt x="217008" y="587750"/>
                  </a:lnTo>
                  <a:lnTo>
                    <a:pt x="214970" y="590826"/>
                  </a:lnTo>
                  <a:lnTo>
                    <a:pt x="212436" y="593179"/>
                  </a:lnTo>
                  <a:lnTo>
                    <a:pt x="209417" y="595408"/>
                  </a:lnTo>
                  <a:lnTo>
                    <a:pt x="208150" y="596655"/>
                  </a:lnTo>
                  <a:lnTo>
                    <a:pt x="201320" y="604933"/>
                  </a:lnTo>
                  <a:lnTo>
                    <a:pt x="191843" y="616344"/>
                  </a:lnTo>
                  <a:lnTo>
                    <a:pt x="190881" y="616525"/>
                  </a:lnTo>
                  <a:lnTo>
                    <a:pt x="188414" y="618363"/>
                  </a:lnTo>
                  <a:lnTo>
                    <a:pt x="184557" y="618811"/>
                  </a:lnTo>
                  <a:lnTo>
                    <a:pt x="182880" y="620211"/>
                  </a:lnTo>
                  <a:lnTo>
                    <a:pt x="176984" y="616210"/>
                  </a:lnTo>
                  <a:lnTo>
                    <a:pt x="176003" y="615953"/>
                  </a:lnTo>
                  <a:lnTo>
                    <a:pt x="172536" y="616944"/>
                  </a:lnTo>
                  <a:lnTo>
                    <a:pt x="169212" y="619849"/>
                  </a:lnTo>
                  <a:lnTo>
                    <a:pt x="163068" y="620735"/>
                  </a:lnTo>
                  <a:lnTo>
                    <a:pt x="160020" y="621678"/>
                  </a:lnTo>
                  <a:lnTo>
                    <a:pt x="158077" y="623021"/>
                  </a:lnTo>
                  <a:lnTo>
                    <a:pt x="157677" y="619849"/>
                  </a:lnTo>
                  <a:lnTo>
                    <a:pt x="158515" y="615820"/>
                  </a:lnTo>
                  <a:lnTo>
                    <a:pt x="159868" y="613124"/>
                  </a:lnTo>
                  <a:lnTo>
                    <a:pt x="159991" y="611372"/>
                  </a:lnTo>
                  <a:lnTo>
                    <a:pt x="159001" y="611553"/>
                  </a:lnTo>
                  <a:lnTo>
                    <a:pt x="157029" y="615505"/>
                  </a:lnTo>
                  <a:lnTo>
                    <a:pt x="155982" y="620116"/>
                  </a:lnTo>
                  <a:lnTo>
                    <a:pt x="153877" y="622430"/>
                  </a:lnTo>
                  <a:lnTo>
                    <a:pt x="149247" y="623373"/>
                  </a:lnTo>
                  <a:lnTo>
                    <a:pt x="144742" y="619677"/>
                  </a:lnTo>
                  <a:lnTo>
                    <a:pt x="142599" y="619706"/>
                  </a:lnTo>
                  <a:lnTo>
                    <a:pt x="143942" y="622354"/>
                  </a:lnTo>
                  <a:lnTo>
                    <a:pt x="144847" y="625259"/>
                  </a:lnTo>
                  <a:lnTo>
                    <a:pt x="144732" y="626878"/>
                  </a:lnTo>
                  <a:lnTo>
                    <a:pt x="142332" y="626593"/>
                  </a:lnTo>
                  <a:lnTo>
                    <a:pt x="139655" y="628326"/>
                  </a:lnTo>
                  <a:lnTo>
                    <a:pt x="137313" y="630860"/>
                  </a:lnTo>
                  <a:lnTo>
                    <a:pt x="136170" y="630869"/>
                  </a:lnTo>
                  <a:lnTo>
                    <a:pt x="134588" y="627326"/>
                  </a:lnTo>
                  <a:lnTo>
                    <a:pt x="131693" y="628983"/>
                  </a:lnTo>
                  <a:lnTo>
                    <a:pt x="129217" y="631203"/>
                  </a:lnTo>
                  <a:lnTo>
                    <a:pt x="124196" y="631888"/>
                  </a:lnTo>
                  <a:lnTo>
                    <a:pt x="121206" y="634803"/>
                  </a:lnTo>
                  <a:lnTo>
                    <a:pt x="115910" y="636775"/>
                  </a:lnTo>
                  <a:lnTo>
                    <a:pt x="113005" y="636727"/>
                  </a:lnTo>
                  <a:lnTo>
                    <a:pt x="106366" y="639089"/>
                  </a:lnTo>
                  <a:lnTo>
                    <a:pt x="104156" y="642728"/>
                  </a:lnTo>
                  <a:lnTo>
                    <a:pt x="102222" y="644061"/>
                  </a:lnTo>
                  <a:lnTo>
                    <a:pt x="99470" y="642938"/>
                  </a:lnTo>
                  <a:lnTo>
                    <a:pt x="90983" y="644709"/>
                  </a:lnTo>
                  <a:lnTo>
                    <a:pt x="82868" y="647033"/>
                  </a:lnTo>
                  <a:lnTo>
                    <a:pt x="79420" y="646900"/>
                  </a:lnTo>
                  <a:lnTo>
                    <a:pt x="75972" y="645938"/>
                  </a:lnTo>
                  <a:lnTo>
                    <a:pt x="72314" y="649157"/>
                  </a:lnTo>
                  <a:lnTo>
                    <a:pt x="68428" y="653463"/>
                  </a:lnTo>
                  <a:lnTo>
                    <a:pt x="64151" y="654996"/>
                  </a:lnTo>
                  <a:lnTo>
                    <a:pt x="62618" y="654444"/>
                  </a:lnTo>
                  <a:lnTo>
                    <a:pt x="63846" y="652186"/>
                  </a:lnTo>
                  <a:lnTo>
                    <a:pt x="66675" y="649853"/>
                  </a:lnTo>
                  <a:lnTo>
                    <a:pt x="68618" y="646681"/>
                  </a:lnTo>
                  <a:lnTo>
                    <a:pt x="68885" y="644033"/>
                  </a:lnTo>
                  <a:lnTo>
                    <a:pt x="67552" y="642995"/>
                  </a:lnTo>
                  <a:lnTo>
                    <a:pt x="65723" y="642671"/>
                  </a:lnTo>
                  <a:lnTo>
                    <a:pt x="63427" y="639928"/>
                  </a:lnTo>
                  <a:lnTo>
                    <a:pt x="61227" y="633965"/>
                  </a:lnTo>
                  <a:lnTo>
                    <a:pt x="60036" y="633632"/>
                  </a:lnTo>
                  <a:lnTo>
                    <a:pt x="59436" y="635203"/>
                  </a:lnTo>
                  <a:lnTo>
                    <a:pt x="58760" y="639766"/>
                  </a:lnTo>
                  <a:lnTo>
                    <a:pt x="58074" y="641080"/>
                  </a:lnTo>
                  <a:lnTo>
                    <a:pt x="56912" y="642128"/>
                  </a:lnTo>
                  <a:lnTo>
                    <a:pt x="55512" y="643176"/>
                  </a:lnTo>
                  <a:lnTo>
                    <a:pt x="54140" y="643690"/>
                  </a:lnTo>
                  <a:lnTo>
                    <a:pt x="49235" y="643623"/>
                  </a:lnTo>
                  <a:lnTo>
                    <a:pt x="48587" y="641318"/>
                  </a:lnTo>
                  <a:lnTo>
                    <a:pt x="48587" y="640356"/>
                  </a:lnTo>
                  <a:lnTo>
                    <a:pt x="49463" y="637318"/>
                  </a:lnTo>
                  <a:lnTo>
                    <a:pt x="48702" y="636784"/>
                  </a:lnTo>
                  <a:lnTo>
                    <a:pt x="49425" y="634403"/>
                  </a:lnTo>
                  <a:lnTo>
                    <a:pt x="50578" y="634536"/>
                  </a:lnTo>
                  <a:lnTo>
                    <a:pt x="51950" y="634175"/>
                  </a:lnTo>
                  <a:lnTo>
                    <a:pt x="52635" y="632955"/>
                  </a:lnTo>
                  <a:lnTo>
                    <a:pt x="52587" y="631488"/>
                  </a:lnTo>
                  <a:lnTo>
                    <a:pt x="50683" y="631107"/>
                  </a:lnTo>
                  <a:lnTo>
                    <a:pt x="50568" y="630107"/>
                  </a:lnTo>
                  <a:lnTo>
                    <a:pt x="52264" y="625916"/>
                  </a:lnTo>
                  <a:lnTo>
                    <a:pt x="52502" y="624754"/>
                  </a:lnTo>
                  <a:lnTo>
                    <a:pt x="51845" y="624516"/>
                  </a:lnTo>
                  <a:lnTo>
                    <a:pt x="50788" y="624973"/>
                  </a:lnTo>
                  <a:lnTo>
                    <a:pt x="43768" y="623659"/>
                  </a:lnTo>
                  <a:lnTo>
                    <a:pt x="35109" y="618287"/>
                  </a:lnTo>
                  <a:lnTo>
                    <a:pt x="32976" y="618011"/>
                  </a:lnTo>
                  <a:lnTo>
                    <a:pt x="31671" y="613200"/>
                  </a:lnTo>
                  <a:lnTo>
                    <a:pt x="29585" y="613810"/>
                  </a:lnTo>
                  <a:lnTo>
                    <a:pt x="26537" y="616629"/>
                  </a:lnTo>
                  <a:lnTo>
                    <a:pt x="24251" y="614486"/>
                  </a:lnTo>
                  <a:lnTo>
                    <a:pt x="21793" y="613077"/>
                  </a:lnTo>
                  <a:lnTo>
                    <a:pt x="21117" y="610876"/>
                  </a:lnTo>
                  <a:lnTo>
                    <a:pt x="21155" y="607619"/>
                  </a:lnTo>
                  <a:lnTo>
                    <a:pt x="20946" y="603761"/>
                  </a:lnTo>
                  <a:lnTo>
                    <a:pt x="20279" y="599237"/>
                  </a:lnTo>
                  <a:lnTo>
                    <a:pt x="19793" y="592788"/>
                  </a:lnTo>
                  <a:lnTo>
                    <a:pt x="20251" y="587731"/>
                  </a:lnTo>
                  <a:lnTo>
                    <a:pt x="22213" y="583978"/>
                  </a:lnTo>
                  <a:lnTo>
                    <a:pt x="22965" y="581577"/>
                  </a:lnTo>
                  <a:lnTo>
                    <a:pt x="23879" y="575434"/>
                  </a:lnTo>
                  <a:lnTo>
                    <a:pt x="24089" y="568223"/>
                  </a:lnTo>
                  <a:lnTo>
                    <a:pt x="23565" y="565766"/>
                  </a:lnTo>
                  <a:lnTo>
                    <a:pt x="23699" y="564128"/>
                  </a:lnTo>
                  <a:lnTo>
                    <a:pt x="25261" y="564128"/>
                  </a:lnTo>
                  <a:lnTo>
                    <a:pt x="24918" y="562718"/>
                  </a:lnTo>
                  <a:lnTo>
                    <a:pt x="24232" y="561946"/>
                  </a:lnTo>
                  <a:lnTo>
                    <a:pt x="23469" y="560346"/>
                  </a:lnTo>
                  <a:lnTo>
                    <a:pt x="24118" y="559498"/>
                  </a:lnTo>
                  <a:lnTo>
                    <a:pt x="25984" y="559441"/>
                  </a:lnTo>
                  <a:lnTo>
                    <a:pt x="26137" y="558898"/>
                  </a:lnTo>
                  <a:lnTo>
                    <a:pt x="26346" y="558136"/>
                  </a:lnTo>
                  <a:lnTo>
                    <a:pt x="24898" y="553907"/>
                  </a:lnTo>
                  <a:lnTo>
                    <a:pt x="24727" y="551888"/>
                  </a:lnTo>
                  <a:lnTo>
                    <a:pt x="22727" y="545744"/>
                  </a:lnTo>
                  <a:lnTo>
                    <a:pt x="20431" y="539896"/>
                  </a:lnTo>
                  <a:lnTo>
                    <a:pt x="16993" y="535657"/>
                  </a:lnTo>
                  <a:lnTo>
                    <a:pt x="18212" y="528657"/>
                  </a:lnTo>
                  <a:lnTo>
                    <a:pt x="19603" y="522303"/>
                  </a:lnTo>
                  <a:lnTo>
                    <a:pt x="19326" y="519236"/>
                  </a:lnTo>
                  <a:lnTo>
                    <a:pt x="18793" y="515493"/>
                  </a:lnTo>
                  <a:lnTo>
                    <a:pt x="14574" y="511378"/>
                  </a:lnTo>
                  <a:lnTo>
                    <a:pt x="13954" y="505568"/>
                  </a:lnTo>
                  <a:lnTo>
                    <a:pt x="12925" y="499300"/>
                  </a:lnTo>
                  <a:lnTo>
                    <a:pt x="13316" y="495452"/>
                  </a:lnTo>
                  <a:lnTo>
                    <a:pt x="14002" y="492490"/>
                  </a:lnTo>
                  <a:lnTo>
                    <a:pt x="15393" y="489537"/>
                  </a:lnTo>
                  <a:lnTo>
                    <a:pt x="22393" y="480203"/>
                  </a:lnTo>
                  <a:lnTo>
                    <a:pt x="22822" y="475307"/>
                  </a:lnTo>
                  <a:lnTo>
                    <a:pt x="27566" y="474945"/>
                  </a:lnTo>
                  <a:lnTo>
                    <a:pt x="25365" y="470564"/>
                  </a:lnTo>
                  <a:lnTo>
                    <a:pt x="24851" y="468097"/>
                  </a:lnTo>
                  <a:lnTo>
                    <a:pt x="24737" y="465211"/>
                  </a:lnTo>
                  <a:lnTo>
                    <a:pt x="31556" y="463229"/>
                  </a:lnTo>
                  <a:lnTo>
                    <a:pt x="34109" y="464858"/>
                  </a:lnTo>
                  <a:lnTo>
                    <a:pt x="40110" y="462848"/>
                  </a:lnTo>
                  <a:lnTo>
                    <a:pt x="45444" y="458914"/>
                  </a:lnTo>
                  <a:lnTo>
                    <a:pt x="45348" y="456819"/>
                  </a:lnTo>
                  <a:lnTo>
                    <a:pt x="44529" y="454943"/>
                  </a:lnTo>
                  <a:lnTo>
                    <a:pt x="43396" y="451323"/>
                  </a:lnTo>
                  <a:lnTo>
                    <a:pt x="44196" y="450313"/>
                  </a:lnTo>
                  <a:lnTo>
                    <a:pt x="46139" y="451056"/>
                  </a:lnTo>
                  <a:lnTo>
                    <a:pt x="45244" y="449256"/>
                  </a:lnTo>
                  <a:lnTo>
                    <a:pt x="45406" y="447351"/>
                  </a:lnTo>
                  <a:lnTo>
                    <a:pt x="47530" y="448142"/>
                  </a:lnTo>
                  <a:lnTo>
                    <a:pt x="50988" y="442817"/>
                  </a:lnTo>
                  <a:lnTo>
                    <a:pt x="51111" y="438741"/>
                  </a:lnTo>
                  <a:lnTo>
                    <a:pt x="57093" y="436607"/>
                  </a:lnTo>
                  <a:lnTo>
                    <a:pt x="63998" y="428244"/>
                  </a:lnTo>
                  <a:lnTo>
                    <a:pt x="67180" y="425634"/>
                  </a:lnTo>
                  <a:lnTo>
                    <a:pt x="70257" y="423739"/>
                  </a:lnTo>
                  <a:lnTo>
                    <a:pt x="76810" y="415328"/>
                  </a:lnTo>
                  <a:lnTo>
                    <a:pt x="79610" y="414938"/>
                  </a:lnTo>
                  <a:lnTo>
                    <a:pt x="81049" y="409242"/>
                  </a:lnTo>
                  <a:lnTo>
                    <a:pt x="86620" y="401631"/>
                  </a:lnTo>
                  <a:lnTo>
                    <a:pt x="88316" y="400660"/>
                  </a:lnTo>
                  <a:lnTo>
                    <a:pt x="90917" y="393763"/>
                  </a:lnTo>
                  <a:lnTo>
                    <a:pt x="97765" y="385763"/>
                  </a:lnTo>
                  <a:lnTo>
                    <a:pt x="102108" y="375504"/>
                  </a:lnTo>
                  <a:lnTo>
                    <a:pt x="104499" y="371847"/>
                  </a:lnTo>
                  <a:lnTo>
                    <a:pt x="105242" y="367941"/>
                  </a:lnTo>
                  <a:lnTo>
                    <a:pt x="107909" y="367608"/>
                  </a:lnTo>
                  <a:lnTo>
                    <a:pt x="110309" y="364731"/>
                  </a:lnTo>
                  <a:lnTo>
                    <a:pt x="115510" y="362731"/>
                  </a:lnTo>
                  <a:lnTo>
                    <a:pt x="120653" y="363284"/>
                  </a:lnTo>
                  <a:lnTo>
                    <a:pt x="122797" y="364655"/>
                  </a:lnTo>
                  <a:lnTo>
                    <a:pt x="124768" y="364226"/>
                  </a:lnTo>
                  <a:lnTo>
                    <a:pt x="124568" y="360702"/>
                  </a:lnTo>
                  <a:lnTo>
                    <a:pt x="123158" y="358521"/>
                  </a:lnTo>
                  <a:lnTo>
                    <a:pt x="124311" y="356416"/>
                  </a:lnTo>
                  <a:lnTo>
                    <a:pt x="127025" y="354825"/>
                  </a:lnTo>
                  <a:lnTo>
                    <a:pt x="126749" y="351301"/>
                  </a:lnTo>
                  <a:lnTo>
                    <a:pt x="126159" y="349177"/>
                  </a:lnTo>
                  <a:lnTo>
                    <a:pt x="123901" y="346348"/>
                  </a:lnTo>
                  <a:lnTo>
                    <a:pt x="125026" y="339985"/>
                  </a:lnTo>
                  <a:lnTo>
                    <a:pt x="125292" y="332984"/>
                  </a:lnTo>
                  <a:lnTo>
                    <a:pt x="126359" y="324860"/>
                  </a:lnTo>
                  <a:lnTo>
                    <a:pt x="123530" y="320545"/>
                  </a:lnTo>
                  <a:lnTo>
                    <a:pt x="112766" y="313172"/>
                  </a:lnTo>
                  <a:lnTo>
                    <a:pt x="110766" y="313430"/>
                  </a:lnTo>
                  <a:lnTo>
                    <a:pt x="108375" y="312496"/>
                  </a:lnTo>
                  <a:lnTo>
                    <a:pt x="105880" y="306886"/>
                  </a:lnTo>
                  <a:lnTo>
                    <a:pt x="106995" y="302028"/>
                  </a:lnTo>
                  <a:lnTo>
                    <a:pt x="107128" y="300238"/>
                  </a:lnTo>
                  <a:lnTo>
                    <a:pt x="106156" y="300295"/>
                  </a:lnTo>
                  <a:lnTo>
                    <a:pt x="104575" y="302666"/>
                  </a:lnTo>
                  <a:lnTo>
                    <a:pt x="101146" y="305371"/>
                  </a:lnTo>
                  <a:lnTo>
                    <a:pt x="96688" y="303295"/>
                  </a:lnTo>
                  <a:lnTo>
                    <a:pt x="94498" y="303752"/>
                  </a:lnTo>
                  <a:lnTo>
                    <a:pt x="91650" y="291684"/>
                  </a:lnTo>
                  <a:lnTo>
                    <a:pt x="90192" y="287045"/>
                  </a:lnTo>
                  <a:lnTo>
                    <a:pt x="87859" y="281254"/>
                  </a:lnTo>
                  <a:lnTo>
                    <a:pt x="83696" y="278425"/>
                  </a:lnTo>
                  <a:lnTo>
                    <a:pt x="82877" y="276816"/>
                  </a:lnTo>
                  <a:lnTo>
                    <a:pt x="82325" y="274349"/>
                  </a:lnTo>
                  <a:lnTo>
                    <a:pt x="82144" y="270920"/>
                  </a:lnTo>
                  <a:lnTo>
                    <a:pt x="81610" y="265833"/>
                  </a:lnTo>
                  <a:lnTo>
                    <a:pt x="81829" y="261652"/>
                  </a:lnTo>
                  <a:lnTo>
                    <a:pt x="82344" y="259156"/>
                  </a:lnTo>
                  <a:lnTo>
                    <a:pt x="84144" y="257480"/>
                  </a:lnTo>
                  <a:lnTo>
                    <a:pt x="86735" y="252727"/>
                  </a:lnTo>
                  <a:lnTo>
                    <a:pt x="87278" y="249269"/>
                  </a:lnTo>
                  <a:lnTo>
                    <a:pt x="87497" y="243954"/>
                  </a:lnTo>
                  <a:lnTo>
                    <a:pt x="88688" y="239297"/>
                  </a:lnTo>
                  <a:lnTo>
                    <a:pt x="90011" y="236934"/>
                  </a:lnTo>
                  <a:lnTo>
                    <a:pt x="89678" y="235048"/>
                  </a:lnTo>
                  <a:lnTo>
                    <a:pt x="88764" y="232362"/>
                  </a:lnTo>
                  <a:lnTo>
                    <a:pt x="86820" y="228533"/>
                  </a:lnTo>
                  <a:lnTo>
                    <a:pt x="83868" y="223857"/>
                  </a:lnTo>
                  <a:lnTo>
                    <a:pt x="81686" y="219370"/>
                  </a:lnTo>
                  <a:lnTo>
                    <a:pt x="80725" y="215170"/>
                  </a:lnTo>
                  <a:lnTo>
                    <a:pt x="80229" y="211398"/>
                  </a:lnTo>
                  <a:lnTo>
                    <a:pt x="80306" y="207969"/>
                  </a:lnTo>
                  <a:lnTo>
                    <a:pt x="81125" y="205626"/>
                  </a:lnTo>
                  <a:lnTo>
                    <a:pt x="83906" y="202673"/>
                  </a:lnTo>
                  <a:lnTo>
                    <a:pt x="84277" y="201416"/>
                  </a:lnTo>
                  <a:lnTo>
                    <a:pt x="83172" y="194872"/>
                  </a:lnTo>
                  <a:lnTo>
                    <a:pt x="81229" y="193681"/>
                  </a:lnTo>
                  <a:lnTo>
                    <a:pt x="77924" y="193043"/>
                  </a:lnTo>
                  <a:lnTo>
                    <a:pt x="76076" y="192986"/>
                  </a:lnTo>
                  <a:lnTo>
                    <a:pt x="75724" y="192262"/>
                  </a:lnTo>
                  <a:lnTo>
                    <a:pt x="75629" y="190948"/>
                  </a:lnTo>
                  <a:lnTo>
                    <a:pt x="76010" y="188252"/>
                  </a:lnTo>
                  <a:lnTo>
                    <a:pt x="77048" y="185156"/>
                  </a:lnTo>
                  <a:lnTo>
                    <a:pt x="77914" y="183175"/>
                  </a:lnTo>
                  <a:lnTo>
                    <a:pt x="78029" y="181499"/>
                  </a:lnTo>
                  <a:lnTo>
                    <a:pt x="76924" y="175746"/>
                  </a:lnTo>
                  <a:lnTo>
                    <a:pt x="76591" y="168669"/>
                  </a:lnTo>
                  <a:lnTo>
                    <a:pt x="76971" y="163106"/>
                  </a:lnTo>
                  <a:lnTo>
                    <a:pt x="80477" y="158991"/>
                  </a:lnTo>
                  <a:lnTo>
                    <a:pt x="80639" y="157486"/>
                  </a:lnTo>
                  <a:lnTo>
                    <a:pt x="76238" y="153000"/>
                  </a:lnTo>
                  <a:lnTo>
                    <a:pt x="73066" y="147904"/>
                  </a:lnTo>
                  <a:lnTo>
                    <a:pt x="72076" y="144923"/>
                  </a:lnTo>
                  <a:lnTo>
                    <a:pt x="68447" y="144475"/>
                  </a:lnTo>
                  <a:lnTo>
                    <a:pt x="66180" y="135769"/>
                  </a:lnTo>
                  <a:lnTo>
                    <a:pt x="62903" y="131521"/>
                  </a:lnTo>
                  <a:lnTo>
                    <a:pt x="59665" y="127835"/>
                  </a:lnTo>
                  <a:lnTo>
                    <a:pt x="57750" y="126121"/>
                  </a:lnTo>
                  <a:lnTo>
                    <a:pt x="46511" y="120815"/>
                  </a:lnTo>
                  <a:lnTo>
                    <a:pt x="42053" y="119805"/>
                  </a:lnTo>
                  <a:lnTo>
                    <a:pt x="36767" y="116700"/>
                  </a:lnTo>
                  <a:lnTo>
                    <a:pt x="32833" y="112795"/>
                  </a:lnTo>
                  <a:lnTo>
                    <a:pt x="29461" y="110280"/>
                  </a:lnTo>
                  <a:lnTo>
                    <a:pt x="26575" y="107166"/>
                  </a:lnTo>
                  <a:lnTo>
                    <a:pt x="22546" y="104251"/>
                  </a:lnTo>
                  <a:lnTo>
                    <a:pt x="21393" y="101756"/>
                  </a:lnTo>
                  <a:lnTo>
                    <a:pt x="17040" y="97126"/>
                  </a:lnTo>
                  <a:lnTo>
                    <a:pt x="15002" y="94069"/>
                  </a:lnTo>
                  <a:lnTo>
                    <a:pt x="7925" y="88287"/>
                  </a:lnTo>
                  <a:lnTo>
                    <a:pt x="7668" y="86001"/>
                  </a:lnTo>
                  <a:lnTo>
                    <a:pt x="7620" y="83791"/>
                  </a:lnTo>
                  <a:lnTo>
                    <a:pt x="7296" y="82867"/>
                  </a:lnTo>
                  <a:lnTo>
                    <a:pt x="0" y="78619"/>
                  </a:lnTo>
                  <a:lnTo>
                    <a:pt x="1438" y="76181"/>
                  </a:lnTo>
                  <a:lnTo>
                    <a:pt x="7144" y="76029"/>
                  </a:lnTo>
                  <a:lnTo>
                    <a:pt x="11859" y="78248"/>
                  </a:lnTo>
                  <a:lnTo>
                    <a:pt x="12897" y="77295"/>
                  </a:lnTo>
                  <a:lnTo>
                    <a:pt x="13516" y="75324"/>
                  </a:lnTo>
                  <a:lnTo>
                    <a:pt x="11506" y="67399"/>
                  </a:lnTo>
                  <a:lnTo>
                    <a:pt x="11868" y="65322"/>
                  </a:lnTo>
                  <a:lnTo>
                    <a:pt x="13944" y="62827"/>
                  </a:lnTo>
                  <a:lnTo>
                    <a:pt x="17240" y="60836"/>
                  </a:lnTo>
                  <a:lnTo>
                    <a:pt x="22432" y="60550"/>
                  </a:lnTo>
                  <a:lnTo>
                    <a:pt x="25975" y="60846"/>
                  </a:lnTo>
                  <a:lnTo>
                    <a:pt x="26727" y="61065"/>
                  </a:lnTo>
                  <a:lnTo>
                    <a:pt x="32014" y="69809"/>
                  </a:lnTo>
                  <a:lnTo>
                    <a:pt x="36557" y="78296"/>
                  </a:lnTo>
                  <a:lnTo>
                    <a:pt x="38967" y="81896"/>
                  </a:lnTo>
                  <a:lnTo>
                    <a:pt x="44863" y="92069"/>
                  </a:lnTo>
                  <a:lnTo>
                    <a:pt x="47073" y="97926"/>
                  </a:lnTo>
                  <a:lnTo>
                    <a:pt x="47825" y="102108"/>
                  </a:lnTo>
                  <a:lnTo>
                    <a:pt x="50225" y="102089"/>
                  </a:lnTo>
                  <a:lnTo>
                    <a:pt x="58522" y="103918"/>
                  </a:lnTo>
                  <a:lnTo>
                    <a:pt x="65494" y="105461"/>
                  </a:lnTo>
                  <a:lnTo>
                    <a:pt x="67437" y="107794"/>
                  </a:lnTo>
                  <a:lnTo>
                    <a:pt x="72238" y="107328"/>
                  </a:lnTo>
                  <a:lnTo>
                    <a:pt x="75943" y="105223"/>
                  </a:lnTo>
                  <a:lnTo>
                    <a:pt x="82477" y="102565"/>
                  </a:lnTo>
                  <a:lnTo>
                    <a:pt x="84230" y="99289"/>
                  </a:lnTo>
                  <a:lnTo>
                    <a:pt x="86411" y="95774"/>
                  </a:lnTo>
                  <a:lnTo>
                    <a:pt x="90240" y="96326"/>
                  </a:lnTo>
                  <a:lnTo>
                    <a:pt x="94431" y="99098"/>
                  </a:lnTo>
                  <a:lnTo>
                    <a:pt x="99184" y="102737"/>
                  </a:lnTo>
                  <a:lnTo>
                    <a:pt x="103423" y="104413"/>
                  </a:lnTo>
                  <a:lnTo>
                    <a:pt x="109109" y="107042"/>
                  </a:lnTo>
                  <a:lnTo>
                    <a:pt x="111757" y="110433"/>
                  </a:lnTo>
                  <a:lnTo>
                    <a:pt x="115471" y="111404"/>
                  </a:lnTo>
                  <a:lnTo>
                    <a:pt x="119358" y="108013"/>
                  </a:lnTo>
                  <a:lnTo>
                    <a:pt x="121654" y="98765"/>
                  </a:lnTo>
                  <a:lnTo>
                    <a:pt x="123692" y="94621"/>
                  </a:lnTo>
                  <a:lnTo>
                    <a:pt x="126578" y="91583"/>
                  </a:lnTo>
                  <a:lnTo>
                    <a:pt x="129883" y="90240"/>
                  </a:lnTo>
                  <a:lnTo>
                    <a:pt x="132407" y="89754"/>
                  </a:lnTo>
                  <a:lnTo>
                    <a:pt x="134321" y="87382"/>
                  </a:lnTo>
                  <a:lnTo>
                    <a:pt x="137036" y="82105"/>
                  </a:lnTo>
                  <a:lnTo>
                    <a:pt x="137570" y="75686"/>
                  </a:lnTo>
                  <a:lnTo>
                    <a:pt x="137046" y="64027"/>
                  </a:lnTo>
                  <a:lnTo>
                    <a:pt x="137541" y="60160"/>
                  </a:lnTo>
                  <a:lnTo>
                    <a:pt x="139761" y="53816"/>
                  </a:lnTo>
                  <a:lnTo>
                    <a:pt x="142742" y="36900"/>
                  </a:lnTo>
                  <a:lnTo>
                    <a:pt x="144076" y="31985"/>
                  </a:lnTo>
                  <a:lnTo>
                    <a:pt x="145704" y="28994"/>
                  </a:lnTo>
                  <a:lnTo>
                    <a:pt x="147943" y="27213"/>
                  </a:lnTo>
                  <a:lnTo>
                    <a:pt x="152010" y="22031"/>
                  </a:lnTo>
                  <a:lnTo>
                    <a:pt x="157820" y="11706"/>
                  </a:lnTo>
                  <a:lnTo>
                    <a:pt x="159391" y="10830"/>
                  </a:lnTo>
                  <a:lnTo>
                    <a:pt x="163563" y="10306"/>
                  </a:lnTo>
                  <a:lnTo>
                    <a:pt x="168745" y="10687"/>
                  </a:lnTo>
                  <a:lnTo>
                    <a:pt x="173412" y="12506"/>
                  </a:lnTo>
                  <a:lnTo>
                    <a:pt x="173917" y="12363"/>
                  </a:lnTo>
                  <a:lnTo>
                    <a:pt x="176013" y="11411"/>
                  </a:lnTo>
                  <a:lnTo>
                    <a:pt x="179813" y="8192"/>
                  </a:lnTo>
                  <a:lnTo>
                    <a:pt x="186328" y="1772"/>
                  </a:lnTo>
                  <a:lnTo>
                    <a:pt x="190500" y="0"/>
                  </a:lnTo>
                  <a:lnTo>
                    <a:pt x="194291" y="248"/>
                  </a:lnTo>
                  <a:lnTo>
                    <a:pt x="198491" y="7277"/>
                  </a:lnTo>
                  <a:lnTo>
                    <a:pt x="204426" y="15078"/>
                  </a:lnTo>
                  <a:lnTo>
                    <a:pt x="208236" y="18850"/>
                  </a:lnTo>
                  <a:lnTo>
                    <a:pt x="218627" y="25908"/>
                  </a:lnTo>
                  <a:lnTo>
                    <a:pt x="227752" y="30528"/>
                  </a:lnTo>
                  <a:lnTo>
                    <a:pt x="232877" y="45710"/>
                  </a:lnTo>
                  <a:lnTo>
                    <a:pt x="230344" y="51721"/>
                  </a:lnTo>
                  <a:lnTo>
                    <a:pt x="229086" y="53788"/>
                  </a:lnTo>
                  <a:lnTo>
                    <a:pt x="224619" y="59741"/>
                  </a:lnTo>
                  <a:lnTo>
                    <a:pt x="219846" y="68104"/>
                  </a:lnTo>
                  <a:lnTo>
                    <a:pt x="219485" y="72447"/>
                  </a:lnTo>
                  <a:lnTo>
                    <a:pt x="221066" y="76819"/>
                  </a:lnTo>
                  <a:lnTo>
                    <a:pt x="223085" y="79648"/>
                  </a:lnTo>
                  <a:close/>
                  <a:moveTo>
                    <a:pt x="113014" y="355911"/>
                  </a:moveTo>
                  <a:lnTo>
                    <a:pt x="109024" y="358007"/>
                  </a:lnTo>
                  <a:lnTo>
                    <a:pt x="105813" y="356702"/>
                  </a:lnTo>
                  <a:lnTo>
                    <a:pt x="105756" y="352635"/>
                  </a:lnTo>
                  <a:lnTo>
                    <a:pt x="107747" y="350663"/>
                  </a:lnTo>
                  <a:lnTo>
                    <a:pt x="111347" y="349872"/>
                  </a:lnTo>
                  <a:lnTo>
                    <a:pt x="116281" y="351844"/>
                  </a:lnTo>
                  <a:lnTo>
                    <a:pt x="117005" y="352892"/>
                  </a:lnTo>
                  <a:lnTo>
                    <a:pt x="114176" y="353682"/>
                  </a:lnTo>
                  <a:lnTo>
                    <a:pt x="113014" y="355911"/>
                  </a:lnTo>
                  <a:close/>
                  <a:moveTo>
                    <a:pt x="15964" y="462953"/>
                  </a:moveTo>
                  <a:lnTo>
                    <a:pt x="16250" y="464058"/>
                  </a:lnTo>
                  <a:lnTo>
                    <a:pt x="17812" y="463753"/>
                  </a:lnTo>
                  <a:lnTo>
                    <a:pt x="19927" y="461734"/>
                  </a:lnTo>
                  <a:lnTo>
                    <a:pt x="21422" y="462677"/>
                  </a:lnTo>
                  <a:lnTo>
                    <a:pt x="21250" y="465553"/>
                  </a:lnTo>
                  <a:lnTo>
                    <a:pt x="20241" y="465439"/>
                  </a:lnTo>
                  <a:lnTo>
                    <a:pt x="19964" y="464963"/>
                  </a:lnTo>
                  <a:lnTo>
                    <a:pt x="18660" y="466601"/>
                  </a:lnTo>
                  <a:lnTo>
                    <a:pt x="18431" y="467592"/>
                  </a:lnTo>
                  <a:lnTo>
                    <a:pt x="16926" y="468220"/>
                  </a:lnTo>
                  <a:lnTo>
                    <a:pt x="14145" y="465411"/>
                  </a:lnTo>
                  <a:lnTo>
                    <a:pt x="12392" y="460781"/>
                  </a:lnTo>
                  <a:lnTo>
                    <a:pt x="16469" y="460772"/>
                  </a:lnTo>
                  <a:lnTo>
                    <a:pt x="16078" y="461877"/>
                  </a:lnTo>
                  <a:lnTo>
                    <a:pt x="15964" y="462953"/>
                  </a:lnTo>
                  <a:close/>
                  <a:moveTo>
                    <a:pt x="22193" y="616667"/>
                  </a:moveTo>
                  <a:lnTo>
                    <a:pt x="21822" y="619192"/>
                  </a:lnTo>
                  <a:lnTo>
                    <a:pt x="20003" y="618915"/>
                  </a:lnTo>
                  <a:lnTo>
                    <a:pt x="18155" y="619373"/>
                  </a:lnTo>
                  <a:lnTo>
                    <a:pt x="16669" y="616868"/>
                  </a:lnTo>
                  <a:lnTo>
                    <a:pt x="15878" y="612639"/>
                  </a:lnTo>
                  <a:lnTo>
                    <a:pt x="16155" y="611724"/>
                  </a:lnTo>
                  <a:lnTo>
                    <a:pt x="17316" y="610762"/>
                  </a:lnTo>
                  <a:lnTo>
                    <a:pt x="18202" y="613086"/>
                  </a:lnTo>
                  <a:lnTo>
                    <a:pt x="22193" y="616667"/>
                  </a:lnTo>
                  <a:close/>
                  <a:moveTo>
                    <a:pt x="36719" y="627097"/>
                  </a:moveTo>
                  <a:lnTo>
                    <a:pt x="34766" y="627336"/>
                  </a:lnTo>
                  <a:lnTo>
                    <a:pt x="32014" y="624659"/>
                  </a:lnTo>
                  <a:lnTo>
                    <a:pt x="31671" y="623611"/>
                  </a:lnTo>
                  <a:lnTo>
                    <a:pt x="32747" y="623002"/>
                  </a:lnTo>
                  <a:lnTo>
                    <a:pt x="32033" y="620849"/>
                  </a:lnTo>
                  <a:lnTo>
                    <a:pt x="32242" y="619896"/>
                  </a:lnTo>
                  <a:lnTo>
                    <a:pt x="34367" y="621601"/>
                  </a:lnTo>
                  <a:lnTo>
                    <a:pt x="35529" y="623583"/>
                  </a:lnTo>
                  <a:lnTo>
                    <a:pt x="34395" y="624040"/>
                  </a:lnTo>
                  <a:lnTo>
                    <a:pt x="36319" y="626088"/>
                  </a:lnTo>
                  <a:lnTo>
                    <a:pt x="36719" y="627097"/>
                  </a:lnTo>
                  <a:close/>
                  <a:moveTo>
                    <a:pt x="41558" y="625269"/>
                  </a:moveTo>
                  <a:lnTo>
                    <a:pt x="44939" y="626516"/>
                  </a:lnTo>
                  <a:lnTo>
                    <a:pt x="46358" y="626069"/>
                  </a:lnTo>
                  <a:lnTo>
                    <a:pt x="47977" y="628898"/>
                  </a:lnTo>
                  <a:lnTo>
                    <a:pt x="45234" y="630688"/>
                  </a:lnTo>
                  <a:lnTo>
                    <a:pt x="45044" y="632917"/>
                  </a:lnTo>
                  <a:lnTo>
                    <a:pt x="46130" y="634298"/>
                  </a:lnTo>
                  <a:lnTo>
                    <a:pt x="46511" y="636299"/>
                  </a:lnTo>
                  <a:lnTo>
                    <a:pt x="43777" y="636299"/>
                  </a:lnTo>
                  <a:lnTo>
                    <a:pt x="42472" y="634613"/>
                  </a:lnTo>
                  <a:lnTo>
                    <a:pt x="41900" y="632470"/>
                  </a:lnTo>
                  <a:lnTo>
                    <a:pt x="40624" y="630955"/>
                  </a:lnTo>
                  <a:lnTo>
                    <a:pt x="38929" y="629803"/>
                  </a:lnTo>
                  <a:lnTo>
                    <a:pt x="39757" y="628260"/>
                  </a:lnTo>
                  <a:lnTo>
                    <a:pt x="40234" y="626050"/>
                  </a:lnTo>
                  <a:lnTo>
                    <a:pt x="41558" y="625269"/>
                  </a:lnTo>
                  <a:close/>
                  <a:moveTo>
                    <a:pt x="32414" y="637642"/>
                  </a:moveTo>
                  <a:lnTo>
                    <a:pt x="29737" y="639480"/>
                  </a:lnTo>
                  <a:lnTo>
                    <a:pt x="28718" y="639042"/>
                  </a:lnTo>
                  <a:lnTo>
                    <a:pt x="28975" y="635937"/>
                  </a:lnTo>
                  <a:lnTo>
                    <a:pt x="30566" y="634517"/>
                  </a:lnTo>
                  <a:lnTo>
                    <a:pt x="33242" y="634355"/>
                  </a:lnTo>
                  <a:lnTo>
                    <a:pt x="32414" y="637642"/>
                  </a:lnTo>
                  <a:close/>
                  <a:moveTo>
                    <a:pt x="26937" y="639394"/>
                  </a:moveTo>
                  <a:lnTo>
                    <a:pt x="24594" y="639928"/>
                  </a:lnTo>
                  <a:lnTo>
                    <a:pt x="23136" y="638375"/>
                  </a:lnTo>
                  <a:lnTo>
                    <a:pt x="23689" y="637222"/>
                  </a:lnTo>
                  <a:lnTo>
                    <a:pt x="25318" y="635937"/>
                  </a:lnTo>
                  <a:lnTo>
                    <a:pt x="27089" y="636118"/>
                  </a:lnTo>
                  <a:lnTo>
                    <a:pt x="27470" y="637623"/>
                  </a:lnTo>
                  <a:lnTo>
                    <a:pt x="26937" y="639394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3" name="Forme libre : forme 19">
              <a:extLst>
                <a:ext uri="{FF2B5EF4-FFF2-40B4-BE49-F238E27FC236}">
                  <a16:creationId xmlns:a16="http://schemas.microsoft.com/office/drawing/2014/main" id="{BD713B3E-CB53-5C65-5D7C-D51CCF8CF4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298678" y="2091380"/>
              <a:ext cx="94104" cy="184683"/>
            </a:xfrm>
            <a:custGeom>
              <a:avLst/>
              <a:gdLst>
                <a:gd name="connsiteX0" fmla="*/ 27175 w 27174"/>
                <a:gd name="connsiteY0" fmla="*/ 5572 h 53330"/>
                <a:gd name="connsiteX1" fmla="*/ 25898 w 27174"/>
                <a:gd name="connsiteY1" fmla="*/ 9706 h 53330"/>
                <a:gd name="connsiteX2" fmla="*/ 24003 w 27174"/>
                <a:gd name="connsiteY2" fmla="*/ 9058 h 53330"/>
                <a:gd name="connsiteX3" fmla="*/ 23479 w 27174"/>
                <a:gd name="connsiteY3" fmla="*/ 8611 h 53330"/>
                <a:gd name="connsiteX4" fmla="*/ 23070 w 27174"/>
                <a:gd name="connsiteY4" fmla="*/ 7534 h 53330"/>
                <a:gd name="connsiteX5" fmla="*/ 23270 w 27174"/>
                <a:gd name="connsiteY5" fmla="*/ 4458 h 53330"/>
                <a:gd name="connsiteX6" fmla="*/ 23203 w 27174"/>
                <a:gd name="connsiteY6" fmla="*/ 0 h 53330"/>
                <a:gd name="connsiteX7" fmla="*/ 25384 w 27174"/>
                <a:gd name="connsiteY7" fmla="*/ 3667 h 53330"/>
                <a:gd name="connsiteX8" fmla="*/ 27175 w 27174"/>
                <a:gd name="connsiteY8" fmla="*/ 5572 h 53330"/>
                <a:gd name="connsiteX9" fmla="*/ 21164 w 27174"/>
                <a:gd name="connsiteY9" fmla="*/ 7334 h 53330"/>
                <a:gd name="connsiteX10" fmla="*/ 20498 w 27174"/>
                <a:gd name="connsiteY10" fmla="*/ 15011 h 53330"/>
                <a:gd name="connsiteX11" fmla="*/ 19412 w 27174"/>
                <a:gd name="connsiteY11" fmla="*/ 14973 h 53330"/>
                <a:gd name="connsiteX12" fmla="*/ 17469 w 27174"/>
                <a:gd name="connsiteY12" fmla="*/ 12849 h 53330"/>
                <a:gd name="connsiteX13" fmla="*/ 16012 w 27174"/>
                <a:gd name="connsiteY13" fmla="*/ 12411 h 53330"/>
                <a:gd name="connsiteX14" fmla="*/ 15554 w 27174"/>
                <a:gd name="connsiteY14" fmla="*/ 13545 h 53330"/>
                <a:gd name="connsiteX15" fmla="*/ 15630 w 27174"/>
                <a:gd name="connsiteY15" fmla="*/ 14907 h 53330"/>
                <a:gd name="connsiteX16" fmla="*/ 16383 w 27174"/>
                <a:gd name="connsiteY16" fmla="*/ 15764 h 53330"/>
                <a:gd name="connsiteX17" fmla="*/ 18707 w 27174"/>
                <a:gd name="connsiteY17" fmla="*/ 20888 h 53330"/>
                <a:gd name="connsiteX18" fmla="*/ 18917 w 27174"/>
                <a:gd name="connsiteY18" fmla="*/ 22384 h 53330"/>
                <a:gd name="connsiteX19" fmla="*/ 18631 w 27174"/>
                <a:gd name="connsiteY19" fmla="*/ 23108 h 53330"/>
                <a:gd name="connsiteX20" fmla="*/ 16373 w 27174"/>
                <a:gd name="connsiteY20" fmla="*/ 21631 h 53330"/>
                <a:gd name="connsiteX21" fmla="*/ 10925 w 27174"/>
                <a:gd name="connsiteY21" fmla="*/ 15002 h 53330"/>
                <a:gd name="connsiteX22" fmla="*/ 6687 w 27174"/>
                <a:gd name="connsiteY22" fmla="*/ 4039 h 53330"/>
                <a:gd name="connsiteX23" fmla="*/ 12402 w 27174"/>
                <a:gd name="connsiteY23" fmla="*/ 2276 h 53330"/>
                <a:gd name="connsiteX24" fmla="*/ 16545 w 27174"/>
                <a:gd name="connsiteY24" fmla="*/ 5162 h 53330"/>
                <a:gd name="connsiteX25" fmla="*/ 21164 w 27174"/>
                <a:gd name="connsiteY25" fmla="*/ 7334 h 53330"/>
                <a:gd name="connsiteX26" fmla="*/ 6305 w 27174"/>
                <a:gd name="connsiteY26" fmla="*/ 12402 h 53330"/>
                <a:gd name="connsiteX27" fmla="*/ 8706 w 27174"/>
                <a:gd name="connsiteY27" fmla="*/ 14611 h 53330"/>
                <a:gd name="connsiteX28" fmla="*/ 9553 w 27174"/>
                <a:gd name="connsiteY28" fmla="*/ 16173 h 53330"/>
                <a:gd name="connsiteX29" fmla="*/ 8172 w 27174"/>
                <a:gd name="connsiteY29" fmla="*/ 17678 h 53330"/>
                <a:gd name="connsiteX30" fmla="*/ 6505 w 27174"/>
                <a:gd name="connsiteY30" fmla="*/ 18069 h 53330"/>
                <a:gd name="connsiteX31" fmla="*/ 4486 w 27174"/>
                <a:gd name="connsiteY31" fmla="*/ 17717 h 53330"/>
                <a:gd name="connsiteX32" fmla="*/ 1162 w 27174"/>
                <a:gd name="connsiteY32" fmla="*/ 16088 h 53330"/>
                <a:gd name="connsiteX33" fmla="*/ 0 w 27174"/>
                <a:gd name="connsiteY33" fmla="*/ 12354 h 53330"/>
                <a:gd name="connsiteX34" fmla="*/ 2295 w 27174"/>
                <a:gd name="connsiteY34" fmla="*/ 12440 h 53330"/>
                <a:gd name="connsiteX35" fmla="*/ 5010 w 27174"/>
                <a:gd name="connsiteY35" fmla="*/ 11725 h 53330"/>
                <a:gd name="connsiteX36" fmla="*/ 6305 w 27174"/>
                <a:gd name="connsiteY36" fmla="*/ 12402 h 53330"/>
                <a:gd name="connsiteX37" fmla="*/ 21374 w 27174"/>
                <a:gd name="connsiteY37" fmla="*/ 31337 h 53330"/>
                <a:gd name="connsiteX38" fmla="*/ 20850 w 27174"/>
                <a:gd name="connsiteY38" fmla="*/ 33461 h 53330"/>
                <a:gd name="connsiteX39" fmla="*/ 20117 w 27174"/>
                <a:gd name="connsiteY39" fmla="*/ 33442 h 53330"/>
                <a:gd name="connsiteX40" fmla="*/ 17602 w 27174"/>
                <a:gd name="connsiteY40" fmla="*/ 30813 h 53330"/>
                <a:gd name="connsiteX41" fmla="*/ 15602 w 27174"/>
                <a:gd name="connsiteY41" fmla="*/ 29375 h 53330"/>
                <a:gd name="connsiteX42" fmla="*/ 14935 w 27174"/>
                <a:gd name="connsiteY42" fmla="*/ 28156 h 53330"/>
                <a:gd name="connsiteX43" fmla="*/ 14373 w 27174"/>
                <a:gd name="connsiteY43" fmla="*/ 26070 h 53330"/>
                <a:gd name="connsiteX44" fmla="*/ 15526 w 27174"/>
                <a:gd name="connsiteY44" fmla="*/ 25813 h 53330"/>
                <a:gd name="connsiteX45" fmla="*/ 16897 w 27174"/>
                <a:gd name="connsiteY45" fmla="*/ 26289 h 53330"/>
                <a:gd name="connsiteX46" fmla="*/ 20336 w 27174"/>
                <a:gd name="connsiteY46" fmla="*/ 28194 h 53330"/>
                <a:gd name="connsiteX47" fmla="*/ 21307 w 27174"/>
                <a:gd name="connsiteY47" fmla="*/ 30175 h 53330"/>
                <a:gd name="connsiteX48" fmla="*/ 21374 w 27174"/>
                <a:gd name="connsiteY48" fmla="*/ 31337 h 53330"/>
                <a:gd name="connsiteX49" fmla="*/ 19326 w 27174"/>
                <a:gd name="connsiteY49" fmla="*/ 51635 h 53330"/>
                <a:gd name="connsiteX50" fmla="*/ 19860 w 27174"/>
                <a:gd name="connsiteY50" fmla="*/ 53330 h 53330"/>
                <a:gd name="connsiteX51" fmla="*/ 19240 w 27174"/>
                <a:gd name="connsiteY51" fmla="*/ 53140 h 53330"/>
                <a:gd name="connsiteX52" fmla="*/ 17440 w 27174"/>
                <a:gd name="connsiteY52" fmla="*/ 51206 h 53330"/>
                <a:gd name="connsiteX53" fmla="*/ 14297 w 27174"/>
                <a:gd name="connsiteY53" fmla="*/ 46596 h 53330"/>
                <a:gd name="connsiteX54" fmla="*/ 13202 w 27174"/>
                <a:gd name="connsiteY54" fmla="*/ 42777 h 53330"/>
                <a:gd name="connsiteX55" fmla="*/ 13049 w 27174"/>
                <a:gd name="connsiteY55" fmla="*/ 41005 h 53330"/>
                <a:gd name="connsiteX56" fmla="*/ 13830 w 27174"/>
                <a:gd name="connsiteY56" fmla="*/ 41205 h 53330"/>
                <a:gd name="connsiteX57" fmla="*/ 14478 w 27174"/>
                <a:gd name="connsiteY57" fmla="*/ 42777 h 53330"/>
                <a:gd name="connsiteX58" fmla="*/ 17459 w 27174"/>
                <a:gd name="connsiteY58" fmla="*/ 43805 h 53330"/>
                <a:gd name="connsiteX59" fmla="*/ 18250 w 27174"/>
                <a:gd name="connsiteY59" fmla="*/ 44587 h 53330"/>
                <a:gd name="connsiteX60" fmla="*/ 18240 w 27174"/>
                <a:gd name="connsiteY60" fmla="*/ 46501 h 53330"/>
                <a:gd name="connsiteX61" fmla="*/ 19240 w 27174"/>
                <a:gd name="connsiteY61" fmla="*/ 48768 h 53330"/>
                <a:gd name="connsiteX62" fmla="*/ 19326 w 27174"/>
                <a:gd name="connsiteY62" fmla="*/ 51635 h 53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7174" h="53330">
                  <a:moveTo>
                    <a:pt x="27175" y="5572"/>
                  </a:moveTo>
                  <a:lnTo>
                    <a:pt x="25898" y="9706"/>
                  </a:lnTo>
                  <a:lnTo>
                    <a:pt x="24003" y="9058"/>
                  </a:lnTo>
                  <a:lnTo>
                    <a:pt x="23479" y="8611"/>
                  </a:lnTo>
                  <a:lnTo>
                    <a:pt x="23070" y="7534"/>
                  </a:lnTo>
                  <a:lnTo>
                    <a:pt x="23270" y="4458"/>
                  </a:lnTo>
                  <a:lnTo>
                    <a:pt x="23203" y="0"/>
                  </a:lnTo>
                  <a:lnTo>
                    <a:pt x="25384" y="3667"/>
                  </a:lnTo>
                  <a:lnTo>
                    <a:pt x="27175" y="5572"/>
                  </a:lnTo>
                  <a:close/>
                  <a:moveTo>
                    <a:pt x="21164" y="7334"/>
                  </a:moveTo>
                  <a:lnTo>
                    <a:pt x="20498" y="15011"/>
                  </a:lnTo>
                  <a:lnTo>
                    <a:pt x="19412" y="14973"/>
                  </a:lnTo>
                  <a:lnTo>
                    <a:pt x="17469" y="12849"/>
                  </a:lnTo>
                  <a:lnTo>
                    <a:pt x="16012" y="12411"/>
                  </a:lnTo>
                  <a:lnTo>
                    <a:pt x="15554" y="13545"/>
                  </a:lnTo>
                  <a:lnTo>
                    <a:pt x="15630" y="14907"/>
                  </a:lnTo>
                  <a:lnTo>
                    <a:pt x="16383" y="15764"/>
                  </a:lnTo>
                  <a:lnTo>
                    <a:pt x="18707" y="20888"/>
                  </a:lnTo>
                  <a:lnTo>
                    <a:pt x="18917" y="22384"/>
                  </a:lnTo>
                  <a:lnTo>
                    <a:pt x="18631" y="23108"/>
                  </a:lnTo>
                  <a:lnTo>
                    <a:pt x="16373" y="21631"/>
                  </a:lnTo>
                  <a:lnTo>
                    <a:pt x="10925" y="15002"/>
                  </a:lnTo>
                  <a:lnTo>
                    <a:pt x="6687" y="4039"/>
                  </a:lnTo>
                  <a:lnTo>
                    <a:pt x="12402" y="2276"/>
                  </a:lnTo>
                  <a:lnTo>
                    <a:pt x="16545" y="5162"/>
                  </a:lnTo>
                  <a:lnTo>
                    <a:pt x="21164" y="7334"/>
                  </a:lnTo>
                  <a:close/>
                  <a:moveTo>
                    <a:pt x="6305" y="12402"/>
                  </a:moveTo>
                  <a:lnTo>
                    <a:pt x="8706" y="14611"/>
                  </a:lnTo>
                  <a:lnTo>
                    <a:pt x="9553" y="16173"/>
                  </a:lnTo>
                  <a:lnTo>
                    <a:pt x="8172" y="17678"/>
                  </a:lnTo>
                  <a:lnTo>
                    <a:pt x="6505" y="18069"/>
                  </a:lnTo>
                  <a:lnTo>
                    <a:pt x="4486" y="17717"/>
                  </a:lnTo>
                  <a:lnTo>
                    <a:pt x="1162" y="16088"/>
                  </a:lnTo>
                  <a:lnTo>
                    <a:pt x="0" y="12354"/>
                  </a:lnTo>
                  <a:lnTo>
                    <a:pt x="2295" y="12440"/>
                  </a:lnTo>
                  <a:lnTo>
                    <a:pt x="5010" y="11725"/>
                  </a:lnTo>
                  <a:lnTo>
                    <a:pt x="6305" y="12402"/>
                  </a:lnTo>
                  <a:close/>
                  <a:moveTo>
                    <a:pt x="21374" y="31337"/>
                  </a:moveTo>
                  <a:lnTo>
                    <a:pt x="20850" y="33461"/>
                  </a:lnTo>
                  <a:lnTo>
                    <a:pt x="20117" y="33442"/>
                  </a:lnTo>
                  <a:lnTo>
                    <a:pt x="17602" y="30813"/>
                  </a:lnTo>
                  <a:lnTo>
                    <a:pt x="15602" y="29375"/>
                  </a:lnTo>
                  <a:lnTo>
                    <a:pt x="14935" y="28156"/>
                  </a:lnTo>
                  <a:lnTo>
                    <a:pt x="14373" y="26070"/>
                  </a:lnTo>
                  <a:lnTo>
                    <a:pt x="15526" y="25813"/>
                  </a:lnTo>
                  <a:lnTo>
                    <a:pt x="16897" y="26289"/>
                  </a:lnTo>
                  <a:lnTo>
                    <a:pt x="20336" y="28194"/>
                  </a:lnTo>
                  <a:lnTo>
                    <a:pt x="21307" y="30175"/>
                  </a:lnTo>
                  <a:lnTo>
                    <a:pt x="21374" y="31337"/>
                  </a:lnTo>
                  <a:close/>
                  <a:moveTo>
                    <a:pt x="19326" y="51635"/>
                  </a:moveTo>
                  <a:lnTo>
                    <a:pt x="19860" y="53330"/>
                  </a:lnTo>
                  <a:lnTo>
                    <a:pt x="19240" y="53140"/>
                  </a:lnTo>
                  <a:lnTo>
                    <a:pt x="17440" y="51206"/>
                  </a:lnTo>
                  <a:lnTo>
                    <a:pt x="14297" y="46596"/>
                  </a:lnTo>
                  <a:lnTo>
                    <a:pt x="13202" y="42777"/>
                  </a:lnTo>
                  <a:lnTo>
                    <a:pt x="13049" y="41005"/>
                  </a:lnTo>
                  <a:lnTo>
                    <a:pt x="13830" y="41205"/>
                  </a:lnTo>
                  <a:lnTo>
                    <a:pt x="14478" y="42777"/>
                  </a:lnTo>
                  <a:lnTo>
                    <a:pt x="17459" y="43805"/>
                  </a:lnTo>
                  <a:lnTo>
                    <a:pt x="18250" y="44587"/>
                  </a:lnTo>
                  <a:lnTo>
                    <a:pt x="18240" y="46501"/>
                  </a:lnTo>
                  <a:lnTo>
                    <a:pt x="19240" y="48768"/>
                  </a:lnTo>
                  <a:lnTo>
                    <a:pt x="19326" y="51635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4" name="Forme libre : forme 20">
              <a:extLst>
                <a:ext uri="{FF2B5EF4-FFF2-40B4-BE49-F238E27FC236}">
                  <a16:creationId xmlns:a16="http://schemas.microsoft.com/office/drawing/2014/main" id="{D3B33ED2-DD9B-0CB1-CCA3-E2AF165065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544847" y="4005026"/>
              <a:ext cx="1325649" cy="1300510"/>
            </a:xfrm>
            <a:custGeom>
              <a:avLst/>
              <a:gdLst>
                <a:gd name="connsiteX0" fmla="*/ 203854 w 382800"/>
                <a:gd name="connsiteY0" fmla="*/ 16040 h 375541"/>
                <a:gd name="connsiteX1" fmla="*/ 205445 w 382800"/>
                <a:gd name="connsiteY1" fmla="*/ 15573 h 375541"/>
                <a:gd name="connsiteX2" fmla="*/ 208141 w 382800"/>
                <a:gd name="connsiteY2" fmla="*/ 13897 h 375541"/>
                <a:gd name="connsiteX3" fmla="*/ 210388 w 382800"/>
                <a:gd name="connsiteY3" fmla="*/ 13363 h 375541"/>
                <a:gd name="connsiteX4" fmla="*/ 211674 w 382800"/>
                <a:gd name="connsiteY4" fmla="*/ 14649 h 375541"/>
                <a:gd name="connsiteX5" fmla="*/ 212398 w 382800"/>
                <a:gd name="connsiteY5" fmla="*/ 15383 h 375541"/>
                <a:gd name="connsiteX6" fmla="*/ 213808 w 382800"/>
                <a:gd name="connsiteY6" fmla="*/ 18278 h 375541"/>
                <a:gd name="connsiteX7" fmla="*/ 214208 w 382800"/>
                <a:gd name="connsiteY7" fmla="*/ 21288 h 375541"/>
                <a:gd name="connsiteX8" fmla="*/ 214836 w 382800"/>
                <a:gd name="connsiteY8" fmla="*/ 23793 h 375541"/>
                <a:gd name="connsiteX9" fmla="*/ 215980 w 382800"/>
                <a:gd name="connsiteY9" fmla="*/ 24803 h 375541"/>
                <a:gd name="connsiteX10" fmla="*/ 220275 w 382800"/>
                <a:gd name="connsiteY10" fmla="*/ 25136 h 375541"/>
                <a:gd name="connsiteX11" fmla="*/ 223447 w 382800"/>
                <a:gd name="connsiteY11" fmla="*/ 26060 h 375541"/>
                <a:gd name="connsiteX12" fmla="*/ 224285 w 382800"/>
                <a:gd name="connsiteY12" fmla="*/ 26898 h 375541"/>
                <a:gd name="connsiteX13" fmla="*/ 225371 w 382800"/>
                <a:gd name="connsiteY13" fmla="*/ 32442 h 375541"/>
                <a:gd name="connsiteX14" fmla="*/ 225962 w 382800"/>
                <a:gd name="connsiteY14" fmla="*/ 33223 h 375541"/>
                <a:gd name="connsiteX15" fmla="*/ 226752 w 382800"/>
                <a:gd name="connsiteY15" fmla="*/ 32575 h 375541"/>
                <a:gd name="connsiteX16" fmla="*/ 227533 w 382800"/>
                <a:gd name="connsiteY16" fmla="*/ 31661 h 375541"/>
                <a:gd name="connsiteX17" fmla="*/ 228619 w 382800"/>
                <a:gd name="connsiteY17" fmla="*/ 31518 h 375541"/>
                <a:gd name="connsiteX18" fmla="*/ 230477 w 382800"/>
                <a:gd name="connsiteY18" fmla="*/ 31870 h 375541"/>
                <a:gd name="connsiteX19" fmla="*/ 232924 w 382800"/>
                <a:gd name="connsiteY19" fmla="*/ 31985 h 375541"/>
                <a:gd name="connsiteX20" fmla="*/ 235448 w 382800"/>
                <a:gd name="connsiteY20" fmla="*/ 32595 h 375541"/>
                <a:gd name="connsiteX21" fmla="*/ 238935 w 382800"/>
                <a:gd name="connsiteY21" fmla="*/ 35719 h 375541"/>
                <a:gd name="connsiteX22" fmla="*/ 238801 w 382800"/>
                <a:gd name="connsiteY22" fmla="*/ 36747 h 375541"/>
                <a:gd name="connsiteX23" fmla="*/ 238125 w 382800"/>
                <a:gd name="connsiteY23" fmla="*/ 38548 h 375541"/>
                <a:gd name="connsiteX24" fmla="*/ 237887 w 382800"/>
                <a:gd name="connsiteY24" fmla="*/ 39986 h 375541"/>
                <a:gd name="connsiteX25" fmla="*/ 238487 w 382800"/>
                <a:gd name="connsiteY25" fmla="*/ 40567 h 375541"/>
                <a:gd name="connsiteX26" fmla="*/ 239411 w 382800"/>
                <a:gd name="connsiteY26" fmla="*/ 42053 h 375541"/>
                <a:gd name="connsiteX27" fmla="*/ 239192 w 382800"/>
                <a:gd name="connsiteY27" fmla="*/ 43767 h 375541"/>
                <a:gd name="connsiteX28" fmla="*/ 238297 w 382800"/>
                <a:gd name="connsiteY28" fmla="*/ 44967 h 375541"/>
                <a:gd name="connsiteX29" fmla="*/ 237935 w 382800"/>
                <a:gd name="connsiteY29" fmla="*/ 45958 h 375541"/>
                <a:gd name="connsiteX30" fmla="*/ 237935 w 382800"/>
                <a:gd name="connsiteY30" fmla="*/ 46596 h 375541"/>
                <a:gd name="connsiteX31" fmla="*/ 238268 w 382800"/>
                <a:gd name="connsiteY31" fmla="*/ 47130 h 375541"/>
                <a:gd name="connsiteX32" fmla="*/ 238982 w 382800"/>
                <a:gd name="connsiteY32" fmla="*/ 47596 h 375541"/>
                <a:gd name="connsiteX33" fmla="*/ 244135 w 382800"/>
                <a:gd name="connsiteY33" fmla="*/ 48225 h 375541"/>
                <a:gd name="connsiteX34" fmla="*/ 248850 w 382800"/>
                <a:gd name="connsiteY34" fmla="*/ 47596 h 375541"/>
                <a:gd name="connsiteX35" fmla="*/ 251822 w 382800"/>
                <a:gd name="connsiteY35" fmla="*/ 45844 h 375541"/>
                <a:gd name="connsiteX36" fmla="*/ 252327 w 382800"/>
                <a:gd name="connsiteY36" fmla="*/ 43996 h 375541"/>
                <a:gd name="connsiteX37" fmla="*/ 253165 w 382800"/>
                <a:gd name="connsiteY37" fmla="*/ 41919 h 375541"/>
                <a:gd name="connsiteX38" fmla="*/ 254937 w 382800"/>
                <a:gd name="connsiteY38" fmla="*/ 40167 h 375541"/>
                <a:gd name="connsiteX39" fmla="*/ 256156 w 382800"/>
                <a:gd name="connsiteY39" fmla="*/ 39576 h 375541"/>
                <a:gd name="connsiteX40" fmla="*/ 257280 w 382800"/>
                <a:gd name="connsiteY40" fmla="*/ 40291 h 375541"/>
                <a:gd name="connsiteX41" fmla="*/ 255394 w 382800"/>
                <a:gd name="connsiteY41" fmla="*/ 47615 h 375541"/>
                <a:gd name="connsiteX42" fmla="*/ 256775 w 382800"/>
                <a:gd name="connsiteY42" fmla="*/ 49482 h 375541"/>
                <a:gd name="connsiteX43" fmla="*/ 256975 w 382800"/>
                <a:gd name="connsiteY43" fmla="*/ 52264 h 375541"/>
                <a:gd name="connsiteX44" fmla="*/ 257470 w 382800"/>
                <a:gd name="connsiteY44" fmla="*/ 54702 h 375541"/>
                <a:gd name="connsiteX45" fmla="*/ 259156 w 382800"/>
                <a:gd name="connsiteY45" fmla="*/ 54654 h 375541"/>
                <a:gd name="connsiteX46" fmla="*/ 261195 w 382800"/>
                <a:gd name="connsiteY46" fmla="*/ 55102 h 375541"/>
                <a:gd name="connsiteX47" fmla="*/ 262642 w 382800"/>
                <a:gd name="connsiteY47" fmla="*/ 55997 h 375541"/>
                <a:gd name="connsiteX48" fmla="*/ 264328 w 382800"/>
                <a:gd name="connsiteY48" fmla="*/ 57445 h 375541"/>
                <a:gd name="connsiteX49" fmla="*/ 266757 w 382800"/>
                <a:gd name="connsiteY49" fmla="*/ 58779 h 375541"/>
                <a:gd name="connsiteX50" fmla="*/ 268462 w 382800"/>
                <a:gd name="connsiteY50" fmla="*/ 59245 h 375541"/>
                <a:gd name="connsiteX51" fmla="*/ 269081 w 382800"/>
                <a:gd name="connsiteY51" fmla="*/ 60350 h 375541"/>
                <a:gd name="connsiteX52" fmla="*/ 270463 w 382800"/>
                <a:gd name="connsiteY52" fmla="*/ 61636 h 375541"/>
                <a:gd name="connsiteX53" fmla="*/ 272634 w 382800"/>
                <a:gd name="connsiteY53" fmla="*/ 64322 h 375541"/>
                <a:gd name="connsiteX54" fmla="*/ 274577 w 382800"/>
                <a:gd name="connsiteY54" fmla="*/ 66113 h 375541"/>
                <a:gd name="connsiteX55" fmla="*/ 275520 w 382800"/>
                <a:gd name="connsiteY55" fmla="*/ 66113 h 375541"/>
                <a:gd name="connsiteX56" fmla="*/ 277330 w 382800"/>
                <a:gd name="connsiteY56" fmla="*/ 65408 h 375541"/>
                <a:gd name="connsiteX57" fmla="*/ 280016 w 382800"/>
                <a:gd name="connsiteY57" fmla="*/ 64960 h 375541"/>
                <a:gd name="connsiteX58" fmla="*/ 282130 w 382800"/>
                <a:gd name="connsiteY58" fmla="*/ 64998 h 375541"/>
                <a:gd name="connsiteX59" fmla="*/ 283035 w 382800"/>
                <a:gd name="connsiteY59" fmla="*/ 66360 h 375541"/>
                <a:gd name="connsiteX60" fmla="*/ 285122 w 382800"/>
                <a:gd name="connsiteY60" fmla="*/ 66989 h 375541"/>
                <a:gd name="connsiteX61" fmla="*/ 285855 w 382800"/>
                <a:gd name="connsiteY61" fmla="*/ 67494 h 375541"/>
                <a:gd name="connsiteX62" fmla="*/ 286674 w 382800"/>
                <a:gd name="connsiteY62" fmla="*/ 68437 h 375541"/>
                <a:gd name="connsiteX63" fmla="*/ 288065 w 382800"/>
                <a:gd name="connsiteY63" fmla="*/ 68818 h 375541"/>
                <a:gd name="connsiteX64" fmla="*/ 289741 w 382800"/>
                <a:gd name="connsiteY64" fmla="*/ 68437 h 375541"/>
                <a:gd name="connsiteX65" fmla="*/ 290960 w 382800"/>
                <a:gd name="connsiteY65" fmla="*/ 67189 h 375541"/>
                <a:gd name="connsiteX66" fmla="*/ 292589 w 382800"/>
                <a:gd name="connsiteY66" fmla="*/ 66618 h 375541"/>
                <a:gd name="connsiteX67" fmla="*/ 294227 w 382800"/>
                <a:gd name="connsiteY67" fmla="*/ 66808 h 375541"/>
                <a:gd name="connsiteX68" fmla="*/ 295170 w 382800"/>
                <a:gd name="connsiteY68" fmla="*/ 67494 h 375541"/>
                <a:gd name="connsiteX69" fmla="*/ 296961 w 382800"/>
                <a:gd name="connsiteY69" fmla="*/ 68513 h 375541"/>
                <a:gd name="connsiteX70" fmla="*/ 297971 w 382800"/>
                <a:gd name="connsiteY70" fmla="*/ 68294 h 375541"/>
                <a:gd name="connsiteX71" fmla="*/ 299999 w 382800"/>
                <a:gd name="connsiteY71" fmla="*/ 68923 h 375541"/>
                <a:gd name="connsiteX72" fmla="*/ 302038 w 382800"/>
                <a:gd name="connsiteY72" fmla="*/ 70904 h 375541"/>
                <a:gd name="connsiteX73" fmla="*/ 302895 w 382800"/>
                <a:gd name="connsiteY73" fmla="*/ 72885 h 375541"/>
                <a:gd name="connsiteX74" fmla="*/ 303114 w 382800"/>
                <a:gd name="connsiteY74" fmla="*/ 73971 h 375541"/>
                <a:gd name="connsiteX75" fmla="*/ 303990 w 382800"/>
                <a:gd name="connsiteY75" fmla="*/ 75152 h 375541"/>
                <a:gd name="connsiteX76" fmla="*/ 307410 w 382800"/>
                <a:gd name="connsiteY76" fmla="*/ 80467 h 375541"/>
                <a:gd name="connsiteX77" fmla="*/ 308496 w 382800"/>
                <a:gd name="connsiteY77" fmla="*/ 80724 h 375541"/>
                <a:gd name="connsiteX78" fmla="*/ 309686 w 382800"/>
                <a:gd name="connsiteY78" fmla="*/ 79924 h 375541"/>
                <a:gd name="connsiteX79" fmla="*/ 310458 w 382800"/>
                <a:gd name="connsiteY79" fmla="*/ 78781 h 375541"/>
                <a:gd name="connsiteX80" fmla="*/ 311572 w 382800"/>
                <a:gd name="connsiteY80" fmla="*/ 78552 h 375541"/>
                <a:gd name="connsiteX81" fmla="*/ 313363 w 382800"/>
                <a:gd name="connsiteY81" fmla="*/ 79086 h 375541"/>
                <a:gd name="connsiteX82" fmla="*/ 314516 w 382800"/>
                <a:gd name="connsiteY82" fmla="*/ 79686 h 375541"/>
                <a:gd name="connsiteX83" fmla="*/ 315068 w 382800"/>
                <a:gd name="connsiteY83" fmla="*/ 81982 h 375541"/>
                <a:gd name="connsiteX84" fmla="*/ 315459 w 382800"/>
                <a:gd name="connsiteY84" fmla="*/ 82420 h 375541"/>
                <a:gd name="connsiteX85" fmla="*/ 316230 w 382800"/>
                <a:gd name="connsiteY85" fmla="*/ 81924 h 375541"/>
                <a:gd name="connsiteX86" fmla="*/ 317611 w 382800"/>
                <a:gd name="connsiteY86" fmla="*/ 81820 h 375541"/>
                <a:gd name="connsiteX87" fmla="*/ 319821 w 382800"/>
                <a:gd name="connsiteY87" fmla="*/ 82382 h 375541"/>
                <a:gd name="connsiteX88" fmla="*/ 322850 w 382800"/>
                <a:gd name="connsiteY88" fmla="*/ 81734 h 375541"/>
                <a:gd name="connsiteX89" fmla="*/ 325279 w 382800"/>
                <a:gd name="connsiteY89" fmla="*/ 80772 h 375541"/>
                <a:gd name="connsiteX90" fmla="*/ 326517 w 382800"/>
                <a:gd name="connsiteY90" fmla="*/ 80810 h 375541"/>
                <a:gd name="connsiteX91" fmla="*/ 328517 w 382800"/>
                <a:gd name="connsiteY91" fmla="*/ 83486 h 375541"/>
                <a:gd name="connsiteX92" fmla="*/ 330803 w 382800"/>
                <a:gd name="connsiteY92" fmla="*/ 84487 h 375541"/>
                <a:gd name="connsiteX93" fmla="*/ 335832 w 382800"/>
                <a:gd name="connsiteY93" fmla="*/ 85296 h 375541"/>
                <a:gd name="connsiteX94" fmla="*/ 341233 w 382800"/>
                <a:gd name="connsiteY94" fmla="*/ 86553 h 375541"/>
                <a:gd name="connsiteX95" fmla="*/ 343357 w 382800"/>
                <a:gd name="connsiteY95" fmla="*/ 87573 h 375541"/>
                <a:gd name="connsiteX96" fmla="*/ 344805 w 382800"/>
                <a:gd name="connsiteY96" fmla="*/ 88077 h 375541"/>
                <a:gd name="connsiteX97" fmla="*/ 344957 w 382800"/>
                <a:gd name="connsiteY97" fmla="*/ 91611 h 375541"/>
                <a:gd name="connsiteX98" fmla="*/ 344519 w 382800"/>
                <a:gd name="connsiteY98" fmla="*/ 92145 h 375541"/>
                <a:gd name="connsiteX99" fmla="*/ 339138 w 382800"/>
                <a:gd name="connsiteY99" fmla="*/ 99212 h 375541"/>
                <a:gd name="connsiteX100" fmla="*/ 336871 w 382800"/>
                <a:gd name="connsiteY100" fmla="*/ 101737 h 375541"/>
                <a:gd name="connsiteX101" fmla="*/ 335718 w 382800"/>
                <a:gd name="connsiteY101" fmla="*/ 105327 h 375541"/>
                <a:gd name="connsiteX102" fmla="*/ 334928 w 382800"/>
                <a:gd name="connsiteY102" fmla="*/ 110833 h 375541"/>
                <a:gd name="connsiteX103" fmla="*/ 333337 w 382800"/>
                <a:gd name="connsiteY103" fmla="*/ 116043 h 375541"/>
                <a:gd name="connsiteX104" fmla="*/ 330956 w 382800"/>
                <a:gd name="connsiteY104" fmla="*/ 120977 h 375541"/>
                <a:gd name="connsiteX105" fmla="*/ 330089 w 382800"/>
                <a:gd name="connsiteY105" fmla="*/ 124673 h 375541"/>
                <a:gd name="connsiteX106" fmla="*/ 330737 w 382800"/>
                <a:gd name="connsiteY106" fmla="*/ 127130 h 375541"/>
                <a:gd name="connsiteX107" fmla="*/ 330327 w 382800"/>
                <a:gd name="connsiteY107" fmla="*/ 130988 h 375541"/>
                <a:gd name="connsiteX108" fmla="*/ 328870 w 382800"/>
                <a:gd name="connsiteY108" fmla="*/ 136236 h 375541"/>
                <a:gd name="connsiteX109" fmla="*/ 328622 w 382800"/>
                <a:gd name="connsiteY109" fmla="*/ 140189 h 375541"/>
                <a:gd name="connsiteX110" fmla="*/ 329594 w 382800"/>
                <a:gd name="connsiteY110" fmla="*/ 142856 h 375541"/>
                <a:gd name="connsiteX111" fmla="*/ 330937 w 382800"/>
                <a:gd name="connsiteY111" fmla="*/ 143399 h 375541"/>
                <a:gd name="connsiteX112" fmla="*/ 327708 w 382800"/>
                <a:gd name="connsiteY112" fmla="*/ 145189 h 375541"/>
                <a:gd name="connsiteX113" fmla="*/ 326974 w 382800"/>
                <a:gd name="connsiteY113" fmla="*/ 146761 h 375541"/>
                <a:gd name="connsiteX114" fmla="*/ 325707 w 382800"/>
                <a:gd name="connsiteY114" fmla="*/ 148828 h 375541"/>
                <a:gd name="connsiteX115" fmla="*/ 323650 w 382800"/>
                <a:gd name="connsiteY115" fmla="*/ 149695 h 375541"/>
                <a:gd name="connsiteX116" fmla="*/ 321583 w 382800"/>
                <a:gd name="connsiteY116" fmla="*/ 149980 h 375541"/>
                <a:gd name="connsiteX117" fmla="*/ 319907 w 382800"/>
                <a:gd name="connsiteY117" fmla="*/ 149714 h 375541"/>
                <a:gd name="connsiteX118" fmla="*/ 318954 w 382800"/>
                <a:gd name="connsiteY118" fmla="*/ 148885 h 375541"/>
                <a:gd name="connsiteX119" fmla="*/ 319002 w 382800"/>
                <a:gd name="connsiteY119" fmla="*/ 148114 h 375541"/>
                <a:gd name="connsiteX120" fmla="*/ 318116 w 382800"/>
                <a:gd name="connsiteY120" fmla="*/ 147456 h 375541"/>
                <a:gd name="connsiteX121" fmla="*/ 315916 w 382800"/>
                <a:gd name="connsiteY121" fmla="*/ 147475 h 375541"/>
                <a:gd name="connsiteX122" fmla="*/ 313639 w 382800"/>
                <a:gd name="connsiteY122" fmla="*/ 148895 h 375541"/>
                <a:gd name="connsiteX123" fmla="*/ 311820 w 382800"/>
                <a:gd name="connsiteY123" fmla="*/ 151219 h 375541"/>
                <a:gd name="connsiteX124" fmla="*/ 312382 w 382800"/>
                <a:gd name="connsiteY124" fmla="*/ 152514 h 375541"/>
                <a:gd name="connsiteX125" fmla="*/ 314058 w 382800"/>
                <a:gd name="connsiteY125" fmla="*/ 152857 h 375541"/>
                <a:gd name="connsiteX126" fmla="*/ 314497 w 382800"/>
                <a:gd name="connsiteY126" fmla="*/ 153371 h 375541"/>
                <a:gd name="connsiteX127" fmla="*/ 314497 w 382800"/>
                <a:gd name="connsiteY127" fmla="*/ 154038 h 375541"/>
                <a:gd name="connsiteX128" fmla="*/ 313906 w 382800"/>
                <a:gd name="connsiteY128" fmla="*/ 154838 h 375541"/>
                <a:gd name="connsiteX129" fmla="*/ 313201 w 382800"/>
                <a:gd name="connsiteY129" fmla="*/ 156210 h 375541"/>
                <a:gd name="connsiteX130" fmla="*/ 309686 w 382800"/>
                <a:gd name="connsiteY130" fmla="*/ 160286 h 375541"/>
                <a:gd name="connsiteX131" fmla="*/ 306143 w 382800"/>
                <a:gd name="connsiteY131" fmla="*/ 164392 h 375541"/>
                <a:gd name="connsiteX132" fmla="*/ 305571 w 382800"/>
                <a:gd name="connsiteY132" fmla="*/ 165630 h 375541"/>
                <a:gd name="connsiteX133" fmla="*/ 304448 w 382800"/>
                <a:gd name="connsiteY133" fmla="*/ 166497 h 375541"/>
                <a:gd name="connsiteX134" fmla="*/ 299942 w 382800"/>
                <a:gd name="connsiteY134" fmla="*/ 168688 h 375541"/>
                <a:gd name="connsiteX135" fmla="*/ 299476 w 382800"/>
                <a:gd name="connsiteY135" fmla="*/ 169564 h 375541"/>
                <a:gd name="connsiteX136" fmla="*/ 299218 w 382800"/>
                <a:gd name="connsiteY136" fmla="*/ 173212 h 375541"/>
                <a:gd name="connsiteX137" fmla="*/ 298713 w 382800"/>
                <a:gd name="connsiteY137" fmla="*/ 176203 h 375541"/>
                <a:gd name="connsiteX138" fmla="*/ 295370 w 382800"/>
                <a:gd name="connsiteY138" fmla="*/ 179013 h 375541"/>
                <a:gd name="connsiteX139" fmla="*/ 292046 w 382800"/>
                <a:gd name="connsiteY139" fmla="*/ 181803 h 375541"/>
                <a:gd name="connsiteX140" fmla="*/ 291217 w 382800"/>
                <a:gd name="connsiteY140" fmla="*/ 183509 h 375541"/>
                <a:gd name="connsiteX141" fmla="*/ 290617 w 382800"/>
                <a:gd name="connsiteY141" fmla="*/ 185480 h 375541"/>
                <a:gd name="connsiteX142" fmla="*/ 289579 w 382800"/>
                <a:gd name="connsiteY142" fmla="*/ 187709 h 375541"/>
                <a:gd name="connsiteX143" fmla="*/ 289370 w 382800"/>
                <a:gd name="connsiteY143" fmla="*/ 188890 h 375541"/>
                <a:gd name="connsiteX144" fmla="*/ 291056 w 382800"/>
                <a:gd name="connsiteY144" fmla="*/ 190805 h 375541"/>
                <a:gd name="connsiteX145" fmla="*/ 290856 w 382800"/>
                <a:gd name="connsiteY145" fmla="*/ 192386 h 375541"/>
                <a:gd name="connsiteX146" fmla="*/ 290322 w 382800"/>
                <a:gd name="connsiteY146" fmla="*/ 194634 h 375541"/>
                <a:gd name="connsiteX147" fmla="*/ 288732 w 382800"/>
                <a:gd name="connsiteY147" fmla="*/ 196224 h 375541"/>
                <a:gd name="connsiteX148" fmla="*/ 286960 w 382800"/>
                <a:gd name="connsiteY148" fmla="*/ 197129 h 375541"/>
                <a:gd name="connsiteX149" fmla="*/ 286998 w 382800"/>
                <a:gd name="connsiteY149" fmla="*/ 199568 h 375541"/>
                <a:gd name="connsiteX150" fmla="*/ 287941 w 382800"/>
                <a:gd name="connsiteY150" fmla="*/ 199910 h 375541"/>
                <a:gd name="connsiteX151" fmla="*/ 290074 w 382800"/>
                <a:gd name="connsiteY151" fmla="*/ 199730 h 375541"/>
                <a:gd name="connsiteX152" fmla="*/ 293094 w 382800"/>
                <a:gd name="connsiteY152" fmla="*/ 197958 h 375541"/>
                <a:gd name="connsiteX153" fmla="*/ 295065 w 382800"/>
                <a:gd name="connsiteY153" fmla="*/ 195672 h 375541"/>
                <a:gd name="connsiteX154" fmla="*/ 293904 w 382800"/>
                <a:gd name="connsiteY154" fmla="*/ 193510 h 375541"/>
                <a:gd name="connsiteX155" fmla="*/ 293761 w 382800"/>
                <a:gd name="connsiteY155" fmla="*/ 193091 h 375541"/>
                <a:gd name="connsiteX156" fmla="*/ 294046 w 382800"/>
                <a:gd name="connsiteY156" fmla="*/ 192576 h 375541"/>
                <a:gd name="connsiteX157" fmla="*/ 296380 w 382800"/>
                <a:gd name="connsiteY157" fmla="*/ 190214 h 375541"/>
                <a:gd name="connsiteX158" fmla="*/ 299238 w 382800"/>
                <a:gd name="connsiteY158" fmla="*/ 188795 h 375541"/>
                <a:gd name="connsiteX159" fmla="*/ 303228 w 382800"/>
                <a:gd name="connsiteY159" fmla="*/ 188528 h 375541"/>
                <a:gd name="connsiteX160" fmla="*/ 308038 w 382800"/>
                <a:gd name="connsiteY160" fmla="*/ 189366 h 375541"/>
                <a:gd name="connsiteX161" fmla="*/ 308515 w 382800"/>
                <a:gd name="connsiteY161" fmla="*/ 189719 h 375541"/>
                <a:gd name="connsiteX162" fmla="*/ 308286 w 382800"/>
                <a:gd name="connsiteY162" fmla="*/ 191167 h 375541"/>
                <a:gd name="connsiteX163" fmla="*/ 308734 w 382800"/>
                <a:gd name="connsiteY163" fmla="*/ 193300 h 375541"/>
                <a:gd name="connsiteX164" fmla="*/ 309601 w 382800"/>
                <a:gd name="connsiteY164" fmla="*/ 194796 h 375541"/>
                <a:gd name="connsiteX165" fmla="*/ 308410 w 382800"/>
                <a:gd name="connsiteY165" fmla="*/ 199034 h 375541"/>
                <a:gd name="connsiteX166" fmla="*/ 309315 w 382800"/>
                <a:gd name="connsiteY166" fmla="*/ 200358 h 375541"/>
                <a:gd name="connsiteX167" fmla="*/ 310715 w 382800"/>
                <a:gd name="connsiteY167" fmla="*/ 201949 h 375541"/>
                <a:gd name="connsiteX168" fmla="*/ 311763 w 382800"/>
                <a:gd name="connsiteY168" fmla="*/ 203397 h 375541"/>
                <a:gd name="connsiteX169" fmla="*/ 313268 w 382800"/>
                <a:gd name="connsiteY169" fmla="*/ 204721 h 375541"/>
                <a:gd name="connsiteX170" fmla="*/ 314611 w 382800"/>
                <a:gd name="connsiteY170" fmla="*/ 206959 h 375541"/>
                <a:gd name="connsiteX171" fmla="*/ 315068 w 382800"/>
                <a:gd name="connsiteY171" fmla="*/ 208226 h 375541"/>
                <a:gd name="connsiteX172" fmla="*/ 312916 w 382800"/>
                <a:gd name="connsiteY172" fmla="*/ 210417 h 375541"/>
                <a:gd name="connsiteX173" fmla="*/ 309277 w 382800"/>
                <a:gd name="connsiteY173" fmla="*/ 212474 h 375541"/>
                <a:gd name="connsiteX174" fmla="*/ 308867 w 382800"/>
                <a:gd name="connsiteY174" fmla="*/ 213798 h 375541"/>
                <a:gd name="connsiteX175" fmla="*/ 308915 w 382800"/>
                <a:gd name="connsiteY175" fmla="*/ 215294 h 375541"/>
                <a:gd name="connsiteX176" fmla="*/ 309324 w 382800"/>
                <a:gd name="connsiteY176" fmla="*/ 216475 h 375541"/>
                <a:gd name="connsiteX177" fmla="*/ 311334 w 382800"/>
                <a:gd name="connsiteY177" fmla="*/ 217989 h 375541"/>
                <a:gd name="connsiteX178" fmla="*/ 313496 w 382800"/>
                <a:gd name="connsiteY178" fmla="*/ 221409 h 375541"/>
                <a:gd name="connsiteX179" fmla="*/ 314868 w 382800"/>
                <a:gd name="connsiteY179" fmla="*/ 224456 h 375541"/>
                <a:gd name="connsiteX180" fmla="*/ 317868 w 382800"/>
                <a:gd name="connsiteY180" fmla="*/ 227371 h 375541"/>
                <a:gd name="connsiteX181" fmla="*/ 318602 w 382800"/>
                <a:gd name="connsiteY181" fmla="*/ 228238 h 375541"/>
                <a:gd name="connsiteX182" fmla="*/ 318411 w 382800"/>
                <a:gd name="connsiteY182" fmla="*/ 228962 h 375541"/>
                <a:gd name="connsiteX183" fmla="*/ 317621 w 382800"/>
                <a:gd name="connsiteY183" fmla="*/ 230200 h 375541"/>
                <a:gd name="connsiteX184" fmla="*/ 316592 w 382800"/>
                <a:gd name="connsiteY184" fmla="*/ 234334 h 375541"/>
                <a:gd name="connsiteX185" fmla="*/ 315363 w 382800"/>
                <a:gd name="connsiteY185" fmla="*/ 234982 h 375541"/>
                <a:gd name="connsiteX186" fmla="*/ 313992 w 382800"/>
                <a:gd name="connsiteY186" fmla="*/ 235248 h 375541"/>
                <a:gd name="connsiteX187" fmla="*/ 310277 w 382800"/>
                <a:gd name="connsiteY187" fmla="*/ 238268 h 375541"/>
                <a:gd name="connsiteX188" fmla="*/ 308620 w 382800"/>
                <a:gd name="connsiteY188" fmla="*/ 237896 h 375541"/>
                <a:gd name="connsiteX189" fmla="*/ 306267 w 382800"/>
                <a:gd name="connsiteY189" fmla="*/ 237934 h 375541"/>
                <a:gd name="connsiteX190" fmla="*/ 304543 w 382800"/>
                <a:gd name="connsiteY190" fmla="*/ 238925 h 375541"/>
                <a:gd name="connsiteX191" fmla="*/ 304733 w 382800"/>
                <a:gd name="connsiteY191" fmla="*/ 240801 h 375541"/>
                <a:gd name="connsiteX192" fmla="*/ 306248 w 382800"/>
                <a:gd name="connsiteY192" fmla="*/ 242516 h 375541"/>
                <a:gd name="connsiteX193" fmla="*/ 307134 w 382800"/>
                <a:gd name="connsiteY193" fmla="*/ 244383 h 375541"/>
                <a:gd name="connsiteX194" fmla="*/ 307496 w 382800"/>
                <a:gd name="connsiteY194" fmla="*/ 246326 h 375541"/>
                <a:gd name="connsiteX195" fmla="*/ 309172 w 382800"/>
                <a:gd name="connsiteY195" fmla="*/ 247764 h 375541"/>
                <a:gd name="connsiteX196" fmla="*/ 311534 w 382800"/>
                <a:gd name="connsiteY196" fmla="*/ 248621 h 375541"/>
                <a:gd name="connsiteX197" fmla="*/ 312887 w 382800"/>
                <a:gd name="connsiteY197" fmla="*/ 248678 h 375541"/>
                <a:gd name="connsiteX198" fmla="*/ 313763 w 382800"/>
                <a:gd name="connsiteY198" fmla="*/ 249193 h 375541"/>
                <a:gd name="connsiteX199" fmla="*/ 314297 w 382800"/>
                <a:gd name="connsiteY199" fmla="*/ 249860 h 375541"/>
                <a:gd name="connsiteX200" fmla="*/ 315316 w 382800"/>
                <a:gd name="connsiteY200" fmla="*/ 254013 h 375541"/>
                <a:gd name="connsiteX201" fmla="*/ 314706 w 382800"/>
                <a:gd name="connsiteY201" fmla="*/ 255051 h 375541"/>
                <a:gd name="connsiteX202" fmla="*/ 313430 w 382800"/>
                <a:gd name="connsiteY202" fmla="*/ 255489 h 375541"/>
                <a:gd name="connsiteX203" fmla="*/ 312668 w 382800"/>
                <a:gd name="connsiteY203" fmla="*/ 257194 h 375541"/>
                <a:gd name="connsiteX204" fmla="*/ 311153 w 382800"/>
                <a:gd name="connsiteY204" fmla="*/ 259699 h 375541"/>
                <a:gd name="connsiteX205" fmla="*/ 310296 w 382800"/>
                <a:gd name="connsiteY205" fmla="*/ 261709 h 375541"/>
                <a:gd name="connsiteX206" fmla="*/ 311248 w 382800"/>
                <a:gd name="connsiteY206" fmla="*/ 263480 h 375541"/>
                <a:gd name="connsiteX207" fmla="*/ 311648 w 382800"/>
                <a:gd name="connsiteY207" fmla="*/ 264795 h 375541"/>
                <a:gd name="connsiteX208" fmla="*/ 311144 w 382800"/>
                <a:gd name="connsiteY208" fmla="*/ 266147 h 375541"/>
                <a:gd name="connsiteX209" fmla="*/ 311820 w 382800"/>
                <a:gd name="connsiteY209" fmla="*/ 268243 h 375541"/>
                <a:gd name="connsiteX210" fmla="*/ 313611 w 382800"/>
                <a:gd name="connsiteY210" fmla="*/ 270319 h 375541"/>
                <a:gd name="connsiteX211" fmla="*/ 318478 w 382800"/>
                <a:gd name="connsiteY211" fmla="*/ 273234 h 375541"/>
                <a:gd name="connsiteX212" fmla="*/ 323002 w 382800"/>
                <a:gd name="connsiteY212" fmla="*/ 275606 h 375541"/>
                <a:gd name="connsiteX213" fmla="*/ 324403 w 382800"/>
                <a:gd name="connsiteY213" fmla="*/ 275996 h 375541"/>
                <a:gd name="connsiteX214" fmla="*/ 330518 w 382800"/>
                <a:gd name="connsiteY214" fmla="*/ 274472 h 375541"/>
                <a:gd name="connsiteX215" fmla="*/ 331527 w 382800"/>
                <a:gd name="connsiteY215" fmla="*/ 274606 h 375541"/>
                <a:gd name="connsiteX216" fmla="*/ 332270 w 382800"/>
                <a:gd name="connsiteY216" fmla="*/ 276415 h 375541"/>
                <a:gd name="connsiteX217" fmla="*/ 332594 w 382800"/>
                <a:gd name="connsiteY217" fmla="*/ 277635 h 375541"/>
                <a:gd name="connsiteX218" fmla="*/ 331908 w 382800"/>
                <a:gd name="connsiteY218" fmla="*/ 279463 h 375541"/>
                <a:gd name="connsiteX219" fmla="*/ 330222 w 382800"/>
                <a:gd name="connsiteY219" fmla="*/ 282045 h 375541"/>
                <a:gd name="connsiteX220" fmla="*/ 328432 w 382800"/>
                <a:gd name="connsiteY220" fmla="*/ 284054 h 375541"/>
                <a:gd name="connsiteX221" fmla="*/ 327346 w 382800"/>
                <a:gd name="connsiteY221" fmla="*/ 285759 h 375541"/>
                <a:gd name="connsiteX222" fmla="*/ 327574 w 382800"/>
                <a:gd name="connsiteY222" fmla="*/ 287312 h 375541"/>
                <a:gd name="connsiteX223" fmla="*/ 327641 w 382800"/>
                <a:gd name="connsiteY223" fmla="*/ 289369 h 375541"/>
                <a:gd name="connsiteX224" fmla="*/ 326184 w 382800"/>
                <a:gd name="connsiteY224" fmla="*/ 289979 h 375541"/>
                <a:gd name="connsiteX225" fmla="*/ 326136 w 382800"/>
                <a:gd name="connsiteY225" fmla="*/ 289579 h 375541"/>
                <a:gd name="connsiteX226" fmla="*/ 325536 w 382800"/>
                <a:gd name="connsiteY226" fmla="*/ 289227 h 375541"/>
                <a:gd name="connsiteX227" fmla="*/ 325022 w 382800"/>
                <a:gd name="connsiteY227" fmla="*/ 289427 h 375541"/>
                <a:gd name="connsiteX228" fmla="*/ 324621 w 382800"/>
                <a:gd name="connsiteY228" fmla="*/ 289874 h 375541"/>
                <a:gd name="connsiteX229" fmla="*/ 324565 w 382800"/>
                <a:gd name="connsiteY229" fmla="*/ 290665 h 375541"/>
                <a:gd name="connsiteX230" fmla="*/ 321459 w 382800"/>
                <a:gd name="connsiteY230" fmla="*/ 291979 h 375541"/>
                <a:gd name="connsiteX231" fmla="*/ 319316 w 382800"/>
                <a:gd name="connsiteY231" fmla="*/ 293341 h 375541"/>
                <a:gd name="connsiteX232" fmla="*/ 310848 w 382800"/>
                <a:gd name="connsiteY232" fmla="*/ 301457 h 375541"/>
                <a:gd name="connsiteX233" fmla="*/ 306886 w 382800"/>
                <a:gd name="connsiteY233" fmla="*/ 303828 h 375541"/>
                <a:gd name="connsiteX234" fmla="*/ 306105 w 382800"/>
                <a:gd name="connsiteY234" fmla="*/ 305257 h 375541"/>
                <a:gd name="connsiteX235" fmla="*/ 305295 w 382800"/>
                <a:gd name="connsiteY235" fmla="*/ 307924 h 375541"/>
                <a:gd name="connsiteX236" fmla="*/ 302971 w 382800"/>
                <a:gd name="connsiteY236" fmla="*/ 310210 h 375541"/>
                <a:gd name="connsiteX237" fmla="*/ 300933 w 382800"/>
                <a:gd name="connsiteY237" fmla="*/ 311296 h 375541"/>
                <a:gd name="connsiteX238" fmla="*/ 295894 w 382800"/>
                <a:gd name="connsiteY238" fmla="*/ 312410 h 375541"/>
                <a:gd name="connsiteX239" fmla="*/ 290827 w 382800"/>
                <a:gd name="connsiteY239" fmla="*/ 314830 h 375541"/>
                <a:gd name="connsiteX240" fmla="*/ 288541 w 382800"/>
                <a:gd name="connsiteY240" fmla="*/ 313782 h 375541"/>
                <a:gd name="connsiteX241" fmla="*/ 282635 w 382800"/>
                <a:gd name="connsiteY241" fmla="*/ 313896 h 375541"/>
                <a:gd name="connsiteX242" fmla="*/ 278949 w 382800"/>
                <a:gd name="connsiteY242" fmla="*/ 310982 h 375541"/>
                <a:gd name="connsiteX243" fmla="*/ 271862 w 382800"/>
                <a:gd name="connsiteY243" fmla="*/ 309134 h 375541"/>
                <a:gd name="connsiteX244" fmla="*/ 269558 w 382800"/>
                <a:gd name="connsiteY244" fmla="*/ 304876 h 375541"/>
                <a:gd name="connsiteX245" fmla="*/ 266329 w 382800"/>
                <a:gd name="connsiteY245" fmla="*/ 304600 h 375541"/>
                <a:gd name="connsiteX246" fmla="*/ 264214 w 382800"/>
                <a:gd name="connsiteY246" fmla="*/ 304733 h 375541"/>
                <a:gd name="connsiteX247" fmla="*/ 262947 w 382800"/>
                <a:gd name="connsiteY247" fmla="*/ 304086 h 375541"/>
                <a:gd name="connsiteX248" fmla="*/ 262624 w 382800"/>
                <a:gd name="connsiteY248" fmla="*/ 302628 h 375541"/>
                <a:gd name="connsiteX249" fmla="*/ 262595 w 382800"/>
                <a:gd name="connsiteY249" fmla="*/ 301228 h 375541"/>
                <a:gd name="connsiteX250" fmla="*/ 260356 w 382800"/>
                <a:gd name="connsiteY250" fmla="*/ 301876 h 375541"/>
                <a:gd name="connsiteX251" fmla="*/ 258642 w 382800"/>
                <a:gd name="connsiteY251" fmla="*/ 301876 h 375541"/>
                <a:gd name="connsiteX252" fmla="*/ 257623 w 382800"/>
                <a:gd name="connsiteY252" fmla="*/ 302438 h 375541"/>
                <a:gd name="connsiteX253" fmla="*/ 256823 w 382800"/>
                <a:gd name="connsiteY253" fmla="*/ 303085 h 375541"/>
                <a:gd name="connsiteX254" fmla="*/ 255870 w 382800"/>
                <a:gd name="connsiteY254" fmla="*/ 302676 h 375541"/>
                <a:gd name="connsiteX255" fmla="*/ 255318 w 382800"/>
                <a:gd name="connsiteY255" fmla="*/ 302819 h 375541"/>
                <a:gd name="connsiteX256" fmla="*/ 255365 w 382800"/>
                <a:gd name="connsiteY256" fmla="*/ 303638 h 375541"/>
                <a:gd name="connsiteX257" fmla="*/ 253308 w 382800"/>
                <a:gd name="connsiteY257" fmla="*/ 303847 h 375541"/>
                <a:gd name="connsiteX258" fmla="*/ 251070 w 382800"/>
                <a:gd name="connsiteY258" fmla="*/ 303343 h 375541"/>
                <a:gd name="connsiteX259" fmla="*/ 245212 w 382800"/>
                <a:gd name="connsiteY259" fmla="*/ 301142 h 375541"/>
                <a:gd name="connsiteX260" fmla="*/ 244316 w 382800"/>
                <a:gd name="connsiteY260" fmla="*/ 300799 h 375541"/>
                <a:gd name="connsiteX261" fmla="*/ 240249 w 382800"/>
                <a:gd name="connsiteY261" fmla="*/ 299952 h 375541"/>
                <a:gd name="connsiteX262" fmla="*/ 238611 w 382800"/>
                <a:gd name="connsiteY262" fmla="*/ 299066 h 375541"/>
                <a:gd name="connsiteX263" fmla="*/ 237277 w 382800"/>
                <a:gd name="connsiteY263" fmla="*/ 296885 h 375541"/>
                <a:gd name="connsiteX264" fmla="*/ 236268 w 382800"/>
                <a:gd name="connsiteY264" fmla="*/ 296199 h 375541"/>
                <a:gd name="connsiteX265" fmla="*/ 235668 w 382800"/>
                <a:gd name="connsiteY265" fmla="*/ 295789 h 375541"/>
                <a:gd name="connsiteX266" fmla="*/ 231877 w 382800"/>
                <a:gd name="connsiteY266" fmla="*/ 296894 h 375541"/>
                <a:gd name="connsiteX267" fmla="*/ 230562 w 382800"/>
                <a:gd name="connsiteY267" fmla="*/ 298609 h 375541"/>
                <a:gd name="connsiteX268" fmla="*/ 228514 w 382800"/>
                <a:gd name="connsiteY268" fmla="*/ 300618 h 375541"/>
                <a:gd name="connsiteX269" fmla="*/ 214456 w 382800"/>
                <a:gd name="connsiteY269" fmla="*/ 310448 h 375541"/>
                <a:gd name="connsiteX270" fmla="*/ 211884 w 382800"/>
                <a:gd name="connsiteY270" fmla="*/ 314553 h 375541"/>
                <a:gd name="connsiteX271" fmla="*/ 208912 w 382800"/>
                <a:gd name="connsiteY271" fmla="*/ 320583 h 375541"/>
                <a:gd name="connsiteX272" fmla="*/ 208683 w 382800"/>
                <a:gd name="connsiteY272" fmla="*/ 323393 h 375541"/>
                <a:gd name="connsiteX273" fmla="*/ 209960 w 382800"/>
                <a:gd name="connsiteY273" fmla="*/ 332346 h 375541"/>
                <a:gd name="connsiteX274" fmla="*/ 212817 w 382800"/>
                <a:gd name="connsiteY274" fmla="*/ 337032 h 375541"/>
                <a:gd name="connsiteX275" fmla="*/ 213179 w 382800"/>
                <a:gd name="connsiteY275" fmla="*/ 338118 h 375541"/>
                <a:gd name="connsiteX276" fmla="*/ 211589 w 382800"/>
                <a:gd name="connsiteY276" fmla="*/ 338128 h 375541"/>
                <a:gd name="connsiteX277" fmla="*/ 208931 w 382800"/>
                <a:gd name="connsiteY277" fmla="*/ 337537 h 375541"/>
                <a:gd name="connsiteX278" fmla="*/ 206731 w 382800"/>
                <a:gd name="connsiteY278" fmla="*/ 336813 h 375541"/>
                <a:gd name="connsiteX279" fmla="*/ 204626 w 382800"/>
                <a:gd name="connsiteY279" fmla="*/ 337213 h 375541"/>
                <a:gd name="connsiteX280" fmla="*/ 202606 w 382800"/>
                <a:gd name="connsiteY280" fmla="*/ 338185 h 375541"/>
                <a:gd name="connsiteX281" fmla="*/ 200835 w 382800"/>
                <a:gd name="connsiteY281" fmla="*/ 338776 h 375541"/>
                <a:gd name="connsiteX282" fmla="*/ 199558 w 382800"/>
                <a:gd name="connsiteY282" fmla="*/ 338937 h 375541"/>
                <a:gd name="connsiteX283" fmla="*/ 198711 w 382800"/>
                <a:gd name="connsiteY283" fmla="*/ 339499 h 375541"/>
                <a:gd name="connsiteX284" fmla="*/ 198301 w 382800"/>
                <a:gd name="connsiteY284" fmla="*/ 340614 h 375541"/>
                <a:gd name="connsiteX285" fmla="*/ 198225 w 382800"/>
                <a:gd name="connsiteY285" fmla="*/ 341395 h 375541"/>
                <a:gd name="connsiteX286" fmla="*/ 195987 w 382800"/>
                <a:gd name="connsiteY286" fmla="*/ 341204 h 375541"/>
                <a:gd name="connsiteX287" fmla="*/ 190815 w 382800"/>
                <a:gd name="connsiteY287" fmla="*/ 339604 h 375541"/>
                <a:gd name="connsiteX288" fmla="*/ 186166 w 382800"/>
                <a:gd name="connsiteY288" fmla="*/ 338499 h 375541"/>
                <a:gd name="connsiteX289" fmla="*/ 183432 w 382800"/>
                <a:gd name="connsiteY289" fmla="*/ 339757 h 375541"/>
                <a:gd name="connsiteX290" fmla="*/ 181680 w 382800"/>
                <a:gd name="connsiteY290" fmla="*/ 340928 h 375541"/>
                <a:gd name="connsiteX291" fmla="*/ 180451 w 382800"/>
                <a:gd name="connsiteY291" fmla="*/ 340747 h 375541"/>
                <a:gd name="connsiteX292" fmla="*/ 179508 w 382800"/>
                <a:gd name="connsiteY292" fmla="*/ 339509 h 375541"/>
                <a:gd name="connsiteX293" fmla="*/ 178879 w 382800"/>
                <a:gd name="connsiteY293" fmla="*/ 338299 h 375541"/>
                <a:gd name="connsiteX294" fmla="*/ 177060 w 382800"/>
                <a:gd name="connsiteY294" fmla="*/ 337185 h 375541"/>
                <a:gd name="connsiteX295" fmla="*/ 172946 w 382800"/>
                <a:gd name="connsiteY295" fmla="*/ 335518 h 375541"/>
                <a:gd name="connsiteX296" fmla="*/ 173155 w 382800"/>
                <a:gd name="connsiteY296" fmla="*/ 334718 h 375541"/>
                <a:gd name="connsiteX297" fmla="*/ 173860 w 382800"/>
                <a:gd name="connsiteY297" fmla="*/ 333594 h 375541"/>
                <a:gd name="connsiteX298" fmla="*/ 173841 w 382800"/>
                <a:gd name="connsiteY298" fmla="*/ 332899 h 375541"/>
                <a:gd name="connsiteX299" fmla="*/ 173050 w 382800"/>
                <a:gd name="connsiteY299" fmla="*/ 331870 h 375541"/>
                <a:gd name="connsiteX300" fmla="*/ 169259 w 382800"/>
                <a:gd name="connsiteY300" fmla="*/ 330765 h 375541"/>
                <a:gd name="connsiteX301" fmla="*/ 167469 w 382800"/>
                <a:gd name="connsiteY301" fmla="*/ 330489 h 375541"/>
                <a:gd name="connsiteX302" fmla="*/ 166335 w 382800"/>
                <a:gd name="connsiteY302" fmla="*/ 331251 h 375541"/>
                <a:gd name="connsiteX303" fmla="*/ 165516 w 382800"/>
                <a:gd name="connsiteY303" fmla="*/ 332184 h 375541"/>
                <a:gd name="connsiteX304" fmla="*/ 163411 w 382800"/>
                <a:gd name="connsiteY304" fmla="*/ 328755 h 375541"/>
                <a:gd name="connsiteX305" fmla="*/ 161906 w 382800"/>
                <a:gd name="connsiteY305" fmla="*/ 328050 h 375541"/>
                <a:gd name="connsiteX306" fmla="*/ 159639 w 382800"/>
                <a:gd name="connsiteY306" fmla="*/ 327936 h 375541"/>
                <a:gd name="connsiteX307" fmla="*/ 157039 w 382800"/>
                <a:gd name="connsiteY307" fmla="*/ 326888 h 375541"/>
                <a:gd name="connsiteX308" fmla="*/ 154334 w 382800"/>
                <a:gd name="connsiteY308" fmla="*/ 325545 h 375541"/>
                <a:gd name="connsiteX309" fmla="*/ 147771 w 382800"/>
                <a:gd name="connsiteY309" fmla="*/ 323402 h 375541"/>
                <a:gd name="connsiteX310" fmla="*/ 145971 w 382800"/>
                <a:gd name="connsiteY310" fmla="*/ 323145 h 375541"/>
                <a:gd name="connsiteX311" fmla="*/ 145247 w 382800"/>
                <a:gd name="connsiteY311" fmla="*/ 323488 h 375541"/>
                <a:gd name="connsiteX312" fmla="*/ 144761 w 382800"/>
                <a:gd name="connsiteY312" fmla="*/ 324774 h 375541"/>
                <a:gd name="connsiteX313" fmla="*/ 144504 w 382800"/>
                <a:gd name="connsiteY313" fmla="*/ 328393 h 375541"/>
                <a:gd name="connsiteX314" fmla="*/ 144228 w 382800"/>
                <a:gd name="connsiteY314" fmla="*/ 328793 h 375541"/>
                <a:gd name="connsiteX315" fmla="*/ 141180 w 382800"/>
                <a:gd name="connsiteY315" fmla="*/ 328917 h 375541"/>
                <a:gd name="connsiteX316" fmla="*/ 137427 w 382800"/>
                <a:gd name="connsiteY316" fmla="*/ 328412 h 375541"/>
                <a:gd name="connsiteX317" fmla="*/ 135703 w 382800"/>
                <a:gd name="connsiteY317" fmla="*/ 328660 h 375541"/>
                <a:gd name="connsiteX318" fmla="*/ 134169 w 382800"/>
                <a:gd name="connsiteY318" fmla="*/ 328669 h 375541"/>
                <a:gd name="connsiteX319" fmla="*/ 132722 w 382800"/>
                <a:gd name="connsiteY319" fmla="*/ 327708 h 375541"/>
                <a:gd name="connsiteX320" fmla="*/ 126235 w 382800"/>
                <a:gd name="connsiteY320" fmla="*/ 328803 h 375541"/>
                <a:gd name="connsiteX321" fmla="*/ 125159 w 382800"/>
                <a:gd name="connsiteY321" fmla="*/ 328270 h 375541"/>
                <a:gd name="connsiteX322" fmla="*/ 123597 w 382800"/>
                <a:gd name="connsiteY322" fmla="*/ 326641 h 375541"/>
                <a:gd name="connsiteX323" fmla="*/ 121844 w 382800"/>
                <a:gd name="connsiteY323" fmla="*/ 325317 h 375541"/>
                <a:gd name="connsiteX324" fmla="*/ 120491 w 382800"/>
                <a:gd name="connsiteY324" fmla="*/ 324640 h 375541"/>
                <a:gd name="connsiteX325" fmla="*/ 119329 w 382800"/>
                <a:gd name="connsiteY325" fmla="*/ 323859 h 375541"/>
                <a:gd name="connsiteX326" fmla="*/ 118281 w 382800"/>
                <a:gd name="connsiteY326" fmla="*/ 323735 h 375541"/>
                <a:gd name="connsiteX327" fmla="*/ 116681 w 382800"/>
                <a:gd name="connsiteY327" fmla="*/ 324488 h 375541"/>
                <a:gd name="connsiteX328" fmla="*/ 114472 w 382800"/>
                <a:gd name="connsiteY328" fmla="*/ 324812 h 375541"/>
                <a:gd name="connsiteX329" fmla="*/ 112643 w 382800"/>
                <a:gd name="connsiteY329" fmla="*/ 324717 h 375541"/>
                <a:gd name="connsiteX330" fmla="*/ 111662 w 382800"/>
                <a:gd name="connsiteY330" fmla="*/ 324821 h 375541"/>
                <a:gd name="connsiteX331" fmla="*/ 107547 w 382800"/>
                <a:gd name="connsiteY331" fmla="*/ 320802 h 375541"/>
                <a:gd name="connsiteX332" fmla="*/ 106947 w 382800"/>
                <a:gd name="connsiteY332" fmla="*/ 319706 h 375541"/>
                <a:gd name="connsiteX333" fmla="*/ 104899 w 382800"/>
                <a:gd name="connsiteY333" fmla="*/ 319402 h 375541"/>
                <a:gd name="connsiteX334" fmla="*/ 102365 w 382800"/>
                <a:gd name="connsiteY334" fmla="*/ 319354 h 375541"/>
                <a:gd name="connsiteX335" fmla="*/ 95907 w 382800"/>
                <a:gd name="connsiteY335" fmla="*/ 316744 h 375541"/>
                <a:gd name="connsiteX336" fmla="*/ 92964 w 382800"/>
                <a:gd name="connsiteY336" fmla="*/ 315344 h 375541"/>
                <a:gd name="connsiteX337" fmla="*/ 92535 w 382800"/>
                <a:gd name="connsiteY337" fmla="*/ 314506 h 375541"/>
                <a:gd name="connsiteX338" fmla="*/ 92573 w 382800"/>
                <a:gd name="connsiteY338" fmla="*/ 313830 h 375541"/>
                <a:gd name="connsiteX339" fmla="*/ 92069 w 382800"/>
                <a:gd name="connsiteY339" fmla="*/ 313982 h 375541"/>
                <a:gd name="connsiteX340" fmla="*/ 91164 w 382800"/>
                <a:gd name="connsiteY340" fmla="*/ 315173 h 375541"/>
                <a:gd name="connsiteX341" fmla="*/ 90687 w 382800"/>
                <a:gd name="connsiteY341" fmla="*/ 316144 h 375541"/>
                <a:gd name="connsiteX342" fmla="*/ 90059 w 382800"/>
                <a:gd name="connsiteY342" fmla="*/ 316325 h 375541"/>
                <a:gd name="connsiteX343" fmla="*/ 89135 w 382800"/>
                <a:gd name="connsiteY343" fmla="*/ 316173 h 375541"/>
                <a:gd name="connsiteX344" fmla="*/ 88278 w 382800"/>
                <a:gd name="connsiteY344" fmla="*/ 315620 h 375541"/>
                <a:gd name="connsiteX345" fmla="*/ 87754 w 382800"/>
                <a:gd name="connsiteY345" fmla="*/ 314915 h 375541"/>
                <a:gd name="connsiteX346" fmla="*/ 88316 w 382800"/>
                <a:gd name="connsiteY346" fmla="*/ 313687 h 375541"/>
                <a:gd name="connsiteX347" fmla="*/ 89306 w 382800"/>
                <a:gd name="connsiteY347" fmla="*/ 312077 h 375541"/>
                <a:gd name="connsiteX348" fmla="*/ 89716 w 382800"/>
                <a:gd name="connsiteY348" fmla="*/ 310324 h 375541"/>
                <a:gd name="connsiteX349" fmla="*/ 89621 w 382800"/>
                <a:gd name="connsiteY349" fmla="*/ 308753 h 375541"/>
                <a:gd name="connsiteX350" fmla="*/ 87992 w 382800"/>
                <a:gd name="connsiteY350" fmla="*/ 307743 h 375541"/>
                <a:gd name="connsiteX351" fmla="*/ 85592 w 382800"/>
                <a:gd name="connsiteY351" fmla="*/ 307324 h 375541"/>
                <a:gd name="connsiteX352" fmla="*/ 83829 w 382800"/>
                <a:gd name="connsiteY352" fmla="*/ 307200 h 375541"/>
                <a:gd name="connsiteX353" fmla="*/ 81544 w 382800"/>
                <a:gd name="connsiteY353" fmla="*/ 306305 h 375541"/>
                <a:gd name="connsiteX354" fmla="*/ 80458 w 382800"/>
                <a:gd name="connsiteY354" fmla="*/ 305657 h 375541"/>
                <a:gd name="connsiteX355" fmla="*/ 79410 w 382800"/>
                <a:gd name="connsiteY355" fmla="*/ 303904 h 375541"/>
                <a:gd name="connsiteX356" fmla="*/ 79372 w 382800"/>
                <a:gd name="connsiteY356" fmla="*/ 302628 h 375541"/>
                <a:gd name="connsiteX357" fmla="*/ 83725 w 382800"/>
                <a:gd name="connsiteY357" fmla="*/ 301504 h 375541"/>
                <a:gd name="connsiteX358" fmla="*/ 87640 w 382800"/>
                <a:gd name="connsiteY358" fmla="*/ 296885 h 375541"/>
                <a:gd name="connsiteX359" fmla="*/ 91354 w 382800"/>
                <a:gd name="connsiteY359" fmla="*/ 280044 h 375541"/>
                <a:gd name="connsiteX360" fmla="*/ 94040 w 382800"/>
                <a:gd name="connsiteY360" fmla="*/ 259956 h 375541"/>
                <a:gd name="connsiteX361" fmla="*/ 96031 w 382800"/>
                <a:gd name="connsiteY361" fmla="*/ 256146 h 375541"/>
                <a:gd name="connsiteX362" fmla="*/ 98546 w 382800"/>
                <a:gd name="connsiteY362" fmla="*/ 255098 h 375541"/>
                <a:gd name="connsiteX363" fmla="*/ 96517 w 382800"/>
                <a:gd name="connsiteY363" fmla="*/ 252317 h 375541"/>
                <a:gd name="connsiteX364" fmla="*/ 95250 w 382800"/>
                <a:gd name="connsiteY364" fmla="*/ 253727 h 375541"/>
                <a:gd name="connsiteX365" fmla="*/ 94717 w 382800"/>
                <a:gd name="connsiteY365" fmla="*/ 255222 h 375541"/>
                <a:gd name="connsiteX366" fmla="*/ 94050 w 382800"/>
                <a:gd name="connsiteY366" fmla="*/ 255975 h 375541"/>
                <a:gd name="connsiteX367" fmla="*/ 95545 w 382800"/>
                <a:gd name="connsiteY367" fmla="*/ 237353 h 375541"/>
                <a:gd name="connsiteX368" fmla="*/ 96612 w 382800"/>
                <a:gd name="connsiteY368" fmla="*/ 230495 h 375541"/>
                <a:gd name="connsiteX369" fmla="*/ 98431 w 382800"/>
                <a:gd name="connsiteY369" fmla="*/ 223295 h 375541"/>
                <a:gd name="connsiteX370" fmla="*/ 102156 w 382800"/>
                <a:gd name="connsiteY370" fmla="*/ 226152 h 375541"/>
                <a:gd name="connsiteX371" fmla="*/ 105242 w 382800"/>
                <a:gd name="connsiteY371" fmla="*/ 229057 h 375541"/>
                <a:gd name="connsiteX372" fmla="*/ 106832 w 382800"/>
                <a:gd name="connsiteY372" fmla="*/ 231572 h 375541"/>
                <a:gd name="connsiteX373" fmla="*/ 108852 w 382800"/>
                <a:gd name="connsiteY373" fmla="*/ 239916 h 375541"/>
                <a:gd name="connsiteX374" fmla="*/ 110385 w 382800"/>
                <a:gd name="connsiteY374" fmla="*/ 241668 h 375541"/>
                <a:gd name="connsiteX375" fmla="*/ 112671 w 382800"/>
                <a:gd name="connsiteY375" fmla="*/ 243421 h 375541"/>
                <a:gd name="connsiteX376" fmla="*/ 111766 w 382800"/>
                <a:gd name="connsiteY376" fmla="*/ 241506 h 375541"/>
                <a:gd name="connsiteX377" fmla="*/ 110195 w 382800"/>
                <a:gd name="connsiteY377" fmla="*/ 240039 h 375541"/>
                <a:gd name="connsiteX378" fmla="*/ 107737 w 382800"/>
                <a:gd name="connsiteY378" fmla="*/ 228905 h 375541"/>
                <a:gd name="connsiteX379" fmla="*/ 106194 w 382800"/>
                <a:gd name="connsiteY379" fmla="*/ 225733 h 375541"/>
                <a:gd name="connsiteX380" fmla="*/ 103794 w 382800"/>
                <a:gd name="connsiteY380" fmla="*/ 223066 h 375541"/>
                <a:gd name="connsiteX381" fmla="*/ 96060 w 382800"/>
                <a:gd name="connsiteY381" fmla="*/ 217436 h 375541"/>
                <a:gd name="connsiteX382" fmla="*/ 95364 w 382800"/>
                <a:gd name="connsiteY382" fmla="*/ 216341 h 375541"/>
                <a:gd name="connsiteX383" fmla="*/ 94983 w 382800"/>
                <a:gd name="connsiteY383" fmla="*/ 214189 h 375541"/>
                <a:gd name="connsiteX384" fmla="*/ 97546 w 382800"/>
                <a:gd name="connsiteY384" fmla="*/ 214284 h 375541"/>
                <a:gd name="connsiteX385" fmla="*/ 99755 w 382800"/>
                <a:gd name="connsiteY385" fmla="*/ 215332 h 375541"/>
                <a:gd name="connsiteX386" fmla="*/ 99498 w 382800"/>
                <a:gd name="connsiteY386" fmla="*/ 214131 h 375541"/>
                <a:gd name="connsiteX387" fmla="*/ 98841 w 382800"/>
                <a:gd name="connsiteY387" fmla="*/ 212874 h 375541"/>
                <a:gd name="connsiteX388" fmla="*/ 97812 w 382800"/>
                <a:gd name="connsiteY388" fmla="*/ 208293 h 375541"/>
                <a:gd name="connsiteX389" fmla="*/ 96955 w 382800"/>
                <a:gd name="connsiteY389" fmla="*/ 197558 h 375541"/>
                <a:gd name="connsiteX390" fmla="*/ 97069 w 382800"/>
                <a:gd name="connsiteY390" fmla="*/ 195719 h 375541"/>
                <a:gd name="connsiteX391" fmla="*/ 96688 w 382800"/>
                <a:gd name="connsiteY391" fmla="*/ 193453 h 375541"/>
                <a:gd name="connsiteX392" fmla="*/ 94212 w 382800"/>
                <a:gd name="connsiteY392" fmla="*/ 192948 h 375541"/>
                <a:gd name="connsiteX393" fmla="*/ 92231 w 382800"/>
                <a:gd name="connsiteY393" fmla="*/ 192862 h 375541"/>
                <a:gd name="connsiteX394" fmla="*/ 90097 w 382800"/>
                <a:gd name="connsiteY394" fmla="*/ 191967 h 375541"/>
                <a:gd name="connsiteX395" fmla="*/ 79562 w 382800"/>
                <a:gd name="connsiteY395" fmla="*/ 185604 h 375541"/>
                <a:gd name="connsiteX396" fmla="*/ 75962 w 382800"/>
                <a:gd name="connsiteY396" fmla="*/ 179013 h 375541"/>
                <a:gd name="connsiteX397" fmla="*/ 72276 w 382800"/>
                <a:gd name="connsiteY397" fmla="*/ 174136 h 375541"/>
                <a:gd name="connsiteX398" fmla="*/ 71390 w 382800"/>
                <a:gd name="connsiteY398" fmla="*/ 172002 h 375541"/>
                <a:gd name="connsiteX399" fmla="*/ 71447 w 382800"/>
                <a:gd name="connsiteY399" fmla="*/ 169840 h 375541"/>
                <a:gd name="connsiteX400" fmla="*/ 73362 w 382800"/>
                <a:gd name="connsiteY400" fmla="*/ 165268 h 375541"/>
                <a:gd name="connsiteX401" fmla="*/ 71676 w 382800"/>
                <a:gd name="connsiteY401" fmla="*/ 162373 h 375541"/>
                <a:gd name="connsiteX402" fmla="*/ 70028 w 382800"/>
                <a:gd name="connsiteY402" fmla="*/ 161801 h 375541"/>
                <a:gd name="connsiteX403" fmla="*/ 68599 w 382800"/>
                <a:gd name="connsiteY403" fmla="*/ 160363 h 375541"/>
                <a:gd name="connsiteX404" fmla="*/ 69895 w 382800"/>
                <a:gd name="connsiteY404" fmla="*/ 157972 h 375541"/>
                <a:gd name="connsiteX405" fmla="*/ 70971 w 382800"/>
                <a:gd name="connsiteY405" fmla="*/ 156438 h 375541"/>
                <a:gd name="connsiteX406" fmla="*/ 73133 w 382800"/>
                <a:gd name="connsiteY406" fmla="*/ 156029 h 375541"/>
                <a:gd name="connsiteX407" fmla="*/ 75962 w 382800"/>
                <a:gd name="connsiteY407" fmla="*/ 156534 h 375541"/>
                <a:gd name="connsiteX408" fmla="*/ 78648 w 382800"/>
                <a:gd name="connsiteY408" fmla="*/ 157924 h 375541"/>
                <a:gd name="connsiteX409" fmla="*/ 80753 w 382800"/>
                <a:gd name="connsiteY409" fmla="*/ 158296 h 375541"/>
                <a:gd name="connsiteX410" fmla="*/ 74533 w 382800"/>
                <a:gd name="connsiteY410" fmla="*/ 154572 h 375541"/>
                <a:gd name="connsiteX411" fmla="*/ 64437 w 382800"/>
                <a:gd name="connsiteY411" fmla="*/ 155829 h 375541"/>
                <a:gd name="connsiteX412" fmla="*/ 62256 w 382800"/>
                <a:gd name="connsiteY412" fmla="*/ 155353 h 375541"/>
                <a:gd name="connsiteX413" fmla="*/ 60427 w 382800"/>
                <a:gd name="connsiteY413" fmla="*/ 154524 h 375541"/>
                <a:gd name="connsiteX414" fmla="*/ 59703 w 382800"/>
                <a:gd name="connsiteY414" fmla="*/ 151781 h 375541"/>
                <a:gd name="connsiteX415" fmla="*/ 61141 w 382800"/>
                <a:gd name="connsiteY415" fmla="*/ 150552 h 375541"/>
                <a:gd name="connsiteX416" fmla="*/ 62436 w 382800"/>
                <a:gd name="connsiteY416" fmla="*/ 148266 h 375541"/>
                <a:gd name="connsiteX417" fmla="*/ 60970 w 382800"/>
                <a:gd name="connsiteY417" fmla="*/ 146666 h 375541"/>
                <a:gd name="connsiteX418" fmla="*/ 59065 w 382800"/>
                <a:gd name="connsiteY418" fmla="*/ 146056 h 375541"/>
                <a:gd name="connsiteX419" fmla="*/ 56074 w 382800"/>
                <a:gd name="connsiteY419" fmla="*/ 146085 h 375541"/>
                <a:gd name="connsiteX420" fmla="*/ 53283 w 382800"/>
                <a:gd name="connsiteY420" fmla="*/ 146570 h 375541"/>
                <a:gd name="connsiteX421" fmla="*/ 52578 w 382800"/>
                <a:gd name="connsiteY421" fmla="*/ 145647 h 375541"/>
                <a:gd name="connsiteX422" fmla="*/ 54283 w 382800"/>
                <a:gd name="connsiteY422" fmla="*/ 143094 h 375541"/>
                <a:gd name="connsiteX423" fmla="*/ 52835 w 382800"/>
                <a:gd name="connsiteY423" fmla="*/ 142161 h 375541"/>
                <a:gd name="connsiteX424" fmla="*/ 50902 w 382800"/>
                <a:gd name="connsiteY424" fmla="*/ 142599 h 375541"/>
                <a:gd name="connsiteX425" fmla="*/ 48101 w 382800"/>
                <a:gd name="connsiteY425" fmla="*/ 143122 h 375541"/>
                <a:gd name="connsiteX426" fmla="*/ 45425 w 382800"/>
                <a:gd name="connsiteY426" fmla="*/ 142322 h 375541"/>
                <a:gd name="connsiteX427" fmla="*/ 42891 w 382800"/>
                <a:gd name="connsiteY427" fmla="*/ 139417 h 375541"/>
                <a:gd name="connsiteX428" fmla="*/ 41215 w 382800"/>
                <a:gd name="connsiteY428" fmla="*/ 139436 h 375541"/>
                <a:gd name="connsiteX429" fmla="*/ 40062 w 382800"/>
                <a:gd name="connsiteY429" fmla="*/ 139798 h 375541"/>
                <a:gd name="connsiteX430" fmla="*/ 38357 w 382800"/>
                <a:gd name="connsiteY430" fmla="*/ 138674 h 375541"/>
                <a:gd name="connsiteX431" fmla="*/ 36557 w 382800"/>
                <a:gd name="connsiteY431" fmla="*/ 138398 h 375541"/>
                <a:gd name="connsiteX432" fmla="*/ 35271 w 382800"/>
                <a:gd name="connsiteY432" fmla="*/ 138769 h 375541"/>
                <a:gd name="connsiteX433" fmla="*/ 33566 w 382800"/>
                <a:gd name="connsiteY433" fmla="*/ 137103 h 375541"/>
                <a:gd name="connsiteX434" fmla="*/ 23051 w 382800"/>
                <a:gd name="connsiteY434" fmla="*/ 133750 h 375541"/>
                <a:gd name="connsiteX435" fmla="*/ 18517 w 382800"/>
                <a:gd name="connsiteY435" fmla="*/ 133340 h 375541"/>
                <a:gd name="connsiteX436" fmla="*/ 14354 w 382800"/>
                <a:gd name="connsiteY436" fmla="*/ 134855 h 375541"/>
                <a:gd name="connsiteX437" fmla="*/ 12059 w 382800"/>
                <a:gd name="connsiteY437" fmla="*/ 134331 h 375541"/>
                <a:gd name="connsiteX438" fmla="*/ 10373 w 382800"/>
                <a:gd name="connsiteY438" fmla="*/ 132159 h 375541"/>
                <a:gd name="connsiteX439" fmla="*/ 8963 w 382800"/>
                <a:gd name="connsiteY439" fmla="*/ 128521 h 375541"/>
                <a:gd name="connsiteX440" fmla="*/ 2257 w 382800"/>
                <a:gd name="connsiteY440" fmla="*/ 125711 h 375541"/>
                <a:gd name="connsiteX441" fmla="*/ 3581 w 382800"/>
                <a:gd name="connsiteY441" fmla="*/ 123863 h 375541"/>
                <a:gd name="connsiteX442" fmla="*/ 6706 w 382800"/>
                <a:gd name="connsiteY442" fmla="*/ 123425 h 375541"/>
                <a:gd name="connsiteX443" fmla="*/ 10296 w 382800"/>
                <a:gd name="connsiteY443" fmla="*/ 122148 h 375541"/>
                <a:gd name="connsiteX444" fmla="*/ 11592 w 382800"/>
                <a:gd name="connsiteY444" fmla="*/ 120500 h 375541"/>
                <a:gd name="connsiteX445" fmla="*/ 8782 w 382800"/>
                <a:gd name="connsiteY445" fmla="*/ 118586 h 375541"/>
                <a:gd name="connsiteX446" fmla="*/ 6706 w 382800"/>
                <a:gd name="connsiteY446" fmla="*/ 118110 h 375541"/>
                <a:gd name="connsiteX447" fmla="*/ 5848 w 382800"/>
                <a:gd name="connsiteY447" fmla="*/ 117424 h 375541"/>
                <a:gd name="connsiteX448" fmla="*/ 4972 w 382800"/>
                <a:gd name="connsiteY448" fmla="*/ 115700 h 375541"/>
                <a:gd name="connsiteX449" fmla="*/ 6210 w 382800"/>
                <a:gd name="connsiteY449" fmla="*/ 114910 h 375541"/>
                <a:gd name="connsiteX450" fmla="*/ 7087 w 382800"/>
                <a:gd name="connsiteY450" fmla="*/ 115328 h 375541"/>
                <a:gd name="connsiteX451" fmla="*/ 9620 w 382800"/>
                <a:gd name="connsiteY451" fmla="*/ 115576 h 375541"/>
                <a:gd name="connsiteX452" fmla="*/ 13945 w 382800"/>
                <a:gd name="connsiteY452" fmla="*/ 115157 h 375541"/>
                <a:gd name="connsiteX453" fmla="*/ 12335 w 382800"/>
                <a:gd name="connsiteY453" fmla="*/ 113414 h 375541"/>
                <a:gd name="connsiteX454" fmla="*/ 10659 w 382800"/>
                <a:gd name="connsiteY454" fmla="*/ 113024 h 375541"/>
                <a:gd name="connsiteX455" fmla="*/ 9887 w 382800"/>
                <a:gd name="connsiteY455" fmla="*/ 112585 h 375541"/>
                <a:gd name="connsiteX456" fmla="*/ 6363 w 382800"/>
                <a:gd name="connsiteY456" fmla="*/ 112395 h 375541"/>
                <a:gd name="connsiteX457" fmla="*/ 4763 w 382800"/>
                <a:gd name="connsiteY457" fmla="*/ 112995 h 375541"/>
                <a:gd name="connsiteX458" fmla="*/ 1162 w 382800"/>
                <a:gd name="connsiteY458" fmla="*/ 112766 h 375541"/>
                <a:gd name="connsiteX459" fmla="*/ 381 w 382800"/>
                <a:gd name="connsiteY459" fmla="*/ 110890 h 375541"/>
                <a:gd name="connsiteX460" fmla="*/ 0 w 382800"/>
                <a:gd name="connsiteY460" fmla="*/ 109271 h 375541"/>
                <a:gd name="connsiteX461" fmla="*/ 1114 w 382800"/>
                <a:gd name="connsiteY461" fmla="*/ 105670 h 375541"/>
                <a:gd name="connsiteX462" fmla="*/ 6182 w 382800"/>
                <a:gd name="connsiteY462" fmla="*/ 102441 h 375541"/>
                <a:gd name="connsiteX463" fmla="*/ 18812 w 382800"/>
                <a:gd name="connsiteY463" fmla="*/ 98907 h 375541"/>
                <a:gd name="connsiteX464" fmla="*/ 24241 w 382800"/>
                <a:gd name="connsiteY464" fmla="*/ 99422 h 375541"/>
                <a:gd name="connsiteX465" fmla="*/ 28004 w 382800"/>
                <a:gd name="connsiteY465" fmla="*/ 98784 h 375541"/>
                <a:gd name="connsiteX466" fmla="*/ 32518 w 382800"/>
                <a:gd name="connsiteY466" fmla="*/ 96555 h 375541"/>
                <a:gd name="connsiteX467" fmla="*/ 34509 w 382800"/>
                <a:gd name="connsiteY467" fmla="*/ 94640 h 375541"/>
                <a:gd name="connsiteX468" fmla="*/ 40929 w 382800"/>
                <a:gd name="connsiteY468" fmla="*/ 93516 h 375541"/>
                <a:gd name="connsiteX469" fmla="*/ 47025 w 382800"/>
                <a:gd name="connsiteY469" fmla="*/ 95545 h 375541"/>
                <a:gd name="connsiteX470" fmla="*/ 52645 w 382800"/>
                <a:gd name="connsiteY470" fmla="*/ 103203 h 375541"/>
                <a:gd name="connsiteX471" fmla="*/ 55331 w 382800"/>
                <a:gd name="connsiteY471" fmla="*/ 105794 h 375541"/>
                <a:gd name="connsiteX472" fmla="*/ 61913 w 382800"/>
                <a:gd name="connsiteY472" fmla="*/ 101298 h 375541"/>
                <a:gd name="connsiteX473" fmla="*/ 71714 w 382800"/>
                <a:gd name="connsiteY473" fmla="*/ 101432 h 375541"/>
                <a:gd name="connsiteX474" fmla="*/ 73733 w 382800"/>
                <a:gd name="connsiteY474" fmla="*/ 103965 h 375541"/>
                <a:gd name="connsiteX475" fmla="*/ 74552 w 382800"/>
                <a:gd name="connsiteY475" fmla="*/ 101832 h 375541"/>
                <a:gd name="connsiteX476" fmla="*/ 76352 w 382800"/>
                <a:gd name="connsiteY476" fmla="*/ 99326 h 375541"/>
                <a:gd name="connsiteX477" fmla="*/ 77791 w 382800"/>
                <a:gd name="connsiteY477" fmla="*/ 100469 h 375541"/>
                <a:gd name="connsiteX478" fmla="*/ 78524 w 382800"/>
                <a:gd name="connsiteY478" fmla="*/ 102022 h 375541"/>
                <a:gd name="connsiteX479" fmla="*/ 88868 w 382800"/>
                <a:gd name="connsiteY479" fmla="*/ 101584 h 375541"/>
                <a:gd name="connsiteX480" fmla="*/ 90497 w 382800"/>
                <a:gd name="connsiteY480" fmla="*/ 101136 h 375541"/>
                <a:gd name="connsiteX481" fmla="*/ 87716 w 382800"/>
                <a:gd name="connsiteY481" fmla="*/ 99317 h 375541"/>
                <a:gd name="connsiteX482" fmla="*/ 85449 w 382800"/>
                <a:gd name="connsiteY482" fmla="*/ 94955 h 375541"/>
                <a:gd name="connsiteX483" fmla="*/ 84973 w 382800"/>
                <a:gd name="connsiteY483" fmla="*/ 78829 h 375541"/>
                <a:gd name="connsiteX484" fmla="*/ 82105 w 382800"/>
                <a:gd name="connsiteY484" fmla="*/ 74304 h 375541"/>
                <a:gd name="connsiteX485" fmla="*/ 78819 w 382800"/>
                <a:gd name="connsiteY485" fmla="*/ 67056 h 375541"/>
                <a:gd name="connsiteX486" fmla="*/ 77305 w 382800"/>
                <a:gd name="connsiteY486" fmla="*/ 62741 h 375541"/>
                <a:gd name="connsiteX487" fmla="*/ 77162 w 382800"/>
                <a:gd name="connsiteY487" fmla="*/ 61246 h 375541"/>
                <a:gd name="connsiteX488" fmla="*/ 77667 w 382800"/>
                <a:gd name="connsiteY488" fmla="*/ 59083 h 375541"/>
                <a:gd name="connsiteX489" fmla="*/ 81705 w 382800"/>
                <a:gd name="connsiteY489" fmla="*/ 59198 h 375541"/>
                <a:gd name="connsiteX490" fmla="*/ 84830 w 382800"/>
                <a:gd name="connsiteY490" fmla="*/ 59750 h 375541"/>
                <a:gd name="connsiteX491" fmla="*/ 90783 w 382800"/>
                <a:gd name="connsiteY491" fmla="*/ 58121 h 375541"/>
                <a:gd name="connsiteX492" fmla="*/ 93640 w 382800"/>
                <a:gd name="connsiteY492" fmla="*/ 59236 h 375541"/>
                <a:gd name="connsiteX493" fmla="*/ 93469 w 382800"/>
                <a:gd name="connsiteY493" fmla="*/ 62608 h 375541"/>
                <a:gd name="connsiteX494" fmla="*/ 94345 w 382800"/>
                <a:gd name="connsiteY494" fmla="*/ 66856 h 375541"/>
                <a:gd name="connsiteX495" fmla="*/ 95336 w 382800"/>
                <a:gd name="connsiteY495" fmla="*/ 68913 h 375541"/>
                <a:gd name="connsiteX496" fmla="*/ 96850 w 382800"/>
                <a:gd name="connsiteY496" fmla="*/ 71247 h 375541"/>
                <a:gd name="connsiteX497" fmla="*/ 101641 w 382800"/>
                <a:gd name="connsiteY497" fmla="*/ 71037 h 375541"/>
                <a:gd name="connsiteX498" fmla="*/ 106814 w 382800"/>
                <a:gd name="connsiteY498" fmla="*/ 72409 h 375541"/>
                <a:gd name="connsiteX499" fmla="*/ 113357 w 382800"/>
                <a:gd name="connsiteY499" fmla="*/ 72619 h 375541"/>
                <a:gd name="connsiteX500" fmla="*/ 122911 w 382800"/>
                <a:gd name="connsiteY500" fmla="*/ 74981 h 375541"/>
                <a:gd name="connsiteX501" fmla="*/ 126978 w 382800"/>
                <a:gd name="connsiteY501" fmla="*/ 73609 h 375541"/>
                <a:gd name="connsiteX502" fmla="*/ 130921 w 382800"/>
                <a:gd name="connsiteY502" fmla="*/ 70685 h 375541"/>
                <a:gd name="connsiteX503" fmla="*/ 138427 w 382800"/>
                <a:gd name="connsiteY503" fmla="*/ 68761 h 375541"/>
                <a:gd name="connsiteX504" fmla="*/ 139027 w 382800"/>
                <a:gd name="connsiteY504" fmla="*/ 67751 h 375541"/>
                <a:gd name="connsiteX505" fmla="*/ 134703 w 382800"/>
                <a:gd name="connsiteY505" fmla="*/ 68151 h 375541"/>
                <a:gd name="connsiteX506" fmla="*/ 130740 w 382800"/>
                <a:gd name="connsiteY506" fmla="*/ 66294 h 375541"/>
                <a:gd name="connsiteX507" fmla="*/ 130207 w 382800"/>
                <a:gd name="connsiteY507" fmla="*/ 64284 h 375541"/>
                <a:gd name="connsiteX508" fmla="*/ 130664 w 382800"/>
                <a:gd name="connsiteY508" fmla="*/ 62474 h 375541"/>
                <a:gd name="connsiteX509" fmla="*/ 132274 w 382800"/>
                <a:gd name="connsiteY509" fmla="*/ 58302 h 375541"/>
                <a:gd name="connsiteX510" fmla="*/ 143761 w 382800"/>
                <a:gd name="connsiteY510" fmla="*/ 51701 h 375541"/>
                <a:gd name="connsiteX511" fmla="*/ 151990 w 382800"/>
                <a:gd name="connsiteY511" fmla="*/ 49749 h 375541"/>
                <a:gd name="connsiteX512" fmla="*/ 160582 w 382800"/>
                <a:gd name="connsiteY512" fmla="*/ 46101 h 375541"/>
                <a:gd name="connsiteX513" fmla="*/ 164907 w 382800"/>
                <a:gd name="connsiteY513" fmla="*/ 42358 h 375541"/>
                <a:gd name="connsiteX514" fmla="*/ 167764 w 382800"/>
                <a:gd name="connsiteY514" fmla="*/ 37509 h 375541"/>
                <a:gd name="connsiteX515" fmla="*/ 168688 w 382800"/>
                <a:gd name="connsiteY515" fmla="*/ 36443 h 375541"/>
                <a:gd name="connsiteX516" fmla="*/ 169878 w 382800"/>
                <a:gd name="connsiteY516" fmla="*/ 35547 h 375541"/>
                <a:gd name="connsiteX517" fmla="*/ 168773 w 382800"/>
                <a:gd name="connsiteY517" fmla="*/ 33804 h 375541"/>
                <a:gd name="connsiteX518" fmla="*/ 169516 w 382800"/>
                <a:gd name="connsiteY518" fmla="*/ 15135 h 375541"/>
                <a:gd name="connsiteX519" fmla="*/ 170317 w 382800"/>
                <a:gd name="connsiteY519" fmla="*/ 11754 h 375541"/>
                <a:gd name="connsiteX520" fmla="*/ 171993 w 382800"/>
                <a:gd name="connsiteY520" fmla="*/ 8982 h 375541"/>
                <a:gd name="connsiteX521" fmla="*/ 174546 w 382800"/>
                <a:gd name="connsiteY521" fmla="*/ 6839 h 375541"/>
                <a:gd name="connsiteX522" fmla="*/ 178413 w 382800"/>
                <a:gd name="connsiteY522" fmla="*/ 4515 h 375541"/>
                <a:gd name="connsiteX523" fmla="*/ 192672 w 382800"/>
                <a:gd name="connsiteY523" fmla="*/ 1305 h 375541"/>
                <a:gd name="connsiteX524" fmla="*/ 194786 w 382800"/>
                <a:gd name="connsiteY524" fmla="*/ 0 h 375541"/>
                <a:gd name="connsiteX525" fmla="*/ 195082 w 382800"/>
                <a:gd name="connsiteY525" fmla="*/ 2019 h 375541"/>
                <a:gd name="connsiteX526" fmla="*/ 196120 w 382800"/>
                <a:gd name="connsiteY526" fmla="*/ 4600 h 375541"/>
                <a:gd name="connsiteX527" fmla="*/ 196834 w 382800"/>
                <a:gd name="connsiteY527" fmla="*/ 6010 h 375541"/>
                <a:gd name="connsiteX528" fmla="*/ 196234 w 382800"/>
                <a:gd name="connsiteY528" fmla="*/ 7848 h 375541"/>
                <a:gd name="connsiteX529" fmla="*/ 196701 w 382800"/>
                <a:gd name="connsiteY529" fmla="*/ 9363 h 375541"/>
                <a:gd name="connsiteX530" fmla="*/ 198634 w 382800"/>
                <a:gd name="connsiteY530" fmla="*/ 12087 h 375541"/>
                <a:gd name="connsiteX531" fmla="*/ 201044 w 382800"/>
                <a:gd name="connsiteY531" fmla="*/ 14649 h 375541"/>
                <a:gd name="connsiteX532" fmla="*/ 203197 w 382800"/>
                <a:gd name="connsiteY532" fmla="*/ 16288 h 375541"/>
                <a:gd name="connsiteX533" fmla="*/ 203854 w 382800"/>
                <a:gd name="connsiteY533" fmla="*/ 16040 h 375541"/>
                <a:gd name="connsiteX534" fmla="*/ 95841 w 382800"/>
                <a:gd name="connsiteY534" fmla="*/ 209074 h 375541"/>
                <a:gd name="connsiteX535" fmla="*/ 94898 w 382800"/>
                <a:gd name="connsiteY535" fmla="*/ 212426 h 375541"/>
                <a:gd name="connsiteX536" fmla="*/ 93107 w 382800"/>
                <a:gd name="connsiteY536" fmla="*/ 209340 h 375541"/>
                <a:gd name="connsiteX537" fmla="*/ 90745 w 382800"/>
                <a:gd name="connsiteY537" fmla="*/ 206635 h 375541"/>
                <a:gd name="connsiteX538" fmla="*/ 90202 w 382800"/>
                <a:gd name="connsiteY538" fmla="*/ 204130 h 375541"/>
                <a:gd name="connsiteX539" fmla="*/ 90202 w 382800"/>
                <a:gd name="connsiteY539" fmla="*/ 203463 h 375541"/>
                <a:gd name="connsiteX540" fmla="*/ 92974 w 382800"/>
                <a:gd name="connsiteY540" fmla="*/ 205292 h 375541"/>
                <a:gd name="connsiteX541" fmla="*/ 95841 w 382800"/>
                <a:gd name="connsiteY541" fmla="*/ 209074 h 375541"/>
                <a:gd name="connsiteX542" fmla="*/ 380762 w 382800"/>
                <a:gd name="connsiteY542" fmla="*/ 324564 h 375541"/>
                <a:gd name="connsiteX543" fmla="*/ 380067 w 382800"/>
                <a:gd name="connsiteY543" fmla="*/ 329889 h 375541"/>
                <a:gd name="connsiteX544" fmla="*/ 380572 w 382800"/>
                <a:gd name="connsiteY544" fmla="*/ 331441 h 375541"/>
                <a:gd name="connsiteX545" fmla="*/ 381543 w 382800"/>
                <a:gd name="connsiteY545" fmla="*/ 332527 h 375541"/>
                <a:gd name="connsiteX546" fmla="*/ 381991 w 382800"/>
                <a:gd name="connsiteY546" fmla="*/ 333718 h 375541"/>
                <a:gd name="connsiteX547" fmla="*/ 382800 w 382800"/>
                <a:gd name="connsiteY547" fmla="*/ 347834 h 375541"/>
                <a:gd name="connsiteX548" fmla="*/ 382648 w 382800"/>
                <a:gd name="connsiteY548" fmla="*/ 348958 h 375541"/>
                <a:gd name="connsiteX549" fmla="*/ 379381 w 382800"/>
                <a:gd name="connsiteY549" fmla="*/ 354606 h 375541"/>
                <a:gd name="connsiteX550" fmla="*/ 378648 w 382800"/>
                <a:gd name="connsiteY550" fmla="*/ 356254 h 375541"/>
                <a:gd name="connsiteX551" fmla="*/ 378485 w 382800"/>
                <a:gd name="connsiteY551" fmla="*/ 363226 h 375541"/>
                <a:gd name="connsiteX552" fmla="*/ 377933 w 382800"/>
                <a:gd name="connsiteY552" fmla="*/ 365093 h 375541"/>
                <a:gd name="connsiteX553" fmla="*/ 376771 w 382800"/>
                <a:gd name="connsiteY553" fmla="*/ 366931 h 375541"/>
                <a:gd name="connsiteX554" fmla="*/ 374704 w 382800"/>
                <a:gd name="connsiteY554" fmla="*/ 372875 h 375541"/>
                <a:gd name="connsiteX555" fmla="*/ 372913 w 382800"/>
                <a:gd name="connsiteY555" fmla="*/ 375542 h 375541"/>
                <a:gd name="connsiteX556" fmla="*/ 368017 w 382800"/>
                <a:gd name="connsiteY556" fmla="*/ 372285 h 375541"/>
                <a:gd name="connsiteX557" fmla="*/ 365132 w 382800"/>
                <a:gd name="connsiteY557" fmla="*/ 370875 h 375541"/>
                <a:gd name="connsiteX558" fmla="*/ 363722 w 382800"/>
                <a:gd name="connsiteY558" fmla="*/ 369360 h 375541"/>
                <a:gd name="connsiteX559" fmla="*/ 362798 w 382800"/>
                <a:gd name="connsiteY559" fmla="*/ 368313 h 375541"/>
                <a:gd name="connsiteX560" fmla="*/ 363398 w 382800"/>
                <a:gd name="connsiteY560" fmla="*/ 366913 h 375541"/>
                <a:gd name="connsiteX561" fmla="*/ 364712 w 382800"/>
                <a:gd name="connsiteY561" fmla="*/ 365455 h 375541"/>
                <a:gd name="connsiteX562" fmla="*/ 364922 w 382800"/>
                <a:gd name="connsiteY562" fmla="*/ 364302 h 375541"/>
                <a:gd name="connsiteX563" fmla="*/ 361826 w 382800"/>
                <a:gd name="connsiteY563" fmla="*/ 363007 h 375541"/>
                <a:gd name="connsiteX564" fmla="*/ 360407 w 382800"/>
                <a:gd name="connsiteY564" fmla="*/ 362140 h 375541"/>
                <a:gd name="connsiteX565" fmla="*/ 360426 w 382800"/>
                <a:gd name="connsiteY565" fmla="*/ 360616 h 375541"/>
                <a:gd name="connsiteX566" fmla="*/ 361493 w 382800"/>
                <a:gd name="connsiteY566" fmla="*/ 358245 h 375541"/>
                <a:gd name="connsiteX567" fmla="*/ 361007 w 382800"/>
                <a:gd name="connsiteY567" fmla="*/ 356283 h 375541"/>
                <a:gd name="connsiteX568" fmla="*/ 359216 w 382800"/>
                <a:gd name="connsiteY568" fmla="*/ 356378 h 375541"/>
                <a:gd name="connsiteX569" fmla="*/ 357826 w 382800"/>
                <a:gd name="connsiteY569" fmla="*/ 356082 h 375541"/>
                <a:gd name="connsiteX570" fmla="*/ 357645 w 382800"/>
                <a:gd name="connsiteY570" fmla="*/ 355063 h 375541"/>
                <a:gd name="connsiteX571" fmla="*/ 358664 w 382800"/>
                <a:gd name="connsiteY571" fmla="*/ 353758 h 375541"/>
                <a:gd name="connsiteX572" fmla="*/ 359978 w 382800"/>
                <a:gd name="connsiteY572" fmla="*/ 352054 h 375541"/>
                <a:gd name="connsiteX573" fmla="*/ 359940 w 382800"/>
                <a:gd name="connsiteY573" fmla="*/ 350167 h 375541"/>
                <a:gd name="connsiteX574" fmla="*/ 358350 w 382800"/>
                <a:gd name="connsiteY574" fmla="*/ 349358 h 375541"/>
                <a:gd name="connsiteX575" fmla="*/ 356911 w 382800"/>
                <a:gd name="connsiteY575" fmla="*/ 347824 h 375541"/>
                <a:gd name="connsiteX576" fmla="*/ 356330 w 382800"/>
                <a:gd name="connsiteY576" fmla="*/ 345738 h 375541"/>
                <a:gd name="connsiteX577" fmla="*/ 357445 w 382800"/>
                <a:gd name="connsiteY577" fmla="*/ 344310 h 375541"/>
                <a:gd name="connsiteX578" fmla="*/ 359255 w 382800"/>
                <a:gd name="connsiteY578" fmla="*/ 343395 h 375541"/>
                <a:gd name="connsiteX579" fmla="*/ 357921 w 382800"/>
                <a:gd name="connsiteY579" fmla="*/ 341252 h 375541"/>
                <a:gd name="connsiteX580" fmla="*/ 357026 w 382800"/>
                <a:gd name="connsiteY580" fmla="*/ 341204 h 375541"/>
                <a:gd name="connsiteX581" fmla="*/ 356311 w 382800"/>
                <a:gd name="connsiteY581" fmla="*/ 340738 h 375541"/>
                <a:gd name="connsiteX582" fmla="*/ 356902 w 382800"/>
                <a:gd name="connsiteY582" fmla="*/ 339747 h 375541"/>
                <a:gd name="connsiteX583" fmla="*/ 358302 w 382800"/>
                <a:gd name="connsiteY583" fmla="*/ 338261 h 375541"/>
                <a:gd name="connsiteX584" fmla="*/ 360255 w 382800"/>
                <a:gd name="connsiteY584" fmla="*/ 333813 h 375541"/>
                <a:gd name="connsiteX585" fmla="*/ 362969 w 382800"/>
                <a:gd name="connsiteY585" fmla="*/ 331708 h 375541"/>
                <a:gd name="connsiteX586" fmla="*/ 367789 w 382800"/>
                <a:gd name="connsiteY586" fmla="*/ 330355 h 375541"/>
                <a:gd name="connsiteX587" fmla="*/ 369094 w 382800"/>
                <a:gd name="connsiteY587" fmla="*/ 329755 h 375541"/>
                <a:gd name="connsiteX588" fmla="*/ 370284 w 382800"/>
                <a:gd name="connsiteY588" fmla="*/ 328184 h 375541"/>
                <a:gd name="connsiteX589" fmla="*/ 371608 w 382800"/>
                <a:gd name="connsiteY589" fmla="*/ 327174 h 375541"/>
                <a:gd name="connsiteX590" fmla="*/ 373218 w 382800"/>
                <a:gd name="connsiteY590" fmla="*/ 327307 h 375541"/>
                <a:gd name="connsiteX591" fmla="*/ 374704 w 382800"/>
                <a:gd name="connsiteY591" fmla="*/ 327908 h 375541"/>
                <a:gd name="connsiteX592" fmla="*/ 375618 w 382800"/>
                <a:gd name="connsiteY592" fmla="*/ 328555 h 375541"/>
                <a:gd name="connsiteX593" fmla="*/ 376304 w 382800"/>
                <a:gd name="connsiteY593" fmla="*/ 327879 h 375541"/>
                <a:gd name="connsiteX594" fmla="*/ 376971 w 382800"/>
                <a:gd name="connsiteY594" fmla="*/ 325926 h 375541"/>
                <a:gd name="connsiteX595" fmla="*/ 376561 w 382800"/>
                <a:gd name="connsiteY595" fmla="*/ 324212 h 375541"/>
                <a:gd name="connsiteX596" fmla="*/ 376771 w 382800"/>
                <a:gd name="connsiteY596" fmla="*/ 319497 h 375541"/>
                <a:gd name="connsiteX597" fmla="*/ 377628 w 382800"/>
                <a:gd name="connsiteY597" fmla="*/ 316821 h 375541"/>
                <a:gd name="connsiteX598" fmla="*/ 379019 w 382800"/>
                <a:gd name="connsiteY598" fmla="*/ 316668 h 375541"/>
                <a:gd name="connsiteX599" fmla="*/ 380295 w 382800"/>
                <a:gd name="connsiteY599" fmla="*/ 318144 h 375541"/>
                <a:gd name="connsiteX600" fmla="*/ 380238 w 382800"/>
                <a:gd name="connsiteY600" fmla="*/ 319449 h 375541"/>
                <a:gd name="connsiteX601" fmla="*/ 380714 w 382800"/>
                <a:gd name="connsiteY601" fmla="*/ 322536 h 375541"/>
                <a:gd name="connsiteX602" fmla="*/ 380762 w 382800"/>
                <a:gd name="connsiteY602" fmla="*/ 324564 h 375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</a:cxnLst>
              <a:rect l="l" t="t" r="r" b="b"/>
              <a:pathLst>
                <a:path w="382800" h="375541">
                  <a:moveTo>
                    <a:pt x="203854" y="16040"/>
                  </a:moveTo>
                  <a:lnTo>
                    <a:pt x="205445" y="15573"/>
                  </a:lnTo>
                  <a:lnTo>
                    <a:pt x="208141" y="13897"/>
                  </a:lnTo>
                  <a:lnTo>
                    <a:pt x="210388" y="13363"/>
                  </a:lnTo>
                  <a:lnTo>
                    <a:pt x="211674" y="14649"/>
                  </a:lnTo>
                  <a:lnTo>
                    <a:pt x="212398" y="15383"/>
                  </a:lnTo>
                  <a:lnTo>
                    <a:pt x="213808" y="18278"/>
                  </a:lnTo>
                  <a:lnTo>
                    <a:pt x="214208" y="21288"/>
                  </a:lnTo>
                  <a:lnTo>
                    <a:pt x="214836" y="23793"/>
                  </a:lnTo>
                  <a:lnTo>
                    <a:pt x="215980" y="24803"/>
                  </a:lnTo>
                  <a:lnTo>
                    <a:pt x="220275" y="25136"/>
                  </a:lnTo>
                  <a:lnTo>
                    <a:pt x="223447" y="26060"/>
                  </a:lnTo>
                  <a:lnTo>
                    <a:pt x="224285" y="26898"/>
                  </a:lnTo>
                  <a:lnTo>
                    <a:pt x="225371" y="32442"/>
                  </a:lnTo>
                  <a:lnTo>
                    <a:pt x="225962" y="33223"/>
                  </a:lnTo>
                  <a:lnTo>
                    <a:pt x="226752" y="32575"/>
                  </a:lnTo>
                  <a:lnTo>
                    <a:pt x="227533" y="31661"/>
                  </a:lnTo>
                  <a:lnTo>
                    <a:pt x="228619" y="31518"/>
                  </a:lnTo>
                  <a:lnTo>
                    <a:pt x="230477" y="31870"/>
                  </a:lnTo>
                  <a:lnTo>
                    <a:pt x="232924" y="31985"/>
                  </a:lnTo>
                  <a:lnTo>
                    <a:pt x="235448" y="32595"/>
                  </a:lnTo>
                  <a:lnTo>
                    <a:pt x="238935" y="35719"/>
                  </a:lnTo>
                  <a:lnTo>
                    <a:pt x="238801" y="36747"/>
                  </a:lnTo>
                  <a:lnTo>
                    <a:pt x="238125" y="38548"/>
                  </a:lnTo>
                  <a:lnTo>
                    <a:pt x="237887" y="39986"/>
                  </a:lnTo>
                  <a:lnTo>
                    <a:pt x="238487" y="40567"/>
                  </a:lnTo>
                  <a:lnTo>
                    <a:pt x="239411" y="42053"/>
                  </a:lnTo>
                  <a:lnTo>
                    <a:pt x="239192" y="43767"/>
                  </a:lnTo>
                  <a:lnTo>
                    <a:pt x="238297" y="44967"/>
                  </a:lnTo>
                  <a:lnTo>
                    <a:pt x="237935" y="45958"/>
                  </a:lnTo>
                  <a:lnTo>
                    <a:pt x="237935" y="46596"/>
                  </a:lnTo>
                  <a:lnTo>
                    <a:pt x="238268" y="47130"/>
                  </a:lnTo>
                  <a:lnTo>
                    <a:pt x="238982" y="47596"/>
                  </a:lnTo>
                  <a:lnTo>
                    <a:pt x="244135" y="48225"/>
                  </a:lnTo>
                  <a:lnTo>
                    <a:pt x="248850" y="47596"/>
                  </a:lnTo>
                  <a:lnTo>
                    <a:pt x="251822" y="45844"/>
                  </a:lnTo>
                  <a:lnTo>
                    <a:pt x="252327" y="43996"/>
                  </a:lnTo>
                  <a:lnTo>
                    <a:pt x="253165" y="41919"/>
                  </a:lnTo>
                  <a:lnTo>
                    <a:pt x="254937" y="40167"/>
                  </a:lnTo>
                  <a:lnTo>
                    <a:pt x="256156" y="39576"/>
                  </a:lnTo>
                  <a:lnTo>
                    <a:pt x="257280" y="40291"/>
                  </a:lnTo>
                  <a:lnTo>
                    <a:pt x="255394" y="47615"/>
                  </a:lnTo>
                  <a:lnTo>
                    <a:pt x="256775" y="49482"/>
                  </a:lnTo>
                  <a:lnTo>
                    <a:pt x="256975" y="52264"/>
                  </a:lnTo>
                  <a:lnTo>
                    <a:pt x="257470" y="54702"/>
                  </a:lnTo>
                  <a:lnTo>
                    <a:pt x="259156" y="54654"/>
                  </a:lnTo>
                  <a:lnTo>
                    <a:pt x="261195" y="55102"/>
                  </a:lnTo>
                  <a:lnTo>
                    <a:pt x="262642" y="55997"/>
                  </a:lnTo>
                  <a:lnTo>
                    <a:pt x="264328" y="57445"/>
                  </a:lnTo>
                  <a:lnTo>
                    <a:pt x="266757" y="58779"/>
                  </a:lnTo>
                  <a:lnTo>
                    <a:pt x="268462" y="59245"/>
                  </a:lnTo>
                  <a:lnTo>
                    <a:pt x="269081" y="60350"/>
                  </a:lnTo>
                  <a:lnTo>
                    <a:pt x="270463" y="61636"/>
                  </a:lnTo>
                  <a:lnTo>
                    <a:pt x="272634" y="64322"/>
                  </a:lnTo>
                  <a:lnTo>
                    <a:pt x="274577" y="66113"/>
                  </a:lnTo>
                  <a:lnTo>
                    <a:pt x="275520" y="66113"/>
                  </a:lnTo>
                  <a:lnTo>
                    <a:pt x="277330" y="65408"/>
                  </a:lnTo>
                  <a:lnTo>
                    <a:pt x="280016" y="64960"/>
                  </a:lnTo>
                  <a:lnTo>
                    <a:pt x="282130" y="64998"/>
                  </a:lnTo>
                  <a:lnTo>
                    <a:pt x="283035" y="66360"/>
                  </a:lnTo>
                  <a:lnTo>
                    <a:pt x="285122" y="66989"/>
                  </a:lnTo>
                  <a:lnTo>
                    <a:pt x="285855" y="67494"/>
                  </a:lnTo>
                  <a:lnTo>
                    <a:pt x="286674" y="68437"/>
                  </a:lnTo>
                  <a:lnTo>
                    <a:pt x="288065" y="68818"/>
                  </a:lnTo>
                  <a:lnTo>
                    <a:pt x="289741" y="68437"/>
                  </a:lnTo>
                  <a:lnTo>
                    <a:pt x="290960" y="67189"/>
                  </a:lnTo>
                  <a:lnTo>
                    <a:pt x="292589" y="66618"/>
                  </a:lnTo>
                  <a:lnTo>
                    <a:pt x="294227" y="66808"/>
                  </a:lnTo>
                  <a:lnTo>
                    <a:pt x="295170" y="67494"/>
                  </a:lnTo>
                  <a:lnTo>
                    <a:pt x="296961" y="68513"/>
                  </a:lnTo>
                  <a:lnTo>
                    <a:pt x="297971" y="68294"/>
                  </a:lnTo>
                  <a:lnTo>
                    <a:pt x="299999" y="68923"/>
                  </a:lnTo>
                  <a:lnTo>
                    <a:pt x="302038" y="70904"/>
                  </a:lnTo>
                  <a:lnTo>
                    <a:pt x="302895" y="72885"/>
                  </a:lnTo>
                  <a:lnTo>
                    <a:pt x="303114" y="73971"/>
                  </a:lnTo>
                  <a:lnTo>
                    <a:pt x="303990" y="75152"/>
                  </a:lnTo>
                  <a:lnTo>
                    <a:pt x="307410" y="80467"/>
                  </a:lnTo>
                  <a:lnTo>
                    <a:pt x="308496" y="80724"/>
                  </a:lnTo>
                  <a:lnTo>
                    <a:pt x="309686" y="79924"/>
                  </a:lnTo>
                  <a:lnTo>
                    <a:pt x="310458" y="78781"/>
                  </a:lnTo>
                  <a:lnTo>
                    <a:pt x="311572" y="78552"/>
                  </a:lnTo>
                  <a:lnTo>
                    <a:pt x="313363" y="79086"/>
                  </a:lnTo>
                  <a:lnTo>
                    <a:pt x="314516" y="79686"/>
                  </a:lnTo>
                  <a:lnTo>
                    <a:pt x="315068" y="81982"/>
                  </a:lnTo>
                  <a:lnTo>
                    <a:pt x="315459" y="82420"/>
                  </a:lnTo>
                  <a:lnTo>
                    <a:pt x="316230" y="81924"/>
                  </a:lnTo>
                  <a:lnTo>
                    <a:pt x="317611" y="81820"/>
                  </a:lnTo>
                  <a:lnTo>
                    <a:pt x="319821" y="82382"/>
                  </a:lnTo>
                  <a:lnTo>
                    <a:pt x="322850" y="81734"/>
                  </a:lnTo>
                  <a:lnTo>
                    <a:pt x="325279" y="80772"/>
                  </a:lnTo>
                  <a:lnTo>
                    <a:pt x="326517" y="80810"/>
                  </a:lnTo>
                  <a:lnTo>
                    <a:pt x="328517" y="83486"/>
                  </a:lnTo>
                  <a:lnTo>
                    <a:pt x="330803" y="84487"/>
                  </a:lnTo>
                  <a:lnTo>
                    <a:pt x="335832" y="85296"/>
                  </a:lnTo>
                  <a:lnTo>
                    <a:pt x="341233" y="86553"/>
                  </a:lnTo>
                  <a:lnTo>
                    <a:pt x="343357" y="87573"/>
                  </a:lnTo>
                  <a:lnTo>
                    <a:pt x="344805" y="88077"/>
                  </a:lnTo>
                  <a:lnTo>
                    <a:pt x="344957" y="91611"/>
                  </a:lnTo>
                  <a:lnTo>
                    <a:pt x="344519" y="92145"/>
                  </a:lnTo>
                  <a:lnTo>
                    <a:pt x="339138" y="99212"/>
                  </a:lnTo>
                  <a:lnTo>
                    <a:pt x="336871" y="101737"/>
                  </a:lnTo>
                  <a:lnTo>
                    <a:pt x="335718" y="105327"/>
                  </a:lnTo>
                  <a:lnTo>
                    <a:pt x="334928" y="110833"/>
                  </a:lnTo>
                  <a:lnTo>
                    <a:pt x="333337" y="116043"/>
                  </a:lnTo>
                  <a:lnTo>
                    <a:pt x="330956" y="120977"/>
                  </a:lnTo>
                  <a:lnTo>
                    <a:pt x="330089" y="124673"/>
                  </a:lnTo>
                  <a:lnTo>
                    <a:pt x="330737" y="127130"/>
                  </a:lnTo>
                  <a:lnTo>
                    <a:pt x="330327" y="130988"/>
                  </a:lnTo>
                  <a:lnTo>
                    <a:pt x="328870" y="136236"/>
                  </a:lnTo>
                  <a:lnTo>
                    <a:pt x="328622" y="140189"/>
                  </a:lnTo>
                  <a:lnTo>
                    <a:pt x="329594" y="142856"/>
                  </a:lnTo>
                  <a:lnTo>
                    <a:pt x="330937" y="143399"/>
                  </a:lnTo>
                  <a:lnTo>
                    <a:pt x="327708" y="145189"/>
                  </a:lnTo>
                  <a:lnTo>
                    <a:pt x="326974" y="146761"/>
                  </a:lnTo>
                  <a:lnTo>
                    <a:pt x="325707" y="148828"/>
                  </a:lnTo>
                  <a:lnTo>
                    <a:pt x="323650" y="149695"/>
                  </a:lnTo>
                  <a:lnTo>
                    <a:pt x="321583" y="149980"/>
                  </a:lnTo>
                  <a:lnTo>
                    <a:pt x="319907" y="149714"/>
                  </a:lnTo>
                  <a:lnTo>
                    <a:pt x="318954" y="148885"/>
                  </a:lnTo>
                  <a:lnTo>
                    <a:pt x="319002" y="148114"/>
                  </a:lnTo>
                  <a:lnTo>
                    <a:pt x="318116" y="147456"/>
                  </a:lnTo>
                  <a:lnTo>
                    <a:pt x="315916" y="147475"/>
                  </a:lnTo>
                  <a:lnTo>
                    <a:pt x="313639" y="148895"/>
                  </a:lnTo>
                  <a:lnTo>
                    <a:pt x="311820" y="151219"/>
                  </a:lnTo>
                  <a:lnTo>
                    <a:pt x="312382" y="152514"/>
                  </a:lnTo>
                  <a:lnTo>
                    <a:pt x="314058" y="152857"/>
                  </a:lnTo>
                  <a:lnTo>
                    <a:pt x="314497" y="153371"/>
                  </a:lnTo>
                  <a:lnTo>
                    <a:pt x="314497" y="154038"/>
                  </a:lnTo>
                  <a:lnTo>
                    <a:pt x="313906" y="154838"/>
                  </a:lnTo>
                  <a:lnTo>
                    <a:pt x="313201" y="156210"/>
                  </a:lnTo>
                  <a:lnTo>
                    <a:pt x="309686" y="160286"/>
                  </a:lnTo>
                  <a:lnTo>
                    <a:pt x="306143" y="164392"/>
                  </a:lnTo>
                  <a:lnTo>
                    <a:pt x="305571" y="165630"/>
                  </a:lnTo>
                  <a:lnTo>
                    <a:pt x="304448" y="166497"/>
                  </a:lnTo>
                  <a:lnTo>
                    <a:pt x="299942" y="168688"/>
                  </a:lnTo>
                  <a:lnTo>
                    <a:pt x="299476" y="169564"/>
                  </a:lnTo>
                  <a:lnTo>
                    <a:pt x="299218" y="173212"/>
                  </a:lnTo>
                  <a:lnTo>
                    <a:pt x="298713" y="176203"/>
                  </a:lnTo>
                  <a:lnTo>
                    <a:pt x="295370" y="179013"/>
                  </a:lnTo>
                  <a:lnTo>
                    <a:pt x="292046" y="181803"/>
                  </a:lnTo>
                  <a:lnTo>
                    <a:pt x="291217" y="183509"/>
                  </a:lnTo>
                  <a:lnTo>
                    <a:pt x="290617" y="185480"/>
                  </a:lnTo>
                  <a:lnTo>
                    <a:pt x="289579" y="187709"/>
                  </a:lnTo>
                  <a:lnTo>
                    <a:pt x="289370" y="188890"/>
                  </a:lnTo>
                  <a:lnTo>
                    <a:pt x="291056" y="190805"/>
                  </a:lnTo>
                  <a:lnTo>
                    <a:pt x="290856" y="192386"/>
                  </a:lnTo>
                  <a:lnTo>
                    <a:pt x="290322" y="194634"/>
                  </a:lnTo>
                  <a:lnTo>
                    <a:pt x="288732" y="196224"/>
                  </a:lnTo>
                  <a:lnTo>
                    <a:pt x="286960" y="197129"/>
                  </a:lnTo>
                  <a:lnTo>
                    <a:pt x="286998" y="199568"/>
                  </a:lnTo>
                  <a:lnTo>
                    <a:pt x="287941" y="199910"/>
                  </a:lnTo>
                  <a:lnTo>
                    <a:pt x="290074" y="199730"/>
                  </a:lnTo>
                  <a:lnTo>
                    <a:pt x="293094" y="197958"/>
                  </a:lnTo>
                  <a:lnTo>
                    <a:pt x="295065" y="195672"/>
                  </a:lnTo>
                  <a:lnTo>
                    <a:pt x="293904" y="193510"/>
                  </a:lnTo>
                  <a:lnTo>
                    <a:pt x="293761" y="193091"/>
                  </a:lnTo>
                  <a:lnTo>
                    <a:pt x="294046" y="192576"/>
                  </a:lnTo>
                  <a:lnTo>
                    <a:pt x="296380" y="190214"/>
                  </a:lnTo>
                  <a:lnTo>
                    <a:pt x="299238" y="188795"/>
                  </a:lnTo>
                  <a:lnTo>
                    <a:pt x="303228" y="188528"/>
                  </a:lnTo>
                  <a:lnTo>
                    <a:pt x="308038" y="189366"/>
                  </a:lnTo>
                  <a:lnTo>
                    <a:pt x="308515" y="189719"/>
                  </a:lnTo>
                  <a:lnTo>
                    <a:pt x="308286" y="191167"/>
                  </a:lnTo>
                  <a:lnTo>
                    <a:pt x="308734" y="193300"/>
                  </a:lnTo>
                  <a:lnTo>
                    <a:pt x="309601" y="194796"/>
                  </a:lnTo>
                  <a:lnTo>
                    <a:pt x="308410" y="199034"/>
                  </a:lnTo>
                  <a:lnTo>
                    <a:pt x="309315" y="200358"/>
                  </a:lnTo>
                  <a:lnTo>
                    <a:pt x="310715" y="201949"/>
                  </a:lnTo>
                  <a:lnTo>
                    <a:pt x="311763" y="203397"/>
                  </a:lnTo>
                  <a:lnTo>
                    <a:pt x="313268" y="204721"/>
                  </a:lnTo>
                  <a:lnTo>
                    <a:pt x="314611" y="206959"/>
                  </a:lnTo>
                  <a:lnTo>
                    <a:pt x="315068" y="208226"/>
                  </a:lnTo>
                  <a:lnTo>
                    <a:pt x="312916" y="210417"/>
                  </a:lnTo>
                  <a:lnTo>
                    <a:pt x="309277" y="212474"/>
                  </a:lnTo>
                  <a:lnTo>
                    <a:pt x="308867" y="213798"/>
                  </a:lnTo>
                  <a:lnTo>
                    <a:pt x="308915" y="215294"/>
                  </a:lnTo>
                  <a:lnTo>
                    <a:pt x="309324" y="216475"/>
                  </a:lnTo>
                  <a:lnTo>
                    <a:pt x="311334" y="217989"/>
                  </a:lnTo>
                  <a:lnTo>
                    <a:pt x="313496" y="221409"/>
                  </a:lnTo>
                  <a:lnTo>
                    <a:pt x="314868" y="224456"/>
                  </a:lnTo>
                  <a:lnTo>
                    <a:pt x="317868" y="227371"/>
                  </a:lnTo>
                  <a:lnTo>
                    <a:pt x="318602" y="228238"/>
                  </a:lnTo>
                  <a:lnTo>
                    <a:pt x="318411" y="228962"/>
                  </a:lnTo>
                  <a:lnTo>
                    <a:pt x="317621" y="230200"/>
                  </a:lnTo>
                  <a:lnTo>
                    <a:pt x="316592" y="234334"/>
                  </a:lnTo>
                  <a:lnTo>
                    <a:pt x="315363" y="234982"/>
                  </a:lnTo>
                  <a:lnTo>
                    <a:pt x="313992" y="235248"/>
                  </a:lnTo>
                  <a:lnTo>
                    <a:pt x="310277" y="238268"/>
                  </a:lnTo>
                  <a:lnTo>
                    <a:pt x="308620" y="237896"/>
                  </a:lnTo>
                  <a:lnTo>
                    <a:pt x="306267" y="237934"/>
                  </a:lnTo>
                  <a:lnTo>
                    <a:pt x="304543" y="238925"/>
                  </a:lnTo>
                  <a:lnTo>
                    <a:pt x="304733" y="240801"/>
                  </a:lnTo>
                  <a:lnTo>
                    <a:pt x="306248" y="242516"/>
                  </a:lnTo>
                  <a:lnTo>
                    <a:pt x="307134" y="244383"/>
                  </a:lnTo>
                  <a:lnTo>
                    <a:pt x="307496" y="246326"/>
                  </a:lnTo>
                  <a:lnTo>
                    <a:pt x="309172" y="247764"/>
                  </a:lnTo>
                  <a:lnTo>
                    <a:pt x="311534" y="248621"/>
                  </a:lnTo>
                  <a:lnTo>
                    <a:pt x="312887" y="248678"/>
                  </a:lnTo>
                  <a:lnTo>
                    <a:pt x="313763" y="249193"/>
                  </a:lnTo>
                  <a:lnTo>
                    <a:pt x="314297" y="249860"/>
                  </a:lnTo>
                  <a:lnTo>
                    <a:pt x="315316" y="254013"/>
                  </a:lnTo>
                  <a:lnTo>
                    <a:pt x="314706" y="255051"/>
                  </a:lnTo>
                  <a:lnTo>
                    <a:pt x="313430" y="255489"/>
                  </a:lnTo>
                  <a:lnTo>
                    <a:pt x="312668" y="257194"/>
                  </a:lnTo>
                  <a:lnTo>
                    <a:pt x="311153" y="259699"/>
                  </a:lnTo>
                  <a:lnTo>
                    <a:pt x="310296" y="261709"/>
                  </a:lnTo>
                  <a:lnTo>
                    <a:pt x="311248" y="263480"/>
                  </a:lnTo>
                  <a:lnTo>
                    <a:pt x="311648" y="264795"/>
                  </a:lnTo>
                  <a:lnTo>
                    <a:pt x="311144" y="266147"/>
                  </a:lnTo>
                  <a:lnTo>
                    <a:pt x="311820" y="268243"/>
                  </a:lnTo>
                  <a:lnTo>
                    <a:pt x="313611" y="270319"/>
                  </a:lnTo>
                  <a:lnTo>
                    <a:pt x="318478" y="273234"/>
                  </a:lnTo>
                  <a:lnTo>
                    <a:pt x="323002" y="275606"/>
                  </a:lnTo>
                  <a:lnTo>
                    <a:pt x="324403" y="275996"/>
                  </a:lnTo>
                  <a:lnTo>
                    <a:pt x="330518" y="274472"/>
                  </a:lnTo>
                  <a:lnTo>
                    <a:pt x="331527" y="274606"/>
                  </a:lnTo>
                  <a:lnTo>
                    <a:pt x="332270" y="276415"/>
                  </a:lnTo>
                  <a:lnTo>
                    <a:pt x="332594" y="277635"/>
                  </a:lnTo>
                  <a:lnTo>
                    <a:pt x="331908" y="279463"/>
                  </a:lnTo>
                  <a:lnTo>
                    <a:pt x="330222" y="282045"/>
                  </a:lnTo>
                  <a:lnTo>
                    <a:pt x="328432" y="284054"/>
                  </a:lnTo>
                  <a:lnTo>
                    <a:pt x="327346" y="285759"/>
                  </a:lnTo>
                  <a:lnTo>
                    <a:pt x="327574" y="287312"/>
                  </a:lnTo>
                  <a:lnTo>
                    <a:pt x="327641" y="289369"/>
                  </a:lnTo>
                  <a:lnTo>
                    <a:pt x="326184" y="289979"/>
                  </a:lnTo>
                  <a:lnTo>
                    <a:pt x="326136" y="289579"/>
                  </a:lnTo>
                  <a:lnTo>
                    <a:pt x="325536" y="289227"/>
                  </a:lnTo>
                  <a:lnTo>
                    <a:pt x="325022" y="289427"/>
                  </a:lnTo>
                  <a:lnTo>
                    <a:pt x="324621" y="289874"/>
                  </a:lnTo>
                  <a:lnTo>
                    <a:pt x="324565" y="290665"/>
                  </a:lnTo>
                  <a:lnTo>
                    <a:pt x="321459" y="291979"/>
                  </a:lnTo>
                  <a:lnTo>
                    <a:pt x="319316" y="293341"/>
                  </a:lnTo>
                  <a:lnTo>
                    <a:pt x="310848" y="301457"/>
                  </a:lnTo>
                  <a:lnTo>
                    <a:pt x="306886" y="303828"/>
                  </a:lnTo>
                  <a:lnTo>
                    <a:pt x="306105" y="305257"/>
                  </a:lnTo>
                  <a:lnTo>
                    <a:pt x="305295" y="307924"/>
                  </a:lnTo>
                  <a:lnTo>
                    <a:pt x="302971" y="310210"/>
                  </a:lnTo>
                  <a:lnTo>
                    <a:pt x="300933" y="311296"/>
                  </a:lnTo>
                  <a:lnTo>
                    <a:pt x="295894" y="312410"/>
                  </a:lnTo>
                  <a:lnTo>
                    <a:pt x="290827" y="314830"/>
                  </a:lnTo>
                  <a:lnTo>
                    <a:pt x="288541" y="313782"/>
                  </a:lnTo>
                  <a:lnTo>
                    <a:pt x="282635" y="313896"/>
                  </a:lnTo>
                  <a:lnTo>
                    <a:pt x="278949" y="310982"/>
                  </a:lnTo>
                  <a:lnTo>
                    <a:pt x="271862" y="309134"/>
                  </a:lnTo>
                  <a:lnTo>
                    <a:pt x="269558" y="304876"/>
                  </a:lnTo>
                  <a:lnTo>
                    <a:pt x="266329" y="304600"/>
                  </a:lnTo>
                  <a:lnTo>
                    <a:pt x="264214" y="304733"/>
                  </a:lnTo>
                  <a:lnTo>
                    <a:pt x="262947" y="304086"/>
                  </a:lnTo>
                  <a:lnTo>
                    <a:pt x="262624" y="302628"/>
                  </a:lnTo>
                  <a:lnTo>
                    <a:pt x="262595" y="301228"/>
                  </a:lnTo>
                  <a:lnTo>
                    <a:pt x="260356" y="301876"/>
                  </a:lnTo>
                  <a:lnTo>
                    <a:pt x="258642" y="301876"/>
                  </a:lnTo>
                  <a:lnTo>
                    <a:pt x="257623" y="302438"/>
                  </a:lnTo>
                  <a:lnTo>
                    <a:pt x="256823" y="303085"/>
                  </a:lnTo>
                  <a:lnTo>
                    <a:pt x="255870" y="302676"/>
                  </a:lnTo>
                  <a:lnTo>
                    <a:pt x="255318" y="302819"/>
                  </a:lnTo>
                  <a:lnTo>
                    <a:pt x="255365" y="303638"/>
                  </a:lnTo>
                  <a:lnTo>
                    <a:pt x="253308" y="303847"/>
                  </a:lnTo>
                  <a:lnTo>
                    <a:pt x="251070" y="303343"/>
                  </a:lnTo>
                  <a:lnTo>
                    <a:pt x="245212" y="301142"/>
                  </a:lnTo>
                  <a:lnTo>
                    <a:pt x="244316" y="300799"/>
                  </a:lnTo>
                  <a:lnTo>
                    <a:pt x="240249" y="299952"/>
                  </a:lnTo>
                  <a:lnTo>
                    <a:pt x="238611" y="299066"/>
                  </a:lnTo>
                  <a:lnTo>
                    <a:pt x="237277" y="296885"/>
                  </a:lnTo>
                  <a:lnTo>
                    <a:pt x="236268" y="296199"/>
                  </a:lnTo>
                  <a:lnTo>
                    <a:pt x="235668" y="295789"/>
                  </a:lnTo>
                  <a:lnTo>
                    <a:pt x="231877" y="296894"/>
                  </a:lnTo>
                  <a:lnTo>
                    <a:pt x="230562" y="298609"/>
                  </a:lnTo>
                  <a:lnTo>
                    <a:pt x="228514" y="300618"/>
                  </a:lnTo>
                  <a:lnTo>
                    <a:pt x="214456" y="310448"/>
                  </a:lnTo>
                  <a:lnTo>
                    <a:pt x="211884" y="314553"/>
                  </a:lnTo>
                  <a:lnTo>
                    <a:pt x="208912" y="320583"/>
                  </a:lnTo>
                  <a:lnTo>
                    <a:pt x="208683" y="323393"/>
                  </a:lnTo>
                  <a:lnTo>
                    <a:pt x="209960" y="332346"/>
                  </a:lnTo>
                  <a:lnTo>
                    <a:pt x="212817" y="337032"/>
                  </a:lnTo>
                  <a:lnTo>
                    <a:pt x="213179" y="338118"/>
                  </a:lnTo>
                  <a:lnTo>
                    <a:pt x="211589" y="338128"/>
                  </a:lnTo>
                  <a:lnTo>
                    <a:pt x="208931" y="337537"/>
                  </a:lnTo>
                  <a:lnTo>
                    <a:pt x="206731" y="336813"/>
                  </a:lnTo>
                  <a:lnTo>
                    <a:pt x="204626" y="337213"/>
                  </a:lnTo>
                  <a:lnTo>
                    <a:pt x="202606" y="338185"/>
                  </a:lnTo>
                  <a:lnTo>
                    <a:pt x="200835" y="338776"/>
                  </a:lnTo>
                  <a:lnTo>
                    <a:pt x="199558" y="338937"/>
                  </a:lnTo>
                  <a:lnTo>
                    <a:pt x="198711" y="339499"/>
                  </a:lnTo>
                  <a:lnTo>
                    <a:pt x="198301" y="340614"/>
                  </a:lnTo>
                  <a:lnTo>
                    <a:pt x="198225" y="341395"/>
                  </a:lnTo>
                  <a:lnTo>
                    <a:pt x="195987" y="341204"/>
                  </a:lnTo>
                  <a:lnTo>
                    <a:pt x="190815" y="339604"/>
                  </a:lnTo>
                  <a:lnTo>
                    <a:pt x="186166" y="338499"/>
                  </a:lnTo>
                  <a:lnTo>
                    <a:pt x="183432" y="339757"/>
                  </a:lnTo>
                  <a:lnTo>
                    <a:pt x="181680" y="340928"/>
                  </a:lnTo>
                  <a:lnTo>
                    <a:pt x="180451" y="340747"/>
                  </a:lnTo>
                  <a:lnTo>
                    <a:pt x="179508" y="339509"/>
                  </a:lnTo>
                  <a:lnTo>
                    <a:pt x="178879" y="338299"/>
                  </a:lnTo>
                  <a:lnTo>
                    <a:pt x="177060" y="337185"/>
                  </a:lnTo>
                  <a:lnTo>
                    <a:pt x="172946" y="335518"/>
                  </a:lnTo>
                  <a:lnTo>
                    <a:pt x="173155" y="334718"/>
                  </a:lnTo>
                  <a:lnTo>
                    <a:pt x="173860" y="333594"/>
                  </a:lnTo>
                  <a:lnTo>
                    <a:pt x="173841" y="332899"/>
                  </a:lnTo>
                  <a:lnTo>
                    <a:pt x="173050" y="331870"/>
                  </a:lnTo>
                  <a:lnTo>
                    <a:pt x="169259" y="330765"/>
                  </a:lnTo>
                  <a:lnTo>
                    <a:pt x="167469" y="330489"/>
                  </a:lnTo>
                  <a:lnTo>
                    <a:pt x="166335" y="331251"/>
                  </a:lnTo>
                  <a:lnTo>
                    <a:pt x="165516" y="332184"/>
                  </a:lnTo>
                  <a:lnTo>
                    <a:pt x="163411" y="328755"/>
                  </a:lnTo>
                  <a:lnTo>
                    <a:pt x="161906" y="328050"/>
                  </a:lnTo>
                  <a:lnTo>
                    <a:pt x="159639" y="327936"/>
                  </a:lnTo>
                  <a:lnTo>
                    <a:pt x="157039" y="326888"/>
                  </a:lnTo>
                  <a:lnTo>
                    <a:pt x="154334" y="325545"/>
                  </a:lnTo>
                  <a:lnTo>
                    <a:pt x="147771" y="323402"/>
                  </a:lnTo>
                  <a:lnTo>
                    <a:pt x="145971" y="323145"/>
                  </a:lnTo>
                  <a:lnTo>
                    <a:pt x="145247" y="323488"/>
                  </a:lnTo>
                  <a:lnTo>
                    <a:pt x="144761" y="324774"/>
                  </a:lnTo>
                  <a:lnTo>
                    <a:pt x="144504" y="328393"/>
                  </a:lnTo>
                  <a:lnTo>
                    <a:pt x="144228" y="328793"/>
                  </a:lnTo>
                  <a:lnTo>
                    <a:pt x="141180" y="328917"/>
                  </a:lnTo>
                  <a:lnTo>
                    <a:pt x="137427" y="328412"/>
                  </a:lnTo>
                  <a:lnTo>
                    <a:pt x="135703" y="328660"/>
                  </a:lnTo>
                  <a:lnTo>
                    <a:pt x="134169" y="328669"/>
                  </a:lnTo>
                  <a:lnTo>
                    <a:pt x="132722" y="327708"/>
                  </a:lnTo>
                  <a:lnTo>
                    <a:pt x="126235" y="328803"/>
                  </a:lnTo>
                  <a:lnTo>
                    <a:pt x="125159" y="328270"/>
                  </a:lnTo>
                  <a:lnTo>
                    <a:pt x="123597" y="326641"/>
                  </a:lnTo>
                  <a:lnTo>
                    <a:pt x="121844" y="325317"/>
                  </a:lnTo>
                  <a:lnTo>
                    <a:pt x="120491" y="324640"/>
                  </a:lnTo>
                  <a:lnTo>
                    <a:pt x="119329" y="323859"/>
                  </a:lnTo>
                  <a:lnTo>
                    <a:pt x="118281" y="323735"/>
                  </a:lnTo>
                  <a:lnTo>
                    <a:pt x="116681" y="324488"/>
                  </a:lnTo>
                  <a:lnTo>
                    <a:pt x="114472" y="324812"/>
                  </a:lnTo>
                  <a:lnTo>
                    <a:pt x="112643" y="324717"/>
                  </a:lnTo>
                  <a:lnTo>
                    <a:pt x="111662" y="324821"/>
                  </a:lnTo>
                  <a:lnTo>
                    <a:pt x="107547" y="320802"/>
                  </a:lnTo>
                  <a:lnTo>
                    <a:pt x="106947" y="319706"/>
                  </a:lnTo>
                  <a:lnTo>
                    <a:pt x="104899" y="319402"/>
                  </a:lnTo>
                  <a:lnTo>
                    <a:pt x="102365" y="319354"/>
                  </a:lnTo>
                  <a:lnTo>
                    <a:pt x="95907" y="316744"/>
                  </a:lnTo>
                  <a:lnTo>
                    <a:pt x="92964" y="315344"/>
                  </a:lnTo>
                  <a:lnTo>
                    <a:pt x="92535" y="314506"/>
                  </a:lnTo>
                  <a:lnTo>
                    <a:pt x="92573" y="313830"/>
                  </a:lnTo>
                  <a:lnTo>
                    <a:pt x="92069" y="313982"/>
                  </a:lnTo>
                  <a:lnTo>
                    <a:pt x="91164" y="315173"/>
                  </a:lnTo>
                  <a:lnTo>
                    <a:pt x="90687" y="316144"/>
                  </a:lnTo>
                  <a:lnTo>
                    <a:pt x="90059" y="316325"/>
                  </a:lnTo>
                  <a:lnTo>
                    <a:pt x="89135" y="316173"/>
                  </a:lnTo>
                  <a:lnTo>
                    <a:pt x="88278" y="315620"/>
                  </a:lnTo>
                  <a:lnTo>
                    <a:pt x="87754" y="314915"/>
                  </a:lnTo>
                  <a:lnTo>
                    <a:pt x="88316" y="313687"/>
                  </a:lnTo>
                  <a:lnTo>
                    <a:pt x="89306" y="312077"/>
                  </a:lnTo>
                  <a:lnTo>
                    <a:pt x="89716" y="310324"/>
                  </a:lnTo>
                  <a:lnTo>
                    <a:pt x="89621" y="308753"/>
                  </a:lnTo>
                  <a:lnTo>
                    <a:pt x="87992" y="307743"/>
                  </a:lnTo>
                  <a:lnTo>
                    <a:pt x="85592" y="307324"/>
                  </a:lnTo>
                  <a:lnTo>
                    <a:pt x="83829" y="307200"/>
                  </a:lnTo>
                  <a:lnTo>
                    <a:pt x="81544" y="306305"/>
                  </a:lnTo>
                  <a:lnTo>
                    <a:pt x="80458" y="305657"/>
                  </a:lnTo>
                  <a:lnTo>
                    <a:pt x="79410" y="303904"/>
                  </a:lnTo>
                  <a:lnTo>
                    <a:pt x="79372" y="302628"/>
                  </a:lnTo>
                  <a:lnTo>
                    <a:pt x="83725" y="301504"/>
                  </a:lnTo>
                  <a:lnTo>
                    <a:pt x="87640" y="296885"/>
                  </a:lnTo>
                  <a:lnTo>
                    <a:pt x="91354" y="280044"/>
                  </a:lnTo>
                  <a:lnTo>
                    <a:pt x="94040" y="259956"/>
                  </a:lnTo>
                  <a:lnTo>
                    <a:pt x="96031" y="256146"/>
                  </a:lnTo>
                  <a:lnTo>
                    <a:pt x="98546" y="255098"/>
                  </a:lnTo>
                  <a:lnTo>
                    <a:pt x="96517" y="252317"/>
                  </a:lnTo>
                  <a:lnTo>
                    <a:pt x="95250" y="253727"/>
                  </a:lnTo>
                  <a:lnTo>
                    <a:pt x="94717" y="255222"/>
                  </a:lnTo>
                  <a:lnTo>
                    <a:pt x="94050" y="255975"/>
                  </a:lnTo>
                  <a:lnTo>
                    <a:pt x="95545" y="237353"/>
                  </a:lnTo>
                  <a:lnTo>
                    <a:pt x="96612" y="230495"/>
                  </a:lnTo>
                  <a:lnTo>
                    <a:pt x="98431" y="223295"/>
                  </a:lnTo>
                  <a:lnTo>
                    <a:pt x="102156" y="226152"/>
                  </a:lnTo>
                  <a:lnTo>
                    <a:pt x="105242" y="229057"/>
                  </a:lnTo>
                  <a:lnTo>
                    <a:pt x="106832" y="231572"/>
                  </a:lnTo>
                  <a:lnTo>
                    <a:pt x="108852" y="239916"/>
                  </a:lnTo>
                  <a:lnTo>
                    <a:pt x="110385" y="241668"/>
                  </a:lnTo>
                  <a:lnTo>
                    <a:pt x="112671" y="243421"/>
                  </a:lnTo>
                  <a:lnTo>
                    <a:pt x="111766" y="241506"/>
                  </a:lnTo>
                  <a:lnTo>
                    <a:pt x="110195" y="240039"/>
                  </a:lnTo>
                  <a:lnTo>
                    <a:pt x="107737" y="228905"/>
                  </a:lnTo>
                  <a:lnTo>
                    <a:pt x="106194" y="225733"/>
                  </a:lnTo>
                  <a:lnTo>
                    <a:pt x="103794" y="223066"/>
                  </a:lnTo>
                  <a:lnTo>
                    <a:pt x="96060" y="217436"/>
                  </a:lnTo>
                  <a:lnTo>
                    <a:pt x="95364" y="216341"/>
                  </a:lnTo>
                  <a:lnTo>
                    <a:pt x="94983" y="214189"/>
                  </a:lnTo>
                  <a:lnTo>
                    <a:pt x="97546" y="214284"/>
                  </a:lnTo>
                  <a:lnTo>
                    <a:pt x="99755" y="215332"/>
                  </a:lnTo>
                  <a:lnTo>
                    <a:pt x="99498" y="214131"/>
                  </a:lnTo>
                  <a:lnTo>
                    <a:pt x="98841" y="212874"/>
                  </a:lnTo>
                  <a:lnTo>
                    <a:pt x="97812" y="208293"/>
                  </a:lnTo>
                  <a:lnTo>
                    <a:pt x="96955" y="197558"/>
                  </a:lnTo>
                  <a:lnTo>
                    <a:pt x="97069" y="195719"/>
                  </a:lnTo>
                  <a:lnTo>
                    <a:pt x="96688" y="193453"/>
                  </a:lnTo>
                  <a:lnTo>
                    <a:pt x="94212" y="192948"/>
                  </a:lnTo>
                  <a:lnTo>
                    <a:pt x="92231" y="192862"/>
                  </a:lnTo>
                  <a:lnTo>
                    <a:pt x="90097" y="191967"/>
                  </a:lnTo>
                  <a:lnTo>
                    <a:pt x="79562" y="185604"/>
                  </a:lnTo>
                  <a:lnTo>
                    <a:pt x="75962" y="179013"/>
                  </a:lnTo>
                  <a:lnTo>
                    <a:pt x="72276" y="174136"/>
                  </a:lnTo>
                  <a:lnTo>
                    <a:pt x="71390" y="172002"/>
                  </a:lnTo>
                  <a:lnTo>
                    <a:pt x="71447" y="169840"/>
                  </a:lnTo>
                  <a:lnTo>
                    <a:pt x="73362" y="165268"/>
                  </a:lnTo>
                  <a:lnTo>
                    <a:pt x="71676" y="162373"/>
                  </a:lnTo>
                  <a:lnTo>
                    <a:pt x="70028" y="161801"/>
                  </a:lnTo>
                  <a:lnTo>
                    <a:pt x="68599" y="160363"/>
                  </a:lnTo>
                  <a:lnTo>
                    <a:pt x="69895" y="157972"/>
                  </a:lnTo>
                  <a:lnTo>
                    <a:pt x="70971" y="156438"/>
                  </a:lnTo>
                  <a:lnTo>
                    <a:pt x="73133" y="156029"/>
                  </a:lnTo>
                  <a:lnTo>
                    <a:pt x="75962" y="156534"/>
                  </a:lnTo>
                  <a:lnTo>
                    <a:pt x="78648" y="157924"/>
                  </a:lnTo>
                  <a:lnTo>
                    <a:pt x="80753" y="158296"/>
                  </a:lnTo>
                  <a:lnTo>
                    <a:pt x="74533" y="154572"/>
                  </a:lnTo>
                  <a:lnTo>
                    <a:pt x="64437" y="155829"/>
                  </a:lnTo>
                  <a:lnTo>
                    <a:pt x="62256" y="155353"/>
                  </a:lnTo>
                  <a:lnTo>
                    <a:pt x="60427" y="154524"/>
                  </a:lnTo>
                  <a:lnTo>
                    <a:pt x="59703" y="151781"/>
                  </a:lnTo>
                  <a:lnTo>
                    <a:pt x="61141" y="150552"/>
                  </a:lnTo>
                  <a:lnTo>
                    <a:pt x="62436" y="148266"/>
                  </a:lnTo>
                  <a:lnTo>
                    <a:pt x="60970" y="146666"/>
                  </a:lnTo>
                  <a:lnTo>
                    <a:pt x="59065" y="146056"/>
                  </a:lnTo>
                  <a:lnTo>
                    <a:pt x="56074" y="146085"/>
                  </a:lnTo>
                  <a:lnTo>
                    <a:pt x="53283" y="146570"/>
                  </a:lnTo>
                  <a:lnTo>
                    <a:pt x="52578" y="145647"/>
                  </a:lnTo>
                  <a:lnTo>
                    <a:pt x="54283" y="143094"/>
                  </a:lnTo>
                  <a:lnTo>
                    <a:pt x="52835" y="142161"/>
                  </a:lnTo>
                  <a:lnTo>
                    <a:pt x="50902" y="142599"/>
                  </a:lnTo>
                  <a:lnTo>
                    <a:pt x="48101" y="143122"/>
                  </a:lnTo>
                  <a:lnTo>
                    <a:pt x="45425" y="142322"/>
                  </a:lnTo>
                  <a:lnTo>
                    <a:pt x="42891" y="139417"/>
                  </a:lnTo>
                  <a:lnTo>
                    <a:pt x="41215" y="139436"/>
                  </a:lnTo>
                  <a:lnTo>
                    <a:pt x="40062" y="139798"/>
                  </a:lnTo>
                  <a:lnTo>
                    <a:pt x="38357" y="138674"/>
                  </a:lnTo>
                  <a:lnTo>
                    <a:pt x="36557" y="138398"/>
                  </a:lnTo>
                  <a:lnTo>
                    <a:pt x="35271" y="138769"/>
                  </a:lnTo>
                  <a:lnTo>
                    <a:pt x="33566" y="137103"/>
                  </a:lnTo>
                  <a:lnTo>
                    <a:pt x="23051" y="133750"/>
                  </a:lnTo>
                  <a:lnTo>
                    <a:pt x="18517" y="133340"/>
                  </a:lnTo>
                  <a:lnTo>
                    <a:pt x="14354" y="134855"/>
                  </a:lnTo>
                  <a:lnTo>
                    <a:pt x="12059" y="134331"/>
                  </a:lnTo>
                  <a:lnTo>
                    <a:pt x="10373" y="132159"/>
                  </a:lnTo>
                  <a:lnTo>
                    <a:pt x="8963" y="128521"/>
                  </a:lnTo>
                  <a:lnTo>
                    <a:pt x="2257" y="125711"/>
                  </a:lnTo>
                  <a:lnTo>
                    <a:pt x="3581" y="123863"/>
                  </a:lnTo>
                  <a:lnTo>
                    <a:pt x="6706" y="123425"/>
                  </a:lnTo>
                  <a:lnTo>
                    <a:pt x="10296" y="122148"/>
                  </a:lnTo>
                  <a:lnTo>
                    <a:pt x="11592" y="120500"/>
                  </a:lnTo>
                  <a:lnTo>
                    <a:pt x="8782" y="118586"/>
                  </a:lnTo>
                  <a:lnTo>
                    <a:pt x="6706" y="118110"/>
                  </a:lnTo>
                  <a:lnTo>
                    <a:pt x="5848" y="117424"/>
                  </a:lnTo>
                  <a:lnTo>
                    <a:pt x="4972" y="115700"/>
                  </a:lnTo>
                  <a:lnTo>
                    <a:pt x="6210" y="114910"/>
                  </a:lnTo>
                  <a:lnTo>
                    <a:pt x="7087" y="115328"/>
                  </a:lnTo>
                  <a:lnTo>
                    <a:pt x="9620" y="115576"/>
                  </a:lnTo>
                  <a:lnTo>
                    <a:pt x="13945" y="115157"/>
                  </a:lnTo>
                  <a:lnTo>
                    <a:pt x="12335" y="113414"/>
                  </a:lnTo>
                  <a:lnTo>
                    <a:pt x="10659" y="113024"/>
                  </a:lnTo>
                  <a:lnTo>
                    <a:pt x="9887" y="112585"/>
                  </a:lnTo>
                  <a:lnTo>
                    <a:pt x="6363" y="112395"/>
                  </a:lnTo>
                  <a:lnTo>
                    <a:pt x="4763" y="112995"/>
                  </a:lnTo>
                  <a:lnTo>
                    <a:pt x="1162" y="112766"/>
                  </a:lnTo>
                  <a:lnTo>
                    <a:pt x="381" y="110890"/>
                  </a:lnTo>
                  <a:lnTo>
                    <a:pt x="0" y="109271"/>
                  </a:lnTo>
                  <a:lnTo>
                    <a:pt x="1114" y="105670"/>
                  </a:lnTo>
                  <a:lnTo>
                    <a:pt x="6182" y="102441"/>
                  </a:lnTo>
                  <a:lnTo>
                    <a:pt x="18812" y="98907"/>
                  </a:lnTo>
                  <a:lnTo>
                    <a:pt x="24241" y="99422"/>
                  </a:lnTo>
                  <a:lnTo>
                    <a:pt x="28004" y="98784"/>
                  </a:lnTo>
                  <a:lnTo>
                    <a:pt x="32518" y="96555"/>
                  </a:lnTo>
                  <a:lnTo>
                    <a:pt x="34509" y="94640"/>
                  </a:lnTo>
                  <a:lnTo>
                    <a:pt x="40929" y="93516"/>
                  </a:lnTo>
                  <a:lnTo>
                    <a:pt x="47025" y="95545"/>
                  </a:lnTo>
                  <a:lnTo>
                    <a:pt x="52645" y="103203"/>
                  </a:lnTo>
                  <a:lnTo>
                    <a:pt x="55331" y="105794"/>
                  </a:lnTo>
                  <a:lnTo>
                    <a:pt x="61913" y="101298"/>
                  </a:lnTo>
                  <a:lnTo>
                    <a:pt x="71714" y="101432"/>
                  </a:lnTo>
                  <a:lnTo>
                    <a:pt x="73733" y="103965"/>
                  </a:lnTo>
                  <a:lnTo>
                    <a:pt x="74552" y="101832"/>
                  </a:lnTo>
                  <a:lnTo>
                    <a:pt x="76352" y="99326"/>
                  </a:lnTo>
                  <a:lnTo>
                    <a:pt x="77791" y="100469"/>
                  </a:lnTo>
                  <a:lnTo>
                    <a:pt x="78524" y="102022"/>
                  </a:lnTo>
                  <a:lnTo>
                    <a:pt x="88868" y="101584"/>
                  </a:lnTo>
                  <a:lnTo>
                    <a:pt x="90497" y="101136"/>
                  </a:lnTo>
                  <a:lnTo>
                    <a:pt x="87716" y="99317"/>
                  </a:lnTo>
                  <a:lnTo>
                    <a:pt x="85449" y="94955"/>
                  </a:lnTo>
                  <a:lnTo>
                    <a:pt x="84973" y="78829"/>
                  </a:lnTo>
                  <a:lnTo>
                    <a:pt x="82105" y="74304"/>
                  </a:lnTo>
                  <a:lnTo>
                    <a:pt x="78819" y="67056"/>
                  </a:lnTo>
                  <a:lnTo>
                    <a:pt x="77305" y="62741"/>
                  </a:lnTo>
                  <a:lnTo>
                    <a:pt x="77162" y="61246"/>
                  </a:lnTo>
                  <a:lnTo>
                    <a:pt x="77667" y="59083"/>
                  </a:lnTo>
                  <a:lnTo>
                    <a:pt x="81705" y="59198"/>
                  </a:lnTo>
                  <a:lnTo>
                    <a:pt x="84830" y="59750"/>
                  </a:lnTo>
                  <a:lnTo>
                    <a:pt x="90783" y="58121"/>
                  </a:lnTo>
                  <a:lnTo>
                    <a:pt x="93640" y="59236"/>
                  </a:lnTo>
                  <a:lnTo>
                    <a:pt x="93469" y="62608"/>
                  </a:lnTo>
                  <a:lnTo>
                    <a:pt x="94345" y="66856"/>
                  </a:lnTo>
                  <a:lnTo>
                    <a:pt x="95336" y="68913"/>
                  </a:lnTo>
                  <a:lnTo>
                    <a:pt x="96850" y="71247"/>
                  </a:lnTo>
                  <a:lnTo>
                    <a:pt x="101641" y="71037"/>
                  </a:lnTo>
                  <a:lnTo>
                    <a:pt x="106814" y="72409"/>
                  </a:lnTo>
                  <a:lnTo>
                    <a:pt x="113357" y="72619"/>
                  </a:lnTo>
                  <a:lnTo>
                    <a:pt x="122911" y="74981"/>
                  </a:lnTo>
                  <a:lnTo>
                    <a:pt x="126978" y="73609"/>
                  </a:lnTo>
                  <a:lnTo>
                    <a:pt x="130921" y="70685"/>
                  </a:lnTo>
                  <a:lnTo>
                    <a:pt x="138427" y="68761"/>
                  </a:lnTo>
                  <a:lnTo>
                    <a:pt x="139027" y="67751"/>
                  </a:lnTo>
                  <a:lnTo>
                    <a:pt x="134703" y="68151"/>
                  </a:lnTo>
                  <a:lnTo>
                    <a:pt x="130740" y="66294"/>
                  </a:lnTo>
                  <a:lnTo>
                    <a:pt x="130207" y="64284"/>
                  </a:lnTo>
                  <a:lnTo>
                    <a:pt x="130664" y="62474"/>
                  </a:lnTo>
                  <a:lnTo>
                    <a:pt x="132274" y="58302"/>
                  </a:lnTo>
                  <a:lnTo>
                    <a:pt x="143761" y="51701"/>
                  </a:lnTo>
                  <a:lnTo>
                    <a:pt x="151990" y="49749"/>
                  </a:lnTo>
                  <a:lnTo>
                    <a:pt x="160582" y="46101"/>
                  </a:lnTo>
                  <a:lnTo>
                    <a:pt x="164907" y="42358"/>
                  </a:lnTo>
                  <a:lnTo>
                    <a:pt x="167764" y="37509"/>
                  </a:lnTo>
                  <a:lnTo>
                    <a:pt x="168688" y="36443"/>
                  </a:lnTo>
                  <a:lnTo>
                    <a:pt x="169878" y="35547"/>
                  </a:lnTo>
                  <a:lnTo>
                    <a:pt x="168773" y="33804"/>
                  </a:lnTo>
                  <a:lnTo>
                    <a:pt x="169516" y="15135"/>
                  </a:lnTo>
                  <a:lnTo>
                    <a:pt x="170317" y="11754"/>
                  </a:lnTo>
                  <a:lnTo>
                    <a:pt x="171993" y="8982"/>
                  </a:lnTo>
                  <a:lnTo>
                    <a:pt x="174546" y="6839"/>
                  </a:lnTo>
                  <a:lnTo>
                    <a:pt x="178413" y="4515"/>
                  </a:lnTo>
                  <a:lnTo>
                    <a:pt x="192672" y="1305"/>
                  </a:lnTo>
                  <a:lnTo>
                    <a:pt x="194786" y="0"/>
                  </a:lnTo>
                  <a:lnTo>
                    <a:pt x="195082" y="2019"/>
                  </a:lnTo>
                  <a:lnTo>
                    <a:pt x="196120" y="4600"/>
                  </a:lnTo>
                  <a:lnTo>
                    <a:pt x="196834" y="6010"/>
                  </a:lnTo>
                  <a:lnTo>
                    <a:pt x="196234" y="7848"/>
                  </a:lnTo>
                  <a:lnTo>
                    <a:pt x="196701" y="9363"/>
                  </a:lnTo>
                  <a:lnTo>
                    <a:pt x="198634" y="12087"/>
                  </a:lnTo>
                  <a:lnTo>
                    <a:pt x="201044" y="14649"/>
                  </a:lnTo>
                  <a:lnTo>
                    <a:pt x="203197" y="16288"/>
                  </a:lnTo>
                  <a:lnTo>
                    <a:pt x="203854" y="16040"/>
                  </a:lnTo>
                  <a:close/>
                  <a:moveTo>
                    <a:pt x="95841" y="209074"/>
                  </a:moveTo>
                  <a:lnTo>
                    <a:pt x="94898" y="212426"/>
                  </a:lnTo>
                  <a:lnTo>
                    <a:pt x="93107" y="209340"/>
                  </a:lnTo>
                  <a:lnTo>
                    <a:pt x="90745" y="206635"/>
                  </a:lnTo>
                  <a:lnTo>
                    <a:pt x="90202" y="204130"/>
                  </a:lnTo>
                  <a:lnTo>
                    <a:pt x="90202" y="203463"/>
                  </a:lnTo>
                  <a:lnTo>
                    <a:pt x="92974" y="205292"/>
                  </a:lnTo>
                  <a:lnTo>
                    <a:pt x="95841" y="209074"/>
                  </a:lnTo>
                  <a:close/>
                  <a:moveTo>
                    <a:pt x="380762" y="324564"/>
                  </a:moveTo>
                  <a:lnTo>
                    <a:pt x="380067" y="329889"/>
                  </a:lnTo>
                  <a:lnTo>
                    <a:pt x="380572" y="331441"/>
                  </a:lnTo>
                  <a:lnTo>
                    <a:pt x="381543" y="332527"/>
                  </a:lnTo>
                  <a:lnTo>
                    <a:pt x="381991" y="333718"/>
                  </a:lnTo>
                  <a:lnTo>
                    <a:pt x="382800" y="347834"/>
                  </a:lnTo>
                  <a:lnTo>
                    <a:pt x="382648" y="348958"/>
                  </a:lnTo>
                  <a:lnTo>
                    <a:pt x="379381" y="354606"/>
                  </a:lnTo>
                  <a:lnTo>
                    <a:pt x="378648" y="356254"/>
                  </a:lnTo>
                  <a:lnTo>
                    <a:pt x="378485" y="363226"/>
                  </a:lnTo>
                  <a:lnTo>
                    <a:pt x="377933" y="365093"/>
                  </a:lnTo>
                  <a:lnTo>
                    <a:pt x="376771" y="366931"/>
                  </a:lnTo>
                  <a:lnTo>
                    <a:pt x="374704" y="372875"/>
                  </a:lnTo>
                  <a:lnTo>
                    <a:pt x="372913" y="375542"/>
                  </a:lnTo>
                  <a:lnTo>
                    <a:pt x="368017" y="372285"/>
                  </a:lnTo>
                  <a:lnTo>
                    <a:pt x="365132" y="370875"/>
                  </a:lnTo>
                  <a:lnTo>
                    <a:pt x="363722" y="369360"/>
                  </a:lnTo>
                  <a:lnTo>
                    <a:pt x="362798" y="368313"/>
                  </a:lnTo>
                  <a:lnTo>
                    <a:pt x="363398" y="366913"/>
                  </a:lnTo>
                  <a:lnTo>
                    <a:pt x="364712" y="365455"/>
                  </a:lnTo>
                  <a:lnTo>
                    <a:pt x="364922" y="364302"/>
                  </a:lnTo>
                  <a:lnTo>
                    <a:pt x="361826" y="363007"/>
                  </a:lnTo>
                  <a:lnTo>
                    <a:pt x="360407" y="362140"/>
                  </a:lnTo>
                  <a:lnTo>
                    <a:pt x="360426" y="360616"/>
                  </a:lnTo>
                  <a:lnTo>
                    <a:pt x="361493" y="358245"/>
                  </a:lnTo>
                  <a:lnTo>
                    <a:pt x="361007" y="356283"/>
                  </a:lnTo>
                  <a:lnTo>
                    <a:pt x="359216" y="356378"/>
                  </a:lnTo>
                  <a:lnTo>
                    <a:pt x="357826" y="356082"/>
                  </a:lnTo>
                  <a:lnTo>
                    <a:pt x="357645" y="355063"/>
                  </a:lnTo>
                  <a:lnTo>
                    <a:pt x="358664" y="353758"/>
                  </a:lnTo>
                  <a:lnTo>
                    <a:pt x="359978" y="352054"/>
                  </a:lnTo>
                  <a:lnTo>
                    <a:pt x="359940" y="350167"/>
                  </a:lnTo>
                  <a:lnTo>
                    <a:pt x="358350" y="349358"/>
                  </a:lnTo>
                  <a:lnTo>
                    <a:pt x="356911" y="347824"/>
                  </a:lnTo>
                  <a:lnTo>
                    <a:pt x="356330" y="345738"/>
                  </a:lnTo>
                  <a:lnTo>
                    <a:pt x="357445" y="344310"/>
                  </a:lnTo>
                  <a:lnTo>
                    <a:pt x="359255" y="343395"/>
                  </a:lnTo>
                  <a:lnTo>
                    <a:pt x="357921" y="341252"/>
                  </a:lnTo>
                  <a:lnTo>
                    <a:pt x="357026" y="341204"/>
                  </a:lnTo>
                  <a:lnTo>
                    <a:pt x="356311" y="340738"/>
                  </a:lnTo>
                  <a:lnTo>
                    <a:pt x="356902" y="339747"/>
                  </a:lnTo>
                  <a:lnTo>
                    <a:pt x="358302" y="338261"/>
                  </a:lnTo>
                  <a:lnTo>
                    <a:pt x="360255" y="333813"/>
                  </a:lnTo>
                  <a:lnTo>
                    <a:pt x="362969" y="331708"/>
                  </a:lnTo>
                  <a:lnTo>
                    <a:pt x="367789" y="330355"/>
                  </a:lnTo>
                  <a:lnTo>
                    <a:pt x="369094" y="329755"/>
                  </a:lnTo>
                  <a:lnTo>
                    <a:pt x="370284" y="328184"/>
                  </a:lnTo>
                  <a:lnTo>
                    <a:pt x="371608" y="327174"/>
                  </a:lnTo>
                  <a:lnTo>
                    <a:pt x="373218" y="327307"/>
                  </a:lnTo>
                  <a:lnTo>
                    <a:pt x="374704" y="327908"/>
                  </a:lnTo>
                  <a:lnTo>
                    <a:pt x="375618" y="328555"/>
                  </a:lnTo>
                  <a:lnTo>
                    <a:pt x="376304" y="327879"/>
                  </a:lnTo>
                  <a:lnTo>
                    <a:pt x="376971" y="325926"/>
                  </a:lnTo>
                  <a:lnTo>
                    <a:pt x="376561" y="324212"/>
                  </a:lnTo>
                  <a:lnTo>
                    <a:pt x="376771" y="319497"/>
                  </a:lnTo>
                  <a:lnTo>
                    <a:pt x="377628" y="316821"/>
                  </a:lnTo>
                  <a:lnTo>
                    <a:pt x="379019" y="316668"/>
                  </a:lnTo>
                  <a:lnTo>
                    <a:pt x="380295" y="318144"/>
                  </a:lnTo>
                  <a:lnTo>
                    <a:pt x="380238" y="319449"/>
                  </a:lnTo>
                  <a:lnTo>
                    <a:pt x="380714" y="322536"/>
                  </a:lnTo>
                  <a:lnTo>
                    <a:pt x="380762" y="324564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 algn="ctr">
              <a:solidFill>
                <a:srgbClr val="EEEEED"/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1" i="0" u="none" strike="noStrike" kern="0" cap="none" spc="0" normalizeH="0" baseline="0" noProof="0">
                <a:ln>
                  <a:noFill/>
                </a:ln>
                <a:solidFill>
                  <a:srgbClr val="EEEEED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25" name="Forme libre : forme 21">
              <a:extLst>
                <a:ext uri="{FF2B5EF4-FFF2-40B4-BE49-F238E27FC236}">
                  <a16:creationId xmlns:a16="http://schemas.microsoft.com/office/drawing/2014/main" id="{DBB34A0D-AAAD-80FC-589F-972340CC5A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231720" y="2387521"/>
              <a:ext cx="915837" cy="1773622"/>
            </a:xfrm>
            <a:custGeom>
              <a:avLst/>
              <a:gdLst>
                <a:gd name="connsiteX0" fmla="*/ 189271 w 264461"/>
                <a:gd name="connsiteY0" fmla="*/ 484203 h 512159"/>
                <a:gd name="connsiteX1" fmla="*/ 187033 w 264461"/>
                <a:gd name="connsiteY1" fmla="*/ 485651 h 512159"/>
                <a:gd name="connsiteX2" fmla="*/ 186328 w 264461"/>
                <a:gd name="connsiteY2" fmla="*/ 487356 h 512159"/>
                <a:gd name="connsiteX3" fmla="*/ 185785 w 264461"/>
                <a:gd name="connsiteY3" fmla="*/ 488023 h 512159"/>
                <a:gd name="connsiteX4" fmla="*/ 184309 w 264461"/>
                <a:gd name="connsiteY4" fmla="*/ 488461 h 512159"/>
                <a:gd name="connsiteX5" fmla="*/ 182842 w 264461"/>
                <a:gd name="connsiteY5" fmla="*/ 488470 h 512159"/>
                <a:gd name="connsiteX6" fmla="*/ 177260 w 264461"/>
                <a:gd name="connsiteY6" fmla="*/ 485061 h 512159"/>
                <a:gd name="connsiteX7" fmla="*/ 175974 w 264461"/>
                <a:gd name="connsiteY7" fmla="*/ 485213 h 512159"/>
                <a:gd name="connsiteX8" fmla="*/ 177251 w 264461"/>
                <a:gd name="connsiteY8" fmla="*/ 483651 h 512159"/>
                <a:gd name="connsiteX9" fmla="*/ 180718 w 264461"/>
                <a:gd name="connsiteY9" fmla="*/ 482375 h 512159"/>
                <a:gd name="connsiteX10" fmla="*/ 182670 w 264461"/>
                <a:gd name="connsiteY10" fmla="*/ 480689 h 512159"/>
                <a:gd name="connsiteX11" fmla="*/ 187176 w 264461"/>
                <a:gd name="connsiteY11" fmla="*/ 482317 h 512159"/>
                <a:gd name="connsiteX12" fmla="*/ 189271 w 264461"/>
                <a:gd name="connsiteY12" fmla="*/ 484203 h 512159"/>
                <a:gd name="connsiteX13" fmla="*/ 105565 w 264461"/>
                <a:gd name="connsiteY13" fmla="*/ 370189 h 512159"/>
                <a:gd name="connsiteX14" fmla="*/ 106689 w 264461"/>
                <a:gd name="connsiteY14" fmla="*/ 371018 h 512159"/>
                <a:gd name="connsiteX15" fmla="*/ 109509 w 264461"/>
                <a:gd name="connsiteY15" fmla="*/ 370884 h 512159"/>
                <a:gd name="connsiteX16" fmla="*/ 108575 w 264461"/>
                <a:gd name="connsiteY16" fmla="*/ 372732 h 512159"/>
                <a:gd name="connsiteX17" fmla="*/ 105470 w 264461"/>
                <a:gd name="connsiteY17" fmla="*/ 374790 h 512159"/>
                <a:gd name="connsiteX18" fmla="*/ 103384 w 264461"/>
                <a:gd name="connsiteY18" fmla="*/ 376819 h 512159"/>
                <a:gd name="connsiteX19" fmla="*/ 100860 w 264461"/>
                <a:gd name="connsiteY19" fmla="*/ 378514 h 512159"/>
                <a:gd name="connsiteX20" fmla="*/ 99641 w 264461"/>
                <a:gd name="connsiteY20" fmla="*/ 376561 h 512159"/>
                <a:gd name="connsiteX21" fmla="*/ 98222 w 264461"/>
                <a:gd name="connsiteY21" fmla="*/ 376637 h 512159"/>
                <a:gd name="connsiteX22" fmla="*/ 96050 w 264461"/>
                <a:gd name="connsiteY22" fmla="*/ 372885 h 512159"/>
                <a:gd name="connsiteX23" fmla="*/ 95660 w 264461"/>
                <a:gd name="connsiteY23" fmla="*/ 367265 h 512159"/>
                <a:gd name="connsiteX24" fmla="*/ 98498 w 264461"/>
                <a:gd name="connsiteY24" fmla="*/ 365798 h 512159"/>
                <a:gd name="connsiteX25" fmla="*/ 102422 w 264461"/>
                <a:gd name="connsiteY25" fmla="*/ 365884 h 512159"/>
                <a:gd name="connsiteX26" fmla="*/ 105565 w 264461"/>
                <a:gd name="connsiteY26" fmla="*/ 370189 h 512159"/>
                <a:gd name="connsiteX27" fmla="*/ 47339 w 264461"/>
                <a:gd name="connsiteY27" fmla="*/ 282445 h 512159"/>
                <a:gd name="connsiteX28" fmla="*/ 51111 w 264461"/>
                <a:gd name="connsiteY28" fmla="*/ 283616 h 512159"/>
                <a:gd name="connsiteX29" fmla="*/ 53921 w 264461"/>
                <a:gd name="connsiteY29" fmla="*/ 283598 h 512159"/>
                <a:gd name="connsiteX30" fmla="*/ 56416 w 264461"/>
                <a:gd name="connsiteY30" fmla="*/ 286998 h 512159"/>
                <a:gd name="connsiteX31" fmla="*/ 57750 w 264461"/>
                <a:gd name="connsiteY31" fmla="*/ 292351 h 512159"/>
                <a:gd name="connsiteX32" fmla="*/ 60865 w 264461"/>
                <a:gd name="connsiteY32" fmla="*/ 297628 h 512159"/>
                <a:gd name="connsiteX33" fmla="*/ 64941 w 264461"/>
                <a:gd name="connsiteY33" fmla="*/ 302200 h 512159"/>
                <a:gd name="connsiteX34" fmla="*/ 65103 w 264461"/>
                <a:gd name="connsiteY34" fmla="*/ 304990 h 512159"/>
                <a:gd name="connsiteX35" fmla="*/ 63646 w 264461"/>
                <a:gd name="connsiteY35" fmla="*/ 306486 h 512159"/>
                <a:gd name="connsiteX36" fmla="*/ 60607 w 264461"/>
                <a:gd name="connsiteY36" fmla="*/ 308343 h 512159"/>
                <a:gd name="connsiteX37" fmla="*/ 60617 w 264461"/>
                <a:gd name="connsiteY37" fmla="*/ 310334 h 512159"/>
                <a:gd name="connsiteX38" fmla="*/ 62627 w 264461"/>
                <a:gd name="connsiteY38" fmla="*/ 309334 h 512159"/>
                <a:gd name="connsiteX39" fmla="*/ 64360 w 264461"/>
                <a:gd name="connsiteY39" fmla="*/ 308877 h 512159"/>
                <a:gd name="connsiteX40" fmla="*/ 68532 w 264461"/>
                <a:gd name="connsiteY40" fmla="*/ 309315 h 512159"/>
                <a:gd name="connsiteX41" fmla="*/ 69990 w 264461"/>
                <a:gd name="connsiteY41" fmla="*/ 311334 h 512159"/>
                <a:gd name="connsiteX42" fmla="*/ 70999 w 264461"/>
                <a:gd name="connsiteY42" fmla="*/ 314354 h 512159"/>
                <a:gd name="connsiteX43" fmla="*/ 71533 w 264461"/>
                <a:gd name="connsiteY43" fmla="*/ 316830 h 512159"/>
                <a:gd name="connsiteX44" fmla="*/ 71171 w 264461"/>
                <a:gd name="connsiteY44" fmla="*/ 319516 h 512159"/>
                <a:gd name="connsiteX45" fmla="*/ 70047 w 264461"/>
                <a:gd name="connsiteY45" fmla="*/ 318659 h 512159"/>
                <a:gd name="connsiteX46" fmla="*/ 68904 w 264461"/>
                <a:gd name="connsiteY46" fmla="*/ 316259 h 512159"/>
                <a:gd name="connsiteX47" fmla="*/ 67637 w 264461"/>
                <a:gd name="connsiteY47" fmla="*/ 315154 h 512159"/>
                <a:gd name="connsiteX48" fmla="*/ 66161 w 264461"/>
                <a:gd name="connsiteY48" fmla="*/ 314554 h 512159"/>
                <a:gd name="connsiteX49" fmla="*/ 66827 w 264461"/>
                <a:gd name="connsiteY49" fmla="*/ 317859 h 512159"/>
                <a:gd name="connsiteX50" fmla="*/ 66560 w 264461"/>
                <a:gd name="connsiteY50" fmla="*/ 322269 h 512159"/>
                <a:gd name="connsiteX51" fmla="*/ 67199 w 264461"/>
                <a:gd name="connsiteY51" fmla="*/ 322679 h 512159"/>
                <a:gd name="connsiteX52" fmla="*/ 69180 w 264461"/>
                <a:gd name="connsiteY52" fmla="*/ 322755 h 512159"/>
                <a:gd name="connsiteX53" fmla="*/ 67875 w 264461"/>
                <a:gd name="connsiteY53" fmla="*/ 327250 h 512159"/>
                <a:gd name="connsiteX54" fmla="*/ 65160 w 264461"/>
                <a:gd name="connsiteY54" fmla="*/ 328470 h 512159"/>
                <a:gd name="connsiteX55" fmla="*/ 62008 w 264461"/>
                <a:gd name="connsiteY55" fmla="*/ 328927 h 512159"/>
                <a:gd name="connsiteX56" fmla="*/ 61246 w 264461"/>
                <a:gd name="connsiteY56" fmla="*/ 330518 h 512159"/>
                <a:gd name="connsiteX57" fmla="*/ 60674 w 264461"/>
                <a:gd name="connsiteY57" fmla="*/ 332565 h 512159"/>
                <a:gd name="connsiteX58" fmla="*/ 59026 w 264461"/>
                <a:gd name="connsiteY58" fmla="*/ 335614 h 512159"/>
                <a:gd name="connsiteX59" fmla="*/ 56855 w 264461"/>
                <a:gd name="connsiteY59" fmla="*/ 337338 h 512159"/>
                <a:gd name="connsiteX60" fmla="*/ 54168 w 264461"/>
                <a:gd name="connsiteY60" fmla="*/ 336985 h 512159"/>
                <a:gd name="connsiteX61" fmla="*/ 51540 w 264461"/>
                <a:gd name="connsiteY61" fmla="*/ 335623 h 512159"/>
                <a:gd name="connsiteX62" fmla="*/ 49244 w 264461"/>
                <a:gd name="connsiteY62" fmla="*/ 335347 h 512159"/>
                <a:gd name="connsiteX63" fmla="*/ 47644 w 264461"/>
                <a:gd name="connsiteY63" fmla="*/ 336156 h 512159"/>
                <a:gd name="connsiteX64" fmla="*/ 46606 w 264461"/>
                <a:gd name="connsiteY64" fmla="*/ 336909 h 512159"/>
                <a:gd name="connsiteX65" fmla="*/ 45596 w 264461"/>
                <a:gd name="connsiteY65" fmla="*/ 336775 h 512159"/>
                <a:gd name="connsiteX66" fmla="*/ 42710 w 264461"/>
                <a:gd name="connsiteY66" fmla="*/ 337061 h 512159"/>
                <a:gd name="connsiteX67" fmla="*/ 39995 w 264461"/>
                <a:gd name="connsiteY67" fmla="*/ 337004 h 512159"/>
                <a:gd name="connsiteX68" fmla="*/ 39605 w 264461"/>
                <a:gd name="connsiteY68" fmla="*/ 335814 h 512159"/>
                <a:gd name="connsiteX69" fmla="*/ 40072 w 264461"/>
                <a:gd name="connsiteY69" fmla="*/ 332232 h 512159"/>
                <a:gd name="connsiteX70" fmla="*/ 39462 w 264461"/>
                <a:gd name="connsiteY70" fmla="*/ 331261 h 512159"/>
                <a:gd name="connsiteX71" fmla="*/ 36871 w 264461"/>
                <a:gd name="connsiteY71" fmla="*/ 330765 h 512159"/>
                <a:gd name="connsiteX72" fmla="*/ 35909 w 264461"/>
                <a:gd name="connsiteY72" fmla="*/ 329908 h 512159"/>
                <a:gd name="connsiteX73" fmla="*/ 34414 w 264461"/>
                <a:gd name="connsiteY73" fmla="*/ 327431 h 512159"/>
                <a:gd name="connsiteX74" fmla="*/ 34119 w 264461"/>
                <a:gd name="connsiteY74" fmla="*/ 326269 h 512159"/>
                <a:gd name="connsiteX75" fmla="*/ 33909 w 264461"/>
                <a:gd name="connsiteY75" fmla="*/ 324669 h 512159"/>
                <a:gd name="connsiteX76" fmla="*/ 32328 w 264461"/>
                <a:gd name="connsiteY76" fmla="*/ 322602 h 512159"/>
                <a:gd name="connsiteX77" fmla="*/ 30413 w 264461"/>
                <a:gd name="connsiteY77" fmla="*/ 321116 h 512159"/>
                <a:gd name="connsiteX78" fmla="*/ 29289 w 264461"/>
                <a:gd name="connsiteY78" fmla="*/ 321040 h 512159"/>
                <a:gd name="connsiteX79" fmla="*/ 27051 w 264461"/>
                <a:gd name="connsiteY79" fmla="*/ 323460 h 512159"/>
                <a:gd name="connsiteX80" fmla="*/ 25203 w 264461"/>
                <a:gd name="connsiteY80" fmla="*/ 325907 h 512159"/>
                <a:gd name="connsiteX81" fmla="*/ 25851 w 264461"/>
                <a:gd name="connsiteY81" fmla="*/ 327136 h 512159"/>
                <a:gd name="connsiteX82" fmla="*/ 26451 w 264461"/>
                <a:gd name="connsiteY82" fmla="*/ 328746 h 512159"/>
                <a:gd name="connsiteX83" fmla="*/ 25451 w 264461"/>
                <a:gd name="connsiteY83" fmla="*/ 329908 h 512159"/>
                <a:gd name="connsiteX84" fmla="*/ 22412 w 264461"/>
                <a:gd name="connsiteY84" fmla="*/ 332556 h 512159"/>
                <a:gd name="connsiteX85" fmla="*/ 21936 w 264461"/>
                <a:gd name="connsiteY85" fmla="*/ 333585 h 512159"/>
                <a:gd name="connsiteX86" fmla="*/ 21117 w 264461"/>
                <a:gd name="connsiteY86" fmla="*/ 334146 h 512159"/>
                <a:gd name="connsiteX87" fmla="*/ 19669 w 264461"/>
                <a:gd name="connsiteY87" fmla="*/ 333413 h 512159"/>
                <a:gd name="connsiteX88" fmla="*/ 16059 w 264461"/>
                <a:gd name="connsiteY88" fmla="*/ 333585 h 512159"/>
                <a:gd name="connsiteX89" fmla="*/ 14402 w 264461"/>
                <a:gd name="connsiteY89" fmla="*/ 333118 h 512159"/>
                <a:gd name="connsiteX90" fmla="*/ 12468 w 264461"/>
                <a:gd name="connsiteY90" fmla="*/ 331165 h 512159"/>
                <a:gd name="connsiteX91" fmla="*/ 7753 w 264461"/>
                <a:gd name="connsiteY91" fmla="*/ 329860 h 512159"/>
                <a:gd name="connsiteX92" fmla="*/ 6963 w 264461"/>
                <a:gd name="connsiteY92" fmla="*/ 326727 h 512159"/>
                <a:gd name="connsiteX93" fmla="*/ 6058 w 264461"/>
                <a:gd name="connsiteY93" fmla="*/ 326136 h 512159"/>
                <a:gd name="connsiteX94" fmla="*/ 714 w 264461"/>
                <a:gd name="connsiteY94" fmla="*/ 320754 h 512159"/>
                <a:gd name="connsiteX95" fmla="*/ 0 w 264461"/>
                <a:gd name="connsiteY95" fmla="*/ 318954 h 512159"/>
                <a:gd name="connsiteX96" fmla="*/ 695 w 264461"/>
                <a:gd name="connsiteY96" fmla="*/ 317878 h 512159"/>
                <a:gd name="connsiteX97" fmla="*/ 2686 w 264461"/>
                <a:gd name="connsiteY97" fmla="*/ 316249 h 512159"/>
                <a:gd name="connsiteX98" fmla="*/ 9382 w 264461"/>
                <a:gd name="connsiteY98" fmla="*/ 313544 h 512159"/>
                <a:gd name="connsiteX99" fmla="*/ 10439 w 264461"/>
                <a:gd name="connsiteY99" fmla="*/ 312458 h 512159"/>
                <a:gd name="connsiteX100" fmla="*/ 10658 w 264461"/>
                <a:gd name="connsiteY100" fmla="*/ 311496 h 512159"/>
                <a:gd name="connsiteX101" fmla="*/ 8687 w 264461"/>
                <a:gd name="connsiteY101" fmla="*/ 310401 h 512159"/>
                <a:gd name="connsiteX102" fmla="*/ 6915 w 264461"/>
                <a:gd name="connsiteY102" fmla="*/ 309181 h 512159"/>
                <a:gd name="connsiteX103" fmla="*/ 6315 w 264461"/>
                <a:gd name="connsiteY103" fmla="*/ 308391 h 512159"/>
                <a:gd name="connsiteX104" fmla="*/ 6267 w 264461"/>
                <a:gd name="connsiteY104" fmla="*/ 307696 h 512159"/>
                <a:gd name="connsiteX105" fmla="*/ 7277 w 264461"/>
                <a:gd name="connsiteY105" fmla="*/ 306791 h 512159"/>
                <a:gd name="connsiteX106" fmla="*/ 9296 w 264461"/>
                <a:gd name="connsiteY106" fmla="*/ 306724 h 512159"/>
                <a:gd name="connsiteX107" fmla="*/ 10896 w 264461"/>
                <a:gd name="connsiteY107" fmla="*/ 307134 h 512159"/>
                <a:gd name="connsiteX108" fmla="*/ 12163 w 264461"/>
                <a:gd name="connsiteY108" fmla="*/ 306324 h 512159"/>
                <a:gd name="connsiteX109" fmla="*/ 14392 w 264461"/>
                <a:gd name="connsiteY109" fmla="*/ 305505 h 512159"/>
                <a:gd name="connsiteX110" fmla="*/ 15888 w 264461"/>
                <a:gd name="connsiteY110" fmla="*/ 304476 h 512159"/>
                <a:gd name="connsiteX111" fmla="*/ 17173 w 264461"/>
                <a:gd name="connsiteY111" fmla="*/ 301819 h 512159"/>
                <a:gd name="connsiteX112" fmla="*/ 18535 w 264461"/>
                <a:gd name="connsiteY112" fmla="*/ 299428 h 512159"/>
                <a:gd name="connsiteX113" fmla="*/ 18679 w 264461"/>
                <a:gd name="connsiteY113" fmla="*/ 298132 h 512159"/>
                <a:gd name="connsiteX114" fmla="*/ 19869 w 264461"/>
                <a:gd name="connsiteY114" fmla="*/ 293570 h 512159"/>
                <a:gd name="connsiteX115" fmla="*/ 20526 w 264461"/>
                <a:gd name="connsiteY115" fmla="*/ 292437 h 512159"/>
                <a:gd name="connsiteX116" fmla="*/ 24755 w 264461"/>
                <a:gd name="connsiteY116" fmla="*/ 289446 h 512159"/>
                <a:gd name="connsiteX117" fmla="*/ 25822 w 264461"/>
                <a:gd name="connsiteY117" fmla="*/ 291084 h 512159"/>
                <a:gd name="connsiteX118" fmla="*/ 27908 w 264461"/>
                <a:gd name="connsiteY118" fmla="*/ 291484 h 512159"/>
                <a:gd name="connsiteX119" fmla="*/ 29775 w 264461"/>
                <a:gd name="connsiteY119" fmla="*/ 289979 h 512159"/>
                <a:gd name="connsiteX120" fmla="*/ 32013 w 264461"/>
                <a:gd name="connsiteY120" fmla="*/ 285226 h 512159"/>
                <a:gd name="connsiteX121" fmla="*/ 33566 w 264461"/>
                <a:gd name="connsiteY121" fmla="*/ 284931 h 512159"/>
                <a:gd name="connsiteX122" fmla="*/ 35280 w 264461"/>
                <a:gd name="connsiteY122" fmla="*/ 285322 h 512159"/>
                <a:gd name="connsiteX123" fmla="*/ 38652 w 264461"/>
                <a:gd name="connsiteY123" fmla="*/ 284721 h 512159"/>
                <a:gd name="connsiteX124" fmla="*/ 44634 w 264461"/>
                <a:gd name="connsiteY124" fmla="*/ 282502 h 512159"/>
                <a:gd name="connsiteX125" fmla="*/ 47339 w 264461"/>
                <a:gd name="connsiteY125" fmla="*/ 282445 h 512159"/>
                <a:gd name="connsiteX126" fmla="*/ 81277 w 264461"/>
                <a:gd name="connsiteY126" fmla="*/ 272729 h 512159"/>
                <a:gd name="connsiteX127" fmla="*/ 77905 w 264461"/>
                <a:gd name="connsiteY127" fmla="*/ 272767 h 512159"/>
                <a:gd name="connsiteX128" fmla="*/ 76686 w 264461"/>
                <a:gd name="connsiteY128" fmla="*/ 272358 h 512159"/>
                <a:gd name="connsiteX129" fmla="*/ 75228 w 264461"/>
                <a:gd name="connsiteY129" fmla="*/ 271215 h 512159"/>
                <a:gd name="connsiteX130" fmla="*/ 73590 w 264461"/>
                <a:gd name="connsiteY130" fmla="*/ 264738 h 512159"/>
                <a:gd name="connsiteX131" fmla="*/ 74181 w 264461"/>
                <a:gd name="connsiteY131" fmla="*/ 262442 h 512159"/>
                <a:gd name="connsiteX132" fmla="*/ 74847 w 264461"/>
                <a:gd name="connsiteY132" fmla="*/ 261318 h 512159"/>
                <a:gd name="connsiteX133" fmla="*/ 75590 w 264461"/>
                <a:gd name="connsiteY133" fmla="*/ 260442 h 512159"/>
                <a:gd name="connsiteX134" fmla="*/ 77371 w 264461"/>
                <a:gd name="connsiteY134" fmla="*/ 260080 h 512159"/>
                <a:gd name="connsiteX135" fmla="*/ 79143 w 264461"/>
                <a:gd name="connsiteY135" fmla="*/ 261309 h 512159"/>
                <a:gd name="connsiteX136" fmla="*/ 79810 w 264461"/>
                <a:gd name="connsiteY136" fmla="*/ 262452 h 512159"/>
                <a:gd name="connsiteX137" fmla="*/ 81296 w 264461"/>
                <a:gd name="connsiteY137" fmla="*/ 266833 h 512159"/>
                <a:gd name="connsiteX138" fmla="*/ 81572 w 264461"/>
                <a:gd name="connsiteY138" fmla="*/ 270586 h 512159"/>
                <a:gd name="connsiteX139" fmla="*/ 81277 w 264461"/>
                <a:gd name="connsiteY139" fmla="*/ 272729 h 512159"/>
                <a:gd name="connsiteX140" fmla="*/ 53921 w 264461"/>
                <a:gd name="connsiteY140" fmla="*/ 249927 h 512159"/>
                <a:gd name="connsiteX141" fmla="*/ 54883 w 264461"/>
                <a:gd name="connsiteY141" fmla="*/ 256032 h 512159"/>
                <a:gd name="connsiteX142" fmla="*/ 55826 w 264461"/>
                <a:gd name="connsiteY142" fmla="*/ 259804 h 512159"/>
                <a:gd name="connsiteX143" fmla="*/ 55893 w 264461"/>
                <a:gd name="connsiteY143" fmla="*/ 261090 h 512159"/>
                <a:gd name="connsiteX144" fmla="*/ 55007 w 264461"/>
                <a:gd name="connsiteY144" fmla="*/ 262880 h 512159"/>
                <a:gd name="connsiteX145" fmla="*/ 50597 w 264461"/>
                <a:gd name="connsiteY145" fmla="*/ 265262 h 512159"/>
                <a:gd name="connsiteX146" fmla="*/ 49206 w 264461"/>
                <a:gd name="connsiteY146" fmla="*/ 265271 h 512159"/>
                <a:gd name="connsiteX147" fmla="*/ 49149 w 264461"/>
                <a:gd name="connsiteY147" fmla="*/ 264690 h 512159"/>
                <a:gd name="connsiteX148" fmla="*/ 50139 w 264461"/>
                <a:gd name="connsiteY148" fmla="*/ 262271 h 512159"/>
                <a:gd name="connsiteX149" fmla="*/ 49282 w 264461"/>
                <a:gd name="connsiteY149" fmla="*/ 259518 h 512159"/>
                <a:gd name="connsiteX150" fmla="*/ 49701 w 264461"/>
                <a:gd name="connsiteY150" fmla="*/ 257423 h 512159"/>
                <a:gd name="connsiteX151" fmla="*/ 49292 w 264461"/>
                <a:gd name="connsiteY151" fmla="*/ 257042 h 512159"/>
                <a:gd name="connsiteX152" fmla="*/ 48435 w 264461"/>
                <a:gd name="connsiteY152" fmla="*/ 257337 h 512159"/>
                <a:gd name="connsiteX153" fmla="*/ 45272 w 264461"/>
                <a:gd name="connsiteY153" fmla="*/ 260661 h 512159"/>
                <a:gd name="connsiteX154" fmla="*/ 44215 w 264461"/>
                <a:gd name="connsiteY154" fmla="*/ 260985 h 512159"/>
                <a:gd name="connsiteX155" fmla="*/ 44101 w 264461"/>
                <a:gd name="connsiteY155" fmla="*/ 260309 h 512159"/>
                <a:gd name="connsiteX156" fmla="*/ 44882 w 264461"/>
                <a:gd name="connsiteY156" fmla="*/ 257585 h 512159"/>
                <a:gd name="connsiteX157" fmla="*/ 44977 w 264461"/>
                <a:gd name="connsiteY157" fmla="*/ 255718 h 512159"/>
                <a:gd name="connsiteX158" fmla="*/ 45444 w 264461"/>
                <a:gd name="connsiteY158" fmla="*/ 254575 h 512159"/>
                <a:gd name="connsiteX159" fmla="*/ 46301 w 264461"/>
                <a:gd name="connsiteY159" fmla="*/ 253517 h 512159"/>
                <a:gd name="connsiteX160" fmla="*/ 47320 w 264461"/>
                <a:gd name="connsiteY160" fmla="*/ 252727 h 512159"/>
                <a:gd name="connsiteX161" fmla="*/ 48149 w 264461"/>
                <a:gd name="connsiteY161" fmla="*/ 252612 h 512159"/>
                <a:gd name="connsiteX162" fmla="*/ 49025 w 264461"/>
                <a:gd name="connsiteY162" fmla="*/ 253432 h 512159"/>
                <a:gd name="connsiteX163" fmla="*/ 51578 w 264461"/>
                <a:gd name="connsiteY163" fmla="*/ 251146 h 512159"/>
                <a:gd name="connsiteX164" fmla="*/ 53921 w 264461"/>
                <a:gd name="connsiteY164" fmla="*/ 249927 h 512159"/>
                <a:gd name="connsiteX165" fmla="*/ 58169 w 264461"/>
                <a:gd name="connsiteY165" fmla="*/ 255451 h 512159"/>
                <a:gd name="connsiteX166" fmla="*/ 57607 w 264461"/>
                <a:gd name="connsiteY166" fmla="*/ 255956 h 512159"/>
                <a:gd name="connsiteX167" fmla="*/ 56254 w 264461"/>
                <a:gd name="connsiteY167" fmla="*/ 255813 h 512159"/>
                <a:gd name="connsiteX168" fmla="*/ 55750 w 264461"/>
                <a:gd name="connsiteY168" fmla="*/ 255041 h 512159"/>
                <a:gd name="connsiteX169" fmla="*/ 55473 w 264461"/>
                <a:gd name="connsiteY169" fmla="*/ 253860 h 512159"/>
                <a:gd name="connsiteX170" fmla="*/ 55445 w 264461"/>
                <a:gd name="connsiteY170" fmla="*/ 251698 h 512159"/>
                <a:gd name="connsiteX171" fmla="*/ 56264 w 264461"/>
                <a:gd name="connsiteY171" fmla="*/ 250145 h 512159"/>
                <a:gd name="connsiteX172" fmla="*/ 59731 w 264461"/>
                <a:gd name="connsiteY172" fmla="*/ 247802 h 512159"/>
                <a:gd name="connsiteX173" fmla="*/ 58160 w 264461"/>
                <a:gd name="connsiteY173" fmla="*/ 246974 h 512159"/>
                <a:gd name="connsiteX174" fmla="*/ 58102 w 264461"/>
                <a:gd name="connsiteY174" fmla="*/ 246383 h 512159"/>
                <a:gd name="connsiteX175" fmla="*/ 58998 w 264461"/>
                <a:gd name="connsiteY175" fmla="*/ 244431 h 512159"/>
                <a:gd name="connsiteX176" fmla="*/ 62722 w 264461"/>
                <a:gd name="connsiteY176" fmla="*/ 241392 h 512159"/>
                <a:gd name="connsiteX177" fmla="*/ 63722 w 264461"/>
                <a:gd name="connsiteY177" fmla="*/ 240840 h 512159"/>
                <a:gd name="connsiteX178" fmla="*/ 64713 w 264461"/>
                <a:gd name="connsiteY178" fmla="*/ 240925 h 512159"/>
                <a:gd name="connsiteX179" fmla="*/ 62789 w 264461"/>
                <a:gd name="connsiteY179" fmla="*/ 246317 h 512159"/>
                <a:gd name="connsiteX180" fmla="*/ 58169 w 264461"/>
                <a:gd name="connsiteY180" fmla="*/ 255451 h 512159"/>
                <a:gd name="connsiteX181" fmla="*/ 63303 w 264461"/>
                <a:gd name="connsiteY181" fmla="*/ 230124 h 512159"/>
                <a:gd name="connsiteX182" fmla="*/ 52654 w 264461"/>
                <a:gd name="connsiteY182" fmla="*/ 232801 h 512159"/>
                <a:gd name="connsiteX183" fmla="*/ 48987 w 264461"/>
                <a:gd name="connsiteY183" fmla="*/ 232563 h 512159"/>
                <a:gd name="connsiteX184" fmla="*/ 48654 w 264461"/>
                <a:gd name="connsiteY184" fmla="*/ 231248 h 512159"/>
                <a:gd name="connsiteX185" fmla="*/ 49387 w 264461"/>
                <a:gd name="connsiteY185" fmla="*/ 230372 h 512159"/>
                <a:gd name="connsiteX186" fmla="*/ 52426 w 264461"/>
                <a:gd name="connsiteY186" fmla="*/ 229524 h 512159"/>
                <a:gd name="connsiteX187" fmla="*/ 53654 w 264461"/>
                <a:gd name="connsiteY187" fmla="*/ 223076 h 512159"/>
                <a:gd name="connsiteX188" fmla="*/ 49063 w 264461"/>
                <a:gd name="connsiteY188" fmla="*/ 220094 h 512159"/>
                <a:gd name="connsiteX189" fmla="*/ 48825 w 264461"/>
                <a:gd name="connsiteY189" fmla="*/ 219265 h 512159"/>
                <a:gd name="connsiteX190" fmla="*/ 49187 w 264461"/>
                <a:gd name="connsiteY190" fmla="*/ 217846 h 512159"/>
                <a:gd name="connsiteX191" fmla="*/ 49721 w 264461"/>
                <a:gd name="connsiteY191" fmla="*/ 217208 h 512159"/>
                <a:gd name="connsiteX192" fmla="*/ 52502 w 264461"/>
                <a:gd name="connsiteY192" fmla="*/ 215703 h 512159"/>
                <a:gd name="connsiteX193" fmla="*/ 53673 w 264461"/>
                <a:gd name="connsiteY193" fmla="*/ 215370 h 512159"/>
                <a:gd name="connsiteX194" fmla="*/ 54626 w 264461"/>
                <a:gd name="connsiteY194" fmla="*/ 215570 h 512159"/>
                <a:gd name="connsiteX195" fmla="*/ 56588 w 264461"/>
                <a:gd name="connsiteY195" fmla="*/ 217313 h 512159"/>
                <a:gd name="connsiteX196" fmla="*/ 58798 w 264461"/>
                <a:gd name="connsiteY196" fmla="*/ 220961 h 512159"/>
                <a:gd name="connsiteX197" fmla="*/ 61760 w 264461"/>
                <a:gd name="connsiteY197" fmla="*/ 221542 h 512159"/>
                <a:gd name="connsiteX198" fmla="*/ 63770 w 264461"/>
                <a:gd name="connsiteY198" fmla="*/ 223085 h 512159"/>
                <a:gd name="connsiteX199" fmla="*/ 63303 w 264461"/>
                <a:gd name="connsiteY199" fmla="*/ 230124 h 512159"/>
                <a:gd name="connsiteX200" fmla="*/ 41119 w 264461"/>
                <a:gd name="connsiteY200" fmla="*/ 218504 h 512159"/>
                <a:gd name="connsiteX201" fmla="*/ 39605 w 264461"/>
                <a:gd name="connsiteY201" fmla="*/ 218770 h 512159"/>
                <a:gd name="connsiteX202" fmla="*/ 39491 w 264461"/>
                <a:gd name="connsiteY202" fmla="*/ 218084 h 512159"/>
                <a:gd name="connsiteX203" fmla="*/ 42129 w 264461"/>
                <a:gd name="connsiteY203" fmla="*/ 214808 h 512159"/>
                <a:gd name="connsiteX204" fmla="*/ 43834 w 264461"/>
                <a:gd name="connsiteY204" fmla="*/ 214265 h 512159"/>
                <a:gd name="connsiteX205" fmla="*/ 44434 w 264461"/>
                <a:gd name="connsiteY205" fmla="*/ 214589 h 512159"/>
                <a:gd name="connsiteX206" fmla="*/ 43196 w 264461"/>
                <a:gd name="connsiteY206" fmla="*/ 216494 h 512159"/>
                <a:gd name="connsiteX207" fmla="*/ 41119 w 264461"/>
                <a:gd name="connsiteY207" fmla="*/ 218504 h 512159"/>
                <a:gd name="connsiteX208" fmla="*/ 19488 w 264461"/>
                <a:gd name="connsiteY208" fmla="*/ 199977 h 512159"/>
                <a:gd name="connsiteX209" fmla="*/ 17135 w 264461"/>
                <a:gd name="connsiteY209" fmla="*/ 200644 h 512159"/>
                <a:gd name="connsiteX210" fmla="*/ 16268 w 264461"/>
                <a:gd name="connsiteY210" fmla="*/ 200254 h 512159"/>
                <a:gd name="connsiteX211" fmla="*/ 16116 w 264461"/>
                <a:gd name="connsiteY211" fmla="*/ 199635 h 512159"/>
                <a:gd name="connsiteX212" fmla="*/ 16650 w 264461"/>
                <a:gd name="connsiteY212" fmla="*/ 197949 h 512159"/>
                <a:gd name="connsiteX213" fmla="*/ 18450 w 264461"/>
                <a:gd name="connsiteY213" fmla="*/ 197348 h 512159"/>
                <a:gd name="connsiteX214" fmla="*/ 19755 w 264461"/>
                <a:gd name="connsiteY214" fmla="*/ 198263 h 512159"/>
                <a:gd name="connsiteX215" fmla="*/ 19964 w 264461"/>
                <a:gd name="connsiteY215" fmla="*/ 199092 h 512159"/>
                <a:gd name="connsiteX216" fmla="*/ 19488 w 264461"/>
                <a:gd name="connsiteY216" fmla="*/ 199977 h 512159"/>
                <a:gd name="connsiteX217" fmla="*/ 49911 w 264461"/>
                <a:gd name="connsiteY217" fmla="*/ 200015 h 512159"/>
                <a:gd name="connsiteX218" fmla="*/ 49120 w 264461"/>
                <a:gd name="connsiteY218" fmla="*/ 200644 h 512159"/>
                <a:gd name="connsiteX219" fmla="*/ 48120 w 264461"/>
                <a:gd name="connsiteY219" fmla="*/ 200520 h 512159"/>
                <a:gd name="connsiteX220" fmla="*/ 47130 w 264461"/>
                <a:gd name="connsiteY220" fmla="*/ 199711 h 512159"/>
                <a:gd name="connsiteX221" fmla="*/ 45815 w 264461"/>
                <a:gd name="connsiteY221" fmla="*/ 197406 h 512159"/>
                <a:gd name="connsiteX222" fmla="*/ 48768 w 264461"/>
                <a:gd name="connsiteY222" fmla="*/ 195805 h 512159"/>
                <a:gd name="connsiteX223" fmla="*/ 49949 w 264461"/>
                <a:gd name="connsiteY223" fmla="*/ 196748 h 512159"/>
                <a:gd name="connsiteX224" fmla="*/ 50397 w 264461"/>
                <a:gd name="connsiteY224" fmla="*/ 197825 h 512159"/>
                <a:gd name="connsiteX225" fmla="*/ 50416 w 264461"/>
                <a:gd name="connsiteY225" fmla="*/ 199015 h 512159"/>
                <a:gd name="connsiteX226" fmla="*/ 49911 w 264461"/>
                <a:gd name="connsiteY226" fmla="*/ 200015 h 512159"/>
                <a:gd name="connsiteX227" fmla="*/ 23955 w 264461"/>
                <a:gd name="connsiteY227" fmla="*/ 192624 h 512159"/>
                <a:gd name="connsiteX228" fmla="*/ 22822 w 264461"/>
                <a:gd name="connsiteY228" fmla="*/ 192900 h 512159"/>
                <a:gd name="connsiteX229" fmla="*/ 21346 w 264461"/>
                <a:gd name="connsiteY229" fmla="*/ 192634 h 512159"/>
                <a:gd name="connsiteX230" fmla="*/ 20431 w 264461"/>
                <a:gd name="connsiteY230" fmla="*/ 191872 h 512159"/>
                <a:gd name="connsiteX231" fmla="*/ 19507 w 264461"/>
                <a:gd name="connsiteY231" fmla="*/ 188852 h 512159"/>
                <a:gd name="connsiteX232" fmla="*/ 19336 w 264461"/>
                <a:gd name="connsiteY232" fmla="*/ 187023 h 512159"/>
                <a:gd name="connsiteX233" fmla="*/ 19745 w 264461"/>
                <a:gd name="connsiteY233" fmla="*/ 183614 h 512159"/>
                <a:gd name="connsiteX234" fmla="*/ 19650 w 264461"/>
                <a:gd name="connsiteY234" fmla="*/ 179527 h 512159"/>
                <a:gd name="connsiteX235" fmla="*/ 22698 w 264461"/>
                <a:gd name="connsiteY235" fmla="*/ 179403 h 512159"/>
                <a:gd name="connsiteX236" fmla="*/ 23488 w 264461"/>
                <a:gd name="connsiteY236" fmla="*/ 179994 h 512159"/>
                <a:gd name="connsiteX237" fmla="*/ 24012 w 264461"/>
                <a:gd name="connsiteY237" fmla="*/ 192100 h 512159"/>
                <a:gd name="connsiteX238" fmla="*/ 23955 w 264461"/>
                <a:gd name="connsiteY238" fmla="*/ 192624 h 512159"/>
                <a:gd name="connsiteX239" fmla="*/ 53502 w 264461"/>
                <a:gd name="connsiteY239" fmla="*/ 173384 h 512159"/>
                <a:gd name="connsiteX240" fmla="*/ 53464 w 264461"/>
                <a:gd name="connsiteY240" fmla="*/ 175574 h 512159"/>
                <a:gd name="connsiteX241" fmla="*/ 52987 w 264461"/>
                <a:gd name="connsiteY241" fmla="*/ 178156 h 512159"/>
                <a:gd name="connsiteX242" fmla="*/ 53597 w 264461"/>
                <a:gd name="connsiteY242" fmla="*/ 180889 h 512159"/>
                <a:gd name="connsiteX243" fmla="*/ 53740 w 264461"/>
                <a:gd name="connsiteY243" fmla="*/ 182842 h 512159"/>
                <a:gd name="connsiteX244" fmla="*/ 54864 w 264461"/>
                <a:gd name="connsiteY244" fmla="*/ 183461 h 512159"/>
                <a:gd name="connsiteX245" fmla="*/ 55550 w 264461"/>
                <a:gd name="connsiteY245" fmla="*/ 184356 h 512159"/>
                <a:gd name="connsiteX246" fmla="*/ 60560 w 264461"/>
                <a:gd name="connsiteY246" fmla="*/ 185356 h 512159"/>
                <a:gd name="connsiteX247" fmla="*/ 65218 w 264461"/>
                <a:gd name="connsiteY247" fmla="*/ 185071 h 512159"/>
                <a:gd name="connsiteX248" fmla="*/ 66113 w 264461"/>
                <a:gd name="connsiteY248" fmla="*/ 185871 h 512159"/>
                <a:gd name="connsiteX249" fmla="*/ 66218 w 264461"/>
                <a:gd name="connsiteY249" fmla="*/ 187147 h 512159"/>
                <a:gd name="connsiteX250" fmla="*/ 65484 w 264461"/>
                <a:gd name="connsiteY250" fmla="*/ 188548 h 512159"/>
                <a:gd name="connsiteX251" fmla="*/ 62827 w 264461"/>
                <a:gd name="connsiteY251" fmla="*/ 191100 h 512159"/>
                <a:gd name="connsiteX252" fmla="*/ 59664 w 264461"/>
                <a:gd name="connsiteY252" fmla="*/ 195224 h 512159"/>
                <a:gd name="connsiteX253" fmla="*/ 58721 w 264461"/>
                <a:gd name="connsiteY253" fmla="*/ 196082 h 512159"/>
                <a:gd name="connsiteX254" fmla="*/ 57702 w 264461"/>
                <a:gd name="connsiteY254" fmla="*/ 196120 h 512159"/>
                <a:gd name="connsiteX255" fmla="*/ 56969 w 264461"/>
                <a:gd name="connsiteY255" fmla="*/ 195748 h 512159"/>
                <a:gd name="connsiteX256" fmla="*/ 56445 w 264461"/>
                <a:gd name="connsiteY256" fmla="*/ 188414 h 512159"/>
                <a:gd name="connsiteX257" fmla="*/ 53016 w 264461"/>
                <a:gd name="connsiteY257" fmla="*/ 189357 h 512159"/>
                <a:gd name="connsiteX258" fmla="*/ 50254 w 264461"/>
                <a:gd name="connsiteY258" fmla="*/ 189252 h 512159"/>
                <a:gd name="connsiteX259" fmla="*/ 48739 w 264461"/>
                <a:gd name="connsiteY259" fmla="*/ 188357 h 512159"/>
                <a:gd name="connsiteX260" fmla="*/ 47682 w 264461"/>
                <a:gd name="connsiteY260" fmla="*/ 186633 h 512159"/>
                <a:gd name="connsiteX261" fmla="*/ 45539 w 264461"/>
                <a:gd name="connsiteY261" fmla="*/ 182194 h 512159"/>
                <a:gd name="connsiteX262" fmla="*/ 39310 w 264461"/>
                <a:gd name="connsiteY262" fmla="*/ 180442 h 512159"/>
                <a:gd name="connsiteX263" fmla="*/ 37547 w 264461"/>
                <a:gd name="connsiteY263" fmla="*/ 177984 h 512159"/>
                <a:gd name="connsiteX264" fmla="*/ 37014 w 264461"/>
                <a:gd name="connsiteY264" fmla="*/ 176498 h 512159"/>
                <a:gd name="connsiteX265" fmla="*/ 37233 w 264461"/>
                <a:gd name="connsiteY265" fmla="*/ 175679 h 512159"/>
                <a:gd name="connsiteX266" fmla="*/ 38528 w 264461"/>
                <a:gd name="connsiteY266" fmla="*/ 173850 h 512159"/>
                <a:gd name="connsiteX267" fmla="*/ 40148 w 264461"/>
                <a:gd name="connsiteY267" fmla="*/ 174498 h 512159"/>
                <a:gd name="connsiteX268" fmla="*/ 41148 w 264461"/>
                <a:gd name="connsiteY268" fmla="*/ 174098 h 512159"/>
                <a:gd name="connsiteX269" fmla="*/ 41757 w 264461"/>
                <a:gd name="connsiteY269" fmla="*/ 173279 h 512159"/>
                <a:gd name="connsiteX270" fmla="*/ 41748 w 264461"/>
                <a:gd name="connsiteY270" fmla="*/ 172603 h 512159"/>
                <a:gd name="connsiteX271" fmla="*/ 40900 w 264461"/>
                <a:gd name="connsiteY271" fmla="*/ 171012 h 512159"/>
                <a:gd name="connsiteX272" fmla="*/ 40862 w 264461"/>
                <a:gd name="connsiteY272" fmla="*/ 170517 h 512159"/>
                <a:gd name="connsiteX273" fmla="*/ 47234 w 264461"/>
                <a:gd name="connsiteY273" fmla="*/ 168497 h 512159"/>
                <a:gd name="connsiteX274" fmla="*/ 47796 w 264461"/>
                <a:gd name="connsiteY274" fmla="*/ 165335 h 512159"/>
                <a:gd name="connsiteX275" fmla="*/ 49178 w 264461"/>
                <a:gd name="connsiteY275" fmla="*/ 165078 h 512159"/>
                <a:gd name="connsiteX276" fmla="*/ 50759 w 264461"/>
                <a:gd name="connsiteY276" fmla="*/ 166116 h 512159"/>
                <a:gd name="connsiteX277" fmla="*/ 52921 w 264461"/>
                <a:gd name="connsiteY277" fmla="*/ 169402 h 512159"/>
                <a:gd name="connsiteX278" fmla="*/ 53502 w 264461"/>
                <a:gd name="connsiteY278" fmla="*/ 173384 h 512159"/>
                <a:gd name="connsiteX279" fmla="*/ 25136 w 264461"/>
                <a:gd name="connsiteY279" fmla="*/ 164525 h 512159"/>
                <a:gd name="connsiteX280" fmla="*/ 28156 w 264461"/>
                <a:gd name="connsiteY280" fmla="*/ 167326 h 512159"/>
                <a:gd name="connsiteX281" fmla="*/ 25755 w 264461"/>
                <a:gd name="connsiteY281" fmla="*/ 171974 h 512159"/>
                <a:gd name="connsiteX282" fmla="*/ 22069 w 264461"/>
                <a:gd name="connsiteY282" fmla="*/ 171955 h 512159"/>
                <a:gd name="connsiteX283" fmla="*/ 16878 w 264461"/>
                <a:gd name="connsiteY283" fmla="*/ 168564 h 512159"/>
                <a:gd name="connsiteX284" fmla="*/ 16859 w 264461"/>
                <a:gd name="connsiteY284" fmla="*/ 167869 h 512159"/>
                <a:gd name="connsiteX285" fmla="*/ 17288 w 264461"/>
                <a:gd name="connsiteY285" fmla="*/ 166849 h 512159"/>
                <a:gd name="connsiteX286" fmla="*/ 18069 w 264461"/>
                <a:gd name="connsiteY286" fmla="*/ 166040 h 512159"/>
                <a:gd name="connsiteX287" fmla="*/ 18878 w 264461"/>
                <a:gd name="connsiteY287" fmla="*/ 165849 h 512159"/>
                <a:gd name="connsiteX288" fmla="*/ 20164 w 264461"/>
                <a:gd name="connsiteY288" fmla="*/ 166402 h 512159"/>
                <a:gd name="connsiteX289" fmla="*/ 21955 w 264461"/>
                <a:gd name="connsiteY289" fmla="*/ 165506 h 512159"/>
                <a:gd name="connsiteX290" fmla="*/ 23384 w 264461"/>
                <a:gd name="connsiteY290" fmla="*/ 165792 h 512159"/>
                <a:gd name="connsiteX291" fmla="*/ 25136 w 264461"/>
                <a:gd name="connsiteY291" fmla="*/ 164525 h 512159"/>
                <a:gd name="connsiteX292" fmla="*/ 52054 w 264461"/>
                <a:gd name="connsiteY292" fmla="*/ 130245 h 512159"/>
                <a:gd name="connsiteX293" fmla="*/ 48654 w 264461"/>
                <a:gd name="connsiteY293" fmla="*/ 139094 h 512159"/>
                <a:gd name="connsiteX294" fmla="*/ 47320 w 264461"/>
                <a:gd name="connsiteY294" fmla="*/ 139313 h 512159"/>
                <a:gd name="connsiteX295" fmla="*/ 46149 w 264461"/>
                <a:gd name="connsiteY295" fmla="*/ 141522 h 512159"/>
                <a:gd name="connsiteX296" fmla="*/ 42529 w 264461"/>
                <a:gd name="connsiteY296" fmla="*/ 143951 h 512159"/>
                <a:gd name="connsiteX297" fmla="*/ 45691 w 264461"/>
                <a:gd name="connsiteY297" fmla="*/ 143999 h 512159"/>
                <a:gd name="connsiteX298" fmla="*/ 46577 w 264461"/>
                <a:gd name="connsiteY298" fmla="*/ 144809 h 512159"/>
                <a:gd name="connsiteX299" fmla="*/ 46596 w 264461"/>
                <a:gd name="connsiteY299" fmla="*/ 146552 h 512159"/>
                <a:gd name="connsiteX300" fmla="*/ 45996 w 264461"/>
                <a:gd name="connsiteY300" fmla="*/ 147561 h 512159"/>
                <a:gd name="connsiteX301" fmla="*/ 41910 w 264461"/>
                <a:gd name="connsiteY301" fmla="*/ 151581 h 512159"/>
                <a:gd name="connsiteX302" fmla="*/ 39100 w 264461"/>
                <a:gd name="connsiteY302" fmla="*/ 153105 h 512159"/>
                <a:gd name="connsiteX303" fmla="*/ 36071 w 264461"/>
                <a:gd name="connsiteY303" fmla="*/ 157296 h 512159"/>
                <a:gd name="connsiteX304" fmla="*/ 34537 w 264461"/>
                <a:gd name="connsiteY304" fmla="*/ 157344 h 512159"/>
                <a:gd name="connsiteX305" fmla="*/ 33023 w 264461"/>
                <a:gd name="connsiteY305" fmla="*/ 160001 h 512159"/>
                <a:gd name="connsiteX306" fmla="*/ 31785 w 264461"/>
                <a:gd name="connsiteY306" fmla="*/ 161172 h 512159"/>
                <a:gd name="connsiteX307" fmla="*/ 31080 w 264461"/>
                <a:gd name="connsiteY307" fmla="*/ 161172 h 512159"/>
                <a:gd name="connsiteX308" fmla="*/ 30280 w 264461"/>
                <a:gd name="connsiteY308" fmla="*/ 160582 h 512159"/>
                <a:gd name="connsiteX309" fmla="*/ 28403 w 264461"/>
                <a:gd name="connsiteY309" fmla="*/ 157982 h 512159"/>
                <a:gd name="connsiteX310" fmla="*/ 31813 w 264461"/>
                <a:gd name="connsiteY310" fmla="*/ 155420 h 512159"/>
                <a:gd name="connsiteX311" fmla="*/ 32128 w 264461"/>
                <a:gd name="connsiteY311" fmla="*/ 153981 h 512159"/>
                <a:gd name="connsiteX312" fmla="*/ 34461 w 264461"/>
                <a:gd name="connsiteY312" fmla="*/ 152476 h 512159"/>
                <a:gd name="connsiteX313" fmla="*/ 34261 w 264461"/>
                <a:gd name="connsiteY313" fmla="*/ 152010 h 512159"/>
                <a:gd name="connsiteX314" fmla="*/ 30556 w 264461"/>
                <a:gd name="connsiteY314" fmla="*/ 149895 h 512159"/>
                <a:gd name="connsiteX315" fmla="*/ 29099 w 264461"/>
                <a:gd name="connsiteY315" fmla="*/ 148476 h 512159"/>
                <a:gd name="connsiteX316" fmla="*/ 29232 w 264461"/>
                <a:gd name="connsiteY316" fmla="*/ 147733 h 512159"/>
                <a:gd name="connsiteX317" fmla="*/ 31013 w 264461"/>
                <a:gd name="connsiteY317" fmla="*/ 146095 h 512159"/>
                <a:gd name="connsiteX318" fmla="*/ 30175 w 264461"/>
                <a:gd name="connsiteY318" fmla="*/ 145885 h 512159"/>
                <a:gd name="connsiteX319" fmla="*/ 29604 w 264461"/>
                <a:gd name="connsiteY319" fmla="*/ 144999 h 512159"/>
                <a:gd name="connsiteX320" fmla="*/ 28575 w 264461"/>
                <a:gd name="connsiteY320" fmla="*/ 144656 h 512159"/>
                <a:gd name="connsiteX321" fmla="*/ 28260 w 264461"/>
                <a:gd name="connsiteY321" fmla="*/ 143837 h 512159"/>
                <a:gd name="connsiteX322" fmla="*/ 28070 w 264461"/>
                <a:gd name="connsiteY322" fmla="*/ 141665 h 512159"/>
                <a:gd name="connsiteX323" fmla="*/ 28346 w 264461"/>
                <a:gd name="connsiteY323" fmla="*/ 139446 h 512159"/>
                <a:gd name="connsiteX324" fmla="*/ 29423 w 264461"/>
                <a:gd name="connsiteY324" fmla="*/ 138465 h 512159"/>
                <a:gd name="connsiteX325" fmla="*/ 29861 w 264461"/>
                <a:gd name="connsiteY325" fmla="*/ 137417 h 512159"/>
                <a:gd name="connsiteX326" fmla="*/ 30299 w 264461"/>
                <a:gd name="connsiteY326" fmla="*/ 137093 h 512159"/>
                <a:gd name="connsiteX327" fmla="*/ 31966 w 264461"/>
                <a:gd name="connsiteY327" fmla="*/ 137655 h 512159"/>
                <a:gd name="connsiteX328" fmla="*/ 33661 w 264461"/>
                <a:gd name="connsiteY328" fmla="*/ 139437 h 512159"/>
                <a:gd name="connsiteX329" fmla="*/ 35642 w 264461"/>
                <a:gd name="connsiteY329" fmla="*/ 138751 h 512159"/>
                <a:gd name="connsiteX330" fmla="*/ 37938 w 264461"/>
                <a:gd name="connsiteY330" fmla="*/ 139084 h 512159"/>
                <a:gd name="connsiteX331" fmla="*/ 37985 w 264461"/>
                <a:gd name="connsiteY331" fmla="*/ 138674 h 512159"/>
                <a:gd name="connsiteX332" fmla="*/ 36300 w 264461"/>
                <a:gd name="connsiteY332" fmla="*/ 134303 h 512159"/>
                <a:gd name="connsiteX333" fmla="*/ 36604 w 264461"/>
                <a:gd name="connsiteY333" fmla="*/ 133407 h 512159"/>
                <a:gd name="connsiteX334" fmla="*/ 37519 w 264461"/>
                <a:gd name="connsiteY334" fmla="*/ 132388 h 512159"/>
                <a:gd name="connsiteX335" fmla="*/ 42815 w 264461"/>
                <a:gd name="connsiteY335" fmla="*/ 129254 h 512159"/>
                <a:gd name="connsiteX336" fmla="*/ 49416 w 264461"/>
                <a:gd name="connsiteY336" fmla="*/ 123977 h 512159"/>
                <a:gd name="connsiteX337" fmla="*/ 51016 w 264461"/>
                <a:gd name="connsiteY337" fmla="*/ 123149 h 512159"/>
                <a:gd name="connsiteX338" fmla="*/ 51502 w 264461"/>
                <a:gd name="connsiteY338" fmla="*/ 123873 h 512159"/>
                <a:gd name="connsiteX339" fmla="*/ 52168 w 264461"/>
                <a:gd name="connsiteY339" fmla="*/ 126606 h 512159"/>
                <a:gd name="connsiteX340" fmla="*/ 52054 w 264461"/>
                <a:gd name="connsiteY340" fmla="*/ 130245 h 512159"/>
                <a:gd name="connsiteX341" fmla="*/ 134626 w 264461"/>
                <a:gd name="connsiteY341" fmla="*/ 122482 h 512159"/>
                <a:gd name="connsiteX342" fmla="*/ 134855 w 264461"/>
                <a:gd name="connsiteY342" fmla="*/ 126654 h 512159"/>
                <a:gd name="connsiteX343" fmla="*/ 134541 w 264461"/>
                <a:gd name="connsiteY343" fmla="*/ 127921 h 512159"/>
                <a:gd name="connsiteX344" fmla="*/ 133902 w 264461"/>
                <a:gd name="connsiteY344" fmla="*/ 129483 h 512159"/>
                <a:gd name="connsiteX345" fmla="*/ 131883 w 264461"/>
                <a:gd name="connsiteY345" fmla="*/ 132388 h 512159"/>
                <a:gd name="connsiteX346" fmla="*/ 126568 w 264461"/>
                <a:gd name="connsiteY346" fmla="*/ 136531 h 512159"/>
                <a:gd name="connsiteX347" fmla="*/ 116843 w 264461"/>
                <a:gd name="connsiteY347" fmla="*/ 146018 h 512159"/>
                <a:gd name="connsiteX348" fmla="*/ 111090 w 264461"/>
                <a:gd name="connsiteY348" fmla="*/ 150704 h 512159"/>
                <a:gd name="connsiteX349" fmla="*/ 110299 w 264461"/>
                <a:gd name="connsiteY349" fmla="*/ 152953 h 512159"/>
                <a:gd name="connsiteX350" fmla="*/ 109871 w 264461"/>
                <a:gd name="connsiteY350" fmla="*/ 156077 h 512159"/>
                <a:gd name="connsiteX351" fmla="*/ 113309 w 264461"/>
                <a:gd name="connsiteY351" fmla="*/ 156696 h 512159"/>
                <a:gd name="connsiteX352" fmla="*/ 114643 w 264461"/>
                <a:gd name="connsiteY352" fmla="*/ 157753 h 512159"/>
                <a:gd name="connsiteX353" fmla="*/ 113824 w 264461"/>
                <a:gd name="connsiteY353" fmla="*/ 159334 h 512159"/>
                <a:gd name="connsiteX354" fmla="*/ 108728 w 264461"/>
                <a:gd name="connsiteY354" fmla="*/ 164830 h 512159"/>
                <a:gd name="connsiteX355" fmla="*/ 107232 w 264461"/>
                <a:gd name="connsiteY355" fmla="*/ 169783 h 512159"/>
                <a:gd name="connsiteX356" fmla="*/ 111138 w 264461"/>
                <a:gd name="connsiteY356" fmla="*/ 169602 h 512159"/>
                <a:gd name="connsiteX357" fmla="*/ 114357 w 264461"/>
                <a:gd name="connsiteY357" fmla="*/ 168650 h 512159"/>
                <a:gd name="connsiteX358" fmla="*/ 120767 w 264461"/>
                <a:gd name="connsiteY358" fmla="*/ 165563 h 512159"/>
                <a:gd name="connsiteX359" fmla="*/ 126797 w 264461"/>
                <a:gd name="connsiteY359" fmla="*/ 163268 h 512159"/>
                <a:gd name="connsiteX360" fmla="*/ 129692 w 264461"/>
                <a:gd name="connsiteY360" fmla="*/ 163173 h 512159"/>
                <a:gd name="connsiteX361" fmla="*/ 135322 w 264461"/>
                <a:gd name="connsiteY361" fmla="*/ 165002 h 512159"/>
                <a:gd name="connsiteX362" fmla="*/ 136598 w 264461"/>
                <a:gd name="connsiteY362" fmla="*/ 165059 h 512159"/>
                <a:gd name="connsiteX363" fmla="*/ 138989 w 264461"/>
                <a:gd name="connsiteY363" fmla="*/ 164211 h 512159"/>
                <a:gd name="connsiteX364" fmla="*/ 141408 w 264461"/>
                <a:gd name="connsiteY364" fmla="*/ 164059 h 512159"/>
                <a:gd name="connsiteX365" fmla="*/ 157772 w 264461"/>
                <a:gd name="connsiteY365" fmla="*/ 164630 h 512159"/>
                <a:gd name="connsiteX366" fmla="*/ 162325 w 264461"/>
                <a:gd name="connsiteY366" fmla="*/ 163554 h 512159"/>
                <a:gd name="connsiteX367" fmla="*/ 165335 w 264461"/>
                <a:gd name="connsiteY367" fmla="*/ 164840 h 512159"/>
                <a:gd name="connsiteX368" fmla="*/ 167849 w 264461"/>
                <a:gd name="connsiteY368" fmla="*/ 168040 h 512159"/>
                <a:gd name="connsiteX369" fmla="*/ 170240 w 264461"/>
                <a:gd name="connsiteY369" fmla="*/ 173936 h 512159"/>
                <a:gd name="connsiteX370" fmla="*/ 170164 w 264461"/>
                <a:gd name="connsiteY370" fmla="*/ 174917 h 512159"/>
                <a:gd name="connsiteX371" fmla="*/ 168716 w 264461"/>
                <a:gd name="connsiteY371" fmla="*/ 177594 h 512159"/>
                <a:gd name="connsiteX372" fmla="*/ 166049 w 264461"/>
                <a:gd name="connsiteY372" fmla="*/ 180947 h 512159"/>
                <a:gd name="connsiteX373" fmla="*/ 163754 w 264461"/>
                <a:gd name="connsiteY373" fmla="*/ 185556 h 512159"/>
                <a:gd name="connsiteX374" fmla="*/ 163087 w 264461"/>
                <a:gd name="connsiteY374" fmla="*/ 188033 h 512159"/>
                <a:gd name="connsiteX375" fmla="*/ 162639 w 264461"/>
                <a:gd name="connsiteY375" fmla="*/ 190748 h 512159"/>
                <a:gd name="connsiteX376" fmla="*/ 161915 w 264461"/>
                <a:gd name="connsiteY376" fmla="*/ 193253 h 512159"/>
                <a:gd name="connsiteX377" fmla="*/ 157353 w 264461"/>
                <a:gd name="connsiteY377" fmla="*/ 204969 h 512159"/>
                <a:gd name="connsiteX378" fmla="*/ 152905 w 264461"/>
                <a:gd name="connsiteY378" fmla="*/ 211426 h 512159"/>
                <a:gd name="connsiteX379" fmla="*/ 150924 w 264461"/>
                <a:gd name="connsiteY379" fmla="*/ 215998 h 512159"/>
                <a:gd name="connsiteX380" fmla="*/ 148476 w 264461"/>
                <a:gd name="connsiteY380" fmla="*/ 219628 h 512159"/>
                <a:gd name="connsiteX381" fmla="*/ 146113 w 264461"/>
                <a:gd name="connsiteY381" fmla="*/ 221913 h 512159"/>
                <a:gd name="connsiteX382" fmla="*/ 143599 w 264461"/>
                <a:gd name="connsiteY382" fmla="*/ 223438 h 512159"/>
                <a:gd name="connsiteX383" fmla="*/ 136322 w 264461"/>
                <a:gd name="connsiteY383" fmla="*/ 225057 h 512159"/>
                <a:gd name="connsiteX384" fmla="*/ 134283 w 264461"/>
                <a:gd name="connsiteY384" fmla="*/ 226219 h 512159"/>
                <a:gd name="connsiteX385" fmla="*/ 131854 w 264461"/>
                <a:gd name="connsiteY385" fmla="*/ 228210 h 512159"/>
                <a:gd name="connsiteX386" fmla="*/ 129302 w 264461"/>
                <a:gd name="connsiteY386" fmla="*/ 229200 h 512159"/>
                <a:gd name="connsiteX387" fmla="*/ 132293 w 264461"/>
                <a:gd name="connsiteY387" fmla="*/ 229076 h 512159"/>
                <a:gd name="connsiteX388" fmla="*/ 135255 w 264461"/>
                <a:gd name="connsiteY388" fmla="*/ 227971 h 512159"/>
                <a:gd name="connsiteX389" fmla="*/ 140656 w 264461"/>
                <a:gd name="connsiteY389" fmla="*/ 227571 h 512159"/>
                <a:gd name="connsiteX390" fmla="*/ 146866 w 264461"/>
                <a:gd name="connsiteY390" fmla="*/ 231381 h 512159"/>
                <a:gd name="connsiteX391" fmla="*/ 146285 w 264461"/>
                <a:gd name="connsiteY391" fmla="*/ 234496 h 512159"/>
                <a:gd name="connsiteX392" fmla="*/ 143789 w 264461"/>
                <a:gd name="connsiteY392" fmla="*/ 236954 h 512159"/>
                <a:gd name="connsiteX393" fmla="*/ 138113 w 264461"/>
                <a:gd name="connsiteY393" fmla="*/ 237344 h 512159"/>
                <a:gd name="connsiteX394" fmla="*/ 132807 w 264461"/>
                <a:gd name="connsiteY394" fmla="*/ 242802 h 512159"/>
                <a:gd name="connsiteX395" fmla="*/ 130416 w 264461"/>
                <a:gd name="connsiteY395" fmla="*/ 244478 h 512159"/>
                <a:gd name="connsiteX396" fmla="*/ 127883 w 264461"/>
                <a:gd name="connsiteY396" fmla="*/ 245307 h 512159"/>
                <a:gd name="connsiteX397" fmla="*/ 124720 w 264461"/>
                <a:gd name="connsiteY397" fmla="*/ 245059 h 512159"/>
                <a:gd name="connsiteX398" fmla="*/ 118977 w 264461"/>
                <a:gd name="connsiteY398" fmla="*/ 243602 h 512159"/>
                <a:gd name="connsiteX399" fmla="*/ 116462 w 264461"/>
                <a:gd name="connsiteY399" fmla="*/ 242078 h 512159"/>
                <a:gd name="connsiteX400" fmla="*/ 118729 w 264461"/>
                <a:gd name="connsiteY400" fmla="*/ 244564 h 512159"/>
                <a:gd name="connsiteX401" fmla="*/ 121310 w 264461"/>
                <a:gd name="connsiteY401" fmla="*/ 245859 h 512159"/>
                <a:gd name="connsiteX402" fmla="*/ 136255 w 264461"/>
                <a:gd name="connsiteY402" fmla="*/ 248917 h 512159"/>
                <a:gd name="connsiteX403" fmla="*/ 137160 w 264461"/>
                <a:gd name="connsiteY403" fmla="*/ 248593 h 512159"/>
                <a:gd name="connsiteX404" fmla="*/ 141922 w 264461"/>
                <a:gd name="connsiteY404" fmla="*/ 245374 h 512159"/>
                <a:gd name="connsiteX405" fmla="*/ 148276 w 264461"/>
                <a:gd name="connsiteY405" fmla="*/ 245326 h 512159"/>
                <a:gd name="connsiteX406" fmla="*/ 160363 w 264461"/>
                <a:gd name="connsiteY406" fmla="*/ 251250 h 512159"/>
                <a:gd name="connsiteX407" fmla="*/ 163839 w 264461"/>
                <a:gd name="connsiteY407" fmla="*/ 255775 h 512159"/>
                <a:gd name="connsiteX408" fmla="*/ 168830 w 264461"/>
                <a:gd name="connsiteY408" fmla="*/ 262223 h 512159"/>
                <a:gd name="connsiteX409" fmla="*/ 171545 w 264461"/>
                <a:gd name="connsiteY409" fmla="*/ 264738 h 512159"/>
                <a:gd name="connsiteX410" fmla="*/ 173507 w 264461"/>
                <a:gd name="connsiteY410" fmla="*/ 267014 h 512159"/>
                <a:gd name="connsiteX411" fmla="*/ 174717 w 264461"/>
                <a:gd name="connsiteY411" fmla="*/ 270415 h 512159"/>
                <a:gd name="connsiteX412" fmla="*/ 177060 w 264461"/>
                <a:gd name="connsiteY412" fmla="*/ 281616 h 512159"/>
                <a:gd name="connsiteX413" fmla="*/ 179737 w 264461"/>
                <a:gd name="connsiteY413" fmla="*/ 292494 h 512159"/>
                <a:gd name="connsiteX414" fmla="*/ 183232 w 264461"/>
                <a:gd name="connsiteY414" fmla="*/ 304209 h 512159"/>
                <a:gd name="connsiteX415" fmla="*/ 184823 w 264461"/>
                <a:gd name="connsiteY415" fmla="*/ 307448 h 512159"/>
                <a:gd name="connsiteX416" fmla="*/ 186909 w 264461"/>
                <a:gd name="connsiteY416" fmla="*/ 309715 h 512159"/>
                <a:gd name="connsiteX417" fmla="*/ 197463 w 264461"/>
                <a:gd name="connsiteY417" fmla="*/ 314916 h 512159"/>
                <a:gd name="connsiteX418" fmla="*/ 199815 w 264461"/>
                <a:gd name="connsiteY418" fmla="*/ 316640 h 512159"/>
                <a:gd name="connsiteX419" fmla="*/ 203911 w 264461"/>
                <a:gd name="connsiteY419" fmla="*/ 321631 h 512159"/>
                <a:gd name="connsiteX420" fmla="*/ 207864 w 264461"/>
                <a:gd name="connsiteY420" fmla="*/ 326936 h 512159"/>
                <a:gd name="connsiteX421" fmla="*/ 211541 w 264461"/>
                <a:gd name="connsiteY421" fmla="*/ 331003 h 512159"/>
                <a:gd name="connsiteX422" fmla="*/ 215512 w 264461"/>
                <a:gd name="connsiteY422" fmla="*/ 334289 h 512159"/>
                <a:gd name="connsiteX423" fmla="*/ 213588 w 264461"/>
                <a:gd name="connsiteY423" fmla="*/ 335994 h 512159"/>
                <a:gd name="connsiteX424" fmla="*/ 212274 w 264461"/>
                <a:gd name="connsiteY424" fmla="*/ 338671 h 512159"/>
                <a:gd name="connsiteX425" fmla="*/ 213265 w 264461"/>
                <a:gd name="connsiteY425" fmla="*/ 342300 h 512159"/>
                <a:gd name="connsiteX426" fmla="*/ 214874 w 264461"/>
                <a:gd name="connsiteY426" fmla="*/ 345757 h 512159"/>
                <a:gd name="connsiteX427" fmla="*/ 218046 w 264461"/>
                <a:gd name="connsiteY427" fmla="*/ 351282 h 512159"/>
                <a:gd name="connsiteX428" fmla="*/ 220846 w 264461"/>
                <a:gd name="connsiteY428" fmla="*/ 357292 h 512159"/>
                <a:gd name="connsiteX429" fmla="*/ 219818 w 264461"/>
                <a:gd name="connsiteY429" fmla="*/ 356388 h 512159"/>
                <a:gd name="connsiteX430" fmla="*/ 218732 w 264461"/>
                <a:gd name="connsiteY430" fmla="*/ 355892 h 512159"/>
                <a:gd name="connsiteX431" fmla="*/ 217246 w 264461"/>
                <a:gd name="connsiteY431" fmla="*/ 356045 h 512159"/>
                <a:gd name="connsiteX432" fmla="*/ 215798 w 264461"/>
                <a:gd name="connsiteY432" fmla="*/ 355759 h 512159"/>
                <a:gd name="connsiteX433" fmla="*/ 213122 w 264461"/>
                <a:gd name="connsiteY433" fmla="*/ 353873 h 512159"/>
                <a:gd name="connsiteX434" fmla="*/ 210550 w 264461"/>
                <a:gd name="connsiteY434" fmla="*/ 351558 h 512159"/>
                <a:gd name="connsiteX435" fmla="*/ 205435 w 264461"/>
                <a:gd name="connsiteY435" fmla="*/ 352492 h 512159"/>
                <a:gd name="connsiteX436" fmla="*/ 202597 w 264461"/>
                <a:gd name="connsiteY436" fmla="*/ 352073 h 512159"/>
                <a:gd name="connsiteX437" fmla="*/ 200130 w 264461"/>
                <a:gd name="connsiteY437" fmla="*/ 352139 h 512159"/>
                <a:gd name="connsiteX438" fmla="*/ 204806 w 264461"/>
                <a:gd name="connsiteY438" fmla="*/ 353473 h 512159"/>
                <a:gd name="connsiteX439" fmla="*/ 209921 w 264461"/>
                <a:gd name="connsiteY439" fmla="*/ 353568 h 512159"/>
                <a:gd name="connsiteX440" fmla="*/ 221199 w 264461"/>
                <a:gd name="connsiteY440" fmla="*/ 363636 h 512159"/>
                <a:gd name="connsiteX441" fmla="*/ 225009 w 264461"/>
                <a:gd name="connsiteY441" fmla="*/ 369579 h 512159"/>
                <a:gd name="connsiteX442" fmla="*/ 227276 w 264461"/>
                <a:gd name="connsiteY442" fmla="*/ 377400 h 512159"/>
                <a:gd name="connsiteX443" fmla="*/ 225733 w 264461"/>
                <a:gd name="connsiteY443" fmla="*/ 380905 h 512159"/>
                <a:gd name="connsiteX444" fmla="*/ 223333 w 264461"/>
                <a:gd name="connsiteY444" fmla="*/ 383172 h 512159"/>
                <a:gd name="connsiteX445" fmla="*/ 221094 w 264461"/>
                <a:gd name="connsiteY445" fmla="*/ 385753 h 512159"/>
                <a:gd name="connsiteX446" fmla="*/ 218989 w 264461"/>
                <a:gd name="connsiteY446" fmla="*/ 388677 h 512159"/>
                <a:gd name="connsiteX447" fmla="*/ 225247 w 264461"/>
                <a:gd name="connsiteY447" fmla="*/ 392954 h 512159"/>
                <a:gd name="connsiteX448" fmla="*/ 226600 w 264461"/>
                <a:gd name="connsiteY448" fmla="*/ 392830 h 512159"/>
                <a:gd name="connsiteX449" fmla="*/ 227981 w 264461"/>
                <a:gd name="connsiteY449" fmla="*/ 392230 h 512159"/>
                <a:gd name="connsiteX450" fmla="*/ 229314 w 264461"/>
                <a:gd name="connsiteY450" fmla="*/ 390773 h 512159"/>
                <a:gd name="connsiteX451" fmla="*/ 231553 w 264461"/>
                <a:gd name="connsiteY451" fmla="*/ 387220 h 512159"/>
                <a:gd name="connsiteX452" fmla="*/ 232705 w 264461"/>
                <a:gd name="connsiteY452" fmla="*/ 385963 h 512159"/>
                <a:gd name="connsiteX453" fmla="*/ 236601 w 264461"/>
                <a:gd name="connsiteY453" fmla="*/ 385505 h 512159"/>
                <a:gd name="connsiteX454" fmla="*/ 239868 w 264461"/>
                <a:gd name="connsiteY454" fmla="*/ 385782 h 512159"/>
                <a:gd name="connsiteX455" fmla="*/ 243116 w 264461"/>
                <a:gd name="connsiteY455" fmla="*/ 386572 h 512159"/>
                <a:gd name="connsiteX456" fmla="*/ 245983 w 264461"/>
                <a:gd name="connsiteY456" fmla="*/ 386324 h 512159"/>
                <a:gd name="connsiteX457" fmla="*/ 251746 w 264461"/>
                <a:gd name="connsiteY457" fmla="*/ 387848 h 512159"/>
                <a:gd name="connsiteX458" fmla="*/ 254708 w 264461"/>
                <a:gd name="connsiteY458" fmla="*/ 389220 h 512159"/>
                <a:gd name="connsiteX459" fmla="*/ 262052 w 264461"/>
                <a:gd name="connsiteY459" fmla="*/ 395383 h 512159"/>
                <a:gd name="connsiteX460" fmla="*/ 263642 w 264461"/>
                <a:gd name="connsiteY460" fmla="*/ 398755 h 512159"/>
                <a:gd name="connsiteX461" fmla="*/ 264376 w 264461"/>
                <a:gd name="connsiteY461" fmla="*/ 403098 h 512159"/>
                <a:gd name="connsiteX462" fmla="*/ 264461 w 264461"/>
                <a:gd name="connsiteY462" fmla="*/ 407899 h 512159"/>
                <a:gd name="connsiteX463" fmla="*/ 263223 w 264461"/>
                <a:gd name="connsiteY463" fmla="*/ 412270 h 512159"/>
                <a:gd name="connsiteX464" fmla="*/ 261804 w 264461"/>
                <a:gd name="connsiteY464" fmla="*/ 416214 h 512159"/>
                <a:gd name="connsiteX465" fmla="*/ 260928 w 264461"/>
                <a:gd name="connsiteY465" fmla="*/ 421291 h 512159"/>
                <a:gd name="connsiteX466" fmla="*/ 260309 w 264461"/>
                <a:gd name="connsiteY466" fmla="*/ 423120 h 512159"/>
                <a:gd name="connsiteX467" fmla="*/ 259442 w 264461"/>
                <a:gd name="connsiteY467" fmla="*/ 424548 h 512159"/>
                <a:gd name="connsiteX468" fmla="*/ 255556 w 264461"/>
                <a:gd name="connsiteY468" fmla="*/ 428539 h 512159"/>
                <a:gd name="connsiteX469" fmla="*/ 252974 w 264461"/>
                <a:gd name="connsiteY469" fmla="*/ 430178 h 512159"/>
                <a:gd name="connsiteX470" fmla="*/ 251888 w 264461"/>
                <a:gd name="connsiteY470" fmla="*/ 429463 h 512159"/>
                <a:gd name="connsiteX471" fmla="*/ 250717 w 264461"/>
                <a:gd name="connsiteY471" fmla="*/ 429558 h 512159"/>
                <a:gd name="connsiteX472" fmla="*/ 250593 w 264461"/>
                <a:gd name="connsiteY472" fmla="*/ 430521 h 512159"/>
                <a:gd name="connsiteX473" fmla="*/ 251822 w 264461"/>
                <a:gd name="connsiteY473" fmla="*/ 432549 h 512159"/>
                <a:gd name="connsiteX474" fmla="*/ 251831 w 264461"/>
                <a:gd name="connsiteY474" fmla="*/ 434997 h 512159"/>
                <a:gd name="connsiteX475" fmla="*/ 249536 w 264461"/>
                <a:gd name="connsiteY475" fmla="*/ 436807 h 512159"/>
                <a:gd name="connsiteX476" fmla="*/ 247202 w 264461"/>
                <a:gd name="connsiteY476" fmla="*/ 437579 h 512159"/>
                <a:gd name="connsiteX477" fmla="*/ 243297 w 264461"/>
                <a:gd name="connsiteY477" fmla="*/ 436616 h 512159"/>
                <a:gd name="connsiteX478" fmla="*/ 237877 w 264461"/>
                <a:gd name="connsiteY478" fmla="*/ 439988 h 512159"/>
                <a:gd name="connsiteX479" fmla="*/ 241773 w 264461"/>
                <a:gd name="connsiteY479" fmla="*/ 441722 h 512159"/>
                <a:gd name="connsiteX480" fmla="*/ 242563 w 264461"/>
                <a:gd name="connsiteY480" fmla="*/ 443560 h 512159"/>
                <a:gd name="connsiteX481" fmla="*/ 241592 w 264461"/>
                <a:gd name="connsiteY481" fmla="*/ 446789 h 512159"/>
                <a:gd name="connsiteX482" fmla="*/ 239144 w 264461"/>
                <a:gd name="connsiteY482" fmla="*/ 448228 h 512159"/>
                <a:gd name="connsiteX483" fmla="*/ 236420 w 264461"/>
                <a:gd name="connsiteY483" fmla="*/ 448866 h 512159"/>
                <a:gd name="connsiteX484" fmla="*/ 233639 w 264461"/>
                <a:gd name="connsiteY484" fmla="*/ 449018 h 512159"/>
                <a:gd name="connsiteX485" fmla="*/ 231334 w 264461"/>
                <a:gd name="connsiteY485" fmla="*/ 449809 h 512159"/>
                <a:gd name="connsiteX486" fmla="*/ 229124 w 264461"/>
                <a:gd name="connsiteY486" fmla="*/ 451333 h 512159"/>
                <a:gd name="connsiteX487" fmla="*/ 231895 w 264461"/>
                <a:gd name="connsiteY487" fmla="*/ 450532 h 512159"/>
                <a:gd name="connsiteX488" fmla="*/ 233819 w 264461"/>
                <a:gd name="connsiteY488" fmla="*/ 451237 h 512159"/>
                <a:gd name="connsiteX489" fmla="*/ 235029 w 264461"/>
                <a:gd name="connsiteY489" fmla="*/ 453942 h 512159"/>
                <a:gd name="connsiteX490" fmla="*/ 236125 w 264461"/>
                <a:gd name="connsiteY490" fmla="*/ 454723 h 512159"/>
                <a:gd name="connsiteX491" fmla="*/ 241554 w 264461"/>
                <a:gd name="connsiteY491" fmla="*/ 455876 h 512159"/>
                <a:gd name="connsiteX492" fmla="*/ 244907 w 264461"/>
                <a:gd name="connsiteY492" fmla="*/ 455867 h 512159"/>
                <a:gd name="connsiteX493" fmla="*/ 251384 w 264461"/>
                <a:gd name="connsiteY493" fmla="*/ 455209 h 512159"/>
                <a:gd name="connsiteX494" fmla="*/ 254498 w 264461"/>
                <a:gd name="connsiteY494" fmla="*/ 455219 h 512159"/>
                <a:gd name="connsiteX495" fmla="*/ 255603 w 264461"/>
                <a:gd name="connsiteY495" fmla="*/ 455714 h 512159"/>
                <a:gd name="connsiteX496" fmla="*/ 255622 w 264461"/>
                <a:gd name="connsiteY496" fmla="*/ 457953 h 512159"/>
                <a:gd name="connsiteX497" fmla="*/ 255146 w 264461"/>
                <a:gd name="connsiteY497" fmla="*/ 463439 h 512159"/>
                <a:gd name="connsiteX498" fmla="*/ 254289 w 264461"/>
                <a:gd name="connsiteY498" fmla="*/ 464573 h 512159"/>
                <a:gd name="connsiteX499" fmla="*/ 245707 w 264461"/>
                <a:gd name="connsiteY499" fmla="*/ 469164 h 512159"/>
                <a:gd name="connsiteX500" fmla="*/ 243945 w 264461"/>
                <a:gd name="connsiteY500" fmla="*/ 472364 h 512159"/>
                <a:gd name="connsiteX501" fmla="*/ 243459 w 264461"/>
                <a:gd name="connsiteY501" fmla="*/ 474298 h 512159"/>
                <a:gd name="connsiteX502" fmla="*/ 238439 w 264461"/>
                <a:gd name="connsiteY502" fmla="*/ 473955 h 512159"/>
                <a:gd name="connsiteX503" fmla="*/ 236086 w 264461"/>
                <a:gd name="connsiteY503" fmla="*/ 476002 h 512159"/>
                <a:gd name="connsiteX504" fmla="*/ 232019 w 264461"/>
                <a:gd name="connsiteY504" fmla="*/ 477364 h 512159"/>
                <a:gd name="connsiteX505" fmla="*/ 228876 w 264461"/>
                <a:gd name="connsiteY505" fmla="*/ 478803 h 512159"/>
                <a:gd name="connsiteX506" fmla="*/ 225800 w 264461"/>
                <a:gd name="connsiteY506" fmla="*/ 480622 h 512159"/>
                <a:gd name="connsiteX507" fmla="*/ 223266 w 264461"/>
                <a:gd name="connsiteY507" fmla="*/ 481165 h 512159"/>
                <a:gd name="connsiteX508" fmla="*/ 212341 w 264461"/>
                <a:gd name="connsiteY508" fmla="*/ 479003 h 512159"/>
                <a:gd name="connsiteX509" fmla="*/ 205740 w 264461"/>
                <a:gd name="connsiteY509" fmla="*/ 479184 h 512159"/>
                <a:gd name="connsiteX510" fmla="*/ 196796 w 264461"/>
                <a:gd name="connsiteY510" fmla="*/ 481070 h 512159"/>
                <a:gd name="connsiteX511" fmla="*/ 194491 w 264461"/>
                <a:gd name="connsiteY511" fmla="*/ 480755 h 512159"/>
                <a:gd name="connsiteX512" fmla="*/ 191043 w 264461"/>
                <a:gd name="connsiteY512" fmla="*/ 478955 h 512159"/>
                <a:gd name="connsiteX513" fmla="*/ 187500 w 264461"/>
                <a:gd name="connsiteY513" fmla="*/ 477736 h 512159"/>
                <a:gd name="connsiteX514" fmla="*/ 183432 w 264461"/>
                <a:gd name="connsiteY514" fmla="*/ 477203 h 512159"/>
                <a:gd name="connsiteX515" fmla="*/ 179918 w 264461"/>
                <a:gd name="connsiteY515" fmla="*/ 475526 h 512159"/>
                <a:gd name="connsiteX516" fmla="*/ 182108 w 264461"/>
                <a:gd name="connsiteY516" fmla="*/ 478736 h 512159"/>
                <a:gd name="connsiteX517" fmla="*/ 177241 w 264461"/>
                <a:gd name="connsiteY517" fmla="*/ 481832 h 512159"/>
                <a:gd name="connsiteX518" fmla="*/ 174993 w 264461"/>
                <a:gd name="connsiteY518" fmla="*/ 482441 h 512159"/>
                <a:gd name="connsiteX519" fmla="*/ 172660 w 264461"/>
                <a:gd name="connsiteY519" fmla="*/ 482346 h 512159"/>
                <a:gd name="connsiteX520" fmla="*/ 167897 w 264461"/>
                <a:gd name="connsiteY520" fmla="*/ 483184 h 512159"/>
                <a:gd name="connsiteX521" fmla="*/ 163468 w 264461"/>
                <a:gd name="connsiteY521" fmla="*/ 482727 h 512159"/>
                <a:gd name="connsiteX522" fmla="*/ 164135 w 264461"/>
                <a:gd name="connsiteY522" fmla="*/ 484918 h 512159"/>
                <a:gd name="connsiteX523" fmla="*/ 165316 w 264461"/>
                <a:gd name="connsiteY523" fmla="*/ 486832 h 512159"/>
                <a:gd name="connsiteX524" fmla="*/ 164354 w 264461"/>
                <a:gd name="connsiteY524" fmla="*/ 487661 h 512159"/>
                <a:gd name="connsiteX525" fmla="*/ 163344 w 264461"/>
                <a:gd name="connsiteY525" fmla="*/ 487871 h 512159"/>
                <a:gd name="connsiteX526" fmla="*/ 154943 w 264461"/>
                <a:gd name="connsiteY526" fmla="*/ 486432 h 512159"/>
                <a:gd name="connsiteX527" fmla="*/ 153753 w 264461"/>
                <a:gd name="connsiteY527" fmla="*/ 486699 h 512159"/>
                <a:gd name="connsiteX528" fmla="*/ 152714 w 264461"/>
                <a:gd name="connsiteY528" fmla="*/ 488032 h 512159"/>
                <a:gd name="connsiteX529" fmla="*/ 149657 w 264461"/>
                <a:gd name="connsiteY529" fmla="*/ 487318 h 512159"/>
                <a:gd name="connsiteX530" fmla="*/ 146685 w 264461"/>
                <a:gd name="connsiteY530" fmla="*/ 485080 h 512159"/>
                <a:gd name="connsiteX531" fmla="*/ 143532 w 264461"/>
                <a:gd name="connsiteY531" fmla="*/ 483565 h 512159"/>
                <a:gd name="connsiteX532" fmla="*/ 140217 w 264461"/>
                <a:gd name="connsiteY532" fmla="*/ 482851 h 512159"/>
                <a:gd name="connsiteX533" fmla="*/ 137588 w 264461"/>
                <a:gd name="connsiteY533" fmla="*/ 483098 h 512159"/>
                <a:gd name="connsiteX534" fmla="*/ 126759 w 264461"/>
                <a:gd name="connsiteY534" fmla="*/ 486642 h 512159"/>
                <a:gd name="connsiteX535" fmla="*/ 124596 w 264461"/>
                <a:gd name="connsiteY535" fmla="*/ 490185 h 512159"/>
                <a:gd name="connsiteX536" fmla="*/ 123510 w 264461"/>
                <a:gd name="connsiteY536" fmla="*/ 495205 h 512159"/>
                <a:gd name="connsiteX537" fmla="*/ 121948 w 264461"/>
                <a:gd name="connsiteY537" fmla="*/ 499653 h 512159"/>
                <a:gd name="connsiteX538" fmla="*/ 119396 w 264461"/>
                <a:gd name="connsiteY538" fmla="*/ 503073 h 512159"/>
                <a:gd name="connsiteX539" fmla="*/ 116357 w 264461"/>
                <a:gd name="connsiteY539" fmla="*/ 503520 h 512159"/>
                <a:gd name="connsiteX540" fmla="*/ 113500 w 264461"/>
                <a:gd name="connsiteY540" fmla="*/ 501148 h 512159"/>
                <a:gd name="connsiteX541" fmla="*/ 108070 w 264461"/>
                <a:gd name="connsiteY541" fmla="*/ 498538 h 512159"/>
                <a:gd name="connsiteX542" fmla="*/ 106223 w 264461"/>
                <a:gd name="connsiteY542" fmla="*/ 496767 h 512159"/>
                <a:gd name="connsiteX543" fmla="*/ 105632 w 264461"/>
                <a:gd name="connsiteY543" fmla="*/ 496662 h 512159"/>
                <a:gd name="connsiteX544" fmla="*/ 105023 w 264461"/>
                <a:gd name="connsiteY544" fmla="*/ 497291 h 512159"/>
                <a:gd name="connsiteX545" fmla="*/ 102889 w 264461"/>
                <a:gd name="connsiteY545" fmla="*/ 498091 h 512159"/>
                <a:gd name="connsiteX546" fmla="*/ 100689 w 264461"/>
                <a:gd name="connsiteY546" fmla="*/ 498129 h 512159"/>
                <a:gd name="connsiteX547" fmla="*/ 97288 w 264461"/>
                <a:gd name="connsiteY547" fmla="*/ 498834 h 512159"/>
                <a:gd name="connsiteX548" fmla="*/ 91373 w 264461"/>
                <a:gd name="connsiteY548" fmla="*/ 500958 h 512159"/>
                <a:gd name="connsiteX549" fmla="*/ 88982 w 264461"/>
                <a:gd name="connsiteY549" fmla="*/ 502396 h 512159"/>
                <a:gd name="connsiteX550" fmla="*/ 83848 w 264461"/>
                <a:gd name="connsiteY550" fmla="*/ 506368 h 512159"/>
                <a:gd name="connsiteX551" fmla="*/ 82801 w 264461"/>
                <a:gd name="connsiteY551" fmla="*/ 507464 h 512159"/>
                <a:gd name="connsiteX552" fmla="*/ 80934 w 264461"/>
                <a:gd name="connsiteY552" fmla="*/ 511455 h 512159"/>
                <a:gd name="connsiteX553" fmla="*/ 78086 w 264461"/>
                <a:gd name="connsiteY553" fmla="*/ 512159 h 512159"/>
                <a:gd name="connsiteX554" fmla="*/ 75476 w 264461"/>
                <a:gd name="connsiteY554" fmla="*/ 509607 h 512159"/>
                <a:gd name="connsiteX555" fmla="*/ 72504 w 264461"/>
                <a:gd name="connsiteY555" fmla="*/ 508711 h 512159"/>
                <a:gd name="connsiteX556" fmla="*/ 69370 w 264461"/>
                <a:gd name="connsiteY556" fmla="*/ 509578 h 512159"/>
                <a:gd name="connsiteX557" fmla="*/ 67475 w 264461"/>
                <a:gd name="connsiteY557" fmla="*/ 510940 h 512159"/>
                <a:gd name="connsiteX558" fmla="*/ 66589 w 264461"/>
                <a:gd name="connsiteY558" fmla="*/ 509835 h 512159"/>
                <a:gd name="connsiteX559" fmla="*/ 66560 w 264461"/>
                <a:gd name="connsiteY559" fmla="*/ 507568 h 512159"/>
                <a:gd name="connsiteX560" fmla="*/ 68847 w 264461"/>
                <a:gd name="connsiteY560" fmla="*/ 504863 h 512159"/>
                <a:gd name="connsiteX561" fmla="*/ 74952 w 264461"/>
                <a:gd name="connsiteY561" fmla="*/ 502815 h 512159"/>
                <a:gd name="connsiteX562" fmla="*/ 80315 w 264461"/>
                <a:gd name="connsiteY562" fmla="*/ 497491 h 512159"/>
                <a:gd name="connsiteX563" fmla="*/ 82943 w 264461"/>
                <a:gd name="connsiteY563" fmla="*/ 494243 h 512159"/>
                <a:gd name="connsiteX564" fmla="*/ 83991 w 264461"/>
                <a:gd name="connsiteY564" fmla="*/ 492405 h 512159"/>
                <a:gd name="connsiteX565" fmla="*/ 85277 w 264461"/>
                <a:gd name="connsiteY565" fmla="*/ 491233 h 512159"/>
                <a:gd name="connsiteX566" fmla="*/ 86954 w 264461"/>
                <a:gd name="connsiteY566" fmla="*/ 490795 h 512159"/>
                <a:gd name="connsiteX567" fmla="*/ 87821 w 264461"/>
                <a:gd name="connsiteY567" fmla="*/ 488766 h 512159"/>
                <a:gd name="connsiteX568" fmla="*/ 95259 w 264461"/>
                <a:gd name="connsiteY568" fmla="*/ 480593 h 512159"/>
                <a:gd name="connsiteX569" fmla="*/ 95869 w 264461"/>
                <a:gd name="connsiteY569" fmla="*/ 478717 h 512159"/>
                <a:gd name="connsiteX570" fmla="*/ 96240 w 264461"/>
                <a:gd name="connsiteY570" fmla="*/ 475345 h 512159"/>
                <a:gd name="connsiteX571" fmla="*/ 96850 w 264461"/>
                <a:gd name="connsiteY571" fmla="*/ 472097 h 512159"/>
                <a:gd name="connsiteX572" fmla="*/ 102908 w 264461"/>
                <a:gd name="connsiteY572" fmla="*/ 469992 h 512159"/>
                <a:gd name="connsiteX573" fmla="*/ 105804 w 264461"/>
                <a:gd name="connsiteY573" fmla="*/ 463144 h 512159"/>
                <a:gd name="connsiteX574" fmla="*/ 106604 w 264461"/>
                <a:gd name="connsiteY574" fmla="*/ 462601 h 512159"/>
                <a:gd name="connsiteX575" fmla="*/ 115052 w 264461"/>
                <a:gd name="connsiteY575" fmla="*/ 461343 h 512159"/>
                <a:gd name="connsiteX576" fmla="*/ 121320 w 264461"/>
                <a:gd name="connsiteY576" fmla="*/ 461448 h 512159"/>
                <a:gd name="connsiteX577" fmla="*/ 127549 w 264461"/>
                <a:gd name="connsiteY577" fmla="*/ 462791 h 512159"/>
                <a:gd name="connsiteX578" fmla="*/ 130740 w 264461"/>
                <a:gd name="connsiteY578" fmla="*/ 462915 h 512159"/>
                <a:gd name="connsiteX579" fmla="*/ 133940 w 264461"/>
                <a:gd name="connsiteY579" fmla="*/ 462448 h 512159"/>
                <a:gd name="connsiteX580" fmla="*/ 136455 w 264461"/>
                <a:gd name="connsiteY580" fmla="*/ 460591 h 512159"/>
                <a:gd name="connsiteX581" fmla="*/ 140751 w 264461"/>
                <a:gd name="connsiteY581" fmla="*/ 453885 h 512159"/>
                <a:gd name="connsiteX582" fmla="*/ 143170 w 264461"/>
                <a:gd name="connsiteY582" fmla="*/ 450923 h 512159"/>
                <a:gd name="connsiteX583" fmla="*/ 145942 w 264461"/>
                <a:gd name="connsiteY583" fmla="*/ 448246 h 512159"/>
                <a:gd name="connsiteX584" fmla="*/ 148533 w 264461"/>
                <a:gd name="connsiteY584" fmla="*/ 445189 h 512159"/>
                <a:gd name="connsiteX585" fmla="*/ 152733 w 264461"/>
                <a:gd name="connsiteY585" fmla="*/ 439512 h 512159"/>
                <a:gd name="connsiteX586" fmla="*/ 149895 w 264461"/>
                <a:gd name="connsiteY586" fmla="*/ 441474 h 512159"/>
                <a:gd name="connsiteX587" fmla="*/ 146466 w 264461"/>
                <a:gd name="connsiteY587" fmla="*/ 444579 h 512159"/>
                <a:gd name="connsiteX588" fmla="*/ 144475 w 264461"/>
                <a:gd name="connsiteY588" fmla="*/ 446380 h 512159"/>
                <a:gd name="connsiteX589" fmla="*/ 138151 w 264461"/>
                <a:gd name="connsiteY589" fmla="*/ 448190 h 512159"/>
                <a:gd name="connsiteX590" fmla="*/ 135426 w 264461"/>
                <a:gd name="connsiteY590" fmla="*/ 450037 h 512159"/>
                <a:gd name="connsiteX591" fmla="*/ 130654 w 264461"/>
                <a:gd name="connsiteY591" fmla="*/ 454200 h 512159"/>
                <a:gd name="connsiteX592" fmla="*/ 129740 w 264461"/>
                <a:gd name="connsiteY592" fmla="*/ 454543 h 512159"/>
                <a:gd name="connsiteX593" fmla="*/ 122539 w 264461"/>
                <a:gd name="connsiteY593" fmla="*/ 453542 h 512159"/>
                <a:gd name="connsiteX594" fmla="*/ 117186 w 264461"/>
                <a:gd name="connsiteY594" fmla="*/ 448142 h 512159"/>
                <a:gd name="connsiteX595" fmla="*/ 113767 w 264461"/>
                <a:gd name="connsiteY595" fmla="*/ 445932 h 512159"/>
                <a:gd name="connsiteX596" fmla="*/ 112357 w 264461"/>
                <a:gd name="connsiteY596" fmla="*/ 445675 h 512159"/>
                <a:gd name="connsiteX597" fmla="*/ 110890 w 264461"/>
                <a:gd name="connsiteY597" fmla="*/ 446332 h 512159"/>
                <a:gd name="connsiteX598" fmla="*/ 107766 w 264461"/>
                <a:gd name="connsiteY598" fmla="*/ 447008 h 512159"/>
                <a:gd name="connsiteX599" fmla="*/ 104584 w 264461"/>
                <a:gd name="connsiteY599" fmla="*/ 446894 h 512159"/>
                <a:gd name="connsiteX600" fmla="*/ 106213 w 264461"/>
                <a:gd name="connsiteY600" fmla="*/ 444389 h 512159"/>
                <a:gd name="connsiteX601" fmla="*/ 108423 w 264461"/>
                <a:gd name="connsiteY601" fmla="*/ 442989 h 512159"/>
                <a:gd name="connsiteX602" fmla="*/ 103470 w 264461"/>
                <a:gd name="connsiteY602" fmla="*/ 442017 h 512159"/>
                <a:gd name="connsiteX603" fmla="*/ 102089 w 264461"/>
                <a:gd name="connsiteY603" fmla="*/ 441255 h 512159"/>
                <a:gd name="connsiteX604" fmla="*/ 100517 w 264461"/>
                <a:gd name="connsiteY604" fmla="*/ 439493 h 512159"/>
                <a:gd name="connsiteX605" fmla="*/ 96631 w 264461"/>
                <a:gd name="connsiteY605" fmla="*/ 439198 h 512159"/>
                <a:gd name="connsiteX606" fmla="*/ 94783 w 264461"/>
                <a:gd name="connsiteY606" fmla="*/ 439646 h 512159"/>
                <a:gd name="connsiteX607" fmla="*/ 91659 w 264461"/>
                <a:gd name="connsiteY607" fmla="*/ 441970 h 512159"/>
                <a:gd name="connsiteX608" fmla="*/ 86725 w 264461"/>
                <a:gd name="connsiteY608" fmla="*/ 444437 h 512159"/>
                <a:gd name="connsiteX609" fmla="*/ 80772 w 264461"/>
                <a:gd name="connsiteY609" fmla="*/ 441017 h 512159"/>
                <a:gd name="connsiteX610" fmla="*/ 79610 w 264461"/>
                <a:gd name="connsiteY610" fmla="*/ 439522 h 512159"/>
                <a:gd name="connsiteX611" fmla="*/ 79638 w 264461"/>
                <a:gd name="connsiteY611" fmla="*/ 436616 h 512159"/>
                <a:gd name="connsiteX612" fmla="*/ 78743 w 264461"/>
                <a:gd name="connsiteY612" fmla="*/ 434312 h 512159"/>
                <a:gd name="connsiteX613" fmla="*/ 77095 w 264461"/>
                <a:gd name="connsiteY613" fmla="*/ 433502 h 512159"/>
                <a:gd name="connsiteX614" fmla="*/ 79200 w 264461"/>
                <a:gd name="connsiteY614" fmla="*/ 430501 h 512159"/>
                <a:gd name="connsiteX615" fmla="*/ 81753 w 264461"/>
                <a:gd name="connsiteY615" fmla="*/ 428501 h 512159"/>
                <a:gd name="connsiteX616" fmla="*/ 87354 w 264461"/>
                <a:gd name="connsiteY616" fmla="*/ 426511 h 512159"/>
                <a:gd name="connsiteX617" fmla="*/ 95840 w 264461"/>
                <a:gd name="connsiteY617" fmla="*/ 421777 h 512159"/>
                <a:gd name="connsiteX618" fmla="*/ 100603 w 264461"/>
                <a:gd name="connsiteY618" fmla="*/ 419757 h 512159"/>
                <a:gd name="connsiteX619" fmla="*/ 105023 w 264461"/>
                <a:gd name="connsiteY619" fmla="*/ 416271 h 512159"/>
                <a:gd name="connsiteX620" fmla="*/ 106851 w 264461"/>
                <a:gd name="connsiteY620" fmla="*/ 414138 h 512159"/>
                <a:gd name="connsiteX621" fmla="*/ 108175 w 264461"/>
                <a:gd name="connsiteY621" fmla="*/ 411213 h 512159"/>
                <a:gd name="connsiteX622" fmla="*/ 109490 w 264461"/>
                <a:gd name="connsiteY622" fmla="*/ 407632 h 512159"/>
                <a:gd name="connsiteX623" fmla="*/ 111366 w 264461"/>
                <a:gd name="connsiteY623" fmla="*/ 404708 h 512159"/>
                <a:gd name="connsiteX624" fmla="*/ 109547 w 264461"/>
                <a:gd name="connsiteY624" fmla="*/ 404013 h 512159"/>
                <a:gd name="connsiteX625" fmla="*/ 108728 w 264461"/>
                <a:gd name="connsiteY625" fmla="*/ 401812 h 512159"/>
                <a:gd name="connsiteX626" fmla="*/ 108947 w 264461"/>
                <a:gd name="connsiteY626" fmla="*/ 399574 h 512159"/>
                <a:gd name="connsiteX627" fmla="*/ 109785 w 264461"/>
                <a:gd name="connsiteY627" fmla="*/ 397583 h 512159"/>
                <a:gd name="connsiteX628" fmla="*/ 109033 w 264461"/>
                <a:gd name="connsiteY628" fmla="*/ 395088 h 512159"/>
                <a:gd name="connsiteX629" fmla="*/ 107690 w 264461"/>
                <a:gd name="connsiteY629" fmla="*/ 392478 h 512159"/>
                <a:gd name="connsiteX630" fmla="*/ 107766 w 264461"/>
                <a:gd name="connsiteY630" fmla="*/ 390439 h 512159"/>
                <a:gd name="connsiteX631" fmla="*/ 108128 w 264461"/>
                <a:gd name="connsiteY631" fmla="*/ 388258 h 512159"/>
                <a:gd name="connsiteX632" fmla="*/ 104718 w 264461"/>
                <a:gd name="connsiteY632" fmla="*/ 388373 h 512159"/>
                <a:gd name="connsiteX633" fmla="*/ 101317 w 264461"/>
                <a:gd name="connsiteY633" fmla="*/ 389058 h 512159"/>
                <a:gd name="connsiteX634" fmla="*/ 98231 w 264461"/>
                <a:gd name="connsiteY634" fmla="*/ 390601 h 512159"/>
                <a:gd name="connsiteX635" fmla="*/ 95240 w 264461"/>
                <a:gd name="connsiteY635" fmla="*/ 392697 h 512159"/>
                <a:gd name="connsiteX636" fmla="*/ 92583 w 264461"/>
                <a:gd name="connsiteY636" fmla="*/ 393087 h 512159"/>
                <a:gd name="connsiteX637" fmla="*/ 92621 w 264461"/>
                <a:gd name="connsiteY637" fmla="*/ 391411 h 512159"/>
                <a:gd name="connsiteX638" fmla="*/ 93774 w 264461"/>
                <a:gd name="connsiteY638" fmla="*/ 389334 h 512159"/>
                <a:gd name="connsiteX639" fmla="*/ 96783 w 264461"/>
                <a:gd name="connsiteY639" fmla="*/ 386362 h 512159"/>
                <a:gd name="connsiteX640" fmla="*/ 100003 w 264461"/>
                <a:gd name="connsiteY640" fmla="*/ 383896 h 512159"/>
                <a:gd name="connsiteX641" fmla="*/ 101146 w 264461"/>
                <a:gd name="connsiteY641" fmla="*/ 382019 h 512159"/>
                <a:gd name="connsiteX642" fmla="*/ 102051 w 264461"/>
                <a:gd name="connsiteY642" fmla="*/ 379838 h 512159"/>
                <a:gd name="connsiteX643" fmla="*/ 103651 w 264461"/>
                <a:gd name="connsiteY643" fmla="*/ 378085 h 512159"/>
                <a:gd name="connsiteX644" fmla="*/ 107861 w 264461"/>
                <a:gd name="connsiteY644" fmla="*/ 374771 h 512159"/>
                <a:gd name="connsiteX645" fmla="*/ 115929 w 264461"/>
                <a:gd name="connsiteY645" fmla="*/ 371037 h 512159"/>
                <a:gd name="connsiteX646" fmla="*/ 117129 w 264461"/>
                <a:gd name="connsiteY646" fmla="*/ 370818 h 512159"/>
                <a:gd name="connsiteX647" fmla="*/ 120291 w 264461"/>
                <a:gd name="connsiteY647" fmla="*/ 371256 h 512159"/>
                <a:gd name="connsiteX648" fmla="*/ 123406 w 264461"/>
                <a:gd name="connsiteY648" fmla="*/ 370684 h 512159"/>
                <a:gd name="connsiteX649" fmla="*/ 126130 w 264461"/>
                <a:gd name="connsiteY649" fmla="*/ 369341 h 512159"/>
                <a:gd name="connsiteX650" fmla="*/ 128844 w 264461"/>
                <a:gd name="connsiteY650" fmla="*/ 369056 h 512159"/>
                <a:gd name="connsiteX651" fmla="*/ 134960 w 264461"/>
                <a:gd name="connsiteY651" fmla="*/ 372932 h 512159"/>
                <a:gd name="connsiteX652" fmla="*/ 133140 w 264461"/>
                <a:gd name="connsiteY652" fmla="*/ 366932 h 512159"/>
                <a:gd name="connsiteX653" fmla="*/ 135836 w 264461"/>
                <a:gd name="connsiteY653" fmla="*/ 365493 h 512159"/>
                <a:gd name="connsiteX654" fmla="*/ 139741 w 264461"/>
                <a:gd name="connsiteY654" fmla="*/ 370923 h 512159"/>
                <a:gd name="connsiteX655" fmla="*/ 141189 w 264461"/>
                <a:gd name="connsiteY655" fmla="*/ 371494 h 512159"/>
                <a:gd name="connsiteX656" fmla="*/ 144256 w 264461"/>
                <a:gd name="connsiteY656" fmla="*/ 370704 h 512159"/>
                <a:gd name="connsiteX657" fmla="*/ 143075 w 264461"/>
                <a:gd name="connsiteY657" fmla="*/ 369789 h 512159"/>
                <a:gd name="connsiteX658" fmla="*/ 141694 w 264461"/>
                <a:gd name="connsiteY658" fmla="*/ 369732 h 512159"/>
                <a:gd name="connsiteX659" fmla="*/ 139884 w 264461"/>
                <a:gd name="connsiteY659" fmla="*/ 368913 h 512159"/>
                <a:gd name="connsiteX660" fmla="*/ 138360 w 264461"/>
                <a:gd name="connsiteY660" fmla="*/ 367170 h 512159"/>
                <a:gd name="connsiteX661" fmla="*/ 135826 w 264461"/>
                <a:gd name="connsiteY661" fmla="*/ 361626 h 512159"/>
                <a:gd name="connsiteX662" fmla="*/ 135969 w 264461"/>
                <a:gd name="connsiteY662" fmla="*/ 358330 h 512159"/>
                <a:gd name="connsiteX663" fmla="*/ 137674 w 264461"/>
                <a:gd name="connsiteY663" fmla="*/ 354902 h 512159"/>
                <a:gd name="connsiteX664" fmla="*/ 139560 w 264461"/>
                <a:gd name="connsiteY664" fmla="*/ 351739 h 512159"/>
                <a:gd name="connsiteX665" fmla="*/ 137979 w 264461"/>
                <a:gd name="connsiteY665" fmla="*/ 351111 h 512159"/>
                <a:gd name="connsiteX666" fmla="*/ 136712 w 264461"/>
                <a:gd name="connsiteY666" fmla="*/ 349901 h 512159"/>
                <a:gd name="connsiteX667" fmla="*/ 136350 w 264461"/>
                <a:gd name="connsiteY667" fmla="*/ 346729 h 512159"/>
                <a:gd name="connsiteX668" fmla="*/ 136845 w 264461"/>
                <a:gd name="connsiteY668" fmla="*/ 343919 h 512159"/>
                <a:gd name="connsiteX669" fmla="*/ 140237 w 264461"/>
                <a:gd name="connsiteY669" fmla="*/ 341443 h 512159"/>
                <a:gd name="connsiteX670" fmla="*/ 141236 w 264461"/>
                <a:gd name="connsiteY670" fmla="*/ 337671 h 512159"/>
                <a:gd name="connsiteX671" fmla="*/ 141656 w 264461"/>
                <a:gd name="connsiteY671" fmla="*/ 333508 h 512159"/>
                <a:gd name="connsiteX672" fmla="*/ 141094 w 264461"/>
                <a:gd name="connsiteY672" fmla="*/ 331594 h 512159"/>
                <a:gd name="connsiteX673" fmla="*/ 137722 w 264461"/>
                <a:gd name="connsiteY673" fmla="*/ 331899 h 512159"/>
                <a:gd name="connsiteX674" fmla="*/ 136084 w 264461"/>
                <a:gd name="connsiteY674" fmla="*/ 332680 h 512159"/>
                <a:gd name="connsiteX675" fmla="*/ 134617 w 264461"/>
                <a:gd name="connsiteY675" fmla="*/ 333908 h 512159"/>
                <a:gd name="connsiteX676" fmla="*/ 133112 w 264461"/>
                <a:gd name="connsiteY676" fmla="*/ 333832 h 512159"/>
                <a:gd name="connsiteX677" fmla="*/ 128949 w 264461"/>
                <a:gd name="connsiteY677" fmla="*/ 329222 h 512159"/>
                <a:gd name="connsiteX678" fmla="*/ 126578 w 264461"/>
                <a:gd name="connsiteY678" fmla="*/ 325726 h 512159"/>
                <a:gd name="connsiteX679" fmla="*/ 122320 w 264461"/>
                <a:gd name="connsiteY679" fmla="*/ 318316 h 512159"/>
                <a:gd name="connsiteX680" fmla="*/ 121720 w 264461"/>
                <a:gd name="connsiteY680" fmla="*/ 313868 h 512159"/>
                <a:gd name="connsiteX681" fmla="*/ 125120 w 264461"/>
                <a:gd name="connsiteY681" fmla="*/ 304248 h 512159"/>
                <a:gd name="connsiteX682" fmla="*/ 130378 w 264461"/>
                <a:gd name="connsiteY682" fmla="*/ 298066 h 512159"/>
                <a:gd name="connsiteX683" fmla="*/ 136569 w 264461"/>
                <a:gd name="connsiteY683" fmla="*/ 295904 h 512159"/>
                <a:gd name="connsiteX684" fmla="*/ 135369 w 264461"/>
                <a:gd name="connsiteY684" fmla="*/ 295494 h 512159"/>
                <a:gd name="connsiteX685" fmla="*/ 125930 w 264461"/>
                <a:gd name="connsiteY685" fmla="*/ 295408 h 512159"/>
                <a:gd name="connsiteX686" fmla="*/ 122815 w 264461"/>
                <a:gd name="connsiteY686" fmla="*/ 296170 h 512159"/>
                <a:gd name="connsiteX687" fmla="*/ 119929 w 264461"/>
                <a:gd name="connsiteY687" fmla="*/ 298704 h 512159"/>
                <a:gd name="connsiteX688" fmla="*/ 118300 w 264461"/>
                <a:gd name="connsiteY688" fmla="*/ 299485 h 512159"/>
                <a:gd name="connsiteX689" fmla="*/ 116586 w 264461"/>
                <a:gd name="connsiteY689" fmla="*/ 299771 h 512159"/>
                <a:gd name="connsiteX690" fmla="*/ 115024 w 264461"/>
                <a:gd name="connsiteY690" fmla="*/ 301028 h 512159"/>
                <a:gd name="connsiteX691" fmla="*/ 113500 w 264461"/>
                <a:gd name="connsiteY691" fmla="*/ 302771 h 512159"/>
                <a:gd name="connsiteX692" fmla="*/ 111909 w 264461"/>
                <a:gd name="connsiteY692" fmla="*/ 303895 h 512159"/>
                <a:gd name="connsiteX693" fmla="*/ 108756 w 264461"/>
                <a:gd name="connsiteY693" fmla="*/ 303600 h 512159"/>
                <a:gd name="connsiteX694" fmla="*/ 107232 w 264461"/>
                <a:gd name="connsiteY694" fmla="*/ 303971 h 512159"/>
                <a:gd name="connsiteX695" fmla="*/ 106137 w 264461"/>
                <a:gd name="connsiteY695" fmla="*/ 302962 h 512159"/>
                <a:gd name="connsiteX696" fmla="*/ 105213 w 264461"/>
                <a:gd name="connsiteY696" fmla="*/ 301295 h 512159"/>
                <a:gd name="connsiteX697" fmla="*/ 104013 w 264461"/>
                <a:gd name="connsiteY697" fmla="*/ 300847 h 512159"/>
                <a:gd name="connsiteX698" fmla="*/ 102670 w 264461"/>
                <a:gd name="connsiteY698" fmla="*/ 301362 h 512159"/>
                <a:gd name="connsiteX699" fmla="*/ 99831 w 264461"/>
                <a:gd name="connsiteY699" fmla="*/ 303609 h 512159"/>
                <a:gd name="connsiteX700" fmla="*/ 96955 w 264461"/>
                <a:gd name="connsiteY700" fmla="*/ 304933 h 512159"/>
                <a:gd name="connsiteX701" fmla="*/ 93478 w 264461"/>
                <a:gd name="connsiteY701" fmla="*/ 303514 h 512159"/>
                <a:gd name="connsiteX702" fmla="*/ 88916 w 264461"/>
                <a:gd name="connsiteY702" fmla="*/ 300866 h 512159"/>
                <a:gd name="connsiteX703" fmla="*/ 88021 w 264461"/>
                <a:gd name="connsiteY703" fmla="*/ 301838 h 512159"/>
                <a:gd name="connsiteX704" fmla="*/ 87011 w 264461"/>
                <a:gd name="connsiteY704" fmla="*/ 304295 h 512159"/>
                <a:gd name="connsiteX705" fmla="*/ 86430 w 264461"/>
                <a:gd name="connsiteY705" fmla="*/ 308115 h 512159"/>
                <a:gd name="connsiteX706" fmla="*/ 83191 w 264461"/>
                <a:gd name="connsiteY706" fmla="*/ 304790 h 512159"/>
                <a:gd name="connsiteX707" fmla="*/ 80438 w 264461"/>
                <a:gd name="connsiteY707" fmla="*/ 300342 h 512159"/>
                <a:gd name="connsiteX708" fmla="*/ 79505 w 264461"/>
                <a:gd name="connsiteY708" fmla="*/ 297542 h 512159"/>
                <a:gd name="connsiteX709" fmla="*/ 79438 w 264461"/>
                <a:gd name="connsiteY709" fmla="*/ 294380 h 512159"/>
                <a:gd name="connsiteX710" fmla="*/ 80934 w 264461"/>
                <a:gd name="connsiteY710" fmla="*/ 293151 h 512159"/>
                <a:gd name="connsiteX711" fmla="*/ 82563 w 264461"/>
                <a:gd name="connsiteY711" fmla="*/ 294275 h 512159"/>
                <a:gd name="connsiteX712" fmla="*/ 84982 w 264461"/>
                <a:gd name="connsiteY712" fmla="*/ 286760 h 512159"/>
                <a:gd name="connsiteX713" fmla="*/ 89801 w 264461"/>
                <a:gd name="connsiteY713" fmla="*/ 276930 h 512159"/>
                <a:gd name="connsiteX714" fmla="*/ 91507 w 264461"/>
                <a:gd name="connsiteY714" fmla="*/ 274044 h 512159"/>
                <a:gd name="connsiteX715" fmla="*/ 92697 w 264461"/>
                <a:gd name="connsiteY715" fmla="*/ 270262 h 512159"/>
                <a:gd name="connsiteX716" fmla="*/ 92497 w 264461"/>
                <a:gd name="connsiteY716" fmla="*/ 267786 h 512159"/>
                <a:gd name="connsiteX717" fmla="*/ 91440 w 264461"/>
                <a:gd name="connsiteY717" fmla="*/ 265690 h 512159"/>
                <a:gd name="connsiteX718" fmla="*/ 86954 w 264461"/>
                <a:gd name="connsiteY718" fmla="*/ 260928 h 512159"/>
                <a:gd name="connsiteX719" fmla="*/ 87011 w 264461"/>
                <a:gd name="connsiteY719" fmla="*/ 257032 h 512159"/>
                <a:gd name="connsiteX720" fmla="*/ 87487 w 264461"/>
                <a:gd name="connsiteY720" fmla="*/ 252632 h 512159"/>
                <a:gd name="connsiteX721" fmla="*/ 88706 w 264461"/>
                <a:gd name="connsiteY721" fmla="*/ 249984 h 512159"/>
                <a:gd name="connsiteX722" fmla="*/ 89220 w 264461"/>
                <a:gd name="connsiteY722" fmla="*/ 249479 h 512159"/>
                <a:gd name="connsiteX723" fmla="*/ 95174 w 264461"/>
                <a:gd name="connsiteY723" fmla="*/ 249546 h 512159"/>
                <a:gd name="connsiteX724" fmla="*/ 92850 w 264461"/>
                <a:gd name="connsiteY724" fmla="*/ 248174 h 512159"/>
                <a:gd name="connsiteX725" fmla="*/ 88220 w 264461"/>
                <a:gd name="connsiteY725" fmla="*/ 244183 h 512159"/>
                <a:gd name="connsiteX726" fmla="*/ 88306 w 264461"/>
                <a:gd name="connsiteY726" fmla="*/ 242764 h 512159"/>
                <a:gd name="connsiteX727" fmla="*/ 89392 w 264461"/>
                <a:gd name="connsiteY727" fmla="*/ 239058 h 512159"/>
                <a:gd name="connsiteX728" fmla="*/ 88887 w 264461"/>
                <a:gd name="connsiteY728" fmla="*/ 239430 h 512159"/>
                <a:gd name="connsiteX729" fmla="*/ 87897 w 264461"/>
                <a:gd name="connsiteY729" fmla="*/ 241145 h 512159"/>
                <a:gd name="connsiteX730" fmla="*/ 86001 w 264461"/>
                <a:gd name="connsiteY730" fmla="*/ 245288 h 512159"/>
                <a:gd name="connsiteX731" fmla="*/ 84849 w 264461"/>
                <a:gd name="connsiteY731" fmla="*/ 246250 h 512159"/>
                <a:gd name="connsiteX732" fmla="*/ 81572 w 264461"/>
                <a:gd name="connsiteY732" fmla="*/ 247231 h 512159"/>
                <a:gd name="connsiteX733" fmla="*/ 80972 w 264461"/>
                <a:gd name="connsiteY733" fmla="*/ 249260 h 512159"/>
                <a:gd name="connsiteX734" fmla="*/ 80448 w 264461"/>
                <a:gd name="connsiteY734" fmla="*/ 249793 h 512159"/>
                <a:gd name="connsiteX735" fmla="*/ 78819 w 264461"/>
                <a:gd name="connsiteY735" fmla="*/ 250022 h 512159"/>
                <a:gd name="connsiteX736" fmla="*/ 78314 w 264461"/>
                <a:gd name="connsiteY736" fmla="*/ 251917 h 512159"/>
                <a:gd name="connsiteX737" fmla="*/ 77953 w 264461"/>
                <a:gd name="connsiteY737" fmla="*/ 252041 h 512159"/>
                <a:gd name="connsiteX738" fmla="*/ 77486 w 264461"/>
                <a:gd name="connsiteY738" fmla="*/ 250003 h 512159"/>
                <a:gd name="connsiteX739" fmla="*/ 77438 w 264461"/>
                <a:gd name="connsiteY739" fmla="*/ 246612 h 512159"/>
                <a:gd name="connsiteX740" fmla="*/ 78086 w 264461"/>
                <a:gd name="connsiteY740" fmla="*/ 243487 h 512159"/>
                <a:gd name="connsiteX741" fmla="*/ 79324 w 264461"/>
                <a:gd name="connsiteY741" fmla="*/ 241040 h 512159"/>
                <a:gd name="connsiteX742" fmla="*/ 84125 w 264461"/>
                <a:gd name="connsiteY742" fmla="*/ 235468 h 512159"/>
                <a:gd name="connsiteX743" fmla="*/ 81791 w 264461"/>
                <a:gd name="connsiteY743" fmla="*/ 237192 h 512159"/>
                <a:gd name="connsiteX744" fmla="*/ 76495 w 264461"/>
                <a:gd name="connsiteY744" fmla="*/ 242345 h 512159"/>
                <a:gd name="connsiteX745" fmla="*/ 73790 w 264461"/>
                <a:gd name="connsiteY745" fmla="*/ 245726 h 512159"/>
                <a:gd name="connsiteX746" fmla="*/ 73066 w 264461"/>
                <a:gd name="connsiteY746" fmla="*/ 246869 h 512159"/>
                <a:gd name="connsiteX747" fmla="*/ 72847 w 264461"/>
                <a:gd name="connsiteY747" fmla="*/ 247831 h 512159"/>
                <a:gd name="connsiteX748" fmla="*/ 72857 w 264461"/>
                <a:gd name="connsiteY748" fmla="*/ 248936 h 512159"/>
                <a:gd name="connsiteX749" fmla="*/ 74066 w 264461"/>
                <a:gd name="connsiteY749" fmla="*/ 254851 h 512159"/>
                <a:gd name="connsiteX750" fmla="*/ 73714 w 264461"/>
                <a:gd name="connsiteY750" fmla="*/ 257585 h 512159"/>
                <a:gd name="connsiteX751" fmla="*/ 69151 w 264461"/>
                <a:gd name="connsiteY751" fmla="*/ 275539 h 512159"/>
                <a:gd name="connsiteX752" fmla="*/ 68284 w 264461"/>
                <a:gd name="connsiteY752" fmla="*/ 277330 h 512159"/>
                <a:gd name="connsiteX753" fmla="*/ 67494 w 264461"/>
                <a:gd name="connsiteY753" fmla="*/ 278263 h 512159"/>
                <a:gd name="connsiteX754" fmla="*/ 66742 w 264461"/>
                <a:gd name="connsiteY754" fmla="*/ 278482 h 512159"/>
                <a:gd name="connsiteX755" fmla="*/ 64494 w 264461"/>
                <a:gd name="connsiteY755" fmla="*/ 278139 h 512159"/>
                <a:gd name="connsiteX756" fmla="*/ 63494 w 264461"/>
                <a:gd name="connsiteY756" fmla="*/ 276796 h 512159"/>
                <a:gd name="connsiteX757" fmla="*/ 63503 w 264461"/>
                <a:gd name="connsiteY757" fmla="*/ 275282 h 512159"/>
                <a:gd name="connsiteX758" fmla="*/ 63922 w 264461"/>
                <a:gd name="connsiteY758" fmla="*/ 273006 h 512159"/>
                <a:gd name="connsiteX759" fmla="*/ 65817 w 264461"/>
                <a:gd name="connsiteY759" fmla="*/ 264500 h 512159"/>
                <a:gd name="connsiteX760" fmla="*/ 66637 w 264461"/>
                <a:gd name="connsiteY760" fmla="*/ 262128 h 512159"/>
                <a:gd name="connsiteX761" fmla="*/ 67856 w 264461"/>
                <a:gd name="connsiteY761" fmla="*/ 259918 h 512159"/>
                <a:gd name="connsiteX762" fmla="*/ 70542 w 264461"/>
                <a:gd name="connsiteY762" fmla="*/ 256051 h 512159"/>
                <a:gd name="connsiteX763" fmla="*/ 70475 w 264461"/>
                <a:gd name="connsiteY763" fmla="*/ 255794 h 512159"/>
                <a:gd name="connsiteX764" fmla="*/ 68685 w 264461"/>
                <a:gd name="connsiteY764" fmla="*/ 256556 h 512159"/>
                <a:gd name="connsiteX765" fmla="*/ 67923 w 264461"/>
                <a:gd name="connsiteY765" fmla="*/ 256308 h 512159"/>
                <a:gd name="connsiteX766" fmla="*/ 67370 w 264461"/>
                <a:gd name="connsiteY766" fmla="*/ 255537 h 512159"/>
                <a:gd name="connsiteX767" fmla="*/ 67723 w 264461"/>
                <a:gd name="connsiteY767" fmla="*/ 244002 h 512159"/>
                <a:gd name="connsiteX768" fmla="*/ 69180 w 264461"/>
                <a:gd name="connsiteY768" fmla="*/ 240192 h 512159"/>
                <a:gd name="connsiteX769" fmla="*/ 69723 w 264461"/>
                <a:gd name="connsiteY769" fmla="*/ 234639 h 512159"/>
                <a:gd name="connsiteX770" fmla="*/ 70980 w 264461"/>
                <a:gd name="connsiteY770" fmla="*/ 229867 h 512159"/>
                <a:gd name="connsiteX771" fmla="*/ 72437 w 264461"/>
                <a:gd name="connsiteY771" fmla="*/ 226381 h 512159"/>
                <a:gd name="connsiteX772" fmla="*/ 73552 w 264461"/>
                <a:gd name="connsiteY772" fmla="*/ 221913 h 512159"/>
                <a:gd name="connsiteX773" fmla="*/ 75219 w 264461"/>
                <a:gd name="connsiteY773" fmla="*/ 219923 h 512159"/>
                <a:gd name="connsiteX774" fmla="*/ 75667 w 264461"/>
                <a:gd name="connsiteY774" fmla="*/ 216875 h 512159"/>
                <a:gd name="connsiteX775" fmla="*/ 77543 w 264461"/>
                <a:gd name="connsiteY775" fmla="*/ 213570 h 512159"/>
                <a:gd name="connsiteX776" fmla="*/ 78991 w 264461"/>
                <a:gd name="connsiteY776" fmla="*/ 210112 h 512159"/>
                <a:gd name="connsiteX777" fmla="*/ 78210 w 264461"/>
                <a:gd name="connsiteY777" fmla="*/ 210455 h 512159"/>
                <a:gd name="connsiteX778" fmla="*/ 68942 w 264461"/>
                <a:gd name="connsiteY778" fmla="*/ 219446 h 512159"/>
                <a:gd name="connsiteX779" fmla="*/ 66580 w 264461"/>
                <a:gd name="connsiteY779" fmla="*/ 221075 h 512159"/>
                <a:gd name="connsiteX780" fmla="*/ 63360 w 264461"/>
                <a:gd name="connsiteY780" fmla="*/ 220637 h 512159"/>
                <a:gd name="connsiteX781" fmla="*/ 60903 w 264461"/>
                <a:gd name="connsiteY781" fmla="*/ 219628 h 512159"/>
                <a:gd name="connsiteX782" fmla="*/ 58979 w 264461"/>
                <a:gd name="connsiteY782" fmla="*/ 217503 h 512159"/>
                <a:gd name="connsiteX783" fmla="*/ 58121 w 264461"/>
                <a:gd name="connsiteY783" fmla="*/ 213417 h 512159"/>
                <a:gd name="connsiteX784" fmla="*/ 55750 w 264461"/>
                <a:gd name="connsiteY784" fmla="*/ 213312 h 512159"/>
                <a:gd name="connsiteX785" fmla="*/ 53721 w 264461"/>
                <a:gd name="connsiteY785" fmla="*/ 212608 h 512159"/>
                <a:gd name="connsiteX786" fmla="*/ 53740 w 264461"/>
                <a:gd name="connsiteY786" fmla="*/ 212055 h 512159"/>
                <a:gd name="connsiteX787" fmla="*/ 56359 w 264461"/>
                <a:gd name="connsiteY787" fmla="*/ 209826 h 512159"/>
                <a:gd name="connsiteX788" fmla="*/ 60560 w 264461"/>
                <a:gd name="connsiteY788" fmla="*/ 209064 h 512159"/>
                <a:gd name="connsiteX789" fmla="*/ 64494 w 264461"/>
                <a:gd name="connsiteY789" fmla="*/ 205483 h 512159"/>
                <a:gd name="connsiteX790" fmla="*/ 60998 w 264461"/>
                <a:gd name="connsiteY790" fmla="*/ 203063 h 512159"/>
                <a:gd name="connsiteX791" fmla="*/ 61293 w 264461"/>
                <a:gd name="connsiteY791" fmla="*/ 202292 h 512159"/>
                <a:gd name="connsiteX792" fmla="*/ 64341 w 264461"/>
                <a:gd name="connsiteY792" fmla="*/ 200225 h 512159"/>
                <a:gd name="connsiteX793" fmla="*/ 68218 w 264461"/>
                <a:gd name="connsiteY793" fmla="*/ 193281 h 512159"/>
                <a:gd name="connsiteX794" fmla="*/ 68999 w 264461"/>
                <a:gd name="connsiteY794" fmla="*/ 186871 h 512159"/>
                <a:gd name="connsiteX795" fmla="*/ 67151 w 264461"/>
                <a:gd name="connsiteY795" fmla="*/ 183852 h 512159"/>
                <a:gd name="connsiteX796" fmla="*/ 66484 w 264461"/>
                <a:gd name="connsiteY796" fmla="*/ 181870 h 512159"/>
                <a:gd name="connsiteX797" fmla="*/ 62779 w 264461"/>
                <a:gd name="connsiteY797" fmla="*/ 179661 h 512159"/>
                <a:gd name="connsiteX798" fmla="*/ 62160 w 264461"/>
                <a:gd name="connsiteY798" fmla="*/ 176832 h 512159"/>
                <a:gd name="connsiteX799" fmla="*/ 62589 w 264461"/>
                <a:gd name="connsiteY799" fmla="*/ 175241 h 512159"/>
                <a:gd name="connsiteX800" fmla="*/ 63798 w 264461"/>
                <a:gd name="connsiteY800" fmla="*/ 173689 h 512159"/>
                <a:gd name="connsiteX801" fmla="*/ 65618 w 264461"/>
                <a:gd name="connsiteY801" fmla="*/ 172488 h 512159"/>
                <a:gd name="connsiteX802" fmla="*/ 68475 w 264461"/>
                <a:gd name="connsiteY802" fmla="*/ 171326 h 512159"/>
                <a:gd name="connsiteX803" fmla="*/ 65884 w 264461"/>
                <a:gd name="connsiteY803" fmla="*/ 170088 h 512159"/>
                <a:gd name="connsiteX804" fmla="*/ 64913 w 264461"/>
                <a:gd name="connsiteY804" fmla="*/ 168621 h 512159"/>
                <a:gd name="connsiteX805" fmla="*/ 64179 w 264461"/>
                <a:gd name="connsiteY805" fmla="*/ 166497 h 512159"/>
                <a:gd name="connsiteX806" fmla="*/ 64113 w 264461"/>
                <a:gd name="connsiteY806" fmla="*/ 165268 h 512159"/>
                <a:gd name="connsiteX807" fmla="*/ 65456 w 264461"/>
                <a:gd name="connsiteY807" fmla="*/ 159782 h 512159"/>
                <a:gd name="connsiteX808" fmla="*/ 66237 w 264461"/>
                <a:gd name="connsiteY808" fmla="*/ 157515 h 512159"/>
                <a:gd name="connsiteX809" fmla="*/ 67770 w 264461"/>
                <a:gd name="connsiteY809" fmla="*/ 154619 h 512159"/>
                <a:gd name="connsiteX810" fmla="*/ 74704 w 264461"/>
                <a:gd name="connsiteY810" fmla="*/ 154781 h 512159"/>
                <a:gd name="connsiteX811" fmla="*/ 75505 w 264461"/>
                <a:gd name="connsiteY811" fmla="*/ 153505 h 512159"/>
                <a:gd name="connsiteX812" fmla="*/ 76295 w 264461"/>
                <a:gd name="connsiteY812" fmla="*/ 153457 h 512159"/>
                <a:gd name="connsiteX813" fmla="*/ 79838 w 264461"/>
                <a:gd name="connsiteY813" fmla="*/ 154629 h 512159"/>
                <a:gd name="connsiteX814" fmla="*/ 79315 w 264461"/>
                <a:gd name="connsiteY814" fmla="*/ 153371 h 512159"/>
                <a:gd name="connsiteX815" fmla="*/ 73514 w 264461"/>
                <a:gd name="connsiteY815" fmla="*/ 146466 h 512159"/>
                <a:gd name="connsiteX816" fmla="*/ 72990 w 264461"/>
                <a:gd name="connsiteY816" fmla="*/ 145152 h 512159"/>
                <a:gd name="connsiteX817" fmla="*/ 74647 w 264461"/>
                <a:gd name="connsiteY817" fmla="*/ 141418 h 512159"/>
                <a:gd name="connsiteX818" fmla="*/ 74762 w 264461"/>
                <a:gd name="connsiteY818" fmla="*/ 139751 h 512159"/>
                <a:gd name="connsiteX819" fmla="*/ 74523 w 264461"/>
                <a:gd name="connsiteY819" fmla="*/ 137970 h 512159"/>
                <a:gd name="connsiteX820" fmla="*/ 75000 w 264461"/>
                <a:gd name="connsiteY820" fmla="*/ 136608 h 512159"/>
                <a:gd name="connsiteX821" fmla="*/ 76838 w 264461"/>
                <a:gd name="connsiteY821" fmla="*/ 135969 h 512159"/>
                <a:gd name="connsiteX822" fmla="*/ 82439 w 264461"/>
                <a:gd name="connsiteY822" fmla="*/ 136027 h 512159"/>
                <a:gd name="connsiteX823" fmla="*/ 83820 w 264461"/>
                <a:gd name="connsiteY823" fmla="*/ 135398 h 512159"/>
                <a:gd name="connsiteX824" fmla="*/ 83191 w 264461"/>
                <a:gd name="connsiteY824" fmla="*/ 133588 h 512159"/>
                <a:gd name="connsiteX825" fmla="*/ 81886 w 264461"/>
                <a:gd name="connsiteY825" fmla="*/ 131207 h 512159"/>
                <a:gd name="connsiteX826" fmla="*/ 81629 w 264461"/>
                <a:gd name="connsiteY826" fmla="*/ 129207 h 512159"/>
                <a:gd name="connsiteX827" fmla="*/ 81934 w 264461"/>
                <a:gd name="connsiteY827" fmla="*/ 127435 h 512159"/>
                <a:gd name="connsiteX828" fmla="*/ 82001 w 264461"/>
                <a:gd name="connsiteY828" fmla="*/ 123863 h 512159"/>
                <a:gd name="connsiteX829" fmla="*/ 82258 w 264461"/>
                <a:gd name="connsiteY829" fmla="*/ 122282 h 512159"/>
                <a:gd name="connsiteX830" fmla="*/ 83591 w 264461"/>
                <a:gd name="connsiteY830" fmla="*/ 119910 h 512159"/>
                <a:gd name="connsiteX831" fmla="*/ 84687 w 264461"/>
                <a:gd name="connsiteY831" fmla="*/ 119206 h 512159"/>
                <a:gd name="connsiteX832" fmla="*/ 86049 w 264461"/>
                <a:gd name="connsiteY832" fmla="*/ 118796 h 512159"/>
                <a:gd name="connsiteX833" fmla="*/ 89125 w 264461"/>
                <a:gd name="connsiteY833" fmla="*/ 119586 h 512159"/>
                <a:gd name="connsiteX834" fmla="*/ 90297 w 264461"/>
                <a:gd name="connsiteY834" fmla="*/ 120539 h 512159"/>
                <a:gd name="connsiteX835" fmla="*/ 91649 w 264461"/>
                <a:gd name="connsiteY835" fmla="*/ 122796 h 512159"/>
                <a:gd name="connsiteX836" fmla="*/ 92640 w 264461"/>
                <a:gd name="connsiteY836" fmla="*/ 122615 h 512159"/>
                <a:gd name="connsiteX837" fmla="*/ 96469 w 264461"/>
                <a:gd name="connsiteY837" fmla="*/ 120158 h 512159"/>
                <a:gd name="connsiteX838" fmla="*/ 97622 w 264461"/>
                <a:gd name="connsiteY838" fmla="*/ 119805 h 512159"/>
                <a:gd name="connsiteX839" fmla="*/ 99193 w 264461"/>
                <a:gd name="connsiteY839" fmla="*/ 122654 h 512159"/>
                <a:gd name="connsiteX840" fmla="*/ 105737 w 264461"/>
                <a:gd name="connsiteY840" fmla="*/ 120387 h 512159"/>
                <a:gd name="connsiteX841" fmla="*/ 114528 w 264461"/>
                <a:gd name="connsiteY841" fmla="*/ 119377 h 512159"/>
                <a:gd name="connsiteX842" fmla="*/ 119815 w 264461"/>
                <a:gd name="connsiteY842" fmla="*/ 117881 h 512159"/>
                <a:gd name="connsiteX843" fmla="*/ 125378 w 264461"/>
                <a:gd name="connsiteY843" fmla="*/ 117338 h 512159"/>
                <a:gd name="connsiteX844" fmla="*/ 130568 w 264461"/>
                <a:gd name="connsiteY844" fmla="*/ 115634 h 512159"/>
                <a:gd name="connsiteX845" fmla="*/ 136074 w 264461"/>
                <a:gd name="connsiteY845" fmla="*/ 116415 h 512159"/>
                <a:gd name="connsiteX846" fmla="*/ 136265 w 264461"/>
                <a:gd name="connsiteY846" fmla="*/ 117405 h 512159"/>
                <a:gd name="connsiteX847" fmla="*/ 135979 w 264461"/>
                <a:gd name="connsiteY847" fmla="*/ 118777 h 512159"/>
                <a:gd name="connsiteX848" fmla="*/ 134626 w 264461"/>
                <a:gd name="connsiteY848" fmla="*/ 122482 h 512159"/>
                <a:gd name="connsiteX849" fmla="*/ 139455 w 264461"/>
                <a:gd name="connsiteY849" fmla="*/ 110890 h 512159"/>
                <a:gd name="connsiteX850" fmla="*/ 139198 w 264461"/>
                <a:gd name="connsiteY850" fmla="*/ 111042 h 512159"/>
                <a:gd name="connsiteX851" fmla="*/ 138217 w 264461"/>
                <a:gd name="connsiteY851" fmla="*/ 110099 h 512159"/>
                <a:gd name="connsiteX852" fmla="*/ 136617 w 264461"/>
                <a:gd name="connsiteY852" fmla="*/ 106718 h 512159"/>
                <a:gd name="connsiteX853" fmla="*/ 139141 w 264461"/>
                <a:gd name="connsiteY853" fmla="*/ 106042 h 512159"/>
                <a:gd name="connsiteX854" fmla="*/ 140332 w 264461"/>
                <a:gd name="connsiteY854" fmla="*/ 106461 h 512159"/>
                <a:gd name="connsiteX855" fmla="*/ 139884 w 264461"/>
                <a:gd name="connsiteY855" fmla="*/ 107899 h 512159"/>
                <a:gd name="connsiteX856" fmla="*/ 139455 w 264461"/>
                <a:gd name="connsiteY856" fmla="*/ 110890 h 512159"/>
                <a:gd name="connsiteX857" fmla="*/ 133150 w 264461"/>
                <a:gd name="connsiteY857" fmla="*/ 108185 h 512159"/>
                <a:gd name="connsiteX858" fmla="*/ 131616 w 264461"/>
                <a:gd name="connsiteY858" fmla="*/ 108871 h 512159"/>
                <a:gd name="connsiteX859" fmla="*/ 130102 w 264461"/>
                <a:gd name="connsiteY859" fmla="*/ 108823 h 512159"/>
                <a:gd name="connsiteX860" fmla="*/ 127740 w 264461"/>
                <a:gd name="connsiteY860" fmla="*/ 105842 h 512159"/>
                <a:gd name="connsiteX861" fmla="*/ 126844 w 264461"/>
                <a:gd name="connsiteY861" fmla="*/ 103670 h 512159"/>
                <a:gd name="connsiteX862" fmla="*/ 127006 w 264461"/>
                <a:gd name="connsiteY862" fmla="*/ 102232 h 512159"/>
                <a:gd name="connsiteX863" fmla="*/ 127997 w 264461"/>
                <a:gd name="connsiteY863" fmla="*/ 101746 h 512159"/>
                <a:gd name="connsiteX864" fmla="*/ 130283 w 264461"/>
                <a:gd name="connsiteY864" fmla="*/ 102451 h 512159"/>
                <a:gd name="connsiteX865" fmla="*/ 131464 w 264461"/>
                <a:gd name="connsiteY865" fmla="*/ 104937 h 512159"/>
                <a:gd name="connsiteX866" fmla="*/ 131616 w 264461"/>
                <a:gd name="connsiteY866" fmla="*/ 106547 h 512159"/>
                <a:gd name="connsiteX867" fmla="*/ 131893 w 264461"/>
                <a:gd name="connsiteY867" fmla="*/ 107175 h 512159"/>
                <a:gd name="connsiteX868" fmla="*/ 133312 w 264461"/>
                <a:gd name="connsiteY868" fmla="*/ 107813 h 512159"/>
                <a:gd name="connsiteX869" fmla="*/ 133150 w 264461"/>
                <a:gd name="connsiteY869" fmla="*/ 108185 h 512159"/>
                <a:gd name="connsiteX870" fmla="*/ 136026 w 264461"/>
                <a:gd name="connsiteY870" fmla="*/ 96021 h 512159"/>
                <a:gd name="connsiteX871" fmla="*/ 135664 w 264461"/>
                <a:gd name="connsiteY871" fmla="*/ 97298 h 512159"/>
                <a:gd name="connsiteX872" fmla="*/ 137693 w 264461"/>
                <a:gd name="connsiteY872" fmla="*/ 97269 h 512159"/>
                <a:gd name="connsiteX873" fmla="*/ 140636 w 264461"/>
                <a:gd name="connsiteY873" fmla="*/ 98355 h 512159"/>
                <a:gd name="connsiteX874" fmla="*/ 142418 w 264461"/>
                <a:gd name="connsiteY874" fmla="*/ 98488 h 512159"/>
                <a:gd name="connsiteX875" fmla="*/ 143904 w 264461"/>
                <a:gd name="connsiteY875" fmla="*/ 99841 h 512159"/>
                <a:gd name="connsiteX876" fmla="*/ 143084 w 264461"/>
                <a:gd name="connsiteY876" fmla="*/ 102365 h 512159"/>
                <a:gd name="connsiteX877" fmla="*/ 142199 w 264461"/>
                <a:gd name="connsiteY877" fmla="*/ 103079 h 512159"/>
                <a:gd name="connsiteX878" fmla="*/ 141198 w 264461"/>
                <a:gd name="connsiteY878" fmla="*/ 103222 h 512159"/>
                <a:gd name="connsiteX879" fmla="*/ 137693 w 264461"/>
                <a:gd name="connsiteY879" fmla="*/ 100698 h 512159"/>
                <a:gd name="connsiteX880" fmla="*/ 133102 w 264461"/>
                <a:gd name="connsiteY880" fmla="*/ 101746 h 512159"/>
                <a:gd name="connsiteX881" fmla="*/ 132188 w 264461"/>
                <a:gd name="connsiteY881" fmla="*/ 101422 h 512159"/>
                <a:gd name="connsiteX882" fmla="*/ 131588 w 264461"/>
                <a:gd name="connsiteY882" fmla="*/ 100727 h 512159"/>
                <a:gd name="connsiteX883" fmla="*/ 131340 w 264461"/>
                <a:gd name="connsiteY883" fmla="*/ 99860 h 512159"/>
                <a:gd name="connsiteX884" fmla="*/ 131340 w 264461"/>
                <a:gd name="connsiteY884" fmla="*/ 98088 h 512159"/>
                <a:gd name="connsiteX885" fmla="*/ 131093 w 264461"/>
                <a:gd name="connsiteY885" fmla="*/ 97565 h 512159"/>
                <a:gd name="connsiteX886" fmla="*/ 129426 w 264461"/>
                <a:gd name="connsiteY886" fmla="*/ 99241 h 512159"/>
                <a:gd name="connsiteX887" fmla="*/ 128702 w 264461"/>
                <a:gd name="connsiteY887" fmla="*/ 99041 h 512159"/>
                <a:gd name="connsiteX888" fmla="*/ 128292 w 264461"/>
                <a:gd name="connsiteY888" fmla="*/ 98241 h 512159"/>
                <a:gd name="connsiteX889" fmla="*/ 128111 w 264461"/>
                <a:gd name="connsiteY889" fmla="*/ 96584 h 512159"/>
                <a:gd name="connsiteX890" fmla="*/ 128292 w 264461"/>
                <a:gd name="connsiteY890" fmla="*/ 94193 h 512159"/>
                <a:gd name="connsiteX891" fmla="*/ 129273 w 264461"/>
                <a:gd name="connsiteY891" fmla="*/ 90773 h 512159"/>
                <a:gd name="connsiteX892" fmla="*/ 130921 w 264461"/>
                <a:gd name="connsiteY892" fmla="*/ 90088 h 512159"/>
                <a:gd name="connsiteX893" fmla="*/ 133378 w 264461"/>
                <a:gd name="connsiteY893" fmla="*/ 90488 h 512159"/>
                <a:gd name="connsiteX894" fmla="*/ 136198 w 264461"/>
                <a:gd name="connsiteY894" fmla="*/ 92421 h 512159"/>
                <a:gd name="connsiteX895" fmla="*/ 137046 w 264461"/>
                <a:gd name="connsiteY895" fmla="*/ 93612 h 512159"/>
                <a:gd name="connsiteX896" fmla="*/ 137027 w 264461"/>
                <a:gd name="connsiteY896" fmla="*/ 94564 h 512159"/>
                <a:gd name="connsiteX897" fmla="*/ 136026 w 264461"/>
                <a:gd name="connsiteY897" fmla="*/ 96021 h 512159"/>
                <a:gd name="connsiteX898" fmla="*/ 149618 w 264461"/>
                <a:gd name="connsiteY898" fmla="*/ 85525 h 512159"/>
                <a:gd name="connsiteX899" fmla="*/ 146599 w 264461"/>
                <a:gd name="connsiteY899" fmla="*/ 85582 h 512159"/>
                <a:gd name="connsiteX900" fmla="*/ 148161 w 264461"/>
                <a:gd name="connsiteY900" fmla="*/ 82496 h 512159"/>
                <a:gd name="connsiteX901" fmla="*/ 149981 w 264461"/>
                <a:gd name="connsiteY901" fmla="*/ 81715 h 512159"/>
                <a:gd name="connsiteX902" fmla="*/ 153419 w 264461"/>
                <a:gd name="connsiteY902" fmla="*/ 82058 h 512159"/>
                <a:gd name="connsiteX903" fmla="*/ 152810 w 264461"/>
                <a:gd name="connsiteY903" fmla="*/ 83449 h 512159"/>
                <a:gd name="connsiteX904" fmla="*/ 149618 w 264461"/>
                <a:gd name="connsiteY904" fmla="*/ 85525 h 512159"/>
                <a:gd name="connsiteX905" fmla="*/ 144799 w 264461"/>
                <a:gd name="connsiteY905" fmla="*/ 87849 h 512159"/>
                <a:gd name="connsiteX906" fmla="*/ 142504 w 264461"/>
                <a:gd name="connsiteY906" fmla="*/ 89145 h 512159"/>
                <a:gd name="connsiteX907" fmla="*/ 141522 w 264461"/>
                <a:gd name="connsiteY907" fmla="*/ 88078 h 512159"/>
                <a:gd name="connsiteX908" fmla="*/ 141265 w 264461"/>
                <a:gd name="connsiteY908" fmla="*/ 84725 h 512159"/>
                <a:gd name="connsiteX909" fmla="*/ 138531 w 264461"/>
                <a:gd name="connsiteY909" fmla="*/ 83287 h 512159"/>
                <a:gd name="connsiteX910" fmla="*/ 137198 w 264461"/>
                <a:gd name="connsiteY910" fmla="*/ 82391 h 512159"/>
                <a:gd name="connsiteX911" fmla="*/ 136169 w 264461"/>
                <a:gd name="connsiteY911" fmla="*/ 80696 h 512159"/>
                <a:gd name="connsiteX912" fmla="*/ 136427 w 264461"/>
                <a:gd name="connsiteY912" fmla="*/ 80172 h 512159"/>
                <a:gd name="connsiteX913" fmla="*/ 138208 w 264461"/>
                <a:gd name="connsiteY913" fmla="*/ 79477 h 512159"/>
                <a:gd name="connsiteX914" fmla="*/ 141256 w 264461"/>
                <a:gd name="connsiteY914" fmla="*/ 82553 h 512159"/>
                <a:gd name="connsiteX915" fmla="*/ 142504 w 264461"/>
                <a:gd name="connsiteY915" fmla="*/ 85030 h 512159"/>
                <a:gd name="connsiteX916" fmla="*/ 144761 w 264461"/>
                <a:gd name="connsiteY916" fmla="*/ 85763 h 512159"/>
                <a:gd name="connsiteX917" fmla="*/ 145047 w 264461"/>
                <a:gd name="connsiteY917" fmla="*/ 86144 h 512159"/>
                <a:gd name="connsiteX918" fmla="*/ 144799 w 264461"/>
                <a:gd name="connsiteY918" fmla="*/ 87849 h 512159"/>
                <a:gd name="connsiteX919" fmla="*/ 182785 w 264461"/>
                <a:gd name="connsiteY919" fmla="*/ 16050 h 512159"/>
                <a:gd name="connsiteX920" fmla="*/ 183337 w 264461"/>
                <a:gd name="connsiteY920" fmla="*/ 19869 h 512159"/>
                <a:gd name="connsiteX921" fmla="*/ 184718 w 264461"/>
                <a:gd name="connsiteY921" fmla="*/ 18879 h 512159"/>
                <a:gd name="connsiteX922" fmla="*/ 186804 w 264461"/>
                <a:gd name="connsiteY922" fmla="*/ 22536 h 512159"/>
                <a:gd name="connsiteX923" fmla="*/ 187871 w 264461"/>
                <a:gd name="connsiteY923" fmla="*/ 22536 h 512159"/>
                <a:gd name="connsiteX924" fmla="*/ 189624 w 264461"/>
                <a:gd name="connsiteY924" fmla="*/ 21088 h 512159"/>
                <a:gd name="connsiteX925" fmla="*/ 189271 w 264461"/>
                <a:gd name="connsiteY925" fmla="*/ 24489 h 512159"/>
                <a:gd name="connsiteX926" fmla="*/ 187452 w 264461"/>
                <a:gd name="connsiteY926" fmla="*/ 33890 h 512159"/>
                <a:gd name="connsiteX927" fmla="*/ 186937 w 264461"/>
                <a:gd name="connsiteY927" fmla="*/ 35481 h 512159"/>
                <a:gd name="connsiteX928" fmla="*/ 186595 w 264461"/>
                <a:gd name="connsiteY928" fmla="*/ 38329 h 512159"/>
                <a:gd name="connsiteX929" fmla="*/ 186233 w 264461"/>
                <a:gd name="connsiteY929" fmla="*/ 38891 h 512159"/>
                <a:gd name="connsiteX930" fmla="*/ 185699 w 264461"/>
                <a:gd name="connsiteY930" fmla="*/ 44634 h 512159"/>
                <a:gd name="connsiteX931" fmla="*/ 184470 w 264461"/>
                <a:gd name="connsiteY931" fmla="*/ 46520 h 512159"/>
                <a:gd name="connsiteX932" fmla="*/ 183442 w 264461"/>
                <a:gd name="connsiteY932" fmla="*/ 51016 h 512159"/>
                <a:gd name="connsiteX933" fmla="*/ 183023 w 264461"/>
                <a:gd name="connsiteY933" fmla="*/ 51454 h 512159"/>
                <a:gd name="connsiteX934" fmla="*/ 181518 w 264461"/>
                <a:gd name="connsiteY934" fmla="*/ 49730 h 512159"/>
                <a:gd name="connsiteX935" fmla="*/ 183023 w 264461"/>
                <a:gd name="connsiteY935" fmla="*/ 42863 h 512159"/>
                <a:gd name="connsiteX936" fmla="*/ 183642 w 264461"/>
                <a:gd name="connsiteY936" fmla="*/ 38862 h 512159"/>
                <a:gd name="connsiteX937" fmla="*/ 183242 w 264461"/>
                <a:gd name="connsiteY937" fmla="*/ 36786 h 512159"/>
                <a:gd name="connsiteX938" fmla="*/ 182394 w 264461"/>
                <a:gd name="connsiteY938" fmla="*/ 34909 h 512159"/>
                <a:gd name="connsiteX939" fmla="*/ 180089 w 264461"/>
                <a:gd name="connsiteY939" fmla="*/ 34852 h 512159"/>
                <a:gd name="connsiteX940" fmla="*/ 178146 w 264461"/>
                <a:gd name="connsiteY940" fmla="*/ 35719 h 512159"/>
                <a:gd name="connsiteX941" fmla="*/ 177736 w 264461"/>
                <a:gd name="connsiteY941" fmla="*/ 34614 h 512159"/>
                <a:gd name="connsiteX942" fmla="*/ 177679 w 264461"/>
                <a:gd name="connsiteY942" fmla="*/ 33128 h 512159"/>
                <a:gd name="connsiteX943" fmla="*/ 177212 w 264461"/>
                <a:gd name="connsiteY943" fmla="*/ 32633 h 512159"/>
                <a:gd name="connsiteX944" fmla="*/ 174631 w 264461"/>
                <a:gd name="connsiteY944" fmla="*/ 32737 h 512159"/>
                <a:gd name="connsiteX945" fmla="*/ 173869 w 264461"/>
                <a:gd name="connsiteY945" fmla="*/ 32328 h 512159"/>
                <a:gd name="connsiteX946" fmla="*/ 173364 w 264461"/>
                <a:gd name="connsiteY946" fmla="*/ 30956 h 512159"/>
                <a:gd name="connsiteX947" fmla="*/ 173269 w 264461"/>
                <a:gd name="connsiteY947" fmla="*/ 29861 h 512159"/>
                <a:gd name="connsiteX948" fmla="*/ 175603 w 264461"/>
                <a:gd name="connsiteY948" fmla="*/ 29004 h 512159"/>
                <a:gd name="connsiteX949" fmla="*/ 177794 w 264461"/>
                <a:gd name="connsiteY949" fmla="*/ 29328 h 512159"/>
                <a:gd name="connsiteX950" fmla="*/ 180994 w 264461"/>
                <a:gd name="connsiteY950" fmla="*/ 27146 h 512159"/>
                <a:gd name="connsiteX951" fmla="*/ 178994 w 264461"/>
                <a:gd name="connsiteY951" fmla="*/ 19822 h 512159"/>
                <a:gd name="connsiteX952" fmla="*/ 176336 w 264461"/>
                <a:gd name="connsiteY952" fmla="*/ 19126 h 512159"/>
                <a:gd name="connsiteX953" fmla="*/ 175726 w 264461"/>
                <a:gd name="connsiteY953" fmla="*/ 18412 h 512159"/>
                <a:gd name="connsiteX954" fmla="*/ 176241 w 264461"/>
                <a:gd name="connsiteY954" fmla="*/ 17164 h 512159"/>
                <a:gd name="connsiteX955" fmla="*/ 177698 w 264461"/>
                <a:gd name="connsiteY955" fmla="*/ 16488 h 512159"/>
                <a:gd name="connsiteX956" fmla="*/ 179937 w 264461"/>
                <a:gd name="connsiteY956" fmla="*/ 12744 h 512159"/>
                <a:gd name="connsiteX957" fmla="*/ 181280 w 264461"/>
                <a:gd name="connsiteY957" fmla="*/ 12154 h 512159"/>
                <a:gd name="connsiteX958" fmla="*/ 182947 w 264461"/>
                <a:gd name="connsiteY958" fmla="*/ 12259 h 512159"/>
                <a:gd name="connsiteX959" fmla="*/ 182785 w 264461"/>
                <a:gd name="connsiteY959" fmla="*/ 16050 h 512159"/>
                <a:gd name="connsiteX960" fmla="*/ 189890 w 264461"/>
                <a:gd name="connsiteY960" fmla="*/ 17336 h 512159"/>
                <a:gd name="connsiteX961" fmla="*/ 189214 w 264461"/>
                <a:gd name="connsiteY961" fmla="*/ 17955 h 512159"/>
                <a:gd name="connsiteX962" fmla="*/ 186604 w 264461"/>
                <a:gd name="connsiteY962" fmla="*/ 12440 h 512159"/>
                <a:gd name="connsiteX963" fmla="*/ 188538 w 264461"/>
                <a:gd name="connsiteY963" fmla="*/ 6106 h 512159"/>
                <a:gd name="connsiteX964" fmla="*/ 190881 w 264461"/>
                <a:gd name="connsiteY964" fmla="*/ 6306 h 512159"/>
                <a:gd name="connsiteX965" fmla="*/ 191252 w 264461"/>
                <a:gd name="connsiteY965" fmla="*/ 7963 h 512159"/>
                <a:gd name="connsiteX966" fmla="*/ 191024 w 264461"/>
                <a:gd name="connsiteY966" fmla="*/ 9497 h 512159"/>
                <a:gd name="connsiteX967" fmla="*/ 189833 w 264461"/>
                <a:gd name="connsiteY967" fmla="*/ 9630 h 512159"/>
                <a:gd name="connsiteX968" fmla="*/ 189728 w 264461"/>
                <a:gd name="connsiteY968" fmla="*/ 10096 h 512159"/>
                <a:gd name="connsiteX969" fmla="*/ 190100 w 264461"/>
                <a:gd name="connsiteY969" fmla="*/ 13040 h 512159"/>
                <a:gd name="connsiteX970" fmla="*/ 190119 w 264461"/>
                <a:gd name="connsiteY970" fmla="*/ 16450 h 512159"/>
                <a:gd name="connsiteX971" fmla="*/ 189890 w 264461"/>
                <a:gd name="connsiteY971" fmla="*/ 17336 h 512159"/>
                <a:gd name="connsiteX972" fmla="*/ 197053 w 264461"/>
                <a:gd name="connsiteY972" fmla="*/ 1086 h 512159"/>
                <a:gd name="connsiteX973" fmla="*/ 197053 w 264461"/>
                <a:gd name="connsiteY973" fmla="*/ 1715 h 512159"/>
                <a:gd name="connsiteX974" fmla="*/ 195662 w 264461"/>
                <a:gd name="connsiteY974" fmla="*/ 6325 h 512159"/>
                <a:gd name="connsiteX975" fmla="*/ 195681 w 264461"/>
                <a:gd name="connsiteY975" fmla="*/ 8087 h 512159"/>
                <a:gd name="connsiteX976" fmla="*/ 193443 w 264461"/>
                <a:gd name="connsiteY976" fmla="*/ 7915 h 512159"/>
                <a:gd name="connsiteX977" fmla="*/ 193091 w 264461"/>
                <a:gd name="connsiteY977" fmla="*/ 7353 h 512159"/>
                <a:gd name="connsiteX978" fmla="*/ 192672 w 264461"/>
                <a:gd name="connsiteY978" fmla="*/ 4715 h 512159"/>
                <a:gd name="connsiteX979" fmla="*/ 192957 w 264461"/>
                <a:gd name="connsiteY979" fmla="*/ 1905 h 512159"/>
                <a:gd name="connsiteX980" fmla="*/ 193272 w 264461"/>
                <a:gd name="connsiteY980" fmla="*/ 1172 h 512159"/>
                <a:gd name="connsiteX981" fmla="*/ 193919 w 264461"/>
                <a:gd name="connsiteY981" fmla="*/ 876 h 512159"/>
                <a:gd name="connsiteX982" fmla="*/ 194624 w 264461"/>
                <a:gd name="connsiteY982" fmla="*/ 1429 h 512159"/>
                <a:gd name="connsiteX983" fmla="*/ 195739 w 264461"/>
                <a:gd name="connsiteY983" fmla="*/ 0 h 512159"/>
                <a:gd name="connsiteX984" fmla="*/ 196320 w 264461"/>
                <a:gd name="connsiteY984" fmla="*/ 29 h 512159"/>
                <a:gd name="connsiteX985" fmla="*/ 197053 w 264461"/>
                <a:gd name="connsiteY985" fmla="*/ 1086 h 51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</a:cxnLst>
              <a:rect l="l" t="t" r="r" b="b"/>
              <a:pathLst>
                <a:path w="264461" h="512159">
                  <a:moveTo>
                    <a:pt x="189271" y="484203"/>
                  </a:moveTo>
                  <a:lnTo>
                    <a:pt x="187033" y="485651"/>
                  </a:lnTo>
                  <a:lnTo>
                    <a:pt x="186328" y="487356"/>
                  </a:lnTo>
                  <a:lnTo>
                    <a:pt x="185785" y="488023"/>
                  </a:lnTo>
                  <a:lnTo>
                    <a:pt x="184309" y="488461"/>
                  </a:lnTo>
                  <a:lnTo>
                    <a:pt x="182842" y="488470"/>
                  </a:lnTo>
                  <a:lnTo>
                    <a:pt x="177260" y="485061"/>
                  </a:lnTo>
                  <a:lnTo>
                    <a:pt x="175974" y="485213"/>
                  </a:lnTo>
                  <a:lnTo>
                    <a:pt x="177251" y="483651"/>
                  </a:lnTo>
                  <a:lnTo>
                    <a:pt x="180718" y="482375"/>
                  </a:lnTo>
                  <a:lnTo>
                    <a:pt x="182670" y="480689"/>
                  </a:lnTo>
                  <a:lnTo>
                    <a:pt x="187176" y="482317"/>
                  </a:lnTo>
                  <a:lnTo>
                    <a:pt x="189271" y="484203"/>
                  </a:lnTo>
                  <a:close/>
                  <a:moveTo>
                    <a:pt x="105565" y="370189"/>
                  </a:moveTo>
                  <a:lnTo>
                    <a:pt x="106689" y="371018"/>
                  </a:lnTo>
                  <a:lnTo>
                    <a:pt x="109509" y="370884"/>
                  </a:lnTo>
                  <a:lnTo>
                    <a:pt x="108575" y="372732"/>
                  </a:lnTo>
                  <a:lnTo>
                    <a:pt x="105470" y="374790"/>
                  </a:lnTo>
                  <a:lnTo>
                    <a:pt x="103384" y="376819"/>
                  </a:lnTo>
                  <a:lnTo>
                    <a:pt x="100860" y="378514"/>
                  </a:lnTo>
                  <a:lnTo>
                    <a:pt x="99641" y="376561"/>
                  </a:lnTo>
                  <a:lnTo>
                    <a:pt x="98222" y="376637"/>
                  </a:lnTo>
                  <a:lnTo>
                    <a:pt x="96050" y="372885"/>
                  </a:lnTo>
                  <a:lnTo>
                    <a:pt x="95660" y="367265"/>
                  </a:lnTo>
                  <a:lnTo>
                    <a:pt x="98498" y="365798"/>
                  </a:lnTo>
                  <a:lnTo>
                    <a:pt x="102422" y="365884"/>
                  </a:lnTo>
                  <a:lnTo>
                    <a:pt x="105565" y="370189"/>
                  </a:lnTo>
                  <a:close/>
                  <a:moveTo>
                    <a:pt x="47339" y="282445"/>
                  </a:moveTo>
                  <a:lnTo>
                    <a:pt x="51111" y="283616"/>
                  </a:lnTo>
                  <a:lnTo>
                    <a:pt x="53921" y="283598"/>
                  </a:lnTo>
                  <a:lnTo>
                    <a:pt x="56416" y="286998"/>
                  </a:lnTo>
                  <a:lnTo>
                    <a:pt x="57750" y="292351"/>
                  </a:lnTo>
                  <a:lnTo>
                    <a:pt x="60865" y="297628"/>
                  </a:lnTo>
                  <a:lnTo>
                    <a:pt x="64941" y="302200"/>
                  </a:lnTo>
                  <a:lnTo>
                    <a:pt x="65103" y="304990"/>
                  </a:lnTo>
                  <a:lnTo>
                    <a:pt x="63646" y="306486"/>
                  </a:lnTo>
                  <a:lnTo>
                    <a:pt x="60607" y="308343"/>
                  </a:lnTo>
                  <a:lnTo>
                    <a:pt x="60617" y="310334"/>
                  </a:lnTo>
                  <a:lnTo>
                    <a:pt x="62627" y="309334"/>
                  </a:lnTo>
                  <a:lnTo>
                    <a:pt x="64360" y="308877"/>
                  </a:lnTo>
                  <a:lnTo>
                    <a:pt x="68532" y="309315"/>
                  </a:lnTo>
                  <a:lnTo>
                    <a:pt x="69990" y="311334"/>
                  </a:lnTo>
                  <a:lnTo>
                    <a:pt x="70999" y="314354"/>
                  </a:lnTo>
                  <a:lnTo>
                    <a:pt x="71533" y="316830"/>
                  </a:lnTo>
                  <a:lnTo>
                    <a:pt x="71171" y="319516"/>
                  </a:lnTo>
                  <a:lnTo>
                    <a:pt x="70047" y="318659"/>
                  </a:lnTo>
                  <a:lnTo>
                    <a:pt x="68904" y="316259"/>
                  </a:lnTo>
                  <a:lnTo>
                    <a:pt x="67637" y="315154"/>
                  </a:lnTo>
                  <a:lnTo>
                    <a:pt x="66161" y="314554"/>
                  </a:lnTo>
                  <a:lnTo>
                    <a:pt x="66827" y="317859"/>
                  </a:lnTo>
                  <a:lnTo>
                    <a:pt x="66560" y="322269"/>
                  </a:lnTo>
                  <a:lnTo>
                    <a:pt x="67199" y="322679"/>
                  </a:lnTo>
                  <a:lnTo>
                    <a:pt x="69180" y="322755"/>
                  </a:lnTo>
                  <a:lnTo>
                    <a:pt x="67875" y="327250"/>
                  </a:lnTo>
                  <a:lnTo>
                    <a:pt x="65160" y="328470"/>
                  </a:lnTo>
                  <a:lnTo>
                    <a:pt x="62008" y="328927"/>
                  </a:lnTo>
                  <a:lnTo>
                    <a:pt x="61246" y="330518"/>
                  </a:lnTo>
                  <a:lnTo>
                    <a:pt x="60674" y="332565"/>
                  </a:lnTo>
                  <a:lnTo>
                    <a:pt x="59026" y="335614"/>
                  </a:lnTo>
                  <a:lnTo>
                    <a:pt x="56855" y="337338"/>
                  </a:lnTo>
                  <a:lnTo>
                    <a:pt x="54168" y="336985"/>
                  </a:lnTo>
                  <a:lnTo>
                    <a:pt x="51540" y="335623"/>
                  </a:lnTo>
                  <a:lnTo>
                    <a:pt x="49244" y="335347"/>
                  </a:lnTo>
                  <a:lnTo>
                    <a:pt x="47644" y="336156"/>
                  </a:lnTo>
                  <a:lnTo>
                    <a:pt x="46606" y="336909"/>
                  </a:lnTo>
                  <a:lnTo>
                    <a:pt x="45596" y="336775"/>
                  </a:lnTo>
                  <a:lnTo>
                    <a:pt x="42710" y="337061"/>
                  </a:lnTo>
                  <a:lnTo>
                    <a:pt x="39995" y="337004"/>
                  </a:lnTo>
                  <a:lnTo>
                    <a:pt x="39605" y="335814"/>
                  </a:lnTo>
                  <a:lnTo>
                    <a:pt x="40072" y="332232"/>
                  </a:lnTo>
                  <a:lnTo>
                    <a:pt x="39462" y="331261"/>
                  </a:lnTo>
                  <a:lnTo>
                    <a:pt x="36871" y="330765"/>
                  </a:lnTo>
                  <a:lnTo>
                    <a:pt x="35909" y="329908"/>
                  </a:lnTo>
                  <a:lnTo>
                    <a:pt x="34414" y="327431"/>
                  </a:lnTo>
                  <a:lnTo>
                    <a:pt x="34119" y="326269"/>
                  </a:lnTo>
                  <a:lnTo>
                    <a:pt x="33909" y="324669"/>
                  </a:lnTo>
                  <a:lnTo>
                    <a:pt x="32328" y="322602"/>
                  </a:lnTo>
                  <a:lnTo>
                    <a:pt x="30413" y="321116"/>
                  </a:lnTo>
                  <a:lnTo>
                    <a:pt x="29289" y="321040"/>
                  </a:lnTo>
                  <a:lnTo>
                    <a:pt x="27051" y="323460"/>
                  </a:lnTo>
                  <a:lnTo>
                    <a:pt x="25203" y="325907"/>
                  </a:lnTo>
                  <a:lnTo>
                    <a:pt x="25851" y="327136"/>
                  </a:lnTo>
                  <a:lnTo>
                    <a:pt x="26451" y="328746"/>
                  </a:lnTo>
                  <a:lnTo>
                    <a:pt x="25451" y="329908"/>
                  </a:lnTo>
                  <a:lnTo>
                    <a:pt x="22412" y="332556"/>
                  </a:lnTo>
                  <a:lnTo>
                    <a:pt x="21936" y="333585"/>
                  </a:lnTo>
                  <a:lnTo>
                    <a:pt x="21117" y="334146"/>
                  </a:lnTo>
                  <a:lnTo>
                    <a:pt x="19669" y="333413"/>
                  </a:lnTo>
                  <a:lnTo>
                    <a:pt x="16059" y="333585"/>
                  </a:lnTo>
                  <a:lnTo>
                    <a:pt x="14402" y="333118"/>
                  </a:lnTo>
                  <a:lnTo>
                    <a:pt x="12468" y="331165"/>
                  </a:lnTo>
                  <a:lnTo>
                    <a:pt x="7753" y="329860"/>
                  </a:lnTo>
                  <a:lnTo>
                    <a:pt x="6963" y="326727"/>
                  </a:lnTo>
                  <a:lnTo>
                    <a:pt x="6058" y="326136"/>
                  </a:lnTo>
                  <a:lnTo>
                    <a:pt x="714" y="320754"/>
                  </a:lnTo>
                  <a:lnTo>
                    <a:pt x="0" y="318954"/>
                  </a:lnTo>
                  <a:lnTo>
                    <a:pt x="695" y="317878"/>
                  </a:lnTo>
                  <a:lnTo>
                    <a:pt x="2686" y="316249"/>
                  </a:lnTo>
                  <a:lnTo>
                    <a:pt x="9382" y="313544"/>
                  </a:lnTo>
                  <a:lnTo>
                    <a:pt x="10439" y="312458"/>
                  </a:lnTo>
                  <a:lnTo>
                    <a:pt x="10658" y="311496"/>
                  </a:lnTo>
                  <a:lnTo>
                    <a:pt x="8687" y="310401"/>
                  </a:lnTo>
                  <a:lnTo>
                    <a:pt x="6915" y="309181"/>
                  </a:lnTo>
                  <a:lnTo>
                    <a:pt x="6315" y="308391"/>
                  </a:lnTo>
                  <a:lnTo>
                    <a:pt x="6267" y="307696"/>
                  </a:lnTo>
                  <a:lnTo>
                    <a:pt x="7277" y="306791"/>
                  </a:lnTo>
                  <a:lnTo>
                    <a:pt x="9296" y="306724"/>
                  </a:lnTo>
                  <a:lnTo>
                    <a:pt x="10896" y="307134"/>
                  </a:lnTo>
                  <a:lnTo>
                    <a:pt x="12163" y="306324"/>
                  </a:lnTo>
                  <a:lnTo>
                    <a:pt x="14392" y="305505"/>
                  </a:lnTo>
                  <a:lnTo>
                    <a:pt x="15888" y="304476"/>
                  </a:lnTo>
                  <a:lnTo>
                    <a:pt x="17173" y="301819"/>
                  </a:lnTo>
                  <a:lnTo>
                    <a:pt x="18535" y="299428"/>
                  </a:lnTo>
                  <a:lnTo>
                    <a:pt x="18679" y="298132"/>
                  </a:lnTo>
                  <a:lnTo>
                    <a:pt x="19869" y="293570"/>
                  </a:lnTo>
                  <a:lnTo>
                    <a:pt x="20526" y="292437"/>
                  </a:lnTo>
                  <a:lnTo>
                    <a:pt x="24755" y="289446"/>
                  </a:lnTo>
                  <a:lnTo>
                    <a:pt x="25822" y="291084"/>
                  </a:lnTo>
                  <a:lnTo>
                    <a:pt x="27908" y="291484"/>
                  </a:lnTo>
                  <a:lnTo>
                    <a:pt x="29775" y="289979"/>
                  </a:lnTo>
                  <a:lnTo>
                    <a:pt x="32013" y="285226"/>
                  </a:lnTo>
                  <a:lnTo>
                    <a:pt x="33566" y="284931"/>
                  </a:lnTo>
                  <a:lnTo>
                    <a:pt x="35280" y="285322"/>
                  </a:lnTo>
                  <a:lnTo>
                    <a:pt x="38652" y="284721"/>
                  </a:lnTo>
                  <a:lnTo>
                    <a:pt x="44634" y="282502"/>
                  </a:lnTo>
                  <a:lnTo>
                    <a:pt x="47339" y="282445"/>
                  </a:lnTo>
                  <a:close/>
                  <a:moveTo>
                    <a:pt x="81277" y="272729"/>
                  </a:moveTo>
                  <a:lnTo>
                    <a:pt x="77905" y="272767"/>
                  </a:lnTo>
                  <a:lnTo>
                    <a:pt x="76686" y="272358"/>
                  </a:lnTo>
                  <a:lnTo>
                    <a:pt x="75228" y="271215"/>
                  </a:lnTo>
                  <a:lnTo>
                    <a:pt x="73590" y="264738"/>
                  </a:lnTo>
                  <a:lnTo>
                    <a:pt x="74181" y="262442"/>
                  </a:lnTo>
                  <a:lnTo>
                    <a:pt x="74847" y="261318"/>
                  </a:lnTo>
                  <a:lnTo>
                    <a:pt x="75590" y="260442"/>
                  </a:lnTo>
                  <a:lnTo>
                    <a:pt x="77371" y="260080"/>
                  </a:lnTo>
                  <a:lnTo>
                    <a:pt x="79143" y="261309"/>
                  </a:lnTo>
                  <a:lnTo>
                    <a:pt x="79810" y="262452"/>
                  </a:lnTo>
                  <a:lnTo>
                    <a:pt x="81296" y="266833"/>
                  </a:lnTo>
                  <a:lnTo>
                    <a:pt x="81572" y="270586"/>
                  </a:lnTo>
                  <a:lnTo>
                    <a:pt x="81277" y="272729"/>
                  </a:lnTo>
                  <a:close/>
                  <a:moveTo>
                    <a:pt x="53921" y="249927"/>
                  </a:moveTo>
                  <a:lnTo>
                    <a:pt x="54883" y="256032"/>
                  </a:lnTo>
                  <a:lnTo>
                    <a:pt x="55826" y="259804"/>
                  </a:lnTo>
                  <a:lnTo>
                    <a:pt x="55893" y="261090"/>
                  </a:lnTo>
                  <a:lnTo>
                    <a:pt x="55007" y="262880"/>
                  </a:lnTo>
                  <a:lnTo>
                    <a:pt x="50597" y="265262"/>
                  </a:lnTo>
                  <a:lnTo>
                    <a:pt x="49206" y="265271"/>
                  </a:lnTo>
                  <a:lnTo>
                    <a:pt x="49149" y="264690"/>
                  </a:lnTo>
                  <a:lnTo>
                    <a:pt x="50139" y="262271"/>
                  </a:lnTo>
                  <a:lnTo>
                    <a:pt x="49282" y="259518"/>
                  </a:lnTo>
                  <a:lnTo>
                    <a:pt x="49701" y="257423"/>
                  </a:lnTo>
                  <a:lnTo>
                    <a:pt x="49292" y="257042"/>
                  </a:lnTo>
                  <a:lnTo>
                    <a:pt x="48435" y="257337"/>
                  </a:lnTo>
                  <a:lnTo>
                    <a:pt x="45272" y="260661"/>
                  </a:lnTo>
                  <a:lnTo>
                    <a:pt x="44215" y="260985"/>
                  </a:lnTo>
                  <a:lnTo>
                    <a:pt x="44101" y="260309"/>
                  </a:lnTo>
                  <a:lnTo>
                    <a:pt x="44882" y="257585"/>
                  </a:lnTo>
                  <a:lnTo>
                    <a:pt x="44977" y="255718"/>
                  </a:lnTo>
                  <a:lnTo>
                    <a:pt x="45444" y="254575"/>
                  </a:lnTo>
                  <a:lnTo>
                    <a:pt x="46301" y="253517"/>
                  </a:lnTo>
                  <a:lnTo>
                    <a:pt x="47320" y="252727"/>
                  </a:lnTo>
                  <a:lnTo>
                    <a:pt x="48149" y="252612"/>
                  </a:lnTo>
                  <a:lnTo>
                    <a:pt x="49025" y="253432"/>
                  </a:lnTo>
                  <a:lnTo>
                    <a:pt x="51578" y="251146"/>
                  </a:lnTo>
                  <a:lnTo>
                    <a:pt x="53921" y="249927"/>
                  </a:lnTo>
                  <a:close/>
                  <a:moveTo>
                    <a:pt x="58169" y="255451"/>
                  </a:moveTo>
                  <a:lnTo>
                    <a:pt x="57607" y="255956"/>
                  </a:lnTo>
                  <a:lnTo>
                    <a:pt x="56254" y="255813"/>
                  </a:lnTo>
                  <a:lnTo>
                    <a:pt x="55750" y="255041"/>
                  </a:lnTo>
                  <a:lnTo>
                    <a:pt x="55473" y="253860"/>
                  </a:lnTo>
                  <a:lnTo>
                    <a:pt x="55445" y="251698"/>
                  </a:lnTo>
                  <a:lnTo>
                    <a:pt x="56264" y="250145"/>
                  </a:lnTo>
                  <a:lnTo>
                    <a:pt x="59731" y="247802"/>
                  </a:lnTo>
                  <a:lnTo>
                    <a:pt x="58160" y="246974"/>
                  </a:lnTo>
                  <a:lnTo>
                    <a:pt x="58102" y="246383"/>
                  </a:lnTo>
                  <a:lnTo>
                    <a:pt x="58998" y="244431"/>
                  </a:lnTo>
                  <a:lnTo>
                    <a:pt x="62722" y="241392"/>
                  </a:lnTo>
                  <a:lnTo>
                    <a:pt x="63722" y="240840"/>
                  </a:lnTo>
                  <a:lnTo>
                    <a:pt x="64713" y="240925"/>
                  </a:lnTo>
                  <a:lnTo>
                    <a:pt x="62789" y="246317"/>
                  </a:lnTo>
                  <a:lnTo>
                    <a:pt x="58169" y="255451"/>
                  </a:lnTo>
                  <a:close/>
                  <a:moveTo>
                    <a:pt x="63303" y="230124"/>
                  </a:moveTo>
                  <a:lnTo>
                    <a:pt x="52654" y="232801"/>
                  </a:lnTo>
                  <a:lnTo>
                    <a:pt x="48987" y="232563"/>
                  </a:lnTo>
                  <a:lnTo>
                    <a:pt x="48654" y="231248"/>
                  </a:lnTo>
                  <a:lnTo>
                    <a:pt x="49387" y="230372"/>
                  </a:lnTo>
                  <a:lnTo>
                    <a:pt x="52426" y="229524"/>
                  </a:lnTo>
                  <a:lnTo>
                    <a:pt x="53654" y="223076"/>
                  </a:lnTo>
                  <a:lnTo>
                    <a:pt x="49063" y="220094"/>
                  </a:lnTo>
                  <a:lnTo>
                    <a:pt x="48825" y="219265"/>
                  </a:lnTo>
                  <a:lnTo>
                    <a:pt x="49187" y="217846"/>
                  </a:lnTo>
                  <a:lnTo>
                    <a:pt x="49721" y="217208"/>
                  </a:lnTo>
                  <a:lnTo>
                    <a:pt x="52502" y="215703"/>
                  </a:lnTo>
                  <a:lnTo>
                    <a:pt x="53673" y="215370"/>
                  </a:lnTo>
                  <a:lnTo>
                    <a:pt x="54626" y="215570"/>
                  </a:lnTo>
                  <a:lnTo>
                    <a:pt x="56588" y="217313"/>
                  </a:lnTo>
                  <a:lnTo>
                    <a:pt x="58798" y="220961"/>
                  </a:lnTo>
                  <a:lnTo>
                    <a:pt x="61760" y="221542"/>
                  </a:lnTo>
                  <a:lnTo>
                    <a:pt x="63770" y="223085"/>
                  </a:lnTo>
                  <a:lnTo>
                    <a:pt x="63303" y="230124"/>
                  </a:lnTo>
                  <a:close/>
                  <a:moveTo>
                    <a:pt x="41119" y="218504"/>
                  </a:moveTo>
                  <a:lnTo>
                    <a:pt x="39605" y="218770"/>
                  </a:lnTo>
                  <a:lnTo>
                    <a:pt x="39491" y="218084"/>
                  </a:lnTo>
                  <a:lnTo>
                    <a:pt x="42129" y="214808"/>
                  </a:lnTo>
                  <a:lnTo>
                    <a:pt x="43834" y="214265"/>
                  </a:lnTo>
                  <a:lnTo>
                    <a:pt x="44434" y="214589"/>
                  </a:lnTo>
                  <a:lnTo>
                    <a:pt x="43196" y="216494"/>
                  </a:lnTo>
                  <a:lnTo>
                    <a:pt x="41119" y="218504"/>
                  </a:lnTo>
                  <a:close/>
                  <a:moveTo>
                    <a:pt x="19488" y="199977"/>
                  </a:moveTo>
                  <a:lnTo>
                    <a:pt x="17135" y="200644"/>
                  </a:lnTo>
                  <a:lnTo>
                    <a:pt x="16268" y="200254"/>
                  </a:lnTo>
                  <a:lnTo>
                    <a:pt x="16116" y="199635"/>
                  </a:lnTo>
                  <a:lnTo>
                    <a:pt x="16650" y="197949"/>
                  </a:lnTo>
                  <a:lnTo>
                    <a:pt x="18450" y="197348"/>
                  </a:lnTo>
                  <a:lnTo>
                    <a:pt x="19755" y="198263"/>
                  </a:lnTo>
                  <a:lnTo>
                    <a:pt x="19964" y="199092"/>
                  </a:lnTo>
                  <a:lnTo>
                    <a:pt x="19488" y="199977"/>
                  </a:lnTo>
                  <a:close/>
                  <a:moveTo>
                    <a:pt x="49911" y="200015"/>
                  </a:moveTo>
                  <a:lnTo>
                    <a:pt x="49120" y="200644"/>
                  </a:lnTo>
                  <a:lnTo>
                    <a:pt x="48120" y="200520"/>
                  </a:lnTo>
                  <a:lnTo>
                    <a:pt x="47130" y="199711"/>
                  </a:lnTo>
                  <a:lnTo>
                    <a:pt x="45815" y="197406"/>
                  </a:lnTo>
                  <a:lnTo>
                    <a:pt x="48768" y="195805"/>
                  </a:lnTo>
                  <a:lnTo>
                    <a:pt x="49949" y="196748"/>
                  </a:lnTo>
                  <a:lnTo>
                    <a:pt x="50397" y="197825"/>
                  </a:lnTo>
                  <a:lnTo>
                    <a:pt x="50416" y="199015"/>
                  </a:lnTo>
                  <a:lnTo>
                    <a:pt x="49911" y="200015"/>
                  </a:lnTo>
                  <a:close/>
                  <a:moveTo>
                    <a:pt x="23955" y="192624"/>
                  </a:moveTo>
                  <a:lnTo>
                    <a:pt x="22822" y="192900"/>
                  </a:lnTo>
                  <a:lnTo>
                    <a:pt x="21346" y="192634"/>
                  </a:lnTo>
                  <a:lnTo>
                    <a:pt x="20431" y="191872"/>
                  </a:lnTo>
                  <a:lnTo>
                    <a:pt x="19507" y="188852"/>
                  </a:lnTo>
                  <a:lnTo>
                    <a:pt x="19336" y="187023"/>
                  </a:lnTo>
                  <a:lnTo>
                    <a:pt x="19745" y="183614"/>
                  </a:lnTo>
                  <a:lnTo>
                    <a:pt x="19650" y="179527"/>
                  </a:lnTo>
                  <a:lnTo>
                    <a:pt x="22698" y="179403"/>
                  </a:lnTo>
                  <a:lnTo>
                    <a:pt x="23488" y="179994"/>
                  </a:lnTo>
                  <a:lnTo>
                    <a:pt x="24012" y="192100"/>
                  </a:lnTo>
                  <a:lnTo>
                    <a:pt x="23955" y="192624"/>
                  </a:lnTo>
                  <a:close/>
                  <a:moveTo>
                    <a:pt x="53502" y="173384"/>
                  </a:moveTo>
                  <a:lnTo>
                    <a:pt x="53464" y="175574"/>
                  </a:lnTo>
                  <a:lnTo>
                    <a:pt x="52987" y="178156"/>
                  </a:lnTo>
                  <a:lnTo>
                    <a:pt x="53597" y="180889"/>
                  </a:lnTo>
                  <a:lnTo>
                    <a:pt x="53740" y="182842"/>
                  </a:lnTo>
                  <a:lnTo>
                    <a:pt x="54864" y="183461"/>
                  </a:lnTo>
                  <a:lnTo>
                    <a:pt x="55550" y="184356"/>
                  </a:lnTo>
                  <a:lnTo>
                    <a:pt x="60560" y="185356"/>
                  </a:lnTo>
                  <a:lnTo>
                    <a:pt x="65218" y="185071"/>
                  </a:lnTo>
                  <a:lnTo>
                    <a:pt x="66113" y="185871"/>
                  </a:lnTo>
                  <a:lnTo>
                    <a:pt x="66218" y="187147"/>
                  </a:lnTo>
                  <a:lnTo>
                    <a:pt x="65484" y="188548"/>
                  </a:lnTo>
                  <a:lnTo>
                    <a:pt x="62827" y="191100"/>
                  </a:lnTo>
                  <a:lnTo>
                    <a:pt x="59664" y="195224"/>
                  </a:lnTo>
                  <a:lnTo>
                    <a:pt x="58721" y="196082"/>
                  </a:lnTo>
                  <a:lnTo>
                    <a:pt x="57702" y="196120"/>
                  </a:lnTo>
                  <a:lnTo>
                    <a:pt x="56969" y="195748"/>
                  </a:lnTo>
                  <a:lnTo>
                    <a:pt x="56445" y="188414"/>
                  </a:lnTo>
                  <a:lnTo>
                    <a:pt x="53016" y="189357"/>
                  </a:lnTo>
                  <a:lnTo>
                    <a:pt x="50254" y="189252"/>
                  </a:lnTo>
                  <a:lnTo>
                    <a:pt x="48739" y="188357"/>
                  </a:lnTo>
                  <a:lnTo>
                    <a:pt x="47682" y="186633"/>
                  </a:lnTo>
                  <a:lnTo>
                    <a:pt x="45539" y="182194"/>
                  </a:lnTo>
                  <a:lnTo>
                    <a:pt x="39310" y="180442"/>
                  </a:lnTo>
                  <a:lnTo>
                    <a:pt x="37547" y="177984"/>
                  </a:lnTo>
                  <a:lnTo>
                    <a:pt x="37014" y="176498"/>
                  </a:lnTo>
                  <a:lnTo>
                    <a:pt x="37233" y="175679"/>
                  </a:lnTo>
                  <a:lnTo>
                    <a:pt x="38528" y="173850"/>
                  </a:lnTo>
                  <a:lnTo>
                    <a:pt x="40148" y="174498"/>
                  </a:lnTo>
                  <a:lnTo>
                    <a:pt x="41148" y="174098"/>
                  </a:lnTo>
                  <a:lnTo>
                    <a:pt x="41757" y="173279"/>
                  </a:lnTo>
                  <a:lnTo>
                    <a:pt x="41748" y="172603"/>
                  </a:lnTo>
                  <a:lnTo>
                    <a:pt x="40900" y="171012"/>
                  </a:lnTo>
                  <a:lnTo>
                    <a:pt x="40862" y="170517"/>
                  </a:lnTo>
                  <a:lnTo>
                    <a:pt x="47234" y="168497"/>
                  </a:lnTo>
                  <a:lnTo>
                    <a:pt x="47796" y="165335"/>
                  </a:lnTo>
                  <a:lnTo>
                    <a:pt x="49178" y="165078"/>
                  </a:lnTo>
                  <a:lnTo>
                    <a:pt x="50759" y="166116"/>
                  </a:lnTo>
                  <a:lnTo>
                    <a:pt x="52921" y="169402"/>
                  </a:lnTo>
                  <a:lnTo>
                    <a:pt x="53502" y="173384"/>
                  </a:lnTo>
                  <a:close/>
                  <a:moveTo>
                    <a:pt x="25136" y="164525"/>
                  </a:moveTo>
                  <a:lnTo>
                    <a:pt x="28156" y="167326"/>
                  </a:lnTo>
                  <a:lnTo>
                    <a:pt x="25755" y="171974"/>
                  </a:lnTo>
                  <a:lnTo>
                    <a:pt x="22069" y="171955"/>
                  </a:lnTo>
                  <a:lnTo>
                    <a:pt x="16878" y="168564"/>
                  </a:lnTo>
                  <a:lnTo>
                    <a:pt x="16859" y="167869"/>
                  </a:lnTo>
                  <a:lnTo>
                    <a:pt x="17288" y="166849"/>
                  </a:lnTo>
                  <a:lnTo>
                    <a:pt x="18069" y="166040"/>
                  </a:lnTo>
                  <a:lnTo>
                    <a:pt x="18878" y="165849"/>
                  </a:lnTo>
                  <a:lnTo>
                    <a:pt x="20164" y="166402"/>
                  </a:lnTo>
                  <a:lnTo>
                    <a:pt x="21955" y="165506"/>
                  </a:lnTo>
                  <a:lnTo>
                    <a:pt x="23384" y="165792"/>
                  </a:lnTo>
                  <a:lnTo>
                    <a:pt x="25136" y="164525"/>
                  </a:lnTo>
                  <a:close/>
                  <a:moveTo>
                    <a:pt x="52054" y="130245"/>
                  </a:moveTo>
                  <a:lnTo>
                    <a:pt x="48654" y="139094"/>
                  </a:lnTo>
                  <a:lnTo>
                    <a:pt x="47320" y="139313"/>
                  </a:lnTo>
                  <a:lnTo>
                    <a:pt x="46149" y="141522"/>
                  </a:lnTo>
                  <a:lnTo>
                    <a:pt x="42529" y="143951"/>
                  </a:lnTo>
                  <a:lnTo>
                    <a:pt x="45691" y="143999"/>
                  </a:lnTo>
                  <a:lnTo>
                    <a:pt x="46577" y="144809"/>
                  </a:lnTo>
                  <a:lnTo>
                    <a:pt x="46596" y="146552"/>
                  </a:lnTo>
                  <a:lnTo>
                    <a:pt x="45996" y="147561"/>
                  </a:lnTo>
                  <a:lnTo>
                    <a:pt x="41910" y="151581"/>
                  </a:lnTo>
                  <a:lnTo>
                    <a:pt x="39100" y="153105"/>
                  </a:lnTo>
                  <a:lnTo>
                    <a:pt x="36071" y="157296"/>
                  </a:lnTo>
                  <a:lnTo>
                    <a:pt x="34537" y="157344"/>
                  </a:lnTo>
                  <a:lnTo>
                    <a:pt x="33023" y="160001"/>
                  </a:lnTo>
                  <a:lnTo>
                    <a:pt x="31785" y="161172"/>
                  </a:lnTo>
                  <a:lnTo>
                    <a:pt x="31080" y="161172"/>
                  </a:lnTo>
                  <a:lnTo>
                    <a:pt x="30280" y="160582"/>
                  </a:lnTo>
                  <a:lnTo>
                    <a:pt x="28403" y="157982"/>
                  </a:lnTo>
                  <a:lnTo>
                    <a:pt x="31813" y="155420"/>
                  </a:lnTo>
                  <a:lnTo>
                    <a:pt x="32128" y="153981"/>
                  </a:lnTo>
                  <a:lnTo>
                    <a:pt x="34461" y="152476"/>
                  </a:lnTo>
                  <a:lnTo>
                    <a:pt x="34261" y="152010"/>
                  </a:lnTo>
                  <a:lnTo>
                    <a:pt x="30556" y="149895"/>
                  </a:lnTo>
                  <a:lnTo>
                    <a:pt x="29099" y="148476"/>
                  </a:lnTo>
                  <a:lnTo>
                    <a:pt x="29232" y="147733"/>
                  </a:lnTo>
                  <a:lnTo>
                    <a:pt x="31013" y="146095"/>
                  </a:lnTo>
                  <a:lnTo>
                    <a:pt x="30175" y="145885"/>
                  </a:lnTo>
                  <a:lnTo>
                    <a:pt x="29604" y="144999"/>
                  </a:lnTo>
                  <a:lnTo>
                    <a:pt x="28575" y="144656"/>
                  </a:lnTo>
                  <a:lnTo>
                    <a:pt x="28260" y="143837"/>
                  </a:lnTo>
                  <a:lnTo>
                    <a:pt x="28070" y="141665"/>
                  </a:lnTo>
                  <a:lnTo>
                    <a:pt x="28346" y="139446"/>
                  </a:lnTo>
                  <a:lnTo>
                    <a:pt x="29423" y="138465"/>
                  </a:lnTo>
                  <a:lnTo>
                    <a:pt x="29861" y="137417"/>
                  </a:lnTo>
                  <a:lnTo>
                    <a:pt x="30299" y="137093"/>
                  </a:lnTo>
                  <a:lnTo>
                    <a:pt x="31966" y="137655"/>
                  </a:lnTo>
                  <a:lnTo>
                    <a:pt x="33661" y="139437"/>
                  </a:lnTo>
                  <a:lnTo>
                    <a:pt x="35642" y="138751"/>
                  </a:lnTo>
                  <a:lnTo>
                    <a:pt x="37938" y="139084"/>
                  </a:lnTo>
                  <a:lnTo>
                    <a:pt x="37985" y="138674"/>
                  </a:lnTo>
                  <a:lnTo>
                    <a:pt x="36300" y="134303"/>
                  </a:lnTo>
                  <a:lnTo>
                    <a:pt x="36604" y="133407"/>
                  </a:lnTo>
                  <a:lnTo>
                    <a:pt x="37519" y="132388"/>
                  </a:lnTo>
                  <a:lnTo>
                    <a:pt x="42815" y="129254"/>
                  </a:lnTo>
                  <a:lnTo>
                    <a:pt x="49416" y="123977"/>
                  </a:lnTo>
                  <a:lnTo>
                    <a:pt x="51016" y="123149"/>
                  </a:lnTo>
                  <a:lnTo>
                    <a:pt x="51502" y="123873"/>
                  </a:lnTo>
                  <a:lnTo>
                    <a:pt x="52168" y="126606"/>
                  </a:lnTo>
                  <a:lnTo>
                    <a:pt x="52054" y="130245"/>
                  </a:lnTo>
                  <a:close/>
                  <a:moveTo>
                    <a:pt x="134626" y="122482"/>
                  </a:moveTo>
                  <a:lnTo>
                    <a:pt x="134855" y="126654"/>
                  </a:lnTo>
                  <a:lnTo>
                    <a:pt x="134541" y="127921"/>
                  </a:lnTo>
                  <a:lnTo>
                    <a:pt x="133902" y="129483"/>
                  </a:lnTo>
                  <a:lnTo>
                    <a:pt x="131883" y="132388"/>
                  </a:lnTo>
                  <a:lnTo>
                    <a:pt x="126568" y="136531"/>
                  </a:lnTo>
                  <a:lnTo>
                    <a:pt x="116843" y="146018"/>
                  </a:lnTo>
                  <a:lnTo>
                    <a:pt x="111090" y="150704"/>
                  </a:lnTo>
                  <a:lnTo>
                    <a:pt x="110299" y="152953"/>
                  </a:lnTo>
                  <a:lnTo>
                    <a:pt x="109871" y="156077"/>
                  </a:lnTo>
                  <a:lnTo>
                    <a:pt x="113309" y="156696"/>
                  </a:lnTo>
                  <a:lnTo>
                    <a:pt x="114643" y="157753"/>
                  </a:lnTo>
                  <a:lnTo>
                    <a:pt x="113824" y="159334"/>
                  </a:lnTo>
                  <a:lnTo>
                    <a:pt x="108728" y="164830"/>
                  </a:lnTo>
                  <a:lnTo>
                    <a:pt x="107232" y="169783"/>
                  </a:lnTo>
                  <a:lnTo>
                    <a:pt x="111138" y="169602"/>
                  </a:lnTo>
                  <a:lnTo>
                    <a:pt x="114357" y="168650"/>
                  </a:lnTo>
                  <a:lnTo>
                    <a:pt x="120767" y="165563"/>
                  </a:lnTo>
                  <a:lnTo>
                    <a:pt x="126797" y="163268"/>
                  </a:lnTo>
                  <a:lnTo>
                    <a:pt x="129692" y="163173"/>
                  </a:lnTo>
                  <a:lnTo>
                    <a:pt x="135322" y="165002"/>
                  </a:lnTo>
                  <a:lnTo>
                    <a:pt x="136598" y="165059"/>
                  </a:lnTo>
                  <a:lnTo>
                    <a:pt x="138989" y="164211"/>
                  </a:lnTo>
                  <a:lnTo>
                    <a:pt x="141408" y="164059"/>
                  </a:lnTo>
                  <a:lnTo>
                    <a:pt x="157772" y="164630"/>
                  </a:lnTo>
                  <a:lnTo>
                    <a:pt x="162325" y="163554"/>
                  </a:lnTo>
                  <a:lnTo>
                    <a:pt x="165335" y="164840"/>
                  </a:lnTo>
                  <a:lnTo>
                    <a:pt x="167849" y="168040"/>
                  </a:lnTo>
                  <a:lnTo>
                    <a:pt x="170240" y="173936"/>
                  </a:lnTo>
                  <a:lnTo>
                    <a:pt x="170164" y="174917"/>
                  </a:lnTo>
                  <a:lnTo>
                    <a:pt x="168716" y="177594"/>
                  </a:lnTo>
                  <a:lnTo>
                    <a:pt x="166049" y="180947"/>
                  </a:lnTo>
                  <a:lnTo>
                    <a:pt x="163754" y="185556"/>
                  </a:lnTo>
                  <a:lnTo>
                    <a:pt x="163087" y="188033"/>
                  </a:lnTo>
                  <a:lnTo>
                    <a:pt x="162639" y="190748"/>
                  </a:lnTo>
                  <a:lnTo>
                    <a:pt x="161915" y="193253"/>
                  </a:lnTo>
                  <a:lnTo>
                    <a:pt x="157353" y="204969"/>
                  </a:lnTo>
                  <a:lnTo>
                    <a:pt x="152905" y="211426"/>
                  </a:lnTo>
                  <a:lnTo>
                    <a:pt x="150924" y="215998"/>
                  </a:lnTo>
                  <a:lnTo>
                    <a:pt x="148476" y="219628"/>
                  </a:lnTo>
                  <a:lnTo>
                    <a:pt x="146113" y="221913"/>
                  </a:lnTo>
                  <a:lnTo>
                    <a:pt x="143599" y="223438"/>
                  </a:lnTo>
                  <a:lnTo>
                    <a:pt x="136322" y="225057"/>
                  </a:lnTo>
                  <a:lnTo>
                    <a:pt x="134283" y="226219"/>
                  </a:lnTo>
                  <a:lnTo>
                    <a:pt x="131854" y="228210"/>
                  </a:lnTo>
                  <a:lnTo>
                    <a:pt x="129302" y="229200"/>
                  </a:lnTo>
                  <a:lnTo>
                    <a:pt x="132293" y="229076"/>
                  </a:lnTo>
                  <a:lnTo>
                    <a:pt x="135255" y="227971"/>
                  </a:lnTo>
                  <a:lnTo>
                    <a:pt x="140656" y="227571"/>
                  </a:lnTo>
                  <a:lnTo>
                    <a:pt x="146866" y="231381"/>
                  </a:lnTo>
                  <a:lnTo>
                    <a:pt x="146285" y="234496"/>
                  </a:lnTo>
                  <a:lnTo>
                    <a:pt x="143789" y="236954"/>
                  </a:lnTo>
                  <a:lnTo>
                    <a:pt x="138113" y="237344"/>
                  </a:lnTo>
                  <a:lnTo>
                    <a:pt x="132807" y="242802"/>
                  </a:lnTo>
                  <a:lnTo>
                    <a:pt x="130416" y="244478"/>
                  </a:lnTo>
                  <a:lnTo>
                    <a:pt x="127883" y="245307"/>
                  </a:lnTo>
                  <a:lnTo>
                    <a:pt x="124720" y="245059"/>
                  </a:lnTo>
                  <a:lnTo>
                    <a:pt x="118977" y="243602"/>
                  </a:lnTo>
                  <a:lnTo>
                    <a:pt x="116462" y="242078"/>
                  </a:lnTo>
                  <a:lnTo>
                    <a:pt x="118729" y="244564"/>
                  </a:lnTo>
                  <a:lnTo>
                    <a:pt x="121310" y="245859"/>
                  </a:lnTo>
                  <a:lnTo>
                    <a:pt x="136255" y="248917"/>
                  </a:lnTo>
                  <a:lnTo>
                    <a:pt x="137160" y="248593"/>
                  </a:lnTo>
                  <a:lnTo>
                    <a:pt x="141922" y="245374"/>
                  </a:lnTo>
                  <a:lnTo>
                    <a:pt x="148276" y="245326"/>
                  </a:lnTo>
                  <a:lnTo>
                    <a:pt x="160363" y="251250"/>
                  </a:lnTo>
                  <a:lnTo>
                    <a:pt x="163839" y="255775"/>
                  </a:lnTo>
                  <a:lnTo>
                    <a:pt x="168830" y="262223"/>
                  </a:lnTo>
                  <a:lnTo>
                    <a:pt x="171545" y="264738"/>
                  </a:lnTo>
                  <a:lnTo>
                    <a:pt x="173507" y="267014"/>
                  </a:lnTo>
                  <a:lnTo>
                    <a:pt x="174717" y="270415"/>
                  </a:lnTo>
                  <a:lnTo>
                    <a:pt x="177060" y="281616"/>
                  </a:lnTo>
                  <a:lnTo>
                    <a:pt x="179737" y="292494"/>
                  </a:lnTo>
                  <a:lnTo>
                    <a:pt x="183232" y="304209"/>
                  </a:lnTo>
                  <a:lnTo>
                    <a:pt x="184823" y="307448"/>
                  </a:lnTo>
                  <a:lnTo>
                    <a:pt x="186909" y="309715"/>
                  </a:lnTo>
                  <a:lnTo>
                    <a:pt x="197463" y="314916"/>
                  </a:lnTo>
                  <a:lnTo>
                    <a:pt x="199815" y="316640"/>
                  </a:lnTo>
                  <a:lnTo>
                    <a:pt x="203911" y="321631"/>
                  </a:lnTo>
                  <a:lnTo>
                    <a:pt x="207864" y="326936"/>
                  </a:lnTo>
                  <a:lnTo>
                    <a:pt x="211541" y="331003"/>
                  </a:lnTo>
                  <a:lnTo>
                    <a:pt x="215512" y="334289"/>
                  </a:lnTo>
                  <a:lnTo>
                    <a:pt x="213588" y="335994"/>
                  </a:lnTo>
                  <a:lnTo>
                    <a:pt x="212274" y="338671"/>
                  </a:lnTo>
                  <a:lnTo>
                    <a:pt x="213265" y="342300"/>
                  </a:lnTo>
                  <a:lnTo>
                    <a:pt x="214874" y="345757"/>
                  </a:lnTo>
                  <a:lnTo>
                    <a:pt x="218046" y="351282"/>
                  </a:lnTo>
                  <a:lnTo>
                    <a:pt x="220846" y="357292"/>
                  </a:lnTo>
                  <a:lnTo>
                    <a:pt x="219818" y="356388"/>
                  </a:lnTo>
                  <a:lnTo>
                    <a:pt x="218732" y="355892"/>
                  </a:lnTo>
                  <a:lnTo>
                    <a:pt x="217246" y="356045"/>
                  </a:lnTo>
                  <a:lnTo>
                    <a:pt x="215798" y="355759"/>
                  </a:lnTo>
                  <a:lnTo>
                    <a:pt x="213122" y="353873"/>
                  </a:lnTo>
                  <a:lnTo>
                    <a:pt x="210550" y="351558"/>
                  </a:lnTo>
                  <a:lnTo>
                    <a:pt x="205435" y="352492"/>
                  </a:lnTo>
                  <a:lnTo>
                    <a:pt x="202597" y="352073"/>
                  </a:lnTo>
                  <a:lnTo>
                    <a:pt x="200130" y="352139"/>
                  </a:lnTo>
                  <a:lnTo>
                    <a:pt x="204806" y="353473"/>
                  </a:lnTo>
                  <a:lnTo>
                    <a:pt x="209921" y="353568"/>
                  </a:lnTo>
                  <a:lnTo>
                    <a:pt x="221199" y="363636"/>
                  </a:lnTo>
                  <a:lnTo>
                    <a:pt x="225009" y="369579"/>
                  </a:lnTo>
                  <a:lnTo>
                    <a:pt x="227276" y="377400"/>
                  </a:lnTo>
                  <a:lnTo>
                    <a:pt x="225733" y="380905"/>
                  </a:lnTo>
                  <a:lnTo>
                    <a:pt x="223333" y="383172"/>
                  </a:lnTo>
                  <a:lnTo>
                    <a:pt x="221094" y="385753"/>
                  </a:lnTo>
                  <a:lnTo>
                    <a:pt x="218989" y="388677"/>
                  </a:lnTo>
                  <a:lnTo>
                    <a:pt x="225247" y="392954"/>
                  </a:lnTo>
                  <a:lnTo>
                    <a:pt x="226600" y="392830"/>
                  </a:lnTo>
                  <a:lnTo>
                    <a:pt x="227981" y="392230"/>
                  </a:lnTo>
                  <a:lnTo>
                    <a:pt x="229314" y="390773"/>
                  </a:lnTo>
                  <a:lnTo>
                    <a:pt x="231553" y="387220"/>
                  </a:lnTo>
                  <a:lnTo>
                    <a:pt x="232705" y="385963"/>
                  </a:lnTo>
                  <a:lnTo>
                    <a:pt x="236601" y="385505"/>
                  </a:lnTo>
                  <a:lnTo>
                    <a:pt x="239868" y="385782"/>
                  </a:lnTo>
                  <a:lnTo>
                    <a:pt x="243116" y="386572"/>
                  </a:lnTo>
                  <a:lnTo>
                    <a:pt x="245983" y="386324"/>
                  </a:lnTo>
                  <a:lnTo>
                    <a:pt x="251746" y="387848"/>
                  </a:lnTo>
                  <a:lnTo>
                    <a:pt x="254708" y="389220"/>
                  </a:lnTo>
                  <a:lnTo>
                    <a:pt x="262052" y="395383"/>
                  </a:lnTo>
                  <a:lnTo>
                    <a:pt x="263642" y="398755"/>
                  </a:lnTo>
                  <a:lnTo>
                    <a:pt x="264376" y="403098"/>
                  </a:lnTo>
                  <a:lnTo>
                    <a:pt x="264461" y="407899"/>
                  </a:lnTo>
                  <a:lnTo>
                    <a:pt x="263223" y="412270"/>
                  </a:lnTo>
                  <a:lnTo>
                    <a:pt x="261804" y="416214"/>
                  </a:lnTo>
                  <a:lnTo>
                    <a:pt x="260928" y="421291"/>
                  </a:lnTo>
                  <a:lnTo>
                    <a:pt x="260309" y="423120"/>
                  </a:lnTo>
                  <a:lnTo>
                    <a:pt x="259442" y="424548"/>
                  </a:lnTo>
                  <a:lnTo>
                    <a:pt x="255556" y="428539"/>
                  </a:lnTo>
                  <a:lnTo>
                    <a:pt x="252974" y="430178"/>
                  </a:lnTo>
                  <a:lnTo>
                    <a:pt x="251888" y="429463"/>
                  </a:lnTo>
                  <a:lnTo>
                    <a:pt x="250717" y="429558"/>
                  </a:lnTo>
                  <a:lnTo>
                    <a:pt x="250593" y="430521"/>
                  </a:lnTo>
                  <a:lnTo>
                    <a:pt x="251822" y="432549"/>
                  </a:lnTo>
                  <a:lnTo>
                    <a:pt x="251831" y="434997"/>
                  </a:lnTo>
                  <a:lnTo>
                    <a:pt x="249536" y="436807"/>
                  </a:lnTo>
                  <a:lnTo>
                    <a:pt x="247202" y="437579"/>
                  </a:lnTo>
                  <a:lnTo>
                    <a:pt x="243297" y="436616"/>
                  </a:lnTo>
                  <a:lnTo>
                    <a:pt x="237877" y="439988"/>
                  </a:lnTo>
                  <a:lnTo>
                    <a:pt x="241773" y="441722"/>
                  </a:lnTo>
                  <a:lnTo>
                    <a:pt x="242563" y="443560"/>
                  </a:lnTo>
                  <a:lnTo>
                    <a:pt x="241592" y="446789"/>
                  </a:lnTo>
                  <a:lnTo>
                    <a:pt x="239144" y="448228"/>
                  </a:lnTo>
                  <a:lnTo>
                    <a:pt x="236420" y="448866"/>
                  </a:lnTo>
                  <a:lnTo>
                    <a:pt x="233639" y="449018"/>
                  </a:lnTo>
                  <a:lnTo>
                    <a:pt x="231334" y="449809"/>
                  </a:lnTo>
                  <a:lnTo>
                    <a:pt x="229124" y="451333"/>
                  </a:lnTo>
                  <a:lnTo>
                    <a:pt x="231895" y="450532"/>
                  </a:lnTo>
                  <a:lnTo>
                    <a:pt x="233819" y="451237"/>
                  </a:lnTo>
                  <a:lnTo>
                    <a:pt x="235029" y="453942"/>
                  </a:lnTo>
                  <a:lnTo>
                    <a:pt x="236125" y="454723"/>
                  </a:lnTo>
                  <a:lnTo>
                    <a:pt x="241554" y="455876"/>
                  </a:lnTo>
                  <a:lnTo>
                    <a:pt x="244907" y="455867"/>
                  </a:lnTo>
                  <a:lnTo>
                    <a:pt x="251384" y="455209"/>
                  </a:lnTo>
                  <a:lnTo>
                    <a:pt x="254498" y="455219"/>
                  </a:lnTo>
                  <a:lnTo>
                    <a:pt x="255603" y="455714"/>
                  </a:lnTo>
                  <a:lnTo>
                    <a:pt x="255622" y="457953"/>
                  </a:lnTo>
                  <a:lnTo>
                    <a:pt x="255146" y="463439"/>
                  </a:lnTo>
                  <a:lnTo>
                    <a:pt x="254289" y="464573"/>
                  </a:lnTo>
                  <a:lnTo>
                    <a:pt x="245707" y="469164"/>
                  </a:lnTo>
                  <a:lnTo>
                    <a:pt x="243945" y="472364"/>
                  </a:lnTo>
                  <a:lnTo>
                    <a:pt x="243459" y="474298"/>
                  </a:lnTo>
                  <a:lnTo>
                    <a:pt x="238439" y="473955"/>
                  </a:lnTo>
                  <a:lnTo>
                    <a:pt x="236086" y="476002"/>
                  </a:lnTo>
                  <a:lnTo>
                    <a:pt x="232019" y="477364"/>
                  </a:lnTo>
                  <a:lnTo>
                    <a:pt x="228876" y="478803"/>
                  </a:lnTo>
                  <a:lnTo>
                    <a:pt x="225800" y="480622"/>
                  </a:lnTo>
                  <a:lnTo>
                    <a:pt x="223266" y="481165"/>
                  </a:lnTo>
                  <a:lnTo>
                    <a:pt x="212341" y="479003"/>
                  </a:lnTo>
                  <a:lnTo>
                    <a:pt x="205740" y="479184"/>
                  </a:lnTo>
                  <a:lnTo>
                    <a:pt x="196796" y="481070"/>
                  </a:lnTo>
                  <a:lnTo>
                    <a:pt x="194491" y="480755"/>
                  </a:lnTo>
                  <a:lnTo>
                    <a:pt x="191043" y="478955"/>
                  </a:lnTo>
                  <a:lnTo>
                    <a:pt x="187500" y="477736"/>
                  </a:lnTo>
                  <a:lnTo>
                    <a:pt x="183432" y="477203"/>
                  </a:lnTo>
                  <a:lnTo>
                    <a:pt x="179918" y="475526"/>
                  </a:lnTo>
                  <a:lnTo>
                    <a:pt x="182108" y="478736"/>
                  </a:lnTo>
                  <a:lnTo>
                    <a:pt x="177241" y="481832"/>
                  </a:lnTo>
                  <a:lnTo>
                    <a:pt x="174993" y="482441"/>
                  </a:lnTo>
                  <a:lnTo>
                    <a:pt x="172660" y="482346"/>
                  </a:lnTo>
                  <a:lnTo>
                    <a:pt x="167897" y="483184"/>
                  </a:lnTo>
                  <a:lnTo>
                    <a:pt x="163468" y="482727"/>
                  </a:lnTo>
                  <a:lnTo>
                    <a:pt x="164135" y="484918"/>
                  </a:lnTo>
                  <a:lnTo>
                    <a:pt x="165316" y="486832"/>
                  </a:lnTo>
                  <a:lnTo>
                    <a:pt x="164354" y="487661"/>
                  </a:lnTo>
                  <a:lnTo>
                    <a:pt x="163344" y="487871"/>
                  </a:lnTo>
                  <a:lnTo>
                    <a:pt x="154943" y="486432"/>
                  </a:lnTo>
                  <a:lnTo>
                    <a:pt x="153753" y="486699"/>
                  </a:lnTo>
                  <a:lnTo>
                    <a:pt x="152714" y="488032"/>
                  </a:lnTo>
                  <a:lnTo>
                    <a:pt x="149657" y="487318"/>
                  </a:lnTo>
                  <a:lnTo>
                    <a:pt x="146685" y="485080"/>
                  </a:lnTo>
                  <a:lnTo>
                    <a:pt x="143532" y="483565"/>
                  </a:lnTo>
                  <a:lnTo>
                    <a:pt x="140217" y="482851"/>
                  </a:lnTo>
                  <a:lnTo>
                    <a:pt x="137588" y="483098"/>
                  </a:lnTo>
                  <a:lnTo>
                    <a:pt x="126759" y="486642"/>
                  </a:lnTo>
                  <a:lnTo>
                    <a:pt x="124596" y="490185"/>
                  </a:lnTo>
                  <a:lnTo>
                    <a:pt x="123510" y="495205"/>
                  </a:lnTo>
                  <a:lnTo>
                    <a:pt x="121948" y="499653"/>
                  </a:lnTo>
                  <a:lnTo>
                    <a:pt x="119396" y="503073"/>
                  </a:lnTo>
                  <a:lnTo>
                    <a:pt x="116357" y="503520"/>
                  </a:lnTo>
                  <a:lnTo>
                    <a:pt x="113500" y="501148"/>
                  </a:lnTo>
                  <a:lnTo>
                    <a:pt x="108070" y="498538"/>
                  </a:lnTo>
                  <a:lnTo>
                    <a:pt x="106223" y="496767"/>
                  </a:lnTo>
                  <a:lnTo>
                    <a:pt x="105632" y="496662"/>
                  </a:lnTo>
                  <a:lnTo>
                    <a:pt x="105023" y="497291"/>
                  </a:lnTo>
                  <a:lnTo>
                    <a:pt x="102889" y="498091"/>
                  </a:lnTo>
                  <a:lnTo>
                    <a:pt x="100689" y="498129"/>
                  </a:lnTo>
                  <a:lnTo>
                    <a:pt x="97288" y="498834"/>
                  </a:lnTo>
                  <a:lnTo>
                    <a:pt x="91373" y="500958"/>
                  </a:lnTo>
                  <a:lnTo>
                    <a:pt x="88982" y="502396"/>
                  </a:lnTo>
                  <a:lnTo>
                    <a:pt x="83848" y="506368"/>
                  </a:lnTo>
                  <a:lnTo>
                    <a:pt x="82801" y="507464"/>
                  </a:lnTo>
                  <a:lnTo>
                    <a:pt x="80934" y="511455"/>
                  </a:lnTo>
                  <a:lnTo>
                    <a:pt x="78086" y="512159"/>
                  </a:lnTo>
                  <a:lnTo>
                    <a:pt x="75476" y="509607"/>
                  </a:lnTo>
                  <a:lnTo>
                    <a:pt x="72504" y="508711"/>
                  </a:lnTo>
                  <a:lnTo>
                    <a:pt x="69370" y="509578"/>
                  </a:lnTo>
                  <a:lnTo>
                    <a:pt x="67475" y="510940"/>
                  </a:lnTo>
                  <a:lnTo>
                    <a:pt x="66589" y="509835"/>
                  </a:lnTo>
                  <a:lnTo>
                    <a:pt x="66560" y="507568"/>
                  </a:lnTo>
                  <a:lnTo>
                    <a:pt x="68847" y="504863"/>
                  </a:lnTo>
                  <a:lnTo>
                    <a:pt x="74952" y="502815"/>
                  </a:lnTo>
                  <a:lnTo>
                    <a:pt x="80315" y="497491"/>
                  </a:lnTo>
                  <a:lnTo>
                    <a:pt x="82943" y="494243"/>
                  </a:lnTo>
                  <a:lnTo>
                    <a:pt x="83991" y="492405"/>
                  </a:lnTo>
                  <a:lnTo>
                    <a:pt x="85277" y="491233"/>
                  </a:lnTo>
                  <a:lnTo>
                    <a:pt x="86954" y="490795"/>
                  </a:lnTo>
                  <a:lnTo>
                    <a:pt x="87821" y="488766"/>
                  </a:lnTo>
                  <a:lnTo>
                    <a:pt x="95259" y="480593"/>
                  </a:lnTo>
                  <a:lnTo>
                    <a:pt x="95869" y="478717"/>
                  </a:lnTo>
                  <a:lnTo>
                    <a:pt x="96240" y="475345"/>
                  </a:lnTo>
                  <a:lnTo>
                    <a:pt x="96850" y="472097"/>
                  </a:lnTo>
                  <a:lnTo>
                    <a:pt x="102908" y="469992"/>
                  </a:lnTo>
                  <a:lnTo>
                    <a:pt x="105804" y="463144"/>
                  </a:lnTo>
                  <a:lnTo>
                    <a:pt x="106604" y="462601"/>
                  </a:lnTo>
                  <a:lnTo>
                    <a:pt x="115052" y="461343"/>
                  </a:lnTo>
                  <a:lnTo>
                    <a:pt x="121320" y="461448"/>
                  </a:lnTo>
                  <a:lnTo>
                    <a:pt x="127549" y="462791"/>
                  </a:lnTo>
                  <a:lnTo>
                    <a:pt x="130740" y="462915"/>
                  </a:lnTo>
                  <a:lnTo>
                    <a:pt x="133940" y="462448"/>
                  </a:lnTo>
                  <a:lnTo>
                    <a:pt x="136455" y="460591"/>
                  </a:lnTo>
                  <a:lnTo>
                    <a:pt x="140751" y="453885"/>
                  </a:lnTo>
                  <a:lnTo>
                    <a:pt x="143170" y="450923"/>
                  </a:lnTo>
                  <a:lnTo>
                    <a:pt x="145942" y="448246"/>
                  </a:lnTo>
                  <a:lnTo>
                    <a:pt x="148533" y="445189"/>
                  </a:lnTo>
                  <a:lnTo>
                    <a:pt x="152733" y="439512"/>
                  </a:lnTo>
                  <a:lnTo>
                    <a:pt x="149895" y="441474"/>
                  </a:lnTo>
                  <a:lnTo>
                    <a:pt x="146466" y="444579"/>
                  </a:lnTo>
                  <a:lnTo>
                    <a:pt x="144475" y="446380"/>
                  </a:lnTo>
                  <a:lnTo>
                    <a:pt x="138151" y="448190"/>
                  </a:lnTo>
                  <a:lnTo>
                    <a:pt x="135426" y="450037"/>
                  </a:lnTo>
                  <a:lnTo>
                    <a:pt x="130654" y="454200"/>
                  </a:lnTo>
                  <a:lnTo>
                    <a:pt x="129740" y="454543"/>
                  </a:lnTo>
                  <a:lnTo>
                    <a:pt x="122539" y="453542"/>
                  </a:lnTo>
                  <a:lnTo>
                    <a:pt x="117186" y="448142"/>
                  </a:lnTo>
                  <a:lnTo>
                    <a:pt x="113767" y="445932"/>
                  </a:lnTo>
                  <a:lnTo>
                    <a:pt x="112357" y="445675"/>
                  </a:lnTo>
                  <a:lnTo>
                    <a:pt x="110890" y="446332"/>
                  </a:lnTo>
                  <a:lnTo>
                    <a:pt x="107766" y="447008"/>
                  </a:lnTo>
                  <a:lnTo>
                    <a:pt x="104584" y="446894"/>
                  </a:lnTo>
                  <a:lnTo>
                    <a:pt x="106213" y="444389"/>
                  </a:lnTo>
                  <a:lnTo>
                    <a:pt x="108423" y="442989"/>
                  </a:lnTo>
                  <a:lnTo>
                    <a:pt x="103470" y="442017"/>
                  </a:lnTo>
                  <a:lnTo>
                    <a:pt x="102089" y="441255"/>
                  </a:lnTo>
                  <a:lnTo>
                    <a:pt x="100517" y="439493"/>
                  </a:lnTo>
                  <a:lnTo>
                    <a:pt x="96631" y="439198"/>
                  </a:lnTo>
                  <a:lnTo>
                    <a:pt x="94783" y="439646"/>
                  </a:lnTo>
                  <a:lnTo>
                    <a:pt x="91659" y="441970"/>
                  </a:lnTo>
                  <a:lnTo>
                    <a:pt x="86725" y="444437"/>
                  </a:lnTo>
                  <a:lnTo>
                    <a:pt x="80772" y="441017"/>
                  </a:lnTo>
                  <a:lnTo>
                    <a:pt x="79610" y="439522"/>
                  </a:lnTo>
                  <a:lnTo>
                    <a:pt x="79638" y="436616"/>
                  </a:lnTo>
                  <a:lnTo>
                    <a:pt x="78743" y="434312"/>
                  </a:lnTo>
                  <a:lnTo>
                    <a:pt x="77095" y="433502"/>
                  </a:lnTo>
                  <a:lnTo>
                    <a:pt x="79200" y="430501"/>
                  </a:lnTo>
                  <a:lnTo>
                    <a:pt x="81753" y="428501"/>
                  </a:lnTo>
                  <a:lnTo>
                    <a:pt x="87354" y="426511"/>
                  </a:lnTo>
                  <a:lnTo>
                    <a:pt x="95840" y="421777"/>
                  </a:lnTo>
                  <a:lnTo>
                    <a:pt x="100603" y="419757"/>
                  </a:lnTo>
                  <a:lnTo>
                    <a:pt x="105023" y="416271"/>
                  </a:lnTo>
                  <a:lnTo>
                    <a:pt x="106851" y="414138"/>
                  </a:lnTo>
                  <a:lnTo>
                    <a:pt x="108175" y="411213"/>
                  </a:lnTo>
                  <a:lnTo>
                    <a:pt x="109490" y="407632"/>
                  </a:lnTo>
                  <a:lnTo>
                    <a:pt x="111366" y="404708"/>
                  </a:lnTo>
                  <a:lnTo>
                    <a:pt x="109547" y="404013"/>
                  </a:lnTo>
                  <a:lnTo>
                    <a:pt x="108728" y="401812"/>
                  </a:lnTo>
                  <a:lnTo>
                    <a:pt x="108947" y="399574"/>
                  </a:lnTo>
                  <a:lnTo>
                    <a:pt x="109785" y="397583"/>
                  </a:lnTo>
                  <a:lnTo>
                    <a:pt x="109033" y="395088"/>
                  </a:lnTo>
                  <a:lnTo>
                    <a:pt x="107690" y="392478"/>
                  </a:lnTo>
                  <a:lnTo>
                    <a:pt x="107766" y="390439"/>
                  </a:lnTo>
                  <a:lnTo>
                    <a:pt x="108128" y="388258"/>
                  </a:lnTo>
                  <a:lnTo>
                    <a:pt x="104718" y="388373"/>
                  </a:lnTo>
                  <a:lnTo>
                    <a:pt x="101317" y="389058"/>
                  </a:lnTo>
                  <a:lnTo>
                    <a:pt x="98231" y="390601"/>
                  </a:lnTo>
                  <a:lnTo>
                    <a:pt x="95240" y="392697"/>
                  </a:lnTo>
                  <a:lnTo>
                    <a:pt x="92583" y="393087"/>
                  </a:lnTo>
                  <a:lnTo>
                    <a:pt x="92621" y="391411"/>
                  </a:lnTo>
                  <a:lnTo>
                    <a:pt x="93774" y="389334"/>
                  </a:lnTo>
                  <a:lnTo>
                    <a:pt x="96783" y="386362"/>
                  </a:lnTo>
                  <a:lnTo>
                    <a:pt x="100003" y="383896"/>
                  </a:lnTo>
                  <a:lnTo>
                    <a:pt x="101146" y="382019"/>
                  </a:lnTo>
                  <a:lnTo>
                    <a:pt x="102051" y="379838"/>
                  </a:lnTo>
                  <a:lnTo>
                    <a:pt x="103651" y="378085"/>
                  </a:lnTo>
                  <a:lnTo>
                    <a:pt x="107861" y="374771"/>
                  </a:lnTo>
                  <a:lnTo>
                    <a:pt x="115929" y="371037"/>
                  </a:lnTo>
                  <a:lnTo>
                    <a:pt x="117129" y="370818"/>
                  </a:lnTo>
                  <a:lnTo>
                    <a:pt x="120291" y="371256"/>
                  </a:lnTo>
                  <a:lnTo>
                    <a:pt x="123406" y="370684"/>
                  </a:lnTo>
                  <a:lnTo>
                    <a:pt x="126130" y="369341"/>
                  </a:lnTo>
                  <a:lnTo>
                    <a:pt x="128844" y="369056"/>
                  </a:lnTo>
                  <a:lnTo>
                    <a:pt x="134960" y="372932"/>
                  </a:lnTo>
                  <a:lnTo>
                    <a:pt x="133140" y="366932"/>
                  </a:lnTo>
                  <a:lnTo>
                    <a:pt x="135836" y="365493"/>
                  </a:lnTo>
                  <a:lnTo>
                    <a:pt x="139741" y="370923"/>
                  </a:lnTo>
                  <a:lnTo>
                    <a:pt x="141189" y="371494"/>
                  </a:lnTo>
                  <a:lnTo>
                    <a:pt x="144256" y="370704"/>
                  </a:lnTo>
                  <a:lnTo>
                    <a:pt x="143075" y="369789"/>
                  </a:lnTo>
                  <a:lnTo>
                    <a:pt x="141694" y="369732"/>
                  </a:lnTo>
                  <a:lnTo>
                    <a:pt x="139884" y="368913"/>
                  </a:lnTo>
                  <a:lnTo>
                    <a:pt x="138360" y="367170"/>
                  </a:lnTo>
                  <a:lnTo>
                    <a:pt x="135826" y="361626"/>
                  </a:lnTo>
                  <a:lnTo>
                    <a:pt x="135969" y="358330"/>
                  </a:lnTo>
                  <a:lnTo>
                    <a:pt x="137674" y="354902"/>
                  </a:lnTo>
                  <a:lnTo>
                    <a:pt x="139560" y="351739"/>
                  </a:lnTo>
                  <a:lnTo>
                    <a:pt x="137979" y="351111"/>
                  </a:lnTo>
                  <a:lnTo>
                    <a:pt x="136712" y="349901"/>
                  </a:lnTo>
                  <a:lnTo>
                    <a:pt x="136350" y="346729"/>
                  </a:lnTo>
                  <a:lnTo>
                    <a:pt x="136845" y="343919"/>
                  </a:lnTo>
                  <a:lnTo>
                    <a:pt x="140237" y="341443"/>
                  </a:lnTo>
                  <a:lnTo>
                    <a:pt x="141236" y="337671"/>
                  </a:lnTo>
                  <a:lnTo>
                    <a:pt x="141656" y="333508"/>
                  </a:lnTo>
                  <a:lnTo>
                    <a:pt x="141094" y="331594"/>
                  </a:lnTo>
                  <a:lnTo>
                    <a:pt x="137722" y="331899"/>
                  </a:lnTo>
                  <a:lnTo>
                    <a:pt x="136084" y="332680"/>
                  </a:lnTo>
                  <a:lnTo>
                    <a:pt x="134617" y="333908"/>
                  </a:lnTo>
                  <a:lnTo>
                    <a:pt x="133112" y="333832"/>
                  </a:lnTo>
                  <a:lnTo>
                    <a:pt x="128949" y="329222"/>
                  </a:lnTo>
                  <a:lnTo>
                    <a:pt x="126578" y="325726"/>
                  </a:lnTo>
                  <a:lnTo>
                    <a:pt x="122320" y="318316"/>
                  </a:lnTo>
                  <a:lnTo>
                    <a:pt x="121720" y="313868"/>
                  </a:lnTo>
                  <a:lnTo>
                    <a:pt x="125120" y="304248"/>
                  </a:lnTo>
                  <a:lnTo>
                    <a:pt x="130378" y="298066"/>
                  </a:lnTo>
                  <a:lnTo>
                    <a:pt x="136569" y="295904"/>
                  </a:lnTo>
                  <a:lnTo>
                    <a:pt x="135369" y="295494"/>
                  </a:lnTo>
                  <a:lnTo>
                    <a:pt x="125930" y="295408"/>
                  </a:lnTo>
                  <a:lnTo>
                    <a:pt x="122815" y="296170"/>
                  </a:lnTo>
                  <a:lnTo>
                    <a:pt x="119929" y="298704"/>
                  </a:lnTo>
                  <a:lnTo>
                    <a:pt x="118300" y="299485"/>
                  </a:lnTo>
                  <a:lnTo>
                    <a:pt x="116586" y="299771"/>
                  </a:lnTo>
                  <a:lnTo>
                    <a:pt x="115024" y="301028"/>
                  </a:lnTo>
                  <a:lnTo>
                    <a:pt x="113500" y="302771"/>
                  </a:lnTo>
                  <a:lnTo>
                    <a:pt x="111909" y="303895"/>
                  </a:lnTo>
                  <a:lnTo>
                    <a:pt x="108756" y="303600"/>
                  </a:lnTo>
                  <a:lnTo>
                    <a:pt x="107232" y="303971"/>
                  </a:lnTo>
                  <a:lnTo>
                    <a:pt x="106137" y="302962"/>
                  </a:lnTo>
                  <a:lnTo>
                    <a:pt x="105213" y="301295"/>
                  </a:lnTo>
                  <a:lnTo>
                    <a:pt x="104013" y="300847"/>
                  </a:lnTo>
                  <a:lnTo>
                    <a:pt x="102670" y="301362"/>
                  </a:lnTo>
                  <a:lnTo>
                    <a:pt x="99831" y="303609"/>
                  </a:lnTo>
                  <a:lnTo>
                    <a:pt x="96955" y="304933"/>
                  </a:lnTo>
                  <a:lnTo>
                    <a:pt x="93478" y="303514"/>
                  </a:lnTo>
                  <a:lnTo>
                    <a:pt x="88916" y="300866"/>
                  </a:lnTo>
                  <a:lnTo>
                    <a:pt x="88021" y="301838"/>
                  </a:lnTo>
                  <a:lnTo>
                    <a:pt x="87011" y="304295"/>
                  </a:lnTo>
                  <a:lnTo>
                    <a:pt x="86430" y="308115"/>
                  </a:lnTo>
                  <a:lnTo>
                    <a:pt x="83191" y="304790"/>
                  </a:lnTo>
                  <a:lnTo>
                    <a:pt x="80438" y="300342"/>
                  </a:lnTo>
                  <a:lnTo>
                    <a:pt x="79505" y="297542"/>
                  </a:lnTo>
                  <a:lnTo>
                    <a:pt x="79438" y="294380"/>
                  </a:lnTo>
                  <a:lnTo>
                    <a:pt x="80934" y="293151"/>
                  </a:lnTo>
                  <a:lnTo>
                    <a:pt x="82563" y="294275"/>
                  </a:lnTo>
                  <a:lnTo>
                    <a:pt x="84982" y="286760"/>
                  </a:lnTo>
                  <a:lnTo>
                    <a:pt x="89801" y="276930"/>
                  </a:lnTo>
                  <a:lnTo>
                    <a:pt x="91507" y="274044"/>
                  </a:lnTo>
                  <a:lnTo>
                    <a:pt x="92697" y="270262"/>
                  </a:lnTo>
                  <a:lnTo>
                    <a:pt x="92497" y="267786"/>
                  </a:lnTo>
                  <a:lnTo>
                    <a:pt x="91440" y="265690"/>
                  </a:lnTo>
                  <a:lnTo>
                    <a:pt x="86954" y="260928"/>
                  </a:lnTo>
                  <a:lnTo>
                    <a:pt x="87011" y="257032"/>
                  </a:lnTo>
                  <a:lnTo>
                    <a:pt x="87487" y="252632"/>
                  </a:lnTo>
                  <a:lnTo>
                    <a:pt x="88706" y="249984"/>
                  </a:lnTo>
                  <a:lnTo>
                    <a:pt x="89220" y="249479"/>
                  </a:lnTo>
                  <a:lnTo>
                    <a:pt x="95174" y="249546"/>
                  </a:lnTo>
                  <a:lnTo>
                    <a:pt x="92850" y="248174"/>
                  </a:lnTo>
                  <a:lnTo>
                    <a:pt x="88220" y="244183"/>
                  </a:lnTo>
                  <a:lnTo>
                    <a:pt x="88306" y="242764"/>
                  </a:lnTo>
                  <a:lnTo>
                    <a:pt x="89392" y="239058"/>
                  </a:lnTo>
                  <a:lnTo>
                    <a:pt x="88887" y="239430"/>
                  </a:lnTo>
                  <a:lnTo>
                    <a:pt x="87897" y="241145"/>
                  </a:lnTo>
                  <a:lnTo>
                    <a:pt x="86001" y="245288"/>
                  </a:lnTo>
                  <a:lnTo>
                    <a:pt x="84849" y="246250"/>
                  </a:lnTo>
                  <a:lnTo>
                    <a:pt x="81572" y="247231"/>
                  </a:lnTo>
                  <a:lnTo>
                    <a:pt x="80972" y="249260"/>
                  </a:lnTo>
                  <a:lnTo>
                    <a:pt x="80448" y="249793"/>
                  </a:lnTo>
                  <a:lnTo>
                    <a:pt x="78819" y="250022"/>
                  </a:lnTo>
                  <a:lnTo>
                    <a:pt x="78314" y="251917"/>
                  </a:lnTo>
                  <a:lnTo>
                    <a:pt x="77953" y="252041"/>
                  </a:lnTo>
                  <a:lnTo>
                    <a:pt x="77486" y="250003"/>
                  </a:lnTo>
                  <a:lnTo>
                    <a:pt x="77438" y="246612"/>
                  </a:lnTo>
                  <a:lnTo>
                    <a:pt x="78086" y="243487"/>
                  </a:lnTo>
                  <a:lnTo>
                    <a:pt x="79324" y="241040"/>
                  </a:lnTo>
                  <a:lnTo>
                    <a:pt x="84125" y="235468"/>
                  </a:lnTo>
                  <a:lnTo>
                    <a:pt x="81791" y="237192"/>
                  </a:lnTo>
                  <a:lnTo>
                    <a:pt x="76495" y="242345"/>
                  </a:lnTo>
                  <a:lnTo>
                    <a:pt x="73790" y="245726"/>
                  </a:lnTo>
                  <a:lnTo>
                    <a:pt x="73066" y="246869"/>
                  </a:lnTo>
                  <a:lnTo>
                    <a:pt x="72847" y="247831"/>
                  </a:lnTo>
                  <a:lnTo>
                    <a:pt x="72857" y="248936"/>
                  </a:lnTo>
                  <a:lnTo>
                    <a:pt x="74066" y="254851"/>
                  </a:lnTo>
                  <a:lnTo>
                    <a:pt x="73714" y="257585"/>
                  </a:lnTo>
                  <a:lnTo>
                    <a:pt x="69151" y="275539"/>
                  </a:lnTo>
                  <a:lnTo>
                    <a:pt x="68284" y="277330"/>
                  </a:lnTo>
                  <a:lnTo>
                    <a:pt x="67494" y="278263"/>
                  </a:lnTo>
                  <a:lnTo>
                    <a:pt x="66742" y="278482"/>
                  </a:lnTo>
                  <a:lnTo>
                    <a:pt x="64494" y="278139"/>
                  </a:lnTo>
                  <a:lnTo>
                    <a:pt x="63494" y="276796"/>
                  </a:lnTo>
                  <a:lnTo>
                    <a:pt x="63503" y="275282"/>
                  </a:lnTo>
                  <a:lnTo>
                    <a:pt x="63922" y="273006"/>
                  </a:lnTo>
                  <a:lnTo>
                    <a:pt x="65817" y="264500"/>
                  </a:lnTo>
                  <a:lnTo>
                    <a:pt x="66637" y="262128"/>
                  </a:lnTo>
                  <a:lnTo>
                    <a:pt x="67856" y="259918"/>
                  </a:lnTo>
                  <a:lnTo>
                    <a:pt x="70542" y="256051"/>
                  </a:lnTo>
                  <a:lnTo>
                    <a:pt x="70475" y="255794"/>
                  </a:lnTo>
                  <a:lnTo>
                    <a:pt x="68685" y="256556"/>
                  </a:lnTo>
                  <a:lnTo>
                    <a:pt x="67923" y="256308"/>
                  </a:lnTo>
                  <a:lnTo>
                    <a:pt x="67370" y="255537"/>
                  </a:lnTo>
                  <a:lnTo>
                    <a:pt x="67723" y="244002"/>
                  </a:lnTo>
                  <a:lnTo>
                    <a:pt x="69180" y="240192"/>
                  </a:lnTo>
                  <a:lnTo>
                    <a:pt x="69723" y="234639"/>
                  </a:lnTo>
                  <a:lnTo>
                    <a:pt x="70980" y="229867"/>
                  </a:lnTo>
                  <a:lnTo>
                    <a:pt x="72437" y="226381"/>
                  </a:lnTo>
                  <a:lnTo>
                    <a:pt x="73552" y="221913"/>
                  </a:lnTo>
                  <a:lnTo>
                    <a:pt x="75219" y="219923"/>
                  </a:lnTo>
                  <a:lnTo>
                    <a:pt x="75667" y="216875"/>
                  </a:lnTo>
                  <a:lnTo>
                    <a:pt x="77543" y="213570"/>
                  </a:lnTo>
                  <a:lnTo>
                    <a:pt x="78991" y="210112"/>
                  </a:lnTo>
                  <a:lnTo>
                    <a:pt x="78210" y="210455"/>
                  </a:lnTo>
                  <a:lnTo>
                    <a:pt x="68942" y="219446"/>
                  </a:lnTo>
                  <a:lnTo>
                    <a:pt x="66580" y="221075"/>
                  </a:lnTo>
                  <a:lnTo>
                    <a:pt x="63360" y="220637"/>
                  </a:lnTo>
                  <a:lnTo>
                    <a:pt x="60903" y="219628"/>
                  </a:lnTo>
                  <a:lnTo>
                    <a:pt x="58979" y="217503"/>
                  </a:lnTo>
                  <a:lnTo>
                    <a:pt x="58121" y="213417"/>
                  </a:lnTo>
                  <a:lnTo>
                    <a:pt x="55750" y="213312"/>
                  </a:lnTo>
                  <a:lnTo>
                    <a:pt x="53721" y="212608"/>
                  </a:lnTo>
                  <a:lnTo>
                    <a:pt x="53740" y="212055"/>
                  </a:lnTo>
                  <a:lnTo>
                    <a:pt x="56359" y="209826"/>
                  </a:lnTo>
                  <a:lnTo>
                    <a:pt x="60560" y="209064"/>
                  </a:lnTo>
                  <a:lnTo>
                    <a:pt x="64494" y="205483"/>
                  </a:lnTo>
                  <a:lnTo>
                    <a:pt x="60998" y="203063"/>
                  </a:lnTo>
                  <a:lnTo>
                    <a:pt x="61293" y="202292"/>
                  </a:lnTo>
                  <a:lnTo>
                    <a:pt x="64341" y="200225"/>
                  </a:lnTo>
                  <a:lnTo>
                    <a:pt x="68218" y="193281"/>
                  </a:lnTo>
                  <a:lnTo>
                    <a:pt x="68999" y="186871"/>
                  </a:lnTo>
                  <a:lnTo>
                    <a:pt x="67151" y="183852"/>
                  </a:lnTo>
                  <a:lnTo>
                    <a:pt x="66484" y="181870"/>
                  </a:lnTo>
                  <a:lnTo>
                    <a:pt x="62779" y="179661"/>
                  </a:lnTo>
                  <a:lnTo>
                    <a:pt x="62160" y="176832"/>
                  </a:lnTo>
                  <a:lnTo>
                    <a:pt x="62589" y="175241"/>
                  </a:lnTo>
                  <a:lnTo>
                    <a:pt x="63798" y="173689"/>
                  </a:lnTo>
                  <a:lnTo>
                    <a:pt x="65618" y="172488"/>
                  </a:lnTo>
                  <a:lnTo>
                    <a:pt x="68475" y="171326"/>
                  </a:lnTo>
                  <a:lnTo>
                    <a:pt x="65884" y="170088"/>
                  </a:lnTo>
                  <a:lnTo>
                    <a:pt x="64913" y="168621"/>
                  </a:lnTo>
                  <a:lnTo>
                    <a:pt x="64179" y="166497"/>
                  </a:lnTo>
                  <a:lnTo>
                    <a:pt x="64113" y="165268"/>
                  </a:lnTo>
                  <a:lnTo>
                    <a:pt x="65456" y="159782"/>
                  </a:lnTo>
                  <a:lnTo>
                    <a:pt x="66237" y="157515"/>
                  </a:lnTo>
                  <a:lnTo>
                    <a:pt x="67770" y="154619"/>
                  </a:lnTo>
                  <a:lnTo>
                    <a:pt x="74704" y="154781"/>
                  </a:lnTo>
                  <a:lnTo>
                    <a:pt x="75505" y="153505"/>
                  </a:lnTo>
                  <a:lnTo>
                    <a:pt x="76295" y="153457"/>
                  </a:lnTo>
                  <a:lnTo>
                    <a:pt x="79838" y="154629"/>
                  </a:lnTo>
                  <a:lnTo>
                    <a:pt x="79315" y="153371"/>
                  </a:lnTo>
                  <a:lnTo>
                    <a:pt x="73514" y="146466"/>
                  </a:lnTo>
                  <a:lnTo>
                    <a:pt x="72990" y="145152"/>
                  </a:lnTo>
                  <a:lnTo>
                    <a:pt x="74647" y="141418"/>
                  </a:lnTo>
                  <a:lnTo>
                    <a:pt x="74762" y="139751"/>
                  </a:lnTo>
                  <a:lnTo>
                    <a:pt x="74523" y="137970"/>
                  </a:lnTo>
                  <a:lnTo>
                    <a:pt x="75000" y="136608"/>
                  </a:lnTo>
                  <a:lnTo>
                    <a:pt x="76838" y="135969"/>
                  </a:lnTo>
                  <a:lnTo>
                    <a:pt x="82439" y="136027"/>
                  </a:lnTo>
                  <a:lnTo>
                    <a:pt x="83820" y="135398"/>
                  </a:lnTo>
                  <a:lnTo>
                    <a:pt x="83191" y="133588"/>
                  </a:lnTo>
                  <a:lnTo>
                    <a:pt x="81886" y="131207"/>
                  </a:lnTo>
                  <a:lnTo>
                    <a:pt x="81629" y="129207"/>
                  </a:lnTo>
                  <a:lnTo>
                    <a:pt x="81934" y="127435"/>
                  </a:lnTo>
                  <a:lnTo>
                    <a:pt x="82001" y="123863"/>
                  </a:lnTo>
                  <a:lnTo>
                    <a:pt x="82258" y="122282"/>
                  </a:lnTo>
                  <a:lnTo>
                    <a:pt x="83591" y="119910"/>
                  </a:lnTo>
                  <a:lnTo>
                    <a:pt x="84687" y="119206"/>
                  </a:lnTo>
                  <a:lnTo>
                    <a:pt x="86049" y="118796"/>
                  </a:lnTo>
                  <a:lnTo>
                    <a:pt x="89125" y="119586"/>
                  </a:lnTo>
                  <a:lnTo>
                    <a:pt x="90297" y="120539"/>
                  </a:lnTo>
                  <a:lnTo>
                    <a:pt x="91649" y="122796"/>
                  </a:lnTo>
                  <a:lnTo>
                    <a:pt x="92640" y="122615"/>
                  </a:lnTo>
                  <a:lnTo>
                    <a:pt x="96469" y="120158"/>
                  </a:lnTo>
                  <a:lnTo>
                    <a:pt x="97622" y="119805"/>
                  </a:lnTo>
                  <a:lnTo>
                    <a:pt x="99193" y="122654"/>
                  </a:lnTo>
                  <a:lnTo>
                    <a:pt x="105737" y="120387"/>
                  </a:lnTo>
                  <a:lnTo>
                    <a:pt x="114528" y="119377"/>
                  </a:lnTo>
                  <a:lnTo>
                    <a:pt x="119815" y="117881"/>
                  </a:lnTo>
                  <a:lnTo>
                    <a:pt x="125378" y="117338"/>
                  </a:lnTo>
                  <a:lnTo>
                    <a:pt x="130568" y="115634"/>
                  </a:lnTo>
                  <a:lnTo>
                    <a:pt x="136074" y="116415"/>
                  </a:lnTo>
                  <a:lnTo>
                    <a:pt x="136265" y="117405"/>
                  </a:lnTo>
                  <a:lnTo>
                    <a:pt x="135979" y="118777"/>
                  </a:lnTo>
                  <a:lnTo>
                    <a:pt x="134626" y="122482"/>
                  </a:lnTo>
                  <a:close/>
                  <a:moveTo>
                    <a:pt x="139455" y="110890"/>
                  </a:moveTo>
                  <a:lnTo>
                    <a:pt x="139198" y="111042"/>
                  </a:lnTo>
                  <a:lnTo>
                    <a:pt x="138217" y="110099"/>
                  </a:lnTo>
                  <a:lnTo>
                    <a:pt x="136617" y="106718"/>
                  </a:lnTo>
                  <a:lnTo>
                    <a:pt x="139141" y="106042"/>
                  </a:lnTo>
                  <a:lnTo>
                    <a:pt x="140332" y="106461"/>
                  </a:lnTo>
                  <a:lnTo>
                    <a:pt x="139884" y="107899"/>
                  </a:lnTo>
                  <a:lnTo>
                    <a:pt x="139455" y="110890"/>
                  </a:lnTo>
                  <a:close/>
                  <a:moveTo>
                    <a:pt x="133150" y="108185"/>
                  </a:moveTo>
                  <a:lnTo>
                    <a:pt x="131616" y="108871"/>
                  </a:lnTo>
                  <a:lnTo>
                    <a:pt x="130102" y="108823"/>
                  </a:lnTo>
                  <a:lnTo>
                    <a:pt x="127740" y="105842"/>
                  </a:lnTo>
                  <a:lnTo>
                    <a:pt x="126844" y="103670"/>
                  </a:lnTo>
                  <a:lnTo>
                    <a:pt x="127006" y="102232"/>
                  </a:lnTo>
                  <a:lnTo>
                    <a:pt x="127997" y="101746"/>
                  </a:lnTo>
                  <a:lnTo>
                    <a:pt x="130283" y="102451"/>
                  </a:lnTo>
                  <a:lnTo>
                    <a:pt x="131464" y="104937"/>
                  </a:lnTo>
                  <a:lnTo>
                    <a:pt x="131616" y="106547"/>
                  </a:lnTo>
                  <a:lnTo>
                    <a:pt x="131893" y="107175"/>
                  </a:lnTo>
                  <a:lnTo>
                    <a:pt x="133312" y="107813"/>
                  </a:lnTo>
                  <a:lnTo>
                    <a:pt x="133150" y="108185"/>
                  </a:lnTo>
                  <a:close/>
                  <a:moveTo>
                    <a:pt x="136026" y="96021"/>
                  </a:moveTo>
                  <a:lnTo>
                    <a:pt x="135664" y="97298"/>
                  </a:lnTo>
                  <a:lnTo>
                    <a:pt x="137693" y="97269"/>
                  </a:lnTo>
                  <a:lnTo>
                    <a:pt x="140636" y="98355"/>
                  </a:lnTo>
                  <a:lnTo>
                    <a:pt x="142418" y="98488"/>
                  </a:lnTo>
                  <a:lnTo>
                    <a:pt x="143904" y="99841"/>
                  </a:lnTo>
                  <a:lnTo>
                    <a:pt x="143084" y="102365"/>
                  </a:lnTo>
                  <a:lnTo>
                    <a:pt x="142199" y="103079"/>
                  </a:lnTo>
                  <a:lnTo>
                    <a:pt x="141198" y="103222"/>
                  </a:lnTo>
                  <a:lnTo>
                    <a:pt x="137693" y="100698"/>
                  </a:lnTo>
                  <a:lnTo>
                    <a:pt x="133102" y="101746"/>
                  </a:lnTo>
                  <a:lnTo>
                    <a:pt x="132188" y="101422"/>
                  </a:lnTo>
                  <a:lnTo>
                    <a:pt x="131588" y="100727"/>
                  </a:lnTo>
                  <a:lnTo>
                    <a:pt x="131340" y="99860"/>
                  </a:lnTo>
                  <a:lnTo>
                    <a:pt x="131340" y="98088"/>
                  </a:lnTo>
                  <a:lnTo>
                    <a:pt x="131093" y="97565"/>
                  </a:lnTo>
                  <a:lnTo>
                    <a:pt x="129426" y="99241"/>
                  </a:lnTo>
                  <a:lnTo>
                    <a:pt x="128702" y="99041"/>
                  </a:lnTo>
                  <a:lnTo>
                    <a:pt x="128292" y="98241"/>
                  </a:lnTo>
                  <a:lnTo>
                    <a:pt x="128111" y="96584"/>
                  </a:lnTo>
                  <a:lnTo>
                    <a:pt x="128292" y="94193"/>
                  </a:lnTo>
                  <a:lnTo>
                    <a:pt x="129273" y="90773"/>
                  </a:lnTo>
                  <a:lnTo>
                    <a:pt x="130921" y="90088"/>
                  </a:lnTo>
                  <a:lnTo>
                    <a:pt x="133378" y="90488"/>
                  </a:lnTo>
                  <a:lnTo>
                    <a:pt x="136198" y="92421"/>
                  </a:lnTo>
                  <a:lnTo>
                    <a:pt x="137046" y="93612"/>
                  </a:lnTo>
                  <a:lnTo>
                    <a:pt x="137027" y="94564"/>
                  </a:lnTo>
                  <a:lnTo>
                    <a:pt x="136026" y="96021"/>
                  </a:lnTo>
                  <a:close/>
                  <a:moveTo>
                    <a:pt x="149618" y="85525"/>
                  </a:moveTo>
                  <a:lnTo>
                    <a:pt x="146599" y="85582"/>
                  </a:lnTo>
                  <a:lnTo>
                    <a:pt x="148161" y="82496"/>
                  </a:lnTo>
                  <a:lnTo>
                    <a:pt x="149981" y="81715"/>
                  </a:lnTo>
                  <a:lnTo>
                    <a:pt x="153419" y="82058"/>
                  </a:lnTo>
                  <a:lnTo>
                    <a:pt x="152810" y="83449"/>
                  </a:lnTo>
                  <a:lnTo>
                    <a:pt x="149618" y="85525"/>
                  </a:lnTo>
                  <a:close/>
                  <a:moveTo>
                    <a:pt x="144799" y="87849"/>
                  </a:moveTo>
                  <a:lnTo>
                    <a:pt x="142504" y="89145"/>
                  </a:lnTo>
                  <a:lnTo>
                    <a:pt x="141522" y="88078"/>
                  </a:lnTo>
                  <a:lnTo>
                    <a:pt x="141265" y="84725"/>
                  </a:lnTo>
                  <a:lnTo>
                    <a:pt x="138531" y="83287"/>
                  </a:lnTo>
                  <a:lnTo>
                    <a:pt x="137198" y="82391"/>
                  </a:lnTo>
                  <a:lnTo>
                    <a:pt x="136169" y="80696"/>
                  </a:lnTo>
                  <a:lnTo>
                    <a:pt x="136427" y="80172"/>
                  </a:lnTo>
                  <a:lnTo>
                    <a:pt x="138208" y="79477"/>
                  </a:lnTo>
                  <a:lnTo>
                    <a:pt x="141256" y="82553"/>
                  </a:lnTo>
                  <a:lnTo>
                    <a:pt x="142504" y="85030"/>
                  </a:lnTo>
                  <a:lnTo>
                    <a:pt x="144761" y="85763"/>
                  </a:lnTo>
                  <a:lnTo>
                    <a:pt x="145047" y="86144"/>
                  </a:lnTo>
                  <a:lnTo>
                    <a:pt x="144799" y="87849"/>
                  </a:lnTo>
                  <a:close/>
                  <a:moveTo>
                    <a:pt x="182785" y="16050"/>
                  </a:moveTo>
                  <a:lnTo>
                    <a:pt x="183337" y="19869"/>
                  </a:lnTo>
                  <a:lnTo>
                    <a:pt x="184718" y="18879"/>
                  </a:lnTo>
                  <a:lnTo>
                    <a:pt x="186804" y="22536"/>
                  </a:lnTo>
                  <a:lnTo>
                    <a:pt x="187871" y="22536"/>
                  </a:lnTo>
                  <a:lnTo>
                    <a:pt x="189624" y="21088"/>
                  </a:lnTo>
                  <a:lnTo>
                    <a:pt x="189271" y="24489"/>
                  </a:lnTo>
                  <a:lnTo>
                    <a:pt x="187452" y="33890"/>
                  </a:lnTo>
                  <a:lnTo>
                    <a:pt x="186937" y="35481"/>
                  </a:lnTo>
                  <a:lnTo>
                    <a:pt x="186595" y="38329"/>
                  </a:lnTo>
                  <a:lnTo>
                    <a:pt x="186233" y="38891"/>
                  </a:lnTo>
                  <a:lnTo>
                    <a:pt x="185699" y="44634"/>
                  </a:lnTo>
                  <a:lnTo>
                    <a:pt x="184470" y="46520"/>
                  </a:lnTo>
                  <a:lnTo>
                    <a:pt x="183442" y="51016"/>
                  </a:lnTo>
                  <a:lnTo>
                    <a:pt x="183023" y="51454"/>
                  </a:lnTo>
                  <a:lnTo>
                    <a:pt x="181518" y="49730"/>
                  </a:lnTo>
                  <a:lnTo>
                    <a:pt x="183023" y="42863"/>
                  </a:lnTo>
                  <a:lnTo>
                    <a:pt x="183642" y="38862"/>
                  </a:lnTo>
                  <a:lnTo>
                    <a:pt x="183242" y="36786"/>
                  </a:lnTo>
                  <a:lnTo>
                    <a:pt x="182394" y="34909"/>
                  </a:lnTo>
                  <a:lnTo>
                    <a:pt x="180089" y="34852"/>
                  </a:lnTo>
                  <a:lnTo>
                    <a:pt x="178146" y="35719"/>
                  </a:lnTo>
                  <a:lnTo>
                    <a:pt x="177736" y="34614"/>
                  </a:lnTo>
                  <a:lnTo>
                    <a:pt x="177679" y="33128"/>
                  </a:lnTo>
                  <a:lnTo>
                    <a:pt x="177212" y="32633"/>
                  </a:lnTo>
                  <a:lnTo>
                    <a:pt x="174631" y="32737"/>
                  </a:lnTo>
                  <a:lnTo>
                    <a:pt x="173869" y="32328"/>
                  </a:lnTo>
                  <a:lnTo>
                    <a:pt x="173364" y="30956"/>
                  </a:lnTo>
                  <a:lnTo>
                    <a:pt x="173269" y="29861"/>
                  </a:lnTo>
                  <a:lnTo>
                    <a:pt x="175603" y="29004"/>
                  </a:lnTo>
                  <a:lnTo>
                    <a:pt x="177794" y="29328"/>
                  </a:lnTo>
                  <a:lnTo>
                    <a:pt x="180994" y="27146"/>
                  </a:lnTo>
                  <a:lnTo>
                    <a:pt x="178994" y="19822"/>
                  </a:lnTo>
                  <a:lnTo>
                    <a:pt x="176336" y="19126"/>
                  </a:lnTo>
                  <a:lnTo>
                    <a:pt x="175726" y="18412"/>
                  </a:lnTo>
                  <a:lnTo>
                    <a:pt x="176241" y="17164"/>
                  </a:lnTo>
                  <a:lnTo>
                    <a:pt x="177698" y="16488"/>
                  </a:lnTo>
                  <a:lnTo>
                    <a:pt x="179937" y="12744"/>
                  </a:lnTo>
                  <a:lnTo>
                    <a:pt x="181280" y="12154"/>
                  </a:lnTo>
                  <a:lnTo>
                    <a:pt x="182947" y="12259"/>
                  </a:lnTo>
                  <a:lnTo>
                    <a:pt x="182785" y="16050"/>
                  </a:lnTo>
                  <a:close/>
                  <a:moveTo>
                    <a:pt x="189890" y="17336"/>
                  </a:moveTo>
                  <a:lnTo>
                    <a:pt x="189214" y="17955"/>
                  </a:lnTo>
                  <a:lnTo>
                    <a:pt x="186604" y="12440"/>
                  </a:lnTo>
                  <a:lnTo>
                    <a:pt x="188538" y="6106"/>
                  </a:lnTo>
                  <a:lnTo>
                    <a:pt x="190881" y="6306"/>
                  </a:lnTo>
                  <a:lnTo>
                    <a:pt x="191252" y="7963"/>
                  </a:lnTo>
                  <a:lnTo>
                    <a:pt x="191024" y="9497"/>
                  </a:lnTo>
                  <a:lnTo>
                    <a:pt x="189833" y="9630"/>
                  </a:lnTo>
                  <a:lnTo>
                    <a:pt x="189728" y="10096"/>
                  </a:lnTo>
                  <a:lnTo>
                    <a:pt x="190100" y="13040"/>
                  </a:lnTo>
                  <a:lnTo>
                    <a:pt x="190119" y="16450"/>
                  </a:lnTo>
                  <a:lnTo>
                    <a:pt x="189890" y="17336"/>
                  </a:lnTo>
                  <a:close/>
                  <a:moveTo>
                    <a:pt x="197053" y="1086"/>
                  </a:moveTo>
                  <a:lnTo>
                    <a:pt x="197053" y="1715"/>
                  </a:lnTo>
                  <a:lnTo>
                    <a:pt x="195662" y="6325"/>
                  </a:lnTo>
                  <a:lnTo>
                    <a:pt x="195681" y="8087"/>
                  </a:lnTo>
                  <a:lnTo>
                    <a:pt x="193443" y="7915"/>
                  </a:lnTo>
                  <a:lnTo>
                    <a:pt x="193091" y="7353"/>
                  </a:lnTo>
                  <a:lnTo>
                    <a:pt x="192672" y="4715"/>
                  </a:lnTo>
                  <a:lnTo>
                    <a:pt x="192957" y="1905"/>
                  </a:lnTo>
                  <a:lnTo>
                    <a:pt x="193272" y="1172"/>
                  </a:lnTo>
                  <a:lnTo>
                    <a:pt x="193919" y="876"/>
                  </a:lnTo>
                  <a:lnTo>
                    <a:pt x="194624" y="1429"/>
                  </a:lnTo>
                  <a:lnTo>
                    <a:pt x="195739" y="0"/>
                  </a:lnTo>
                  <a:lnTo>
                    <a:pt x="196320" y="29"/>
                  </a:lnTo>
                  <a:lnTo>
                    <a:pt x="197053" y="1086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6" name="Forme libre : forme 22">
              <a:extLst>
                <a:ext uri="{FF2B5EF4-FFF2-40B4-BE49-F238E27FC236}">
                  <a16:creationId xmlns:a16="http://schemas.microsoft.com/office/drawing/2014/main" id="{576EF3F4-57AE-7547-1648-6D49EA99E1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740848" y="4234701"/>
              <a:ext cx="12401" cy="11047"/>
            </a:xfrm>
            <a:custGeom>
              <a:avLst/>
              <a:gdLst>
                <a:gd name="connsiteX0" fmla="*/ 3581 w 3581"/>
                <a:gd name="connsiteY0" fmla="*/ 486 h 3190"/>
                <a:gd name="connsiteX1" fmla="*/ 2638 w 3581"/>
                <a:gd name="connsiteY1" fmla="*/ 3191 h 3190"/>
                <a:gd name="connsiteX2" fmla="*/ 190 w 3581"/>
                <a:gd name="connsiteY2" fmla="*/ 2277 h 3190"/>
                <a:gd name="connsiteX3" fmla="*/ 0 w 3581"/>
                <a:gd name="connsiteY3" fmla="*/ 1572 h 3190"/>
                <a:gd name="connsiteX4" fmla="*/ 2781 w 3581"/>
                <a:gd name="connsiteY4" fmla="*/ 0 h 3190"/>
                <a:gd name="connsiteX5" fmla="*/ 3353 w 3581"/>
                <a:gd name="connsiteY5" fmla="*/ 10 h 3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81" h="3190">
                  <a:moveTo>
                    <a:pt x="3581" y="486"/>
                  </a:moveTo>
                  <a:lnTo>
                    <a:pt x="2638" y="3191"/>
                  </a:lnTo>
                  <a:lnTo>
                    <a:pt x="190" y="2277"/>
                  </a:lnTo>
                  <a:lnTo>
                    <a:pt x="0" y="1572"/>
                  </a:lnTo>
                  <a:lnTo>
                    <a:pt x="2781" y="0"/>
                  </a:lnTo>
                  <a:lnTo>
                    <a:pt x="3353" y="10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7" name="Forme libre : forme 23">
              <a:extLst>
                <a:ext uri="{FF2B5EF4-FFF2-40B4-BE49-F238E27FC236}">
                  <a16:creationId xmlns:a16="http://schemas.microsoft.com/office/drawing/2014/main" id="{6A7793AD-DD4B-FA25-E070-EF280247ADB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489962" y="5923617"/>
              <a:ext cx="2043" cy="5773"/>
            </a:xfrm>
            <a:custGeom>
              <a:avLst/>
              <a:gdLst>
                <a:gd name="connsiteX0" fmla="*/ 591 w 590"/>
                <a:gd name="connsiteY0" fmla="*/ 0 h 1667"/>
                <a:gd name="connsiteX1" fmla="*/ 505 w 590"/>
                <a:gd name="connsiteY1" fmla="*/ 448 h 1667"/>
                <a:gd name="connsiteX2" fmla="*/ 553 w 590"/>
                <a:gd name="connsiteY2" fmla="*/ 771 h 1667"/>
                <a:gd name="connsiteX3" fmla="*/ 486 w 590"/>
                <a:gd name="connsiteY3" fmla="*/ 1667 h 1667"/>
                <a:gd name="connsiteX4" fmla="*/ 305 w 590"/>
                <a:gd name="connsiteY4" fmla="*/ 1648 h 1667"/>
                <a:gd name="connsiteX5" fmla="*/ 0 w 590"/>
                <a:gd name="connsiteY5" fmla="*/ 1191 h 1667"/>
                <a:gd name="connsiteX6" fmla="*/ 29 w 590"/>
                <a:gd name="connsiteY6" fmla="*/ 571 h 1667"/>
                <a:gd name="connsiteX7" fmla="*/ 324 w 590"/>
                <a:gd name="connsiteY7" fmla="*/ 410 h 1667"/>
                <a:gd name="connsiteX8" fmla="*/ 124 w 590"/>
                <a:gd name="connsiteY8" fmla="*/ 29 h 1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0" h="1667">
                  <a:moveTo>
                    <a:pt x="591" y="0"/>
                  </a:moveTo>
                  <a:lnTo>
                    <a:pt x="505" y="448"/>
                  </a:lnTo>
                  <a:lnTo>
                    <a:pt x="553" y="771"/>
                  </a:lnTo>
                  <a:lnTo>
                    <a:pt x="486" y="1667"/>
                  </a:lnTo>
                  <a:lnTo>
                    <a:pt x="305" y="1648"/>
                  </a:lnTo>
                  <a:lnTo>
                    <a:pt x="0" y="1191"/>
                  </a:lnTo>
                  <a:lnTo>
                    <a:pt x="29" y="571"/>
                  </a:lnTo>
                  <a:lnTo>
                    <a:pt x="324" y="410"/>
                  </a:lnTo>
                  <a:lnTo>
                    <a:pt x="124" y="29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8" name="Forme libre : forme 24">
              <a:extLst>
                <a:ext uri="{FF2B5EF4-FFF2-40B4-BE49-F238E27FC236}">
                  <a16:creationId xmlns:a16="http://schemas.microsoft.com/office/drawing/2014/main" id="{CA346485-E2BE-7B02-921E-AA40AC373F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804546" y="5260911"/>
              <a:ext cx="794784" cy="801840"/>
            </a:xfrm>
            <a:custGeom>
              <a:avLst/>
              <a:gdLst>
                <a:gd name="connsiteX0" fmla="*/ 178422 w 229505"/>
                <a:gd name="connsiteY0" fmla="*/ 1086 h 231543"/>
                <a:gd name="connsiteX1" fmla="*/ 180813 w 229505"/>
                <a:gd name="connsiteY1" fmla="*/ 1810 h 231543"/>
                <a:gd name="connsiteX2" fmla="*/ 182204 w 229505"/>
                <a:gd name="connsiteY2" fmla="*/ 2982 h 231543"/>
                <a:gd name="connsiteX3" fmla="*/ 183071 w 229505"/>
                <a:gd name="connsiteY3" fmla="*/ 4058 h 231543"/>
                <a:gd name="connsiteX4" fmla="*/ 184395 w 229505"/>
                <a:gd name="connsiteY4" fmla="*/ 4982 h 231543"/>
                <a:gd name="connsiteX5" fmla="*/ 185385 w 229505"/>
                <a:gd name="connsiteY5" fmla="*/ 5191 h 231543"/>
                <a:gd name="connsiteX6" fmla="*/ 186147 w 229505"/>
                <a:gd name="connsiteY6" fmla="*/ 8363 h 231543"/>
                <a:gd name="connsiteX7" fmla="*/ 186547 w 229505"/>
                <a:gd name="connsiteY7" fmla="*/ 12287 h 231543"/>
                <a:gd name="connsiteX8" fmla="*/ 185947 w 229505"/>
                <a:gd name="connsiteY8" fmla="*/ 13983 h 231543"/>
                <a:gd name="connsiteX9" fmla="*/ 184185 w 229505"/>
                <a:gd name="connsiteY9" fmla="*/ 14373 h 231543"/>
                <a:gd name="connsiteX10" fmla="*/ 178680 w 229505"/>
                <a:gd name="connsiteY10" fmla="*/ 18069 h 231543"/>
                <a:gd name="connsiteX11" fmla="*/ 178546 w 229505"/>
                <a:gd name="connsiteY11" fmla="*/ 21450 h 231543"/>
                <a:gd name="connsiteX12" fmla="*/ 178623 w 229505"/>
                <a:gd name="connsiteY12" fmla="*/ 23079 h 231543"/>
                <a:gd name="connsiteX13" fmla="*/ 178737 w 229505"/>
                <a:gd name="connsiteY13" fmla="*/ 24241 h 231543"/>
                <a:gd name="connsiteX14" fmla="*/ 179318 w 229505"/>
                <a:gd name="connsiteY14" fmla="*/ 25213 h 231543"/>
                <a:gd name="connsiteX15" fmla="*/ 179318 w 229505"/>
                <a:gd name="connsiteY15" fmla="*/ 26613 h 231543"/>
                <a:gd name="connsiteX16" fmla="*/ 178708 w 229505"/>
                <a:gd name="connsiteY16" fmla="*/ 28118 h 231543"/>
                <a:gd name="connsiteX17" fmla="*/ 176308 w 229505"/>
                <a:gd name="connsiteY17" fmla="*/ 30632 h 231543"/>
                <a:gd name="connsiteX18" fmla="*/ 174641 w 229505"/>
                <a:gd name="connsiteY18" fmla="*/ 32623 h 231543"/>
                <a:gd name="connsiteX19" fmla="*/ 172774 w 229505"/>
                <a:gd name="connsiteY19" fmla="*/ 35328 h 231543"/>
                <a:gd name="connsiteX20" fmla="*/ 171727 w 229505"/>
                <a:gd name="connsiteY20" fmla="*/ 35662 h 231543"/>
                <a:gd name="connsiteX21" fmla="*/ 170898 w 229505"/>
                <a:gd name="connsiteY21" fmla="*/ 36138 h 231543"/>
                <a:gd name="connsiteX22" fmla="*/ 170145 w 229505"/>
                <a:gd name="connsiteY22" fmla="*/ 34652 h 231543"/>
                <a:gd name="connsiteX23" fmla="*/ 166002 w 229505"/>
                <a:gd name="connsiteY23" fmla="*/ 32014 h 231543"/>
                <a:gd name="connsiteX24" fmla="*/ 156410 w 229505"/>
                <a:gd name="connsiteY24" fmla="*/ 30471 h 231543"/>
                <a:gd name="connsiteX25" fmla="*/ 151829 w 229505"/>
                <a:gd name="connsiteY25" fmla="*/ 28518 h 231543"/>
                <a:gd name="connsiteX26" fmla="*/ 149819 w 229505"/>
                <a:gd name="connsiteY26" fmla="*/ 28880 h 231543"/>
                <a:gd name="connsiteX27" fmla="*/ 145923 w 229505"/>
                <a:gd name="connsiteY27" fmla="*/ 26699 h 231543"/>
                <a:gd name="connsiteX28" fmla="*/ 143256 w 229505"/>
                <a:gd name="connsiteY28" fmla="*/ 27661 h 231543"/>
                <a:gd name="connsiteX29" fmla="*/ 137599 w 229505"/>
                <a:gd name="connsiteY29" fmla="*/ 31537 h 231543"/>
                <a:gd name="connsiteX30" fmla="*/ 134541 w 229505"/>
                <a:gd name="connsiteY30" fmla="*/ 31118 h 231543"/>
                <a:gd name="connsiteX31" fmla="*/ 131274 w 229505"/>
                <a:gd name="connsiteY31" fmla="*/ 28785 h 231543"/>
                <a:gd name="connsiteX32" fmla="*/ 129150 w 229505"/>
                <a:gd name="connsiteY32" fmla="*/ 28356 h 231543"/>
                <a:gd name="connsiteX33" fmla="*/ 126654 w 229505"/>
                <a:gd name="connsiteY33" fmla="*/ 29585 h 231543"/>
                <a:gd name="connsiteX34" fmla="*/ 122663 w 229505"/>
                <a:gd name="connsiteY34" fmla="*/ 34042 h 231543"/>
                <a:gd name="connsiteX35" fmla="*/ 118596 w 229505"/>
                <a:gd name="connsiteY35" fmla="*/ 36224 h 231543"/>
                <a:gd name="connsiteX36" fmla="*/ 114958 w 229505"/>
                <a:gd name="connsiteY36" fmla="*/ 35376 h 231543"/>
                <a:gd name="connsiteX37" fmla="*/ 110062 w 229505"/>
                <a:gd name="connsiteY37" fmla="*/ 35395 h 231543"/>
                <a:gd name="connsiteX38" fmla="*/ 109538 w 229505"/>
                <a:gd name="connsiteY38" fmla="*/ 37881 h 231543"/>
                <a:gd name="connsiteX39" fmla="*/ 110480 w 229505"/>
                <a:gd name="connsiteY39" fmla="*/ 39605 h 231543"/>
                <a:gd name="connsiteX40" fmla="*/ 113157 w 229505"/>
                <a:gd name="connsiteY40" fmla="*/ 42539 h 231543"/>
                <a:gd name="connsiteX41" fmla="*/ 111900 w 229505"/>
                <a:gd name="connsiteY41" fmla="*/ 44739 h 231543"/>
                <a:gd name="connsiteX42" fmla="*/ 112833 w 229505"/>
                <a:gd name="connsiteY42" fmla="*/ 46939 h 231543"/>
                <a:gd name="connsiteX43" fmla="*/ 114577 w 229505"/>
                <a:gd name="connsiteY43" fmla="*/ 47387 h 231543"/>
                <a:gd name="connsiteX44" fmla="*/ 117215 w 229505"/>
                <a:gd name="connsiteY44" fmla="*/ 47263 h 231543"/>
                <a:gd name="connsiteX45" fmla="*/ 122082 w 229505"/>
                <a:gd name="connsiteY45" fmla="*/ 50111 h 231543"/>
                <a:gd name="connsiteX46" fmla="*/ 124216 w 229505"/>
                <a:gd name="connsiteY46" fmla="*/ 53112 h 231543"/>
                <a:gd name="connsiteX47" fmla="*/ 125578 w 229505"/>
                <a:gd name="connsiteY47" fmla="*/ 56388 h 231543"/>
                <a:gd name="connsiteX48" fmla="*/ 122606 w 229505"/>
                <a:gd name="connsiteY48" fmla="*/ 54035 h 231543"/>
                <a:gd name="connsiteX49" fmla="*/ 120635 w 229505"/>
                <a:gd name="connsiteY49" fmla="*/ 51768 h 231543"/>
                <a:gd name="connsiteX50" fmla="*/ 117882 w 229505"/>
                <a:gd name="connsiteY50" fmla="*/ 50949 h 231543"/>
                <a:gd name="connsiteX51" fmla="*/ 114062 w 229505"/>
                <a:gd name="connsiteY51" fmla="*/ 49016 h 231543"/>
                <a:gd name="connsiteX52" fmla="*/ 111662 w 229505"/>
                <a:gd name="connsiteY52" fmla="*/ 48692 h 231543"/>
                <a:gd name="connsiteX53" fmla="*/ 109109 w 229505"/>
                <a:gd name="connsiteY53" fmla="*/ 50035 h 231543"/>
                <a:gd name="connsiteX54" fmla="*/ 108909 w 229505"/>
                <a:gd name="connsiteY54" fmla="*/ 51549 h 231543"/>
                <a:gd name="connsiteX55" fmla="*/ 111662 w 229505"/>
                <a:gd name="connsiteY55" fmla="*/ 54378 h 231543"/>
                <a:gd name="connsiteX56" fmla="*/ 114176 w 229505"/>
                <a:gd name="connsiteY56" fmla="*/ 56121 h 231543"/>
                <a:gd name="connsiteX57" fmla="*/ 115510 w 229505"/>
                <a:gd name="connsiteY57" fmla="*/ 57531 h 231543"/>
                <a:gd name="connsiteX58" fmla="*/ 116396 w 229505"/>
                <a:gd name="connsiteY58" fmla="*/ 60665 h 231543"/>
                <a:gd name="connsiteX59" fmla="*/ 115891 w 229505"/>
                <a:gd name="connsiteY59" fmla="*/ 61722 h 231543"/>
                <a:gd name="connsiteX60" fmla="*/ 114958 w 229505"/>
                <a:gd name="connsiteY60" fmla="*/ 62713 h 231543"/>
                <a:gd name="connsiteX61" fmla="*/ 111976 w 229505"/>
                <a:gd name="connsiteY61" fmla="*/ 60741 h 231543"/>
                <a:gd name="connsiteX62" fmla="*/ 107414 w 229505"/>
                <a:gd name="connsiteY62" fmla="*/ 53721 h 231543"/>
                <a:gd name="connsiteX63" fmla="*/ 101051 w 229505"/>
                <a:gd name="connsiteY63" fmla="*/ 52321 h 231543"/>
                <a:gd name="connsiteX64" fmla="*/ 99984 w 229505"/>
                <a:gd name="connsiteY64" fmla="*/ 53788 h 231543"/>
                <a:gd name="connsiteX65" fmla="*/ 101241 w 229505"/>
                <a:gd name="connsiteY65" fmla="*/ 57503 h 231543"/>
                <a:gd name="connsiteX66" fmla="*/ 102146 w 229505"/>
                <a:gd name="connsiteY66" fmla="*/ 58941 h 231543"/>
                <a:gd name="connsiteX67" fmla="*/ 107681 w 229505"/>
                <a:gd name="connsiteY67" fmla="*/ 62941 h 231543"/>
                <a:gd name="connsiteX68" fmla="*/ 107242 w 229505"/>
                <a:gd name="connsiteY68" fmla="*/ 63789 h 231543"/>
                <a:gd name="connsiteX69" fmla="*/ 106432 w 229505"/>
                <a:gd name="connsiteY69" fmla="*/ 64151 h 231543"/>
                <a:gd name="connsiteX70" fmla="*/ 100242 w 229505"/>
                <a:gd name="connsiteY70" fmla="*/ 61865 h 231543"/>
                <a:gd name="connsiteX71" fmla="*/ 98441 w 229505"/>
                <a:gd name="connsiteY71" fmla="*/ 58388 h 231543"/>
                <a:gd name="connsiteX72" fmla="*/ 98013 w 229505"/>
                <a:gd name="connsiteY72" fmla="*/ 53978 h 231543"/>
                <a:gd name="connsiteX73" fmla="*/ 92297 w 229505"/>
                <a:gd name="connsiteY73" fmla="*/ 50911 h 231543"/>
                <a:gd name="connsiteX74" fmla="*/ 86906 w 229505"/>
                <a:gd name="connsiteY74" fmla="*/ 47568 h 231543"/>
                <a:gd name="connsiteX75" fmla="*/ 85697 w 229505"/>
                <a:gd name="connsiteY75" fmla="*/ 44396 h 231543"/>
                <a:gd name="connsiteX76" fmla="*/ 86811 w 229505"/>
                <a:gd name="connsiteY76" fmla="*/ 43215 h 231543"/>
                <a:gd name="connsiteX77" fmla="*/ 87602 w 229505"/>
                <a:gd name="connsiteY77" fmla="*/ 40882 h 231543"/>
                <a:gd name="connsiteX78" fmla="*/ 84640 w 229505"/>
                <a:gd name="connsiteY78" fmla="*/ 41310 h 231543"/>
                <a:gd name="connsiteX79" fmla="*/ 82782 w 229505"/>
                <a:gd name="connsiteY79" fmla="*/ 42786 h 231543"/>
                <a:gd name="connsiteX80" fmla="*/ 79782 w 229505"/>
                <a:gd name="connsiteY80" fmla="*/ 44215 h 231543"/>
                <a:gd name="connsiteX81" fmla="*/ 79658 w 229505"/>
                <a:gd name="connsiteY81" fmla="*/ 46558 h 231543"/>
                <a:gd name="connsiteX82" fmla="*/ 80134 w 229505"/>
                <a:gd name="connsiteY82" fmla="*/ 48730 h 231543"/>
                <a:gd name="connsiteX83" fmla="*/ 79143 w 229505"/>
                <a:gd name="connsiteY83" fmla="*/ 51883 h 231543"/>
                <a:gd name="connsiteX84" fmla="*/ 78172 w 229505"/>
                <a:gd name="connsiteY84" fmla="*/ 57360 h 231543"/>
                <a:gd name="connsiteX85" fmla="*/ 78781 w 229505"/>
                <a:gd name="connsiteY85" fmla="*/ 60227 h 231543"/>
                <a:gd name="connsiteX86" fmla="*/ 85297 w 229505"/>
                <a:gd name="connsiteY86" fmla="*/ 68428 h 231543"/>
                <a:gd name="connsiteX87" fmla="*/ 87525 w 229505"/>
                <a:gd name="connsiteY87" fmla="*/ 74371 h 231543"/>
                <a:gd name="connsiteX88" fmla="*/ 89125 w 229505"/>
                <a:gd name="connsiteY88" fmla="*/ 76619 h 231543"/>
                <a:gd name="connsiteX89" fmla="*/ 92459 w 229505"/>
                <a:gd name="connsiteY89" fmla="*/ 79096 h 231543"/>
                <a:gd name="connsiteX90" fmla="*/ 95936 w 229505"/>
                <a:gd name="connsiteY90" fmla="*/ 83696 h 231543"/>
                <a:gd name="connsiteX91" fmla="*/ 97403 w 229505"/>
                <a:gd name="connsiteY91" fmla="*/ 86087 h 231543"/>
                <a:gd name="connsiteX92" fmla="*/ 98450 w 229505"/>
                <a:gd name="connsiteY92" fmla="*/ 90002 h 231543"/>
                <a:gd name="connsiteX93" fmla="*/ 95527 w 229505"/>
                <a:gd name="connsiteY93" fmla="*/ 92421 h 231543"/>
                <a:gd name="connsiteX94" fmla="*/ 93831 w 229505"/>
                <a:gd name="connsiteY94" fmla="*/ 92516 h 231543"/>
                <a:gd name="connsiteX95" fmla="*/ 92888 w 229505"/>
                <a:gd name="connsiteY95" fmla="*/ 91450 h 231543"/>
                <a:gd name="connsiteX96" fmla="*/ 94202 w 229505"/>
                <a:gd name="connsiteY96" fmla="*/ 88783 h 231543"/>
                <a:gd name="connsiteX97" fmla="*/ 94012 w 229505"/>
                <a:gd name="connsiteY97" fmla="*/ 87154 h 231543"/>
                <a:gd name="connsiteX98" fmla="*/ 89497 w 229505"/>
                <a:gd name="connsiteY98" fmla="*/ 84630 h 231543"/>
                <a:gd name="connsiteX99" fmla="*/ 87592 w 229505"/>
                <a:gd name="connsiteY99" fmla="*/ 85477 h 231543"/>
                <a:gd name="connsiteX100" fmla="*/ 85392 w 229505"/>
                <a:gd name="connsiteY100" fmla="*/ 87116 h 231543"/>
                <a:gd name="connsiteX101" fmla="*/ 86649 w 229505"/>
                <a:gd name="connsiteY101" fmla="*/ 90164 h 231543"/>
                <a:gd name="connsiteX102" fmla="*/ 88059 w 229505"/>
                <a:gd name="connsiteY102" fmla="*/ 92173 h 231543"/>
                <a:gd name="connsiteX103" fmla="*/ 88773 w 229505"/>
                <a:gd name="connsiteY103" fmla="*/ 94936 h 231543"/>
                <a:gd name="connsiteX104" fmla="*/ 91478 w 229505"/>
                <a:gd name="connsiteY104" fmla="*/ 94698 h 231543"/>
                <a:gd name="connsiteX105" fmla="*/ 87840 w 229505"/>
                <a:gd name="connsiteY105" fmla="*/ 97793 h 231543"/>
                <a:gd name="connsiteX106" fmla="*/ 84420 w 229505"/>
                <a:gd name="connsiteY106" fmla="*/ 99374 h 231543"/>
                <a:gd name="connsiteX107" fmla="*/ 81058 w 229505"/>
                <a:gd name="connsiteY107" fmla="*/ 99470 h 231543"/>
                <a:gd name="connsiteX108" fmla="*/ 78915 w 229505"/>
                <a:gd name="connsiteY108" fmla="*/ 99756 h 231543"/>
                <a:gd name="connsiteX109" fmla="*/ 78172 w 229505"/>
                <a:gd name="connsiteY109" fmla="*/ 100546 h 231543"/>
                <a:gd name="connsiteX110" fmla="*/ 79915 w 229505"/>
                <a:gd name="connsiteY110" fmla="*/ 101117 h 231543"/>
                <a:gd name="connsiteX111" fmla="*/ 81334 w 229505"/>
                <a:gd name="connsiteY111" fmla="*/ 101175 h 231543"/>
                <a:gd name="connsiteX112" fmla="*/ 83649 w 229505"/>
                <a:gd name="connsiteY112" fmla="*/ 102841 h 231543"/>
                <a:gd name="connsiteX113" fmla="*/ 90231 w 229505"/>
                <a:gd name="connsiteY113" fmla="*/ 104832 h 231543"/>
                <a:gd name="connsiteX114" fmla="*/ 93374 w 229505"/>
                <a:gd name="connsiteY114" fmla="*/ 107356 h 231543"/>
                <a:gd name="connsiteX115" fmla="*/ 96460 w 229505"/>
                <a:gd name="connsiteY115" fmla="*/ 107585 h 231543"/>
                <a:gd name="connsiteX116" fmla="*/ 99556 w 229505"/>
                <a:gd name="connsiteY116" fmla="*/ 112204 h 231543"/>
                <a:gd name="connsiteX117" fmla="*/ 104918 w 229505"/>
                <a:gd name="connsiteY117" fmla="*/ 113433 h 231543"/>
                <a:gd name="connsiteX118" fmla="*/ 107975 w 229505"/>
                <a:gd name="connsiteY118" fmla="*/ 118091 h 231543"/>
                <a:gd name="connsiteX119" fmla="*/ 112033 w 229505"/>
                <a:gd name="connsiteY119" fmla="*/ 119006 h 231543"/>
                <a:gd name="connsiteX120" fmla="*/ 115538 w 229505"/>
                <a:gd name="connsiteY120" fmla="*/ 120720 h 231543"/>
                <a:gd name="connsiteX121" fmla="*/ 116557 w 229505"/>
                <a:gd name="connsiteY121" fmla="*/ 122349 h 231543"/>
                <a:gd name="connsiteX122" fmla="*/ 117072 w 229505"/>
                <a:gd name="connsiteY122" fmla="*/ 125301 h 231543"/>
                <a:gd name="connsiteX123" fmla="*/ 117300 w 229505"/>
                <a:gd name="connsiteY123" fmla="*/ 131540 h 231543"/>
                <a:gd name="connsiteX124" fmla="*/ 118063 w 229505"/>
                <a:gd name="connsiteY124" fmla="*/ 136170 h 231543"/>
                <a:gd name="connsiteX125" fmla="*/ 118091 w 229505"/>
                <a:gd name="connsiteY125" fmla="*/ 137627 h 231543"/>
                <a:gd name="connsiteX126" fmla="*/ 117901 w 229505"/>
                <a:gd name="connsiteY126" fmla="*/ 139808 h 231543"/>
                <a:gd name="connsiteX127" fmla="*/ 116948 w 229505"/>
                <a:gd name="connsiteY127" fmla="*/ 140875 h 231543"/>
                <a:gd name="connsiteX128" fmla="*/ 115662 w 229505"/>
                <a:gd name="connsiteY128" fmla="*/ 140913 h 231543"/>
                <a:gd name="connsiteX129" fmla="*/ 113138 w 229505"/>
                <a:gd name="connsiteY129" fmla="*/ 137513 h 231543"/>
                <a:gd name="connsiteX130" fmla="*/ 109281 w 229505"/>
                <a:gd name="connsiteY130" fmla="*/ 133931 h 231543"/>
                <a:gd name="connsiteX131" fmla="*/ 105204 w 229505"/>
                <a:gd name="connsiteY131" fmla="*/ 129664 h 231543"/>
                <a:gd name="connsiteX132" fmla="*/ 104042 w 229505"/>
                <a:gd name="connsiteY132" fmla="*/ 128911 h 231543"/>
                <a:gd name="connsiteX133" fmla="*/ 103089 w 229505"/>
                <a:gd name="connsiteY133" fmla="*/ 128845 h 231543"/>
                <a:gd name="connsiteX134" fmla="*/ 100908 w 229505"/>
                <a:gd name="connsiteY134" fmla="*/ 130283 h 231543"/>
                <a:gd name="connsiteX135" fmla="*/ 94850 w 229505"/>
                <a:gd name="connsiteY135" fmla="*/ 131398 h 231543"/>
                <a:gd name="connsiteX136" fmla="*/ 92012 w 229505"/>
                <a:gd name="connsiteY136" fmla="*/ 132960 h 231543"/>
                <a:gd name="connsiteX137" fmla="*/ 90945 w 229505"/>
                <a:gd name="connsiteY137" fmla="*/ 133302 h 231543"/>
                <a:gd name="connsiteX138" fmla="*/ 90650 w 229505"/>
                <a:gd name="connsiteY138" fmla="*/ 134122 h 231543"/>
                <a:gd name="connsiteX139" fmla="*/ 91983 w 229505"/>
                <a:gd name="connsiteY139" fmla="*/ 134969 h 231543"/>
                <a:gd name="connsiteX140" fmla="*/ 93612 w 229505"/>
                <a:gd name="connsiteY140" fmla="*/ 136922 h 231543"/>
                <a:gd name="connsiteX141" fmla="*/ 93612 w 229505"/>
                <a:gd name="connsiteY141" fmla="*/ 139580 h 231543"/>
                <a:gd name="connsiteX142" fmla="*/ 94965 w 229505"/>
                <a:gd name="connsiteY142" fmla="*/ 142808 h 231543"/>
                <a:gd name="connsiteX143" fmla="*/ 96707 w 229505"/>
                <a:gd name="connsiteY143" fmla="*/ 143637 h 231543"/>
                <a:gd name="connsiteX144" fmla="*/ 98975 w 229505"/>
                <a:gd name="connsiteY144" fmla="*/ 143570 h 231543"/>
                <a:gd name="connsiteX145" fmla="*/ 100279 w 229505"/>
                <a:gd name="connsiteY145" fmla="*/ 144171 h 231543"/>
                <a:gd name="connsiteX146" fmla="*/ 100613 w 229505"/>
                <a:gd name="connsiteY146" fmla="*/ 145456 h 231543"/>
                <a:gd name="connsiteX147" fmla="*/ 101937 w 229505"/>
                <a:gd name="connsiteY147" fmla="*/ 146952 h 231543"/>
                <a:gd name="connsiteX148" fmla="*/ 102804 w 229505"/>
                <a:gd name="connsiteY148" fmla="*/ 148066 h 231543"/>
                <a:gd name="connsiteX149" fmla="*/ 102775 w 229505"/>
                <a:gd name="connsiteY149" fmla="*/ 148857 h 231543"/>
                <a:gd name="connsiteX150" fmla="*/ 96441 w 229505"/>
                <a:gd name="connsiteY150" fmla="*/ 150962 h 231543"/>
                <a:gd name="connsiteX151" fmla="*/ 95117 w 229505"/>
                <a:gd name="connsiteY151" fmla="*/ 151924 h 231543"/>
                <a:gd name="connsiteX152" fmla="*/ 94002 w 229505"/>
                <a:gd name="connsiteY152" fmla="*/ 152419 h 231543"/>
                <a:gd name="connsiteX153" fmla="*/ 92355 w 229505"/>
                <a:gd name="connsiteY153" fmla="*/ 151419 h 231543"/>
                <a:gd name="connsiteX154" fmla="*/ 92259 w 229505"/>
                <a:gd name="connsiteY154" fmla="*/ 148847 h 231543"/>
                <a:gd name="connsiteX155" fmla="*/ 90088 w 229505"/>
                <a:gd name="connsiteY155" fmla="*/ 147466 h 231543"/>
                <a:gd name="connsiteX156" fmla="*/ 88097 w 229505"/>
                <a:gd name="connsiteY156" fmla="*/ 146276 h 231543"/>
                <a:gd name="connsiteX157" fmla="*/ 85706 w 229505"/>
                <a:gd name="connsiteY157" fmla="*/ 145771 h 231543"/>
                <a:gd name="connsiteX158" fmla="*/ 83677 w 229505"/>
                <a:gd name="connsiteY158" fmla="*/ 143989 h 231543"/>
                <a:gd name="connsiteX159" fmla="*/ 82353 w 229505"/>
                <a:gd name="connsiteY159" fmla="*/ 145428 h 231543"/>
                <a:gd name="connsiteX160" fmla="*/ 83411 w 229505"/>
                <a:gd name="connsiteY160" fmla="*/ 150419 h 231543"/>
                <a:gd name="connsiteX161" fmla="*/ 85706 w 229505"/>
                <a:gd name="connsiteY161" fmla="*/ 153848 h 231543"/>
                <a:gd name="connsiteX162" fmla="*/ 89554 w 229505"/>
                <a:gd name="connsiteY162" fmla="*/ 163030 h 231543"/>
                <a:gd name="connsiteX163" fmla="*/ 91297 w 229505"/>
                <a:gd name="connsiteY163" fmla="*/ 168431 h 231543"/>
                <a:gd name="connsiteX164" fmla="*/ 91650 w 229505"/>
                <a:gd name="connsiteY164" fmla="*/ 171040 h 231543"/>
                <a:gd name="connsiteX165" fmla="*/ 90783 w 229505"/>
                <a:gd name="connsiteY165" fmla="*/ 175374 h 231543"/>
                <a:gd name="connsiteX166" fmla="*/ 92679 w 229505"/>
                <a:gd name="connsiteY166" fmla="*/ 178584 h 231543"/>
                <a:gd name="connsiteX167" fmla="*/ 93974 w 229505"/>
                <a:gd name="connsiteY167" fmla="*/ 181880 h 231543"/>
                <a:gd name="connsiteX168" fmla="*/ 92555 w 229505"/>
                <a:gd name="connsiteY168" fmla="*/ 181756 h 231543"/>
                <a:gd name="connsiteX169" fmla="*/ 91317 w 229505"/>
                <a:gd name="connsiteY169" fmla="*/ 180594 h 231543"/>
                <a:gd name="connsiteX170" fmla="*/ 89240 w 229505"/>
                <a:gd name="connsiteY170" fmla="*/ 179222 h 231543"/>
                <a:gd name="connsiteX171" fmla="*/ 85220 w 229505"/>
                <a:gd name="connsiteY171" fmla="*/ 173955 h 231543"/>
                <a:gd name="connsiteX172" fmla="*/ 83820 w 229505"/>
                <a:gd name="connsiteY172" fmla="*/ 170669 h 231543"/>
                <a:gd name="connsiteX173" fmla="*/ 82144 w 229505"/>
                <a:gd name="connsiteY173" fmla="*/ 170412 h 231543"/>
                <a:gd name="connsiteX174" fmla="*/ 79229 w 229505"/>
                <a:gd name="connsiteY174" fmla="*/ 170888 h 231543"/>
                <a:gd name="connsiteX175" fmla="*/ 76048 w 229505"/>
                <a:gd name="connsiteY175" fmla="*/ 177908 h 231543"/>
                <a:gd name="connsiteX176" fmla="*/ 76058 w 229505"/>
                <a:gd name="connsiteY176" fmla="*/ 181918 h 231543"/>
                <a:gd name="connsiteX177" fmla="*/ 74409 w 229505"/>
                <a:gd name="connsiteY177" fmla="*/ 180966 h 231543"/>
                <a:gd name="connsiteX178" fmla="*/ 73000 w 229505"/>
                <a:gd name="connsiteY178" fmla="*/ 179718 h 231543"/>
                <a:gd name="connsiteX179" fmla="*/ 73171 w 229505"/>
                <a:gd name="connsiteY179" fmla="*/ 175327 h 231543"/>
                <a:gd name="connsiteX180" fmla="*/ 73029 w 229505"/>
                <a:gd name="connsiteY180" fmla="*/ 173479 h 231543"/>
                <a:gd name="connsiteX181" fmla="*/ 69161 w 229505"/>
                <a:gd name="connsiteY181" fmla="*/ 167478 h 231543"/>
                <a:gd name="connsiteX182" fmla="*/ 67389 w 229505"/>
                <a:gd name="connsiteY182" fmla="*/ 166802 h 231543"/>
                <a:gd name="connsiteX183" fmla="*/ 66561 w 229505"/>
                <a:gd name="connsiteY183" fmla="*/ 164773 h 231543"/>
                <a:gd name="connsiteX184" fmla="*/ 65132 w 229505"/>
                <a:gd name="connsiteY184" fmla="*/ 162601 h 231543"/>
                <a:gd name="connsiteX185" fmla="*/ 63294 w 229505"/>
                <a:gd name="connsiteY185" fmla="*/ 163011 h 231543"/>
                <a:gd name="connsiteX186" fmla="*/ 61789 w 229505"/>
                <a:gd name="connsiteY186" fmla="*/ 163887 h 231543"/>
                <a:gd name="connsiteX187" fmla="*/ 61379 w 229505"/>
                <a:gd name="connsiteY187" fmla="*/ 167164 h 231543"/>
                <a:gd name="connsiteX188" fmla="*/ 61227 w 229505"/>
                <a:gd name="connsiteY188" fmla="*/ 170097 h 231543"/>
                <a:gd name="connsiteX189" fmla="*/ 60103 w 229505"/>
                <a:gd name="connsiteY189" fmla="*/ 172298 h 231543"/>
                <a:gd name="connsiteX190" fmla="*/ 55979 w 229505"/>
                <a:gd name="connsiteY190" fmla="*/ 168116 h 231543"/>
                <a:gd name="connsiteX191" fmla="*/ 51826 w 229505"/>
                <a:gd name="connsiteY191" fmla="*/ 160858 h 231543"/>
                <a:gd name="connsiteX192" fmla="*/ 51721 w 229505"/>
                <a:gd name="connsiteY192" fmla="*/ 156877 h 231543"/>
                <a:gd name="connsiteX193" fmla="*/ 54759 w 229505"/>
                <a:gd name="connsiteY193" fmla="*/ 153229 h 231543"/>
                <a:gd name="connsiteX194" fmla="*/ 54397 w 229505"/>
                <a:gd name="connsiteY194" fmla="*/ 150619 h 231543"/>
                <a:gd name="connsiteX195" fmla="*/ 51521 w 229505"/>
                <a:gd name="connsiteY195" fmla="*/ 145456 h 231543"/>
                <a:gd name="connsiteX196" fmla="*/ 47368 w 229505"/>
                <a:gd name="connsiteY196" fmla="*/ 142132 h 231543"/>
                <a:gd name="connsiteX197" fmla="*/ 45044 w 229505"/>
                <a:gd name="connsiteY197" fmla="*/ 141142 h 231543"/>
                <a:gd name="connsiteX198" fmla="*/ 43948 w 229505"/>
                <a:gd name="connsiteY198" fmla="*/ 137598 h 231543"/>
                <a:gd name="connsiteX199" fmla="*/ 41729 w 229505"/>
                <a:gd name="connsiteY199" fmla="*/ 135769 h 231543"/>
                <a:gd name="connsiteX200" fmla="*/ 39929 w 229505"/>
                <a:gd name="connsiteY200" fmla="*/ 134912 h 231543"/>
                <a:gd name="connsiteX201" fmla="*/ 39577 w 229505"/>
                <a:gd name="connsiteY201" fmla="*/ 133655 h 231543"/>
                <a:gd name="connsiteX202" fmla="*/ 40120 w 229505"/>
                <a:gd name="connsiteY202" fmla="*/ 132722 h 231543"/>
                <a:gd name="connsiteX203" fmla="*/ 44482 w 229505"/>
                <a:gd name="connsiteY203" fmla="*/ 129074 h 231543"/>
                <a:gd name="connsiteX204" fmla="*/ 47035 w 229505"/>
                <a:gd name="connsiteY204" fmla="*/ 123339 h 231543"/>
                <a:gd name="connsiteX205" fmla="*/ 48302 w 229505"/>
                <a:gd name="connsiteY205" fmla="*/ 123073 h 231543"/>
                <a:gd name="connsiteX206" fmla="*/ 50911 w 229505"/>
                <a:gd name="connsiteY206" fmla="*/ 124435 h 231543"/>
                <a:gd name="connsiteX207" fmla="*/ 53845 w 229505"/>
                <a:gd name="connsiteY207" fmla="*/ 124082 h 231543"/>
                <a:gd name="connsiteX208" fmla="*/ 56245 w 229505"/>
                <a:gd name="connsiteY208" fmla="*/ 120720 h 231543"/>
                <a:gd name="connsiteX209" fmla="*/ 58284 w 229505"/>
                <a:gd name="connsiteY209" fmla="*/ 118891 h 231543"/>
                <a:gd name="connsiteX210" fmla="*/ 61722 w 229505"/>
                <a:gd name="connsiteY210" fmla="*/ 119129 h 231543"/>
                <a:gd name="connsiteX211" fmla="*/ 69485 w 229505"/>
                <a:gd name="connsiteY211" fmla="*/ 123615 h 231543"/>
                <a:gd name="connsiteX212" fmla="*/ 77829 w 229505"/>
                <a:gd name="connsiteY212" fmla="*/ 126178 h 231543"/>
                <a:gd name="connsiteX213" fmla="*/ 81992 w 229505"/>
                <a:gd name="connsiteY213" fmla="*/ 128416 h 231543"/>
                <a:gd name="connsiteX214" fmla="*/ 84354 w 229505"/>
                <a:gd name="connsiteY214" fmla="*/ 130635 h 231543"/>
                <a:gd name="connsiteX215" fmla="*/ 85601 w 229505"/>
                <a:gd name="connsiteY215" fmla="*/ 131093 h 231543"/>
                <a:gd name="connsiteX216" fmla="*/ 87582 w 229505"/>
                <a:gd name="connsiteY216" fmla="*/ 131407 h 231543"/>
                <a:gd name="connsiteX217" fmla="*/ 87497 w 229505"/>
                <a:gd name="connsiteY217" fmla="*/ 129750 h 231543"/>
                <a:gd name="connsiteX218" fmla="*/ 86868 w 229505"/>
                <a:gd name="connsiteY218" fmla="*/ 128283 h 231543"/>
                <a:gd name="connsiteX219" fmla="*/ 88516 w 229505"/>
                <a:gd name="connsiteY219" fmla="*/ 127483 h 231543"/>
                <a:gd name="connsiteX220" fmla="*/ 92983 w 229505"/>
                <a:gd name="connsiteY220" fmla="*/ 127521 h 231543"/>
                <a:gd name="connsiteX221" fmla="*/ 93793 w 229505"/>
                <a:gd name="connsiteY221" fmla="*/ 126740 h 231543"/>
                <a:gd name="connsiteX222" fmla="*/ 94622 w 229505"/>
                <a:gd name="connsiteY222" fmla="*/ 125482 h 231543"/>
                <a:gd name="connsiteX223" fmla="*/ 93698 w 229505"/>
                <a:gd name="connsiteY223" fmla="*/ 124044 h 231543"/>
                <a:gd name="connsiteX224" fmla="*/ 92221 w 229505"/>
                <a:gd name="connsiteY224" fmla="*/ 123358 h 231543"/>
                <a:gd name="connsiteX225" fmla="*/ 90640 w 229505"/>
                <a:gd name="connsiteY225" fmla="*/ 123168 h 231543"/>
                <a:gd name="connsiteX226" fmla="*/ 89602 w 229505"/>
                <a:gd name="connsiteY226" fmla="*/ 122711 h 231543"/>
                <a:gd name="connsiteX227" fmla="*/ 87916 w 229505"/>
                <a:gd name="connsiteY227" fmla="*/ 123168 h 231543"/>
                <a:gd name="connsiteX228" fmla="*/ 85297 w 229505"/>
                <a:gd name="connsiteY228" fmla="*/ 122053 h 231543"/>
                <a:gd name="connsiteX229" fmla="*/ 83934 w 229505"/>
                <a:gd name="connsiteY229" fmla="*/ 121139 h 231543"/>
                <a:gd name="connsiteX230" fmla="*/ 83144 w 229505"/>
                <a:gd name="connsiteY230" fmla="*/ 120196 h 231543"/>
                <a:gd name="connsiteX231" fmla="*/ 78581 w 229505"/>
                <a:gd name="connsiteY231" fmla="*/ 118320 h 231543"/>
                <a:gd name="connsiteX232" fmla="*/ 74257 w 229505"/>
                <a:gd name="connsiteY232" fmla="*/ 115138 h 231543"/>
                <a:gd name="connsiteX233" fmla="*/ 73276 w 229505"/>
                <a:gd name="connsiteY233" fmla="*/ 116939 h 231543"/>
                <a:gd name="connsiteX234" fmla="*/ 71524 w 229505"/>
                <a:gd name="connsiteY234" fmla="*/ 117910 h 231543"/>
                <a:gd name="connsiteX235" fmla="*/ 69038 w 229505"/>
                <a:gd name="connsiteY235" fmla="*/ 118053 h 231543"/>
                <a:gd name="connsiteX236" fmla="*/ 62046 w 229505"/>
                <a:gd name="connsiteY236" fmla="*/ 116034 h 231543"/>
                <a:gd name="connsiteX237" fmla="*/ 57751 w 229505"/>
                <a:gd name="connsiteY237" fmla="*/ 117577 h 231543"/>
                <a:gd name="connsiteX238" fmla="*/ 55407 w 229505"/>
                <a:gd name="connsiteY238" fmla="*/ 117977 h 231543"/>
                <a:gd name="connsiteX239" fmla="*/ 53616 w 229505"/>
                <a:gd name="connsiteY239" fmla="*/ 118015 h 231543"/>
                <a:gd name="connsiteX240" fmla="*/ 51416 w 229505"/>
                <a:gd name="connsiteY240" fmla="*/ 118701 h 231543"/>
                <a:gd name="connsiteX241" fmla="*/ 48873 w 229505"/>
                <a:gd name="connsiteY241" fmla="*/ 119110 h 231543"/>
                <a:gd name="connsiteX242" fmla="*/ 46673 w 229505"/>
                <a:gd name="connsiteY242" fmla="*/ 116177 h 231543"/>
                <a:gd name="connsiteX243" fmla="*/ 45749 w 229505"/>
                <a:gd name="connsiteY243" fmla="*/ 113900 h 231543"/>
                <a:gd name="connsiteX244" fmla="*/ 45101 w 229505"/>
                <a:gd name="connsiteY244" fmla="*/ 113472 h 231543"/>
                <a:gd name="connsiteX245" fmla="*/ 45072 w 229505"/>
                <a:gd name="connsiteY245" fmla="*/ 115614 h 231543"/>
                <a:gd name="connsiteX246" fmla="*/ 44368 w 229505"/>
                <a:gd name="connsiteY246" fmla="*/ 117329 h 231543"/>
                <a:gd name="connsiteX247" fmla="*/ 41139 w 229505"/>
                <a:gd name="connsiteY247" fmla="*/ 118291 h 231543"/>
                <a:gd name="connsiteX248" fmla="*/ 39281 w 229505"/>
                <a:gd name="connsiteY248" fmla="*/ 116958 h 231543"/>
                <a:gd name="connsiteX249" fmla="*/ 37852 w 229505"/>
                <a:gd name="connsiteY249" fmla="*/ 112929 h 231543"/>
                <a:gd name="connsiteX250" fmla="*/ 36052 w 229505"/>
                <a:gd name="connsiteY250" fmla="*/ 107795 h 231543"/>
                <a:gd name="connsiteX251" fmla="*/ 32881 w 229505"/>
                <a:gd name="connsiteY251" fmla="*/ 103642 h 231543"/>
                <a:gd name="connsiteX252" fmla="*/ 30299 w 229505"/>
                <a:gd name="connsiteY252" fmla="*/ 102556 h 231543"/>
                <a:gd name="connsiteX253" fmla="*/ 30080 w 229505"/>
                <a:gd name="connsiteY253" fmla="*/ 100270 h 231543"/>
                <a:gd name="connsiteX254" fmla="*/ 30309 w 229505"/>
                <a:gd name="connsiteY254" fmla="*/ 98441 h 231543"/>
                <a:gd name="connsiteX255" fmla="*/ 33404 w 229505"/>
                <a:gd name="connsiteY255" fmla="*/ 97984 h 231543"/>
                <a:gd name="connsiteX256" fmla="*/ 38243 w 229505"/>
                <a:gd name="connsiteY256" fmla="*/ 99898 h 231543"/>
                <a:gd name="connsiteX257" fmla="*/ 39243 w 229505"/>
                <a:gd name="connsiteY257" fmla="*/ 99517 h 231543"/>
                <a:gd name="connsiteX258" fmla="*/ 40329 w 229505"/>
                <a:gd name="connsiteY258" fmla="*/ 98631 h 231543"/>
                <a:gd name="connsiteX259" fmla="*/ 40120 w 229505"/>
                <a:gd name="connsiteY259" fmla="*/ 96679 h 231543"/>
                <a:gd name="connsiteX260" fmla="*/ 39414 w 229505"/>
                <a:gd name="connsiteY260" fmla="*/ 94936 h 231543"/>
                <a:gd name="connsiteX261" fmla="*/ 38081 w 229505"/>
                <a:gd name="connsiteY261" fmla="*/ 94860 h 231543"/>
                <a:gd name="connsiteX262" fmla="*/ 37157 w 229505"/>
                <a:gd name="connsiteY262" fmla="*/ 95060 h 231543"/>
                <a:gd name="connsiteX263" fmla="*/ 34176 w 229505"/>
                <a:gd name="connsiteY263" fmla="*/ 94698 h 231543"/>
                <a:gd name="connsiteX264" fmla="*/ 30356 w 229505"/>
                <a:gd name="connsiteY264" fmla="*/ 95669 h 231543"/>
                <a:gd name="connsiteX265" fmla="*/ 28585 w 229505"/>
                <a:gd name="connsiteY265" fmla="*/ 94755 h 231543"/>
                <a:gd name="connsiteX266" fmla="*/ 27994 w 229505"/>
                <a:gd name="connsiteY266" fmla="*/ 93641 h 231543"/>
                <a:gd name="connsiteX267" fmla="*/ 24794 w 229505"/>
                <a:gd name="connsiteY267" fmla="*/ 90888 h 231543"/>
                <a:gd name="connsiteX268" fmla="*/ 22032 w 229505"/>
                <a:gd name="connsiteY268" fmla="*/ 87192 h 231543"/>
                <a:gd name="connsiteX269" fmla="*/ 17555 w 229505"/>
                <a:gd name="connsiteY269" fmla="*/ 84725 h 231543"/>
                <a:gd name="connsiteX270" fmla="*/ 14631 w 229505"/>
                <a:gd name="connsiteY270" fmla="*/ 77181 h 231543"/>
                <a:gd name="connsiteX271" fmla="*/ 12173 w 229505"/>
                <a:gd name="connsiteY271" fmla="*/ 73886 h 231543"/>
                <a:gd name="connsiteX272" fmla="*/ 9554 w 229505"/>
                <a:gd name="connsiteY272" fmla="*/ 71523 h 231543"/>
                <a:gd name="connsiteX273" fmla="*/ 10126 w 229505"/>
                <a:gd name="connsiteY273" fmla="*/ 71485 h 231543"/>
                <a:gd name="connsiteX274" fmla="*/ 11116 w 229505"/>
                <a:gd name="connsiteY274" fmla="*/ 71885 h 231543"/>
                <a:gd name="connsiteX275" fmla="*/ 13021 w 229505"/>
                <a:gd name="connsiteY275" fmla="*/ 73181 h 231543"/>
                <a:gd name="connsiteX276" fmla="*/ 15040 w 229505"/>
                <a:gd name="connsiteY276" fmla="*/ 73457 h 231543"/>
                <a:gd name="connsiteX277" fmla="*/ 16145 w 229505"/>
                <a:gd name="connsiteY277" fmla="*/ 72600 h 231543"/>
                <a:gd name="connsiteX278" fmla="*/ 16783 w 229505"/>
                <a:gd name="connsiteY278" fmla="*/ 71809 h 231543"/>
                <a:gd name="connsiteX279" fmla="*/ 17193 w 229505"/>
                <a:gd name="connsiteY279" fmla="*/ 70514 h 231543"/>
                <a:gd name="connsiteX280" fmla="*/ 17364 w 229505"/>
                <a:gd name="connsiteY280" fmla="*/ 68999 h 231543"/>
                <a:gd name="connsiteX281" fmla="*/ 17698 w 229505"/>
                <a:gd name="connsiteY281" fmla="*/ 68494 h 231543"/>
                <a:gd name="connsiteX282" fmla="*/ 19250 w 229505"/>
                <a:gd name="connsiteY282" fmla="*/ 68675 h 231543"/>
                <a:gd name="connsiteX283" fmla="*/ 19745 w 229505"/>
                <a:gd name="connsiteY283" fmla="*/ 68294 h 231543"/>
                <a:gd name="connsiteX284" fmla="*/ 19727 w 229505"/>
                <a:gd name="connsiteY284" fmla="*/ 66932 h 231543"/>
                <a:gd name="connsiteX285" fmla="*/ 18726 w 229505"/>
                <a:gd name="connsiteY285" fmla="*/ 65237 h 231543"/>
                <a:gd name="connsiteX286" fmla="*/ 17850 w 229505"/>
                <a:gd name="connsiteY286" fmla="*/ 63151 h 231543"/>
                <a:gd name="connsiteX287" fmla="*/ 17850 w 229505"/>
                <a:gd name="connsiteY287" fmla="*/ 62160 h 231543"/>
                <a:gd name="connsiteX288" fmla="*/ 18584 w 229505"/>
                <a:gd name="connsiteY288" fmla="*/ 61760 h 231543"/>
                <a:gd name="connsiteX289" fmla="*/ 19793 w 229505"/>
                <a:gd name="connsiteY289" fmla="*/ 60855 h 231543"/>
                <a:gd name="connsiteX290" fmla="*/ 20441 w 229505"/>
                <a:gd name="connsiteY290" fmla="*/ 59731 h 231543"/>
                <a:gd name="connsiteX291" fmla="*/ 21727 w 229505"/>
                <a:gd name="connsiteY291" fmla="*/ 59169 h 231543"/>
                <a:gd name="connsiteX292" fmla="*/ 23622 w 229505"/>
                <a:gd name="connsiteY292" fmla="*/ 59065 h 231543"/>
                <a:gd name="connsiteX293" fmla="*/ 25737 w 229505"/>
                <a:gd name="connsiteY293" fmla="*/ 58569 h 231543"/>
                <a:gd name="connsiteX294" fmla="*/ 27108 w 229505"/>
                <a:gd name="connsiteY294" fmla="*/ 57360 h 231543"/>
                <a:gd name="connsiteX295" fmla="*/ 27308 w 229505"/>
                <a:gd name="connsiteY295" fmla="*/ 56169 h 231543"/>
                <a:gd name="connsiteX296" fmla="*/ 28166 w 229505"/>
                <a:gd name="connsiteY296" fmla="*/ 52874 h 231543"/>
                <a:gd name="connsiteX297" fmla="*/ 28728 w 229505"/>
                <a:gd name="connsiteY297" fmla="*/ 51254 h 231543"/>
                <a:gd name="connsiteX298" fmla="*/ 29632 w 229505"/>
                <a:gd name="connsiteY298" fmla="*/ 49778 h 231543"/>
                <a:gd name="connsiteX299" fmla="*/ 30119 w 229505"/>
                <a:gd name="connsiteY299" fmla="*/ 47787 h 231543"/>
                <a:gd name="connsiteX300" fmla="*/ 31090 w 229505"/>
                <a:gd name="connsiteY300" fmla="*/ 45911 h 231543"/>
                <a:gd name="connsiteX301" fmla="*/ 33109 w 229505"/>
                <a:gd name="connsiteY301" fmla="*/ 45120 h 231543"/>
                <a:gd name="connsiteX302" fmla="*/ 34938 w 229505"/>
                <a:gd name="connsiteY302" fmla="*/ 44196 h 231543"/>
                <a:gd name="connsiteX303" fmla="*/ 36319 w 229505"/>
                <a:gd name="connsiteY303" fmla="*/ 41777 h 231543"/>
                <a:gd name="connsiteX304" fmla="*/ 37100 w 229505"/>
                <a:gd name="connsiteY304" fmla="*/ 39710 h 231543"/>
                <a:gd name="connsiteX305" fmla="*/ 37100 w 229505"/>
                <a:gd name="connsiteY305" fmla="*/ 38443 h 231543"/>
                <a:gd name="connsiteX306" fmla="*/ 35938 w 229505"/>
                <a:gd name="connsiteY306" fmla="*/ 36367 h 231543"/>
                <a:gd name="connsiteX307" fmla="*/ 35081 w 229505"/>
                <a:gd name="connsiteY307" fmla="*/ 34347 h 231543"/>
                <a:gd name="connsiteX308" fmla="*/ 35309 w 229505"/>
                <a:gd name="connsiteY308" fmla="*/ 31718 h 231543"/>
                <a:gd name="connsiteX309" fmla="*/ 38938 w 229505"/>
                <a:gd name="connsiteY309" fmla="*/ 31499 h 231543"/>
                <a:gd name="connsiteX310" fmla="*/ 40205 w 229505"/>
                <a:gd name="connsiteY310" fmla="*/ 31252 h 231543"/>
                <a:gd name="connsiteX311" fmla="*/ 44920 w 229505"/>
                <a:gd name="connsiteY311" fmla="*/ 31109 h 231543"/>
                <a:gd name="connsiteX312" fmla="*/ 47073 w 229505"/>
                <a:gd name="connsiteY312" fmla="*/ 29699 h 231543"/>
                <a:gd name="connsiteX313" fmla="*/ 48559 w 229505"/>
                <a:gd name="connsiteY313" fmla="*/ 29832 h 231543"/>
                <a:gd name="connsiteX314" fmla="*/ 51664 w 229505"/>
                <a:gd name="connsiteY314" fmla="*/ 31052 h 231543"/>
                <a:gd name="connsiteX315" fmla="*/ 53054 w 229505"/>
                <a:gd name="connsiteY315" fmla="*/ 30089 h 231543"/>
                <a:gd name="connsiteX316" fmla="*/ 57112 w 229505"/>
                <a:gd name="connsiteY316" fmla="*/ 28185 h 231543"/>
                <a:gd name="connsiteX317" fmla="*/ 61122 w 229505"/>
                <a:gd name="connsiteY317" fmla="*/ 22641 h 231543"/>
                <a:gd name="connsiteX318" fmla="*/ 62827 w 229505"/>
                <a:gd name="connsiteY318" fmla="*/ 21812 h 231543"/>
                <a:gd name="connsiteX319" fmla="*/ 66723 w 229505"/>
                <a:gd name="connsiteY319" fmla="*/ 21469 h 231543"/>
                <a:gd name="connsiteX320" fmla="*/ 67942 w 229505"/>
                <a:gd name="connsiteY320" fmla="*/ 20831 h 231543"/>
                <a:gd name="connsiteX321" fmla="*/ 69361 w 229505"/>
                <a:gd name="connsiteY321" fmla="*/ 20955 h 231543"/>
                <a:gd name="connsiteX322" fmla="*/ 73724 w 229505"/>
                <a:gd name="connsiteY322" fmla="*/ 22079 h 231543"/>
                <a:gd name="connsiteX323" fmla="*/ 76200 w 229505"/>
                <a:gd name="connsiteY323" fmla="*/ 22250 h 231543"/>
                <a:gd name="connsiteX324" fmla="*/ 79143 w 229505"/>
                <a:gd name="connsiteY324" fmla="*/ 21479 h 231543"/>
                <a:gd name="connsiteX325" fmla="*/ 82382 w 229505"/>
                <a:gd name="connsiteY325" fmla="*/ 20126 h 231543"/>
                <a:gd name="connsiteX326" fmla="*/ 83191 w 229505"/>
                <a:gd name="connsiteY326" fmla="*/ 15373 h 231543"/>
                <a:gd name="connsiteX327" fmla="*/ 83963 w 229505"/>
                <a:gd name="connsiteY327" fmla="*/ 14688 h 231543"/>
                <a:gd name="connsiteX328" fmla="*/ 85973 w 229505"/>
                <a:gd name="connsiteY328" fmla="*/ 14497 h 231543"/>
                <a:gd name="connsiteX329" fmla="*/ 87497 w 229505"/>
                <a:gd name="connsiteY329" fmla="*/ 14535 h 231543"/>
                <a:gd name="connsiteX330" fmla="*/ 90431 w 229505"/>
                <a:gd name="connsiteY330" fmla="*/ 14916 h 231543"/>
                <a:gd name="connsiteX331" fmla="*/ 93917 w 229505"/>
                <a:gd name="connsiteY331" fmla="*/ 15040 h 231543"/>
                <a:gd name="connsiteX332" fmla="*/ 96155 w 229505"/>
                <a:gd name="connsiteY332" fmla="*/ 12811 h 231543"/>
                <a:gd name="connsiteX333" fmla="*/ 99689 w 229505"/>
                <a:gd name="connsiteY333" fmla="*/ 12649 h 231543"/>
                <a:gd name="connsiteX334" fmla="*/ 101327 w 229505"/>
                <a:gd name="connsiteY334" fmla="*/ 12325 h 231543"/>
                <a:gd name="connsiteX335" fmla="*/ 104061 w 229505"/>
                <a:gd name="connsiteY335" fmla="*/ 12773 h 231543"/>
                <a:gd name="connsiteX336" fmla="*/ 106718 w 229505"/>
                <a:gd name="connsiteY336" fmla="*/ 12754 h 231543"/>
                <a:gd name="connsiteX337" fmla="*/ 110119 w 229505"/>
                <a:gd name="connsiteY337" fmla="*/ 11820 h 231543"/>
                <a:gd name="connsiteX338" fmla="*/ 113291 w 229505"/>
                <a:gd name="connsiteY338" fmla="*/ 10287 h 231543"/>
                <a:gd name="connsiteX339" fmla="*/ 115767 w 229505"/>
                <a:gd name="connsiteY339" fmla="*/ 10421 h 231543"/>
                <a:gd name="connsiteX340" fmla="*/ 116777 w 229505"/>
                <a:gd name="connsiteY340" fmla="*/ 10144 h 231543"/>
                <a:gd name="connsiteX341" fmla="*/ 117348 w 229505"/>
                <a:gd name="connsiteY341" fmla="*/ 9820 h 231543"/>
                <a:gd name="connsiteX342" fmla="*/ 117967 w 229505"/>
                <a:gd name="connsiteY342" fmla="*/ 7753 h 231543"/>
                <a:gd name="connsiteX343" fmla="*/ 122625 w 229505"/>
                <a:gd name="connsiteY343" fmla="*/ 7620 h 231543"/>
                <a:gd name="connsiteX344" fmla="*/ 124206 w 229505"/>
                <a:gd name="connsiteY344" fmla="*/ 7820 h 231543"/>
                <a:gd name="connsiteX345" fmla="*/ 126807 w 229505"/>
                <a:gd name="connsiteY345" fmla="*/ 7877 h 231543"/>
                <a:gd name="connsiteX346" fmla="*/ 129512 w 229505"/>
                <a:gd name="connsiteY346" fmla="*/ 6744 h 231543"/>
                <a:gd name="connsiteX347" fmla="*/ 130321 w 229505"/>
                <a:gd name="connsiteY347" fmla="*/ 6839 h 231543"/>
                <a:gd name="connsiteX348" fmla="*/ 131683 w 229505"/>
                <a:gd name="connsiteY348" fmla="*/ 9868 h 231543"/>
                <a:gd name="connsiteX349" fmla="*/ 132398 w 229505"/>
                <a:gd name="connsiteY349" fmla="*/ 10744 h 231543"/>
                <a:gd name="connsiteX350" fmla="*/ 133865 w 229505"/>
                <a:gd name="connsiteY350" fmla="*/ 11554 h 231543"/>
                <a:gd name="connsiteX351" fmla="*/ 137141 w 229505"/>
                <a:gd name="connsiteY351" fmla="*/ 13821 h 231543"/>
                <a:gd name="connsiteX352" fmla="*/ 137732 w 229505"/>
                <a:gd name="connsiteY352" fmla="*/ 13221 h 231543"/>
                <a:gd name="connsiteX353" fmla="*/ 139103 w 229505"/>
                <a:gd name="connsiteY353" fmla="*/ 12459 h 231543"/>
                <a:gd name="connsiteX354" fmla="*/ 143028 w 229505"/>
                <a:gd name="connsiteY354" fmla="*/ 13497 h 231543"/>
                <a:gd name="connsiteX355" fmla="*/ 146771 w 229505"/>
                <a:gd name="connsiteY355" fmla="*/ 15240 h 231543"/>
                <a:gd name="connsiteX356" fmla="*/ 149914 w 229505"/>
                <a:gd name="connsiteY356" fmla="*/ 17802 h 231543"/>
                <a:gd name="connsiteX357" fmla="*/ 153410 w 229505"/>
                <a:gd name="connsiteY357" fmla="*/ 17059 h 231543"/>
                <a:gd name="connsiteX358" fmla="*/ 157286 w 229505"/>
                <a:gd name="connsiteY358" fmla="*/ 15802 h 231543"/>
                <a:gd name="connsiteX359" fmla="*/ 159811 w 229505"/>
                <a:gd name="connsiteY359" fmla="*/ 15440 h 231543"/>
                <a:gd name="connsiteX360" fmla="*/ 162554 w 229505"/>
                <a:gd name="connsiteY360" fmla="*/ 15259 h 231543"/>
                <a:gd name="connsiteX361" fmla="*/ 164182 w 229505"/>
                <a:gd name="connsiteY361" fmla="*/ 14716 h 231543"/>
                <a:gd name="connsiteX362" fmla="*/ 167888 w 229505"/>
                <a:gd name="connsiteY362" fmla="*/ 15373 h 231543"/>
                <a:gd name="connsiteX363" fmla="*/ 171708 w 229505"/>
                <a:gd name="connsiteY363" fmla="*/ 13992 h 231543"/>
                <a:gd name="connsiteX364" fmla="*/ 173546 w 229505"/>
                <a:gd name="connsiteY364" fmla="*/ 12754 h 231543"/>
                <a:gd name="connsiteX365" fmla="*/ 174079 w 229505"/>
                <a:gd name="connsiteY365" fmla="*/ 11001 h 231543"/>
                <a:gd name="connsiteX366" fmla="*/ 173774 w 229505"/>
                <a:gd name="connsiteY366" fmla="*/ 7925 h 231543"/>
                <a:gd name="connsiteX367" fmla="*/ 172907 w 229505"/>
                <a:gd name="connsiteY367" fmla="*/ 4839 h 231543"/>
                <a:gd name="connsiteX368" fmla="*/ 171993 w 229505"/>
                <a:gd name="connsiteY368" fmla="*/ 3696 h 231543"/>
                <a:gd name="connsiteX369" fmla="*/ 171698 w 229505"/>
                <a:gd name="connsiteY369" fmla="*/ 2515 h 231543"/>
                <a:gd name="connsiteX370" fmla="*/ 172222 w 229505"/>
                <a:gd name="connsiteY370" fmla="*/ 1410 h 231543"/>
                <a:gd name="connsiteX371" fmla="*/ 172812 w 229505"/>
                <a:gd name="connsiteY371" fmla="*/ 648 h 231543"/>
                <a:gd name="connsiteX372" fmla="*/ 175308 w 229505"/>
                <a:gd name="connsiteY372" fmla="*/ 0 h 231543"/>
                <a:gd name="connsiteX373" fmla="*/ 178422 w 229505"/>
                <a:gd name="connsiteY373" fmla="*/ 1086 h 231543"/>
                <a:gd name="connsiteX374" fmla="*/ 137075 w 229505"/>
                <a:gd name="connsiteY374" fmla="*/ 40053 h 231543"/>
                <a:gd name="connsiteX375" fmla="*/ 133645 w 229505"/>
                <a:gd name="connsiteY375" fmla="*/ 41300 h 231543"/>
                <a:gd name="connsiteX376" fmla="*/ 130160 w 229505"/>
                <a:gd name="connsiteY376" fmla="*/ 38929 h 231543"/>
                <a:gd name="connsiteX377" fmla="*/ 130188 w 229505"/>
                <a:gd name="connsiteY377" fmla="*/ 37519 h 231543"/>
                <a:gd name="connsiteX378" fmla="*/ 132026 w 229505"/>
                <a:gd name="connsiteY378" fmla="*/ 34652 h 231543"/>
                <a:gd name="connsiteX379" fmla="*/ 133036 w 229505"/>
                <a:gd name="connsiteY379" fmla="*/ 33804 h 231543"/>
                <a:gd name="connsiteX380" fmla="*/ 135598 w 229505"/>
                <a:gd name="connsiteY380" fmla="*/ 34033 h 231543"/>
                <a:gd name="connsiteX381" fmla="*/ 137056 w 229505"/>
                <a:gd name="connsiteY381" fmla="*/ 36004 h 231543"/>
                <a:gd name="connsiteX382" fmla="*/ 137399 w 229505"/>
                <a:gd name="connsiteY382" fmla="*/ 36938 h 231543"/>
                <a:gd name="connsiteX383" fmla="*/ 136922 w 229505"/>
                <a:gd name="connsiteY383" fmla="*/ 38519 h 231543"/>
                <a:gd name="connsiteX384" fmla="*/ 137075 w 229505"/>
                <a:gd name="connsiteY384" fmla="*/ 40053 h 231543"/>
                <a:gd name="connsiteX385" fmla="*/ 161449 w 229505"/>
                <a:gd name="connsiteY385" fmla="*/ 46663 h 231543"/>
                <a:gd name="connsiteX386" fmla="*/ 158420 w 229505"/>
                <a:gd name="connsiteY386" fmla="*/ 47577 h 231543"/>
                <a:gd name="connsiteX387" fmla="*/ 155086 w 229505"/>
                <a:gd name="connsiteY387" fmla="*/ 44691 h 231543"/>
                <a:gd name="connsiteX388" fmla="*/ 158305 w 229505"/>
                <a:gd name="connsiteY388" fmla="*/ 43529 h 231543"/>
                <a:gd name="connsiteX389" fmla="*/ 159801 w 229505"/>
                <a:gd name="connsiteY389" fmla="*/ 44368 h 231543"/>
                <a:gd name="connsiteX390" fmla="*/ 160868 w 229505"/>
                <a:gd name="connsiteY390" fmla="*/ 45358 h 231543"/>
                <a:gd name="connsiteX391" fmla="*/ 161449 w 229505"/>
                <a:gd name="connsiteY391" fmla="*/ 46663 h 231543"/>
                <a:gd name="connsiteX392" fmla="*/ 154810 w 229505"/>
                <a:gd name="connsiteY392" fmla="*/ 62112 h 231543"/>
                <a:gd name="connsiteX393" fmla="*/ 153801 w 229505"/>
                <a:gd name="connsiteY393" fmla="*/ 63284 h 231543"/>
                <a:gd name="connsiteX394" fmla="*/ 153048 w 229505"/>
                <a:gd name="connsiteY394" fmla="*/ 65304 h 231543"/>
                <a:gd name="connsiteX395" fmla="*/ 152648 w 229505"/>
                <a:gd name="connsiteY395" fmla="*/ 68189 h 231543"/>
                <a:gd name="connsiteX396" fmla="*/ 151086 w 229505"/>
                <a:gd name="connsiteY396" fmla="*/ 68256 h 231543"/>
                <a:gd name="connsiteX397" fmla="*/ 150143 w 229505"/>
                <a:gd name="connsiteY397" fmla="*/ 67675 h 231543"/>
                <a:gd name="connsiteX398" fmla="*/ 149829 w 229505"/>
                <a:gd name="connsiteY398" fmla="*/ 66580 h 231543"/>
                <a:gd name="connsiteX399" fmla="*/ 149771 w 229505"/>
                <a:gd name="connsiteY399" fmla="*/ 65199 h 231543"/>
                <a:gd name="connsiteX400" fmla="*/ 149086 w 229505"/>
                <a:gd name="connsiteY400" fmla="*/ 65256 h 231543"/>
                <a:gd name="connsiteX401" fmla="*/ 148533 w 229505"/>
                <a:gd name="connsiteY401" fmla="*/ 66751 h 231543"/>
                <a:gd name="connsiteX402" fmla="*/ 148047 w 229505"/>
                <a:gd name="connsiteY402" fmla="*/ 67428 h 231543"/>
                <a:gd name="connsiteX403" fmla="*/ 146476 w 229505"/>
                <a:gd name="connsiteY403" fmla="*/ 67571 h 231543"/>
                <a:gd name="connsiteX404" fmla="*/ 144752 w 229505"/>
                <a:gd name="connsiteY404" fmla="*/ 66647 h 231543"/>
                <a:gd name="connsiteX405" fmla="*/ 144838 w 229505"/>
                <a:gd name="connsiteY405" fmla="*/ 64656 h 231543"/>
                <a:gd name="connsiteX406" fmla="*/ 144495 w 229505"/>
                <a:gd name="connsiteY406" fmla="*/ 62341 h 231543"/>
                <a:gd name="connsiteX407" fmla="*/ 144647 w 229505"/>
                <a:gd name="connsiteY407" fmla="*/ 61532 h 231543"/>
                <a:gd name="connsiteX408" fmla="*/ 149362 w 229505"/>
                <a:gd name="connsiteY408" fmla="*/ 61331 h 231543"/>
                <a:gd name="connsiteX409" fmla="*/ 150743 w 229505"/>
                <a:gd name="connsiteY409" fmla="*/ 63037 h 231543"/>
                <a:gd name="connsiteX410" fmla="*/ 152410 w 229505"/>
                <a:gd name="connsiteY410" fmla="*/ 62046 h 231543"/>
                <a:gd name="connsiteX411" fmla="*/ 153095 w 229505"/>
                <a:gd name="connsiteY411" fmla="*/ 60979 h 231543"/>
                <a:gd name="connsiteX412" fmla="*/ 155115 w 229505"/>
                <a:gd name="connsiteY412" fmla="*/ 60312 h 231543"/>
                <a:gd name="connsiteX413" fmla="*/ 154810 w 229505"/>
                <a:gd name="connsiteY413" fmla="*/ 62112 h 231543"/>
                <a:gd name="connsiteX414" fmla="*/ 11535 w 229505"/>
                <a:gd name="connsiteY414" fmla="*/ 81172 h 231543"/>
                <a:gd name="connsiteX415" fmla="*/ 12116 w 229505"/>
                <a:gd name="connsiteY415" fmla="*/ 83106 h 231543"/>
                <a:gd name="connsiteX416" fmla="*/ 8782 w 229505"/>
                <a:gd name="connsiteY416" fmla="*/ 81905 h 231543"/>
                <a:gd name="connsiteX417" fmla="*/ 6354 w 229505"/>
                <a:gd name="connsiteY417" fmla="*/ 80181 h 231543"/>
                <a:gd name="connsiteX418" fmla="*/ 4344 w 229505"/>
                <a:gd name="connsiteY418" fmla="*/ 75905 h 231543"/>
                <a:gd name="connsiteX419" fmla="*/ 67 w 229505"/>
                <a:gd name="connsiteY419" fmla="*/ 71038 h 231543"/>
                <a:gd name="connsiteX420" fmla="*/ 0 w 229505"/>
                <a:gd name="connsiteY420" fmla="*/ 69618 h 231543"/>
                <a:gd name="connsiteX421" fmla="*/ 1629 w 229505"/>
                <a:gd name="connsiteY421" fmla="*/ 68542 h 231543"/>
                <a:gd name="connsiteX422" fmla="*/ 5144 w 229505"/>
                <a:gd name="connsiteY422" fmla="*/ 67780 h 231543"/>
                <a:gd name="connsiteX423" fmla="*/ 6563 w 229505"/>
                <a:gd name="connsiteY423" fmla="*/ 68571 h 231543"/>
                <a:gd name="connsiteX424" fmla="*/ 7477 w 229505"/>
                <a:gd name="connsiteY424" fmla="*/ 69390 h 231543"/>
                <a:gd name="connsiteX425" fmla="*/ 7763 w 229505"/>
                <a:gd name="connsiteY425" fmla="*/ 70323 h 231543"/>
                <a:gd name="connsiteX426" fmla="*/ 5772 w 229505"/>
                <a:gd name="connsiteY426" fmla="*/ 72190 h 231543"/>
                <a:gd name="connsiteX427" fmla="*/ 5363 w 229505"/>
                <a:gd name="connsiteY427" fmla="*/ 73038 h 231543"/>
                <a:gd name="connsiteX428" fmla="*/ 6896 w 229505"/>
                <a:gd name="connsiteY428" fmla="*/ 74714 h 231543"/>
                <a:gd name="connsiteX429" fmla="*/ 6877 w 229505"/>
                <a:gd name="connsiteY429" fmla="*/ 75390 h 231543"/>
                <a:gd name="connsiteX430" fmla="*/ 7515 w 229505"/>
                <a:gd name="connsiteY430" fmla="*/ 78639 h 231543"/>
                <a:gd name="connsiteX431" fmla="*/ 8268 w 229505"/>
                <a:gd name="connsiteY431" fmla="*/ 79858 h 231543"/>
                <a:gd name="connsiteX432" fmla="*/ 10202 w 229505"/>
                <a:gd name="connsiteY432" fmla="*/ 80839 h 231543"/>
                <a:gd name="connsiteX433" fmla="*/ 11535 w 229505"/>
                <a:gd name="connsiteY433" fmla="*/ 81172 h 231543"/>
                <a:gd name="connsiteX434" fmla="*/ 180804 w 229505"/>
                <a:gd name="connsiteY434" fmla="*/ 84725 h 231543"/>
                <a:gd name="connsiteX435" fmla="*/ 180337 w 229505"/>
                <a:gd name="connsiteY435" fmla="*/ 86763 h 231543"/>
                <a:gd name="connsiteX436" fmla="*/ 184033 w 229505"/>
                <a:gd name="connsiteY436" fmla="*/ 90145 h 231543"/>
                <a:gd name="connsiteX437" fmla="*/ 185290 w 229505"/>
                <a:gd name="connsiteY437" fmla="*/ 92288 h 231543"/>
                <a:gd name="connsiteX438" fmla="*/ 185757 w 229505"/>
                <a:gd name="connsiteY438" fmla="*/ 94364 h 231543"/>
                <a:gd name="connsiteX439" fmla="*/ 185443 w 229505"/>
                <a:gd name="connsiteY439" fmla="*/ 94964 h 231543"/>
                <a:gd name="connsiteX440" fmla="*/ 184042 w 229505"/>
                <a:gd name="connsiteY440" fmla="*/ 93840 h 231543"/>
                <a:gd name="connsiteX441" fmla="*/ 182890 w 229505"/>
                <a:gd name="connsiteY441" fmla="*/ 93478 h 231543"/>
                <a:gd name="connsiteX442" fmla="*/ 183280 w 229505"/>
                <a:gd name="connsiteY442" fmla="*/ 94964 h 231543"/>
                <a:gd name="connsiteX443" fmla="*/ 184461 w 229505"/>
                <a:gd name="connsiteY443" fmla="*/ 96241 h 231543"/>
                <a:gd name="connsiteX444" fmla="*/ 182366 w 229505"/>
                <a:gd name="connsiteY444" fmla="*/ 96974 h 231543"/>
                <a:gd name="connsiteX445" fmla="*/ 180270 w 229505"/>
                <a:gd name="connsiteY445" fmla="*/ 96936 h 231543"/>
                <a:gd name="connsiteX446" fmla="*/ 174136 w 229505"/>
                <a:gd name="connsiteY446" fmla="*/ 95155 h 231543"/>
                <a:gd name="connsiteX447" fmla="*/ 172727 w 229505"/>
                <a:gd name="connsiteY447" fmla="*/ 93259 h 231543"/>
                <a:gd name="connsiteX448" fmla="*/ 176394 w 229505"/>
                <a:gd name="connsiteY448" fmla="*/ 90411 h 231543"/>
                <a:gd name="connsiteX449" fmla="*/ 177137 w 229505"/>
                <a:gd name="connsiteY449" fmla="*/ 89259 h 231543"/>
                <a:gd name="connsiteX450" fmla="*/ 174546 w 229505"/>
                <a:gd name="connsiteY450" fmla="*/ 89373 h 231543"/>
                <a:gd name="connsiteX451" fmla="*/ 171774 w 229505"/>
                <a:gd name="connsiteY451" fmla="*/ 92755 h 231543"/>
                <a:gd name="connsiteX452" fmla="*/ 167336 w 229505"/>
                <a:gd name="connsiteY452" fmla="*/ 91269 h 231543"/>
                <a:gd name="connsiteX453" fmla="*/ 165974 w 229505"/>
                <a:gd name="connsiteY453" fmla="*/ 89906 h 231543"/>
                <a:gd name="connsiteX454" fmla="*/ 165668 w 229505"/>
                <a:gd name="connsiteY454" fmla="*/ 89173 h 231543"/>
                <a:gd name="connsiteX455" fmla="*/ 167421 w 229505"/>
                <a:gd name="connsiteY455" fmla="*/ 86163 h 231543"/>
                <a:gd name="connsiteX456" fmla="*/ 170545 w 229505"/>
                <a:gd name="connsiteY456" fmla="*/ 86268 h 231543"/>
                <a:gd name="connsiteX457" fmla="*/ 172193 w 229505"/>
                <a:gd name="connsiteY457" fmla="*/ 85592 h 231543"/>
                <a:gd name="connsiteX458" fmla="*/ 174241 w 229505"/>
                <a:gd name="connsiteY458" fmla="*/ 84639 h 231543"/>
                <a:gd name="connsiteX459" fmla="*/ 174260 w 229505"/>
                <a:gd name="connsiteY459" fmla="*/ 83211 h 231543"/>
                <a:gd name="connsiteX460" fmla="*/ 179137 w 229505"/>
                <a:gd name="connsiteY460" fmla="*/ 82887 h 231543"/>
                <a:gd name="connsiteX461" fmla="*/ 180804 w 229505"/>
                <a:gd name="connsiteY461" fmla="*/ 84725 h 231543"/>
                <a:gd name="connsiteX462" fmla="*/ 113386 w 229505"/>
                <a:gd name="connsiteY462" fmla="*/ 90611 h 231543"/>
                <a:gd name="connsiteX463" fmla="*/ 112138 w 229505"/>
                <a:gd name="connsiteY463" fmla="*/ 91012 h 231543"/>
                <a:gd name="connsiteX464" fmla="*/ 113386 w 229505"/>
                <a:gd name="connsiteY464" fmla="*/ 88268 h 231543"/>
                <a:gd name="connsiteX465" fmla="*/ 115596 w 229505"/>
                <a:gd name="connsiteY465" fmla="*/ 86849 h 231543"/>
                <a:gd name="connsiteX466" fmla="*/ 114767 w 229505"/>
                <a:gd name="connsiteY466" fmla="*/ 89154 h 231543"/>
                <a:gd name="connsiteX467" fmla="*/ 113386 w 229505"/>
                <a:gd name="connsiteY467" fmla="*/ 90611 h 231543"/>
                <a:gd name="connsiteX468" fmla="*/ 110490 w 229505"/>
                <a:gd name="connsiteY468" fmla="*/ 92116 h 231543"/>
                <a:gd name="connsiteX469" fmla="*/ 109300 w 229505"/>
                <a:gd name="connsiteY469" fmla="*/ 93278 h 231543"/>
                <a:gd name="connsiteX470" fmla="*/ 107452 w 229505"/>
                <a:gd name="connsiteY470" fmla="*/ 92774 h 231543"/>
                <a:gd name="connsiteX471" fmla="*/ 105518 w 229505"/>
                <a:gd name="connsiteY471" fmla="*/ 88887 h 231543"/>
                <a:gd name="connsiteX472" fmla="*/ 110490 w 229505"/>
                <a:gd name="connsiteY472" fmla="*/ 92116 h 231543"/>
                <a:gd name="connsiteX473" fmla="*/ 100755 w 229505"/>
                <a:gd name="connsiteY473" fmla="*/ 97450 h 231543"/>
                <a:gd name="connsiteX474" fmla="*/ 102270 w 229505"/>
                <a:gd name="connsiteY474" fmla="*/ 101165 h 231543"/>
                <a:gd name="connsiteX475" fmla="*/ 103690 w 229505"/>
                <a:gd name="connsiteY475" fmla="*/ 102413 h 231543"/>
                <a:gd name="connsiteX476" fmla="*/ 106661 w 229505"/>
                <a:gd name="connsiteY476" fmla="*/ 103889 h 231543"/>
                <a:gd name="connsiteX477" fmla="*/ 108061 w 229505"/>
                <a:gd name="connsiteY477" fmla="*/ 104080 h 231543"/>
                <a:gd name="connsiteX478" fmla="*/ 113138 w 229505"/>
                <a:gd name="connsiteY478" fmla="*/ 106747 h 231543"/>
                <a:gd name="connsiteX479" fmla="*/ 119034 w 229505"/>
                <a:gd name="connsiteY479" fmla="*/ 107280 h 231543"/>
                <a:gd name="connsiteX480" fmla="*/ 119796 w 229505"/>
                <a:gd name="connsiteY480" fmla="*/ 108052 h 231543"/>
                <a:gd name="connsiteX481" fmla="*/ 120520 w 229505"/>
                <a:gd name="connsiteY481" fmla="*/ 110100 h 231543"/>
                <a:gd name="connsiteX482" fmla="*/ 121720 w 229505"/>
                <a:gd name="connsiteY482" fmla="*/ 111709 h 231543"/>
                <a:gd name="connsiteX483" fmla="*/ 122025 w 229505"/>
                <a:gd name="connsiteY483" fmla="*/ 112957 h 231543"/>
                <a:gd name="connsiteX484" fmla="*/ 121396 w 229505"/>
                <a:gd name="connsiteY484" fmla="*/ 114348 h 231543"/>
                <a:gd name="connsiteX485" fmla="*/ 122263 w 229505"/>
                <a:gd name="connsiteY485" fmla="*/ 118586 h 231543"/>
                <a:gd name="connsiteX486" fmla="*/ 123749 w 229505"/>
                <a:gd name="connsiteY486" fmla="*/ 122606 h 231543"/>
                <a:gd name="connsiteX487" fmla="*/ 125988 w 229505"/>
                <a:gd name="connsiteY487" fmla="*/ 124549 h 231543"/>
                <a:gd name="connsiteX488" fmla="*/ 128778 w 229505"/>
                <a:gd name="connsiteY488" fmla="*/ 125139 h 231543"/>
                <a:gd name="connsiteX489" fmla="*/ 131436 w 229505"/>
                <a:gd name="connsiteY489" fmla="*/ 125054 h 231543"/>
                <a:gd name="connsiteX490" fmla="*/ 132102 w 229505"/>
                <a:gd name="connsiteY490" fmla="*/ 125854 h 231543"/>
                <a:gd name="connsiteX491" fmla="*/ 131836 w 229505"/>
                <a:gd name="connsiteY491" fmla="*/ 129359 h 231543"/>
                <a:gd name="connsiteX492" fmla="*/ 130712 w 229505"/>
                <a:gd name="connsiteY492" fmla="*/ 130731 h 231543"/>
                <a:gd name="connsiteX493" fmla="*/ 129797 w 229505"/>
                <a:gd name="connsiteY493" fmla="*/ 131064 h 231543"/>
                <a:gd name="connsiteX494" fmla="*/ 129007 w 229505"/>
                <a:gd name="connsiteY494" fmla="*/ 130702 h 231543"/>
                <a:gd name="connsiteX495" fmla="*/ 128283 w 229505"/>
                <a:gd name="connsiteY495" fmla="*/ 129883 h 231543"/>
                <a:gd name="connsiteX496" fmla="*/ 127502 w 229505"/>
                <a:gd name="connsiteY496" fmla="*/ 129492 h 231543"/>
                <a:gd name="connsiteX497" fmla="*/ 125978 w 229505"/>
                <a:gd name="connsiteY497" fmla="*/ 129426 h 231543"/>
                <a:gd name="connsiteX498" fmla="*/ 124863 w 229505"/>
                <a:gd name="connsiteY498" fmla="*/ 128016 h 231543"/>
                <a:gd name="connsiteX499" fmla="*/ 122034 w 229505"/>
                <a:gd name="connsiteY499" fmla="*/ 126082 h 231543"/>
                <a:gd name="connsiteX500" fmla="*/ 121511 w 229505"/>
                <a:gd name="connsiteY500" fmla="*/ 124921 h 231543"/>
                <a:gd name="connsiteX501" fmla="*/ 121415 w 229505"/>
                <a:gd name="connsiteY501" fmla="*/ 123139 h 231543"/>
                <a:gd name="connsiteX502" fmla="*/ 120215 w 229505"/>
                <a:gd name="connsiteY502" fmla="*/ 121825 h 231543"/>
                <a:gd name="connsiteX503" fmla="*/ 119110 w 229505"/>
                <a:gd name="connsiteY503" fmla="*/ 119329 h 231543"/>
                <a:gd name="connsiteX504" fmla="*/ 118063 w 229505"/>
                <a:gd name="connsiteY504" fmla="*/ 118634 h 231543"/>
                <a:gd name="connsiteX505" fmla="*/ 117482 w 229505"/>
                <a:gd name="connsiteY505" fmla="*/ 117377 h 231543"/>
                <a:gd name="connsiteX506" fmla="*/ 117434 w 229505"/>
                <a:gd name="connsiteY506" fmla="*/ 116843 h 231543"/>
                <a:gd name="connsiteX507" fmla="*/ 113319 w 229505"/>
                <a:gd name="connsiteY507" fmla="*/ 116472 h 231543"/>
                <a:gd name="connsiteX508" fmla="*/ 109919 w 229505"/>
                <a:gd name="connsiteY508" fmla="*/ 116462 h 231543"/>
                <a:gd name="connsiteX509" fmla="*/ 107032 w 229505"/>
                <a:gd name="connsiteY509" fmla="*/ 115043 h 231543"/>
                <a:gd name="connsiteX510" fmla="*/ 106137 w 229505"/>
                <a:gd name="connsiteY510" fmla="*/ 111319 h 231543"/>
                <a:gd name="connsiteX511" fmla="*/ 104423 w 229505"/>
                <a:gd name="connsiteY511" fmla="*/ 110319 h 231543"/>
                <a:gd name="connsiteX512" fmla="*/ 103137 w 229505"/>
                <a:gd name="connsiteY512" fmla="*/ 109261 h 231543"/>
                <a:gd name="connsiteX513" fmla="*/ 102070 w 229505"/>
                <a:gd name="connsiteY513" fmla="*/ 107795 h 231543"/>
                <a:gd name="connsiteX514" fmla="*/ 99365 w 229505"/>
                <a:gd name="connsiteY514" fmla="*/ 105099 h 231543"/>
                <a:gd name="connsiteX515" fmla="*/ 96374 w 229505"/>
                <a:gd name="connsiteY515" fmla="*/ 102841 h 231543"/>
                <a:gd name="connsiteX516" fmla="*/ 93479 w 229505"/>
                <a:gd name="connsiteY516" fmla="*/ 101346 h 231543"/>
                <a:gd name="connsiteX517" fmla="*/ 90411 w 229505"/>
                <a:gd name="connsiteY517" fmla="*/ 100365 h 231543"/>
                <a:gd name="connsiteX518" fmla="*/ 87916 w 229505"/>
                <a:gd name="connsiteY518" fmla="*/ 101518 h 231543"/>
                <a:gd name="connsiteX519" fmla="*/ 86459 w 229505"/>
                <a:gd name="connsiteY519" fmla="*/ 101251 h 231543"/>
                <a:gd name="connsiteX520" fmla="*/ 86163 w 229505"/>
                <a:gd name="connsiteY520" fmla="*/ 100470 h 231543"/>
                <a:gd name="connsiteX521" fmla="*/ 89268 w 229505"/>
                <a:gd name="connsiteY521" fmla="*/ 98917 h 231543"/>
                <a:gd name="connsiteX522" fmla="*/ 93536 w 229505"/>
                <a:gd name="connsiteY522" fmla="*/ 95945 h 231543"/>
                <a:gd name="connsiteX523" fmla="*/ 96536 w 229505"/>
                <a:gd name="connsiteY523" fmla="*/ 94964 h 231543"/>
                <a:gd name="connsiteX524" fmla="*/ 97993 w 229505"/>
                <a:gd name="connsiteY524" fmla="*/ 94840 h 231543"/>
                <a:gd name="connsiteX525" fmla="*/ 100755 w 229505"/>
                <a:gd name="connsiteY525" fmla="*/ 97450 h 231543"/>
                <a:gd name="connsiteX526" fmla="*/ 134417 w 229505"/>
                <a:gd name="connsiteY526" fmla="*/ 102565 h 231543"/>
                <a:gd name="connsiteX527" fmla="*/ 131598 w 229505"/>
                <a:gd name="connsiteY527" fmla="*/ 103394 h 231543"/>
                <a:gd name="connsiteX528" fmla="*/ 130845 w 229505"/>
                <a:gd name="connsiteY528" fmla="*/ 103261 h 231543"/>
                <a:gd name="connsiteX529" fmla="*/ 131474 w 229505"/>
                <a:gd name="connsiteY529" fmla="*/ 102213 h 231543"/>
                <a:gd name="connsiteX530" fmla="*/ 131522 w 229505"/>
                <a:gd name="connsiteY530" fmla="*/ 101775 h 231543"/>
                <a:gd name="connsiteX531" fmla="*/ 128702 w 229505"/>
                <a:gd name="connsiteY531" fmla="*/ 99851 h 231543"/>
                <a:gd name="connsiteX532" fmla="*/ 129035 w 229505"/>
                <a:gd name="connsiteY532" fmla="*/ 97355 h 231543"/>
                <a:gd name="connsiteX533" fmla="*/ 129369 w 229505"/>
                <a:gd name="connsiteY533" fmla="*/ 96717 h 231543"/>
                <a:gd name="connsiteX534" fmla="*/ 131464 w 229505"/>
                <a:gd name="connsiteY534" fmla="*/ 98022 h 231543"/>
                <a:gd name="connsiteX535" fmla="*/ 131922 w 229505"/>
                <a:gd name="connsiteY535" fmla="*/ 100194 h 231543"/>
                <a:gd name="connsiteX536" fmla="*/ 134417 w 229505"/>
                <a:gd name="connsiteY536" fmla="*/ 102565 h 231543"/>
                <a:gd name="connsiteX537" fmla="*/ 27813 w 229505"/>
                <a:gd name="connsiteY537" fmla="*/ 109404 h 231543"/>
                <a:gd name="connsiteX538" fmla="*/ 26775 w 229505"/>
                <a:gd name="connsiteY538" fmla="*/ 109671 h 231543"/>
                <a:gd name="connsiteX539" fmla="*/ 25880 w 229505"/>
                <a:gd name="connsiteY539" fmla="*/ 109490 h 231543"/>
                <a:gd name="connsiteX540" fmla="*/ 25070 w 229505"/>
                <a:gd name="connsiteY540" fmla="*/ 109642 h 231543"/>
                <a:gd name="connsiteX541" fmla="*/ 24279 w 229505"/>
                <a:gd name="connsiteY541" fmla="*/ 110290 h 231543"/>
                <a:gd name="connsiteX542" fmla="*/ 24365 w 229505"/>
                <a:gd name="connsiteY542" fmla="*/ 107595 h 231543"/>
                <a:gd name="connsiteX543" fmla="*/ 25289 w 229505"/>
                <a:gd name="connsiteY543" fmla="*/ 104232 h 231543"/>
                <a:gd name="connsiteX544" fmla="*/ 26413 w 229505"/>
                <a:gd name="connsiteY544" fmla="*/ 102270 h 231543"/>
                <a:gd name="connsiteX545" fmla="*/ 28004 w 229505"/>
                <a:gd name="connsiteY545" fmla="*/ 101356 h 231543"/>
                <a:gd name="connsiteX546" fmla="*/ 28680 w 229505"/>
                <a:gd name="connsiteY546" fmla="*/ 102899 h 231543"/>
                <a:gd name="connsiteX547" fmla="*/ 28556 w 229505"/>
                <a:gd name="connsiteY547" fmla="*/ 108385 h 231543"/>
                <a:gd name="connsiteX548" fmla="*/ 27813 w 229505"/>
                <a:gd name="connsiteY548" fmla="*/ 109404 h 231543"/>
                <a:gd name="connsiteX549" fmla="*/ 172355 w 229505"/>
                <a:gd name="connsiteY549" fmla="*/ 122672 h 231543"/>
                <a:gd name="connsiteX550" fmla="*/ 169802 w 229505"/>
                <a:gd name="connsiteY550" fmla="*/ 124587 h 231543"/>
                <a:gd name="connsiteX551" fmla="*/ 166954 w 229505"/>
                <a:gd name="connsiteY551" fmla="*/ 121815 h 231543"/>
                <a:gd name="connsiteX552" fmla="*/ 166488 w 229505"/>
                <a:gd name="connsiteY552" fmla="*/ 120920 h 231543"/>
                <a:gd name="connsiteX553" fmla="*/ 168583 w 229505"/>
                <a:gd name="connsiteY553" fmla="*/ 119796 h 231543"/>
                <a:gd name="connsiteX554" fmla="*/ 169622 w 229505"/>
                <a:gd name="connsiteY554" fmla="*/ 118072 h 231543"/>
                <a:gd name="connsiteX555" fmla="*/ 168783 w 229505"/>
                <a:gd name="connsiteY555" fmla="*/ 115948 h 231543"/>
                <a:gd name="connsiteX556" fmla="*/ 165878 w 229505"/>
                <a:gd name="connsiteY556" fmla="*/ 112805 h 231543"/>
                <a:gd name="connsiteX557" fmla="*/ 165735 w 229505"/>
                <a:gd name="connsiteY557" fmla="*/ 110576 h 231543"/>
                <a:gd name="connsiteX558" fmla="*/ 170183 w 229505"/>
                <a:gd name="connsiteY558" fmla="*/ 109633 h 231543"/>
                <a:gd name="connsiteX559" fmla="*/ 172803 w 229505"/>
                <a:gd name="connsiteY559" fmla="*/ 111576 h 231543"/>
                <a:gd name="connsiteX560" fmla="*/ 174136 w 229505"/>
                <a:gd name="connsiteY560" fmla="*/ 111709 h 231543"/>
                <a:gd name="connsiteX561" fmla="*/ 173622 w 229505"/>
                <a:gd name="connsiteY561" fmla="*/ 113567 h 231543"/>
                <a:gd name="connsiteX562" fmla="*/ 173850 w 229505"/>
                <a:gd name="connsiteY562" fmla="*/ 114167 h 231543"/>
                <a:gd name="connsiteX563" fmla="*/ 174050 w 229505"/>
                <a:gd name="connsiteY563" fmla="*/ 119787 h 231543"/>
                <a:gd name="connsiteX564" fmla="*/ 172812 w 229505"/>
                <a:gd name="connsiteY564" fmla="*/ 120577 h 231543"/>
                <a:gd name="connsiteX565" fmla="*/ 172612 w 229505"/>
                <a:gd name="connsiteY565" fmla="*/ 122120 h 231543"/>
                <a:gd name="connsiteX566" fmla="*/ 172355 w 229505"/>
                <a:gd name="connsiteY566" fmla="*/ 122672 h 231543"/>
                <a:gd name="connsiteX567" fmla="*/ 29728 w 229505"/>
                <a:gd name="connsiteY567" fmla="*/ 118901 h 231543"/>
                <a:gd name="connsiteX568" fmla="*/ 28403 w 229505"/>
                <a:gd name="connsiteY568" fmla="*/ 119272 h 231543"/>
                <a:gd name="connsiteX569" fmla="*/ 26727 w 229505"/>
                <a:gd name="connsiteY569" fmla="*/ 116024 h 231543"/>
                <a:gd name="connsiteX570" fmla="*/ 26118 w 229505"/>
                <a:gd name="connsiteY570" fmla="*/ 113776 h 231543"/>
                <a:gd name="connsiteX571" fmla="*/ 26823 w 229505"/>
                <a:gd name="connsiteY571" fmla="*/ 113652 h 231543"/>
                <a:gd name="connsiteX572" fmla="*/ 27490 w 229505"/>
                <a:gd name="connsiteY572" fmla="*/ 113910 h 231543"/>
                <a:gd name="connsiteX573" fmla="*/ 28194 w 229505"/>
                <a:gd name="connsiteY573" fmla="*/ 114757 h 231543"/>
                <a:gd name="connsiteX574" fmla="*/ 28194 w 229505"/>
                <a:gd name="connsiteY574" fmla="*/ 115624 h 231543"/>
                <a:gd name="connsiteX575" fmla="*/ 28480 w 229505"/>
                <a:gd name="connsiteY575" fmla="*/ 116557 h 231543"/>
                <a:gd name="connsiteX576" fmla="*/ 29213 w 229505"/>
                <a:gd name="connsiteY576" fmla="*/ 117672 h 231543"/>
                <a:gd name="connsiteX577" fmla="*/ 29728 w 229505"/>
                <a:gd name="connsiteY577" fmla="*/ 118901 h 231543"/>
                <a:gd name="connsiteX578" fmla="*/ 25822 w 229505"/>
                <a:gd name="connsiteY578" fmla="*/ 117072 h 231543"/>
                <a:gd name="connsiteX579" fmla="*/ 26156 w 229505"/>
                <a:gd name="connsiteY579" fmla="*/ 120996 h 231543"/>
                <a:gd name="connsiteX580" fmla="*/ 28042 w 229505"/>
                <a:gd name="connsiteY580" fmla="*/ 121729 h 231543"/>
                <a:gd name="connsiteX581" fmla="*/ 30547 w 229505"/>
                <a:gd name="connsiteY581" fmla="*/ 125254 h 231543"/>
                <a:gd name="connsiteX582" fmla="*/ 30337 w 229505"/>
                <a:gd name="connsiteY582" fmla="*/ 127054 h 231543"/>
                <a:gd name="connsiteX583" fmla="*/ 29813 w 229505"/>
                <a:gd name="connsiteY583" fmla="*/ 127673 h 231543"/>
                <a:gd name="connsiteX584" fmla="*/ 25661 w 229505"/>
                <a:gd name="connsiteY584" fmla="*/ 126006 h 231543"/>
                <a:gd name="connsiteX585" fmla="*/ 24670 w 229505"/>
                <a:gd name="connsiteY585" fmla="*/ 126759 h 231543"/>
                <a:gd name="connsiteX586" fmla="*/ 23460 w 229505"/>
                <a:gd name="connsiteY586" fmla="*/ 126454 h 231543"/>
                <a:gd name="connsiteX587" fmla="*/ 22708 w 229505"/>
                <a:gd name="connsiteY587" fmla="*/ 124501 h 231543"/>
                <a:gd name="connsiteX588" fmla="*/ 22793 w 229505"/>
                <a:gd name="connsiteY588" fmla="*/ 123816 h 231543"/>
                <a:gd name="connsiteX589" fmla="*/ 22117 w 229505"/>
                <a:gd name="connsiteY589" fmla="*/ 122644 h 231543"/>
                <a:gd name="connsiteX590" fmla="*/ 21546 w 229505"/>
                <a:gd name="connsiteY590" fmla="*/ 122120 h 231543"/>
                <a:gd name="connsiteX591" fmla="*/ 19917 w 229505"/>
                <a:gd name="connsiteY591" fmla="*/ 123673 h 231543"/>
                <a:gd name="connsiteX592" fmla="*/ 18888 w 229505"/>
                <a:gd name="connsiteY592" fmla="*/ 123958 h 231543"/>
                <a:gd name="connsiteX593" fmla="*/ 18888 w 229505"/>
                <a:gd name="connsiteY593" fmla="*/ 122539 h 231543"/>
                <a:gd name="connsiteX594" fmla="*/ 20403 w 229505"/>
                <a:gd name="connsiteY594" fmla="*/ 118634 h 231543"/>
                <a:gd name="connsiteX595" fmla="*/ 21107 w 229505"/>
                <a:gd name="connsiteY595" fmla="*/ 117977 h 231543"/>
                <a:gd name="connsiteX596" fmla="*/ 22346 w 229505"/>
                <a:gd name="connsiteY596" fmla="*/ 119262 h 231543"/>
                <a:gd name="connsiteX597" fmla="*/ 23365 w 229505"/>
                <a:gd name="connsiteY597" fmla="*/ 118786 h 231543"/>
                <a:gd name="connsiteX598" fmla="*/ 24136 w 229505"/>
                <a:gd name="connsiteY598" fmla="*/ 116672 h 231543"/>
                <a:gd name="connsiteX599" fmla="*/ 24184 w 229505"/>
                <a:gd name="connsiteY599" fmla="*/ 114567 h 231543"/>
                <a:gd name="connsiteX600" fmla="*/ 24537 w 229505"/>
                <a:gd name="connsiteY600" fmla="*/ 113948 h 231543"/>
                <a:gd name="connsiteX601" fmla="*/ 25822 w 229505"/>
                <a:gd name="connsiteY601" fmla="*/ 117072 h 231543"/>
                <a:gd name="connsiteX602" fmla="*/ 104375 w 229505"/>
                <a:gd name="connsiteY602" fmla="*/ 132560 h 231543"/>
                <a:gd name="connsiteX603" fmla="*/ 103318 w 229505"/>
                <a:gd name="connsiteY603" fmla="*/ 133388 h 231543"/>
                <a:gd name="connsiteX604" fmla="*/ 102127 w 229505"/>
                <a:gd name="connsiteY604" fmla="*/ 133350 h 231543"/>
                <a:gd name="connsiteX605" fmla="*/ 101279 w 229505"/>
                <a:gd name="connsiteY605" fmla="*/ 133045 h 231543"/>
                <a:gd name="connsiteX606" fmla="*/ 100861 w 229505"/>
                <a:gd name="connsiteY606" fmla="*/ 132379 h 231543"/>
                <a:gd name="connsiteX607" fmla="*/ 101385 w 229505"/>
                <a:gd name="connsiteY607" fmla="*/ 132064 h 231543"/>
                <a:gd name="connsiteX608" fmla="*/ 102004 w 229505"/>
                <a:gd name="connsiteY608" fmla="*/ 130721 h 231543"/>
                <a:gd name="connsiteX609" fmla="*/ 102575 w 229505"/>
                <a:gd name="connsiteY609" fmla="*/ 130359 h 231543"/>
                <a:gd name="connsiteX610" fmla="*/ 103423 w 229505"/>
                <a:gd name="connsiteY610" fmla="*/ 130531 h 231543"/>
                <a:gd name="connsiteX611" fmla="*/ 103947 w 229505"/>
                <a:gd name="connsiteY611" fmla="*/ 131074 h 231543"/>
                <a:gd name="connsiteX612" fmla="*/ 104375 w 229505"/>
                <a:gd name="connsiteY612" fmla="*/ 132560 h 231543"/>
                <a:gd name="connsiteX613" fmla="*/ 142885 w 229505"/>
                <a:gd name="connsiteY613" fmla="*/ 138160 h 231543"/>
                <a:gd name="connsiteX614" fmla="*/ 142094 w 229505"/>
                <a:gd name="connsiteY614" fmla="*/ 140418 h 231543"/>
                <a:gd name="connsiteX615" fmla="*/ 140008 w 229505"/>
                <a:gd name="connsiteY615" fmla="*/ 137789 h 231543"/>
                <a:gd name="connsiteX616" fmla="*/ 137722 w 229505"/>
                <a:gd name="connsiteY616" fmla="*/ 135989 h 231543"/>
                <a:gd name="connsiteX617" fmla="*/ 136865 w 229505"/>
                <a:gd name="connsiteY617" fmla="*/ 134408 h 231543"/>
                <a:gd name="connsiteX618" fmla="*/ 135474 w 229505"/>
                <a:gd name="connsiteY618" fmla="*/ 133455 h 231543"/>
                <a:gd name="connsiteX619" fmla="*/ 135094 w 229505"/>
                <a:gd name="connsiteY619" fmla="*/ 131331 h 231543"/>
                <a:gd name="connsiteX620" fmla="*/ 136779 w 229505"/>
                <a:gd name="connsiteY620" fmla="*/ 130464 h 231543"/>
                <a:gd name="connsiteX621" fmla="*/ 137503 w 229505"/>
                <a:gd name="connsiteY621" fmla="*/ 130378 h 231543"/>
                <a:gd name="connsiteX622" fmla="*/ 139237 w 229505"/>
                <a:gd name="connsiteY622" fmla="*/ 132960 h 231543"/>
                <a:gd name="connsiteX623" fmla="*/ 141942 w 229505"/>
                <a:gd name="connsiteY623" fmla="*/ 133255 h 231543"/>
                <a:gd name="connsiteX624" fmla="*/ 141732 w 229505"/>
                <a:gd name="connsiteY624" fmla="*/ 134846 h 231543"/>
                <a:gd name="connsiteX625" fmla="*/ 142590 w 229505"/>
                <a:gd name="connsiteY625" fmla="*/ 136893 h 231543"/>
                <a:gd name="connsiteX626" fmla="*/ 142885 w 229505"/>
                <a:gd name="connsiteY626" fmla="*/ 138160 h 231543"/>
                <a:gd name="connsiteX627" fmla="*/ 33204 w 229505"/>
                <a:gd name="connsiteY627" fmla="*/ 136627 h 231543"/>
                <a:gd name="connsiteX628" fmla="*/ 36024 w 229505"/>
                <a:gd name="connsiteY628" fmla="*/ 139903 h 231543"/>
                <a:gd name="connsiteX629" fmla="*/ 33747 w 229505"/>
                <a:gd name="connsiteY629" fmla="*/ 139094 h 231543"/>
                <a:gd name="connsiteX630" fmla="*/ 31328 w 229505"/>
                <a:gd name="connsiteY630" fmla="*/ 141361 h 231543"/>
                <a:gd name="connsiteX631" fmla="*/ 28261 w 229505"/>
                <a:gd name="connsiteY631" fmla="*/ 138713 h 231543"/>
                <a:gd name="connsiteX632" fmla="*/ 26423 w 229505"/>
                <a:gd name="connsiteY632" fmla="*/ 136027 h 231543"/>
                <a:gd name="connsiteX633" fmla="*/ 26013 w 229505"/>
                <a:gd name="connsiteY633" fmla="*/ 134950 h 231543"/>
                <a:gd name="connsiteX634" fmla="*/ 27937 w 229505"/>
                <a:gd name="connsiteY634" fmla="*/ 132436 h 231543"/>
                <a:gd name="connsiteX635" fmla="*/ 29728 w 229505"/>
                <a:gd name="connsiteY635" fmla="*/ 135017 h 231543"/>
                <a:gd name="connsiteX636" fmla="*/ 31899 w 229505"/>
                <a:gd name="connsiteY636" fmla="*/ 135427 h 231543"/>
                <a:gd name="connsiteX637" fmla="*/ 33204 w 229505"/>
                <a:gd name="connsiteY637" fmla="*/ 136627 h 231543"/>
                <a:gd name="connsiteX638" fmla="*/ 191881 w 229505"/>
                <a:gd name="connsiteY638" fmla="*/ 136417 h 231543"/>
                <a:gd name="connsiteX639" fmla="*/ 195168 w 229505"/>
                <a:gd name="connsiteY639" fmla="*/ 137531 h 231543"/>
                <a:gd name="connsiteX640" fmla="*/ 196082 w 229505"/>
                <a:gd name="connsiteY640" fmla="*/ 137408 h 231543"/>
                <a:gd name="connsiteX641" fmla="*/ 197634 w 229505"/>
                <a:gd name="connsiteY641" fmla="*/ 137808 h 231543"/>
                <a:gd name="connsiteX642" fmla="*/ 198044 w 229505"/>
                <a:gd name="connsiteY642" fmla="*/ 139846 h 231543"/>
                <a:gd name="connsiteX643" fmla="*/ 195987 w 229505"/>
                <a:gd name="connsiteY643" fmla="*/ 140141 h 231543"/>
                <a:gd name="connsiteX644" fmla="*/ 192424 w 229505"/>
                <a:gd name="connsiteY644" fmla="*/ 142018 h 231543"/>
                <a:gd name="connsiteX645" fmla="*/ 190910 w 229505"/>
                <a:gd name="connsiteY645" fmla="*/ 141608 h 231543"/>
                <a:gd name="connsiteX646" fmla="*/ 189100 w 229505"/>
                <a:gd name="connsiteY646" fmla="*/ 139980 h 231543"/>
                <a:gd name="connsiteX647" fmla="*/ 186224 w 229505"/>
                <a:gd name="connsiteY647" fmla="*/ 139808 h 231543"/>
                <a:gd name="connsiteX648" fmla="*/ 185376 w 229505"/>
                <a:gd name="connsiteY648" fmla="*/ 139360 h 231543"/>
                <a:gd name="connsiteX649" fmla="*/ 186919 w 229505"/>
                <a:gd name="connsiteY649" fmla="*/ 137436 h 231543"/>
                <a:gd name="connsiteX650" fmla="*/ 189719 w 229505"/>
                <a:gd name="connsiteY650" fmla="*/ 136465 h 231543"/>
                <a:gd name="connsiteX651" fmla="*/ 191881 w 229505"/>
                <a:gd name="connsiteY651" fmla="*/ 136417 h 231543"/>
                <a:gd name="connsiteX652" fmla="*/ 125892 w 229505"/>
                <a:gd name="connsiteY652" fmla="*/ 144304 h 231543"/>
                <a:gd name="connsiteX653" fmla="*/ 124102 w 229505"/>
                <a:gd name="connsiteY653" fmla="*/ 145933 h 231543"/>
                <a:gd name="connsiteX654" fmla="*/ 123797 w 229505"/>
                <a:gd name="connsiteY654" fmla="*/ 143485 h 231543"/>
                <a:gd name="connsiteX655" fmla="*/ 124949 w 229505"/>
                <a:gd name="connsiteY655" fmla="*/ 140903 h 231543"/>
                <a:gd name="connsiteX656" fmla="*/ 126521 w 229505"/>
                <a:gd name="connsiteY656" fmla="*/ 140741 h 231543"/>
                <a:gd name="connsiteX657" fmla="*/ 127102 w 229505"/>
                <a:gd name="connsiteY657" fmla="*/ 141875 h 231543"/>
                <a:gd name="connsiteX658" fmla="*/ 125892 w 229505"/>
                <a:gd name="connsiteY658" fmla="*/ 144304 h 231543"/>
                <a:gd name="connsiteX659" fmla="*/ 149952 w 229505"/>
                <a:gd name="connsiteY659" fmla="*/ 143542 h 231543"/>
                <a:gd name="connsiteX660" fmla="*/ 148962 w 229505"/>
                <a:gd name="connsiteY660" fmla="*/ 145713 h 231543"/>
                <a:gd name="connsiteX661" fmla="*/ 147295 w 229505"/>
                <a:gd name="connsiteY661" fmla="*/ 145380 h 231543"/>
                <a:gd name="connsiteX662" fmla="*/ 144504 w 229505"/>
                <a:gd name="connsiteY662" fmla="*/ 143047 h 231543"/>
                <a:gd name="connsiteX663" fmla="*/ 143552 w 229505"/>
                <a:gd name="connsiteY663" fmla="*/ 141989 h 231543"/>
                <a:gd name="connsiteX664" fmla="*/ 143028 w 229505"/>
                <a:gd name="connsiteY664" fmla="*/ 140951 h 231543"/>
                <a:gd name="connsiteX665" fmla="*/ 144171 w 229505"/>
                <a:gd name="connsiteY665" fmla="*/ 140827 h 231543"/>
                <a:gd name="connsiteX666" fmla="*/ 145571 w 229505"/>
                <a:gd name="connsiteY666" fmla="*/ 141932 h 231543"/>
                <a:gd name="connsiteX667" fmla="*/ 149143 w 229505"/>
                <a:gd name="connsiteY667" fmla="*/ 142513 h 231543"/>
                <a:gd name="connsiteX668" fmla="*/ 149952 w 229505"/>
                <a:gd name="connsiteY668" fmla="*/ 143542 h 231543"/>
                <a:gd name="connsiteX669" fmla="*/ 170622 w 229505"/>
                <a:gd name="connsiteY669" fmla="*/ 145904 h 231543"/>
                <a:gd name="connsiteX670" fmla="*/ 169374 w 229505"/>
                <a:gd name="connsiteY670" fmla="*/ 146037 h 231543"/>
                <a:gd name="connsiteX671" fmla="*/ 169755 w 229505"/>
                <a:gd name="connsiteY671" fmla="*/ 144694 h 231543"/>
                <a:gd name="connsiteX672" fmla="*/ 172145 w 229505"/>
                <a:gd name="connsiteY672" fmla="*/ 142361 h 231543"/>
                <a:gd name="connsiteX673" fmla="*/ 175499 w 229505"/>
                <a:gd name="connsiteY673" fmla="*/ 142247 h 231543"/>
                <a:gd name="connsiteX674" fmla="*/ 178546 w 229505"/>
                <a:gd name="connsiteY674" fmla="*/ 141075 h 231543"/>
                <a:gd name="connsiteX675" fmla="*/ 179232 w 229505"/>
                <a:gd name="connsiteY675" fmla="*/ 141037 h 231543"/>
                <a:gd name="connsiteX676" fmla="*/ 177775 w 229505"/>
                <a:gd name="connsiteY676" fmla="*/ 142875 h 231543"/>
                <a:gd name="connsiteX677" fmla="*/ 175317 w 229505"/>
                <a:gd name="connsiteY677" fmla="*/ 144590 h 231543"/>
                <a:gd name="connsiteX678" fmla="*/ 170622 w 229505"/>
                <a:gd name="connsiteY678" fmla="*/ 145904 h 231543"/>
                <a:gd name="connsiteX679" fmla="*/ 153877 w 229505"/>
                <a:gd name="connsiteY679" fmla="*/ 149600 h 231543"/>
                <a:gd name="connsiteX680" fmla="*/ 151315 w 229505"/>
                <a:gd name="connsiteY680" fmla="*/ 149809 h 231543"/>
                <a:gd name="connsiteX681" fmla="*/ 151467 w 229505"/>
                <a:gd name="connsiteY681" fmla="*/ 147247 h 231543"/>
                <a:gd name="connsiteX682" fmla="*/ 152419 w 229505"/>
                <a:gd name="connsiteY682" fmla="*/ 146580 h 231543"/>
                <a:gd name="connsiteX683" fmla="*/ 155486 w 229505"/>
                <a:gd name="connsiteY683" fmla="*/ 147857 h 231543"/>
                <a:gd name="connsiteX684" fmla="*/ 155334 w 229505"/>
                <a:gd name="connsiteY684" fmla="*/ 148657 h 231543"/>
                <a:gd name="connsiteX685" fmla="*/ 153877 w 229505"/>
                <a:gd name="connsiteY685" fmla="*/ 149600 h 231543"/>
                <a:gd name="connsiteX686" fmla="*/ 141590 w 229505"/>
                <a:gd name="connsiteY686" fmla="*/ 147104 h 231543"/>
                <a:gd name="connsiteX687" fmla="*/ 141456 w 229505"/>
                <a:gd name="connsiteY687" fmla="*/ 150581 h 231543"/>
                <a:gd name="connsiteX688" fmla="*/ 140751 w 229505"/>
                <a:gd name="connsiteY688" fmla="*/ 150552 h 231543"/>
                <a:gd name="connsiteX689" fmla="*/ 140341 w 229505"/>
                <a:gd name="connsiteY689" fmla="*/ 150019 h 231543"/>
                <a:gd name="connsiteX690" fmla="*/ 140322 w 229505"/>
                <a:gd name="connsiteY690" fmla="*/ 148685 h 231543"/>
                <a:gd name="connsiteX691" fmla="*/ 140627 w 229505"/>
                <a:gd name="connsiteY691" fmla="*/ 146590 h 231543"/>
                <a:gd name="connsiteX692" fmla="*/ 141590 w 229505"/>
                <a:gd name="connsiteY692" fmla="*/ 147104 h 231543"/>
                <a:gd name="connsiteX693" fmla="*/ 128026 w 229505"/>
                <a:gd name="connsiteY693" fmla="*/ 152105 h 231543"/>
                <a:gd name="connsiteX694" fmla="*/ 126502 w 229505"/>
                <a:gd name="connsiteY694" fmla="*/ 153124 h 231543"/>
                <a:gd name="connsiteX695" fmla="*/ 127007 w 229505"/>
                <a:gd name="connsiteY695" fmla="*/ 150800 h 231543"/>
                <a:gd name="connsiteX696" fmla="*/ 126254 w 229505"/>
                <a:gd name="connsiteY696" fmla="*/ 149590 h 231543"/>
                <a:gd name="connsiteX697" fmla="*/ 126921 w 229505"/>
                <a:gd name="connsiteY697" fmla="*/ 148562 h 231543"/>
                <a:gd name="connsiteX698" fmla="*/ 127902 w 229505"/>
                <a:gd name="connsiteY698" fmla="*/ 147733 h 231543"/>
                <a:gd name="connsiteX699" fmla="*/ 128359 w 229505"/>
                <a:gd name="connsiteY699" fmla="*/ 148590 h 231543"/>
                <a:gd name="connsiteX700" fmla="*/ 129236 w 229505"/>
                <a:gd name="connsiteY700" fmla="*/ 149981 h 231543"/>
                <a:gd name="connsiteX701" fmla="*/ 128026 w 229505"/>
                <a:gd name="connsiteY701" fmla="*/ 152105 h 231543"/>
                <a:gd name="connsiteX702" fmla="*/ 130369 w 229505"/>
                <a:gd name="connsiteY702" fmla="*/ 159439 h 231543"/>
                <a:gd name="connsiteX703" fmla="*/ 129378 w 229505"/>
                <a:gd name="connsiteY703" fmla="*/ 159944 h 231543"/>
                <a:gd name="connsiteX704" fmla="*/ 127731 w 229505"/>
                <a:gd name="connsiteY704" fmla="*/ 159210 h 231543"/>
                <a:gd name="connsiteX705" fmla="*/ 128169 w 229505"/>
                <a:gd name="connsiteY705" fmla="*/ 157382 h 231543"/>
                <a:gd name="connsiteX706" fmla="*/ 129312 w 229505"/>
                <a:gd name="connsiteY706" fmla="*/ 156601 h 231543"/>
                <a:gd name="connsiteX707" fmla="*/ 130521 w 229505"/>
                <a:gd name="connsiteY707" fmla="*/ 157201 h 231543"/>
                <a:gd name="connsiteX708" fmla="*/ 130702 w 229505"/>
                <a:gd name="connsiteY708" fmla="*/ 158029 h 231543"/>
                <a:gd name="connsiteX709" fmla="*/ 130369 w 229505"/>
                <a:gd name="connsiteY709" fmla="*/ 159439 h 231543"/>
                <a:gd name="connsiteX710" fmla="*/ 157705 w 229505"/>
                <a:gd name="connsiteY710" fmla="*/ 164697 h 231543"/>
                <a:gd name="connsiteX711" fmla="*/ 155324 w 229505"/>
                <a:gd name="connsiteY711" fmla="*/ 165954 h 231543"/>
                <a:gd name="connsiteX712" fmla="*/ 153696 w 229505"/>
                <a:gd name="connsiteY712" fmla="*/ 164135 h 231543"/>
                <a:gd name="connsiteX713" fmla="*/ 152791 w 229505"/>
                <a:gd name="connsiteY713" fmla="*/ 161268 h 231543"/>
                <a:gd name="connsiteX714" fmla="*/ 157153 w 229505"/>
                <a:gd name="connsiteY714" fmla="*/ 157058 h 231543"/>
                <a:gd name="connsiteX715" fmla="*/ 158201 w 229505"/>
                <a:gd name="connsiteY715" fmla="*/ 157439 h 231543"/>
                <a:gd name="connsiteX716" fmla="*/ 158830 w 229505"/>
                <a:gd name="connsiteY716" fmla="*/ 158525 h 231543"/>
                <a:gd name="connsiteX717" fmla="*/ 158735 w 229505"/>
                <a:gd name="connsiteY717" fmla="*/ 162306 h 231543"/>
                <a:gd name="connsiteX718" fmla="*/ 157705 w 229505"/>
                <a:gd name="connsiteY718" fmla="*/ 164697 h 231543"/>
                <a:gd name="connsiteX719" fmla="*/ 150572 w 229505"/>
                <a:gd name="connsiteY719" fmla="*/ 161335 h 231543"/>
                <a:gd name="connsiteX720" fmla="*/ 148447 w 229505"/>
                <a:gd name="connsiteY720" fmla="*/ 163906 h 231543"/>
                <a:gd name="connsiteX721" fmla="*/ 146676 w 229505"/>
                <a:gd name="connsiteY721" fmla="*/ 163630 h 231543"/>
                <a:gd name="connsiteX722" fmla="*/ 145933 w 229505"/>
                <a:gd name="connsiteY722" fmla="*/ 162449 h 231543"/>
                <a:gd name="connsiteX723" fmla="*/ 147028 w 229505"/>
                <a:gd name="connsiteY723" fmla="*/ 160030 h 231543"/>
                <a:gd name="connsiteX724" fmla="*/ 149400 w 229505"/>
                <a:gd name="connsiteY724" fmla="*/ 158658 h 231543"/>
                <a:gd name="connsiteX725" fmla="*/ 150476 w 229505"/>
                <a:gd name="connsiteY725" fmla="*/ 159020 h 231543"/>
                <a:gd name="connsiteX726" fmla="*/ 150372 w 229505"/>
                <a:gd name="connsiteY726" fmla="*/ 160811 h 231543"/>
                <a:gd name="connsiteX727" fmla="*/ 150572 w 229505"/>
                <a:gd name="connsiteY727" fmla="*/ 161335 h 231543"/>
                <a:gd name="connsiteX728" fmla="*/ 197101 w 229505"/>
                <a:gd name="connsiteY728" fmla="*/ 164973 h 231543"/>
                <a:gd name="connsiteX729" fmla="*/ 194434 w 229505"/>
                <a:gd name="connsiteY729" fmla="*/ 165430 h 231543"/>
                <a:gd name="connsiteX730" fmla="*/ 194910 w 229505"/>
                <a:gd name="connsiteY730" fmla="*/ 162782 h 231543"/>
                <a:gd name="connsiteX731" fmla="*/ 193606 w 229505"/>
                <a:gd name="connsiteY731" fmla="*/ 160696 h 231543"/>
                <a:gd name="connsiteX732" fmla="*/ 195682 w 229505"/>
                <a:gd name="connsiteY732" fmla="*/ 161868 h 231543"/>
                <a:gd name="connsiteX733" fmla="*/ 197006 w 229505"/>
                <a:gd name="connsiteY733" fmla="*/ 163278 h 231543"/>
                <a:gd name="connsiteX734" fmla="*/ 197654 w 229505"/>
                <a:gd name="connsiteY734" fmla="*/ 163544 h 231543"/>
                <a:gd name="connsiteX735" fmla="*/ 197501 w 229505"/>
                <a:gd name="connsiteY735" fmla="*/ 164392 h 231543"/>
                <a:gd name="connsiteX736" fmla="*/ 197101 w 229505"/>
                <a:gd name="connsiteY736" fmla="*/ 164973 h 231543"/>
                <a:gd name="connsiteX737" fmla="*/ 135655 w 229505"/>
                <a:gd name="connsiteY737" fmla="*/ 166230 h 231543"/>
                <a:gd name="connsiteX738" fmla="*/ 135170 w 229505"/>
                <a:gd name="connsiteY738" fmla="*/ 166373 h 231543"/>
                <a:gd name="connsiteX739" fmla="*/ 134464 w 229505"/>
                <a:gd name="connsiteY739" fmla="*/ 164973 h 231543"/>
                <a:gd name="connsiteX740" fmla="*/ 134322 w 229505"/>
                <a:gd name="connsiteY740" fmla="*/ 163668 h 231543"/>
                <a:gd name="connsiteX741" fmla="*/ 134598 w 229505"/>
                <a:gd name="connsiteY741" fmla="*/ 162897 h 231543"/>
                <a:gd name="connsiteX742" fmla="*/ 135522 w 229505"/>
                <a:gd name="connsiteY742" fmla="*/ 162821 h 231543"/>
                <a:gd name="connsiteX743" fmla="*/ 136779 w 229505"/>
                <a:gd name="connsiteY743" fmla="*/ 165306 h 231543"/>
                <a:gd name="connsiteX744" fmla="*/ 135655 w 229505"/>
                <a:gd name="connsiteY744" fmla="*/ 166230 h 231543"/>
                <a:gd name="connsiteX745" fmla="*/ 166078 w 229505"/>
                <a:gd name="connsiteY745" fmla="*/ 170583 h 231543"/>
                <a:gd name="connsiteX746" fmla="*/ 163716 w 229505"/>
                <a:gd name="connsiteY746" fmla="*/ 170860 h 231543"/>
                <a:gd name="connsiteX747" fmla="*/ 162963 w 229505"/>
                <a:gd name="connsiteY747" fmla="*/ 170612 h 231543"/>
                <a:gd name="connsiteX748" fmla="*/ 164402 w 229505"/>
                <a:gd name="connsiteY748" fmla="*/ 170041 h 231543"/>
                <a:gd name="connsiteX749" fmla="*/ 165402 w 229505"/>
                <a:gd name="connsiteY749" fmla="*/ 169431 h 231543"/>
                <a:gd name="connsiteX750" fmla="*/ 165888 w 229505"/>
                <a:gd name="connsiteY750" fmla="*/ 168697 h 231543"/>
                <a:gd name="connsiteX751" fmla="*/ 168279 w 229505"/>
                <a:gd name="connsiteY751" fmla="*/ 167402 h 231543"/>
                <a:gd name="connsiteX752" fmla="*/ 169850 w 229505"/>
                <a:gd name="connsiteY752" fmla="*/ 165706 h 231543"/>
                <a:gd name="connsiteX753" fmla="*/ 171555 w 229505"/>
                <a:gd name="connsiteY753" fmla="*/ 166859 h 231543"/>
                <a:gd name="connsiteX754" fmla="*/ 169422 w 229505"/>
                <a:gd name="connsiteY754" fmla="*/ 167630 h 231543"/>
                <a:gd name="connsiteX755" fmla="*/ 166078 w 229505"/>
                <a:gd name="connsiteY755" fmla="*/ 170583 h 231543"/>
                <a:gd name="connsiteX756" fmla="*/ 195225 w 229505"/>
                <a:gd name="connsiteY756" fmla="*/ 172688 h 231543"/>
                <a:gd name="connsiteX757" fmla="*/ 194396 w 229505"/>
                <a:gd name="connsiteY757" fmla="*/ 172726 h 231543"/>
                <a:gd name="connsiteX758" fmla="*/ 195386 w 229505"/>
                <a:gd name="connsiteY758" fmla="*/ 171126 h 231543"/>
                <a:gd name="connsiteX759" fmla="*/ 198206 w 229505"/>
                <a:gd name="connsiteY759" fmla="*/ 168926 h 231543"/>
                <a:gd name="connsiteX760" fmla="*/ 202311 w 229505"/>
                <a:gd name="connsiteY760" fmla="*/ 166983 h 231543"/>
                <a:gd name="connsiteX761" fmla="*/ 203673 w 229505"/>
                <a:gd name="connsiteY761" fmla="*/ 166773 h 231543"/>
                <a:gd name="connsiteX762" fmla="*/ 205988 w 229505"/>
                <a:gd name="connsiteY762" fmla="*/ 167973 h 231543"/>
                <a:gd name="connsiteX763" fmla="*/ 201740 w 229505"/>
                <a:gd name="connsiteY763" fmla="*/ 169964 h 231543"/>
                <a:gd name="connsiteX764" fmla="*/ 200606 w 229505"/>
                <a:gd name="connsiteY764" fmla="*/ 171012 h 231543"/>
                <a:gd name="connsiteX765" fmla="*/ 197472 w 229505"/>
                <a:gd name="connsiteY765" fmla="*/ 171240 h 231543"/>
                <a:gd name="connsiteX766" fmla="*/ 195225 w 229505"/>
                <a:gd name="connsiteY766" fmla="*/ 172688 h 231543"/>
                <a:gd name="connsiteX767" fmla="*/ 153314 w 229505"/>
                <a:gd name="connsiteY767" fmla="*/ 174450 h 231543"/>
                <a:gd name="connsiteX768" fmla="*/ 152848 w 229505"/>
                <a:gd name="connsiteY768" fmla="*/ 174974 h 231543"/>
                <a:gd name="connsiteX769" fmla="*/ 150829 w 229505"/>
                <a:gd name="connsiteY769" fmla="*/ 172879 h 231543"/>
                <a:gd name="connsiteX770" fmla="*/ 150057 w 229505"/>
                <a:gd name="connsiteY770" fmla="*/ 171660 h 231543"/>
                <a:gd name="connsiteX771" fmla="*/ 151019 w 229505"/>
                <a:gd name="connsiteY771" fmla="*/ 170640 h 231543"/>
                <a:gd name="connsiteX772" fmla="*/ 153991 w 229505"/>
                <a:gd name="connsiteY772" fmla="*/ 173022 h 231543"/>
                <a:gd name="connsiteX773" fmla="*/ 153314 w 229505"/>
                <a:gd name="connsiteY773" fmla="*/ 174450 h 231543"/>
                <a:gd name="connsiteX774" fmla="*/ 130702 w 229505"/>
                <a:gd name="connsiteY774" fmla="*/ 171469 h 231543"/>
                <a:gd name="connsiteX775" fmla="*/ 130750 w 229505"/>
                <a:gd name="connsiteY775" fmla="*/ 173422 h 231543"/>
                <a:gd name="connsiteX776" fmla="*/ 130559 w 229505"/>
                <a:gd name="connsiteY776" fmla="*/ 174117 h 231543"/>
                <a:gd name="connsiteX777" fmla="*/ 125092 w 229505"/>
                <a:gd name="connsiteY777" fmla="*/ 175060 h 231543"/>
                <a:gd name="connsiteX778" fmla="*/ 125597 w 229505"/>
                <a:gd name="connsiteY778" fmla="*/ 172822 h 231543"/>
                <a:gd name="connsiteX779" fmla="*/ 125930 w 229505"/>
                <a:gd name="connsiteY779" fmla="*/ 172117 h 231543"/>
                <a:gd name="connsiteX780" fmla="*/ 127740 w 229505"/>
                <a:gd name="connsiteY780" fmla="*/ 173155 h 231543"/>
                <a:gd name="connsiteX781" fmla="*/ 128407 w 229505"/>
                <a:gd name="connsiteY781" fmla="*/ 172622 h 231543"/>
                <a:gd name="connsiteX782" fmla="*/ 128674 w 229505"/>
                <a:gd name="connsiteY782" fmla="*/ 172012 h 231543"/>
                <a:gd name="connsiteX783" fmla="*/ 130702 w 229505"/>
                <a:gd name="connsiteY783" fmla="*/ 171469 h 231543"/>
                <a:gd name="connsiteX784" fmla="*/ 219570 w 229505"/>
                <a:gd name="connsiteY784" fmla="*/ 178432 h 231543"/>
                <a:gd name="connsiteX785" fmla="*/ 218990 w 229505"/>
                <a:gd name="connsiteY785" fmla="*/ 178956 h 231543"/>
                <a:gd name="connsiteX786" fmla="*/ 217647 w 229505"/>
                <a:gd name="connsiteY786" fmla="*/ 177441 h 231543"/>
                <a:gd name="connsiteX787" fmla="*/ 217580 w 229505"/>
                <a:gd name="connsiteY787" fmla="*/ 176651 h 231543"/>
                <a:gd name="connsiteX788" fmla="*/ 218951 w 229505"/>
                <a:gd name="connsiteY788" fmla="*/ 175746 h 231543"/>
                <a:gd name="connsiteX789" fmla="*/ 219637 w 229505"/>
                <a:gd name="connsiteY789" fmla="*/ 175536 h 231543"/>
                <a:gd name="connsiteX790" fmla="*/ 219837 w 229505"/>
                <a:gd name="connsiteY790" fmla="*/ 176156 h 231543"/>
                <a:gd name="connsiteX791" fmla="*/ 219818 w 229505"/>
                <a:gd name="connsiteY791" fmla="*/ 177479 h 231543"/>
                <a:gd name="connsiteX792" fmla="*/ 219570 w 229505"/>
                <a:gd name="connsiteY792" fmla="*/ 178432 h 231543"/>
                <a:gd name="connsiteX793" fmla="*/ 182156 w 229505"/>
                <a:gd name="connsiteY793" fmla="*/ 177394 h 231543"/>
                <a:gd name="connsiteX794" fmla="*/ 180042 w 229505"/>
                <a:gd name="connsiteY794" fmla="*/ 178184 h 231543"/>
                <a:gd name="connsiteX795" fmla="*/ 178699 w 229505"/>
                <a:gd name="connsiteY795" fmla="*/ 179851 h 231543"/>
                <a:gd name="connsiteX796" fmla="*/ 177061 w 229505"/>
                <a:gd name="connsiteY796" fmla="*/ 178670 h 231543"/>
                <a:gd name="connsiteX797" fmla="*/ 177061 w 229505"/>
                <a:gd name="connsiteY797" fmla="*/ 177070 h 231543"/>
                <a:gd name="connsiteX798" fmla="*/ 178851 w 229505"/>
                <a:gd name="connsiteY798" fmla="*/ 177565 h 231543"/>
                <a:gd name="connsiteX799" fmla="*/ 180108 w 229505"/>
                <a:gd name="connsiteY799" fmla="*/ 176660 h 231543"/>
                <a:gd name="connsiteX800" fmla="*/ 179727 w 229505"/>
                <a:gd name="connsiteY800" fmla="*/ 175641 h 231543"/>
                <a:gd name="connsiteX801" fmla="*/ 181099 w 229505"/>
                <a:gd name="connsiteY801" fmla="*/ 176117 h 231543"/>
                <a:gd name="connsiteX802" fmla="*/ 182156 w 229505"/>
                <a:gd name="connsiteY802" fmla="*/ 177394 h 231543"/>
                <a:gd name="connsiteX803" fmla="*/ 156010 w 229505"/>
                <a:gd name="connsiteY803" fmla="*/ 183775 h 231543"/>
                <a:gd name="connsiteX804" fmla="*/ 154772 w 229505"/>
                <a:gd name="connsiteY804" fmla="*/ 185519 h 231543"/>
                <a:gd name="connsiteX805" fmla="*/ 153019 w 229505"/>
                <a:gd name="connsiteY805" fmla="*/ 184899 h 231543"/>
                <a:gd name="connsiteX806" fmla="*/ 153734 w 229505"/>
                <a:gd name="connsiteY806" fmla="*/ 184242 h 231543"/>
                <a:gd name="connsiteX807" fmla="*/ 154153 w 229505"/>
                <a:gd name="connsiteY807" fmla="*/ 183385 h 231543"/>
                <a:gd name="connsiteX808" fmla="*/ 154200 w 229505"/>
                <a:gd name="connsiteY808" fmla="*/ 182147 h 231543"/>
                <a:gd name="connsiteX809" fmla="*/ 153724 w 229505"/>
                <a:gd name="connsiteY809" fmla="*/ 181385 h 231543"/>
                <a:gd name="connsiteX810" fmla="*/ 154048 w 229505"/>
                <a:gd name="connsiteY810" fmla="*/ 181108 h 231543"/>
                <a:gd name="connsiteX811" fmla="*/ 155610 w 229505"/>
                <a:gd name="connsiteY811" fmla="*/ 182385 h 231543"/>
                <a:gd name="connsiteX812" fmla="*/ 156010 w 229505"/>
                <a:gd name="connsiteY812" fmla="*/ 183775 h 231543"/>
                <a:gd name="connsiteX813" fmla="*/ 219104 w 229505"/>
                <a:gd name="connsiteY813" fmla="*/ 199044 h 231543"/>
                <a:gd name="connsiteX814" fmla="*/ 217180 w 229505"/>
                <a:gd name="connsiteY814" fmla="*/ 199739 h 231543"/>
                <a:gd name="connsiteX815" fmla="*/ 216513 w 229505"/>
                <a:gd name="connsiteY815" fmla="*/ 199654 h 231543"/>
                <a:gd name="connsiteX816" fmla="*/ 215713 w 229505"/>
                <a:gd name="connsiteY816" fmla="*/ 198130 h 231543"/>
                <a:gd name="connsiteX817" fmla="*/ 216827 w 229505"/>
                <a:gd name="connsiteY817" fmla="*/ 194453 h 231543"/>
                <a:gd name="connsiteX818" fmla="*/ 215798 w 229505"/>
                <a:gd name="connsiteY818" fmla="*/ 192081 h 231543"/>
                <a:gd name="connsiteX819" fmla="*/ 215732 w 229505"/>
                <a:gd name="connsiteY819" fmla="*/ 191081 h 231543"/>
                <a:gd name="connsiteX820" fmla="*/ 217294 w 229505"/>
                <a:gd name="connsiteY820" fmla="*/ 189690 h 231543"/>
                <a:gd name="connsiteX821" fmla="*/ 218380 w 229505"/>
                <a:gd name="connsiteY821" fmla="*/ 187605 h 231543"/>
                <a:gd name="connsiteX822" fmla="*/ 221028 w 229505"/>
                <a:gd name="connsiteY822" fmla="*/ 185347 h 231543"/>
                <a:gd name="connsiteX823" fmla="*/ 227895 w 229505"/>
                <a:gd name="connsiteY823" fmla="*/ 182671 h 231543"/>
                <a:gd name="connsiteX824" fmla="*/ 229505 w 229505"/>
                <a:gd name="connsiteY824" fmla="*/ 182423 h 231543"/>
                <a:gd name="connsiteX825" fmla="*/ 229458 w 229505"/>
                <a:gd name="connsiteY825" fmla="*/ 184518 h 231543"/>
                <a:gd name="connsiteX826" fmla="*/ 227162 w 229505"/>
                <a:gd name="connsiteY826" fmla="*/ 189814 h 231543"/>
                <a:gd name="connsiteX827" fmla="*/ 225123 w 229505"/>
                <a:gd name="connsiteY827" fmla="*/ 192462 h 231543"/>
                <a:gd name="connsiteX828" fmla="*/ 225666 w 229505"/>
                <a:gd name="connsiteY828" fmla="*/ 194577 h 231543"/>
                <a:gd name="connsiteX829" fmla="*/ 222399 w 229505"/>
                <a:gd name="connsiteY829" fmla="*/ 195167 h 231543"/>
                <a:gd name="connsiteX830" fmla="*/ 219104 w 229505"/>
                <a:gd name="connsiteY830" fmla="*/ 199044 h 231543"/>
                <a:gd name="connsiteX831" fmla="*/ 91088 w 229505"/>
                <a:gd name="connsiteY831" fmla="*/ 190472 h 231543"/>
                <a:gd name="connsiteX832" fmla="*/ 90774 w 229505"/>
                <a:gd name="connsiteY832" fmla="*/ 191900 h 231543"/>
                <a:gd name="connsiteX833" fmla="*/ 88021 w 229505"/>
                <a:gd name="connsiteY833" fmla="*/ 190919 h 231543"/>
                <a:gd name="connsiteX834" fmla="*/ 87259 w 229505"/>
                <a:gd name="connsiteY834" fmla="*/ 189443 h 231543"/>
                <a:gd name="connsiteX835" fmla="*/ 87116 w 229505"/>
                <a:gd name="connsiteY835" fmla="*/ 186166 h 231543"/>
                <a:gd name="connsiteX836" fmla="*/ 87840 w 229505"/>
                <a:gd name="connsiteY836" fmla="*/ 184566 h 231543"/>
                <a:gd name="connsiteX837" fmla="*/ 88316 w 229505"/>
                <a:gd name="connsiteY837" fmla="*/ 184061 h 231543"/>
                <a:gd name="connsiteX838" fmla="*/ 89583 w 229505"/>
                <a:gd name="connsiteY838" fmla="*/ 185909 h 231543"/>
                <a:gd name="connsiteX839" fmla="*/ 92240 w 229505"/>
                <a:gd name="connsiteY839" fmla="*/ 188605 h 231543"/>
                <a:gd name="connsiteX840" fmla="*/ 91088 w 229505"/>
                <a:gd name="connsiteY840" fmla="*/ 190472 h 231543"/>
                <a:gd name="connsiteX841" fmla="*/ 201282 w 229505"/>
                <a:gd name="connsiteY841" fmla="*/ 214256 h 231543"/>
                <a:gd name="connsiteX842" fmla="*/ 200263 w 229505"/>
                <a:gd name="connsiteY842" fmla="*/ 216094 h 231543"/>
                <a:gd name="connsiteX843" fmla="*/ 199225 w 229505"/>
                <a:gd name="connsiteY843" fmla="*/ 214541 h 231543"/>
                <a:gd name="connsiteX844" fmla="*/ 199673 w 229505"/>
                <a:gd name="connsiteY844" fmla="*/ 212750 h 231543"/>
                <a:gd name="connsiteX845" fmla="*/ 198473 w 229505"/>
                <a:gd name="connsiteY845" fmla="*/ 209921 h 231543"/>
                <a:gd name="connsiteX846" fmla="*/ 200749 w 229505"/>
                <a:gd name="connsiteY846" fmla="*/ 205712 h 231543"/>
                <a:gd name="connsiteX847" fmla="*/ 200797 w 229505"/>
                <a:gd name="connsiteY847" fmla="*/ 203664 h 231543"/>
                <a:gd name="connsiteX848" fmla="*/ 202540 w 229505"/>
                <a:gd name="connsiteY848" fmla="*/ 202616 h 231543"/>
                <a:gd name="connsiteX849" fmla="*/ 202112 w 229505"/>
                <a:gd name="connsiteY849" fmla="*/ 206093 h 231543"/>
                <a:gd name="connsiteX850" fmla="*/ 200778 w 229505"/>
                <a:gd name="connsiteY850" fmla="*/ 208874 h 231543"/>
                <a:gd name="connsiteX851" fmla="*/ 202159 w 229505"/>
                <a:gd name="connsiteY851" fmla="*/ 211188 h 231543"/>
                <a:gd name="connsiteX852" fmla="*/ 202816 w 229505"/>
                <a:gd name="connsiteY852" fmla="*/ 213817 h 231543"/>
                <a:gd name="connsiteX853" fmla="*/ 201282 w 229505"/>
                <a:gd name="connsiteY853" fmla="*/ 214256 h 231543"/>
                <a:gd name="connsiteX854" fmla="*/ 112433 w 229505"/>
                <a:gd name="connsiteY854" fmla="*/ 211960 h 231543"/>
                <a:gd name="connsiteX855" fmla="*/ 114262 w 229505"/>
                <a:gd name="connsiteY855" fmla="*/ 212198 h 231543"/>
                <a:gd name="connsiteX856" fmla="*/ 116739 w 229505"/>
                <a:gd name="connsiteY856" fmla="*/ 212160 h 231543"/>
                <a:gd name="connsiteX857" fmla="*/ 117300 w 229505"/>
                <a:gd name="connsiteY857" fmla="*/ 211960 h 231543"/>
                <a:gd name="connsiteX858" fmla="*/ 118882 w 229505"/>
                <a:gd name="connsiteY858" fmla="*/ 210045 h 231543"/>
                <a:gd name="connsiteX859" fmla="*/ 120825 w 229505"/>
                <a:gd name="connsiteY859" fmla="*/ 210007 h 231543"/>
                <a:gd name="connsiteX860" fmla="*/ 121673 w 229505"/>
                <a:gd name="connsiteY860" fmla="*/ 211893 h 231543"/>
                <a:gd name="connsiteX861" fmla="*/ 119701 w 229505"/>
                <a:gd name="connsiteY861" fmla="*/ 212760 h 231543"/>
                <a:gd name="connsiteX862" fmla="*/ 119301 w 229505"/>
                <a:gd name="connsiteY862" fmla="*/ 213255 h 231543"/>
                <a:gd name="connsiteX863" fmla="*/ 119682 w 229505"/>
                <a:gd name="connsiteY863" fmla="*/ 213655 h 231543"/>
                <a:gd name="connsiteX864" fmla="*/ 121158 w 229505"/>
                <a:gd name="connsiteY864" fmla="*/ 214446 h 231543"/>
                <a:gd name="connsiteX865" fmla="*/ 123216 w 229505"/>
                <a:gd name="connsiteY865" fmla="*/ 214151 h 231543"/>
                <a:gd name="connsiteX866" fmla="*/ 123273 w 229505"/>
                <a:gd name="connsiteY866" fmla="*/ 215637 h 231543"/>
                <a:gd name="connsiteX867" fmla="*/ 123730 w 229505"/>
                <a:gd name="connsiteY867" fmla="*/ 216846 h 231543"/>
                <a:gd name="connsiteX868" fmla="*/ 124739 w 229505"/>
                <a:gd name="connsiteY868" fmla="*/ 217570 h 231543"/>
                <a:gd name="connsiteX869" fmla="*/ 125845 w 229505"/>
                <a:gd name="connsiteY869" fmla="*/ 217713 h 231543"/>
                <a:gd name="connsiteX870" fmla="*/ 128274 w 229505"/>
                <a:gd name="connsiteY870" fmla="*/ 217504 h 231543"/>
                <a:gd name="connsiteX871" fmla="*/ 130664 w 229505"/>
                <a:gd name="connsiteY871" fmla="*/ 217027 h 231543"/>
                <a:gd name="connsiteX872" fmla="*/ 133131 w 229505"/>
                <a:gd name="connsiteY872" fmla="*/ 216075 h 231543"/>
                <a:gd name="connsiteX873" fmla="*/ 135655 w 229505"/>
                <a:gd name="connsiteY873" fmla="*/ 215589 h 231543"/>
                <a:gd name="connsiteX874" fmla="*/ 143190 w 229505"/>
                <a:gd name="connsiteY874" fmla="*/ 216075 h 231543"/>
                <a:gd name="connsiteX875" fmla="*/ 145895 w 229505"/>
                <a:gd name="connsiteY875" fmla="*/ 218132 h 231543"/>
                <a:gd name="connsiteX876" fmla="*/ 151048 w 229505"/>
                <a:gd name="connsiteY876" fmla="*/ 218380 h 231543"/>
                <a:gd name="connsiteX877" fmla="*/ 155829 w 229505"/>
                <a:gd name="connsiteY877" fmla="*/ 219466 h 231543"/>
                <a:gd name="connsiteX878" fmla="*/ 158344 w 229505"/>
                <a:gd name="connsiteY878" fmla="*/ 218751 h 231543"/>
                <a:gd name="connsiteX879" fmla="*/ 162639 w 229505"/>
                <a:gd name="connsiteY879" fmla="*/ 218084 h 231543"/>
                <a:gd name="connsiteX880" fmla="*/ 163326 w 229505"/>
                <a:gd name="connsiteY880" fmla="*/ 218808 h 231543"/>
                <a:gd name="connsiteX881" fmla="*/ 162773 w 229505"/>
                <a:gd name="connsiteY881" fmla="*/ 223447 h 231543"/>
                <a:gd name="connsiteX882" fmla="*/ 163039 w 229505"/>
                <a:gd name="connsiteY882" fmla="*/ 224800 h 231543"/>
                <a:gd name="connsiteX883" fmla="*/ 164278 w 229505"/>
                <a:gd name="connsiteY883" fmla="*/ 225447 h 231543"/>
                <a:gd name="connsiteX884" fmla="*/ 165497 w 229505"/>
                <a:gd name="connsiteY884" fmla="*/ 225133 h 231543"/>
                <a:gd name="connsiteX885" fmla="*/ 167002 w 229505"/>
                <a:gd name="connsiteY885" fmla="*/ 223609 h 231543"/>
                <a:gd name="connsiteX886" fmla="*/ 170602 w 229505"/>
                <a:gd name="connsiteY886" fmla="*/ 222437 h 231543"/>
                <a:gd name="connsiteX887" fmla="*/ 174336 w 229505"/>
                <a:gd name="connsiteY887" fmla="*/ 222437 h 231543"/>
                <a:gd name="connsiteX888" fmla="*/ 177489 w 229505"/>
                <a:gd name="connsiteY888" fmla="*/ 219351 h 231543"/>
                <a:gd name="connsiteX889" fmla="*/ 178413 w 229505"/>
                <a:gd name="connsiteY889" fmla="*/ 219170 h 231543"/>
                <a:gd name="connsiteX890" fmla="*/ 177832 w 229505"/>
                <a:gd name="connsiteY890" fmla="*/ 220685 h 231543"/>
                <a:gd name="connsiteX891" fmla="*/ 177355 w 229505"/>
                <a:gd name="connsiteY891" fmla="*/ 224247 h 231543"/>
                <a:gd name="connsiteX892" fmla="*/ 176689 w 229505"/>
                <a:gd name="connsiteY892" fmla="*/ 226333 h 231543"/>
                <a:gd name="connsiteX893" fmla="*/ 176384 w 229505"/>
                <a:gd name="connsiteY893" fmla="*/ 227972 h 231543"/>
                <a:gd name="connsiteX894" fmla="*/ 174279 w 229505"/>
                <a:gd name="connsiteY894" fmla="*/ 228819 h 231543"/>
                <a:gd name="connsiteX895" fmla="*/ 171108 w 229505"/>
                <a:gd name="connsiteY895" fmla="*/ 228962 h 231543"/>
                <a:gd name="connsiteX896" fmla="*/ 165307 w 229505"/>
                <a:gd name="connsiteY896" fmla="*/ 228600 h 231543"/>
                <a:gd name="connsiteX897" fmla="*/ 159458 w 229505"/>
                <a:gd name="connsiteY897" fmla="*/ 229181 h 231543"/>
                <a:gd name="connsiteX898" fmla="*/ 148628 w 229505"/>
                <a:gd name="connsiteY898" fmla="*/ 230743 h 231543"/>
                <a:gd name="connsiteX899" fmla="*/ 137779 w 229505"/>
                <a:gd name="connsiteY899" fmla="*/ 231543 h 231543"/>
                <a:gd name="connsiteX900" fmla="*/ 136322 w 229505"/>
                <a:gd name="connsiteY900" fmla="*/ 231019 h 231543"/>
                <a:gd name="connsiteX901" fmla="*/ 136293 w 229505"/>
                <a:gd name="connsiteY901" fmla="*/ 228953 h 231543"/>
                <a:gd name="connsiteX902" fmla="*/ 136065 w 229505"/>
                <a:gd name="connsiteY902" fmla="*/ 227524 h 231543"/>
                <a:gd name="connsiteX903" fmla="*/ 135360 w 229505"/>
                <a:gd name="connsiteY903" fmla="*/ 226524 h 231543"/>
                <a:gd name="connsiteX904" fmla="*/ 132007 w 229505"/>
                <a:gd name="connsiteY904" fmla="*/ 225666 h 231543"/>
                <a:gd name="connsiteX905" fmla="*/ 128807 w 229505"/>
                <a:gd name="connsiteY905" fmla="*/ 224200 h 231543"/>
                <a:gd name="connsiteX906" fmla="*/ 116263 w 229505"/>
                <a:gd name="connsiteY906" fmla="*/ 222199 h 231543"/>
                <a:gd name="connsiteX907" fmla="*/ 113300 w 229505"/>
                <a:gd name="connsiteY907" fmla="*/ 221409 h 231543"/>
                <a:gd name="connsiteX908" fmla="*/ 108500 w 229505"/>
                <a:gd name="connsiteY908" fmla="*/ 221818 h 231543"/>
                <a:gd name="connsiteX909" fmla="*/ 106738 w 229505"/>
                <a:gd name="connsiteY909" fmla="*/ 221761 h 231543"/>
                <a:gd name="connsiteX910" fmla="*/ 105528 w 229505"/>
                <a:gd name="connsiteY910" fmla="*/ 221047 h 231543"/>
                <a:gd name="connsiteX911" fmla="*/ 104690 w 229505"/>
                <a:gd name="connsiteY911" fmla="*/ 219808 h 231543"/>
                <a:gd name="connsiteX912" fmla="*/ 104309 w 229505"/>
                <a:gd name="connsiteY912" fmla="*/ 215875 h 231543"/>
                <a:gd name="connsiteX913" fmla="*/ 104909 w 229505"/>
                <a:gd name="connsiteY913" fmla="*/ 211979 h 231543"/>
                <a:gd name="connsiteX914" fmla="*/ 105947 w 229505"/>
                <a:gd name="connsiteY914" fmla="*/ 210950 h 231543"/>
                <a:gd name="connsiteX915" fmla="*/ 106423 w 229505"/>
                <a:gd name="connsiteY915" fmla="*/ 212122 h 231543"/>
                <a:gd name="connsiteX916" fmla="*/ 107652 w 229505"/>
                <a:gd name="connsiteY916" fmla="*/ 212665 h 231543"/>
                <a:gd name="connsiteX917" fmla="*/ 108795 w 229505"/>
                <a:gd name="connsiteY917" fmla="*/ 211484 h 231543"/>
                <a:gd name="connsiteX918" fmla="*/ 108785 w 229505"/>
                <a:gd name="connsiteY918" fmla="*/ 209693 h 231543"/>
                <a:gd name="connsiteX919" fmla="*/ 109366 w 229505"/>
                <a:gd name="connsiteY919" fmla="*/ 208036 h 231543"/>
                <a:gd name="connsiteX920" fmla="*/ 110271 w 229505"/>
                <a:gd name="connsiteY920" fmla="*/ 208731 h 231543"/>
                <a:gd name="connsiteX921" fmla="*/ 110871 w 229505"/>
                <a:gd name="connsiteY921" fmla="*/ 211284 h 231543"/>
                <a:gd name="connsiteX922" fmla="*/ 112433 w 229505"/>
                <a:gd name="connsiteY922" fmla="*/ 211960 h 231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</a:cxnLst>
              <a:rect l="l" t="t" r="r" b="b"/>
              <a:pathLst>
                <a:path w="229505" h="231543">
                  <a:moveTo>
                    <a:pt x="178422" y="1086"/>
                  </a:moveTo>
                  <a:lnTo>
                    <a:pt x="180813" y="1810"/>
                  </a:lnTo>
                  <a:lnTo>
                    <a:pt x="182204" y="2982"/>
                  </a:lnTo>
                  <a:lnTo>
                    <a:pt x="183071" y="4058"/>
                  </a:lnTo>
                  <a:lnTo>
                    <a:pt x="184395" y="4982"/>
                  </a:lnTo>
                  <a:lnTo>
                    <a:pt x="185385" y="5191"/>
                  </a:lnTo>
                  <a:lnTo>
                    <a:pt x="186147" y="8363"/>
                  </a:lnTo>
                  <a:lnTo>
                    <a:pt x="186547" y="12287"/>
                  </a:lnTo>
                  <a:lnTo>
                    <a:pt x="185947" y="13983"/>
                  </a:lnTo>
                  <a:lnTo>
                    <a:pt x="184185" y="14373"/>
                  </a:lnTo>
                  <a:lnTo>
                    <a:pt x="178680" y="18069"/>
                  </a:lnTo>
                  <a:lnTo>
                    <a:pt x="178546" y="21450"/>
                  </a:lnTo>
                  <a:lnTo>
                    <a:pt x="178623" y="23079"/>
                  </a:lnTo>
                  <a:lnTo>
                    <a:pt x="178737" y="24241"/>
                  </a:lnTo>
                  <a:lnTo>
                    <a:pt x="179318" y="25213"/>
                  </a:lnTo>
                  <a:lnTo>
                    <a:pt x="179318" y="26613"/>
                  </a:lnTo>
                  <a:lnTo>
                    <a:pt x="178708" y="28118"/>
                  </a:lnTo>
                  <a:lnTo>
                    <a:pt x="176308" y="30632"/>
                  </a:lnTo>
                  <a:lnTo>
                    <a:pt x="174641" y="32623"/>
                  </a:lnTo>
                  <a:lnTo>
                    <a:pt x="172774" y="35328"/>
                  </a:lnTo>
                  <a:lnTo>
                    <a:pt x="171727" y="35662"/>
                  </a:lnTo>
                  <a:lnTo>
                    <a:pt x="170898" y="36138"/>
                  </a:lnTo>
                  <a:lnTo>
                    <a:pt x="170145" y="34652"/>
                  </a:lnTo>
                  <a:lnTo>
                    <a:pt x="166002" y="32014"/>
                  </a:lnTo>
                  <a:lnTo>
                    <a:pt x="156410" y="30471"/>
                  </a:lnTo>
                  <a:lnTo>
                    <a:pt x="151829" y="28518"/>
                  </a:lnTo>
                  <a:lnTo>
                    <a:pt x="149819" y="28880"/>
                  </a:lnTo>
                  <a:lnTo>
                    <a:pt x="145923" y="26699"/>
                  </a:lnTo>
                  <a:lnTo>
                    <a:pt x="143256" y="27661"/>
                  </a:lnTo>
                  <a:lnTo>
                    <a:pt x="137599" y="31537"/>
                  </a:lnTo>
                  <a:lnTo>
                    <a:pt x="134541" y="31118"/>
                  </a:lnTo>
                  <a:lnTo>
                    <a:pt x="131274" y="28785"/>
                  </a:lnTo>
                  <a:lnTo>
                    <a:pt x="129150" y="28356"/>
                  </a:lnTo>
                  <a:lnTo>
                    <a:pt x="126654" y="29585"/>
                  </a:lnTo>
                  <a:lnTo>
                    <a:pt x="122663" y="34042"/>
                  </a:lnTo>
                  <a:lnTo>
                    <a:pt x="118596" y="36224"/>
                  </a:lnTo>
                  <a:lnTo>
                    <a:pt x="114958" y="35376"/>
                  </a:lnTo>
                  <a:lnTo>
                    <a:pt x="110062" y="35395"/>
                  </a:lnTo>
                  <a:lnTo>
                    <a:pt x="109538" y="37881"/>
                  </a:lnTo>
                  <a:lnTo>
                    <a:pt x="110480" y="39605"/>
                  </a:lnTo>
                  <a:lnTo>
                    <a:pt x="113157" y="42539"/>
                  </a:lnTo>
                  <a:lnTo>
                    <a:pt x="111900" y="44739"/>
                  </a:lnTo>
                  <a:lnTo>
                    <a:pt x="112833" y="46939"/>
                  </a:lnTo>
                  <a:lnTo>
                    <a:pt x="114577" y="47387"/>
                  </a:lnTo>
                  <a:lnTo>
                    <a:pt x="117215" y="47263"/>
                  </a:lnTo>
                  <a:lnTo>
                    <a:pt x="122082" y="50111"/>
                  </a:lnTo>
                  <a:lnTo>
                    <a:pt x="124216" y="53112"/>
                  </a:lnTo>
                  <a:lnTo>
                    <a:pt x="125578" y="56388"/>
                  </a:lnTo>
                  <a:lnTo>
                    <a:pt x="122606" y="54035"/>
                  </a:lnTo>
                  <a:lnTo>
                    <a:pt x="120635" y="51768"/>
                  </a:lnTo>
                  <a:lnTo>
                    <a:pt x="117882" y="50949"/>
                  </a:lnTo>
                  <a:lnTo>
                    <a:pt x="114062" y="49016"/>
                  </a:lnTo>
                  <a:lnTo>
                    <a:pt x="111662" y="48692"/>
                  </a:lnTo>
                  <a:lnTo>
                    <a:pt x="109109" y="50035"/>
                  </a:lnTo>
                  <a:lnTo>
                    <a:pt x="108909" y="51549"/>
                  </a:lnTo>
                  <a:lnTo>
                    <a:pt x="111662" y="54378"/>
                  </a:lnTo>
                  <a:lnTo>
                    <a:pt x="114176" y="56121"/>
                  </a:lnTo>
                  <a:lnTo>
                    <a:pt x="115510" y="57531"/>
                  </a:lnTo>
                  <a:lnTo>
                    <a:pt x="116396" y="60665"/>
                  </a:lnTo>
                  <a:lnTo>
                    <a:pt x="115891" y="61722"/>
                  </a:lnTo>
                  <a:lnTo>
                    <a:pt x="114958" y="62713"/>
                  </a:lnTo>
                  <a:lnTo>
                    <a:pt x="111976" y="60741"/>
                  </a:lnTo>
                  <a:lnTo>
                    <a:pt x="107414" y="53721"/>
                  </a:lnTo>
                  <a:lnTo>
                    <a:pt x="101051" y="52321"/>
                  </a:lnTo>
                  <a:lnTo>
                    <a:pt x="99984" y="53788"/>
                  </a:lnTo>
                  <a:lnTo>
                    <a:pt x="101241" y="57503"/>
                  </a:lnTo>
                  <a:lnTo>
                    <a:pt x="102146" y="58941"/>
                  </a:lnTo>
                  <a:lnTo>
                    <a:pt x="107681" y="62941"/>
                  </a:lnTo>
                  <a:lnTo>
                    <a:pt x="107242" y="63789"/>
                  </a:lnTo>
                  <a:lnTo>
                    <a:pt x="106432" y="64151"/>
                  </a:lnTo>
                  <a:lnTo>
                    <a:pt x="100242" y="61865"/>
                  </a:lnTo>
                  <a:lnTo>
                    <a:pt x="98441" y="58388"/>
                  </a:lnTo>
                  <a:lnTo>
                    <a:pt x="98013" y="53978"/>
                  </a:lnTo>
                  <a:lnTo>
                    <a:pt x="92297" y="50911"/>
                  </a:lnTo>
                  <a:lnTo>
                    <a:pt x="86906" y="47568"/>
                  </a:lnTo>
                  <a:lnTo>
                    <a:pt x="85697" y="44396"/>
                  </a:lnTo>
                  <a:lnTo>
                    <a:pt x="86811" y="43215"/>
                  </a:lnTo>
                  <a:lnTo>
                    <a:pt x="87602" y="40882"/>
                  </a:lnTo>
                  <a:lnTo>
                    <a:pt x="84640" y="41310"/>
                  </a:lnTo>
                  <a:lnTo>
                    <a:pt x="82782" y="42786"/>
                  </a:lnTo>
                  <a:lnTo>
                    <a:pt x="79782" y="44215"/>
                  </a:lnTo>
                  <a:lnTo>
                    <a:pt x="79658" y="46558"/>
                  </a:lnTo>
                  <a:lnTo>
                    <a:pt x="80134" y="48730"/>
                  </a:lnTo>
                  <a:lnTo>
                    <a:pt x="79143" y="51883"/>
                  </a:lnTo>
                  <a:lnTo>
                    <a:pt x="78172" y="57360"/>
                  </a:lnTo>
                  <a:lnTo>
                    <a:pt x="78781" y="60227"/>
                  </a:lnTo>
                  <a:lnTo>
                    <a:pt x="85297" y="68428"/>
                  </a:lnTo>
                  <a:lnTo>
                    <a:pt x="87525" y="74371"/>
                  </a:lnTo>
                  <a:lnTo>
                    <a:pt x="89125" y="76619"/>
                  </a:lnTo>
                  <a:lnTo>
                    <a:pt x="92459" y="79096"/>
                  </a:lnTo>
                  <a:lnTo>
                    <a:pt x="95936" y="83696"/>
                  </a:lnTo>
                  <a:lnTo>
                    <a:pt x="97403" y="86087"/>
                  </a:lnTo>
                  <a:lnTo>
                    <a:pt x="98450" y="90002"/>
                  </a:lnTo>
                  <a:lnTo>
                    <a:pt x="95527" y="92421"/>
                  </a:lnTo>
                  <a:lnTo>
                    <a:pt x="93831" y="92516"/>
                  </a:lnTo>
                  <a:lnTo>
                    <a:pt x="92888" y="91450"/>
                  </a:lnTo>
                  <a:lnTo>
                    <a:pt x="94202" y="88783"/>
                  </a:lnTo>
                  <a:lnTo>
                    <a:pt x="94012" y="87154"/>
                  </a:lnTo>
                  <a:lnTo>
                    <a:pt x="89497" y="84630"/>
                  </a:lnTo>
                  <a:lnTo>
                    <a:pt x="87592" y="85477"/>
                  </a:lnTo>
                  <a:lnTo>
                    <a:pt x="85392" y="87116"/>
                  </a:lnTo>
                  <a:lnTo>
                    <a:pt x="86649" y="90164"/>
                  </a:lnTo>
                  <a:lnTo>
                    <a:pt x="88059" y="92173"/>
                  </a:lnTo>
                  <a:lnTo>
                    <a:pt x="88773" y="94936"/>
                  </a:lnTo>
                  <a:lnTo>
                    <a:pt x="91478" y="94698"/>
                  </a:lnTo>
                  <a:lnTo>
                    <a:pt x="87840" y="97793"/>
                  </a:lnTo>
                  <a:lnTo>
                    <a:pt x="84420" y="99374"/>
                  </a:lnTo>
                  <a:lnTo>
                    <a:pt x="81058" y="99470"/>
                  </a:lnTo>
                  <a:lnTo>
                    <a:pt x="78915" y="99756"/>
                  </a:lnTo>
                  <a:lnTo>
                    <a:pt x="78172" y="100546"/>
                  </a:lnTo>
                  <a:lnTo>
                    <a:pt x="79915" y="101117"/>
                  </a:lnTo>
                  <a:lnTo>
                    <a:pt x="81334" y="101175"/>
                  </a:lnTo>
                  <a:lnTo>
                    <a:pt x="83649" y="102841"/>
                  </a:lnTo>
                  <a:lnTo>
                    <a:pt x="90231" y="104832"/>
                  </a:lnTo>
                  <a:lnTo>
                    <a:pt x="93374" y="107356"/>
                  </a:lnTo>
                  <a:lnTo>
                    <a:pt x="96460" y="107585"/>
                  </a:lnTo>
                  <a:lnTo>
                    <a:pt x="99556" y="112204"/>
                  </a:lnTo>
                  <a:lnTo>
                    <a:pt x="104918" y="113433"/>
                  </a:lnTo>
                  <a:lnTo>
                    <a:pt x="107975" y="118091"/>
                  </a:lnTo>
                  <a:lnTo>
                    <a:pt x="112033" y="119006"/>
                  </a:lnTo>
                  <a:lnTo>
                    <a:pt x="115538" y="120720"/>
                  </a:lnTo>
                  <a:lnTo>
                    <a:pt x="116557" y="122349"/>
                  </a:lnTo>
                  <a:lnTo>
                    <a:pt x="117072" y="125301"/>
                  </a:lnTo>
                  <a:lnTo>
                    <a:pt x="117300" y="131540"/>
                  </a:lnTo>
                  <a:lnTo>
                    <a:pt x="118063" y="136170"/>
                  </a:lnTo>
                  <a:lnTo>
                    <a:pt x="118091" y="137627"/>
                  </a:lnTo>
                  <a:lnTo>
                    <a:pt x="117901" y="139808"/>
                  </a:lnTo>
                  <a:lnTo>
                    <a:pt x="116948" y="140875"/>
                  </a:lnTo>
                  <a:lnTo>
                    <a:pt x="115662" y="140913"/>
                  </a:lnTo>
                  <a:lnTo>
                    <a:pt x="113138" y="137513"/>
                  </a:lnTo>
                  <a:lnTo>
                    <a:pt x="109281" y="133931"/>
                  </a:lnTo>
                  <a:lnTo>
                    <a:pt x="105204" y="129664"/>
                  </a:lnTo>
                  <a:lnTo>
                    <a:pt x="104042" y="128911"/>
                  </a:lnTo>
                  <a:lnTo>
                    <a:pt x="103089" y="128845"/>
                  </a:lnTo>
                  <a:lnTo>
                    <a:pt x="100908" y="130283"/>
                  </a:lnTo>
                  <a:lnTo>
                    <a:pt x="94850" y="131398"/>
                  </a:lnTo>
                  <a:lnTo>
                    <a:pt x="92012" y="132960"/>
                  </a:lnTo>
                  <a:lnTo>
                    <a:pt x="90945" y="133302"/>
                  </a:lnTo>
                  <a:lnTo>
                    <a:pt x="90650" y="134122"/>
                  </a:lnTo>
                  <a:lnTo>
                    <a:pt x="91983" y="134969"/>
                  </a:lnTo>
                  <a:lnTo>
                    <a:pt x="93612" y="136922"/>
                  </a:lnTo>
                  <a:lnTo>
                    <a:pt x="93612" y="139580"/>
                  </a:lnTo>
                  <a:lnTo>
                    <a:pt x="94965" y="142808"/>
                  </a:lnTo>
                  <a:lnTo>
                    <a:pt x="96707" y="143637"/>
                  </a:lnTo>
                  <a:lnTo>
                    <a:pt x="98975" y="143570"/>
                  </a:lnTo>
                  <a:lnTo>
                    <a:pt x="100279" y="144171"/>
                  </a:lnTo>
                  <a:lnTo>
                    <a:pt x="100613" y="145456"/>
                  </a:lnTo>
                  <a:lnTo>
                    <a:pt x="101937" y="146952"/>
                  </a:lnTo>
                  <a:lnTo>
                    <a:pt x="102804" y="148066"/>
                  </a:lnTo>
                  <a:lnTo>
                    <a:pt x="102775" y="148857"/>
                  </a:lnTo>
                  <a:lnTo>
                    <a:pt x="96441" y="150962"/>
                  </a:lnTo>
                  <a:lnTo>
                    <a:pt x="95117" y="151924"/>
                  </a:lnTo>
                  <a:lnTo>
                    <a:pt x="94002" y="152419"/>
                  </a:lnTo>
                  <a:lnTo>
                    <a:pt x="92355" y="151419"/>
                  </a:lnTo>
                  <a:lnTo>
                    <a:pt x="92259" y="148847"/>
                  </a:lnTo>
                  <a:lnTo>
                    <a:pt x="90088" y="147466"/>
                  </a:lnTo>
                  <a:lnTo>
                    <a:pt x="88097" y="146276"/>
                  </a:lnTo>
                  <a:lnTo>
                    <a:pt x="85706" y="145771"/>
                  </a:lnTo>
                  <a:lnTo>
                    <a:pt x="83677" y="143989"/>
                  </a:lnTo>
                  <a:lnTo>
                    <a:pt x="82353" y="145428"/>
                  </a:lnTo>
                  <a:lnTo>
                    <a:pt x="83411" y="150419"/>
                  </a:lnTo>
                  <a:lnTo>
                    <a:pt x="85706" y="153848"/>
                  </a:lnTo>
                  <a:lnTo>
                    <a:pt x="89554" y="163030"/>
                  </a:lnTo>
                  <a:lnTo>
                    <a:pt x="91297" y="168431"/>
                  </a:lnTo>
                  <a:lnTo>
                    <a:pt x="91650" y="171040"/>
                  </a:lnTo>
                  <a:lnTo>
                    <a:pt x="90783" y="175374"/>
                  </a:lnTo>
                  <a:lnTo>
                    <a:pt x="92679" y="178584"/>
                  </a:lnTo>
                  <a:lnTo>
                    <a:pt x="93974" y="181880"/>
                  </a:lnTo>
                  <a:lnTo>
                    <a:pt x="92555" y="181756"/>
                  </a:lnTo>
                  <a:lnTo>
                    <a:pt x="91317" y="180594"/>
                  </a:lnTo>
                  <a:lnTo>
                    <a:pt x="89240" y="179222"/>
                  </a:lnTo>
                  <a:lnTo>
                    <a:pt x="85220" y="173955"/>
                  </a:lnTo>
                  <a:lnTo>
                    <a:pt x="83820" y="170669"/>
                  </a:lnTo>
                  <a:lnTo>
                    <a:pt x="82144" y="170412"/>
                  </a:lnTo>
                  <a:lnTo>
                    <a:pt x="79229" y="170888"/>
                  </a:lnTo>
                  <a:lnTo>
                    <a:pt x="76048" y="177908"/>
                  </a:lnTo>
                  <a:lnTo>
                    <a:pt x="76058" y="181918"/>
                  </a:lnTo>
                  <a:lnTo>
                    <a:pt x="74409" y="180966"/>
                  </a:lnTo>
                  <a:lnTo>
                    <a:pt x="73000" y="179718"/>
                  </a:lnTo>
                  <a:lnTo>
                    <a:pt x="73171" y="175327"/>
                  </a:lnTo>
                  <a:lnTo>
                    <a:pt x="73029" y="173479"/>
                  </a:lnTo>
                  <a:lnTo>
                    <a:pt x="69161" y="167478"/>
                  </a:lnTo>
                  <a:lnTo>
                    <a:pt x="67389" y="166802"/>
                  </a:lnTo>
                  <a:lnTo>
                    <a:pt x="66561" y="164773"/>
                  </a:lnTo>
                  <a:lnTo>
                    <a:pt x="65132" y="162601"/>
                  </a:lnTo>
                  <a:lnTo>
                    <a:pt x="63294" y="163011"/>
                  </a:lnTo>
                  <a:lnTo>
                    <a:pt x="61789" y="163887"/>
                  </a:lnTo>
                  <a:lnTo>
                    <a:pt x="61379" y="167164"/>
                  </a:lnTo>
                  <a:lnTo>
                    <a:pt x="61227" y="170097"/>
                  </a:lnTo>
                  <a:lnTo>
                    <a:pt x="60103" y="172298"/>
                  </a:lnTo>
                  <a:lnTo>
                    <a:pt x="55979" y="168116"/>
                  </a:lnTo>
                  <a:lnTo>
                    <a:pt x="51826" y="160858"/>
                  </a:lnTo>
                  <a:lnTo>
                    <a:pt x="51721" y="156877"/>
                  </a:lnTo>
                  <a:lnTo>
                    <a:pt x="54759" y="153229"/>
                  </a:lnTo>
                  <a:lnTo>
                    <a:pt x="54397" y="150619"/>
                  </a:lnTo>
                  <a:lnTo>
                    <a:pt x="51521" y="145456"/>
                  </a:lnTo>
                  <a:lnTo>
                    <a:pt x="47368" y="142132"/>
                  </a:lnTo>
                  <a:lnTo>
                    <a:pt x="45044" y="141142"/>
                  </a:lnTo>
                  <a:lnTo>
                    <a:pt x="43948" y="137598"/>
                  </a:lnTo>
                  <a:lnTo>
                    <a:pt x="41729" y="135769"/>
                  </a:lnTo>
                  <a:lnTo>
                    <a:pt x="39929" y="134912"/>
                  </a:lnTo>
                  <a:lnTo>
                    <a:pt x="39577" y="133655"/>
                  </a:lnTo>
                  <a:lnTo>
                    <a:pt x="40120" y="132722"/>
                  </a:lnTo>
                  <a:lnTo>
                    <a:pt x="44482" y="129074"/>
                  </a:lnTo>
                  <a:lnTo>
                    <a:pt x="47035" y="123339"/>
                  </a:lnTo>
                  <a:lnTo>
                    <a:pt x="48302" y="123073"/>
                  </a:lnTo>
                  <a:lnTo>
                    <a:pt x="50911" y="124435"/>
                  </a:lnTo>
                  <a:lnTo>
                    <a:pt x="53845" y="124082"/>
                  </a:lnTo>
                  <a:lnTo>
                    <a:pt x="56245" y="120720"/>
                  </a:lnTo>
                  <a:lnTo>
                    <a:pt x="58284" y="118891"/>
                  </a:lnTo>
                  <a:lnTo>
                    <a:pt x="61722" y="119129"/>
                  </a:lnTo>
                  <a:lnTo>
                    <a:pt x="69485" y="123615"/>
                  </a:lnTo>
                  <a:lnTo>
                    <a:pt x="77829" y="126178"/>
                  </a:lnTo>
                  <a:lnTo>
                    <a:pt x="81992" y="128416"/>
                  </a:lnTo>
                  <a:lnTo>
                    <a:pt x="84354" y="130635"/>
                  </a:lnTo>
                  <a:lnTo>
                    <a:pt x="85601" y="131093"/>
                  </a:lnTo>
                  <a:lnTo>
                    <a:pt x="87582" y="131407"/>
                  </a:lnTo>
                  <a:lnTo>
                    <a:pt x="87497" y="129750"/>
                  </a:lnTo>
                  <a:lnTo>
                    <a:pt x="86868" y="128283"/>
                  </a:lnTo>
                  <a:lnTo>
                    <a:pt x="88516" y="127483"/>
                  </a:lnTo>
                  <a:lnTo>
                    <a:pt x="92983" y="127521"/>
                  </a:lnTo>
                  <a:lnTo>
                    <a:pt x="93793" y="126740"/>
                  </a:lnTo>
                  <a:lnTo>
                    <a:pt x="94622" y="125482"/>
                  </a:lnTo>
                  <a:lnTo>
                    <a:pt x="93698" y="124044"/>
                  </a:lnTo>
                  <a:lnTo>
                    <a:pt x="92221" y="123358"/>
                  </a:lnTo>
                  <a:lnTo>
                    <a:pt x="90640" y="123168"/>
                  </a:lnTo>
                  <a:lnTo>
                    <a:pt x="89602" y="122711"/>
                  </a:lnTo>
                  <a:lnTo>
                    <a:pt x="87916" y="123168"/>
                  </a:lnTo>
                  <a:lnTo>
                    <a:pt x="85297" y="122053"/>
                  </a:lnTo>
                  <a:lnTo>
                    <a:pt x="83934" y="121139"/>
                  </a:lnTo>
                  <a:lnTo>
                    <a:pt x="83144" y="120196"/>
                  </a:lnTo>
                  <a:lnTo>
                    <a:pt x="78581" y="118320"/>
                  </a:lnTo>
                  <a:lnTo>
                    <a:pt x="74257" y="115138"/>
                  </a:lnTo>
                  <a:lnTo>
                    <a:pt x="73276" y="116939"/>
                  </a:lnTo>
                  <a:lnTo>
                    <a:pt x="71524" y="117910"/>
                  </a:lnTo>
                  <a:lnTo>
                    <a:pt x="69038" y="118053"/>
                  </a:lnTo>
                  <a:lnTo>
                    <a:pt x="62046" y="116034"/>
                  </a:lnTo>
                  <a:lnTo>
                    <a:pt x="57751" y="117577"/>
                  </a:lnTo>
                  <a:lnTo>
                    <a:pt x="55407" y="117977"/>
                  </a:lnTo>
                  <a:lnTo>
                    <a:pt x="53616" y="118015"/>
                  </a:lnTo>
                  <a:lnTo>
                    <a:pt x="51416" y="118701"/>
                  </a:lnTo>
                  <a:lnTo>
                    <a:pt x="48873" y="119110"/>
                  </a:lnTo>
                  <a:lnTo>
                    <a:pt x="46673" y="116177"/>
                  </a:lnTo>
                  <a:lnTo>
                    <a:pt x="45749" y="113900"/>
                  </a:lnTo>
                  <a:lnTo>
                    <a:pt x="45101" y="113472"/>
                  </a:lnTo>
                  <a:lnTo>
                    <a:pt x="45072" y="115614"/>
                  </a:lnTo>
                  <a:lnTo>
                    <a:pt x="44368" y="117329"/>
                  </a:lnTo>
                  <a:lnTo>
                    <a:pt x="41139" y="118291"/>
                  </a:lnTo>
                  <a:lnTo>
                    <a:pt x="39281" y="116958"/>
                  </a:lnTo>
                  <a:lnTo>
                    <a:pt x="37852" y="112929"/>
                  </a:lnTo>
                  <a:lnTo>
                    <a:pt x="36052" y="107795"/>
                  </a:lnTo>
                  <a:lnTo>
                    <a:pt x="32881" y="103642"/>
                  </a:lnTo>
                  <a:lnTo>
                    <a:pt x="30299" y="102556"/>
                  </a:lnTo>
                  <a:lnTo>
                    <a:pt x="30080" y="100270"/>
                  </a:lnTo>
                  <a:lnTo>
                    <a:pt x="30309" y="98441"/>
                  </a:lnTo>
                  <a:lnTo>
                    <a:pt x="33404" y="97984"/>
                  </a:lnTo>
                  <a:lnTo>
                    <a:pt x="38243" y="99898"/>
                  </a:lnTo>
                  <a:lnTo>
                    <a:pt x="39243" y="99517"/>
                  </a:lnTo>
                  <a:lnTo>
                    <a:pt x="40329" y="98631"/>
                  </a:lnTo>
                  <a:lnTo>
                    <a:pt x="40120" y="96679"/>
                  </a:lnTo>
                  <a:lnTo>
                    <a:pt x="39414" y="94936"/>
                  </a:lnTo>
                  <a:lnTo>
                    <a:pt x="38081" y="94860"/>
                  </a:lnTo>
                  <a:lnTo>
                    <a:pt x="37157" y="95060"/>
                  </a:lnTo>
                  <a:lnTo>
                    <a:pt x="34176" y="94698"/>
                  </a:lnTo>
                  <a:lnTo>
                    <a:pt x="30356" y="95669"/>
                  </a:lnTo>
                  <a:lnTo>
                    <a:pt x="28585" y="94755"/>
                  </a:lnTo>
                  <a:lnTo>
                    <a:pt x="27994" y="93641"/>
                  </a:lnTo>
                  <a:lnTo>
                    <a:pt x="24794" y="90888"/>
                  </a:lnTo>
                  <a:lnTo>
                    <a:pt x="22032" y="87192"/>
                  </a:lnTo>
                  <a:lnTo>
                    <a:pt x="17555" y="84725"/>
                  </a:lnTo>
                  <a:lnTo>
                    <a:pt x="14631" y="77181"/>
                  </a:lnTo>
                  <a:lnTo>
                    <a:pt x="12173" y="73886"/>
                  </a:lnTo>
                  <a:lnTo>
                    <a:pt x="9554" y="71523"/>
                  </a:lnTo>
                  <a:lnTo>
                    <a:pt x="10126" y="71485"/>
                  </a:lnTo>
                  <a:lnTo>
                    <a:pt x="11116" y="71885"/>
                  </a:lnTo>
                  <a:lnTo>
                    <a:pt x="13021" y="73181"/>
                  </a:lnTo>
                  <a:lnTo>
                    <a:pt x="15040" y="73457"/>
                  </a:lnTo>
                  <a:lnTo>
                    <a:pt x="16145" y="72600"/>
                  </a:lnTo>
                  <a:lnTo>
                    <a:pt x="16783" y="71809"/>
                  </a:lnTo>
                  <a:lnTo>
                    <a:pt x="17193" y="70514"/>
                  </a:lnTo>
                  <a:lnTo>
                    <a:pt x="17364" y="68999"/>
                  </a:lnTo>
                  <a:lnTo>
                    <a:pt x="17698" y="68494"/>
                  </a:lnTo>
                  <a:lnTo>
                    <a:pt x="19250" y="68675"/>
                  </a:lnTo>
                  <a:lnTo>
                    <a:pt x="19745" y="68294"/>
                  </a:lnTo>
                  <a:lnTo>
                    <a:pt x="19727" y="66932"/>
                  </a:lnTo>
                  <a:lnTo>
                    <a:pt x="18726" y="65237"/>
                  </a:lnTo>
                  <a:lnTo>
                    <a:pt x="17850" y="63151"/>
                  </a:lnTo>
                  <a:lnTo>
                    <a:pt x="17850" y="62160"/>
                  </a:lnTo>
                  <a:lnTo>
                    <a:pt x="18584" y="61760"/>
                  </a:lnTo>
                  <a:lnTo>
                    <a:pt x="19793" y="60855"/>
                  </a:lnTo>
                  <a:lnTo>
                    <a:pt x="20441" y="59731"/>
                  </a:lnTo>
                  <a:lnTo>
                    <a:pt x="21727" y="59169"/>
                  </a:lnTo>
                  <a:lnTo>
                    <a:pt x="23622" y="59065"/>
                  </a:lnTo>
                  <a:lnTo>
                    <a:pt x="25737" y="58569"/>
                  </a:lnTo>
                  <a:lnTo>
                    <a:pt x="27108" y="57360"/>
                  </a:lnTo>
                  <a:lnTo>
                    <a:pt x="27308" y="56169"/>
                  </a:lnTo>
                  <a:lnTo>
                    <a:pt x="28166" y="52874"/>
                  </a:lnTo>
                  <a:lnTo>
                    <a:pt x="28728" y="51254"/>
                  </a:lnTo>
                  <a:lnTo>
                    <a:pt x="29632" y="49778"/>
                  </a:lnTo>
                  <a:lnTo>
                    <a:pt x="30119" y="47787"/>
                  </a:lnTo>
                  <a:lnTo>
                    <a:pt x="31090" y="45911"/>
                  </a:lnTo>
                  <a:lnTo>
                    <a:pt x="33109" y="45120"/>
                  </a:lnTo>
                  <a:lnTo>
                    <a:pt x="34938" y="44196"/>
                  </a:lnTo>
                  <a:lnTo>
                    <a:pt x="36319" y="41777"/>
                  </a:lnTo>
                  <a:lnTo>
                    <a:pt x="37100" y="39710"/>
                  </a:lnTo>
                  <a:lnTo>
                    <a:pt x="37100" y="38443"/>
                  </a:lnTo>
                  <a:lnTo>
                    <a:pt x="35938" y="36367"/>
                  </a:lnTo>
                  <a:lnTo>
                    <a:pt x="35081" y="34347"/>
                  </a:lnTo>
                  <a:lnTo>
                    <a:pt x="35309" y="31718"/>
                  </a:lnTo>
                  <a:lnTo>
                    <a:pt x="38938" y="31499"/>
                  </a:lnTo>
                  <a:lnTo>
                    <a:pt x="40205" y="31252"/>
                  </a:lnTo>
                  <a:lnTo>
                    <a:pt x="44920" y="31109"/>
                  </a:lnTo>
                  <a:lnTo>
                    <a:pt x="47073" y="29699"/>
                  </a:lnTo>
                  <a:lnTo>
                    <a:pt x="48559" y="29832"/>
                  </a:lnTo>
                  <a:lnTo>
                    <a:pt x="51664" y="31052"/>
                  </a:lnTo>
                  <a:lnTo>
                    <a:pt x="53054" y="30089"/>
                  </a:lnTo>
                  <a:lnTo>
                    <a:pt x="57112" y="28185"/>
                  </a:lnTo>
                  <a:lnTo>
                    <a:pt x="61122" y="22641"/>
                  </a:lnTo>
                  <a:lnTo>
                    <a:pt x="62827" y="21812"/>
                  </a:lnTo>
                  <a:lnTo>
                    <a:pt x="66723" y="21469"/>
                  </a:lnTo>
                  <a:lnTo>
                    <a:pt x="67942" y="20831"/>
                  </a:lnTo>
                  <a:lnTo>
                    <a:pt x="69361" y="20955"/>
                  </a:lnTo>
                  <a:lnTo>
                    <a:pt x="73724" y="22079"/>
                  </a:lnTo>
                  <a:lnTo>
                    <a:pt x="76200" y="22250"/>
                  </a:lnTo>
                  <a:lnTo>
                    <a:pt x="79143" y="21479"/>
                  </a:lnTo>
                  <a:lnTo>
                    <a:pt x="82382" y="20126"/>
                  </a:lnTo>
                  <a:lnTo>
                    <a:pt x="83191" y="15373"/>
                  </a:lnTo>
                  <a:lnTo>
                    <a:pt x="83963" y="14688"/>
                  </a:lnTo>
                  <a:lnTo>
                    <a:pt x="85973" y="14497"/>
                  </a:lnTo>
                  <a:lnTo>
                    <a:pt x="87497" y="14535"/>
                  </a:lnTo>
                  <a:lnTo>
                    <a:pt x="90431" y="14916"/>
                  </a:lnTo>
                  <a:lnTo>
                    <a:pt x="93917" y="15040"/>
                  </a:lnTo>
                  <a:lnTo>
                    <a:pt x="96155" y="12811"/>
                  </a:lnTo>
                  <a:lnTo>
                    <a:pt x="99689" y="12649"/>
                  </a:lnTo>
                  <a:lnTo>
                    <a:pt x="101327" y="12325"/>
                  </a:lnTo>
                  <a:lnTo>
                    <a:pt x="104061" y="12773"/>
                  </a:lnTo>
                  <a:lnTo>
                    <a:pt x="106718" y="12754"/>
                  </a:lnTo>
                  <a:lnTo>
                    <a:pt x="110119" y="11820"/>
                  </a:lnTo>
                  <a:lnTo>
                    <a:pt x="113291" y="10287"/>
                  </a:lnTo>
                  <a:lnTo>
                    <a:pt x="115767" y="10421"/>
                  </a:lnTo>
                  <a:lnTo>
                    <a:pt x="116777" y="10144"/>
                  </a:lnTo>
                  <a:lnTo>
                    <a:pt x="117348" y="9820"/>
                  </a:lnTo>
                  <a:lnTo>
                    <a:pt x="117967" y="7753"/>
                  </a:lnTo>
                  <a:lnTo>
                    <a:pt x="122625" y="7620"/>
                  </a:lnTo>
                  <a:lnTo>
                    <a:pt x="124206" y="7820"/>
                  </a:lnTo>
                  <a:lnTo>
                    <a:pt x="126807" y="7877"/>
                  </a:lnTo>
                  <a:lnTo>
                    <a:pt x="129512" y="6744"/>
                  </a:lnTo>
                  <a:lnTo>
                    <a:pt x="130321" y="6839"/>
                  </a:lnTo>
                  <a:lnTo>
                    <a:pt x="131683" y="9868"/>
                  </a:lnTo>
                  <a:lnTo>
                    <a:pt x="132398" y="10744"/>
                  </a:lnTo>
                  <a:lnTo>
                    <a:pt x="133865" y="11554"/>
                  </a:lnTo>
                  <a:lnTo>
                    <a:pt x="137141" y="13821"/>
                  </a:lnTo>
                  <a:lnTo>
                    <a:pt x="137732" y="13221"/>
                  </a:lnTo>
                  <a:lnTo>
                    <a:pt x="139103" y="12459"/>
                  </a:lnTo>
                  <a:lnTo>
                    <a:pt x="143028" y="13497"/>
                  </a:lnTo>
                  <a:lnTo>
                    <a:pt x="146771" y="15240"/>
                  </a:lnTo>
                  <a:lnTo>
                    <a:pt x="149914" y="17802"/>
                  </a:lnTo>
                  <a:lnTo>
                    <a:pt x="153410" y="17059"/>
                  </a:lnTo>
                  <a:lnTo>
                    <a:pt x="157286" y="15802"/>
                  </a:lnTo>
                  <a:lnTo>
                    <a:pt x="159811" y="15440"/>
                  </a:lnTo>
                  <a:lnTo>
                    <a:pt x="162554" y="15259"/>
                  </a:lnTo>
                  <a:lnTo>
                    <a:pt x="164182" y="14716"/>
                  </a:lnTo>
                  <a:lnTo>
                    <a:pt x="167888" y="15373"/>
                  </a:lnTo>
                  <a:lnTo>
                    <a:pt x="171708" y="13992"/>
                  </a:lnTo>
                  <a:lnTo>
                    <a:pt x="173546" y="12754"/>
                  </a:lnTo>
                  <a:lnTo>
                    <a:pt x="174079" y="11001"/>
                  </a:lnTo>
                  <a:lnTo>
                    <a:pt x="173774" y="7925"/>
                  </a:lnTo>
                  <a:lnTo>
                    <a:pt x="172907" y="4839"/>
                  </a:lnTo>
                  <a:lnTo>
                    <a:pt x="171993" y="3696"/>
                  </a:lnTo>
                  <a:lnTo>
                    <a:pt x="171698" y="2515"/>
                  </a:lnTo>
                  <a:lnTo>
                    <a:pt x="172222" y="1410"/>
                  </a:lnTo>
                  <a:lnTo>
                    <a:pt x="172812" y="648"/>
                  </a:lnTo>
                  <a:lnTo>
                    <a:pt x="175308" y="0"/>
                  </a:lnTo>
                  <a:lnTo>
                    <a:pt x="178422" y="1086"/>
                  </a:lnTo>
                  <a:close/>
                  <a:moveTo>
                    <a:pt x="137075" y="40053"/>
                  </a:moveTo>
                  <a:lnTo>
                    <a:pt x="133645" y="41300"/>
                  </a:lnTo>
                  <a:lnTo>
                    <a:pt x="130160" y="38929"/>
                  </a:lnTo>
                  <a:lnTo>
                    <a:pt x="130188" y="37519"/>
                  </a:lnTo>
                  <a:lnTo>
                    <a:pt x="132026" y="34652"/>
                  </a:lnTo>
                  <a:lnTo>
                    <a:pt x="133036" y="33804"/>
                  </a:lnTo>
                  <a:lnTo>
                    <a:pt x="135598" y="34033"/>
                  </a:lnTo>
                  <a:lnTo>
                    <a:pt x="137056" y="36004"/>
                  </a:lnTo>
                  <a:lnTo>
                    <a:pt x="137399" y="36938"/>
                  </a:lnTo>
                  <a:lnTo>
                    <a:pt x="136922" y="38519"/>
                  </a:lnTo>
                  <a:lnTo>
                    <a:pt x="137075" y="40053"/>
                  </a:lnTo>
                  <a:close/>
                  <a:moveTo>
                    <a:pt x="161449" y="46663"/>
                  </a:moveTo>
                  <a:lnTo>
                    <a:pt x="158420" y="47577"/>
                  </a:lnTo>
                  <a:lnTo>
                    <a:pt x="155086" y="44691"/>
                  </a:lnTo>
                  <a:lnTo>
                    <a:pt x="158305" y="43529"/>
                  </a:lnTo>
                  <a:lnTo>
                    <a:pt x="159801" y="44368"/>
                  </a:lnTo>
                  <a:lnTo>
                    <a:pt x="160868" y="45358"/>
                  </a:lnTo>
                  <a:lnTo>
                    <a:pt x="161449" y="46663"/>
                  </a:lnTo>
                  <a:close/>
                  <a:moveTo>
                    <a:pt x="154810" y="62112"/>
                  </a:moveTo>
                  <a:lnTo>
                    <a:pt x="153801" y="63284"/>
                  </a:lnTo>
                  <a:lnTo>
                    <a:pt x="153048" y="65304"/>
                  </a:lnTo>
                  <a:lnTo>
                    <a:pt x="152648" y="68189"/>
                  </a:lnTo>
                  <a:lnTo>
                    <a:pt x="151086" y="68256"/>
                  </a:lnTo>
                  <a:lnTo>
                    <a:pt x="150143" y="67675"/>
                  </a:lnTo>
                  <a:lnTo>
                    <a:pt x="149829" y="66580"/>
                  </a:lnTo>
                  <a:lnTo>
                    <a:pt x="149771" y="65199"/>
                  </a:lnTo>
                  <a:lnTo>
                    <a:pt x="149086" y="65256"/>
                  </a:lnTo>
                  <a:lnTo>
                    <a:pt x="148533" y="66751"/>
                  </a:lnTo>
                  <a:lnTo>
                    <a:pt x="148047" y="67428"/>
                  </a:lnTo>
                  <a:lnTo>
                    <a:pt x="146476" y="67571"/>
                  </a:lnTo>
                  <a:lnTo>
                    <a:pt x="144752" y="66647"/>
                  </a:lnTo>
                  <a:lnTo>
                    <a:pt x="144838" y="64656"/>
                  </a:lnTo>
                  <a:lnTo>
                    <a:pt x="144495" y="62341"/>
                  </a:lnTo>
                  <a:lnTo>
                    <a:pt x="144647" y="61532"/>
                  </a:lnTo>
                  <a:lnTo>
                    <a:pt x="149362" y="61331"/>
                  </a:lnTo>
                  <a:lnTo>
                    <a:pt x="150743" y="63037"/>
                  </a:lnTo>
                  <a:lnTo>
                    <a:pt x="152410" y="62046"/>
                  </a:lnTo>
                  <a:lnTo>
                    <a:pt x="153095" y="60979"/>
                  </a:lnTo>
                  <a:lnTo>
                    <a:pt x="155115" y="60312"/>
                  </a:lnTo>
                  <a:lnTo>
                    <a:pt x="154810" y="62112"/>
                  </a:lnTo>
                  <a:close/>
                  <a:moveTo>
                    <a:pt x="11535" y="81172"/>
                  </a:moveTo>
                  <a:lnTo>
                    <a:pt x="12116" y="83106"/>
                  </a:lnTo>
                  <a:lnTo>
                    <a:pt x="8782" y="81905"/>
                  </a:lnTo>
                  <a:lnTo>
                    <a:pt x="6354" y="80181"/>
                  </a:lnTo>
                  <a:lnTo>
                    <a:pt x="4344" y="75905"/>
                  </a:lnTo>
                  <a:lnTo>
                    <a:pt x="67" y="71038"/>
                  </a:lnTo>
                  <a:lnTo>
                    <a:pt x="0" y="69618"/>
                  </a:lnTo>
                  <a:lnTo>
                    <a:pt x="1629" y="68542"/>
                  </a:lnTo>
                  <a:lnTo>
                    <a:pt x="5144" y="67780"/>
                  </a:lnTo>
                  <a:lnTo>
                    <a:pt x="6563" y="68571"/>
                  </a:lnTo>
                  <a:lnTo>
                    <a:pt x="7477" y="69390"/>
                  </a:lnTo>
                  <a:lnTo>
                    <a:pt x="7763" y="70323"/>
                  </a:lnTo>
                  <a:lnTo>
                    <a:pt x="5772" y="72190"/>
                  </a:lnTo>
                  <a:lnTo>
                    <a:pt x="5363" y="73038"/>
                  </a:lnTo>
                  <a:lnTo>
                    <a:pt x="6896" y="74714"/>
                  </a:lnTo>
                  <a:lnTo>
                    <a:pt x="6877" y="75390"/>
                  </a:lnTo>
                  <a:lnTo>
                    <a:pt x="7515" y="78639"/>
                  </a:lnTo>
                  <a:lnTo>
                    <a:pt x="8268" y="79858"/>
                  </a:lnTo>
                  <a:lnTo>
                    <a:pt x="10202" y="80839"/>
                  </a:lnTo>
                  <a:lnTo>
                    <a:pt x="11535" y="81172"/>
                  </a:lnTo>
                  <a:close/>
                  <a:moveTo>
                    <a:pt x="180804" y="84725"/>
                  </a:moveTo>
                  <a:lnTo>
                    <a:pt x="180337" y="86763"/>
                  </a:lnTo>
                  <a:lnTo>
                    <a:pt x="184033" y="90145"/>
                  </a:lnTo>
                  <a:lnTo>
                    <a:pt x="185290" y="92288"/>
                  </a:lnTo>
                  <a:lnTo>
                    <a:pt x="185757" y="94364"/>
                  </a:lnTo>
                  <a:lnTo>
                    <a:pt x="185443" y="94964"/>
                  </a:lnTo>
                  <a:lnTo>
                    <a:pt x="184042" y="93840"/>
                  </a:lnTo>
                  <a:lnTo>
                    <a:pt x="182890" y="93478"/>
                  </a:lnTo>
                  <a:lnTo>
                    <a:pt x="183280" y="94964"/>
                  </a:lnTo>
                  <a:lnTo>
                    <a:pt x="184461" y="96241"/>
                  </a:lnTo>
                  <a:lnTo>
                    <a:pt x="182366" y="96974"/>
                  </a:lnTo>
                  <a:lnTo>
                    <a:pt x="180270" y="96936"/>
                  </a:lnTo>
                  <a:lnTo>
                    <a:pt x="174136" y="95155"/>
                  </a:lnTo>
                  <a:lnTo>
                    <a:pt x="172727" y="93259"/>
                  </a:lnTo>
                  <a:lnTo>
                    <a:pt x="176394" y="90411"/>
                  </a:lnTo>
                  <a:lnTo>
                    <a:pt x="177137" y="89259"/>
                  </a:lnTo>
                  <a:lnTo>
                    <a:pt x="174546" y="89373"/>
                  </a:lnTo>
                  <a:lnTo>
                    <a:pt x="171774" y="92755"/>
                  </a:lnTo>
                  <a:lnTo>
                    <a:pt x="167336" y="91269"/>
                  </a:lnTo>
                  <a:lnTo>
                    <a:pt x="165974" y="89906"/>
                  </a:lnTo>
                  <a:lnTo>
                    <a:pt x="165668" y="89173"/>
                  </a:lnTo>
                  <a:lnTo>
                    <a:pt x="167421" y="86163"/>
                  </a:lnTo>
                  <a:lnTo>
                    <a:pt x="170545" y="86268"/>
                  </a:lnTo>
                  <a:lnTo>
                    <a:pt x="172193" y="85592"/>
                  </a:lnTo>
                  <a:lnTo>
                    <a:pt x="174241" y="84639"/>
                  </a:lnTo>
                  <a:lnTo>
                    <a:pt x="174260" y="83211"/>
                  </a:lnTo>
                  <a:lnTo>
                    <a:pt x="179137" y="82887"/>
                  </a:lnTo>
                  <a:lnTo>
                    <a:pt x="180804" y="84725"/>
                  </a:lnTo>
                  <a:close/>
                  <a:moveTo>
                    <a:pt x="113386" y="90611"/>
                  </a:moveTo>
                  <a:lnTo>
                    <a:pt x="112138" y="91012"/>
                  </a:lnTo>
                  <a:lnTo>
                    <a:pt x="113386" y="88268"/>
                  </a:lnTo>
                  <a:lnTo>
                    <a:pt x="115596" y="86849"/>
                  </a:lnTo>
                  <a:lnTo>
                    <a:pt x="114767" y="89154"/>
                  </a:lnTo>
                  <a:lnTo>
                    <a:pt x="113386" y="90611"/>
                  </a:lnTo>
                  <a:close/>
                  <a:moveTo>
                    <a:pt x="110490" y="92116"/>
                  </a:moveTo>
                  <a:lnTo>
                    <a:pt x="109300" y="93278"/>
                  </a:lnTo>
                  <a:lnTo>
                    <a:pt x="107452" y="92774"/>
                  </a:lnTo>
                  <a:lnTo>
                    <a:pt x="105518" y="88887"/>
                  </a:lnTo>
                  <a:lnTo>
                    <a:pt x="110490" y="92116"/>
                  </a:lnTo>
                  <a:close/>
                  <a:moveTo>
                    <a:pt x="100755" y="97450"/>
                  </a:moveTo>
                  <a:lnTo>
                    <a:pt x="102270" y="101165"/>
                  </a:lnTo>
                  <a:lnTo>
                    <a:pt x="103690" y="102413"/>
                  </a:lnTo>
                  <a:lnTo>
                    <a:pt x="106661" y="103889"/>
                  </a:lnTo>
                  <a:lnTo>
                    <a:pt x="108061" y="104080"/>
                  </a:lnTo>
                  <a:lnTo>
                    <a:pt x="113138" y="106747"/>
                  </a:lnTo>
                  <a:lnTo>
                    <a:pt x="119034" y="107280"/>
                  </a:lnTo>
                  <a:lnTo>
                    <a:pt x="119796" y="108052"/>
                  </a:lnTo>
                  <a:lnTo>
                    <a:pt x="120520" y="110100"/>
                  </a:lnTo>
                  <a:lnTo>
                    <a:pt x="121720" y="111709"/>
                  </a:lnTo>
                  <a:lnTo>
                    <a:pt x="122025" y="112957"/>
                  </a:lnTo>
                  <a:lnTo>
                    <a:pt x="121396" y="114348"/>
                  </a:lnTo>
                  <a:lnTo>
                    <a:pt x="122263" y="118586"/>
                  </a:lnTo>
                  <a:lnTo>
                    <a:pt x="123749" y="122606"/>
                  </a:lnTo>
                  <a:lnTo>
                    <a:pt x="125988" y="124549"/>
                  </a:lnTo>
                  <a:lnTo>
                    <a:pt x="128778" y="125139"/>
                  </a:lnTo>
                  <a:lnTo>
                    <a:pt x="131436" y="125054"/>
                  </a:lnTo>
                  <a:lnTo>
                    <a:pt x="132102" y="125854"/>
                  </a:lnTo>
                  <a:lnTo>
                    <a:pt x="131836" y="129359"/>
                  </a:lnTo>
                  <a:lnTo>
                    <a:pt x="130712" y="130731"/>
                  </a:lnTo>
                  <a:lnTo>
                    <a:pt x="129797" y="131064"/>
                  </a:lnTo>
                  <a:lnTo>
                    <a:pt x="129007" y="130702"/>
                  </a:lnTo>
                  <a:lnTo>
                    <a:pt x="128283" y="129883"/>
                  </a:lnTo>
                  <a:lnTo>
                    <a:pt x="127502" y="129492"/>
                  </a:lnTo>
                  <a:lnTo>
                    <a:pt x="125978" y="129426"/>
                  </a:lnTo>
                  <a:lnTo>
                    <a:pt x="124863" y="128016"/>
                  </a:lnTo>
                  <a:lnTo>
                    <a:pt x="122034" y="126082"/>
                  </a:lnTo>
                  <a:lnTo>
                    <a:pt x="121511" y="124921"/>
                  </a:lnTo>
                  <a:lnTo>
                    <a:pt x="121415" y="123139"/>
                  </a:lnTo>
                  <a:lnTo>
                    <a:pt x="120215" y="121825"/>
                  </a:lnTo>
                  <a:lnTo>
                    <a:pt x="119110" y="119329"/>
                  </a:lnTo>
                  <a:lnTo>
                    <a:pt x="118063" y="118634"/>
                  </a:lnTo>
                  <a:lnTo>
                    <a:pt x="117482" y="117377"/>
                  </a:lnTo>
                  <a:lnTo>
                    <a:pt x="117434" y="116843"/>
                  </a:lnTo>
                  <a:lnTo>
                    <a:pt x="113319" y="116472"/>
                  </a:lnTo>
                  <a:lnTo>
                    <a:pt x="109919" y="116462"/>
                  </a:lnTo>
                  <a:lnTo>
                    <a:pt x="107032" y="115043"/>
                  </a:lnTo>
                  <a:lnTo>
                    <a:pt x="106137" y="111319"/>
                  </a:lnTo>
                  <a:lnTo>
                    <a:pt x="104423" y="110319"/>
                  </a:lnTo>
                  <a:lnTo>
                    <a:pt x="103137" y="109261"/>
                  </a:lnTo>
                  <a:lnTo>
                    <a:pt x="102070" y="107795"/>
                  </a:lnTo>
                  <a:lnTo>
                    <a:pt x="99365" y="105099"/>
                  </a:lnTo>
                  <a:lnTo>
                    <a:pt x="96374" y="102841"/>
                  </a:lnTo>
                  <a:lnTo>
                    <a:pt x="93479" y="101346"/>
                  </a:lnTo>
                  <a:lnTo>
                    <a:pt x="90411" y="100365"/>
                  </a:lnTo>
                  <a:lnTo>
                    <a:pt x="87916" y="101518"/>
                  </a:lnTo>
                  <a:lnTo>
                    <a:pt x="86459" y="101251"/>
                  </a:lnTo>
                  <a:lnTo>
                    <a:pt x="86163" y="100470"/>
                  </a:lnTo>
                  <a:lnTo>
                    <a:pt x="89268" y="98917"/>
                  </a:lnTo>
                  <a:lnTo>
                    <a:pt x="93536" y="95945"/>
                  </a:lnTo>
                  <a:lnTo>
                    <a:pt x="96536" y="94964"/>
                  </a:lnTo>
                  <a:lnTo>
                    <a:pt x="97993" y="94840"/>
                  </a:lnTo>
                  <a:lnTo>
                    <a:pt x="100755" y="97450"/>
                  </a:lnTo>
                  <a:close/>
                  <a:moveTo>
                    <a:pt x="134417" y="102565"/>
                  </a:moveTo>
                  <a:lnTo>
                    <a:pt x="131598" y="103394"/>
                  </a:lnTo>
                  <a:lnTo>
                    <a:pt x="130845" y="103261"/>
                  </a:lnTo>
                  <a:lnTo>
                    <a:pt x="131474" y="102213"/>
                  </a:lnTo>
                  <a:lnTo>
                    <a:pt x="131522" y="101775"/>
                  </a:lnTo>
                  <a:lnTo>
                    <a:pt x="128702" y="99851"/>
                  </a:lnTo>
                  <a:lnTo>
                    <a:pt x="129035" y="97355"/>
                  </a:lnTo>
                  <a:lnTo>
                    <a:pt x="129369" y="96717"/>
                  </a:lnTo>
                  <a:lnTo>
                    <a:pt x="131464" y="98022"/>
                  </a:lnTo>
                  <a:lnTo>
                    <a:pt x="131922" y="100194"/>
                  </a:lnTo>
                  <a:lnTo>
                    <a:pt x="134417" y="102565"/>
                  </a:lnTo>
                  <a:close/>
                  <a:moveTo>
                    <a:pt x="27813" y="109404"/>
                  </a:moveTo>
                  <a:lnTo>
                    <a:pt x="26775" y="109671"/>
                  </a:lnTo>
                  <a:lnTo>
                    <a:pt x="25880" y="109490"/>
                  </a:lnTo>
                  <a:lnTo>
                    <a:pt x="25070" y="109642"/>
                  </a:lnTo>
                  <a:lnTo>
                    <a:pt x="24279" y="110290"/>
                  </a:lnTo>
                  <a:lnTo>
                    <a:pt x="24365" y="107595"/>
                  </a:lnTo>
                  <a:lnTo>
                    <a:pt x="25289" y="104232"/>
                  </a:lnTo>
                  <a:lnTo>
                    <a:pt x="26413" y="102270"/>
                  </a:lnTo>
                  <a:lnTo>
                    <a:pt x="28004" y="101356"/>
                  </a:lnTo>
                  <a:lnTo>
                    <a:pt x="28680" y="102899"/>
                  </a:lnTo>
                  <a:lnTo>
                    <a:pt x="28556" y="108385"/>
                  </a:lnTo>
                  <a:lnTo>
                    <a:pt x="27813" y="109404"/>
                  </a:lnTo>
                  <a:close/>
                  <a:moveTo>
                    <a:pt x="172355" y="122672"/>
                  </a:moveTo>
                  <a:lnTo>
                    <a:pt x="169802" y="124587"/>
                  </a:lnTo>
                  <a:lnTo>
                    <a:pt x="166954" y="121815"/>
                  </a:lnTo>
                  <a:lnTo>
                    <a:pt x="166488" y="120920"/>
                  </a:lnTo>
                  <a:lnTo>
                    <a:pt x="168583" y="119796"/>
                  </a:lnTo>
                  <a:lnTo>
                    <a:pt x="169622" y="118072"/>
                  </a:lnTo>
                  <a:lnTo>
                    <a:pt x="168783" y="115948"/>
                  </a:lnTo>
                  <a:lnTo>
                    <a:pt x="165878" y="112805"/>
                  </a:lnTo>
                  <a:lnTo>
                    <a:pt x="165735" y="110576"/>
                  </a:lnTo>
                  <a:lnTo>
                    <a:pt x="170183" y="109633"/>
                  </a:lnTo>
                  <a:lnTo>
                    <a:pt x="172803" y="111576"/>
                  </a:lnTo>
                  <a:lnTo>
                    <a:pt x="174136" y="111709"/>
                  </a:lnTo>
                  <a:lnTo>
                    <a:pt x="173622" y="113567"/>
                  </a:lnTo>
                  <a:lnTo>
                    <a:pt x="173850" y="114167"/>
                  </a:lnTo>
                  <a:lnTo>
                    <a:pt x="174050" y="119787"/>
                  </a:lnTo>
                  <a:lnTo>
                    <a:pt x="172812" y="120577"/>
                  </a:lnTo>
                  <a:lnTo>
                    <a:pt x="172612" y="122120"/>
                  </a:lnTo>
                  <a:lnTo>
                    <a:pt x="172355" y="122672"/>
                  </a:lnTo>
                  <a:close/>
                  <a:moveTo>
                    <a:pt x="29728" y="118901"/>
                  </a:moveTo>
                  <a:lnTo>
                    <a:pt x="28403" y="119272"/>
                  </a:lnTo>
                  <a:lnTo>
                    <a:pt x="26727" y="116024"/>
                  </a:lnTo>
                  <a:lnTo>
                    <a:pt x="26118" y="113776"/>
                  </a:lnTo>
                  <a:lnTo>
                    <a:pt x="26823" y="113652"/>
                  </a:lnTo>
                  <a:lnTo>
                    <a:pt x="27490" y="113910"/>
                  </a:lnTo>
                  <a:lnTo>
                    <a:pt x="28194" y="114757"/>
                  </a:lnTo>
                  <a:lnTo>
                    <a:pt x="28194" y="115624"/>
                  </a:lnTo>
                  <a:lnTo>
                    <a:pt x="28480" y="116557"/>
                  </a:lnTo>
                  <a:lnTo>
                    <a:pt x="29213" y="117672"/>
                  </a:lnTo>
                  <a:lnTo>
                    <a:pt x="29728" y="118901"/>
                  </a:lnTo>
                  <a:close/>
                  <a:moveTo>
                    <a:pt x="25822" y="117072"/>
                  </a:moveTo>
                  <a:lnTo>
                    <a:pt x="26156" y="120996"/>
                  </a:lnTo>
                  <a:lnTo>
                    <a:pt x="28042" y="121729"/>
                  </a:lnTo>
                  <a:lnTo>
                    <a:pt x="30547" y="125254"/>
                  </a:lnTo>
                  <a:lnTo>
                    <a:pt x="30337" y="127054"/>
                  </a:lnTo>
                  <a:lnTo>
                    <a:pt x="29813" y="127673"/>
                  </a:lnTo>
                  <a:lnTo>
                    <a:pt x="25661" y="126006"/>
                  </a:lnTo>
                  <a:lnTo>
                    <a:pt x="24670" y="126759"/>
                  </a:lnTo>
                  <a:lnTo>
                    <a:pt x="23460" y="126454"/>
                  </a:lnTo>
                  <a:lnTo>
                    <a:pt x="22708" y="124501"/>
                  </a:lnTo>
                  <a:lnTo>
                    <a:pt x="22793" y="123816"/>
                  </a:lnTo>
                  <a:lnTo>
                    <a:pt x="22117" y="122644"/>
                  </a:lnTo>
                  <a:lnTo>
                    <a:pt x="21546" y="122120"/>
                  </a:lnTo>
                  <a:lnTo>
                    <a:pt x="19917" y="123673"/>
                  </a:lnTo>
                  <a:lnTo>
                    <a:pt x="18888" y="123958"/>
                  </a:lnTo>
                  <a:lnTo>
                    <a:pt x="18888" y="122539"/>
                  </a:lnTo>
                  <a:lnTo>
                    <a:pt x="20403" y="118634"/>
                  </a:lnTo>
                  <a:lnTo>
                    <a:pt x="21107" y="117977"/>
                  </a:lnTo>
                  <a:lnTo>
                    <a:pt x="22346" y="119262"/>
                  </a:lnTo>
                  <a:lnTo>
                    <a:pt x="23365" y="118786"/>
                  </a:lnTo>
                  <a:lnTo>
                    <a:pt x="24136" y="116672"/>
                  </a:lnTo>
                  <a:lnTo>
                    <a:pt x="24184" y="114567"/>
                  </a:lnTo>
                  <a:lnTo>
                    <a:pt x="24537" y="113948"/>
                  </a:lnTo>
                  <a:lnTo>
                    <a:pt x="25822" y="117072"/>
                  </a:lnTo>
                  <a:close/>
                  <a:moveTo>
                    <a:pt x="104375" y="132560"/>
                  </a:moveTo>
                  <a:lnTo>
                    <a:pt x="103318" y="133388"/>
                  </a:lnTo>
                  <a:lnTo>
                    <a:pt x="102127" y="133350"/>
                  </a:lnTo>
                  <a:lnTo>
                    <a:pt x="101279" y="133045"/>
                  </a:lnTo>
                  <a:lnTo>
                    <a:pt x="100861" y="132379"/>
                  </a:lnTo>
                  <a:lnTo>
                    <a:pt x="101385" y="132064"/>
                  </a:lnTo>
                  <a:lnTo>
                    <a:pt x="102004" y="130721"/>
                  </a:lnTo>
                  <a:lnTo>
                    <a:pt x="102575" y="130359"/>
                  </a:lnTo>
                  <a:lnTo>
                    <a:pt x="103423" y="130531"/>
                  </a:lnTo>
                  <a:lnTo>
                    <a:pt x="103947" y="131074"/>
                  </a:lnTo>
                  <a:lnTo>
                    <a:pt x="104375" y="132560"/>
                  </a:lnTo>
                  <a:close/>
                  <a:moveTo>
                    <a:pt x="142885" y="138160"/>
                  </a:moveTo>
                  <a:lnTo>
                    <a:pt x="142094" y="140418"/>
                  </a:lnTo>
                  <a:lnTo>
                    <a:pt x="140008" y="137789"/>
                  </a:lnTo>
                  <a:lnTo>
                    <a:pt x="137722" y="135989"/>
                  </a:lnTo>
                  <a:lnTo>
                    <a:pt x="136865" y="134408"/>
                  </a:lnTo>
                  <a:lnTo>
                    <a:pt x="135474" y="133455"/>
                  </a:lnTo>
                  <a:lnTo>
                    <a:pt x="135094" y="131331"/>
                  </a:lnTo>
                  <a:lnTo>
                    <a:pt x="136779" y="130464"/>
                  </a:lnTo>
                  <a:lnTo>
                    <a:pt x="137503" y="130378"/>
                  </a:lnTo>
                  <a:lnTo>
                    <a:pt x="139237" y="132960"/>
                  </a:lnTo>
                  <a:lnTo>
                    <a:pt x="141942" y="133255"/>
                  </a:lnTo>
                  <a:lnTo>
                    <a:pt x="141732" y="134846"/>
                  </a:lnTo>
                  <a:lnTo>
                    <a:pt x="142590" y="136893"/>
                  </a:lnTo>
                  <a:lnTo>
                    <a:pt x="142885" y="138160"/>
                  </a:lnTo>
                  <a:close/>
                  <a:moveTo>
                    <a:pt x="33204" y="136627"/>
                  </a:moveTo>
                  <a:lnTo>
                    <a:pt x="36024" y="139903"/>
                  </a:lnTo>
                  <a:lnTo>
                    <a:pt x="33747" y="139094"/>
                  </a:lnTo>
                  <a:lnTo>
                    <a:pt x="31328" y="141361"/>
                  </a:lnTo>
                  <a:lnTo>
                    <a:pt x="28261" y="138713"/>
                  </a:lnTo>
                  <a:lnTo>
                    <a:pt x="26423" y="136027"/>
                  </a:lnTo>
                  <a:lnTo>
                    <a:pt x="26013" y="134950"/>
                  </a:lnTo>
                  <a:lnTo>
                    <a:pt x="27937" y="132436"/>
                  </a:lnTo>
                  <a:lnTo>
                    <a:pt x="29728" y="135017"/>
                  </a:lnTo>
                  <a:lnTo>
                    <a:pt x="31899" y="135427"/>
                  </a:lnTo>
                  <a:lnTo>
                    <a:pt x="33204" y="136627"/>
                  </a:lnTo>
                  <a:close/>
                  <a:moveTo>
                    <a:pt x="191881" y="136417"/>
                  </a:moveTo>
                  <a:lnTo>
                    <a:pt x="195168" y="137531"/>
                  </a:lnTo>
                  <a:lnTo>
                    <a:pt x="196082" y="137408"/>
                  </a:lnTo>
                  <a:lnTo>
                    <a:pt x="197634" y="137808"/>
                  </a:lnTo>
                  <a:lnTo>
                    <a:pt x="198044" y="139846"/>
                  </a:lnTo>
                  <a:lnTo>
                    <a:pt x="195987" y="140141"/>
                  </a:lnTo>
                  <a:lnTo>
                    <a:pt x="192424" y="142018"/>
                  </a:lnTo>
                  <a:lnTo>
                    <a:pt x="190910" y="141608"/>
                  </a:lnTo>
                  <a:lnTo>
                    <a:pt x="189100" y="139980"/>
                  </a:lnTo>
                  <a:lnTo>
                    <a:pt x="186224" y="139808"/>
                  </a:lnTo>
                  <a:lnTo>
                    <a:pt x="185376" y="139360"/>
                  </a:lnTo>
                  <a:lnTo>
                    <a:pt x="186919" y="137436"/>
                  </a:lnTo>
                  <a:lnTo>
                    <a:pt x="189719" y="136465"/>
                  </a:lnTo>
                  <a:lnTo>
                    <a:pt x="191881" y="136417"/>
                  </a:lnTo>
                  <a:close/>
                  <a:moveTo>
                    <a:pt x="125892" y="144304"/>
                  </a:moveTo>
                  <a:lnTo>
                    <a:pt x="124102" y="145933"/>
                  </a:lnTo>
                  <a:lnTo>
                    <a:pt x="123797" y="143485"/>
                  </a:lnTo>
                  <a:lnTo>
                    <a:pt x="124949" y="140903"/>
                  </a:lnTo>
                  <a:lnTo>
                    <a:pt x="126521" y="140741"/>
                  </a:lnTo>
                  <a:lnTo>
                    <a:pt x="127102" y="141875"/>
                  </a:lnTo>
                  <a:lnTo>
                    <a:pt x="125892" y="144304"/>
                  </a:lnTo>
                  <a:close/>
                  <a:moveTo>
                    <a:pt x="149952" y="143542"/>
                  </a:moveTo>
                  <a:lnTo>
                    <a:pt x="148962" y="145713"/>
                  </a:lnTo>
                  <a:lnTo>
                    <a:pt x="147295" y="145380"/>
                  </a:lnTo>
                  <a:lnTo>
                    <a:pt x="144504" y="143047"/>
                  </a:lnTo>
                  <a:lnTo>
                    <a:pt x="143552" y="141989"/>
                  </a:lnTo>
                  <a:lnTo>
                    <a:pt x="143028" y="140951"/>
                  </a:lnTo>
                  <a:lnTo>
                    <a:pt x="144171" y="140827"/>
                  </a:lnTo>
                  <a:lnTo>
                    <a:pt x="145571" y="141932"/>
                  </a:lnTo>
                  <a:lnTo>
                    <a:pt x="149143" y="142513"/>
                  </a:lnTo>
                  <a:lnTo>
                    <a:pt x="149952" y="143542"/>
                  </a:lnTo>
                  <a:close/>
                  <a:moveTo>
                    <a:pt x="170622" y="145904"/>
                  </a:moveTo>
                  <a:lnTo>
                    <a:pt x="169374" y="146037"/>
                  </a:lnTo>
                  <a:lnTo>
                    <a:pt x="169755" y="144694"/>
                  </a:lnTo>
                  <a:lnTo>
                    <a:pt x="172145" y="142361"/>
                  </a:lnTo>
                  <a:lnTo>
                    <a:pt x="175499" y="142247"/>
                  </a:lnTo>
                  <a:lnTo>
                    <a:pt x="178546" y="141075"/>
                  </a:lnTo>
                  <a:lnTo>
                    <a:pt x="179232" y="141037"/>
                  </a:lnTo>
                  <a:lnTo>
                    <a:pt x="177775" y="142875"/>
                  </a:lnTo>
                  <a:lnTo>
                    <a:pt x="175317" y="144590"/>
                  </a:lnTo>
                  <a:lnTo>
                    <a:pt x="170622" y="145904"/>
                  </a:lnTo>
                  <a:close/>
                  <a:moveTo>
                    <a:pt x="153877" y="149600"/>
                  </a:moveTo>
                  <a:lnTo>
                    <a:pt x="151315" y="149809"/>
                  </a:lnTo>
                  <a:lnTo>
                    <a:pt x="151467" y="147247"/>
                  </a:lnTo>
                  <a:lnTo>
                    <a:pt x="152419" y="146580"/>
                  </a:lnTo>
                  <a:lnTo>
                    <a:pt x="155486" y="147857"/>
                  </a:lnTo>
                  <a:lnTo>
                    <a:pt x="155334" y="148657"/>
                  </a:lnTo>
                  <a:lnTo>
                    <a:pt x="153877" y="149600"/>
                  </a:lnTo>
                  <a:close/>
                  <a:moveTo>
                    <a:pt x="141590" y="147104"/>
                  </a:moveTo>
                  <a:lnTo>
                    <a:pt x="141456" y="150581"/>
                  </a:lnTo>
                  <a:lnTo>
                    <a:pt x="140751" y="150552"/>
                  </a:lnTo>
                  <a:lnTo>
                    <a:pt x="140341" y="150019"/>
                  </a:lnTo>
                  <a:lnTo>
                    <a:pt x="140322" y="148685"/>
                  </a:lnTo>
                  <a:lnTo>
                    <a:pt x="140627" y="146590"/>
                  </a:lnTo>
                  <a:lnTo>
                    <a:pt x="141590" y="147104"/>
                  </a:lnTo>
                  <a:close/>
                  <a:moveTo>
                    <a:pt x="128026" y="152105"/>
                  </a:moveTo>
                  <a:lnTo>
                    <a:pt x="126502" y="153124"/>
                  </a:lnTo>
                  <a:lnTo>
                    <a:pt x="127007" y="150800"/>
                  </a:lnTo>
                  <a:lnTo>
                    <a:pt x="126254" y="149590"/>
                  </a:lnTo>
                  <a:lnTo>
                    <a:pt x="126921" y="148562"/>
                  </a:lnTo>
                  <a:lnTo>
                    <a:pt x="127902" y="147733"/>
                  </a:lnTo>
                  <a:lnTo>
                    <a:pt x="128359" y="148590"/>
                  </a:lnTo>
                  <a:lnTo>
                    <a:pt x="129236" y="149981"/>
                  </a:lnTo>
                  <a:lnTo>
                    <a:pt x="128026" y="152105"/>
                  </a:lnTo>
                  <a:close/>
                  <a:moveTo>
                    <a:pt x="130369" y="159439"/>
                  </a:moveTo>
                  <a:lnTo>
                    <a:pt x="129378" y="159944"/>
                  </a:lnTo>
                  <a:lnTo>
                    <a:pt x="127731" y="159210"/>
                  </a:lnTo>
                  <a:lnTo>
                    <a:pt x="128169" y="157382"/>
                  </a:lnTo>
                  <a:lnTo>
                    <a:pt x="129312" y="156601"/>
                  </a:lnTo>
                  <a:lnTo>
                    <a:pt x="130521" y="157201"/>
                  </a:lnTo>
                  <a:lnTo>
                    <a:pt x="130702" y="158029"/>
                  </a:lnTo>
                  <a:lnTo>
                    <a:pt x="130369" y="159439"/>
                  </a:lnTo>
                  <a:close/>
                  <a:moveTo>
                    <a:pt x="157705" y="164697"/>
                  </a:moveTo>
                  <a:lnTo>
                    <a:pt x="155324" y="165954"/>
                  </a:lnTo>
                  <a:lnTo>
                    <a:pt x="153696" y="164135"/>
                  </a:lnTo>
                  <a:lnTo>
                    <a:pt x="152791" y="161268"/>
                  </a:lnTo>
                  <a:lnTo>
                    <a:pt x="157153" y="157058"/>
                  </a:lnTo>
                  <a:lnTo>
                    <a:pt x="158201" y="157439"/>
                  </a:lnTo>
                  <a:lnTo>
                    <a:pt x="158830" y="158525"/>
                  </a:lnTo>
                  <a:lnTo>
                    <a:pt x="158735" y="162306"/>
                  </a:lnTo>
                  <a:lnTo>
                    <a:pt x="157705" y="164697"/>
                  </a:lnTo>
                  <a:close/>
                  <a:moveTo>
                    <a:pt x="150572" y="161335"/>
                  </a:moveTo>
                  <a:lnTo>
                    <a:pt x="148447" y="163906"/>
                  </a:lnTo>
                  <a:lnTo>
                    <a:pt x="146676" y="163630"/>
                  </a:lnTo>
                  <a:lnTo>
                    <a:pt x="145933" y="162449"/>
                  </a:lnTo>
                  <a:lnTo>
                    <a:pt x="147028" y="160030"/>
                  </a:lnTo>
                  <a:lnTo>
                    <a:pt x="149400" y="158658"/>
                  </a:lnTo>
                  <a:lnTo>
                    <a:pt x="150476" y="159020"/>
                  </a:lnTo>
                  <a:lnTo>
                    <a:pt x="150372" y="160811"/>
                  </a:lnTo>
                  <a:lnTo>
                    <a:pt x="150572" y="161335"/>
                  </a:lnTo>
                  <a:close/>
                  <a:moveTo>
                    <a:pt x="197101" y="164973"/>
                  </a:moveTo>
                  <a:lnTo>
                    <a:pt x="194434" y="165430"/>
                  </a:lnTo>
                  <a:lnTo>
                    <a:pt x="194910" y="162782"/>
                  </a:lnTo>
                  <a:lnTo>
                    <a:pt x="193606" y="160696"/>
                  </a:lnTo>
                  <a:lnTo>
                    <a:pt x="195682" y="161868"/>
                  </a:lnTo>
                  <a:lnTo>
                    <a:pt x="197006" y="163278"/>
                  </a:lnTo>
                  <a:lnTo>
                    <a:pt x="197654" y="163544"/>
                  </a:lnTo>
                  <a:lnTo>
                    <a:pt x="197501" y="164392"/>
                  </a:lnTo>
                  <a:lnTo>
                    <a:pt x="197101" y="164973"/>
                  </a:lnTo>
                  <a:close/>
                  <a:moveTo>
                    <a:pt x="135655" y="166230"/>
                  </a:moveTo>
                  <a:lnTo>
                    <a:pt x="135170" y="166373"/>
                  </a:lnTo>
                  <a:lnTo>
                    <a:pt x="134464" y="164973"/>
                  </a:lnTo>
                  <a:lnTo>
                    <a:pt x="134322" y="163668"/>
                  </a:lnTo>
                  <a:lnTo>
                    <a:pt x="134598" y="162897"/>
                  </a:lnTo>
                  <a:lnTo>
                    <a:pt x="135522" y="162821"/>
                  </a:lnTo>
                  <a:lnTo>
                    <a:pt x="136779" y="165306"/>
                  </a:lnTo>
                  <a:lnTo>
                    <a:pt x="135655" y="166230"/>
                  </a:lnTo>
                  <a:close/>
                  <a:moveTo>
                    <a:pt x="166078" y="170583"/>
                  </a:moveTo>
                  <a:lnTo>
                    <a:pt x="163716" y="170860"/>
                  </a:lnTo>
                  <a:lnTo>
                    <a:pt x="162963" y="170612"/>
                  </a:lnTo>
                  <a:lnTo>
                    <a:pt x="164402" y="170041"/>
                  </a:lnTo>
                  <a:lnTo>
                    <a:pt x="165402" y="169431"/>
                  </a:lnTo>
                  <a:lnTo>
                    <a:pt x="165888" y="168697"/>
                  </a:lnTo>
                  <a:lnTo>
                    <a:pt x="168279" y="167402"/>
                  </a:lnTo>
                  <a:lnTo>
                    <a:pt x="169850" y="165706"/>
                  </a:lnTo>
                  <a:lnTo>
                    <a:pt x="171555" y="166859"/>
                  </a:lnTo>
                  <a:lnTo>
                    <a:pt x="169422" y="167630"/>
                  </a:lnTo>
                  <a:lnTo>
                    <a:pt x="166078" y="170583"/>
                  </a:lnTo>
                  <a:close/>
                  <a:moveTo>
                    <a:pt x="195225" y="172688"/>
                  </a:moveTo>
                  <a:lnTo>
                    <a:pt x="194396" y="172726"/>
                  </a:lnTo>
                  <a:lnTo>
                    <a:pt x="195386" y="171126"/>
                  </a:lnTo>
                  <a:lnTo>
                    <a:pt x="198206" y="168926"/>
                  </a:lnTo>
                  <a:lnTo>
                    <a:pt x="202311" y="166983"/>
                  </a:lnTo>
                  <a:lnTo>
                    <a:pt x="203673" y="166773"/>
                  </a:lnTo>
                  <a:lnTo>
                    <a:pt x="205988" y="167973"/>
                  </a:lnTo>
                  <a:lnTo>
                    <a:pt x="201740" y="169964"/>
                  </a:lnTo>
                  <a:lnTo>
                    <a:pt x="200606" y="171012"/>
                  </a:lnTo>
                  <a:lnTo>
                    <a:pt x="197472" y="171240"/>
                  </a:lnTo>
                  <a:lnTo>
                    <a:pt x="195225" y="172688"/>
                  </a:lnTo>
                  <a:close/>
                  <a:moveTo>
                    <a:pt x="153314" y="174450"/>
                  </a:moveTo>
                  <a:lnTo>
                    <a:pt x="152848" y="174974"/>
                  </a:lnTo>
                  <a:lnTo>
                    <a:pt x="150829" y="172879"/>
                  </a:lnTo>
                  <a:lnTo>
                    <a:pt x="150057" y="171660"/>
                  </a:lnTo>
                  <a:lnTo>
                    <a:pt x="151019" y="170640"/>
                  </a:lnTo>
                  <a:lnTo>
                    <a:pt x="153991" y="173022"/>
                  </a:lnTo>
                  <a:lnTo>
                    <a:pt x="153314" y="174450"/>
                  </a:lnTo>
                  <a:close/>
                  <a:moveTo>
                    <a:pt x="130702" y="171469"/>
                  </a:moveTo>
                  <a:lnTo>
                    <a:pt x="130750" y="173422"/>
                  </a:lnTo>
                  <a:lnTo>
                    <a:pt x="130559" y="174117"/>
                  </a:lnTo>
                  <a:lnTo>
                    <a:pt x="125092" y="175060"/>
                  </a:lnTo>
                  <a:lnTo>
                    <a:pt x="125597" y="172822"/>
                  </a:lnTo>
                  <a:lnTo>
                    <a:pt x="125930" y="172117"/>
                  </a:lnTo>
                  <a:lnTo>
                    <a:pt x="127740" y="173155"/>
                  </a:lnTo>
                  <a:lnTo>
                    <a:pt x="128407" y="172622"/>
                  </a:lnTo>
                  <a:lnTo>
                    <a:pt x="128674" y="172012"/>
                  </a:lnTo>
                  <a:lnTo>
                    <a:pt x="130702" y="171469"/>
                  </a:lnTo>
                  <a:close/>
                  <a:moveTo>
                    <a:pt x="219570" y="178432"/>
                  </a:moveTo>
                  <a:lnTo>
                    <a:pt x="218990" y="178956"/>
                  </a:lnTo>
                  <a:lnTo>
                    <a:pt x="217647" y="177441"/>
                  </a:lnTo>
                  <a:lnTo>
                    <a:pt x="217580" y="176651"/>
                  </a:lnTo>
                  <a:lnTo>
                    <a:pt x="218951" y="175746"/>
                  </a:lnTo>
                  <a:lnTo>
                    <a:pt x="219637" y="175536"/>
                  </a:lnTo>
                  <a:lnTo>
                    <a:pt x="219837" y="176156"/>
                  </a:lnTo>
                  <a:lnTo>
                    <a:pt x="219818" y="177479"/>
                  </a:lnTo>
                  <a:lnTo>
                    <a:pt x="219570" y="178432"/>
                  </a:lnTo>
                  <a:close/>
                  <a:moveTo>
                    <a:pt x="182156" y="177394"/>
                  </a:moveTo>
                  <a:lnTo>
                    <a:pt x="180042" y="178184"/>
                  </a:lnTo>
                  <a:lnTo>
                    <a:pt x="178699" y="179851"/>
                  </a:lnTo>
                  <a:lnTo>
                    <a:pt x="177061" y="178670"/>
                  </a:lnTo>
                  <a:lnTo>
                    <a:pt x="177061" y="177070"/>
                  </a:lnTo>
                  <a:lnTo>
                    <a:pt x="178851" y="177565"/>
                  </a:lnTo>
                  <a:lnTo>
                    <a:pt x="180108" y="176660"/>
                  </a:lnTo>
                  <a:lnTo>
                    <a:pt x="179727" y="175641"/>
                  </a:lnTo>
                  <a:lnTo>
                    <a:pt x="181099" y="176117"/>
                  </a:lnTo>
                  <a:lnTo>
                    <a:pt x="182156" y="177394"/>
                  </a:lnTo>
                  <a:close/>
                  <a:moveTo>
                    <a:pt x="156010" y="183775"/>
                  </a:moveTo>
                  <a:lnTo>
                    <a:pt x="154772" y="185519"/>
                  </a:lnTo>
                  <a:lnTo>
                    <a:pt x="153019" y="184899"/>
                  </a:lnTo>
                  <a:lnTo>
                    <a:pt x="153734" y="184242"/>
                  </a:lnTo>
                  <a:lnTo>
                    <a:pt x="154153" y="183385"/>
                  </a:lnTo>
                  <a:lnTo>
                    <a:pt x="154200" y="182147"/>
                  </a:lnTo>
                  <a:lnTo>
                    <a:pt x="153724" y="181385"/>
                  </a:lnTo>
                  <a:lnTo>
                    <a:pt x="154048" y="181108"/>
                  </a:lnTo>
                  <a:lnTo>
                    <a:pt x="155610" y="182385"/>
                  </a:lnTo>
                  <a:lnTo>
                    <a:pt x="156010" y="183775"/>
                  </a:lnTo>
                  <a:close/>
                  <a:moveTo>
                    <a:pt x="219104" y="199044"/>
                  </a:moveTo>
                  <a:lnTo>
                    <a:pt x="217180" y="199739"/>
                  </a:lnTo>
                  <a:lnTo>
                    <a:pt x="216513" y="199654"/>
                  </a:lnTo>
                  <a:lnTo>
                    <a:pt x="215713" y="198130"/>
                  </a:lnTo>
                  <a:lnTo>
                    <a:pt x="216827" y="194453"/>
                  </a:lnTo>
                  <a:lnTo>
                    <a:pt x="215798" y="192081"/>
                  </a:lnTo>
                  <a:lnTo>
                    <a:pt x="215732" y="191081"/>
                  </a:lnTo>
                  <a:lnTo>
                    <a:pt x="217294" y="189690"/>
                  </a:lnTo>
                  <a:lnTo>
                    <a:pt x="218380" y="187605"/>
                  </a:lnTo>
                  <a:lnTo>
                    <a:pt x="221028" y="185347"/>
                  </a:lnTo>
                  <a:lnTo>
                    <a:pt x="227895" y="182671"/>
                  </a:lnTo>
                  <a:lnTo>
                    <a:pt x="229505" y="182423"/>
                  </a:lnTo>
                  <a:lnTo>
                    <a:pt x="229458" y="184518"/>
                  </a:lnTo>
                  <a:lnTo>
                    <a:pt x="227162" y="189814"/>
                  </a:lnTo>
                  <a:lnTo>
                    <a:pt x="225123" y="192462"/>
                  </a:lnTo>
                  <a:lnTo>
                    <a:pt x="225666" y="194577"/>
                  </a:lnTo>
                  <a:lnTo>
                    <a:pt x="222399" y="195167"/>
                  </a:lnTo>
                  <a:lnTo>
                    <a:pt x="219104" y="199044"/>
                  </a:lnTo>
                  <a:close/>
                  <a:moveTo>
                    <a:pt x="91088" y="190472"/>
                  </a:moveTo>
                  <a:lnTo>
                    <a:pt x="90774" y="191900"/>
                  </a:lnTo>
                  <a:lnTo>
                    <a:pt x="88021" y="190919"/>
                  </a:lnTo>
                  <a:lnTo>
                    <a:pt x="87259" y="189443"/>
                  </a:lnTo>
                  <a:lnTo>
                    <a:pt x="87116" y="186166"/>
                  </a:lnTo>
                  <a:lnTo>
                    <a:pt x="87840" y="184566"/>
                  </a:lnTo>
                  <a:lnTo>
                    <a:pt x="88316" y="184061"/>
                  </a:lnTo>
                  <a:lnTo>
                    <a:pt x="89583" y="185909"/>
                  </a:lnTo>
                  <a:lnTo>
                    <a:pt x="92240" y="188605"/>
                  </a:lnTo>
                  <a:lnTo>
                    <a:pt x="91088" y="190472"/>
                  </a:lnTo>
                  <a:close/>
                  <a:moveTo>
                    <a:pt x="201282" y="214256"/>
                  </a:moveTo>
                  <a:lnTo>
                    <a:pt x="200263" y="216094"/>
                  </a:lnTo>
                  <a:lnTo>
                    <a:pt x="199225" y="214541"/>
                  </a:lnTo>
                  <a:lnTo>
                    <a:pt x="199673" y="212750"/>
                  </a:lnTo>
                  <a:lnTo>
                    <a:pt x="198473" y="209921"/>
                  </a:lnTo>
                  <a:lnTo>
                    <a:pt x="200749" y="205712"/>
                  </a:lnTo>
                  <a:lnTo>
                    <a:pt x="200797" y="203664"/>
                  </a:lnTo>
                  <a:lnTo>
                    <a:pt x="202540" y="202616"/>
                  </a:lnTo>
                  <a:lnTo>
                    <a:pt x="202112" y="206093"/>
                  </a:lnTo>
                  <a:lnTo>
                    <a:pt x="200778" y="208874"/>
                  </a:lnTo>
                  <a:lnTo>
                    <a:pt x="202159" y="211188"/>
                  </a:lnTo>
                  <a:lnTo>
                    <a:pt x="202816" y="213817"/>
                  </a:lnTo>
                  <a:lnTo>
                    <a:pt x="201282" y="214256"/>
                  </a:lnTo>
                  <a:close/>
                  <a:moveTo>
                    <a:pt x="112433" y="211960"/>
                  </a:moveTo>
                  <a:lnTo>
                    <a:pt x="114262" y="212198"/>
                  </a:lnTo>
                  <a:lnTo>
                    <a:pt x="116739" y="212160"/>
                  </a:lnTo>
                  <a:lnTo>
                    <a:pt x="117300" y="211960"/>
                  </a:lnTo>
                  <a:lnTo>
                    <a:pt x="118882" y="210045"/>
                  </a:lnTo>
                  <a:lnTo>
                    <a:pt x="120825" y="210007"/>
                  </a:lnTo>
                  <a:lnTo>
                    <a:pt x="121673" y="211893"/>
                  </a:lnTo>
                  <a:lnTo>
                    <a:pt x="119701" y="212760"/>
                  </a:lnTo>
                  <a:lnTo>
                    <a:pt x="119301" y="213255"/>
                  </a:lnTo>
                  <a:lnTo>
                    <a:pt x="119682" y="213655"/>
                  </a:lnTo>
                  <a:lnTo>
                    <a:pt x="121158" y="214446"/>
                  </a:lnTo>
                  <a:lnTo>
                    <a:pt x="123216" y="214151"/>
                  </a:lnTo>
                  <a:lnTo>
                    <a:pt x="123273" y="215637"/>
                  </a:lnTo>
                  <a:lnTo>
                    <a:pt x="123730" y="216846"/>
                  </a:lnTo>
                  <a:lnTo>
                    <a:pt x="124739" y="217570"/>
                  </a:lnTo>
                  <a:lnTo>
                    <a:pt x="125845" y="217713"/>
                  </a:lnTo>
                  <a:lnTo>
                    <a:pt x="128274" y="217504"/>
                  </a:lnTo>
                  <a:lnTo>
                    <a:pt x="130664" y="217027"/>
                  </a:lnTo>
                  <a:lnTo>
                    <a:pt x="133131" y="216075"/>
                  </a:lnTo>
                  <a:lnTo>
                    <a:pt x="135655" y="215589"/>
                  </a:lnTo>
                  <a:lnTo>
                    <a:pt x="143190" y="216075"/>
                  </a:lnTo>
                  <a:lnTo>
                    <a:pt x="145895" y="218132"/>
                  </a:lnTo>
                  <a:lnTo>
                    <a:pt x="151048" y="218380"/>
                  </a:lnTo>
                  <a:lnTo>
                    <a:pt x="155829" y="219466"/>
                  </a:lnTo>
                  <a:lnTo>
                    <a:pt x="158344" y="218751"/>
                  </a:lnTo>
                  <a:lnTo>
                    <a:pt x="162639" y="218084"/>
                  </a:lnTo>
                  <a:lnTo>
                    <a:pt x="163326" y="218808"/>
                  </a:lnTo>
                  <a:lnTo>
                    <a:pt x="162773" y="223447"/>
                  </a:lnTo>
                  <a:lnTo>
                    <a:pt x="163039" y="224800"/>
                  </a:lnTo>
                  <a:lnTo>
                    <a:pt x="164278" y="225447"/>
                  </a:lnTo>
                  <a:lnTo>
                    <a:pt x="165497" y="225133"/>
                  </a:lnTo>
                  <a:lnTo>
                    <a:pt x="167002" y="223609"/>
                  </a:lnTo>
                  <a:lnTo>
                    <a:pt x="170602" y="222437"/>
                  </a:lnTo>
                  <a:lnTo>
                    <a:pt x="174336" y="222437"/>
                  </a:lnTo>
                  <a:lnTo>
                    <a:pt x="177489" y="219351"/>
                  </a:lnTo>
                  <a:lnTo>
                    <a:pt x="178413" y="219170"/>
                  </a:lnTo>
                  <a:lnTo>
                    <a:pt x="177832" y="220685"/>
                  </a:lnTo>
                  <a:lnTo>
                    <a:pt x="177355" y="224247"/>
                  </a:lnTo>
                  <a:lnTo>
                    <a:pt x="176689" y="226333"/>
                  </a:lnTo>
                  <a:lnTo>
                    <a:pt x="176384" y="227972"/>
                  </a:lnTo>
                  <a:lnTo>
                    <a:pt x="174279" y="228819"/>
                  </a:lnTo>
                  <a:lnTo>
                    <a:pt x="171108" y="228962"/>
                  </a:lnTo>
                  <a:lnTo>
                    <a:pt x="165307" y="228600"/>
                  </a:lnTo>
                  <a:lnTo>
                    <a:pt x="159458" y="229181"/>
                  </a:lnTo>
                  <a:lnTo>
                    <a:pt x="148628" y="230743"/>
                  </a:lnTo>
                  <a:lnTo>
                    <a:pt x="137779" y="231543"/>
                  </a:lnTo>
                  <a:lnTo>
                    <a:pt x="136322" y="231019"/>
                  </a:lnTo>
                  <a:lnTo>
                    <a:pt x="136293" y="228953"/>
                  </a:lnTo>
                  <a:lnTo>
                    <a:pt x="136065" y="227524"/>
                  </a:lnTo>
                  <a:lnTo>
                    <a:pt x="135360" y="226524"/>
                  </a:lnTo>
                  <a:lnTo>
                    <a:pt x="132007" y="225666"/>
                  </a:lnTo>
                  <a:lnTo>
                    <a:pt x="128807" y="224200"/>
                  </a:lnTo>
                  <a:lnTo>
                    <a:pt x="116263" y="222199"/>
                  </a:lnTo>
                  <a:lnTo>
                    <a:pt x="113300" y="221409"/>
                  </a:lnTo>
                  <a:lnTo>
                    <a:pt x="108500" y="221818"/>
                  </a:lnTo>
                  <a:lnTo>
                    <a:pt x="106738" y="221761"/>
                  </a:lnTo>
                  <a:lnTo>
                    <a:pt x="105528" y="221047"/>
                  </a:lnTo>
                  <a:lnTo>
                    <a:pt x="104690" y="219808"/>
                  </a:lnTo>
                  <a:lnTo>
                    <a:pt x="104309" y="215875"/>
                  </a:lnTo>
                  <a:lnTo>
                    <a:pt x="104909" y="211979"/>
                  </a:lnTo>
                  <a:lnTo>
                    <a:pt x="105947" y="210950"/>
                  </a:lnTo>
                  <a:lnTo>
                    <a:pt x="106423" y="212122"/>
                  </a:lnTo>
                  <a:lnTo>
                    <a:pt x="107652" y="212665"/>
                  </a:lnTo>
                  <a:lnTo>
                    <a:pt x="108795" y="211484"/>
                  </a:lnTo>
                  <a:lnTo>
                    <a:pt x="108785" y="209693"/>
                  </a:lnTo>
                  <a:lnTo>
                    <a:pt x="109366" y="208036"/>
                  </a:lnTo>
                  <a:lnTo>
                    <a:pt x="110271" y="208731"/>
                  </a:lnTo>
                  <a:lnTo>
                    <a:pt x="110871" y="211284"/>
                  </a:lnTo>
                  <a:lnTo>
                    <a:pt x="112433" y="211960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9" name="Forme libre : forme 25">
              <a:extLst>
                <a:ext uri="{FF2B5EF4-FFF2-40B4-BE49-F238E27FC236}">
                  <a16:creationId xmlns:a16="http://schemas.microsoft.com/office/drawing/2014/main" id="{ED845992-9A96-D2DA-92D0-8C1B7DC5EB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236899" y="4645074"/>
              <a:ext cx="544919" cy="530668"/>
            </a:xfrm>
            <a:custGeom>
              <a:avLst/>
              <a:gdLst>
                <a:gd name="connsiteX0" fmla="*/ 80239 w 157353"/>
                <a:gd name="connsiteY0" fmla="*/ 1305 h 153238"/>
                <a:gd name="connsiteX1" fmla="*/ 81677 w 157353"/>
                <a:gd name="connsiteY1" fmla="*/ 1886 h 153238"/>
                <a:gd name="connsiteX2" fmla="*/ 86439 w 157353"/>
                <a:gd name="connsiteY2" fmla="*/ 4534 h 153238"/>
                <a:gd name="connsiteX3" fmla="*/ 89735 w 157353"/>
                <a:gd name="connsiteY3" fmla="*/ 7515 h 153238"/>
                <a:gd name="connsiteX4" fmla="*/ 91564 w 157353"/>
                <a:gd name="connsiteY4" fmla="*/ 10820 h 153238"/>
                <a:gd name="connsiteX5" fmla="*/ 94040 w 157353"/>
                <a:gd name="connsiteY5" fmla="*/ 13373 h 153238"/>
                <a:gd name="connsiteX6" fmla="*/ 97164 w 157353"/>
                <a:gd name="connsiteY6" fmla="*/ 15183 h 153238"/>
                <a:gd name="connsiteX7" fmla="*/ 99641 w 157353"/>
                <a:gd name="connsiteY7" fmla="*/ 17631 h 153238"/>
                <a:gd name="connsiteX8" fmla="*/ 101470 w 157353"/>
                <a:gd name="connsiteY8" fmla="*/ 20717 h 153238"/>
                <a:gd name="connsiteX9" fmla="*/ 104032 w 157353"/>
                <a:gd name="connsiteY9" fmla="*/ 22450 h 153238"/>
                <a:gd name="connsiteX10" fmla="*/ 107318 w 157353"/>
                <a:gd name="connsiteY10" fmla="*/ 22822 h 153238"/>
                <a:gd name="connsiteX11" fmla="*/ 109394 w 157353"/>
                <a:gd name="connsiteY11" fmla="*/ 23879 h 153238"/>
                <a:gd name="connsiteX12" fmla="*/ 110271 w 157353"/>
                <a:gd name="connsiteY12" fmla="*/ 25622 h 153238"/>
                <a:gd name="connsiteX13" fmla="*/ 112062 w 157353"/>
                <a:gd name="connsiteY13" fmla="*/ 27194 h 153238"/>
                <a:gd name="connsiteX14" fmla="*/ 114758 w 157353"/>
                <a:gd name="connsiteY14" fmla="*/ 28603 h 153238"/>
                <a:gd name="connsiteX15" fmla="*/ 118939 w 157353"/>
                <a:gd name="connsiteY15" fmla="*/ 29375 h 153238"/>
                <a:gd name="connsiteX16" fmla="*/ 126959 w 157353"/>
                <a:gd name="connsiteY16" fmla="*/ 29566 h 153238"/>
                <a:gd name="connsiteX17" fmla="*/ 127673 w 157353"/>
                <a:gd name="connsiteY17" fmla="*/ 29604 h 153238"/>
                <a:gd name="connsiteX18" fmla="*/ 129483 w 157353"/>
                <a:gd name="connsiteY18" fmla="*/ 30042 h 153238"/>
                <a:gd name="connsiteX19" fmla="*/ 131597 w 157353"/>
                <a:gd name="connsiteY19" fmla="*/ 29489 h 153238"/>
                <a:gd name="connsiteX20" fmla="*/ 134179 w 157353"/>
                <a:gd name="connsiteY20" fmla="*/ 28394 h 153238"/>
                <a:gd name="connsiteX21" fmla="*/ 135007 w 157353"/>
                <a:gd name="connsiteY21" fmla="*/ 27737 h 153238"/>
                <a:gd name="connsiteX22" fmla="*/ 137713 w 157353"/>
                <a:gd name="connsiteY22" fmla="*/ 24136 h 153238"/>
                <a:gd name="connsiteX23" fmla="*/ 139208 w 157353"/>
                <a:gd name="connsiteY23" fmla="*/ 24451 h 153238"/>
                <a:gd name="connsiteX24" fmla="*/ 142180 w 157353"/>
                <a:gd name="connsiteY24" fmla="*/ 24012 h 153238"/>
                <a:gd name="connsiteX25" fmla="*/ 143980 w 157353"/>
                <a:gd name="connsiteY25" fmla="*/ 23212 h 153238"/>
                <a:gd name="connsiteX26" fmla="*/ 144113 w 157353"/>
                <a:gd name="connsiteY26" fmla="*/ 23212 h 153238"/>
                <a:gd name="connsiteX27" fmla="*/ 143999 w 157353"/>
                <a:gd name="connsiteY27" fmla="*/ 24136 h 153238"/>
                <a:gd name="connsiteX28" fmla="*/ 143799 w 157353"/>
                <a:gd name="connsiteY28" fmla="*/ 25746 h 153238"/>
                <a:gd name="connsiteX29" fmla="*/ 142342 w 157353"/>
                <a:gd name="connsiteY29" fmla="*/ 26879 h 153238"/>
                <a:gd name="connsiteX30" fmla="*/ 143818 w 157353"/>
                <a:gd name="connsiteY30" fmla="*/ 29499 h 153238"/>
                <a:gd name="connsiteX31" fmla="*/ 145228 w 157353"/>
                <a:gd name="connsiteY31" fmla="*/ 33747 h 153238"/>
                <a:gd name="connsiteX32" fmla="*/ 144437 w 157353"/>
                <a:gd name="connsiteY32" fmla="*/ 35843 h 153238"/>
                <a:gd name="connsiteX33" fmla="*/ 145399 w 157353"/>
                <a:gd name="connsiteY33" fmla="*/ 37471 h 153238"/>
                <a:gd name="connsiteX34" fmla="*/ 148104 w 157353"/>
                <a:gd name="connsiteY34" fmla="*/ 38643 h 153238"/>
                <a:gd name="connsiteX35" fmla="*/ 148352 w 157353"/>
                <a:gd name="connsiteY35" fmla="*/ 39110 h 153238"/>
                <a:gd name="connsiteX36" fmla="*/ 147524 w 157353"/>
                <a:gd name="connsiteY36" fmla="*/ 39595 h 153238"/>
                <a:gd name="connsiteX37" fmla="*/ 146838 w 157353"/>
                <a:gd name="connsiteY37" fmla="*/ 40977 h 153238"/>
                <a:gd name="connsiteX38" fmla="*/ 146761 w 157353"/>
                <a:gd name="connsiteY38" fmla="*/ 43491 h 153238"/>
                <a:gd name="connsiteX39" fmla="*/ 149123 w 157353"/>
                <a:gd name="connsiteY39" fmla="*/ 45872 h 153238"/>
                <a:gd name="connsiteX40" fmla="*/ 153924 w 157353"/>
                <a:gd name="connsiteY40" fmla="*/ 48101 h 153238"/>
                <a:gd name="connsiteX41" fmla="*/ 155457 w 157353"/>
                <a:gd name="connsiteY41" fmla="*/ 48473 h 153238"/>
                <a:gd name="connsiteX42" fmla="*/ 156048 w 157353"/>
                <a:gd name="connsiteY42" fmla="*/ 49330 h 153238"/>
                <a:gd name="connsiteX43" fmla="*/ 156848 w 157353"/>
                <a:gd name="connsiteY43" fmla="*/ 49892 h 153238"/>
                <a:gd name="connsiteX44" fmla="*/ 157325 w 157353"/>
                <a:gd name="connsiteY44" fmla="*/ 50578 h 153238"/>
                <a:gd name="connsiteX45" fmla="*/ 157353 w 157353"/>
                <a:gd name="connsiteY45" fmla="*/ 51463 h 153238"/>
                <a:gd name="connsiteX46" fmla="*/ 157001 w 157353"/>
                <a:gd name="connsiteY46" fmla="*/ 52073 h 153238"/>
                <a:gd name="connsiteX47" fmla="*/ 154724 w 157353"/>
                <a:gd name="connsiteY47" fmla="*/ 52283 h 153238"/>
                <a:gd name="connsiteX48" fmla="*/ 152133 w 157353"/>
                <a:gd name="connsiteY48" fmla="*/ 52264 h 153238"/>
                <a:gd name="connsiteX49" fmla="*/ 150286 w 157353"/>
                <a:gd name="connsiteY49" fmla="*/ 51187 h 153238"/>
                <a:gd name="connsiteX50" fmla="*/ 150114 w 157353"/>
                <a:gd name="connsiteY50" fmla="*/ 51978 h 153238"/>
                <a:gd name="connsiteX51" fmla="*/ 150086 w 157353"/>
                <a:gd name="connsiteY51" fmla="*/ 52873 h 153238"/>
                <a:gd name="connsiteX52" fmla="*/ 148295 w 157353"/>
                <a:gd name="connsiteY52" fmla="*/ 53416 h 153238"/>
                <a:gd name="connsiteX53" fmla="*/ 149286 w 157353"/>
                <a:gd name="connsiteY53" fmla="*/ 59579 h 153238"/>
                <a:gd name="connsiteX54" fmla="*/ 148885 w 157353"/>
                <a:gd name="connsiteY54" fmla="*/ 61350 h 153238"/>
                <a:gd name="connsiteX55" fmla="*/ 148228 w 157353"/>
                <a:gd name="connsiteY55" fmla="*/ 61951 h 153238"/>
                <a:gd name="connsiteX56" fmla="*/ 147618 w 157353"/>
                <a:gd name="connsiteY56" fmla="*/ 61703 h 153238"/>
                <a:gd name="connsiteX57" fmla="*/ 146866 w 157353"/>
                <a:gd name="connsiteY57" fmla="*/ 61636 h 153238"/>
                <a:gd name="connsiteX58" fmla="*/ 146495 w 157353"/>
                <a:gd name="connsiteY58" fmla="*/ 62217 h 153238"/>
                <a:gd name="connsiteX59" fmla="*/ 146809 w 157353"/>
                <a:gd name="connsiteY59" fmla="*/ 63532 h 153238"/>
                <a:gd name="connsiteX60" fmla="*/ 145047 w 157353"/>
                <a:gd name="connsiteY60" fmla="*/ 63684 h 153238"/>
                <a:gd name="connsiteX61" fmla="*/ 142247 w 157353"/>
                <a:gd name="connsiteY61" fmla="*/ 63008 h 153238"/>
                <a:gd name="connsiteX62" fmla="*/ 140961 w 157353"/>
                <a:gd name="connsiteY62" fmla="*/ 61817 h 153238"/>
                <a:gd name="connsiteX63" fmla="*/ 140741 w 157353"/>
                <a:gd name="connsiteY63" fmla="*/ 60608 h 153238"/>
                <a:gd name="connsiteX64" fmla="*/ 140722 w 157353"/>
                <a:gd name="connsiteY64" fmla="*/ 59474 h 153238"/>
                <a:gd name="connsiteX65" fmla="*/ 139827 w 157353"/>
                <a:gd name="connsiteY65" fmla="*/ 57617 h 153238"/>
                <a:gd name="connsiteX66" fmla="*/ 137598 w 157353"/>
                <a:gd name="connsiteY66" fmla="*/ 55693 h 153238"/>
                <a:gd name="connsiteX67" fmla="*/ 132941 w 157353"/>
                <a:gd name="connsiteY67" fmla="*/ 55378 h 153238"/>
                <a:gd name="connsiteX68" fmla="*/ 131216 w 157353"/>
                <a:gd name="connsiteY68" fmla="*/ 54769 h 153238"/>
                <a:gd name="connsiteX69" fmla="*/ 129435 w 157353"/>
                <a:gd name="connsiteY69" fmla="*/ 54073 h 153238"/>
                <a:gd name="connsiteX70" fmla="*/ 127492 w 157353"/>
                <a:gd name="connsiteY70" fmla="*/ 53549 h 153238"/>
                <a:gd name="connsiteX71" fmla="*/ 125702 w 157353"/>
                <a:gd name="connsiteY71" fmla="*/ 53597 h 153238"/>
                <a:gd name="connsiteX72" fmla="*/ 123540 w 157353"/>
                <a:gd name="connsiteY72" fmla="*/ 54112 h 153238"/>
                <a:gd name="connsiteX73" fmla="*/ 119768 w 157353"/>
                <a:gd name="connsiteY73" fmla="*/ 53264 h 153238"/>
                <a:gd name="connsiteX74" fmla="*/ 118491 w 157353"/>
                <a:gd name="connsiteY74" fmla="*/ 54397 h 153238"/>
                <a:gd name="connsiteX75" fmla="*/ 116510 w 157353"/>
                <a:gd name="connsiteY75" fmla="*/ 55702 h 153238"/>
                <a:gd name="connsiteX76" fmla="*/ 114862 w 157353"/>
                <a:gd name="connsiteY76" fmla="*/ 55674 h 153238"/>
                <a:gd name="connsiteX77" fmla="*/ 111586 w 157353"/>
                <a:gd name="connsiteY77" fmla="*/ 52645 h 153238"/>
                <a:gd name="connsiteX78" fmla="*/ 110604 w 157353"/>
                <a:gd name="connsiteY78" fmla="*/ 52454 h 153238"/>
                <a:gd name="connsiteX79" fmla="*/ 107738 w 157353"/>
                <a:gd name="connsiteY79" fmla="*/ 53997 h 153238"/>
                <a:gd name="connsiteX80" fmla="*/ 106566 w 157353"/>
                <a:gd name="connsiteY80" fmla="*/ 54083 h 153238"/>
                <a:gd name="connsiteX81" fmla="*/ 105670 w 157353"/>
                <a:gd name="connsiteY81" fmla="*/ 53597 h 153238"/>
                <a:gd name="connsiteX82" fmla="*/ 101794 w 157353"/>
                <a:gd name="connsiteY82" fmla="*/ 52435 h 153238"/>
                <a:gd name="connsiteX83" fmla="*/ 100041 w 157353"/>
                <a:gd name="connsiteY83" fmla="*/ 52188 h 153238"/>
                <a:gd name="connsiteX84" fmla="*/ 98755 w 157353"/>
                <a:gd name="connsiteY84" fmla="*/ 52740 h 153238"/>
                <a:gd name="connsiteX85" fmla="*/ 96479 w 157353"/>
                <a:gd name="connsiteY85" fmla="*/ 52149 h 153238"/>
                <a:gd name="connsiteX86" fmla="*/ 90954 w 157353"/>
                <a:gd name="connsiteY86" fmla="*/ 48177 h 153238"/>
                <a:gd name="connsiteX87" fmla="*/ 87535 w 157353"/>
                <a:gd name="connsiteY87" fmla="*/ 51197 h 153238"/>
                <a:gd name="connsiteX88" fmla="*/ 80582 w 157353"/>
                <a:gd name="connsiteY88" fmla="*/ 50444 h 153238"/>
                <a:gd name="connsiteX89" fmla="*/ 78514 w 157353"/>
                <a:gd name="connsiteY89" fmla="*/ 52511 h 153238"/>
                <a:gd name="connsiteX90" fmla="*/ 76152 w 157353"/>
                <a:gd name="connsiteY90" fmla="*/ 56426 h 153238"/>
                <a:gd name="connsiteX91" fmla="*/ 74238 w 157353"/>
                <a:gd name="connsiteY91" fmla="*/ 58293 h 153238"/>
                <a:gd name="connsiteX92" fmla="*/ 72571 w 157353"/>
                <a:gd name="connsiteY92" fmla="*/ 57626 h 153238"/>
                <a:gd name="connsiteX93" fmla="*/ 70599 w 157353"/>
                <a:gd name="connsiteY93" fmla="*/ 55902 h 153238"/>
                <a:gd name="connsiteX94" fmla="*/ 67151 w 157353"/>
                <a:gd name="connsiteY94" fmla="*/ 51473 h 153238"/>
                <a:gd name="connsiteX95" fmla="*/ 65408 w 157353"/>
                <a:gd name="connsiteY95" fmla="*/ 50673 h 153238"/>
                <a:gd name="connsiteX96" fmla="*/ 63408 w 157353"/>
                <a:gd name="connsiteY96" fmla="*/ 50482 h 153238"/>
                <a:gd name="connsiteX97" fmla="*/ 61665 w 157353"/>
                <a:gd name="connsiteY97" fmla="*/ 50978 h 153238"/>
                <a:gd name="connsiteX98" fmla="*/ 60732 w 157353"/>
                <a:gd name="connsiteY98" fmla="*/ 51873 h 153238"/>
                <a:gd name="connsiteX99" fmla="*/ 60017 w 157353"/>
                <a:gd name="connsiteY99" fmla="*/ 58341 h 153238"/>
                <a:gd name="connsiteX100" fmla="*/ 59388 w 157353"/>
                <a:gd name="connsiteY100" fmla="*/ 64027 h 153238"/>
                <a:gd name="connsiteX101" fmla="*/ 59350 w 157353"/>
                <a:gd name="connsiteY101" fmla="*/ 67427 h 153238"/>
                <a:gd name="connsiteX102" fmla="*/ 63179 w 157353"/>
                <a:gd name="connsiteY102" fmla="*/ 70571 h 153238"/>
                <a:gd name="connsiteX103" fmla="*/ 67704 w 157353"/>
                <a:gd name="connsiteY103" fmla="*/ 75971 h 153238"/>
                <a:gd name="connsiteX104" fmla="*/ 69152 w 157353"/>
                <a:gd name="connsiteY104" fmla="*/ 76590 h 153238"/>
                <a:gd name="connsiteX105" fmla="*/ 69875 w 157353"/>
                <a:gd name="connsiteY105" fmla="*/ 78352 h 153238"/>
                <a:gd name="connsiteX106" fmla="*/ 70933 w 157353"/>
                <a:gd name="connsiteY106" fmla="*/ 82896 h 153238"/>
                <a:gd name="connsiteX107" fmla="*/ 72124 w 157353"/>
                <a:gd name="connsiteY107" fmla="*/ 87992 h 153238"/>
                <a:gd name="connsiteX108" fmla="*/ 74419 w 157353"/>
                <a:gd name="connsiteY108" fmla="*/ 91364 h 153238"/>
                <a:gd name="connsiteX109" fmla="*/ 76486 w 157353"/>
                <a:gd name="connsiteY109" fmla="*/ 93764 h 153238"/>
                <a:gd name="connsiteX110" fmla="*/ 79010 w 157353"/>
                <a:gd name="connsiteY110" fmla="*/ 95878 h 153238"/>
                <a:gd name="connsiteX111" fmla="*/ 82182 w 157353"/>
                <a:gd name="connsiteY111" fmla="*/ 99184 h 153238"/>
                <a:gd name="connsiteX112" fmla="*/ 84773 w 157353"/>
                <a:gd name="connsiteY112" fmla="*/ 102813 h 153238"/>
                <a:gd name="connsiteX113" fmla="*/ 85458 w 157353"/>
                <a:gd name="connsiteY113" fmla="*/ 104146 h 153238"/>
                <a:gd name="connsiteX114" fmla="*/ 90497 w 157353"/>
                <a:gd name="connsiteY114" fmla="*/ 108928 h 153238"/>
                <a:gd name="connsiteX115" fmla="*/ 95384 w 157353"/>
                <a:gd name="connsiteY115" fmla="*/ 113795 h 153238"/>
                <a:gd name="connsiteX116" fmla="*/ 99746 w 157353"/>
                <a:gd name="connsiteY116" fmla="*/ 115500 h 153238"/>
                <a:gd name="connsiteX117" fmla="*/ 100432 w 157353"/>
                <a:gd name="connsiteY117" fmla="*/ 116396 h 153238"/>
                <a:gd name="connsiteX118" fmla="*/ 100470 w 157353"/>
                <a:gd name="connsiteY118" fmla="*/ 120129 h 153238"/>
                <a:gd name="connsiteX119" fmla="*/ 100946 w 157353"/>
                <a:gd name="connsiteY119" fmla="*/ 121530 h 153238"/>
                <a:gd name="connsiteX120" fmla="*/ 103861 w 157353"/>
                <a:gd name="connsiteY120" fmla="*/ 125435 h 153238"/>
                <a:gd name="connsiteX121" fmla="*/ 109814 w 157353"/>
                <a:gd name="connsiteY121" fmla="*/ 131140 h 153238"/>
                <a:gd name="connsiteX122" fmla="*/ 110500 w 157353"/>
                <a:gd name="connsiteY122" fmla="*/ 132455 h 153238"/>
                <a:gd name="connsiteX123" fmla="*/ 110700 w 157353"/>
                <a:gd name="connsiteY123" fmla="*/ 133426 h 153238"/>
                <a:gd name="connsiteX124" fmla="*/ 110319 w 157353"/>
                <a:gd name="connsiteY124" fmla="*/ 134169 h 153238"/>
                <a:gd name="connsiteX125" fmla="*/ 108757 w 157353"/>
                <a:gd name="connsiteY125" fmla="*/ 134950 h 153238"/>
                <a:gd name="connsiteX126" fmla="*/ 107480 w 157353"/>
                <a:gd name="connsiteY126" fmla="*/ 134083 h 153238"/>
                <a:gd name="connsiteX127" fmla="*/ 101937 w 157353"/>
                <a:gd name="connsiteY127" fmla="*/ 128521 h 153238"/>
                <a:gd name="connsiteX128" fmla="*/ 96574 w 157353"/>
                <a:gd name="connsiteY128" fmla="*/ 125006 h 153238"/>
                <a:gd name="connsiteX129" fmla="*/ 90526 w 157353"/>
                <a:gd name="connsiteY129" fmla="*/ 118376 h 153238"/>
                <a:gd name="connsiteX130" fmla="*/ 82429 w 157353"/>
                <a:gd name="connsiteY130" fmla="*/ 115748 h 153238"/>
                <a:gd name="connsiteX131" fmla="*/ 76914 w 157353"/>
                <a:gd name="connsiteY131" fmla="*/ 112833 h 153238"/>
                <a:gd name="connsiteX132" fmla="*/ 73571 w 157353"/>
                <a:gd name="connsiteY132" fmla="*/ 113271 h 153238"/>
                <a:gd name="connsiteX133" fmla="*/ 69885 w 157353"/>
                <a:gd name="connsiteY133" fmla="*/ 114186 h 153238"/>
                <a:gd name="connsiteX134" fmla="*/ 67609 w 157353"/>
                <a:gd name="connsiteY134" fmla="*/ 114214 h 153238"/>
                <a:gd name="connsiteX135" fmla="*/ 65990 w 157353"/>
                <a:gd name="connsiteY135" fmla="*/ 113690 h 153238"/>
                <a:gd name="connsiteX136" fmla="*/ 64846 w 157353"/>
                <a:gd name="connsiteY136" fmla="*/ 111881 h 153238"/>
                <a:gd name="connsiteX137" fmla="*/ 65018 w 157353"/>
                <a:gd name="connsiteY137" fmla="*/ 110480 h 153238"/>
                <a:gd name="connsiteX138" fmla="*/ 64818 w 157353"/>
                <a:gd name="connsiteY138" fmla="*/ 108661 h 153238"/>
                <a:gd name="connsiteX139" fmla="*/ 61589 w 157353"/>
                <a:gd name="connsiteY139" fmla="*/ 105737 h 153238"/>
                <a:gd name="connsiteX140" fmla="*/ 57178 w 157353"/>
                <a:gd name="connsiteY140" fmla="*/ 102956 h 153238"/>
                <a:gd name="connsiteX141" fmla="*/ 53007 w 157353"/>
                <a:gd name="connsiteY141" fmla="*/ 99355 h 153238"/>
                <a:gd name="connsiteX142" fmla="*/ 44625 w 157353"/>
                <a:gd name="connsiteY142" fmla="*/ 89602 h 153238"/>
                <a:gd name="connsiteX143" fmla="*/ 42939 w 157353"/>
                <a:gd name="connsiteY143" fmla="*/ 86449 h 153238"/>
                <a:gd name="connsiteX144" fmla="*/ 44587 w 157353"/>
                <a:gd name="connsiteY144" fmla="*/ 85849 h 153238"/>
                <a:gd name="connsiteX145" fmla="*/ 45834 w 157353"/>
                <a:gd name="connsiteY145" fmla="*/ 85906 h 153238"/>
                <a:gd name="connsiteX146" fmla="*/ 47244 w 157353"/>
                <a:gd name="connsiteY146" fmla="*/ 85258 h 153238"/>
                <a:gd name="connsiteX147" fmla="*/ 49530 w 157353"/>
                <a:gd name="connsiteY147" fmla="*/ 85249 h 153238"/>
                <a:gd name="connsiteX148" fmla="*/ 52235 w 157353"/>
                <a:gd name="connsiteY148" fmla="*/ 85887 h 153238"/>
                <a:gd name="connsiteX149" fmla="*/ 49845 w 157353"/>
                <a:gd name="connsiteY149" fmla="*/ 83791 h 153238"/>
                <a:gd name="connsiteX150" fmla="*/ 46863 w 157353"/>
                <a:gd name="connsiteY150" fmla="*/ 81734 h 153238"/>
                <a:gd name="connsiteX151" fmla="*/ 39148 w 157353"/>
                <a:gd name="connsiteY151" fmla="*/ 73543 h 153238"/>
                <a:gd name="connsiteX152" fmla="*/ 36843 w 157353"/>
                <a:gd name="connsiteY152" fmla="*/ 69656 h 153238"/>
                <a:gd name="connsiteX153" fmla="*/ 36576 w 157353"/>
                <a:gd name="connsiteY153" fmla="*/ 65465 h 153238"/>
                <a:gd name="connsiteX154" fmla="*/ 37148 w 157353"/>
                <a:gd name="connsiteY154" fmla="*/ 59712 h 153238"/>
                <a:gd name="connsiteX155" fmla="*/ 35757 w 157353"/>
                <a:gd name="connsiteY155" fmla="*/ 55578 h 153238"/>
                <a:gd name="connsiteX156" fmla="*/ 29804 w 157353"/>
                <a:gd name="connsiteY156" fmla="*/ 50216 h 153238"/>
                <a:gd name="connsiteX157" fmla="*/ 27623 w 157353"/>
                <a:gd name="connsiteY157" fmla="*/ 47387 h 153238"/>
                <a:gd name="connsiteX158" fmla="*/ 23232 w 157353"/>
                <a:gd name="connsiteY158" fmla="*/ 45701 h 153238"/>
                <a:gd name="connsiteX159" fmla="*/ 21260 w 157353"/>
                <a:gd name="connsiteY159" fmla="*/ 45863 h 153238"/>
                <a:gd name="connsiteX160" fmla="*/ 20079 w 157353"/>
                <a:gd name="connsiteY160" fmla="*/ 47958 h 153238"/>
                <a:gd name="connsiteX161" fmla="*/ 19222 w 157353"/>
                <a:gd name="connsiteY161" fmla="*/ 52606 h 153238"/>
                <a:gd name="connsiteX162" fmla="*/ 15326 w 157353"/>
                <a:gd name="connsiteY162" fmla="*/ 58721 h 153238"/>
                <a:gd name="connsiteX163" fmla="*/ 14031 w 157353"/>
                <a:gd name="connsiteY163" fmla="*/ 61370 h 153238"/>
                <a:gd name="connsiteX164" fmla="*/ 11992 w 157353"/>
                <a:gd name="connsiteY164" fmla="*/ 64808 h 153238"/>
                <a:gd name="connsiteX165" fmla="*/ 10220 w 157353"/>
                <a:gd name="connsiteY165" fmla="*/ 65046 h 153238"/>
                <a:gd name="connsiteX166" fmla="*/ 9182 w 157353"/>
                <a:gd name="connsiteY166" fmla="*/ 64741 h 153238"/>
                <a:gd name="connsiteX167" fmla="*/ 6020 w 157353"/>
                <a:gd name="connsiteY167" fmla="*/ 58950 h 153238"/>
                <a:gd name="connsiteX168" fmla="*/ 3000 w 157353"/>
                <a:gd name="connsiteY168" fmla="*/ 54550 h 153238"/>
                <a:gd name="connsiteX169" fmla="*/ 2581 w 157353"/>
                <a:gd name="connsiteY169" fmla="*/ 52464 h 153238"/>
                <a:gd name="connsiteX170" fmla="*/ 2305 w 157353"/>
                <a:gd name="connsiteY170" fmla="*/ 49892 h 153238"/>
                <a:gd name="connsiteX171" fmla="*/ 0 w 157353"/>
                <a:gd name="connsiteY171" fmla="*/ 40396 h 153238"/>
                <a:gd name="connsiteX172" fmla="*/ 1619 w 157353"/>
                <a:gd name="connsiteY172" fmla="*/ 39062 h 153238"/>
                <a:gd name="connsiteX173" fmla="*/ 2620 w 157353"/>
                <a:gd name="connsiteY173" fmla="*/ 40586 h 153238"/>
                <a:gd name="connsiteX174" fmla="*/ 9659 w 157353"/>
                <a:gd name="connsiteY174" fmla="*/ 42424 h 153238"/>
                <a:gd name="connsiteX175" fmla="*/ 11182 w 157353"/>
                <a:gd name="connsiteY175" fmla="*/ 41615 h 153238"/>
                <a:gd name="connsiteX176" fmla="*/ 12106 w 157353"/>
                <a:gd name="connsiteY176" fmla="*/ 40367 h 153238"/>
                <a:gd name="connsiteX177" fmla="*/ 12106 w 157353"/>
                <a:gd name="connsiteY177" fmla="*/ 39576 h 153238"/>
                <a:gd name="connsiteX178" fmla="*/ 12706 w 157353"/>
                <a:gd name="connsiteY178" fmla="*/ 39348 h 153238"/>
                <a:gd name="connsiteX179" fmla="*/ 15183 w 157353"/>
                <a:gd name="connsiteY179" fmla="*/ 40548 h 153238"/>
                <a:gd name="connsiteX180" fmla="*/ 17202 w 157353"/>
                <a:gd name="connsiteY180" fmla="*/ 40272 h 153238"/>
                <a:gd name="connsiteX181" fmla="*/ 20460 w 157353"/>
                <a:gd name="connsiteY181" fmla="*/ 40214 h 153238"/>
                <a:gd name="connsiteX182" fmla="*/ 22784 w 157353"/>
                <a:gd name="connsiteY182" fmla="*/ 40414 h 153238"/>
                <a:gd name="connsiteX183" fmla="*/ 24327 w 157353"/>
                <a:gd name="connsiteY183" fmla="*/ 39491 h 153238"/>
                <a:gd name="connsiteX184" fmla="*/ 26404 w 157353"/>
                <a:gd name="connsiteY184" fmla="*/ 36090 h 153238"/>
                <a:gd name="connsiteX185" fmla="*/ 27175 w 157353"/>
                <a:gd name="connsiteY185" fmla="*/ 34185 h 153238"/>
                <a:gd name="connsiteX186" fmla="*/ 28108 w 157353"/>
                <a:gd name="connsiteY186" fmla="*/ 33728 h 153238"/>
                <a:gd name="connsiteX187" fmla="*/ 28718 w 157353"/>
                <a:gd name="connsiteY187" fmla="*/ 33957 h 153238"/>
                <a:gd name="connsiteX188" fmla="*/ 29166 w 157353"/>
                <a:gd name="connsiteY188" fmla="*/ 35528 h 153238"/>
                <a:gd name="connsiteX189" fmla="*/ 30261 w 157353"/>
                <a:gd name="connsiteY189" fmla="*/ 36995 h 153238"/>
                <a:gd name="connsiteX190" fmla="*/ 32509 w 157353"/>
                <a:gd name="connsiteY190" fmla="*/ 39386 h 153238"/>
                <a:gd name="connsiteX191" fmla="*/ 34100 w 157353"/>
                <a:gd name="connsiteY191" fmla="*/ 40538 h 153238"/>
                <a:gd name="connsiteX192" fmla="*/ 35538 w 157353"/>
                <a:gd name="connsiteY192" fmla="*/ 40948 h 153238"/>
                <a:gd name="connsiteX193" fmla="*/ 36948 w 157353"/>
                <a:gd name="connsiteY193" fmla="*/ 39986 h 153238"/>
                <a:gd name="connsiteX194" fmla="*/ 38405 w 157353"/>
                <a:gd name="connsiteY194" fmla="*/ 39710 h 153238"/>
                <a:gd name="connsiteX195" fmla="*/ 42577 w 157353"/>
                <a:gd name="connsiteY195" fmla="*/ 41577 h 153238"/>
                <a:gd name="connsiteX196" fmla="*/ 46101 w 157353"/>
                <a:gd name="connsiteY196" fmla="*/ 41929 h 153238"/>
                <a:gd name="connsiteX197" fmla="*/ 48702 w 157353"/>
                <a:gd name="connsiteY197" fmla="*/ 40957 h 153238"/>
                <a:gd name="connsiteX198" fmla="*/ 48359 w 157353"/>
                <a:gd name="connsiteY198" fmla="*/ 39614 h 153238"/>
                <a:gd name="connsiteX199" fmla="*/ 47406 w 157353"/>
                <a:gd name="connsiteY199" fmla="*/ 38119 h 153238"/>
                <a:gd name="connsiteX200" fmla="*/ 47206 w 157353"/>
                <a:gd name="connsiteY200" fmla="*/ 36671 h 153238"/>
                <a:gd name="connsiteX201" fmla="*/ 47377 w 157353"/>
                <a:gd name="connsiteY201" fmla="*/ 35414 h 153238"/>
                <a:gd name="connsiteX202" fmla="*/ 49168 w 157353"/>
                <a:gd name="connsiteY202" fmla="*/ 34166 h 153238"/>
                <a:gd name="connsiteX203" fmla="*/ 49082 w 157353"/>
                <a:gd name="connsiteY203" fmla="*/ 33614 h 153238"/>
                <a:gd name="connsiteX204" fmla="*/ 46920 w 157353"/>
                <a:gd name="connsiteY204" fmla="*/ 31413 h 153238"/>
                <a:gd name="connsiteX205" fmla="*/ 47025 w 157353"/>
                <a:gd name="connsiteY205" fmla="*/ 30842 h 153238"/>
                <a:gd name="connsiteX206" fmla="*/ 51759 w 157353"/>
                <a:gd name="connsiteY206" fmla="*/ 28356 h 153238"/>
                <a:gd name="connsiteX207" fmla="*/ 56322 w 157353"/>
                <a:gd name="connsiteY207" fmla="*/ 26965 h 153238"/>
                <a:gd name="connsiteX208" fmla="*/ 57055 w 157353"/>
                <a:gd name="connsiteY208" fmla="*/ 25889 h 153238"/>
                <a:gd name="connsiteX209" fmla="*/ 57474 w 157353"/>
                <a:gd name="connsiteY209" fmla="*/ 24270 h 153238"/>
                <a:gd name="connsiteX210" fmla="*/ 57674 w 157353"/>
                <a:gd name="connsiteY210" fmla="*/ 21231 h 153238"/>
                <a:gd name="connsiteX211" fmla="*/ 57426 w 157353"/>
                <a:gd name="connsiteY211" fmla="*/ 18745 h 153238"/>
                <a:gd name="connsiteX212" fmla="*/ 55579 w 157353"/>
                <a:gd name="connsiteY212" fmla="*/ 16411 h 153238"/>
                <a:gd name="connsiteX213" fmla="*/ 55464 w 157353"/>
                <a:gd name="connsiteY213" fmla="*/ 15230 h 153238"/>
                <a:gd name="connsiteX214" fmla="*/ 55902 w 157353"/>
                <a:gd name="connsiteY214" fmla="*/ 14002 h 153238"/>
                <a:gd name="connsiteX215" fmla="*/ 56626 w 157353"/>
                <a:gd name="connsiteY215" fmla="*/ 12887 h 153238"/>
                <a:gd name="connsiteX216" fmla="*/ 58455 w 157353"/>
                <a:gd name="connsiteY216" fmla="*/ 12411 h 153238"/>
                <a:gd name="connsiteX217" fmla="*/ 60598 w 157353"/>
                <a:gd name="connsiteY217" fmla="*/ 11611 h 153238"/>
                <a:gd name="connsiteX218" fmla="*/ 62294 w 157353"/>
                <a:gd name="connsiteY218" fmla="*/ 10687 h 153238"/>
                <a:gd name="connsiteX219" fmla="*/ 64580 w 157353"/>
                <a:gd name="connsiteY219" fmla="*/ 9925 h 153238"/>
                <a:gd name="connsiteX220" fmla="*/ 66380 w 157353"/>
                <a:gd name="connsiteY220" fmla="*/ 8858 h 153238"/>
                <a:gd name="connsiteX221" fmla="*/ 68142 w 157353"/>
                <a:gd name="connsiteY221" fmla="*/ 6315 h 153238"/>
                <a:gd name="connsiteX222" fmla="*/ 69209 w 157353"/>
                <a:gd name="connsiteY222" fmla="*/ 5896 h 153238"/>
                <a:gd name="connsiteX223" fmla="*/ 72437 w 157353"/>
                <a:gd name="connsiteY223" fmla="*/ 6258 h 153238"/>
                <a:gd name="connsiteX224" fmla="*/ 73133 w 157353"/>
                <a:gd name="connsiteY224" fmla="*/ 5629 h 153238"/>
                <a:gd name="connsiteX225" fmla="*/ 72685 w 157353"/>
                <a:gd name="connsiteY225" fmla="*/ 1972 h 153238"/>
                <a:gd name="connsiteX226" fmla="*/ 73266 w 157353"/>
                <a:gd name="connsiteY226" fmla="*/ 1038 h 153238"/>
                <a:gd name="connsiteX227" fmla="*/ 74409 w 157353"/>
                <a:gd name="connsiteY227" fmla="*/ 514 h 153238"/>
                <a:gd name="connsiteX228" fmla="*/ 74943 w 157353"/>
                <a:gd name="connsiteY228" fmla="*/ 0 h 153238"/>
                <a:gd name="connsiteX229" fmla="*/ 77791 w 157353"/>
                <a:gd name="connsiteY229" fmla="*/ 400 h 153238"/>
                <a:gd name="connsiteX230" fmla="*/ 80239 w 157353"/>
                <a:gd name="connsiteY230" fmla="*/ 1305 h 153238"/>
                <a:gd name="connsiteX231" fmla="*/ 34643 w 157353"/>
                <a:gd name="connsiteY231" fmla="*/ 59446 h 153238"/>
                <a:gd name="connsiteX232" fmla="*/ 31347 w 157353"/>
                <a:gd name="connsiteY232" fmla="*/ 60255 h 153238"/>
                <a:gd name="connsiteX233" fmla="*/ 29776 w 157353"/>
                <a:gd name="connsiteY233" fmla="*/ 58807 h 153238"/>
                <a:gd name="connsiteX234" fmla="*/ 29366 w 157353"/>
                <a:gd name="connsiteY234" fmla="*/ 57617 h 153238"/>
                <a:gd name="connsiteX235" fmla="*/ 26651 w 157353"/>
                <a:gd name="connsiteY235" fmla="*/ 57236 h 153238"/>
                <a:gd name="connsiteX236" fmla="*/ 25013 w 157353"/>
                <a:gd name="connsiteY236" fmla="*/ 55588 h 153238"/>
                <a:gd name="connsiteX237" fmla="*/ 24679 w 157353"/>
                <a:gd name="connsiteY237" fmla="*/ 54855 h 153238"/>
                <a:gd name="connsiteX238" fmla="*/ 27004 w 157353"/>
                <a:gd name="connsiteY238" fmla="*/ 53035 h 153238"/>
                <a:gd name="connsiteX239" fmla="*/ 28242 w 157353"/>
                <a:gd name="connsiteY239" fmla="*/ 50092 h 153238"/>
                <a:gd name="connsiteX240" fmla="*/ 29813 w 157353"/>
                <a:gd name="connsiteY240" fmla="*/ 51864 h 153238"/>
                <a:gd name="connsiteX241" fmla="*/ 31718 w 157353"/>
                <a:gd name="connsiteY241" fmla="*/ 55188 h 153238"/>
                <a:gd name="connsiteX242" fmla="*/ 32738 w 157353"/>
                <a:gd name="connsiteY242" fmla="*/ 56112 h 153238"/>
                <a:gd name="connsiteX243" fmla="*/ 34643 w 157353"/>
                <a:gd name="connsiteY243" fmla="*/ 59446 h 153238"/>
                <a:gd name="connsiteX244" fmla="*/ 26022 w 157353"/>
                <a:gd name="connsiteY244" fmla="*/ 71352 h 153238"/>
                <a:gd name="connsiteX245" fmla="*/ 25813 w 157353"/>
                <a:gd name="connsiteY245" fmla="*/ 72800 h 153238"/>
                <a:gd name="connsiteX246" fmla="*/ 24194 w 157353"/>
                <a:gd name="connsiteY246" fmla="*/ 70961 h 153238"/>
                <a:gd name="connsiteX247" fmla="*/ 23374 w 157353"/>
                <a:gd name="connsiteY247" fmla="*/ 67666 h 153238"/>
                <a:gd name="connsiteX248" fmla="*/ 21327 w 157353"/>
                <a:gd name="connsiteY248" fmla="*/ 62322 h 153238"/>
                <a:gd name="connsiteX249" fmla="*/ 21060 w 157353"/>
                <a:gd name="connsiteY249" fmla="*/ 60817 h 153238"/>
                <a:gd name="connsiteX250" fmla="*/ 22117 w 157353"/>
                <a:gd name="connsiteY250" fmla="*/ 59331 h 153238"/>
                <a:gd name="connsiteX251" fmla="*/ 22060 w 157353"/>
                <a:gd name="connsiteY251" fmla="*/ 57817 h 153238"/>
                <a:gd name="connsiteX252" fmla="*/ 20612 w 157353"/>
                <a:gd name="connsiteY252" fmla="*/ 53111 h 153238"/>
                <a:gd name="connsiteX253" fmla="*/ 21822 w 157353"/>
                <a:gd name="connsiteY253" fmla="*/ 52340 h 153238"/>
                <a:gd name="connsiteX254" fmla="*/ 22546 w 157353"/>
                <a:gd name="connsiteY254" fmla="*/ 52244 h 153238"/>
                <a:gd name="connsiteX255" fmla="*/ 22841 w 157353"/>
                <a:gd name="connsiteY255" fmla="*/ 55512 h 153238"/>
                <a:gd name="connsiteX256" fmla="*/ 23498 w 157353"/>
                <a:gd name="connsiteY256" fmla="*/ 57388 h 153238"/>
                <a:gd name="connsiteX257" fmla="*/ 25470 w 157353"/>
                <a:gd name="connsiteY257" fmla="*/ 59693 h 153238"/>
                <a:gd name="connsiteX258" fmla="*/ 25070 w 157353"/>
                <a:gd name="connsiteY258" fmla="*/ 63494 h 153238"/>
                <a:gd name="connsiteX259" fmla="*/ 25470 w 157353"/>
                <a:gd name="connsiteY259" fmla="*/ 68894 h 153238"/>
                <a:gd name="connsiteX260" fmla="*/ 25870 w 157353"/>
                <a:gd name="connsiteY260" fmla="*/ 70094 h 153238"/>
                <a:gd name="connsiteX261" fmla="*/ 26022 w 157353"/>
                <a:gd name="connsiteY261" fmla="*/ 71352 h 153238"/>
                <a:gd name="connsiteX262" fmla="*/ 35204 w 157353"/>
                <a:gd name="connsiteY262" fmla="*/ 67646 h 153238"/>
                <a:gd name="connsiteX263" fmla="*/ 35881 w 157353"/>
                <a:gd name="connsiteY263" fmla="*/ 69304 h 153238"/>
                <a:gd name="connsiteX264" fmla="*/ 33366 w 157353"/>
                <a:gd name="connsiteY264" fmla="*/ 67808 h 153238"/>
                <a:gd name="connsiteX265" fmla="*/ 31109 w 157353"/>
                <a:gd name="connsiteY265" fmla="*/ 67237 h 153238"/>
                <a:gd name="connsiteX266" fmla="*/ 30632 w 157353"/>
                <a:gd name="connsiteY266" fmla="*/ 66113 h 153238"/>
                <a:gd name="connsiteX267" fmla="*/ 30956 w 157353"/>
                <a:gd name="connsiteY267" fmla="*/ 65189 h 153238"/>
                <a:gd name="connsiteX268" fmla="*/ 31442 w 157353"/>
                <a:gd name="connsiteY268" fmla="*/ 64294 h 153238"/>
                <a:gd name="connsiteX269" fmla="*/ 33147 w 157353"/>
                <a:gd name="connsiteY269" fmla="*/ 64418 h 153238"/>
                <a:gd name="connsiteX270" fmla="*/ 33404 w 157353"/>
                <a:gd name="connsiteY270" fmla="*/ 65294 h 153238"/>
                <a:gd name="connsiteX271" fmla="*/ 35204 w 157353"/>
                <a:gd name="connsiteY271" fmla="*/ 67646 h 153238"/>
                <a:gd name="connsiteX272" fmla="*/ 44748 w 157353"/>
                <a:gd name="connsiteY272" fmla="*/ 83468 h 153238"/>
                <a:gd name="connsiteX273" fmla="*/ 44063 w 157353"/>
                <a:gd name="connsiteY273" fmla="*/ 84458 h 153238"/>
                <a:gd name="connsiteX274" fmla="*/ 42329 w 157353"/>
                <a:gd name="connsiteY274" fmla="*/ 82639 h 153238"/>
                <a:gd name="connsiteX275" fmla="*/ 40739 w 157353"/>
                <a:gd name="connsiteY275" fmla="*/ 81343 h 153238"/>
                <a:gd name="connsiteX276" fmla="*/ 39605 w 157353"/>
                <a:gd name="connsiteY276" fmla="*/ 79800 h 153238"/>
                <a:gd name="connsiteX277" fmla="*/ 37376 w 157353"/>
                <a:gd name="connsiteY277" fmla="*/ 77876 h 153238"/>
                <a:gd name="connsiteX278" fmla="*/ 36624 w 157353"/>
                <a:gd name="connsiteY278" fmla="*/ 75676 h 153238"/>
                <a:gd name="connsiteX279" fmla="*/ 33300 w 157353"/>
                <a:gd name="connsiteY279" fmla="*/ 71180 h 153238"/>
                <a:gd name="connsiteX280" fmla="*/ 32804 w 157353"/>
                <a:gd name="connsiteY280" fmla="*/ 69961 h 153238"/>
                <a:gd name="connsiteX281" fmla="*/ 34461 w 157353"/>
                <a:gd name="connsiteY281" fmla="*/ 71780 h 153238"/>
                <a:gd name="connsiteX282" fmla="*/ 35843 w 157353"/>
                <a:gd name="connsiteY282" fmla="*/ 72923 h 153238"/>
                <a:gd name="connsiteX283" fmla="*/ 36986 w 157353"/>
                <a:gd name="connsiteY283" fmla="*/ 73200 h 153238"/>
                <a:gd name="connsiteX284" fmla="*/ 39881 w 157353"/>
                <a:gd name="connsiteY284" fmla="*/ 76067 h 153238"/>
                <a:gd name="connsiteX285" fmla="*/ 42729 w 157353"/>
                <a:gd name="connsiteY285" fmla="*/ 79743 h 153238"/>
                <a:gd name="connsiteX286" fmla="*/ 46120 w 157353"/>
                <a:gd name="connsiteY286" fmla="*/ 82934 h 153238"/>
                <a:gd name="connsiteX287" fmla="*/ 45415 w 157353"/>
                <a:gd name="connsiteY287" fmla="*/ 83029 h 153238"/>
                <a:gd name="connsiteX288" fmla="*/ 44748 w 157353"/>
                <a:gd name="connsiteY288" fmla="*/ 83468 h 153238"/>
                <a:gd name="connsiteX289" fmla="*/ 44758 w 157353"/>
                <a:gd name="connsiteY289" fmla="*/ 98812 h 153238"/>
                <a:gd name="connsiteX290" fmla="*/ 45139 w 157353"/>
                <a:gd name="connsiteY290" fmla="*/ 99355 h 153238"/>
                <a:gd name="connsiteX291" fmla="*/ 45101 w 157353"/>
                <a:gd name="connsiteY291" fmla="*/ 99727 h 153238"/>
                <a:gd name="connsiteX292" fmla="*/ 43710 w 157353"/>
                <a:gd name="connsiteY292" fmla="*/ 99203 h 153238"/>
                <a:gd name="connsiteX293" fmla="*/ 43339 w 157353"/>
                <a:gd name="connsiteY293" fmla="*/ 99374 h 153238"/>
                <a:gd name="connsiteX294" fmla="*/ 36795 w 157353"/>
                <a:gd name="connsiteY294" fmla="*/ 91287 h 153238"/>
                <a:gd name="connsiteX295" fmla="*/ 36090 w 157353"/>
                <a:gd name="connsiteY295" fmla="*/ 89706 h 153238"/>
                <a:gd name="connsiteX296" fmla="*/ 38434 w 157353"/>
                <a:gd name="connsiteY296" fmla="*/ 91592 h 153238"/>
                <a:gd name="connsiteX297" fmla="*/ 44758 w 157353"/>
                <a:gd name="connsiteY297" fmla="*/ 98812 h 153238"/>
                <a:gd name="connsiteX298" fmla="*/ 45882 w 157353"/>
                <a:gd name="connsiteY298" fmla="*/ 93631 h 153238"/>
                <a:gd name="connsiteX299" fmla="*/ 46301 w 157353"/>
                <a:gd name="connsiteY299" fmla="*/ 94935 h 153238"/>
                <a:gd name="connsiteX300" fmla="*/ 42967 w 157353"/>
                <a:gd name="connsiteY300" fmla="*/ 92478 h 153238"/>
                <a:gd name="connsiteX301" fmla="*/ 41700 w 157353"/>
                <a:gd name="connsiteY301" fmla="*/ 90830 h 153238"/>
                <a:gd name="connsiteX302" fmla="*/ 41472 w 157353"/>
                <a:gd name="connsiteY302" fmla="*/ 90088 h 153238"/>
                <a:gd name="connsiteX303" fmla="*/ 45882 w 157353"/>
                <a:gd name="connsiteY303" fmla="*/ 93631 h 153238"/>
                <a:gd name="connsiteX304" fmla="*/ 49635 w 157353"/>
                <a:gd name="connsiteY304" fmla="*/ 96907 h 153238"/>
                <a:gd name="connsiteX305" fmla="*/ 51397 w 157353"/>
                <a:gd name="connsiteY305" fmla="*/ 99660 h 153238"/>
                <a:gd name="connsiteX306" fmla="*/ 49711 w 157353"/>
                <a:gd name="connsiteY306" fmla="*/ 99088 h 153238"/>
                <a:gd name="connsiteX307" fmla="*/ 47959 w 157353"/>
                <a:gd name="connsiteY307" fmla="*/ 97393 h 153238"/>
                <a:gd name="connsiteX308" fmla="*/ 46930 w 157353"/>
                <a:gd name="connsiteY308" fmla="*/ 95545 h 153238"/>
                <a:gd name="connsiteX309" fmla="*/ 49635 w 157353"/>
                <a:gd name="connsiteY309" fmla="*/ 96907 h 153238"/>
                <a:gd name="connsiteX310" fmla="*/ 87430 w 157353"/>
                <a:gd name="connsiteY310" fmla="*/ 122777 h 153238"/>
                <a:gd name="connsiteX311" fmla="*/ 83211 w 157353"/>
                <a:gd name="connsiteY311" fmla="*/ 122872 h 153238"/>
                <a:gd name="connsiteX312" fmla="*/ 79543 w 157353"/>
                <a:gd name="connsiteY312" fmla="*/ 122206 h 153238"/>
                <a:gd name="connsiteX313" fmla="*/ 77753 w 157353"/>
                <a:gd name="connsiteY313" fmla="*/ 121072 h 153238"/>
                <a:gd name="connsiteX314" fmla="*/ 77886 w 157353"/>
                <a:gd name="connsiteY314" fmla="*/ 120110 h 153238"/>
                <a:gd name="connsiteX315" fmla="*/ 78438 w 157353"/>
                <a:gd name="connsiteY315" fmla="*/ 118510 h 153238"/>
                <a:gd name="connsiteX316" fmla="*/ 82525 w 157353"/>
                <a:gd name="connsiteY316" fmla="*/ 118701 h 153238"/>
                <a:gd name="connsiteX317" fmla="*/ 88745 w 157353"/>
                <a:gd name="connsiteY317" fmla="*/ 119834 h 153238"/>
                <a:gd name="connsiteX318" fmla="*/ 90268 w 157353"/>
                <a:gd name="connsiteY318" fmla="*/ 121158 h 153238"/>
                <a:gd name="connsiteX319" fmla="*/ 89792 w 157353"/>
                <a:gd name="connsiteY319" fmla="*/ 121768 h 153238"/>
                <a:gd name="connsiteX320" fmla="*/ 87430 w 157353"/>
                <a:gd name="connsiteY320" fmla="*/ 122777 h 153238"/>
                <a:gd name="connsiteX321" fmla="*/ 98355 w 157353"/>
                <a:gd name="connsiteY321" fmla="*/ 128073 h 153238"/>
                <a:gd name="connsiteX322" fmla="*/ 96488 w 157353"/>
                <a:gd name="connsiteY322" fmla="*/ 128454 h 153238"/>
                <a:gd name="connsiteX323" fmla="*/ 84591 w 157353"/>
                <a:gd name="connsiteY323" fmla="*/ 128168 h 153238"/>
                <a:gd name="connsiteX324" fmla="*/ 81134 w 157353"/>
                <a:gd name="connsiteY324" fmla="*/ 127406 h 153238"/>
                <a:gd name="connsiteX325" fmla="*/ 77286 w 157353"/>
                <a:gd name="connsiteY325" fmla="*/ 125454 h 153238"/>
                <a:gd name="connsiteX326" fmla="*/ 76505 w 157353"/>
                <a:gd name="connsiteY326" fmla="*/ 124854 h 153238"/>
                <a:gd name="connsiteX327" fmla="*/ 80372 w 157353"/>
                <a:gd name="connsiteY327" fmla="*/ 124282 h 153238"/>
                <a:gd name="connsiteX328" fmla="*/ 83972 w 157353"/>
                <a:gd name="connsiteY328" fmla="*/ 124854 h 153238"/>
                <a:gd name="connsiteX329" fmla="*/ 85077 w 157353"/>
                <a:gd name="connsiteY329" fmla="*/ 126273 h 153238"/>
                <a:gd name="connsiteX330" fmla="*/ 94802 w 157353"/>
                <a:gd name="connsiteY330" fmla="*/ 127406 h 153238"/>
                <a:gd name="connsiteX331" fmla="*/ 98355 w 157353"/>
                <a:gd name="connsiteY331" fmla="*/ 128073 h 153238"/>
                <a:gd name="connsiteX332" fmla="*/ 111014 w 157353"/>
                <a:gd name="connsiteY332" fmla="*/ 136407 h 153238"/>
                <a:gd name="connsiteX333" fmla="*/ 112957 w 157353"/>
                <a:gd name="connsiteY333" fmla="*/ 135741 h 153238"/>
                <a:gd name="connsiteX334" fmla="*/ 114605 w 157353"/>
                <a:gd name="connsiteY334" fmla="*/ 136227 h 153238"/>
                <a:gd name="connsiteX335" fmla="*/ 115653 w 157353"/>
                <a:gd name="connsiteY335" fmla="*/ 138303 h 153238"/>
                <a:gd name="connsiteX336" fmla="*/ 117720 w 157353"/>
                <a:gd name="connsiteY336" fmla="*/ 139675 h 153238"/>
                <a:gd name="connsiteX337" fmla="*/ 121082 w 157353"/>
                <a:gd name="connsiteY337" fmla="*/ 142075 h 153238"/>
                <a:gd name="connsiteX338" fmla="*/ 123206 w 157353"/>
                <a:gd name="connsiteY338" fmla="*/ 143913 h 153238"/>
                <a:gd name="connsiteX339" fmla="*/ 128016 w 157353"/>
                <a:gd name="connsiteY339" fmla="*/ 147209 h 153238"/>
                <a:gd name="connsiteX340" fmla="*/ 129159 w 157353"/>
                <a:gd name="connsiteY340" fmla="*/ 147666 h 153238"/>
                <a:gd name="connsiteX341" fmla="*/ 131559 w 157353"/>
                <a:gd name="connsiteY341" fmla="*/ 148647 h 153238"/>
                <a:gd name="connsiteX342" fmla="*/ 131607 w 157353"/>
                <a:gd name="connsiteY342" fmla="*/ 149981 h 153238"/>
                <a:gd name="connsiteX343" fmla="*/ 132636 w 157353"/>
                <a:gd name="connsiteY343" fmla="*/ 151495 h 153238"/>
                <a:gd name="connsiteX344" fmla="*/ 133721 w 157353"/>
                <a:gd name="connsiteY344" fmla="*/ 153238 h 153238"/>
                <a:gd name="connsiteX345" fmla="*/ 128787 w 157353"/>
                <a:gd name="connsiteY345" fmla="*/ 149809 h 153238"/>
                <a:gd name="connsiteX346" fmla="*/ 124187 w 157353"/>
                <a:gd name="connsiteY346" fmla="*/ 145970 h 153238"/>
                <a:gd name="connsiteX347" fmla="*/ 115186 w 157353"/>
                <a:gd name="connsiteY347" fmla="*/ 140046 h 153238"/>
                <a:gd name="connsiteX348" fmla="*/ 108804 w 157353"/>
                <a:gd name="connsiteY348" fmla="*/ 138608 h 153238"/>
                <a:gd name="connsiteX349" fmla="*/ 100069 w 157353"/>
                <a:gd name="connsiteY349" fmla="*/ 133836 h 153238"/>
                <a:gd name="connsiteX350" fmla="*/ 94383 w 157353"/>
                <a:gd name="connsiteY350" fmla="*/ 132140 h 153238"/>
                <a:gd name="connsiteX351" fmla="*/ 96555 w 157353"/>
                <a:gd name="connsiteY351" fmla="*/ 131750 h 153238"/>
                <a:gd name="connsiteX352" fmla="*/ 99050 w 157353"/>
                <a:gd name="connsiteY352" fmla="*/ 131740 h 153238"/>
                <a:gd name="connsiteX353" fmla="*/ 112519 w 157353"/>
                <a:gd name="connsiteY353" fmla="*/ 138113 h 153238"/>
                <a:gd name="connsiteX354" fmla="*/ 111014 w 157353"/>
                <a:gd name="connsiteY354" fmla="*/ 136407 h 153238"/>
                <a:gd name="connsiteX355" fmla="*/ 83839 w 157353"/>
                <a:gd name="connsiteY355" fmla="*/ 132788 h 153238"/>
                <a:gd name="connsiteX356" fmla="*/ 88782 w 157353"/>
                <a:gd name="connsiteY356" fmla="*/ 133807 h 153238"/>
                <a:gd name="connsiteX357" fmla="*/ 92402 w 157353"/>
                <a:gd name="connsiteY357" fmla="*/ 133340 h 153238"/>
                <a:gd name="connsiteX358" fmla="*/ 95678 w 157353"/>
                <a:gd name="connsiteY358" fmla="*/ 133969 h 153238"/>
                <a:gd name="connsiteX359" fmla="*/ 97717 w 157353"/>
                <a:gd name="connsiteY359" fmla="*/ 135122 h 153238"/>
                <a:gd name="connsiteX360" fmla="*/ 98203 w 157353"/>
                <a:gd name="connsiteY360" fmla="*/ 135693 h 153238"/>
                <a:gd name="connsiteX361" fmla="*/ 95565 w 157353"/>
                <a:gd name="connsiteY361" fmla="*/ 135769 h 153238"/>
                <a:gd name="connsiteX362" fmla="*/ 92573 w 157353"/>
                <a:gd name="connsiteY362" fmla="*/ 135303 h 153238"/>
                <a:gd name="connsiteX363" fmla="*/ 89183 w 157353"/>
                <a:gd name="connsiteY363" fmla="*/ 136474 h 153238"/>
                <a:gd name="connsiteX364" fmla="*/ 86192 w 157353"/>
                <a:gd name="connsiteY364" fmla="*/ 135855 h 153238"/>
                <a:gd name="connsiteX365" fmla="*/ 85058 w 157353"/>
                <a:gd name="connsiteY365" fmla="*/ 135084 h 153238"/>
                <a:gd name="connsiteX366" fmla="*/ 84258 w 157353"/>
                <a:gd name="connsiteY366" fmla="*/ 134131 h 153238"/>
                <a:gd name="connsiteX367" fmla="*/ 83839 w 157353"/>
                <a:gd name="connsiteY367" fmla="*/ 132788 h 153238"/>
                <a:gd name="connsiteX368" fmla="*/ 109424 w 157353"/>
                <a:gd name="connsiteY368" fmla="*/ 141056 h 153238"/>
                <a:gd name="connsiteX369" fmla="*/ 113072 w 157353"/>
                <a:gd name="connsiteY369" fmla="*/ 143542 h 153238"/>
                <a:gd name="connsiteX370" fmla="*/ 102375 w 157353"/>
                <a:gd name="connsiteY370" fmla="*/ 140275 h 153238"/>
                <a:gd name="connsiteX371" fmla="*/ 103584 w 157353"/>
                <a:gd name="connsiteY371" fmla="*/ 139979 h 153238"/>
                <a:gd name="connsiteX372" fmla="*/ 104718 w 157353"/>
                <a:gd name="connsiteY372" fmla="*/ 139913 h 153238"/>
                <a:gd name="connsiteX373" fmla="*/ 109424 w 157353"/>
                <a:gd name="connsiteY373" fmla="*/ 141056 h 153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</a:cxnLst>
              <a:rect l="l" t="t" r="r" b="b"/>
              <a:pathLst>
                <a:path w="157353" h="153238">
                  <a:moveTo>
                    <a:pt x="80239" y="1305"/>
                  </a:moveTo>
                  <a:lnTo>
                    <a:pt x="81677" y="1886"/>
                  </a:lnTo>
                  <a:lnTo>
                    <a:pt x="86439" y="4534"/>
                  </a:lnTo>
                  <a:lnTo>
                    <a:pt x="89735" y="7515"/>
                  </a:lnTo>
                  <a:lnTo>
                    <a:pt x="91564" y="10820"/>
                  </a:lnTo>
                  <a:lnTo>
                    <a:pt x="94040" y="13373"/>
                  </a:lnTo>
                  <a:lnTo>
                    <a:pt x="97164" y="15183"/>
                  </a:lnTo>
                  <a:lnTo>
                    <a:pt x="99641" y="17631"/>
                  </a:lnTo>
                  <a:lnTo>
                    <a:pt x="101470" y="20717"/>
                  </a:lnTo>
                  <a:lnTo>
                    <a:pt x="104032" y="22450"/>
                  </a:lnTo>
                  <a:lnTo>
                    <a:pt x="107318" y="22822"/>
                  </a:lnTo>
                  <a:lnTo>
                    <a:pt x="109394" y="23879"/>
                  </a:lnTo>
                  <a:lnTo>
                    <a:pt x="110271" y="25622"/>
                  </a:lnTo>
                  <a:lnTo>
                    <a:pt x="112062" y="27194"/>
                  </a:lnTo>
                  <a:lnTo>
                    <a:pt x="114758" y="28603"/>
                  </a:lnTo>
                  <a:lnTo>
                    <a:pt x="118939" y="29375"/>
                  </a:lnTo>
                  <a:lnTo>
                    <a:pt x="126959" y="29566"/>
                  </a:lnTo>
                  <a:lnTo>
                    <a:pt x="127673" y="29604"/>
                  </a:lnTo>
                  <a:lnTo>
                    <a:pt x="129483" y="30042"/>
                  </a:lnTo>
                  <a:lnTo>
                    <a:pt x="131597" y="29489"/>
                  </a:lnTo>
                  <a:lnTo>
                    <a:pt x="134179" y="28394"/>
                  </a:lnTo>
                  <a:lnTo>
                    <a:pt x="135007" y="27737"/>
                  </a:lnTo>
                  <a:lnTo>
                    <a:pt x="137713" y="24136"/>
                  </a:lnTo>
                  <a:lnTo>
                    <a:pt x="139208" y="24451"/>
                  </a:lnTo>
                  <a:lnTo>
                    <a:pt x="142180" y="24012"/>
                  </a:lnTo>
                  <a:lnTo>
                    <a:pt x="143980" y="23212"/>
                  </a:lnTo>
                  <a:lnTo>
                    <a:pt x="144113" y="23212"/>
                  </a:lnTo>
                  <a:lnTo>
                    <a:pt x="143999" y="24136"/>
                  </a:lnTo>
                  <a:lnTo>
                    <a:pt x="143799" y="25746"/>
                  </a:lnTo>
                  <a:lnTo>
                    <a:pt x="142342" y="26879"/>
                  </a:lnTo>
                  <a:lnTo>
                    <a:pt x="143818" y="29499"/>
                  </a:lnTo>
                  <a:lnTo>
                    <a:pt x="145228" y="33747"/>
                  </a:lnTo>
                  <a:lnTo>
                    <a:pt x="144437" y="35843"/>
                  </a:lnTo>
                  <a:lnTo>
                    <a:pt x="145399" y="37471"/>
                  </a:lnTo>
                  <a:lnTo>
                    <a:pt x="148104" y="38643"/>
                  </a:lnTo>
                  <a:lnTo>
                    <a:pt x="148352" y="39110"/>
                  </a:lnTo>
                  <a:lnTo>
                    <a:pt x="147524" y="39595"/>
                  </a:lnTo>
                  <a:lnTo>
                    <a:pt x="146838" y="40977"/>
                  </a:lnTo>
                  <a:lnTo>
                    <a:pt x="146761" y="43491"/>
                  </a:lnTo>
                  <a:lnTo>
                    <a:pt x="149123" y="45872"/>
                  </a:lnTo>
                  <a:lnTo>
                    <a:pt x="153924" y="48101"/>
                  </a:lnTo>
                  <a:lnTo>
                    <a:pt x="155457" y="48473"/>
                  </a:lnTo>
                  <a:lnTo>
                    <a:pt x="156048" y="49330"/>
                  </a:lnTo>
                  <a:lnTo>
                    <a:pt x="156848" y="49892"/>
                  </a:lnTo>
                  <a:lnTo>
                    <a:pt x="157325" y="50578"/>
                  </a:lnTo>
                  <a:lnTo>
                    <a:pt x="157353" y="51463"/>
                  </a:lnTo>
                  <a:lnTo>
                    <a:pt x="157001" y="52073"/>
                  </a:lnTo>
                  <a:lnTo>
                    <a:pt x="154724" y="52283"/>
                  </a:lnTo>
                  <a:lnTo>
                    <a:pt x="152133" y="52264"/>
                  </a:lnTo>
                  <a:lnTo>
                    <a:pt x="150286" y="51187"/>
                  </a:lnTo>
                  <a:lnTo>
                    <a:pt x="150114" y="51978"/>
                  </a:lnTo>
                  <a:lnTo>
                    <a:pt x="150086" y="52873"/>
                  </a:lnTo>
                  <a:lnTo>
                    <a:pt x="148295" y="53416"/>
                  </a:lnTo>
                  <a:lnTo>
                    <a:pt x="149286" y="59579"/>
                  </a:lnTo>
                  <a:lnTo>
                    <a:pt x="148885" y="61350"/>
                  </a:lnTo>
                  <a:lnTo>
                    <a:pt x="148228" y="61951"/>
                  </a:lnTo>
                  <a:lnTo>
                    <a:pt x="147618" y="61703"/>
                  </a:lnTo>
                  <a:lnTo>
                    <a:pt x="146866" y="61636"/>
                  </a:lnTo>
                  <a:lnTo>
                    <a:pt x="146495" y="62217"/>
                  </a:lnTo>
                  <a:lnTo>
                    <a:pt x="146809" y="63532"/>
                  </a:lnTo>
                  <a:lnTo>
                    <a:pt x="145047" y="63684"/>
                  </a:lnTo>
                  <a:lnTo>
                    <a:pt x="142247" y="63008"/>
                  </a:lnTo>
                  <a:lnTo>
                    <a:pt x="140961" y="61817"/>
                  </a:lnTo>
                  <a:lnTo>
                    <a:pt x="140741" y="60608"/>
                  </a:lnTo>
                  <a:lnTo>
                    <a:pt x="140722" y="59474"/>
                  </a:lnTo>
                  <a:lnTo>
                    <a:pt x="139827" y="57617"/>
                  </a:lnTo>
                  <a:lnTo>
                    <a:pt x="137598" y="55693"/>
                  </a:lnTo>
                  <a:lnTo>
                    <a:pt x="132941" y="55378"/>
                  </a:lnTo>
                  <a:lnTo>
                    <a:pt x="131216" y="54769"/>
                  </a:lnTo>
                  <a:lnTo>
                    <a:pt x="129435" y="54073"/>
                  </a:lnTo>
                  <a:lnTo>
                    <a:pt x="127492" y="53549"/>
                  </a:lnTo>
                  <a:lnTo>
                    <a:pt x="125702" y="53597"/>
                  </a:lnTo>
                  <a:lnTo>
                    <a:pt x="123540" y="54112"/>
                  </a:lnTo>
                  <a:lnTo>
                    <a:pt x="119768" y="53264"/>
                  </a:lnTo>
                  <a:lnTo>
                    <a:pt x="118491" y="54397"/>
                  </a:lnTo>
                  <a:lnTo>
                    <a:pt x="116510" y="55702"/>
                  </a:lnTo>
                  <a:lnTo>
                    <a:pt x="114862" y="55674"/>
                  </a:lnTo>
                  <a:lnTo>
                    <a:pt x="111586" y="52645"/>
                  </a:lnTo>
                  <a:lnTo>
                    <a:pt x="110604" y="52454"/>
                  </a:lnTo>
                  <a:lnTo>
                    <a:pt x="107738" y="53997"/>
                  </a:lnTo>
                  <a:lnTo>
                    <a:pt x="106566" y="54083"/>
                  </a:lnTo>
                  <a:lnTo>
                    <a:pt x="105670" y="53597"/>
                  </a:lnTo>
                  <a:lnTo>
                    <a:pt x="101794" y="52435"/>
                  </a:lnTo>
                  <a:lnTo>
                    <a:pt x="100041" y="52188"/>
                  </a:lnTo>
                  <a:lnTo>
                    <a:pt x="98755" y="52740"/>
                  </a:lnTo>
                  <a:lnTo>
                    <a:pt x="96479" y="52149"/>
                  </a:lnTo>
                  <a:lnTo>
                    <a:pt x="90954" y="48177"/>
                  </a:lnTo>
                  <a:lnTo>
                    <a:pt x="87535" y="51197"/>
                  </a:lnTo>
                  <a:lnTo>
                    <a:pt x="80582" y="50444"/>
                  </a:lnTo>
                  <a:lnTo>
                    <a:pt x="78514" y="52511"/>
                  </a:lnTo>
                  <a:lnTo>
                    <a:pt x="76152" y="56426"/>
                  </a:lnTo>
                  <a:lnTo>
                    <a:pt x="74238" y="58293"/>
                  </a:lnTo>
                  <a:lnTo>
                    <a:pt x="72571" y="57626"/>
                  </a:lnTo>
                  <a:lnTo>
                    <a:pt x="70599" y="55902"/>
                  </a:lnTo>
                  <a:lnTo>
                    <a:pt x="67151" y="51473"/>
                  </a:lnTo>
                  <a:lnTo>
                    <a:pt x="65408" y="50673"/>
                  </a:lnTo>
                  <a:lnTo>
                    <a:pt x="63408" y="50482"/>
                  </a:lnTo>
                  <a:lnTo>
                    <a:pt x="61665" y="50978"/>
                  </a:lnTo>
                  <a:lnTo>
                    <a:pt x="60732" y="51873"/>
                  </a:lnTo>
                  <a:lnTo>
                    <a:pt x="60017" y="58341"/>
                  </a:lnTo>
                  <a:lnTo>
                    <a:pt x="59388" y="64027"/>
                  </a:lnTo>
                  <a:lnTo>
                    <a:pt x="59350" y="67427"/>
                  </a:lnTo>
                  <a:lnTo>
                    <a:pt x="63179" y="70571"/>
                  </a:lnTo>
                  <a:lnTo>
                    <a:pt x="67704" y="75971"/>
                  </a:lnTo>
                  <a:lnTo>
                    <a:pt x="69152" y="76590"/>
                  </a:lnTo>
                  <a:lnTo>
                    <a:pt x="69875" y="78352"/>
                  </a:lnTo>
                  <a:lnTo>
                    <a:pt x="70933" y="82896"/>
                  </a:lnTo>
                  <a:lnTo>
                    <a:pt x="72124" y="87992"/>
                  </a:lnTo>
                  <a:lnTo>
                    <a:pt x="74419" y="91364"/>
                  </a:lnTo>
                  <a:lnTo>
                    <a:pt x="76486" y="93764"/>
                  </a:lnTo>
                  <a:lnTo>
                    <a:pt x="79010" y="95878"/>
                  </a:lnTo>
                  <a:lnTo>
                    <a:pt x="82182" y="99184"/>
                  </a:lnTo>
                  <a:lnTo>
                    <a:pt x="84773" y="102813"/>
                  </a:lnTo>
                  <a:lnTo>
                    <a:pt x="85458" y="104146"/>
                  </a:lnTo>
                  <a:lnTo>
                    <a:pt x="90497" y="108928"/>
                  </a:lnTo>
                  <a:lnTo>
                    <a:pt x="95384" y="113795"/>
                  </a:lnTo>
                  <a:lnTo>
                    <a:pt x="99746" y="115500"/>
                  </a:lnTo>
                  <a:lnTo>
                    <a:pt x="100432" y="116396"/>
                  </a:lnTo>
                  <a:lnTo>
                    <a:pt x="100470" y="120129"/>
                  </a:lnTo>
                  <a:lnTo>
                    <a:pt x="100946" y="121530"/>
                  </a:lnTo>
                  <a:lnTo>
                    <a:pt x="103861" y="125435"/>
                  </a:lnTo>
                  <a:lnTo>
                    <a:pt x="109814" y="131140"/>
                  </a:lnTo>
                  <a:lnTo>
                    <a:pt x="110500" y="132455"/>
                  </a:lnTo>
                  <a:lnTo>
                    <a:pt x="110700" y="133426"/>
                  </a:lnTo>
                  <a:lnTo>
                    <a:pt x="110319" y="134169"/>
                  </a:lnTo>
                  <a:lnTo>
                    <a:pt x="108757" y="134950"/>
                  </a:lnTo>
                  <a:lnTo>
                    <a:pt x="107480" y="134083"/>
                  </a:lnTo>
                  <a:lnTo>
                    <a:pt x="101937" y="128521"/>
                  </a:lnTo>
                  <a:lnTo>
                    <a:pt x="96574" y="125006"/>
                  </a:lnTo>
                  <a:lnTo>
                    <a:pt x="90526" y="118376"/>
                  </a:lnTo>
                  <a:lnTo>
                    <a:pt x="82429" y="115748"/>
                  </a:lnTo>
                  <a:lnTo>
                    <a:pt x="76914" y="112833"/>
                  </a:lnTo>
                  <a:lnTo>
                    <a:pt x="73571" y="113271"/>
                  </a:lnTo>
                  <a:lnTo>
                    <a:pt x="69885" y="114186"/>
                  </a:lnTo>
                  <a:lnTo>
                    <a:pt x="67609" y="114214"/>
                  </a:lnTo>
                  <a:lnTo>
                    <a:pt x="65990" y="113690"/>
                  </a:lnTo>
                  <a:lnTo>
                    <a:pt x="64846" y="111881"/>
                  </a:lnTo>
                  <a:lnTo>
                    <a:pt x="65018" y="110480"/>
                  </a:lnTo>
                  <a:lnTo>
                    <a:pt x="64818" y="108661"/>
                  </a:lnTo>
                  <a:lnTo>
                    <a:pt x="61589" y="105737"/>
                  </a:lnTo>
                  <a:lnTo>
                    <a:pt x="57178" y="102956"/>
                  </a:lnTo>
                  <a:lnTo>
                    <a:pt x="53007" y="99355"/>
                  </a:lnTo>
                  <a:lnTo>
                    <a:pt x="44625" y="89602"/>
                  </a:lnTo>
                  <a:lnTo>
                    <a:pt x="42939" y="86449"/>
                  </a:lnTo>
                  <a:lnTo>
                    <a:pt x="44587" y="85849"/>
                  </a:lnTo>
                  <a:lnTo>
                    <a:pt x="45834" y="85906"/>
                  </a:lnTo>
                  <a:lnTo>
                    <a:pt x="47244" y="85258"/>
                  </a:lnTo>
                  <a:lnTo>
                    <a:pt x="49530" y="85249"/>
                  </a:lnTo>
                  <a:lnTo>
                    <a:pt x="52235" y="85887"/>
                  </a:lnTo>
                  <a:lnTo>
                    <a:pt x="49845" y="83791"/>
                  </a:lnTo>
                  <a:lnTo>
                    <a:pt x="46863" y="81734"/>
                  </a:lnTo>
                  <a:lnTo>
                    <a:pt x="39148" y="73543"/>
                  </a:lnTo>
                  <a:lnTo>
                    <a:pt x="36843" y="69656"/>
                  </a:lnTo>
                  <a:lnTo>
                    <a:pt x="36576" y="65465"/>
                  </a:lnTo>
                  <a:lnTo>
                    <a:pt x="37148" y="59712"/>
                  </a:lnTo>
                  <a:lnTo>
                    <a:pt x="35757" y="55578"/>
                  </a:lnTo>
                  <a:lnTo>
                    <a:pt x="29804" y="50216"/>
                  </a:lnTo>
                  <a:lnTo>
                    <a:pt x="27623" y="47387"/>
                  </a:lnTo>
                  <a:lnTo>
                    <a:pt x="23232" y="45701"/>
                  </a:lnTo>
                  <a:lnTo>
                    <a:pt x="21260" y="45863"/>
                  </a:lnTo>
                  <a:lnTo>
                    <a:pt x="20079" y="47958"/>
                  </a:lnTo>
                  <a:lnTo>
                    <a:pt x="19222" y="52606"/>
                  </a:lnTo>
                  <a:lnTo>
                    <a:pt x="15326" y="58721"/>
                  </a:lnTo>
                  <a:lnTo>
                    <a:pt x="14031" y="61370"/>
                  </a:lnTo>
                  <a:lnTo>
                    <a:pt x="11992" y="64808"/>
                  </a:lnTo>
                  <a:lnTo>
                    <a:pt x="10220" y="65046"/>
                  </a:lnTo>
                  <a:lnTo>
                    <a:pt x="9182" y="64741"/>
                  </a:lnTo>
                  <a:lnTo>
                    <a:pt x="6020" y="58950"/>
                  </a:lnTo>
                  <a:lnTo>
                    <a:pt x="3000" y="54550"/>
                  </a:lnTo>
                  <a:lnTo>
                    <a:pt x="2581" y="52464"/>
                  </a:lnTo>
                  <a:lnTo>
                    <a:pt x="2305" y="49892"/>
                  </a:lnTo>
                  <a:lnTo>
                    <a:pt x="0" y="40396"/>
                  </a:lnTo>
                  <a:lnTo>
                    <a:pt x="1619" y="39062"/>
                  </a:lnTo>
                  <a:lnTo>
                    <a:pt x="2620" y="40586"/>
                  </a:lnTo>
                  <a:lnTo>
                    <a:pt x="9659" y="42424"/>
                  </a:lnTo>
                  <a:lnTo>
                    <a:pt x="11182" y="41615"/>
                  </a:lnTo>
                  <a:lnTo>
                    <a:pt x="12106" y="40367"/>
                  </a:lnTo>
                  <a:lnTo>
                    <a:pt x="12106" y="39576"/>
                  </a:lnTo>
                  <a:lnTo>
                    <a:pt x="12706" y="39348"/>
                  </a:lnTo>
                  <a:lnTo>
                    <a:pt x="15183" y="40548"/>
                  </a:lnTo>
                  <a:lnTo>
                    <a:pt x="17202" y="40272"/>
                  </a:lnTo>
                  <a:lnTo>
                    <a:pt x="20460" y="40214"/>
                  </a:lnTo>
                  <a:lnTo>
                    <a:pt x="22784" y="40414"/>
                  </a:lnTo>
                  <a:lnTo>
                    <a:pt x="24327" y="39491"/>
                  </a:lnTo>
                  <a:lnTo>
                    <a:pt x="26404" y="36090"/>
                  </a:lnTo>
                  <a:lnTo>
                    <a:pt x="27175" y="34185"/>
                  </a:lnTo>
                  <a:lnTo>
                    <a:pt x="28108" y="33728"/>
                  </a:lnTo>
                  <a:lnTo>
                    <a:pt x="28718" y="33957"/>
                  </a:lnTo>
                  <a:lnTo>
                    <a:pt x="29166" y="35528"/>
                  </a:lnTo>
                  <a:lnTo>
                    <a:pt x="30261" y="36995"/>
                  </a:lnTo>
                  <a:lnTo>
                    <a:pt x="32509" y="39386"/>
                  </a:lnTo>
                  <a:lnTo>
                    <a:pt x="34100" y="40538"/>
                  </a:lnTo>
                  <a:lnTo>
                    <a:pt x="35538" y="40948"/>
                  </a:lnTo>
                  <a:lnTo>
                    <a:pt x="36948" y="39986"/>
                  </a:lnTo>
                  <a:lnTo>
                    <a:pt x="38405" y="39710"/>
                  </a:lnTo>
                  <a:lnTo>
                    <a:pt x="42577" y="41577"/>
                  </a:lnTo>
                  <a:lnTo>
                    <a:pt x="46101" y="41929"/>
                  </a:lnTo>
                  <a:lnTo>
                    <a:pt x="48702" y="40957"/>
                  </a:lnTo>
                  <a:lnTo>
                    <a:pt x="48359" y="39614"/>
                  </a:lnTo>
                  <a:lnTo>
                    <a:pt x="47406" y="38119"/>
                  </a:lnTo>
                  <a:lnTo>
                    <a:pt x="47206" y="36671"/>
                  </a:lnTo>
                  <a:lnTo>
                    <a:pt x="47377" y="35414"/>
                  </a:lnTo>
                  <a:lnTo>
                    <a:pt x="49168" y="34166"/>
                  </a:lnTo>
                  <a:lnTo>
                    <a:pt x="49082" y="33614"/>
                  </a:lnTo>
                  <a:lnTo>
                    <a:pt x="46920" y="31413"/>
                  </a:lnTo>
                  <a:lnTo>
                    <a:pt x="47025" y="30842"/>
                  </a:lnTo>
                  <a:lnTo>
                    <a:pt x="51759" y="28356"/>
                  </a:lnTo>
                  <a:lnTo>
                    <a:pt x="56322" y="26965"/>
                  </a:lnTo>
                  <a:lnTo>
                    <a:pt x="57055" y="25889"/>
                  </a:lnTo>
                  <a:lnTo>
                    <a:pt x="57474" y="24270"/>
                  </a:lnTo>
                  <a:lnTo>
                    <a:pt x="57674" y="21231"/>
                  </a:lnTo>
                  <a:lnTo>
                    <a:pt x="57426" y="18745"/>
                  </a:lnTo>
                  <a:lnTo>
                    <a:pt x="55579" y="16411"/>
                  </a:lnTo>
                  <a:lnTo>
                    <a:pt x="55464" y="15230"/>
                  </a:lnTo>
                  <a:lnTo>
                    <a:pt x="55902" y="14002"/>
                  </a:lnTo>
                  <a:lnTo>
                    <a:pt x="56626" y="12887"/>
                  </a:lnTo>
                  <a:lnTo>
                    <a:pt x="58455" y="12411"/>
                  </a:lnTo>
                  <a:lnTo>
                    <a:pt x="60598" y="11611"/>
                  </a:lnTo>
                  <a:lnTo>
                    <a:pt x="62294" y="10687"/>
                  </a:lnTo>
                  <a:lnTo>
                    <a:pt x="64580" y="9925"/>
                  </a:lnTo>
                  <a:lnTo>
                    <a:pt x="66380" y="8858"/>
                  </a:lnTo>
                  <a:lnTo>
                    <a:pt x="68142" y="6315"/>
                  </a:lnTo>
                  <a:lnTo>
                    <a:pt x="69209" y="5896"/>
                  </a:lnTo>
                  <a:lnTo>
                    <a:pt x="72437" y="6258"/>
                  </a:lnTo>
                  <a:lnTo>
                    <a:pt x="73133" y="5629"/>
                  </a:lnTo>
                  <a:lnTo>
                    <a:pt x="72685" y="1972"/>
                  </a:lnTo>
                  <a:lnTo>
                    <a:pt x="73266" y="1038"/>
                  </a:lnTo>
                  <a:lnTo>
                    <a:pt x="74409" y="514"/>
                  </a:lnTo>
                  <a:lnTo>
                    <a:pt x="74943" y="0"/>
                  </a:lnTo>
                  <a:lnTo>
                    <a:pt x="77791" y="400"/>
                  </a:lnTo>
                  <a:lnTo>
                    <a:pt x="80239" y="1305"/>
                  </a:lnTo>
                  <a:close/>
                  <a:moveTo>
                    <a:pt x="34643" y="59446"/>
                  </a:moveTo>
                  <a:lnTo>
                    <a:pt x="31347" y="60255"/>
                  </a:lnTo>
                  <a:lnTo>
                    <a:pt x="29776" y="58807"/>
                  </a:lnTo>
                  <a:lnTo>
                    <a:pt x="29366" y="57617"/>
                  </a:lnTo>
                  <a:lnTo>
                    <a:pt x="26651" y="57236"/>
                  </a:lnTo>
                  <a:lnTo>
                    <a:pt x="25013" y="55588"/>
                  </a:lnTo>
                  <a:lnTo>
                    <a:pt x="24679" y="54855"/>
                  </a:lnTo>
                  <a:lnTo>
                    <a:pt x="27004" y="53035"/>
                  </a:lnTo>
                  <a:lnTo>
                    <a:pt x="28242" y="50092"/>
                  </a:lnTo>
                  <a:lnTo>
                    <a:pt x="29813" y="51864"/>
                  </a:lnTo>
                  <a:lnTo>
                    <a:pt x="31718" y="55188"/>
                  </a:lnTo>
                  <a:lnTo>
                    <a:pt x="32738" y="56112"/>
                  </a:lnTo>
                  <a:lnTo>
                    <a:pt x="34643" y="59446"/>
                  </a:lnTo>
                  <a:close/>
                  <a:moveTo>
                    <a:pt x="26022" y="71352"/>
                  </a:moveTo>
                  <a:lnTo>
                    <a:pt x="25813" y="72800"/>
                  </a:lnTo>
                  <a:lnTo>
                    <a:pt x="24194" y="70961"/>
                  </a:lnTo>
                  <a:lnTo>
                    <a:pt x="23374" y="67666"/>
                  </a:lnTo>
                  <a:lnTo>
                    <a:pt x="21327" y="62322"/>
                  </a:lnTo>
                  <a:lnTo>
                    <a:pt x="21060" y="60817"/>
                  </a:lnTo>
                  <a:lnTo>
                    <a:pt x="22117" y="59331"/>
                  </a:lnTo>
                  <a:lnTo>
                    <a:pt x="22060" y="57817"/>
                  </a:lnTo>
                  <a:lnTo>
                    <a:pt x="20612" y="53111"/>
                  </a:lnTo>
                  <a:lnTo>
                    <a:pt x="21822" y="52340"/>
                  </a:lnTo>
                  <a:lnTo>
                    <a:pt x="22546" y="52244"/>
                  </a:lnTo>
                  <a:lnTo>
                    <a:pt x="22841" y="55512"/>
                  </a:lnTo>
                  <a:lnTo>
                    <a:pt x="23498" y="57388"/>
                  </a:lnTo>
                  <a:lnTo>
                    <a:pt x="25470" y="59693"/>
                  </a:lnTo>
                  <a:lnTo>
                    <a:pt x="25070" y="63494"/>
                  </a:lnTo>
                  <a:lnTo>
                    <a:pt x="25470" y="68894"/>
                  </a:lnTo>
                  <a:lnTo>
                    <a:pt x="25870" y="70094"/>
                  </a:lnTo>
                  <a:lnTo>
                    <a:pt x="26022" y="71352"/>
                  </a:lnTo>
                  <a:close/>
                  <a:moveTo>
                    <a:pt x="35204" y="67646"/>
                  </a:moveTo>
                  <a:lnTo>
                    <a:pt x="35881" y="69304"/>
                  </a:lnTo>
                  <a:lnTo>
                    <a:pt x="33366" y="67808"/>
                  </a:lnTo>
                  <a:lnTo>
                    <a:pt x="31109" y="67237"/>
                  </a:lnTo>
                  <a:lnTo>
                    <a:pt x="30632" y="66113"/>
                  </a:lnTo>
                  <a:lnTo>
                    <a:pt x="30956" y="65189"/>
                  </a:lnTo>
                  <a:lnTo>
                    <a:pt x="31442" y="64294"/>
                  </a:lnTo>
                  <a:lnTo>
                    <a:pt x="33147" y="64418"/>
                  </a:lnTo>
                  <a:lnTo>
                    <a:pt x="33404" y="65294"/>
                  </a:lnTo>
                  <a:lnTo>
                    <a:pt x="35204" y="67646"/>
                  </a:lnTo>
                  <a:close/>
                  <a:moveTo>
                    <a:pt x="44748" y="83468"/>
                  </a:moveTo>
                  <a:lnTo>
                    <a:pt x="44063" y="84458"/>
                  </a:lnTo>
                  <a:lnTo>
                    <a:pt x="42329" y="82639"/>
                  </a:lnTo>
                  <a:lnTo>
                    <a:pt x="40739" y="81343"/>
                  </a:lnTo>
                  <a:lnTo>
                    <a:pt x="39605" y="79800"/>
                  </a:lnTo>
                  <a:lnTo>
                    <a:pt x="37376" y="77876"/>
                  </a:lnTo>
                  <a:lnTo>
                    <a:pt x="36624" y="75676"/>
                  </a:lnTo>
                  <a:lnTo>
                    <a:pt x="33300" y="71180"/>
                  </a:lnTo>
                  <a:lnTo>
                    <a:pt x="32804" y="69961"/>
                  </a:lnTo>
                  <a:lnTo>
                    <a:pt x="34461" y="71780"/>
                  </a:lnTo>
                  <a:lnTo>
                    <a:pt x="35843" y="72923"/>
                  </a:lnTo>
                  <a:lnTo>
                    <a:pt x="36986" y="73200"/>
                  </a:lnTo>
                  <a:lnTo>
                    <a:pt x="39881" y="76067"/>
                  </a:lnTo>
                  <a:lnTo>
                    <a:pt x="42729" y="79743"/>
                  </a:lnTo>
                  <a:lnTo>
                    <a:pt x="46120" y="82934"/>
                  </a:lnTo>
                  <a:lnTo>
                    <a:pt x="45415" y="83029"/>
                  </a:lnTo>
                  <a:lnTo>
                    <a:pt x="44748" y="83468"/>
                  </a:lnTo>
                  <a:close/>
                  <a:moveTo>
                    <a:pt x="44758" y="98812"/>
                  </a:moveTo>
                  <a:lnTo>
                    <a:pt x="45139" y="99355"/>
                  </a:lnTo>
                  <a:lnTo>
                    <a:pt x="45101" y="99727"/>
                  </a:lnTo>
                  <a:lnTo>
                    <a:pt x="43710" y="99203"/>
                  </a:lnTo>
                  <a:lnTo>
                    <a:pt x="43339" y="99374"/>
                  </a:lnTo>
                  <a:lnTo>
                    <a:pt x="36795" y="91287"/>
                  </a:lnTo>
                  <a:lnTo>
                    <a:pt x="36090" y="89706"/>
                  </a:lnTo>
                  <a:lnTo>
                    <a:pt x="38434" y="91592"/>
                  </a:lnTo>
                  <a:lnTo>
                    <a:pt x="44758" y="98812"/>
                  </a:lnTo>
                  <a:close/>
                  <a:moveTo>
                    <a:pt x="45882" y="93631"/>
                  </a:moveTo>
                  <a:lnTo>
                    <a:pt x="46301" y="94935"/>
                  </a:lnTo>
                  <a:lnTo>
                    <a:pt x="42967" y="92478"/>
                  </a:lnTo>
                  <a:lnTo>
                    <a:pt x="41700" y="90830"/>
                  </a:lnTo>
                  <a:lnTo>
                    <a:pt x="41472" y="90088"/>
                  </a:lnTo>
                  <a:lnTo>
                    <a:pt x="45882" y="93631"/>
                  </a:lnTo>
                  <a:close/>
                  <a:moveTo>
                    <a:pt x="49635" y="96907"/>
                  </a:moveTo>
                  <a:lnTo>
                    <a:pt x="51397" y="99660"/>
                  </a:lnTo>
                  <a:lnTo>
                    <a:pt x="49711" y="99088"/>
                  </a:lnTo>
                  <a:lnTo>
                    <a:pt x="47959" y="97393"/>
                  </a:lnTo>
                  <a:lnTo>
                    <a:pt x="46930" y="95545"/>
                  </a:lnTo>
                  <a:lnTo>
                    <a:pt x="49635" y="96907"/>
                  </a:lnTo>
                  <a:close/>
                  <a:moveTo>
                    <a:pt x="87430" y="122777"/>
                  </a:moveTo>
                  <a:lnTo>
                    <a:pt x="83211" y="122872"/>
                  </a:lnTo>
                  <a:lnTo>
                    <a:pt x="79543" y="122206"/>
                  </a:lnTo>
                  <a:lnTo>
                    <a:pt x="77753" y="121072"/>
                  </a:lnTo>
                  <a:lnTo>
                    <a:pt x="77886" y="120110"/>
                  </a:lnTo>
                  <a:lnTo>
                    <a:pt x="78438" y="118510"/>
                  </a:lnTo>
                  <a:lnTo>
                    <a:pt x="82525" y="118701"/>
                  </a:lnTo>
                  <a:lnTo>
                    <a:pt x="88745" y="119834"/>
                  </a:lnTo>
                  <a:lnTo>
                    <a:pt x="90268" y="121158"/>
                  </a:lnTo>
                  <a:lnTo>
                    <a:pt x="89792" y="121768"/>
                  </a:lnTo>
                  <a:lnTo>
                    <a:pt x="87430" y="122777"/>
                  </a:lnTo>
                  <a:close/>
                  <a:moveTo>
                    <a:pt x="98355" y="128073"/>
                  </a:moveTo>
                  <a:lnTo>
                    <a:pt x="96488" y="128454"/>
                  </a:lnTo>
                  <a:lnTo>
                    <a:pt x="84591" y="128168"/>
                  </a:lnTo>
                  <a:lnTo>
                    <a:pt x="81134" y="127406"/>
                  </a:lnTo>
                  <a:lnTo>
                    <a:pt x="77286" y="125454"/>
                  </a:lnTo>
                  <a:lnTo>
                    <a:pt x="76505" y="124854"/>
                  </a:lnTo>
                  <a:lnTo>
                    <a:pt x="80372" y="124282"/>
                  </a:lnTo>
                  <a:lnTo>
                    <a:pt x="83972" y="124854"/>
                  </a:lnTo>
                  <a:lnTo>
                    <a:pt x="85077" y="126273"/>
                  </a:lnTo>
                  <a:lnTo>
                    <a:pt x="94802" y="127406"/>
                  </a:lnTo>
                  <a:lnTo>
                    <a:pt x="98355" y="128073"/>
                  </a:lnTo>
                  <a:close/>
                  <a:moveTo>
                    <a:pt x="111014" y="136407"/>
                  </a:moveTo>
                  <a:lnTo>
                    <a:pt x="112957" y="135741"/>
                  </a:lnTo>
                  <a:lnTo>
                    <a:pt x="114605" y="136227"/>
                  </a:lnTo>
                  <a:lnTo>
                    <a:pt x="115653" y="138303"/>
                  </a:lnTo>
                  <a:lnTo>
                    <a:pt x="117720" y="139675"/>
                  </a:lnTo>
                  <a:lnTo>
                    <a:pt x="121082" y="142075"/>
                  </a:lnTo>
                  <a:lnTo>
                    <a:pt x="123206" y="143913"/>
                  </a:lnTo>
                  <a:lnTo>
                    <a:pt x="128016" y="147209"/>
                  </a:lnTo>
                  <a:lnTo>
                    <a:pt x="129159" y="147666"/>
                  </a:lnTo>
                  <a:lnTo>
                    <a:pt x="131559" y="148647"/>
                  </a:lnTo>
                  <a:lnTo>
                    <a:pt x="131607" y="149981"/>
                  </a:lnTo>
                  <a:lnTo>
                    <a:pt x="132636" y="151495"/>
                  </a:lnTo>
                  <a:lnTo>
                    <a:pt x="133721" y="153238"/>
                  </a:lnTo>
                  <a:lnTo>
                    <a:pt x="128787" y="149809"/>
                  </a:lnTo>
                  <a:lnTo>
                    <a:pt x="124187" y="145970"/>
                  </a:lnTo>
                  <a:lnTo>
                    <a:pt x="115186" y="140046"/>
                  </a:lnTo>
                  <a:lnTo>
                    <a:pt x="108804" y="138608"/>
                  </a:lnTo>
                  <a:lnTo>
                    <a:pt x="100069" y="133836"/>
                  </a:lnTo>
                  <a:lnTo>
                    <a:pt x="94383" y="132140"/>
                  </a:lnTo>
                  <a:lnTo>
                    <a:pt x="96555" y="131750"/>
                  </a:lnTo>
                  <a:lnTo>
                    <a:pt x="99050" y="131740"/>
                  </a:lnTo>
                  <a:lnTo>
                    <a:pt x="112519" y="138113"/>
                  </a:lnTo>
                  <a:lnTo>
                    <a:pt x="111014" y="136407"/>
                  </a:lnTo>
                  <a:close/>
                  <a:moveTo>
                    <a:pt x="83839" y="132788"/>
                  </a:moveTo>
                  <a:lnTo>
                    <a:pt x="88782" y="133807"/>
                  </a:lnTo>
                  <a:lnTo>
                    <a:pt x="92402" y="133340"/>
                  </a:lnTo>
                  <a:lnTo>
                    <a:pt x="95678" y="133969"/>
                  </a:lnTo>
                  <a:lnTo>
                    <a:pt x="97717" y="135122"/>
                  </a:lnTo>
                  <a:lnTo>
                    <a:pt x="98203" y="135693"/>
                  </a:lnTo>
                  <a:lnTo>
                    <a:pt x="95565" y="135769"/>
                  </a:lnTo>
                  <a:lnTo>
                    <a:pt x="92573" y="135303"/>
                  </a:lnTo>
                  <a:lnTo>
                    <a:pt x="89183" y="136474"/>
                  </a:lnTo>
                  <a:lnTo>
                    <a:pt x="86192" y="135855"/>
                  </a:lnTo>
                  <a:lnTo>
                    <a:pt x="85058" y="135084"/>
                  </a:lnTo>
                  <a:lnTo>
                    <a:pt x="84258" y="134131"/>
                  </a:lnTo>
                  <a:lnTo>
                    <a:pt x="83839" y="132788"/>
                  </a:lnTo>
                  <a:close/>
                  <a:moveTo>
                    <a:pt x="109424" y="141056"/>
                  </a:moveTo>
                  <a:lnTo>
                    <a:pt x="113072" y="143542"/>
                  </a:lnTo>
                  <a:lnTo>
                    <a:pt x="102375" y="140275"/>
                  </a:lnTo>
                  <a:lnTo>
                    <a:pt x="103584" y="139979"/>
                  </a:lnTo>
                  <a:lnTo>
                    <a:pt x="104718" y="139913"/>
                  </a:lnTo>
                  <a:lnTo>
                    <a:pt x="109424" y="141056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0" name="Forme libre : forme 26">
              <a:extLst>
                <a:ext uri="{FF2B5EF4-FFF2-40B4-BE49-F238E27FC236}">
                  <a16:creationId xmlns:a16="http://schemas.microsoft.com/office/drawing/2014/main" id="{E82E5376-8A4B-5886-C3CC-E5EAD301AE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475582" y="4368886"/>
              <a:ext cx="627973" cy="380154"/>
            </a:xfrm>
            <a:custGeom>
              <a:avLst/>
              <a:gdLst>
                <a:gd name="connsiteX0" fmla="*/ 161439 w 181336"/>
                <a:gd name="connsiteY0" fmla="*/ 5953 h 109775"/>
                <a:gd name="connsiteX1" fmla="*/ 163982 w 181336"/>
                <a:gd name="connsiteY1" fmla="*/ 5629 h 109775"/>
                <a:gd name="connsiteX2" fmla="*/ 164087 w 181336"/>
                <a:gd name="connsiteY2" fmla="*/ 5677 h 109775"/>
                <a:gd name="connsiteX3" fmla="*/ 164687 w 181336"/>
                <a:gd name="connsiteY3" fmla="*/ 5867 h 109775"/>
                <a:gd name="connsiteX4" fmla="*/ 165116 w 181336"/>
                <a:gd name="connsiteY4" fmla="*/ 7734 h 109775"/>
                <a:gd name="connsiteX5" fmla="*/ 165182 w 181336"/>
                <a:gd name="connsiteY5" fmla="*/ 7858 h 109775"/>
                <a:gd name="connsiteX6" fmla="*/ 165802 w 181336"/>
                <a:gd name="connsiteY6" fmla="*/ 9087 h 109775"/>
                <a:gd name="connsiteX7" fmla="*/ 166373 w 181336"/>
                <a:gd name="connsiteY7" fmla="*/ 10716 h 109775"/>
                <a:gd name="connsiteX8" fmla="*/ 167268 w 181336"/>
                <a:gd name="connsiteY8" fmla="*/ 11944 h 109775"/>
                <a:gd name="connsiteX9" fmla="*/ 169240 w 181336"/>
                <a:gd name="connsiteY9" fmla="*/ 12449 h 109775"/>
                <a:gd name="connsiteX10" fmla="*/ 171812 w 181336"/>
                <a:gd name="connsiteY10" fmla="*/ 13964 h 109775"/>
                <a:gd name="connsiteX11" fmla="*/ 173479 w 181336"/>
                <a:gd name="connsiteY11" fmla="*/ 16821 h 109775"/>
                <a:gd name="connsiteX12" fmla="*/ 175984 w 181336"/>
                <a:gd name="connsiteY12" fmla="*/ 18002 h 109775"/>
                <a:gd name="connsiteX13" fmla="*/ 176165 w 181336"/>
                <a:gd name="connsiteY13" fmla="*/ 18031 h 109775"/>
                <a:gd name="connsiteX14" fmla="*/ 176660 w 181336"/>
                <a:gd name="connsiteY14" fmla="*/ 17897 h 109775"/>
                <a:gd name="connsiteX15" fmla="*/ 178470 w 181336"/>
                <a:gd name="connsiteY15" fmla="*/ 17793 h 109775"/>
                <a:gd name="connsiteX16" fmla="*/ 178822 w 181336"/>
                <a:gd name="connsiteY16" fmla="*/ 18364 h 109775"/>
                <a:gd name="connsiteX17" fmla="*/ 180261 w 181336"/>
                <a:gd name="connsiteY17" fmla="*/ 19764 h 109775"/>
                <a:gd name="connsiteX18" fmla="*/ 180823 w 181336"/>
                <a:gd name="connsiteY18" fmla="*/ 20984 h 109775"/>
                <a:gd name="connsiteX19" fmla="*/ 180537 w 181336"/>
                <a:gd name="connsiteY19" fmla="*/ 22279 h 109775"/>
                <a:gd name="connsiteX20" fmla="*/ 180794 w 181336"/>
                <a:gd name="connsiteY20" fmla="*/ 23746 h 109775"/>
                <a:gd name="connsiteX21" fmla="*/ 181337 w 181336"/>
                <a:gd name="connsiteY21" fmla="*/ 24260 h 109775"/>
                <a:gd name="connsiteX22" fmla="*/ 180680 w 181336"/>
                <a:gd name="connsiteY22" fmla="*/ 25241 h 109775"/>
                <a:gd name="connsiteX23" fmla="*/ 176003 w 181336"/>
                <a:gd name="connsiteY23" fmla="*/ 30156 h 109775"/>
                <a:gd name="connsiteX24" fmla="*/ 174164 w 181336"/>
                <a:gd name="connsiteY24" fmla="*/ 31452 h 109775"/>
                <a:gd name="connsiteX25" fmla="*/ 172955 w 181336"/>
                <a:gd name="connsiteY25" fmla="*/ 31718 h 109775"/>
                <a:gd name="connsiteX26" fmla="*/ 171040 w 181336"/>
                <a:gd name="connsiteY26" fmla="*/ 31204 h 109775"/>
                <a:gd name="connsiteX27" fmla="*/ 169069 w 181336"/>
                <a:gd name="connsiteY27" fmla="*/ 31595 h 109775"/>
                <a:gd name="connsiteX28" fmla="*/ 167307 w 181336"/>
                <a:gd name="connsiteY28" fmla="*/ 32642 h 109775"/>
                <a:gd name="connsiteX29" fmla="*/ 165678 w 181336"/>
                <a:gd name="connsiteY29" fmla="*/ 32976 h 109775"/>
                <a:gd name="connsiteX30" fmla="*/ 164449 w 181336"/>
                <a:gd name="connsiteY30" fmla="*/ 34223 h 109775"/>
                <a:gd name="connsiteX31" fmla="*/ 162858 w 181336"/>
                <a:gd name="connsiteY31" fmla="*/ 36890 h 109775"/>
                <a:gd name="connsiteX32" fmla="*/ 160896 w 181336"/>
                <a:gd name="connsiteY32" fmla="*/ 39138 h 109775"/>
                <a:gd name="connsiteX33" fmla="*/ 158925 w 181336"/>
                <a:gd name="connsiteY33" fmla="*/ 40539 h 109775"/>
                <a:gd name="connsiteX34" fmla="*/ 157896 w 181336"/>
                <a:gd name="connsiteY34" fmla="*/ 41786 h 109775"/>
                <a:gd name="connsiteX35" fmla="*/ 157782 w 181336"/>
                <a:gd name="connsiteY35" fmla="*/ 46092 h 109775"/>
                <a:gd name="connsiteX36" fmla="*/ 156686 w 181336"/>
                <a:gd name="connsiteY36" fmla="*/ 47330 h 109775"/>
                <a:gd name="connsiteX37" fmla="*/ 155219 w 181336"/>
                <a:gd name="connsiteY37" fmla="*/ 48578 h 109775"/>
                <a:gd name="connsiteX38" fmla="*/ 154410 w 181336"/>
                <a:gd name="connsiteY38" fmla="*/ 49673 h 109775"/>
                <a:gd name="connsiteX39" fmla="*/ 152172 w 181336"/>
                <a:gd name="connsiteY39" fmla="*/ 56207 h 109775"/>
                <a:gd name="connsiteX40" fmla="*/ 150476 w 181336"/>
                <a:gd name="connsiteY40" fmla="*/ 58293 h 109775"/>
                <a:gd name="connsiteX41" fmla="*/ 148857 w 181336"/>
                <a:gd name="connsiteY41" fmla="*/ 59893 h 109775"/>
                <a:gd name="connsiteX42" fmla="*/ 148590 w 181336"/>
                <a:gd name="connsiteY42" fmla="*/ 61351 h 109775"/>
                <a:gd name="connsiteX43" fmla="*/ 148618 w 181336"/>
                <a:gd name="connsiteY43" fmla="*/ 63027 h 109775"/>
                <a:gd name="connsiteX44" fmla="*/ 146790 w 181336"/>
                <a:gd name="connsiteY44" fmla="*/ 66361 h 109775"/>
                <a:gd name="connsiteX45" fmla="*/ 144389 w 181336"/>
                <a:gd name="connsiteY45" fmla="*/ 69809 h 109775"/>
                <a:gd name="connsiteX46" fmla="*/ 143932 w 181336"/>
                <a:gd name="connsiteY46" fmla="*/ 71228 h 109775"/>
                <a:gd name="connsiteX47" fmla="*/ 144466 w 181336"/>
                <a:gd name="connsiteY47" fmla="*/ 73133 h 109775"/>
                <a:gd name="connsiteX48" fmla="*/ 142161 w 181336"/>
                <a:gd name="connsiteY48" fmla="*/ 75324 h 109775"/>
                <a:gd name="connsiteX49" fmla="*/ 140837 w 181336"/>
                <a:gd name="connsiteY49" fmla="*/ 76381 h 109775"/>
                <a:gd name="connsiteX50" fmla="*/ 139732 w 181336"/>
                <a:gd name="connsiteY50" fmla="*/ 76876 h 109775"/>
                <a:gd name="connsiteX51" fmla="*/ 139046 w 181336"/>
                <a:gd name="connsiteY51" fmla="*/ 78248 h 109775"/>
                <a:gd name="connsiteX52" fmla="*/ 137922 w 181336"/>
                <a:gd name="connsiteY52" fmla="*/ 81591 h 109775"/>
                <a:gd name="connsiteX53" fmla="*/ 138217 w 181336"/>
                <a:gd name="connsiteY53" fmla="*/ 83077 h 109775"/>
                <a:gd name="connsiteX54" fmla="*/ 138246 w 181336"/>
                <a:gd name="connsiteY54" fmla="*/ 84449 h 109775"/>
                <a:gd name="connsiteX55" fmla="*/ 136303 w 181336"/>
                <a:gd name="connsiteY55" fmla="*/ 85249 h 109775"/>
                <a:gd name="connsiteX56" fmla="*/ 135731 w 181336"/>
                <a:gd name="connsiteY56" fmla="*/ 86754 h 109775"/>
                <a:gd name="connsiteX57" fmla="*/ 135236 w 181336"/>
                <a:gd name="connsiteY57" fmla="*/ 88621 h 109775"/>
                <a:gd name="connsiteX58" fmla="*/ 134426 w 181336"/>
                <a:gd name="connsiteY58" fmla="*/ 89459 h 109775"/>
                <a:gd name="connsiteX59" fmla="*/ 132245 w 181336"/>
                <a:gd name="connsiteY59" fmla="*/ 91012 h 109775"/>
                <a:gd name="connsiteX60" fmla="*/ 126816 w 181336"/>
                <a:gd name="connsiteY60" fmla="*/ 90335 h 109775"/>
                <a:gd name="connsiteX61" fmla="*/ 124768 w 181336"/>
                <a:gd name="connsiteY61" fmla="*/ 90859 h 109775"/>
                <a:gd name="connsiteX62" fmla="*/ 124158 w 181336"/>
                <a:gd name="connsiteY62" fmla="*/ 91964 h 109775"/>
                <a:gd name="connsiteX63" fmla="*/ 124034 w 181336"/>
                <a:gd name="connsiteY63" fmla="*/ 92850 h 109775"/>
                <a:gd name="connsiteX64" fmla="*/ 123349 w 181336"/>
                <a:gd name="connsiteY64" fmla="*/ 93688 h 109775"/>
                <a:gd name="connsiteX65" fmla="*/ 122120 w 181336"/>
                <a:gd name="connsiteY65" fmla="*/ 94726 h 109775"/>
                <a:gd name="connsiteX66" fmla="*/ 120853 w 181336"/>
                <a:gd name="connsiteY66" fmla="*/ 95193 h 109775"/>
                <a:gd name="connsiteX67" fmla="*/ 118024 w 181336"/>
                <a:gd name="connsiteY67" fmla="*/ 93907 h 109775"/>
                <a:gd name="connsiteX68" fmla="*/ 111957 w 181336"/>
                <a:gd name="connsiteY68" fmla="*/ 95222 h 109775"/>
                <a:gd name="connsiteX69" fmla="*/ 110909 w 181336"/>
                <a:gd name="connsiteY69" fmla="*/ 96155 h 109775"/>
                <a:gd name="connsiteX70" fmla="*/ 110061 w 181336"/>
                <a:gd name="connsiteY70" fmla="*/ 95479 h 109775"/>
                <a:gd name="connsiteX71" fmla="*/ 108756 w 181336"/>
                <a:gd name="connsiteY71" fmla="*/ 94879 h 109775"/>
                <a:gd name="connsiteX72" fmla="*/ 102689 w 181336"/>
                <a:gd name="connsiteY72" fmla="*/ 94117 h 109775"/>
                <a:gd name="connsiteX73" fmla="*/ 100289 w 181336"/>
                <a:gd name="connsiteY73" fmla="*/ 94717 h 109775"/>
                <a:gd name="connsiteX74" fmla="*/ 97079 w 181336"/>
                <a:gd name="connsiteY74" fmla="*/ 94488 h 109775"/>
                <a:gd name="connsiteX75" fmla="*/ 94116 w 181336"/>
                <a:gd name="connsiteY75" fmla="*/ 93821 h 109775"/>
                <a:gd name="connsiteX76" fmla="*/ 91897 w 181336"/>
                <a:gd name="connsiteY76" fmla="*/ 94364 h 109775"/>
                <a:gd name="connsiteX77" fmla="*/ 89945 w 181336"/>
                <a:gd name="connsiteY77" fmla="*/ 96974 h 109775"/>
                <a:gd name="connsiteX78" fmla="*/ 88973 w 181336"/>
                <a:gd name="connsiteY78" fmla="*/ 97850 h 109775"/>
                <a:gd name="connsiteX79" fmla="*/ 88211 w 181336"/>
                <a:gd name="connsiteY79" fmla="*/ 98412 h 109775"/>
                <a:gd name="connsiteX80" fmla="*/ 86544 w 181336"/>
                <a:gd name="connsiteY80" fmla="*/ 99231 h 109775"/>
                <a:gd name="connsiteX81" fmla="*/ 85144 w 181336"/>
                <a:gd name="connsiteY81" fmla="*/ 100212 h 109775"/>
                <a:gd name="connsiteX82" fmla="*/ 83286 w 181336"/>
                <a:gd name="connsiteY82" fmla="*/ 100917 h 109775"/>
                <a:gd name="connsiteX83" fmla="*/ 81619 w 181336"/>
                <a:gd name="connsiteY83" fmla="*/ 100822 h 109775"/>
                <a:gd name="connsiteX84" fmla="*/ 80048 w 181336"/>
                <a:gd name="connsiteY84" fmla="*/ 99698 h 109775"/>
                <a:gd name="connsiteX85" fmla="*/ 79486 w 181336"/>
                <a:gd name="connsiteY85" fmla="*/ 99956 h 109775"/>
                <a:gd name="connsiteX86" fmla="*/ 78991 w 181336"/>
                <a:gd name="connsiteY86" fmla="*/ 100994 h 109775"/>
                <a:gd name="connsiteX87" fmla="*/ 78134 w 181336"/>
                <a:gd name="connsiteY87" fmla="*/ 101870 h 109775"/>
                <a:gd name="connsiteX88" fmla="*/ 75781 w 181336"/>
                <a:gd name="connsiteY88" fmla="*/ 102956 h 109775"/>
                <a:gd name="connsiteX89" fmla="*/ 75181 w 181336"/>
                <a:gd name="connsiteY89" fmla="*/ 102937 h 109775"/>
                <a:gd name="connsiteX90" fmla="*/ 75047 w 181336"/>
                <a:gd name="connsiteY90" fmla="*/ 102937 h 109775"/>
                <a:gd name="connsiteX91" fmla="*/ 73247 w 181336"/>
                <a:gd name="connsiteY91" fmla="*/ 103737 h 109775"/>
                <a:gd name="connsiteX92" fmla="*/ 70275 w 181336"/>
                <a:gd name="connsiteY92" fmla="*/ 104185 h 109775"/>
                <a:gd name="connsiteX93" fmla="*/ 68780 w 181336"/>
                <a:gd name="connsiteY93" fmla="*/ 103870 h 109775"/>
                <a:gd name="connsiteX94" fmla="*/ 66075 w 181336"/>
                <a:gd name="connsiteY94" fmla="*/ 107471 h 109775"/>
                <a:gd name="connsiteX95" fmla="*/ 65246 w 181336"/>
                <a:gd name="connsiteY95" fmla="*/ 108128 h 109775"/>
                <a:gd name="connsiteX96" fmla="*/ 62665 w 181336"/>
                <a:gd name="connsiteY96" fmla="*/ 109223 h 109775"/>
                <a:gd name="connsiteX97" fmla="*/ 60560 w 181336"/>
                <a:gd name="connsiteY97" fmla="*/ 109776 h 109775"/>
                <a:gd name="connsiteX98" fmla="*/ 58750 w 181336"/>
                <a:gd name="connsiteY98" fmla="*/ 109338 h 109775"/>
                <a:gd name="connsiteX99" fmla="*/ 58035 w 181336"/>
                <a:gd name="connsiteY99" fmla="*/ 109299 h 109775"/>
                <a:gd name="connsiteX100" fmla="*/ 50016 w 181336"/>
                <a:gd name="connsiteY100" fmla="*/ 109119 h 109775"/>
                <a:gd name="connsiteX101" fmla="*/ 45825 w 181336"/>
                <a:gd name="connsiteY101" fmla="*/ 108347 h 109775"/>
                <a:gd name="connsiteX102" fmla="*/ 43139 w 181336"/>
                <a:gd name="connsiteY102" fmla="*/ 106937 h 109775"/>
                <a:gd name="connsiteX103" fmla="*/ 41348 w 181336"/>
                <a:gd name="connsiteY103" fmla="*/ 105366 h 109775"/>
                <a:gd name="connsiteX104" fmla="*/ 40471 w 181336"/>
                <a:gd name="connsiteY104" fmla="*/ 103622 h 109775"/>
                <a:gd name="connsiteX105" fmla="*/ 38395 w 181336"/>
                <a:gd name="connsiteY105" fmla="*/ 102575 h 109775"/>
                <a:gd name="connsiteX106" fmla="*/ 35109 w 181336"/>
                <a:gd name="connsiteY106" fmla="*/ 102203 h 109775"/>
                <a:gd name="connsiteX107" fmla="*/ 32556 w 181336"/>
                <a:gd name="connsiteY107" fmla="*/ 100470 h 109775"/>
                <a:gd name="connsiteX108" fmla="*/ 30718 w 181336"/>
                <a:gd name="connsiteY108" fmla="*/ 97384 h 109775"/>
                <a:gd name="connsiteX109" fmla="*/ 28251 w 181336"/>
                <a:gd name="connsiteY109" fmla="*/ 94936 h 109775"/>
                <a:gd name="connsiteX110" fmla="*/ 25117 w 181336"/>
                <a:gd name="connsiteY110" fmla="*/ 93126 h 109775"/>
                <a:gd name="connsiteX111" fmla="*/ 22641 w 181336"/>
                <a:gd name="connsiteY111" fmla="*/ 90573 h 109775"/>
                <a:gd name="connsiteX112" fmla="*/ 20812 w 181336"/>
                <a:gd name="connsiteY112" fmla="*/ 87268 h 109775"/>
                <a:gd name="connsiteX113" fmla="*/ 17516 w 181336"/>
                <a:gd name="connsiteY113" fmla="*/ 84287 h 109775"/>
                <a:gd name="connsiteX114" fmla="*/ 12754 w 181336"/>
                <a:gd name="connsiteY114" fmla="*/ 81639 h 109775"/>
                <a:gd name="connsiteX115" fmla="*/ 11316 w 181336"/>
                <a:gd name="connsiteY115" fmla="*/ 81058 h 109775"/>
                <a:gd name="connsiteX116" fmla="*/ 11030 w 181336"/>
                <a:gd name="connsiteY116" fmla="*/ 80201 h 109775"/>
                <a:gd name="connsiteX117" fmla="*/ 8706 w 181336"/>
                <a:gd name="connsiteY117" fmla="*/ 76905 h 109775"/>
                <a:gd name="connsiteX118" fmla="*/ 7705 w 181336"/>
                <a:gd name="connsiteY118" fmla="*/ 75686 h 109775"/>
                <a:gd name="connsiteX119" fmla="*/ 7801 w 181336"/>
                <a:gd name="connsiteY119" fmla="*/ 74048 h 109775"/>
                <a:gd name="connsiteX120" fmla="*/ 7334 w 181336"/>
                <a:gd name="connsiteY120" fmla="*/ 73114 h 109775"/>
                <a:gd name="connsiteX121" fmla="*/ 6486 w 181336"/>
                <a:gd name="connsiteY121" fmla="*/ 72466 h 109775"/>
                <a:gd name="connsiteX122" fmla="*/ 6029 w 181336"/>
                <a:gd name="connsiteY122" fmla="*/ 70095 h 109775"/>
                <a:gd name="connsiteX123" fmla="*/ 5762 w 181336"/>
                <a:gd name="connsiteY123" fmla="*/ 68323 h 109775"/>
                <a:gd name="connsiteX124" fmla="*/ 5096 w 181336"/>
                <a:gd name="connsiteY124" fmla="*/ 67180 h 109775"/>
                <a:gd name="connsiteX125" fmla="*/ 0 w 181336"/>
                <a:gd name="connsiteY125" fmla="*/ 66942 h 109775"/>
                <a:gd name="connsiteX126" fmla="*/ 4267 w 181336"/>
                <a:gd name="connsiteY126" fmla="*/ 62713 h 109775"/>
                <a:gd name="connsiteX127" fmla="*/ 6391 w 181336"/>
                <a:gd name="connsiteY127" fmla="*/ 61532 h 109775"/>
                <a:gd name="connsiteX128" fmla="*/ 8849 w 181336"/>
                <a:gd name="connsiteY128" fmla="*/ 61732 h 109775"/>
                <a:gd name="connsiteX129" fmla="*/ 9639 w 181336"/>
                <a:gd name="connsiteY129" fmla="*/ 61351 h 109775"/>
                <a:gd name="connsiteX130" fmla="*/ 9849 w 181336"/>
                <a:gd name="connsiteY130" fmla="*/ 60731 h 109775"/>
                <a:gd name="connsiteX131" fmla="*/ 10268 w 181336"/>
                <a:gd name="connsiteY131" fmla="*/ 59350 h 109775"/>
                <a:gd name="connsiteX132" fmla="*/ 10477 w 181336"/>
                <a:gd name="connsiteY132" fmla="*/ 58046 h 109775"/>
                <a:gd name="connsiteX133" fmla="*/ 10687 w 181336"/>
                <a:gd name="connsiteY133" fmla="*/ 56807 h 109775"/>
                <a:gd name="connsiteX134" fmla="*/ 10420 w 181336"/>
                <a:gd name="connsiteY134" fmla="*/ 56121 h 109775"/>
                <a:gd name="connsiteX135" fmla="*/ 9230 w 181336"/>
                <a:gd name="connsiteY135" fmla="*/ 55902 h 109775"/>
                <a:gd name="connsiteX136" fmla="*/ 8658 w 181336"/>
                <a:gd name="connsiteY136" fmla="*/ 52864 h 109775"/>
                <a:gd name="connsiteX137" fmla="*/ 9267 w 181336"/>
                <a:gd name="connsiteY137" fmla="*/ 51711 h 109775"/>
                <a:gd name="connsiteX138" fmla="*/ 9877 w 181336"/>
                <a:gd name="connsiteY138" fmla="*/ 50911 h 109775"/>
                <a:gd name="connsiteX139" fmla="*/ 9125 w 181336"/>
                <a:gd name="connsiteY139" fmla="*/ 47206 h 109775"/>
                <a:gd name="connsiteX140" fmla="*/ 9353 w 181336"/>
                <a:gd name="connsiteY140" fmla="*/ 45939 h 109775"/>
                <a:gd name="connsiteX141" fmla="*/ 11277 w 181336"/>
                <a:gd name="connsiteY141" fmla="*/ 45739 h 109775"/>
                <a:gd name="connsiteX142" fmla="*/ 12868 w 181336"/>
                <a:gd name="connsiteY142" fmla="*/ 44949 h 109775"/>
                <a:gd name="connsiteX143" fmla="*/ 14173 w 181336"/>
                <a:gd name="connsiteY143" fmla="*/ 44053 h 109775"/>
                <a:gd name="connsiteX144" fmla="*/ 14535 w 181336"/>
                <a:gd name="connsiteY144" fmla="*/ 42901 h 109775"/>
                <a:gd name="connsiteX145" fmla="*/ 15602 w 181336"/>
                <a:gd name="connsiteY145" fmla="*/ 40557 h 109775"/>
                <a:gd name="connsiteX146" fmla="*/ 14621 w 181336"/>
                <a:gd name="connsiteY146" fmla="*/ 37681 h 109775"/>
                <a:gd name="connsiteX147" fmla="*/ 9067 w 181336"/>
                <a:gd name="connsiteY147" fmla="*/ 35805 h 109775"/>
                <a:gd name="connsiteX148" fmla="*/ 8782 w 181336"/>
                <a:gd name="connsiteY148" fmla="*/ 35090 h 109775"/>
                <a:gd name="connsiteX149" fmla="*/ 10068 w 181336"/>
                <a:gd name="connsiteY149" fmla="*/ 34271 h 109775"/>
                <a:gd name="connsiteX150" fmla="*/ 11449 w 181336"/>
                <a:gd name="connsiteY150" fmla="*/ 33109 h 109775"/>
                <a:gd name="connsiteX151" fmla="*/ 12249 w 181336"/>
                <a:gd name="connsiteY151" fmla="*/ 32195 h 109775"/>
                <a:gd name="connsiteX152" fmla="*/ 13316 w 181336"/>
                <a:gd name="connsiteY152" fmla="*/ 32071 h 109775"/>
                <a:gd name="connsiteX153" fmla="*/ 14821 w 181336"/>
                <a:gd name="connsiteY153" fmla="*/ 32538 h 109775"/>
                <a:gd name="connsiteX154" fmla="*/ 17507 w 181336"/>
                <a:gd name="connsiteY154" fmla="*/ 34623 h 109775"/>
                <a:gd name="connsiteX155" fmla="*/ 18526 w 181336"/>
                <a:gd name="connsiteY155" fmla="*/ 34928 h 109775"/>
                <a:gd name="connsiteX156" fmla="*/ 19517 w 181336"/>
                <a:gd name="connsiteY156" fmla="*/ 34319 h 109775"/>
                <a:gd name="connsiteX157" fmla="*/ 20574 w 181336"/>
                <a:gd name="connsiteY157" fmla="*/ 34185 h 109775"/>
                <a:gd name="connsiteX158" fmla="*/ 23536 w 181336"/>
                <a:gd name="connsiteY158" fmla="*/ 34262 h 109775"/>
                <a:gd name="connsiteX159" fmla="*/ 26032 w 181336"/>
                <a:gd name="connsiteY159" fmla="*/ 33776 h 109775"/>
                <a:gd name="connsiteX160" fmla="*/ 25470 w 181336"/>
                <a:gd name="connsiteY160" fmla="*/ 31557 h 109775"/>
                <a:gd name="connsiteX161" fmla="*/ 25479 w 181336"/>
                <a:gd name="connsiteY161" fmla="*/ 29937 h 109775"/>
                <a:gd name="connsiteX162" fmla="*/ 25051 w 181336"/>
                <a:gd name="connsiteY162" fmla="*/ 28642 h 109775"/>
                <a:gd name="connsiteX163" fmla="*/ 25317 w 181336"/>
                <a:gd name="connsiteY163" fmla="*/ 27222 h 109775"/>
                <a:gd name="connsiteX164" fmla="*/ 26327 w 181336"/>
                <a:gd name="connsiteY164" fmla="*/ 26108 h 109775"/>
                <a:gd name="connsiteX165" fmla="*/ 26632 w 181336"/>
                <a:gd name="connsiteY165" fmla="*/ 23613 h 109775"/>
                <a:gd name="connsiteX166" fmla="*/ 28184 w 181336"/>
                <a:gd name="connsiteY166" fmla="*/ 21927 h 109775"/>
                <a:gd name="connsiteX167" fmla="*/ 28918 w 181336"/>
                <a:gd name="connsiteY167" fmla="*/ 21679 h 109775"/>
                <a:gd name="connsiteX168" fmla="*/ 31661 w 181336"/>
                <a:gd name="connsiteY168" fmla="*/ 21993 h 109775"/>
                <a:gd name="connsiteX169" fmla="*/ 32308 w 181336"/>
                <a:gd name="connsiteY169" fmla="*/ 22431 h 109775"/>
                <a:gd name="connsiteX170" fmla="*/ 32728 w 181336"/>
                <a:gd name="connsiteY170" fmla="*/ 22527 h 109775"/>
                <a:gd name="connsiteX171" fmla="*/ 37099 w 181336"/>
                <a:gd name="connsiteY171" fmla="*/ 26632 h 109775"/>
                <a:gd name="connsiteX172" fmla="*/ 41234 w 181336"/>
                <a:gd name="connsiteY172" fmla="*/ 29718 h 109775"/>
                <a:gd name="connsiteX173" fmla="*/ 44615 w 181336"/>
                <a:gd name="connsiteY173" fmla="*/ 31299 h 109775"/>
                <a:gd name="connsiteX174" fmla="*/ 49587 w 181336"/>
                <a:gd name="connsiteY174" fmla="*/ 31423 h 109775"/>
                <a:gd name="connsiteX175" fmla="*/ 54873 w 181336"/>
                <a:gd name="connsiteY175" fmla="*/ 31566 h 109775"/>
                <a:gd name="connsiteX176" fmla="*/ 63712 w 181336"/>
                <a:gd name="connsiteY176" fmla="*/ 31023 h 109775"/>
                <a:gd name="connsiteX177" fmla="*/ 70342 w 181336"/>
                <a:gd name="connsiteY177" fmla="*/ 30623 h 109775"/>
                <a:gd name="connsiteX178" fmla="*/ 70780 w 181336"/>
                <a:gd name="connsiteY178" fmla="*/ 29851 h 109775"/>
                <a:gd name="connsiteX179" fmla="*/ 71781 w 181336"/>
                <a:gd name="connsiteY179" fmla="*/ 28013 h 109775"/>
                <a:gd name="connsiteX180" fmla="*/ 70980 w 181336"/>
                <a:gd name="connsiteY180" fmla="*/ 26432 h 109775"/>
                <a:gd name="connsiteX181" fmla="*/ 71028 w 181336"/>
                <a:gd name="connsiteY181" fmla="*/ 24575 h 109775"/>
                <a:gd name="connsiteX182" fmla="*/ 72142 w 181336"/>
                <a:gd name="connsiteY182" fmla="*/ 22155 h 109775"/>
                <a:gd name="connsiteX183" fmla="*/ 75419 w 181336"/>
                <a:gd name="connsiteY183" fmla="*/ 20136 h 109775"/>
                <a:gd name="connsiteX184" fmla="*/ 84801 w 181336"/>
                <a:gd name="connsiteY184" fmla="*/ 19250 h 109775"/>
                <a:gd name="connsiteX185" fmla="*/ 90192 w 181336"/>
                <a:gd name="connsiteY185" fmla="*/ 17745 h 109775"/>
                <a:gd name="connsiteX186" fmla="*/ 91011 w 181336"/>
                <a:gd name="connsiteY186" fmla="*/ 15697 h 109775"/>
                <a:gd name="connsiteX187" fmla="*/ 92793 w 181336"/>
                <a:gd name="connsiteY187" fmla="*/ 13668 h 109775"/>
                <a:gd name="connsiteX188" fmla="*/ 94431 w 181336"/>
                <a:gd name="connsiteY188" fmla="*/ 13259 h 109775"/>
                <a:gd name="connsiteX189" fmla="*/ 96669 w 181336"/>
                <a:gd name="connsiteY189" fmla="*/ 14192 h 109775"/>
                <a:gd name="connsiteX190" fmla="*/ 99365 w 181336"/>
                <a:gd name="connsiteY190" fmla="*/ 15973 h 109775"/>
                <a:gd name="connsiteX191" fmla="*/ 101736 w 181336"/>
                <a:gd name="connsiteY191" fmla="*/ 16926 h 109775"/>
                <a:gd name="connsiteX192" fmla="*/ 103118 w 181336"/>
                <a:gd name="connsiteY192" fmla="*/ 16316 h 109775"/>
                <a:gd name="connsiteX193" fmla="*/ 107880 w 181336"/>
                <a:gd name="connsiteY193" fmla="*/ 13306 h 109775"/>
                <a:gd name="connsiteX194" fmla="*/ 113366 w 181336"/>
                <a:gd name="connsiteY194" fmla="*/ 10354 h 109775"/>
                <a:gd name="connsiteX195" fmla="*/ 117138 w 181336"/>
                <a:gd name="connsiteY195" fmla="*/ 2353 h 109775"/>
                <a:gd name="connsiteX196" fmla="*/ 117548 w 181336"/>
                <a:gd name="connsiteY196" fmla="*/ 1067 h 109775"/>
                <a:gd name="connsiteX197" fmla="*/ 121634 w 181336"/>
                <a:gd name="connsiteY197" fmla="*/ 153 h 109775"/>
                <a:gd name="connsiteX198" fmla="*/ 127606 w 181336"/>
                <a:gd name="connsiteY198" fmla="*/ 315 h 109775"/>
                <a:gd name="connsiteX199" fmla="*/ 130673 w 181336"/>
                <a:gd name="connsiteY199" fmla="*/ 1362 h 109775"/>
                <a:gd name="connsiteX200" fmla="*/ 132979 w 181336"/>
                <a:gd name="connsiteY200" fmla="*/ 1915 h 109775"/>
                <a:gd name="connsiteX201" fmla="*/ 136427 w 181336"/>
                <a:gd name="connsiteY201" fmla="*/ 1724 h 109775"/>
                <a:gd name="connsiteX202" fmla="*/ 141398 w 181336"/>
                <a:gd name="connsiteY202" fmla="*/ 0 h 109775"/>
                <a:gd name="connsiteX203" fmla="*/ 143237 w 181336"/>
                <a:gd name="connsiteY203" fmla="*/ 48 h 109775"/>
                <a:gd name="connsiteX204" fmla="*/ 144666 w 181336"/>
                <a:gd name="connsiteY204" fmla="*/ 1267 h 109775"/>
                <a:gd name="connsiteX205" fmla="*/ 146228 w 181336"/>
                <a:gd name="connsiteY205" fmla="*/ 2324 h 109775"/>
                <a:gd name="connsiteX206" fmla="*/ 147285 w 181336"/>
                <a:gd name="connsiteY206" fmla="*/ 3610 h 109775"/>
                <a:gd name="connsiteX207" fmla="*/ 148085 w 181336"/>
                <a:gd name="connsiteY207" fmla="*/ 5429 h 109775"/>
                <a:gd name="connsiteX208" fmla="*/ 148514 w 181336"/>
                <a:gd name="connsiteY208" fmla="*/ 6106 h 109775"/>
                <a:gd name="connsiteX209" fmla="*/ 149209 w 181336"/>
                <a:gd name="connsiteY209" fmla="*/ 7039 h 109775"/>
                <a:gd name="connsiteX210" fmla="*/ 150466 w 181336"/>
                <a:gd name="connsiteY210" fmla="*/ 8315 h 109775"/>
                <a:gd name="connsiteX211" fmla="*/ 151676 w 181336"/>
                <a:gd name="connsiteY211" fmla="*/ 8649 h 109775"/>
                <a:gd name="connsiteX212" fmla="*/ 160887 w 181336"/>
                <a:gd name="connsiteY212" fmla="*/ 6430 h 10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</a:cxnLst>
              <a:rect l="l" t="t" r="r" b="b"/>
              <a:pathLst>
                <a:path w="181336" h="109775">
                  <a:moveTo>
                    <a:pt x="161439" y="5953"/>
                  </a:moveTo>
                  <a:lnTo>
                    <a:pt x="163982" y="5629"/>
                  </a:lnTo>
                  <a:lnTo>
                    <a:pt x="164087" y="5677"/>
                  </a:lnTo>
                  <a:lnTo>
                    <a:pt x="164687" y="5867"/>
                  </a:lnTo>
                  <a:lnTo>
                    <a:pt x="165116" y="7734"/>
                  </a:lnTo>
                  <a:lnTo>
                    <a:pt x="165182" y="7858"/>
                  </a:lnTo>
                  <a:lnTo>
                    <a:pt x="165802" y="9087"/>
                  </a:lnTo>
                  <a:lnTo>
                    <a:pt x="166373" y="10716"/>
                  </a:lnTo>
                  <a:lnTo>
                    <a:pt x="167268" y="11944"/>
                  </a:lnTo>
                  <a:lnTo>
                    <a:pt x="169240" y="12449"/>
                  </a:lnTo>
                  <a:lnTo>
                    <a:pt x="171812" y="13964"/>
                  </a:lnTo>
                  <a:lnTo>
                    <a:pt x="173479" y="16821"/>
                  </a:lnTo>
                  <a:lnTo>
                    <a:pt x="175984" y="18002"/>
                  </a:lnTo>
                  <a:lnTo>
                    <a:pt x="176165" y="18031"/>
                  </a:lnTo>
                  <a:lnTo>
                    <a:pt x="176660" y="17897"/>
                  </a:lnTo>
                  <a:lnTo>
                    <a:pt x="178470" y="17793"/>
                  </a:lnTo>
                  <a:lnTo>
                    <a:pt x="178822" y="18364"/>
                  </a:lnTo>
                  <a:lnTo>
                    <a:pt x="180261" y="19764"/>
                  </a:lnTo>
                  <a:lnTo>
                    <a:pt x="180823" y="20984"/>
                  </a:lnTo>
                  <a:lnTo>
                    <a:pt x="180537" y="22279"/>
                  </a:lnTo>
                  <a:lnTo>
                    <a:pt x="180794" y="23746"/>
                  </a:lnTo>
                  <a:lnTo>
                    <a:pt x="181337" y="24260"/>
                  </a:lnTo>
                  <a:lnTo>
                    <a:pt x="180680" y="25241"/>
                  </a:lnTo>
                  <a:lnTo>
                    <a:pt x="176003" y="30156"/>
                  </a:lnTo>
                  <a:lnTo>
                    <a:pt x="174164" y="31452"/>
                  </a:lnTo>
                  <a:lnTo>
                    <a:pt x="172955" y="31718"/>
                  </a:lnTo>
                  <a:lnTo>
                    <a:pt x="171040" y="31204"/>
                  </a:lnTo>
                  <a:lnTo>
                    <a:pt x="169069" y="31595"/>
                  </a:lnTo>
                  <a:lnTo>
                    <a:pt x="167307" y="32642"/>
                  </a:lnTo>
                  <a:lnTo>
                    <a:pt x="165678" y="32976"/>
                  </a:lnTo>
                  <a:lnTo>
                    <a:pt x="164449" y="34223"/>
                  </a:lnTo>
                  <a:lnTo>
                    <a:pt x="162858" y="36890"/>
                  </a:lnTo>
                  <a:lnTo>
                    <a:pt x="160896" y="39138"/>
                  </a:lnTo>
                  <a:lnTo>
                    <a:pt x="158925" y="40539"/>
                  </a:lnTo>
                  <a:lnTo>
                    <a:pt x="157896" y="41786"/>
                  </a:lnTo>
                  <a:lnTo>
                    <a:pt x="157782" y="46092"/>
                  </a:lnTo>
                  <a:lnTo>
                    <a:pt x="156686" y="47330"/>
                  </a:lnTo>
                  <a:lnTo>
                    <a:pt x="155219" y="48578"/>
                  </a:lnTo>
                  <a:lnTo>
                    <a:pt x="154410" y="49673"/>
                  </a:lnTo>
                  <a:lnTo>
                    <a:pt x="152172" y="56207"/>
                  </a:lnTo>
                  <a:lnTo>
                    <a:pt x="150476" y="58293"/>
                  </a:lnTo>
                  <a:lnTo>
                    <a:pt x="148857" y="59893"/>
                  </a:lnTo>
                  <a:lnTo>
                    <a:pt x="148590" y="61351"/>
                  </a:lnTo>
                  <a:lnTo>
                    <a:pt x="148618" y="63027"/>
                  </a:lnTo>
                  <a:lnTo>
                    <a:pt x="146790" y="66361"/>
                  </a:lnTo>
                  <a:lnTo>
                    <a:pt x="144389" y="69809"/>
                  </a:lnTo>
                  <a:lnTo>
                    <a:pt x="143932" y="71228"/>
                  </a:lnTo>
                  <a:lnTo>
                    <a:pt x="144466" y="73133"/>
                  </a:lnTo>
                  <a:lnTo>
                    <a:pt x="142161" y="75324"/>
                  </a:lnTo>
                  <a:lnTo>
                    <a:pt x="140837" y="76381"/>
                  </a:lnTo>
                  <a:lnTo>
                    <a:pt x="139732" y="76876"/>
                  </a:lnTo>
                  <a:lnTo>
                    <a:pt x="139046" y="78248"/>
                  </a:lnTo>
                  <a:lnTo>
                    <a:pt x="137922" y="81591"/>
                  </a:lnTo>
                  <a:lnTo>
                    <a:pt x="138217" y="83077"/>
                  </a:lnTo>
                  <a:lnTo>
                    <a:pt x="138246" y="84449"/>
                  </a:lnTo>
                  <a:lnTo>
                    <a:pt x="136303" y="85249"/>
                  </a:lnTo>
                  <a:lnTo>
                    <a:pt x="135731" y="86754"/>
                  </a:lnTo>
                  <a:lnTo>
                    <a:pt x="135236" y="88621"/>
                  </a:lnTo>
                  <a:lnTo>
                    <a:pt x="134426" y="89459"/>
                  </a:lnTo>
                  <a:lnTo>
                    <a:pt x="132245" y="91012"/>
                  </a:lnTo>
                  <a:lnTo>
                    <a:pt x="126816" y="90335"/>
                  </a:lnTo>
                  <a:lnTo>
                    <a:pt x="124768" y="90859"/>
                  </a:lnTo>
                  <a:lnTo>
                    <a:pt x="124158" y="91964"/>
                  </a:lnTo>
                  <a:lnTo>
                    <a:pt x="124034" y="92850"/>
                  </a:lnTo>
                  <a:lnTo>
                    <a:pt x="123349" y="93688"/>
                  </a:lnTo>
                  <a:lnTo>
                    <a:pt x="122120" y="94726"/>
                  </a:lnTo>
                  <a:lnTo>
                    <a:pt x="120853" y="95193"/>
                  </a:lnTo>
                  <a:lnTo>
                    <a:pt x="118024" y="93907"/>
                  </a:lnTo>
                  <a:lnTo>
                    <a:pt x="111957" y="95222"/>
                  </a:lnTo>
                  <a:lnTo>
                    <a:pt x="110909" y="96155"/>
                  </a:lnTo>
                  <a:lnTo>
                    <a:pt x="110061" y="95479"/>
                  </a:lnTo>
                  <a:lnTo>
                    <a:pt x="108756" y="94879"/>
                  </a:lnTo>
                  <a:lnTo>
                    <a:pt x="102689" y="94117"/>
                  </a:lnTo>
                  <a:lnTo>
                    <a:pt x="100289" y="94717"/>
                  </a:lnTo>
                  <a:lnTo>
                    <a:pt x="97079" y="94488"/>
                  </a:lnTo>
                  <a:lnTo>
                    <a:pt x="94116" y="93821"/>
                  </a:lnTo>
                  <a:lnTo>
                    <a:pt x="91897" y="94364"/>
                  </a:lnTo>
                  <a:lnTo>
                    <a:pt x="89945" y="96974"/>
                  </a:lnTo>
                  <a:lnTo>
                    <a:pt x="88973" y="97850"/>
                  </a:lnTo>
                  <a:lnTo>
                    <a:pt x="88211" y="98412"/>
                  </a:lnTo>
                  <a:lnTo>
                    <a:pt x="86544" y="99231"/>
                  </a:lnTo>
                  <a:lnTo>
                    <a:pt x="85144" y="100212"/>
                  </a:lnTo>
                  <a:lnTo>
                    <a:pt x="83286" y="100917"/>
                  </a:lnTo>
                  <a:lnTo>
                    <a:pt x="81619" y="100822"/>
                  </a:lnTo>
                  <a:lnTo>
                    <a:pt x="80048" y="99698"/>
                  </a:lnTo>
                  <a:lnTo>
                    <a:pt x="79486" y="99956"/>
                  </a:lnTo>
                  <a:lnTo>
                    <a:pt x="78991" y="100994"/>
                  </a:lnTo>
                  <a:lnTo>
                    <a:pt x="78134" y="101870"/>
                  </a:lnTo>
                  <a:lnTo>
                    <a:pt x="75781" y="102956"/>
                  </a:lnTo>
                  <a:lnTo>
                    <a:pt x="75181" y="102937"/>
                  </a:lnTo>
                  <a:lnTo>
                    <a:pt x="75047" y="102937"/>
                  </a:lnTo>
                  <a:lnTo>
                    <a:pt x="73247" y="103737"/>
                  </a:lnTo>
                  <a:lnTo>
                    <a:pt x="70275" y="104185"/>
                  </a:lnTo>
                  <a:lnTo>
                    <a:pt x="68780" y="103870"/>
                  </a:lnTo>
                  <a:lnTo>
                    <a:pt x="66075" y="107471"/>
                  </a:lnTo>
                  <a:lnTo>
                    <a:pt x="65246" y="108128"/>
                  </a:lnTo>
                  <a:lnTo>
                    <a:pt x="62665" y="109223"/>
                  </a:lnTo>
                  <a:lnTo>
                    <a:pt x="60560" y="109776"/>
                  </a:lnTo>
                  <a:lnTo>
                    <a:pt x="58750" y="109338"/>
                  </a:lnTo>
                  <a:lnTo>
                    <a:pt x="58035" y="109299"/>
                  </a:lnTo>
                  <a:lnTo>
                    <a:pt x="50016" y="109119"/>
                  </a:lnTo>
                  <a:lnTo>
                    <a:pt x="45825" y="108347"/>
                  </a:lnTo>
                  <a:lnTo>
                    <a:pt x="43139" y="106937"/>
                  </a:lnTo>
                  <a:lnTo>
                    <a:pt x="41348" y="105366"/>
                  </a:lnTo>
                  <a:lnTo>
                    <a:pt x="40471" y="103622"/>
                  </a:lnTo>
                  <a:lnTo>
                    <a:pt x="38395" y="102575"/>
                  </a:lnTo>
                  <a:lnTo>
                    <a:pt x="35109" y="102203"/>
                  </a:lnTo>
                  <a:lnTo>
                    <a:pt x="32556" y="100470"/>
                  </a:lnTo>
                  <a:lnTo>
                    <a:pt x="30718" y="97384"/>
                  </a:lnTo>
                  <a:lnTo>
                    <a:pt x="28251" y="94936"/>
                  </a:lnTo>
                  <a:lnTo>
                    <a:pt x="25117" y="93126"/>
                  </a:lnTo>
                  <a:lnTo>
                    <a:pt x="22641" y="90573"/>
                  </a:lnTo>
                  <a:lnTo>
                    <a:pt x="20812" y="87268"/>
                  </a:lnTo>
                  <a:lnTo>
                    <a:pt x="17516" y="84287"/>
                  </a:lnTo>
                  <a:lnTo>
                    <a:pt x="12754" y="81639"/>
                  </a:lnTo>
                  <a:lnTo>
                    <a:pt x="11316" y="81058"/>
                  </a:lnTo>
                  <a:lnTo>
                    <a:pt x="11030" y="80201"/>
                  </a:lnTo>
                  <a:lnTo>
                    <a:pt x="8706" y="76905"/>
                  </a:lnTo>
                  <a:lnTo>
                    <a:pt x="7705" y="75686"/>
                  </a:lnTo>
                  <a:lnTo>
                    <a:pt x="7801" y="74048"/>
                  </a:lnTo>
                  <a:lnTo>
                    <a:pt x="7334" y="73114"/>
                  </a:lnTo>
                  <a:lnTo>
                    <a:pt x="6486" y="72466"/>
                  </a:lnTo>
                  <a:lnTo>
                    <a:pt x="6029" y="70095"/>
                  </a:lnTo>
                  <a:lnTo>
                    <a:pt x="5762" y="68323"/>
                  </a:lnTo>
                  <a:lnTo>
                    <a:pt x="5096" y="67180"/>
                  </a:lnTo>
                  <a:lnTo>
                    <a:pt x="0" y="66942"/>
                  </a:lnTo>
                  <a:lnTo>
                    <a:pt x="4267" y="62713"/>
                  </a:lnTo>
                  <a:lnTo>
                    <a:pt x="6391" y="61532"/>
                  </a:lnTo>
                  <a:lnTo>
                    <a:pt x="8849" y="61732"/>
                  </a:lnTo>
                  <a:lnTo>
                    <a:pt x="9639" y="61351"/>
                  </a:lnTo>
                  <a:lnTo>
                    <a:pt x="9849" y="60731"/>
                  </a:lnTo>
                  <a:lnTo>
                    <a:pt x="10268" y="59350"/>
                  </a:lnTo>
                  <a:lnTo>
                    <a:pt x="10477" y="58046"/>
                  </a:lnTo>
                  <a:lnTo>
                    <a:pt x="10687" y="56807"/>
                  </a:lnTo>
                  <a:lnTo>
                    <a:pt x="10420" y="56121"/>
                  </a:lnTo>
                  <a:lnTo>
                    <a:pt x="9230" y="55902"/>
                  </a:lnTo>
                  <a:lnTo>
                    <a:pt x="8658" y="52864"/>
                  </a:lnTo>
                  <a:lnTo>
                    <a:pt x="9267" y="51711"/>
                  </a:lnTo>
                  <a:lnTo>
                    <a:pt x="9877" y="50911"/>
                  </a:lnTo>
                  <a:lnTo>
                    <a:pt x="9125" y="47206"/>
                  </a:lnTo>
                  <a:lnTo>
                    <a:pt x="9353" y="45939"/>
                  </a:lnTo>
                  <a:lnTo>
                    <a:pt x="11277" y="45739"/>
                  </a:lnTo>
                  <a:lnTo>
                    <a:pt x="12868" y="44949"/>
                  </a:lnTo>
                  <a:lnTo>
                    <a:pt x="14173" y="44053"/>
                  </a:lnTo>
                  <a:lnTo>
                    <a:pt x="14535" y="42901"/>
                  </a:lnTo>
                  <a:lnTo>
                    <a:pt x="15602" y="40557"/>
                  </a:lnTo>
                  <a:lnTo>
                    <a:pt x="14621" y="37681"/>
                  </a:lnTo>
                  <a:lnTo>
                    <a:pt x="9067" y="35805"/>
                  </a:lnTo>
                  <a:lnTo>
                    <a:pt x="8782" y="35090"/>
                  </a:lnTo>
                  <a:lnTo>
                    <a:pt x="10068" y="34271"/>
                  </a:lnTo>
                  <a:lnTo>
                    <a:pt x="11449" y="33109"/>
                  </a:lnTo>
                  <a:lnTo>
                    <a:pt x="12249" y="32195"/>
                  </a:lnTo>
                  <a:lnTo>
                    <a:pt x="13316" y="32071"/>
                  </a:lnTo>
                  <a:lnTo>
                    <a:pt x="14821" y="32538"/>
                  </a:lnTo>
                  <a:lnTo>
                    <a:pt x="17507" y="34623"/>
                  </a:lnTo>
                  <a:lnTo>
                    <a:pt x="18526" y="34928"/>
                  </a:lnTo>
                  <a:lnTo>
                    <a:pt x="19517" y="34319"/>
                  </a:lnTo>
                  <a:lnTo>
                    <a:pt x="20574" y="34185"/>
                  </a:lnTo>
                  <a:lnTo>
                    <a:pt x="23536" y="34262"/>
                  </a:lnTo>
                  <a:lnTo>
                    <a:pt x="26032" y="33776"/>
                  </a:lnTo>
                  <a:lnTo>
                    <a:pt x="25470" y="31557"/>
                  </a:lnTo>
                  <a:lnTo>
                    <a:pt x="25479" y="29937"/>
                  </a:lnTo>
                  <a:lnTo>
                    <a:pt x="25051" y="28642"/>
                  </a:lnTo>
                  <a:lnTo>
                    <a:pt x="25317" y="27222"/>
                  </a:lnTo>
                  <a:lnTo>
                    <a:pt x="26327" y="26108"/>
                  </a:lnTo>
                  <a:lnTo>
                    <a:pt x="26632" y="23613"/>
                  </a:lnTo>
                  <a:lnTo>
                    <a:pt x="28184" y="21927"/>
                  </a:lnTo>
                  <a:lnTo>
                    <a:pt x="28918" y="21679"/>
                  </a:lnTo>
                  <a:lnTo>
                    <a:pt x="31661" y="21993"/>
                  </a:lnTo>
                  <a:lnTo>
                    <a:pt x="32308" y="22431"/>
                  </a:lnTo>
                  <a:lnTo>
                    <a:pt x="32728" y="22527"/>
                  </a:lnTo>
                  <a:lnTo>
                    <a:pt x="37099" y="26632"/>
                  </a:lnTo>
                  <a:lnTo>
                    <a:pt x="41234" y="29718"/>
                  </a:lnTo>
                  <a:lnTo>
                    <a:pt x="44615" y="31299"/>
                  </a:lnTo>
                  <a:lnTo>
                    <a:pt x="49587" y="31423"/>
                  </a:lnTo>
                  <a:lnTo>
                    <a:pt x="54873" y="31566"/>
                  </a:lnTo>
                  <a:lnTo>
                    <a:pt x="63712" y="31023"/>
                  </a:lnTo>
                  <a:lnTo>
                    <a:pt x="70342" y="30623"/>
                  </a:lnTo>
                  <a:lnTo>
                    <a:pt x="70780" y="29851"/>
                  </a:lnTo>
                  <a:lnTo>
                    <a:pt x="71781" y="28013"/>
                  </a:lnTo>
                  <a:lnTo>
                    <a:pt x="70980" y="26432"/>
                  </a:lnTo>
                  <a:lnTo>
                    <a:pt x="71028" y="24575"/>
                  </a:lnTo>
                  <a:lnTo>
                    <a:pt x="72142" y="22155"/>
                  </a:lnTo>
                  <a:lnTo>
                    <a:pt x="75419" y="20136"/>
                  </a:lnTo>
                  <a:lnTo>
                    <a:pt x="84801" y="19250"/>
                  </a:lnTo>
                  <a:lnTo>
                    <a:pt x="90192" y="17745"/>
                  </a:lnTo>
                  <a:lnTo>
                    <a:pt x="91011" y="15697"/>
                  </a:lnTo>
                  <a:lnTo>
                    <a:pt x="92793" y="13668"/>
                  </a:lnTo>
                  <a:lnTo>
                    <a:pt x="94431" y="13259"/>
                  </a:lnTo>
                  <a:lnTo>
                    <a:pt x="96669" y="14192"/>
                  </a:lnTo>
                  <a:lnTo>
                    <a:pt x="99365" y="15973"/>
                  </a:lnTo>
                  <a:lnTo>
                    <a:pt x="101736" y="16926"/>
                  </a:lnTo>
                  <a:lnTo>
                    <a:pt x="103118" y="16316"/>
                  </a:lnTo>
                  <a:lnTo>
                    <a:pt x="107880" y="13306"/>
                  </a:lnTo>
                  <a:lnTo>
                    <a:pt x="113366" y="10354"/>
                  </a:lnTo>
                  <a:lnTo>
                    <a:pt x="117138" y="2353"/>
                  </a:lnTo>
                  <a:lnTo>
                    <a:pt x="117548" y="1067"/>
                  </a:lnTo>
                  <a:lnTo>
                    <a:pt x="121634" y="153"/>
                  </a:lnTo>
                  <a:lnTo>
                    <a:pt x="127606" y="315"/>
                  </a:lnTo>
                  <a:lnTo>
                    <a:pt x="130673" y="1362"/>
                  </a:lnTo>
                  <a:lnTo>
                    <a:pt x="132979" y="1915"/>
                  </a:lnTo>
                  <a:lnTo>
                    <a:pt x="136427" y="1724"/>
                  </a:lnTo>
                  <a:lnTo>
                    <a:pt x="141398" y="0"/>
                  </a:lnTo>
                  <a:lnTo>
                    <a:pt x="143237" y="48"/>
                  </a:lnTo>
                  <a:lnTo>
                    <a:pt x="144666" y="1267"/>
                  </a:lnTo>
                  <a:lnTo>
                    <a:pt x="146228" y="2324"/>
                  </a:lnTo>
                  <a:lnTo>
                    <a:pt x="147285" y="3610"/>
                  </a:lnTo>
                  <a:lnTo>
                    <a:pt x="148085" y="5429"/>
                  </a:lnTo>
                  <a:lnTo>
                    <a:pt x="148514" y="6106"/>
                  </a:lnTo>
                  <a:lnTo>
                    <a:pt x="149209" y="7039"/>
                  </a:lnTo>
                  <a:lnTo>
                    <a:pt x="150466" y="8315"/>
                  </a:lnTo>
                  <a:lnTo>
                    <a:pt x="151676" y="8649"/>
                  </a:lnTo>
                  <a:lnTo>
                    <a:pt x="160887" y="6430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1" name="Forme libre : forme 27">
              <a:extLst>
                <a:ext uri="{FF2B5EF4-FFF2-40B4-BE49-F238E27FC236}">
                  <a16:creationId xmlns:a16="http://schemas.microsoft.com/office/drawing/2014/main" id="{F9B2165E-62B5-B16B-A723-8A1A383116A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024076" y="3345481"/>
              <a:ext cx="403838" cy="603762"/>
            </a:xfrm>
            <a:custGeom>
              <a:avLst/>
              <a:gdLst>
                <a:gd name="connsiteX0" fmla="*/ 84744 w 116614"/>
                <a:gd name="connsiteY0" fmla="*/ 12811 h 174345"/>
                <a:gd name="connsiteX1" fmla="*/ 80515 w 116614"/>
                <a:gd name="connsiteY1" fmla="*/ 15802 h 174345"/>
                <a:gd name="connsiteX2" fmla="*/ 79858 w 116614"/>
                <a:gd name="connsiteY2" fmla="*/ 16936 h 174345"/>
                <a:gd name="connsiteX3" fmla="*/ 78667 w 116614"/>
                <a:gd name="connsiteY3" fmla="*/ 21498 h 174345"/>
                <a:gd name="connsiteX4" fmla="*/ 78524 w 116614"/>
                <a:gd name="connsiteY4" fmla="*/ 22793 h 174345"/>
                <a:gd name="connsiteX5" fmla="*/ 77162 w 116614"/>
                <a:gd name="connsiteY5" fmla="*/ 25184 h 174345"/>
                <a:gd name="connsiteX6" fmla="*/ 75876 w 116614"/>
                <a:gd name="connsiteY6" fmla="*/ 27842 h 174345"/>
                <a:gd name="connsiteX7" fmla="*/ 74381 w 116614"/>
                <a:gd name="connsiteY7" fmla="*/ 28870 h 174345"/>
                <a:gd name="connsiteX8" fmla="*/ 72152 w 116614"/>
                <a:gd name="connsiteY8" fmla="*/ 29689 h 174345"/>
                <a:gd name="connsiteX9" fmla="*/ 70885 w 116614"/>
                <a:gd name="connsiteY9" fmla="*/ 30499 h 174345"/>
                <a:gd name="connsiteX10" fmla="*/ 69285 w 116614"/>
                <a:gd name="connsiteY10" fmla="*/ 30089 h 174345"/>
                <a:gd name="connsiteX11" fmla="*/ 67266 w 116614"/>
                <a:gd name="connsiteY11" fmla="*/ 30156 h 174345"/>
                <a:gd name="connsiteX12" fmla="*/ 66256 w 116614"/>
                <a:gd name="connsiteY12" fmla="*/ 31061 h 174345"/>
                <a:gd name="connsiteX13" fmla="*/ 66304 w 116614"/>
                <a:gd name="connsiteY13" fmla="*/ 31756 h 174345"/>
                <a:gd name="connsiteX14" fmla="*/ 66903 w 116614"/>
                <a:gd name="connsiteY14" fmla="*/ 32547 h 174345"/>
                <a:gd name="connsiteX15" fmla="*/ 68675 w 116614"/>
                <a:gd name="connsiteY15" fmla="*/ 33766 h 174345"/>
                <a:gd name="connsiteX16" fmla="*/ 70647 w 116614"/>
                <a:gd name="connsiteY16" fmla="*/ 34862 h 174345"/>
                <a:gd name="connsiteX17" fmla="*/ 70428 w 116614"/>
                <a:gd name="connsiteY17" fmla="*/ 35824 h 174345"/>
                <a:gd name="connsiteX18" fmla="*/ 69370 w 116614"/>
                <a:gd name="connsiteY18" fmla="*/ 36909 h 174345"/>
                <a:gd name="connsiteX19" fmla="*/ 62674 w 116614"/>
                <a:gd name="connsiteY19" fmla="*/ 39614 h 174345"/>
                <a:gd name="connsiteX20" fmla="*/ 60684 w 116614"/>
                <a:gd name="connsiteY20" fmla="*/ 41243 h 174345"/>
                <a:gd name="connsiteX21" fmla="*/ 59988 w 116614"/>
                <a:gd name="connsiteY21" fmla="*/ 42320 h 174345"/>
                <a:gd name="connsiteX22" fmla="*/ 60703 w 116614"/>
                <a:gd name="connsiteY22" fmla="*/ 44120 h 174345"/>
                <a:gd name="connsiteX23" fmla="*/ 66046 w 116614"/>
                <a:gd name="connsiteY23" fmla="*/ 49502 h 174345"/>
                <a:gd name="connsiteX24" fmla="*/ 66951 w 116614"/>
                <a:gd name="connsiteY24" fmla="*/ 50092 h 174345"/>
                <a:gd name="connsiteX25" fmla="*/ 67742 w 116614"/>
                <a:gd name="connsiteY25" fmla="*/ 53226 h 174345"/>
                <a:gd name="connsiteX26" fmla="*/ 72457 w 116614"/>
                <a:gd name="connsiteY26" fmla="*/ 54531 h 174345"/>
                <a:gd name="connsiteX27" fmla="*/ 74390 w 116614"/>
                <a:gd name="connsiteY27" fmla="*/ 56483 h 174345"/>
                <a:gd name="connsiteX28" fmla="*/ 76048 w 116614"/>
                <a:gd name="connsiteY28" fmla="*/ 56950 h 174345"/>
                <a:gd name="connsiteX29" fmla="*/ 79658 w 116614"/>
                <a:gd name="connsiteY29" fmla="*/ 56779 h 174345"/>
                <a:gd name="connsiteX30" fmla="*/ 81106 w 116614"/>
                <a:gd name="connsiteY30" fmla="*/ 57512 h 174345"/>
                <a:gd name="connsiteX31" fmla="*/ 81925 w 116614"/>
                <a:gd name="connsiteY31" fmla="*/ 56950 h 174345"/>
                <a:gd name="connsiteX32" fmla="*/ 82401 w 116614"/>
                <a:gd name="connsiteY32" fmla="*/ 55921 h 174345"/>
                <a:gd name="connsiteX33" fmla="*/ 85439 w 116614"/>
                <a:gd name="connsiteY33" fmla="*/ 53273 h 174345"/>
                <a:gd name="connsiteX34" fmla="*/ 86439 w 116614"/>
                <a:gd name="connsiteY34" fmla="*/ 52111 h 174345"/>
                <a:gd name="connsiteX35" fmla="*/ 85839 w 116614"/>
                <a:gd name="connsiteY35" fmla="*/ 50502 h 174345"/>
                <a:gd name="connsiteX36" fmla="*/ 85192 w 116614"/>
                <a:gd name="connsiteY36" fmla="*/ 49273 h 174345"/>
                <a:gd name="connsiteX37" fmla="*/ 87039 w 116614"/>
                <a:gd name="connsiteY37" fmla="*/ 46825 h 174345"/>
                <a:gd name="connsiteX38" fmla="*/ 89278 w 116614"/>
                <a:gd name="connsiteY38" fmla="*/ 44406 h 174345"/>
                <a:gd name="connsiteX39" fmla="*/ 90402 w 116614"/>
                <a:gd name="connsiteY39" fmla="*/ 44482 h 174345"/>
                <a:gd name="connsiteX40" fmla="*/ 92316 w 116614"/>
                <a:gd name="connsiteY40" fmla="*/ 45968 h 174345"/>
                <a:gd name="connsiteX41" fmla="*/ 93897 w 116614"/>
                <a:gd name="connsiteY41" fmla="*/ 48035 h 174345"/>
                <a:gd name="connsiteX42" fmla="*/ 94107 w 116614"/>
                <a:gd name="connsiteY42" fmla="*/ 49635 h 174345"/>
                <a:gd name="connsiteX43" fmla="*/ 94402 w 116614"/>
                <a:gd name="connsiteY43" fmla="*/ 50797 h 174345"/>
                <a:gd name="connsiteX44" fmla="*/ 95898 w 116614"/>
                <a:gd name="connsiteY44" fmla="*/ 53273 h 174345"/>
                <a:gd name="connsiteX45" fmla="*/ 96860 w 116614"/>
                <a:gd name="connsiteY45" fmla="*/ 54131 h 174345"/>
                <a:gd name="connsiteX46" fmla="*/ 99451 w 116614"/>
                <a:gd name="connsiteY46" fmla="*/ 54626 h 174345"/>
                <a:gd name="connsiteX47" fmla="*/ 100060 w 116614"/>
                <a:gd name="connsiteY47" fmla="*/ 55597 h 174345"/>
                <a:gd name="connsiteX48" fmla="*/ 99593 w 116614"/>
                <a:gd name="connsiteY48" fmla="*/ 59179 h 174345"/>
                <a:gd name="connsiteX49" fmla="*/ 99984 w 116614"/>
                <a:gd name="connsiteY49" fmla="*/ 60370 h 174345"/>
                <a:gd name="connsiteX50" fmla="*/ 102699 w 116614"/>
                <a:gd name="connsiteY50" fmla="*/ 60427 h 174345"/>
                <a:gd name="connsiteX51" fmla="*/ 105585 w 116614"/>
                <a:gd name="connsiteY51" fmla="*/ 60141 h 174345"/>
                <a:gd name="connsiteX52" fmla="*/ 106594 w 116614"/>
                <a:gd name="connsiteY52" fmla="*/ 60274 h 174345"/>
                <a:gd name="connsiteX53" fmla="*/ 107632 w 116614"/>
                <a:gd name="connsiteY53" fmla="*/ 59522 h 174345"/>
                <a:gd name="connsiteX54" fmla="*/ 109233 w 116614"/>
                <a:gd name="connsiteY54" fmla="*/ 58712 h 174345"/>
                <a:gd name="connsiteX55" fmla="*/ 111528 w 116614"/>
                <a:gd name="connsiteY55" fmla="*/ 58989 h 174345"/>
                <a:gd name="connsiteX56" fmla="*/ 112652 w 116614"/>
                <a:gd name="connsiteY56" fmla="*/ 60589 h 174345"/>
                <a:gd name="connsiteX57" fmla="*/ 113157 w 116614"/>
                <a:gd name="connsiteY57" fmla="*/ 62236 h 174345"/>
                <a:gd name="connsiteX58" fmla="*/ 111185 w 116614"/>
                <a:gd name="connsiteY58" fmla="*/ 62855 h 174345"/>
                <a:gd name="connsiteX59" fmla="*/ 109128 w 116614"/>
                <a:gd name="connsiteY59" fmla="*/ 62522 h 174345"/>
                <a:gd name="connsiteX60" fmla="*/ 108128 w 116614"/>
                <a:gd name="connsiteY60" fmla="*/ 63598 h 174345"/>
                <a:gd name="connsiteX61" fmla="*/ 108061 w 116614"/>
                <a:gd name="connsiteY61" fmla="*/ 65675 h 174345"/>
                <a:gd name="connsiteX62" fmla="*/ 108756 w 116614"/>
                <a:gd name="connsiteY62" fmla="*/ 68352 h 174345"/>
                <a:gd name="connsiteX63" fmla="*/ 110137 w 116614"/>
                <a:gd name="connsiteY63" fmla="*/ 70247 h 174345"/>
                <a:gd name="connsiteX64" fmla="*/ 111233 w 116614"/>
                <a:gd name="connsiteY64" fmla="*/ 74514 h 174345"/>
                <a:gd name="connsiteX65" fmla="*/ 112147 w 116614"/>
                <a:gd name="connsiteY65" fmla="*/ 79238 h 174345"/>
                <a:gd name="connsiteX66" fmla="*/ 113557 w 116614"/>
                <a:gd name="connsiteY66" fmla="*/ 82087 h 174345"/>
                <a:gd name="connsiteX67" fmla="*/ 113852 w 116614"/>
                <a:gd name="connsiteY67" fmla="*/ 85611 h 174345"/>
                <a:gd name="connsiteX68" fmla="*/ 113643 w 116614"/>
                <a:gd name="connsiteY68" fmla="*/ 87344 h 174345"/>
                <a:gd name="connsiteX69" fmla="*/ 113900 w 116614"/>
                <a:gd name="connsiteY69" fmla="*/ 90459 h 174345"/>
                <a:gd name="connsiteX70" fmla="*/ 113300 w 116614"/>
                <a:gd name="connsiteY70" fmla="*/ 91554 h 174345"/>
                <a:gd name="connsiteX71" fmla="*/ 113747 w 116614"/>
                <a:gd name="connsiteY71" fmla="*/ 94469 h 174345"/>
                <a:gd name="connsiteX72" fmla="*/ 115414 w 116614"/>
                <a:gd name="connsiteY72" fmla="*/ 100479 h 174345"/>
                <a:gd name="connsiteX73" fmla="*/ 116148 w 116614"/>
                <a:gd name="connsiteY73" fmla="*/ 103823 h 174345"/>
                <a:gd name="connsiteX74" fmla="*/ 116615 w 116614"/>
                <a:gd name="connsiteY74" fmla="*/ 111100 h 174345"/>
                <a:gd name="connsiteX75" fmla="*/ 115433 w 116614"/>
                <a:gd name="connsiteY75" fmla="*/ 113814 h 174345"/>
                <a:gd name="connsiteX76" fmla="*/ 113852 w 116614"/>
                <a:gd name="connsiteY76" fmla="*/ 116396 h 174345"/>
                <a:gd name="connsiteX77" fmla="*/ 112814 w 116614"/>
                <a:gd name="connsiteY77" fmla="*/ 119444 h 174345"/>
                <a:gd name="connsiteX78" fmla="*/ 112023 w 116614"/>
                <a:gd name="connsiteY78" fmla="*/ 122730 h 174345"/>
                <a:gd name="connsiteX79" fmla="*/ 111538 w 116614"/>
                <a:gd name="connsiteY79" fmla="*/ 128016 h 174345"/>
                <a:gd name="connsiteX80" fmla="*/ 108109 w 116614"/>
                <a:gd name="connsiteY80" fmla="*/ 134188 h 174345"/>
                <a:gd name="connsiteX81" fmla="*/ 106651 w 116614"/>
                <a:gd name="connsiteY81" fmla="*/ 135722 h 174345"/>
                <a:gd name="connsiteX82" fmla="*/ 104956 w 116614"/>
                <a:gd name="connsiteY82" fmla="*/ 136665 h 174345"/>
                <a:gd name="connsiteX83" fmla="*/ 108652 w 116614"/>
                <a:gd name="connsiteY83" fmla="*/ 140970 h 174345"/>
                <a:gd name="connsiteX84" fmla="*/ 105632 w 116614"/>
                <a:gd name="connsiteY84" fmla="*/ 142885 h 174345"/>
                <a:gd name="connsiteX85" fmla="*/ 102346 w 116614"/>
                <a:gd name="connsiteY85" fmla="*/ 143485 h 174345"/>
                <a:gd name="connsiteX86" fmla="*/ 98708 w 116614"/>
                <a:gd name="connsiteY86" fmla="*/ 142408 h 174345"/>
                <a:gd name="connsiteX87" fmla="*/ 96441 w 116614"/>
                <a:gd name="connsiteY87" fmla="*/ 142542 h 174345"/>
                <a:gd name="connsiteX88" fmla="*/ 94364 w 116614"/>
                <a:gd name="connsiteY88" fmla="*/ 143933 h 174345"/>
                <a:gd name="connsiteX89" fmla="*/ 93554 w 116614"/>
                <a:gd name="connsiteY89" fmla="*/ 144771 h 174345"/>
                <a:gd name="connsiteX90" fmla="*/ 92897 w 116614"/>
                <a:gd name="connsiteY90" fmla="*/ 144371 h 174345"/>
                <a:gd name="connsiteX91" fmla="*/ 91535 w 116614"/>
                <a:gd name="connsiteY91" fmla="*/ 140846 h 174345"/>
                <a:gd name="connsiteX92" fmla="*/ 90535 w 116614"/>
                <a:gd name="connsiteY92" fmla="*/ 144485 h 174345"/>
                <a:gd name="connsiteX93" fmla="*/ 88440 w 116614"/>
                <a:gd name="connsiteY93" fmla="*/ 145647 h 174345"/>
                <a:gd name="connsiteX94" fmla="*/ 84849 w 116614"/>
                <a:gd name="connsiteY94" fmla="*/ 145399 h 174345"/>
                <a:gd name="connsiteX95" fmla="*/ 78848 w 116614"/>
                <a:gd name="connsiteY95" fmla="*/ 146371 h 174345"/>
                <a:gd name="connsiteX96" fmla="*/ 76533 w 116614"/>
                <a:gd name="connsiteY96" fmla="*/ 147399 h 174345"/>
                <a:gd name="connsiteX97" fmla="*/ 75571 w 116614"/>
                <a:gd name="connsiteY97" fmla="*/ 149019 h 174345"/>
                <a:gd name="connsiteX98" fmla="*/ 74857 w 116614"/>
                <a:gd name="connsiteY98" fmla="*/ 150886 h 174345"/>
                <a:gd name="connsiteX99" fmla="*/ 73914 w 116614"/>
                <a:gd name="connsiteY99" fmla="*/ 151981 h 174345"/>
                <a:gd name="connsiteX100" fmla="*/ 72857 w 116614"/>
                <a:gd name="connsiteY100" fmla="*/ 152562 h 174345"/>
                <a:gd name="connsiteX101" fmla="*/ 68218 w 116614"/>
                <a:gd name="connsiteY101" fmla="*/ 153934 h 174345"/>
                <a:gd name="connsiteX102" fmla="*/ 67304 w 116614"/>
                <a:gd name="connsiteY102" fmla="*/ 154486 h 174345"/>
                <a:gd name="connsiteX103" fmla="*/ 65151 w 116614"/>
                <a:gd name="connsiteY103" fmla="*/ 157486 h 174345"/>
                <a:gd name="connsiteX104" fmla="*/ 62341 w 116614"/>
                <a:gd name="connsiteY104" fmla="*/ 159220 h 174345"/>
                <a:gd name="connsiteX105" fmla="*/ 60007 w 116614"/>
                <a:gd name="connsiteY105" fmla="*/ 159744 h 174345"/>
                <a:gd name="connsiteX106" fmla="*/ 57941 w 116614"/>
                <a:gd name="connsiteY106" fmla="*/ 158001 h 174345"/>
                <a:gd name="connsiteX107" fmla="*/ 57093 w 116614"/>
                <a:gd name="connsiteY107" fmla="*/ 156953 h 174345"/>
                <a:gd name="connsiteX108" fmla="*/ 56131 w 116614"/>
                <a:gd name="connsiteY108" fmla="*/ 156420 h 174345"/>
                <a:gd name="connsiteX109" fmla="*/ 52949 w 116614"/>
                <a:gd name="connsiteY109" fmla="*/ 156505 h 174345"/>
                <a:gd name="connsiteX110" fmla="*/ 53950 w 116614"/>
                <a:gd name="connsiteY110" fmla="*/ 157048 h 174345"/>
                <a:gd name="connsiteX111" fmla="*/ 54597 w 116614"/>
                <a:gd name="connsiteY111" fmla="*/ 158277 h 174345"/>
                <a:gd name="connsiteX112" fmla="*/ 54912 w 116614"/>
                <a:gd name="connsiteY112" fmla="*/ 160639 h 174345"/>
                <a:gd name="connsiteX113" fmla="*/ 54550 w 116614"/>
                <a:gd name="connsiteY113" fmla="*/ 162954 h 174345"/>
                <a:gd name="connsiteX114" fmla="*/ 52978 w 116614"/>
                <a:gd name="connsiteY114" fmla="*/ 164125 h 174345"/>
                <a:gd name="connsiteX115" fmla="*/ 51111 w 116614"/>
                <a:gd name="connsiteY115" fmla="*/ 164344 h 174345"/>
                <a:gd name="connsiteX116" fmla="*/ 48158 w 116614"/>
                <a:gd name="connsiteY116" fmla="*/ 166735 h 174345"/>
                <a:gd name="connsiteX117" fmla="*/ 44253 w 116614"/>
                <a:gd name="connsiteY117" fmla="*/ 167383 h 174345"/>
                <a:gd name="connsiteX118" fmla="*/ 42139 w 116614"/>
                <a:gd name="connsiteY118" fmla="*/ 169583 h 174345"/>
                <a:gd name="connsiteX119" fmla="*/ 29223 w 116614"/>
                <a:gd name="connsiteY119" fmla="*/ 173298 h 174345"/>
                <a:gd name="connsiteX120" fmla="*/ 28489 w 116614"/>
                <a:gd name="connsiteY120" fmla="*/ 173336 h 174345"/>
                <a:gd name="connsiteX121" fmla="*/ 26708 w 116614"/>
                <a:gd name="connsiteY121" fmla="*/ 172393 h 174345"/>
                <a:gd name="connsiteX122" fmla="*/ 24775 w 116614"/>
                <a:gd name="connsiteY122" fmla="*/ 171974 h 174345"/>
                <a:gd name="connsiteX123" fmla="*/ 22850 w 116614"/>
                <a:gd name="connsiteY123" fmla="*/ 172269 h 174345"/>
                <a:gd name="connsiteX124" fmla="*/ 17440 w 116614"/>
                <a:gd name="connsiteY124" fmla="*/ 174346 h 174345"/>
                <a:gd name="connsiteX125" fmla="*/ 14821 w 116614"/>
                <a:gd name="connsiteY125" fmla="*/ 173936 h 174345"/>
                <a:gd name="connsiteX126" fmla="*/ 18164 w 116614"/>
                <a:gd name="connsiteY126" fmla="*/ 168774 h 174345"/>
                <a:gd name="connsiteX127" fmla="*/ 22650 w 116614"/>
                <a:gd name="connsiteY127" fmla="*/ 166164 h 174345"/>
                <a:gd name="connsiteX128" fmla="*/ 23117 w 116614"/>
                <a:gd name="connsiteY128" fmla="*/ 165450 h 174345"/>
                <a:gd name="connsiteX129" fmla="*/ 21650 w 116614"/>
                <a:gd name="connsiteY129" fmla="*/ 165097 h 174345"/>
                <a:gd name="connsiteX130" fmla="*/ 13116 w 116614"/>
                <a:gd name="connsiteY130" fmla="*/ 166907 h 174345"/>
                <a:gd name="connsiteX131" fmla="*/ 10154 w 116614"/>
                <a:gd name="connsiteY131" fmla="*/ 168450 h 174345"/>
                <a:gd name="connsiteX132" fmla="*/ 7191 w 116614"/>
                <a:gd name="connsiteY132" fmla="*/ 168898 h 174345"/>
                <a:gd name="connsiteX133" fmla="*/ 8563 w 116614"/>
                <a:gd name="connsiteY133" fmla="*/ 166535 h 174345"/>
                <a:gd name="connsiteX134" fmla="*/ 12382 w 116614"/>
                <a:gd name="connsiteY134" fmla="*/ 163306 h 174345"/>
                <a:gd name="connsiteX135" fmla="*/ 14431 w 116614"/>
                <a:gd name="connsiteY135" fmla="*/ 161782 h 174345"/>
                <a:gd name="connsiteX136" fmla="*/ 15678 w 116614"/>
                <a:gd name="connsiteY136" fmla="*/ 161173 h 174345"/>
                <a:gd name="connsiteX137" fmla="*/ 17107 w 116614"/>
                <a:gd name="connsiteY137" fmla="*/ 159268 h 174345"/>
                <a:gd name="connsiteX138" fmla="*/ 21136 w 116614"/>
                <a:gd name="connsiteY138" fmla="*/ 157106 h 174345"/>
                <a:gd name="connsiteX139" fmla="*/ 8163 w 116614"/>
                <a:gd name="connsiteY139" fmla="*/ 161563 h 174345"/>
                <a:gd name="connsiteX140" fmla="*/ 4753 w 116614"/>
                <a:gd name="connsiteY140" fmla="*/ 161020 h 174345"/>
                <a:gd name="connsiteX141" fmla="*/ 3953 w 116614"/>
                <a:gd name="connsiteY141" fmla="*/ 159782 h 174345"/>
                <a:gd name="connsiteX142" fmla="*/ 1305 w 116614"/>
                <a:gd name="connsiteY142" fmla="*/ 160372 h 174345"/>
                <a:gd name="connsiteX143" fmla="*/ 295 w 116614"/>
                <a:gd name="connsiteY143" fmla="*/ 157353 h 174345"/>
                <a:gd name="connsiteX144" fmla="*/ 4229 w 116614"/>
                <a:gd name="connsiteY144" fmla="*/ 152791 h 174345"/>
                <a:gd name="connsiteX145" fmla="*/ 6525 w 116614"/>
                <a:gd name="connsiteY145" fmla="*/ 150819 h 174345"/>
                <a:gd name="connsiteX146" fmla="*/ 9249 w 116614"/>
                <a:gd name="connsiteY146" fmla="*/ 149752 h 174345"/>
                <a:gd name="connsiteX147" fmla="*/ 11868 w 116614"/>
                <a:gd name="connsiteY147" fmla="*/ 148219 h 174345"/>
                <a:gd name="connsiteX148" fmla="*/ 12840 w 116614"/>
                <a:gd name="connsiteY148" fmla="*/ 146352 h 174345"/>
                <a:gd name="connsiteX149" fmla="*/ 11611 w 116614"/>
                <a:gd name="connsiteY149" fmla="*/ 145752 h 174345"/>
                <a:gd name="connsiteX150" fmla="*/ 3762 w 116614"/>
                <a:gd name="connsiteY150" fmla="*/ 146228 h 174345"/>
                <a:gd name="connsiteX151" fmla="*/ 0 w 116614"/>
                <a:gd name="connsiteY151" fmla="*/ 145828 h 174345"/>
                <a:gd name="connsiteX152" fmla="*/ 200 w 116614"/>
                <a:gd name="connsiteY152" fmla="*/ 144342 h 174345"/>
                <a:gd name="connsiteX153" fmla="*/ 895 w 116614"/>
                <a:gd name="connsiteY153" fmla="*/ 142694 h 174345"/>
                <a:gd name="connsiteX154" fmla="*/ 4791 w 116614"/>
                <a:gd name="connsiteY154" fmla="*/ 139875 h 174345"/>
                <a:gd name="connsiteX155" fmla="*/ 6906 w 116614"/>
                <a:gd name="connsiteY155" fmla="*/ 139427 h 174345"/>
                <a:gd name="connsiteX156" fmla="*/ 8782 w 116614"/>
                <a:gd name="connsiteY156" fmla="*/ 139694 h 174345"/>
                <a:gd name="connsiteX157" fmla="*/ 10611 w 116614"/>
                <a:gd name="connsiteY157" fmla="*/ 140418 h 174345"/>
                <a:gd name="connsiteX158" fmla="*/ 12106 w 116614"/>
                <a:gd name="connsiteY158" fmla="*/ 141361 h 174345"/>
                <a:gd name="connsiteX159" fmla="*/ 16526 w 116614"/>
                <a:gd name="connsiteY159" fmla="*/ 140818 h 174345"/>
                <a:gd name="connsiteX160" fmla="*/ 14678 w 116614"/>
                <a:gd name="connsiteY160" fmla="*/ 139017 h 174345"/>
                <a:gd name="connsiteX161" fmla="*/ 14354 w 116614"/>
                <a:gd name="connsiteY161" fmla="*/ 135350 h 174345"/>
                <a:gd name="connsiteX162" fmla="*/ 12945 w 116614"/>
                <a:gd name="connsiteY162" fmla="*/ 134122 h 174345"/>
                <a:gd name="connsiteX163" fmla="*/ 14745 w 116614"/>
                <a:gd name="connsiteY163" fmla="*/ 132417 h 174345"/>
                <a:gd name="connsiteX164" fmla="*/ 16812 w 116614"/>
                <a:gd name="connsiteY164" fmla="*/ 131388 h 174345"/>
                <a:gd name="connsiteX165" fmla="*/ 20260 w 116614"/>
                <a:gd name="connsiteY165" fmla="*/ 127854 h 174345"/>
                <a:gd name="connsiteX166" fmla="*/ 21489 w 116614"/>
                <a:gd name="connsiteY166" fmla="*/ 127311 h 174345"/>
                <a:gd name="connsiteX167" fmla="*/ 28308 w 116614"/>
                <a:gd name="connsiteY167" fmla="*/ 126454 h 174345"/>
                <a:gd name="connsiteX168" fmla="*/ 35661 w 116614"/>
                <a:gd name="connsiteY168" fmla="*/ 124597 h 174345"/>
                <a:gd name="connsiteX169" fmla="*/ 42948 w 116614"/>
                <a:gd name="connsiteY169" fmla="*/ 122025 h 174345"/>
                <a:gd name="connsiteX170" fmla="*/ 39205 w 116614"/>
                <a:gd name="connsiteY170" fmla="*/ 120587 h 174345"/>
                <a:gd name="connsiteX171" fmla="*/ 37414 w 116614"/>
                <a:gd name="connsiteY171" fmla="*/ 118682 h 174345"/>
                <a:gd name="connsiteX172" fmla="*/ 34538 w 116614"/>
                <a:gd name="connsiteY172" fmla="*/ 122520 h 174345"/>
                <a:gd name="connsiteX173" fmla="*/ 32461 w 116614"/>
                <a:gd name="connsiteY173" fmla="*/ 123987 h 174345"/>
                <a:gd name="connsiteX174" fmla="*/ 26613 w 116614"/>
                <a:gd name="connsiteY174" fmla="*/ 124778 h 174345"/>
                <a:gd name="connsiteX175" fmla="*/ 24765 w 116614"/>
                <a:gd name="connsiteY175" fmla="*/ 124349 h 174345"/>
                <a:gd name="connsiteX176" fmla="*/ 22155 w 116614"/>
                <a:gd name="connsiteY176" fmla="*/ 123158 h 174345"/>
                <a:gd name="connsiteX177" fmla="*/ 21346 w 116614"/>
                <a:gd name="connsiteY177" fmla="*/ 123606 h 174345"/>
                <a:gd name="connsiteX178" fmla="*/ 20593 w 116614"/>
                <a:gd name="connsiteY178" fmla="*/ 124520 h 174345"/>
                <a:gd name="connsiteX179" fmla="*/ 16716 w 116614"/>
                <a:gd name="connsiteY179" fmla="*/ 126397 h 174345"/>
                <a:gd name="connsiteX180" fmla="*/ 12649 w 116614"/>
                <a:gd name="connsiteY180" fmla="*/ 126845 h 174345"/>
                <a:gd name="connsiteX181" fmla="*/ 17383 w 116614"/>
                <a:gd name="connsiteY181" fmla="*/ 123397 h 174345"/>
                <a:gd name="connsiteX182" fmla="*/ 23393 w 116614"/>
                <a:gd name="connsiteY182" fmla="*/ 117538 h 174345"/>
                <a:gd name="connsiteX183" fmla="*/ 24727 w 116614"/>
                <a:gd name="connsiteY183" fmla="*/ 115691 h 174345"/>
                <a:gd name="connsiteX184" fmla="*/ 26632 w 116614"/>
                <a:gd name="connsiteY184" fmla="*/ 112462 h 174345"/>
                <a:gd name="connsiteX185" fmla="*/ 26041 w 116614"/>
                <a:gd name="connsiteY185" fmla="*/ 111023 h 174345"/>
                <a:gd name="connsiteX186" fmla="*/ 24803 w 116614"/>
                <a:gd name="connsiteY186" fmla="*/ 110204 h 174345"/>
                <a:gd name="connsiteX187" fmla="*/ 29156 w 116614"/>
                <a:gd name="connsiteY187" fmla="*/ 103537 h 174345"/>
                <a:gd name="connsiteX188" fmla="*/ 30690 w 116614"/>
                <a:gd name="connsiteY188" fmla="*/ 102327 h 174345"/>
                <a:gd name="connsiteX189" fmla="*/ 33471 w 116614"/>
                <a:gd name="connsiteY189" fmla="*/ 102127 h 174345"/>
                <a:gd name="connsiteX190" fmla="*/ 35519 w 116614"/>
                <a:gd name="connsiteY190" fmla="*/ 101070 h 174345"/>
                <a:gd name="connsiteX191" fmla="*/ 36424 w 116614"/>
                <a:gd name="connsiteY191" fmla="*/ 101070 h 174345"/>
                <a:gd name="connsiteX192" fmla="*/ 37233 w 116614"/>
                <a:gd name="connsiteY192" fmla="*/ 100670 h 174345"/>
                <a:gd name="connsiteX193" fmla="*/ 39024 w 116614"/>
                <a:gd name="connsiteY193" fmla="*/ 98670 h 174345"/>
                <a:gd name="connsiteX194" fmla="*/ 36262 w 116614"/>
                <a:gd name="connsiteY194" fmla="*/ 97393 h 174345"/>
                <a:gd name="connsiteX195" fmla="*/ 33404 w 116614"/>
                <a:gd name="connsiteY195" fmla="*/ 96736 h 174345"/>
                <a:gd name="connsiteX196" fmla="*/ 24574 w 116614"/>
                <a:gd name="connsiteY196" fmla="*/ 97431 h 174345"/>
                <a:gd name="connsiteX197" fmla="*/ 23413 w 116614"/>
                <a:gd name="connsiteY197" fmla="*/ 97279 h 174345"/>
                <a:gd name="connsiteX198" fmla="*/ 22317 w 116614"/>
                <a:gd name="connsiteY198" fmla="*/ 96660 h 174345"/>
                <a:gd name="connsiteX199" fmla="*/ 21603 w 116614"/>
                <a:gd name="connsiteY199" fmla="*/ 95774 h 174345"/>
                <a:gd name="connsiteX200" fmla="*/ 21069 w 116614"/>
                <a:gd name="connsiteY200" fmla="*/ 93497 h 174345"/>
                <a:gd name="connsiteX201" fmla="*/ 20422 w 116614"/>
                <a:gd name="connsiteY201" fmla="*/ 92983 h 174345"/>
                <a:gd name="connsiteX202" fmla="*/ 18431 w 116614"/>
                <a:gd name="connsiteY202" fmla="*/ 92983 h 174345"/>
                <a:gd name="connsiteX203" fmla="*/ 16459 w 116614"/>
                <a:gd name="connsiteY203" fmla="*/ 93679 h 174345"/>
                <a:gd name="connsiteX204" fmla="*/ 15088 w 116614"/>
                <a:gd name="connsiteY204" fmla="*/ 93612 h 174345"/>
                <a:gd name="connsiteX205" fmla="*/ 13745 w 116614"/>
                <a:gd name="connsiteY205" fmla="*/ 92612 h 174345"/>
                <a:gd name="connsiteX206" fmla="*/ 15897 w 116614"/>
                <a:gd name="connsiteY206" fmla="*/ 90278 h 174345"/>
                <a:gd name="connsiteX207" fmla="*/ 13125 w 116614"/>
                <a:gd name="connsiteY207" fmla="*/ 89726 h 174345"/>
                <a:gd name="connsiteX208" fmla="*/ 10325 w 116614"/>
                <a:gd name="connsiteY208" fmla="*/ 90183 h 174345"/>
                <a:gd name="connsiteX209" fmla="*/ 7991 w 116614"/>
                <a:gd name="connsiteY209" fmla="*/ 89468 h 174345"/>
                <a:gd name="connsiteX210" fmla="*/ 7925 w 116614"/>
                <a:gd name="connsiteY210" fmla="*/ 88002 h 174345"/>
                <a:gd name="connsiteX211" fmla="*/ 8982 w 116614"/>
                <a:gd name="connsiteY211" fmla="*/ 86535 h 174345"/>
                <a:gd name="connsiteX212" fmla="*/ 7591 w 116614"/>
                <a:gd name="connsiteY212" fmla="*/ 85144 h 174345"/>
                <a:gd name="connsiteX213" fmla="*/ 7306 w 116614"/>
                <a:gd name="connsiteY213" fmla="*/ 83382 h 174345"/>
                <a:gd name="connsiteX214" fmla="*/ 8782 w 116614"/>
                <a:gd name="connsiteY214" fmla="*/ 82515 h 174345"/>
                <a:gd name="connsiteX215" fmla="*/ 10392 w 116614"/>
                <a:gd name="connsiteY215" fmla="*/ 82801 h 174345"/>
                <a:gd name="connsiteX216" fmla="*/ 13678 w 116614"/>
                <a:gd name="connsiteY216" fmla="*/ 81496 h 174345"/>
                <a:gd name="connsiteX217" fmla="*/ 17897 w 116614"/>
                <a:gd name="connsiteY217" fmla="*/ 80867 h 174345"/>
                <a:gd name="connsiteX218" fmla="*/ 14278 w 116614"/>
                <a:gd name="connsiteY218" fmla="*/ 79581 h 174345"/>
                <a:gd name="connsiteX219" fmla="*/ 12840 w 116614"/>
                <a:gd name="connsiteY219" fmla="*/ 78477 h 174345"/>
                <a:gd name="connsiteX220" fmla="*/ 12773 w 116614"/>
                <a:gd name="connsiteY220" fmla="*/ 76791 h 174345"/>
                <a:gd name="connsiteX221" fmla="*/ 13059 w 116614"/>
                <a:gd name="connsiteY221" fmla="*/ 75343 h 174345"/>
                <a:gd name="connsiteX222" fmla="*/ 17240 w 116614"/>
                <a:gd name="connsiteY222" fmla="*/ 72895 h 174345"/>
                <a:gd name="connsiteX223" fmla="*/ 21698 w 116614"/>
                <a:gd name="connsiteY223" fmla="*/ 71819 h 174345"/>
                <a:gd name="connsiteX224" fmla="*/ 21365 w 116614"/>
                <a:gd name="connsiteY224" fmla="*/ 70209 h 174345"/>
                <a:gd name="connsiteX225" fmla="*/ 21679 w 116614"/>
                <a:gd name="connsiteY225" fmla="*/ 68456 h 174345"/>
                <a:gd name="connsiteX226" fmla="*/ 17174 w 116614"/>
                <a:gd name="connsiteY226" fmla="*/ 67951 h 174345"/>
                <a:gd name="connsiteX227" fmla="*/ 12725 w 116614"/>
                <a:gd name="connsiteY227" fmla="*/ 69180 h 174345"/>
                <a:gd name="connsiteX228" fmla="*/ 13202 w 116614"/>
                <a:gd name="connsiteY228" fmla="*/ 65837 h 174345"/>
                <a:gd name="connsiteX229" fmla="*/ 14268 w 116614"/>
                <a:gd name="connsiteY229" fmla="*/ 62808 h 174345"/>
                <a:gd name="connsiteX230" fmla="*/ 14478 w 116614"/>
                <a:gd name="connsiteY230" fmla="*/ 60817 h 174345"/>
                <a:gd name="connsiteX231" fmla="*/ 14268 w 116614"/>
                <a:gd name="connsiteY231" fmla="*/ 58674 h 174345"/>
                <a:gd name="connsiteX232" fmla="*/ 12182 w 116614"/>
                <a:gd name="connsiteY232" fmla="*/ 59589 h 174345"/>
                <a:gd name="connsiteX233" fmla="*/ 11944 w 116614"/>
                <a:gd name="connsiteY233" fmla="*/ 56569 h 174345"/>
                <a:gd name="connsiteX234" fmla="*/ 11049 w 116614"/>
                <a:gd name="connsiteY234" fmla="*/ 54502 h 174345"/>
                <a:gd name="connsiteX235" fmla="*/ 7953 w 116614"/>
                <a:gd name="connsiteY235" fmla="*/ 55931 h 174345"/>
                <a:gd name="connsiteX236" fmla="*/ 8029 w 116614"/>
                <a:gd name="connsiteY236" fmla="*/ 53188 h 174345"/>
                <a:gd name="connsiteX237" fmla="*/ 8925 w 116614"/>
                <a:gd name="connsiteY237" fmla="*/ 51273 h 174345"/>
                <a:gd name="connsiteX238" fmla="*/ 10535 w 116614"/>
                <a:gd name="connsiteY238" fmla="*/ 50445 h 174345"/>
                <a:gd name="connsiteX239" fmla="*/ 12135 w 116614"/>
                <a:gd name="connsiteY239" fmla="*/ 50806 h 174345"/>
                <a:gd name="connsiteX240" fmla="*/ 15116 w 116614"/>
                <a:gd name="connsiteY240" fmla="*/ 50778 h 174345"/>
                <a:gd name="connsiteX241" fmla="*/ 17993 w 116614"/>
                <a:gd name="connsiteY241" fmla="*/ 49330 h 174345"/>
                <a:gd name="connsiteX242" fmla="*/ 22136 w 116614"/>
                <a:gd name="connsiteY242" fmla="*/ 48959 h 174345"/>
                <a:gd name="connsiteX243" fmla="*/ 28727 w 116614"/>
                <a:gd name="connsiteY243" fmla="*/ 49406 h 174345"/>
                <a:gd name="connsiteX244" fmla="*/ 33261 w 116614"/>
                <a:gd name="connsiteY244" fmla="*/ 53473 h 174345"/>
                <a:gd name="connsiteX245" fmla="*/ 34433 w 116614"/>
                <a:gd name="connsiteY245" fmla="*/ 52750 h 174345"/>
                <a:gd name="connsiteX246" fmla="*/ 36243 w 116614"/>
                <a:gd name="connsiteY246" fmla="*/ 50178 h 174345"/>
                <a:gd name="connsiteX247" fmla="*/ 37090 w 116614"/>
                <a:gd name="connsiteY247" fmla="*/ 49892 h 174345"/>
                <a:gd name="connsiteX248" fmla="*/ 43929 w 116614"/>
                <a:gd name="connsiteY248" fmla="*/ 51016 h 174345"/>
                <a:gd name="connsiteX249" fmla="*/ 48168 w 116614"/>
                <a:gd name="connsiteY249" fmla="*/ 52492 h 174345"/>
                <a:gd name="connsiteX250" fmla="*/ 49301 w 116614"/>
                <a:gd name="connsiteY250" fmla="*/ 52035 h 174345"/>
                <a:gd name="connsiteX251" fmla="*/ 48692 w 116614"/>
                <a:gd name="connsiteY251" fmla="*/ 49187 h 174345"/>
                <a:gd name="connsiteX252" fmla="*/ 47235 w 116614"/>
                <a:gd name="connsiteY252" fmla="*/ 47206 h 174345"/>
                <a:gd name="connsiteX253" fmla="*/ 49063 w 116614"/>
                <a:gd name="connsiteY253" fmla="*/ 44615 h 174345"/>
                <a:gd name="connsiteX254" fmla="*/ 51292 w 116614"/>
                <a:gd name="connsiteY254" fmla="*/ 42853 h 174345"/>
                <a:gd name="connsiteX255" fmla="*/ 52787 w 116614"/>
                <a:gd name="connsiteY255" fmla="*/ 41977 h 174345"/>
                <a:gd name="connsiteX256" fmla="*/ 56226 w 116614"/>
                <a:gd name="connsiteY256" fmla="*/ 40882 h 174345"/>
                <a:gd name="connsiteX257" fmla="*/ 57731 w 116614"/>
                <a:gd name="connsiteY257" fmla="*/ 39853 h 174345"/>
                <a:gd name="connsiteX258" fmla="*/ 58731 w 116614"/>
                <a:gd name="connsiteY258" fmla="*/ 36500 h 174345"/>
                <a:gd name="connsiteX259" fmla="*/ 60322 w 116614"/>
                <a:gd name="connsiteY259" fmla="*/ 33709 h 174345"/>
                <a:gd name="connsiteX260" fmla="*/ 51683 w 116614"/>
                <a:gd name="connsiteY260" fmla="*/ 35157 h 174345"/>
                <a:gd name="connsiteX261" fmla="*/ 43462 w 116614"/>
                <a:gd name="connsiteY261" fmla="*/ 31842 h 174345"/>
                <a:gd name="connsiteX262" fmla="*/ 44768 w 116614"/>
                <a:gd name="connsiteY262" fmla="*/ 29499 h 174345"/>
                <a:gd name="connsiteX263" fmla="*/ 46501 w 116614"/>
                <a:gd name="connsiteY263" fmla="*/ 28165 h 174345"/>
                <a:gd name="connsiteX264" fmla="*/ 49492 w 116614"/>
                <a:gd name="connsiteY264" fmla="*/ 27146 h 174345"/>
                <a:gd name="connsiteX265" fmla="*/ 49778 w 116614"/>
                <a:gd name="connsiteY265" fmla="*/ 25918 h 174345"/>
                <a:gd name="connsiteX266" fmla="*/ 51292 w 116614"/>
                <a:gd name="connsiteY266" fmla="*/ 24898 h 174345"/>
                <a:gd name="connsiteX267" fmla="*/ 53797 w 116614"/>
                <a:gd name="connsiteY267" fmla="*/ 22212 h 174345"/>
                <a:gd name="connsiteX268" fmla="*/ 52873 w 116614"/>
                <a:gd name="connsiteY268" fmla="*/ 18698 h 174345"/>
                <a:gd name="connsiteX269" fmla="*/ 53369 w 116614"/>
                <a:gd name="connsiteY269" fmla="*/ 16126 h 174345"/>
                <a:gd name="connsiteX270" fmla="*/ 55169 w 116614"/>
                <a:gd name="connsiteY270" fmla="*/ 14449 h 174345"/>
                <a:gd name="connsiteX271" fmla="*/ 55731 w 116614"/>
                <a:gd name="connsiteY271" fmla="*/ 12040 h 174345"/>
                <a:gd name="connsiteX272" fmla="*/ 56531 w 116614"/>
                <a:gd name="connsiteY272" fmla="*/ 10258 h 174345"/>
                <a:gd name="connsiteX273" fmla="*/ 60188 w 116614"/>
                <a:gd name="connsiteY273" fmla="*/ 9620 h 174345"/>
                <a:gd name="connsiteX274" fmla="*/ 63703 w 116614"/>
                <a:gd name="connsiteY274" fmla="*/ 7972 h 174345"/>
                <a:gd name="connsiteX275" fmla="*/ 64970 w 116614"/>
                <a:gd name="connsiteY275" fmla="*/ 8134 h 174345"/>
                <a:gd name="connsiteX276" fmla="*/ 69132 w 116614"/>
                <a:gd name="connsiteY276" fmla="*/ 7753 h 174345"/>
                <a:gd name="connsiteX277" fmla="*/ 70533 w 116614"/>
                <a:gd name="connsiteY277" fmla="*/ 8420 h 174345"/>
                <a:gd name="connsiteX278" fmla="*/ 70209 w 116614"/>
                <a:gd name="connsiteY278" fmla="*/ 5496 h 174345"/>
                <a:gd name="connsiteX279" fmla="*/ 72762 w 116614"/>
                <a:gd name="connsiteY279" fmla="*/ 5115 h 174345"/>
                <a:gd name="connsiteX280" fmla="*/ 73752 w 116614"/>
                <a:gd name="connsiteY280" fmla="*/ 5696 h 174345"/>
                <a:gd name="connsiteX281" fmla="*/ 74190 w 116614"/>
                <a:gd name="connsiteY281" fmla="*/ 7772 h 174345"/>
                <a:gd name="connsiteX282" fmla="*/ 75352 w 116614"/>
                <a:gd name="connsiteY282" fmla="*/ 9097 h 174345"/>
                <a:gd name="connsiteX283" fmla="*/ 75714 w 116614"/>
                <a:gd name="connsiteY283" fmla="*/ 11392 h 174345"/>
                <a:gd name="connsiteX284" fmla="*/ 74933 w 116614"/>
                <a:gd name="connsiteY284" fmla="*/ 13164 h 174345"/>
                <a:gd name="connsiteX285" fmla="*/ 73628 w 116614"/>
                <a:gd name="connsiteY285" fmla="*/ 14526 h 174345"/>
                <a:gd name="connsiteX286" fmla="*/ 74819 w 116614"/>
                <a:gd name="connsiteY286" fmla="*/ 15916 h 174345"/>
                <a:gd name="connsiteX287" fmla="*/ 72980 w 116614"/>
                <a:gd name="connsiteY287" fmla="*/ 18440 h 174345"/>
                <a:gd name="connsiteX288" fmla="*/ 74962 w 116614"/>
                <a:gd name="connsiteY288" fmla="*/ 17364 h 174345"/>
                <a:gd name="connsiteX289" fmla="*/ 77791 w 116614"/>
                <a:gd name="connsiteY289" fmla="*/ 14897 h 174345"/>
                <a:gd name="connsiteX290" fmla="*/ 77638 w 116614"/>
                <a:gd name="connsiteY290" fmla="*/ 12887 h 174345"/>
                <a:gd name="connsiteX291" fmla="*/ 77162 w 116614"/>
                <a:gd name="connsiteY291" fmla="*/ 10344 h 174345"/>
                <a:gd name="connsiteX292" fmla="*/ 76372 w 116614"/>
                <a:gd name="connsiteY292" fmla="*/ 8049 h 174345"/>
                <a:gd name="connsiteX293" fmla="*/ 76733 w 116614"/>
                <a:gd name="connsiteY293" fmla="*/ 5515 h 174345"/>
                <a:gd name="connsiteX294" fmla="*/ 78324 w 116614"/>
                <a:gd name="connsiteY294" fmla="*/ 3934 h 174345"/>
                <a:gd name="connsiteX295" fmla="*/ 82505 w 116614"/>
                <a:gd name="connsiteY295" fmla="*/ 3134 h 174345"/>
                <a:gd name="connsiteX296" fmla="*/ 80791 w 116614"/>
                <a:gd name="connsiteY296" fmla="*/ 257 h 174345"/>
                <a:gd name="connsiteX297" fmla="*/ 82315 w 116614"/>
                <a:gd name="connsiteY297" fmla="*/ 0 h 174345"/>
                <a:gd name="connsiteX298" fmla="*/ 83972 w 116614"/>
                <a:gd name="connsiteY298" fmla="*/ 600 h 174345"/>
                <a:gd name="connsiteX299" fmla="*/ 86411 w 116614"/>
                <a:gd name="connsiteY299" fmla="*/ 2838 h 174345"/>
                <a:gd name="connsiteX300" fmla="*/ 88954 w 116614"/>
                <a:gd name="connsiteY300" fmla="*/ 4601 h 174345"/>
                <a:gd name="connsiteX301" fmla="*/ 91583 w 116614"/>
                <a:gd name="connsiteY301" fmla="*/ 5991 h 174345"/>
                <a:gd name="connsiteX302" fmla="*/ 89049 w 116614"/>
                <a:gd name="connsiteY302" fmla="*/ 8773 h 174345"/>
                <a:gd name="connsiteX303" fmla="*/ 85935 w 116614"/>
                <a:gd name="connsiteY303" fmla="*/ 10706 h 174345"/>
                <a:gd name="connsiteX304" fmla="*/ 84744 w 116614"/>
                <a:gd name="connsiteY304" fmla="*/ 12811 h 174345"/>
                <a:gd name="connsiteX305" fmla="*/ 11782 w 116614"/>
                <a:gd name="connsiteY305" fmla="*/ 66961 h 174345"/>
                <a:gd name="connsiteX306" fmla="*/ 11668 w 116614"/>
                <a:gd name="connsiteY306" fmla="*/ 68256 h 174345"/>
                <a:gd name="connsiteX307" fmla="*/ 9687 w 116614"/>
                <a:gd name="connsiteY307" fmla="*/ 66628 h 174345"/>
                <a:gd name="connsiteX308" fmla="*/ 8725 w 116614"/>
                <a:gd name="connsiteY308" fmla="*/ 64846 h 174345"/>
                <a:gd name="connsiteX309" fmla="*/ 3296 w 116614"/>
                <a:gd name="connsiteY309" fmla="*/ 64037 h 174345"/>
                <a:gd name="connsiteX310" fmla="*/ 5553 w 116614"/>
                <a:gd name="connsiteY310" fmla="*/ 62256 h 174345"/>
                <a:gd name="connsiteX311" fmla="*/ 6658 w 116614"/>
                <a:gd name="connsiteY311" fmla="*/ 62779 h 174345"/>
                <a:gd name="connsiteX312" fmla="*/ 10496 w 116614"/>
                <a:gd name="connsiteY312" fmla="*/ 62855 h 174345"/>
                <a:gd name="connsiteX313" fmla="*/ 11573 w 116614"/>
                <a:gd name="connsiteY313" fmla="*/ 63598 h 174345"/>
                <a:gd name="connsiteX314" fmla="*/ 11782 w 116614"/>
                <a:gd name="connsiteY314" fmla="*/ 66961 h 174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</a:cxnLst>
              <a:rect l="l" t="t" r="r" b="b"/>
              <a:pathLst>
                <a:path w="116614" h="174345">
                  <a:moveTo>
                    <a:pt x="84744" y="12811"/>
                  </a:moveTo>
                  <a:lnTo>
                    <a:pt x="80515" y="15802"/>
                  </a:lnTo>
                  <a:lnTo>
                    <a:pt x="79858" y="16936"/>
                  </a:lnTo>
                  <a:lnTo>
                    <a:pt x="78667" y="21498"/>
                  </a:lnTo>
                  <a:lnTo>
                    <a:pt x="78524" y="22793"/>
                  </a:lnTo>
                  <a:lnTo>
                    <a:pt x="77162" y="25184"/>
                  </a:lnTo>
                  <a:lnTo>
                    <a:pt x="75876" y="27842"/>
                  </a:lnTo>
                  <a:lnTo>
                    <a:pt x="74381" y="28870"/>
                  </a:lnTo>
                  <a:lnTo>
                    <a:pt x="72152" y="29689"/>
                  </a:lnTo>
                  <a:lnTo>
                    <a:pt x="70885" y="30499"/>
                  </a:lnTo>
                  <a:lnTo>
                    <a:pt x="69285" y="30089"/>
                  </a:lnTo>
                  <a:lnTo>
                    <a:pt x="67266" y="30156"/>
                  </a:lnTo>
                  <a:lnTo>
                    <a:pt x="66256" y="31061"/>
                  </a:lnTo>
                  <a:lnTo>
                    <a:pt x="66304" y="31756"/>
                  </a:lnTo>
                  <a:lnTo>
                    <a:pt x="66903" y="32547"/>
                  </a:lnTo>
                  <a:lnTo>
                    <a:pt x="68675" y="33766"/>
                  </a:lnTo>
                  <a:lnTo>
                    <a:pt x="70647" y="34862"/>
                  </a:lnTo>
                  <a:lnTo>
                    <a:pt x="70428" y="35824"/>
                  </a:lnTo>
                  <a:lnTo>
                    <a:pt x="69370" y="36909"/>
                  </a:lnTo>
                  <a:lnTo>
                    <a:pt x="62674" y="39614"/>
                  </a:lnTo>
                  <a:lnTo>
                    <a:pt x="60684" y="41243"/>
                  </a:lnTo>
                  <a:lnTo>
                    <a:pt x="59988" y="42320"/>
                  </a:lnTo>
                  <a:lnTo>
                    <a:pt x="60703" y="44120"/>
                  </a:lnTo>
                  <a:lnTo>
                    <a:pt x="66046" y="49502"/>
                  </a:lnTo>
                  <a:lnTo>
                    <a:pt x="66951" y="50092"/>
                  </a:lnTo>
                  <a:lnTo>
                    <a:pt x="67742" y="53226"/>
                  </a:lnTo>
                  <a:lnTo>
                    <a:pt x="72457" y="54531"/>
                  </a:lnTo>
                  <a:lnTo>
                    <a:pt x="74390" y="56483"/>
                  </a:lnTo>
                  <a:lnTo>
                    <a:pt x="76048" y="56950"/>
                  </a:lnTo>
                  <a:lnTo>
                    <a:pt x="79658" y="56779"/>
                  </a:lnTo>
                  <a:lnTo>
                    <a:pt x="81106" y="57512"/>
                  </a:lnTo>
                  <a:lnTo>
                    <a:pt x="81925" y="56950"/>
                  </a:lnTo>
                  <a:lnTo>
                    <a:pt x="82401" y="55921"/>
                  </a:lnTo>
                  <a:lnTo>
                    <a:pt x="85439" y="53273"/>
                  </a:lnTo>
                  <a:lnTo>
                    <a:pt x="86439" y="52111"/>
                  </a:lnTo>
                  <a:lnTo>
                    <a:pt x="85839" y="50502"/>
                  </a:lnTo>
                  <a:lnTo>
                    <a:pt x="85192" y="49273"/>
                  </a:lnTo>
                  <a:lnTo>
                    <a:pt x="87039" y="46825"/>
                  </a:lnTo>
                  <a:lnTo>
                    <a:pt x="89278" y="44406"/>
                  </a:lnTo>
                  <a:lnTo>
                    <a:pt x="90402" y="44482"/>
                  </a:lnTo>
                  <a:lnTo>
                    <a:pt x="92316" y="45968"/>
                  </a:lnTo>
                  <a:lnTo>
                    <a:pt x="93897" y="48035"/>
                  </a:lnTo>
                  <a:lnTo>
                    <a:pt x="94107" y="49635"/>
                  </a:lnTo>
                  <a:lnTo>
                    <a:pt x="94402" y="50797"/>
                  </a:lnTo>
                  <a:lnTo>
                    <a:pt x="95898" y="53273"/>
                  </a:lnTo>
                  <a:lnTo>
                    <a:pt x="96860" y="54131"/>
                  </a:lnTo>
                  <a:lnTo>
                    <a:pt x="99451" y="54626"/>
                  </a:lnTo>
                  <a:lnTo>
                    <a:pt x="100060" y="55597"/>
                  </a:lnTo>
                  <a:lnTo>
                    <a:pt x="99593" y="59179"/>
                  </a:lnTo>
                  <a:lnTo>
                    <a:pt x="99984" y="60370"/>
                  </a:lnTo>
                  <a:lnTo>
                    <a:pt x="102699" y="60427"/>
                  </a:lnTo>
                  <a:lnTo>
                    <a:pt x="105585" y="60141"/>
                  </a:lnTo>
                  <a:lnTo>
                    <a:pt x="106594" y="60274"/>
                  </a:lnTo>
                  <a:lnTo>
                    <a:pt x="107632" y="59522"/>
                  </a:lnTo>
                  <a:lnTo>
                    <a:pt x="109233" y="58712"/>
                  </a:lnTo>
                  <a:lnTo>
                    <a:pt x="111528" y="58989"/>
                  </a:lnTo>
                  <a:lnTo>
                    <a:pt x="112652" y="60589"/>
                  </a:lnTo>
                  <a:lnTo>
                    <a:pt x="113157" y="62236"/>
                  </a:lnTo>
                  <a:lnTo>
                    <a:pt x="111185" y="62855"/>
                  </a:lnTo>
                  <a:lnTo>
                    <a:pt x="109128" y="62522"/>
                  </a:lnTo>
                  <a:lnTo>
                    <a:pt x="108128" y="63598"/>
                  </a:lnTo>
                  <a:lnTo>
                    <a:pt x="108061" y="65675"/>
                  </a:lnTo>
                  <a:lnTo>
                    <a:pt x="108756" y="68352"/>
                  </a:lnTo>
                  <a:lnTo>
                    <a:pt x="110137" y="70247"/>
                  </a:lnTo>
                  <a:lnTo>
                    <a:pt x="111233" y="74514"/>
                  </a:lnTo>
                  <a:lnTo>
                    <a:pt x="112147" y="79238"/>
                  </a:lnTo>
                  <a:lnTo>
                    <a:pt x="113557" y="82087"/>
                  </a:lnTo>
                  <a:lnTo>
                    <a:pt x="113852" y="85611"/>
                  </a:lnTo>
                  <a:lnTo>
                    <a:pt x="113643" y="87344"/>
                  </a:lnTo>
                  <a:lnTo>
                    <a:pt x="113900" y="90459"/>
                  </a:lnTo>
                  <a:lnTo>
                    <a:pt x="113300" y="91554"/>
                  </a:lnTo>
                  <a:lnTo>
                    <a:pt x="113747" y="94469"/>
                  </a:lnTo>
                  <a:lnTo>
                    <a:pt x="115414" y="100479"/>
                  </a:lnTo>
                  <a:lnTo>
                    <a:pt x="116148" y="103823"/>
                  </a:lnTo>
                  <a:lnTo>
                    <a:pt x="116615" y="111100"/>
                  </a:lnTo>
                  <a:lnTo>
                    <a:pt x="115433" y="113814"/>
                  </a:lnTo>
                  <a:lnTo>
                    <a:pt x="113852" y="116396"/>
                  </a:lnTo>
                  <a:lnTo>
                    <a:pt x="112814" y="119444"/>
                  </a:lnTo>
                  <a:lnTo>
                    <a:pt x="112023" y="122730"/>
                  </a:lnTo>
                  <a:lnTo>
                    <a:pt x="111538" y="128016"/>
                  </a:lnTo>
                  <a:lnTo>
                    <a:pt x="108109" y="134188"/>
                  </a:lnTo>
                  <a:lnTo>
                    <a:pt x="106651" y="135722"/>
                  </a:lnTo>
                  <a:lnTo>
                    <a:pt x="104956" y="136665"/>
                  </a:lnTo>
                  <a:lnTo>
                    <a:pt x="108652" y="140970"/>
                  </a:lnTo>
                  <a:lnTo>
                    <a:pt x="105632" y="142885"/>
                  </a:lnTo>
                  <a:lnTo>
                    <a:pt x="102346" y="143485"/>
                  </a:lnTo>
                  <a:lnTo>
                    <a:pt x="98708" y="142408"/>
                  </a:lnTo>
                  <a:lnTo>
                    <a:pt x="96441" y="142542"/>
                  </a:lnTo>
                  <a:lnTo>
                    <a:pt x="94364" y="143933"/>
                  </a:lnTo>
                  <a:lnTo>
                    <a:pt x="93554" y="144771"/>
                  </a:lnTo>
                  <a:lnTo>
                    <a:pt x="92897" y="144371"/>
                  </a:lnTo>
                  <a:lnTo>
                    <a:pt x="91535" y="140846"/>
                  </a:lnTo>
                  <a:lnTo>
                    <a:pt x="90535" y="144485"/>
                  </a:lnTo>
                  <a:lnTo>
                    <a:pt x="88440" y="145647"/>
                  </a:lnTo>
                  <a:lnTo>
                    <a:pt x="84849" y="145399"/>
                  </a:lnTo>
                  <a:lnTo>
                    <a:pt x="78848" y="146371"/>
                  </a:lnTo>
                  <a:lnTo>
                    <a:pt x="76533" y="147399"/>
                  </a:lnTo>
                  <a:lnTo>
                    <a:pt x="75571" y="149019"/>
                  </a:lnTo>
                  <a:lnTo>
                    <a:pt x="74857" y="150886"/>
                  </a:lnTo>
                  <a:lnTo>
                    <a:pt x="73914" y="151981"/>
                  </a:lnTo>
                  <a:lnTo>
                    <a:pt x="72857" y="152562"/>
                  </a:lnTo>
                  <a:lnTo>
                    <a:pt x="68218" y="153934"/>
                  </a:lnTo>
                  <a:lnTo>
                    <a:pt x="67304" y="154486"/>
                  </a:lnTo>
                  <a:lnTo>
                    <a:pt x="65151" y="157486"/>
                  </a:lnTo>
                  <a:lnTo>
                    <a:pt x="62341" y="159220"/>
                  </a:lnTo>
                  <a:lnTo>
                    <a:pt x="60007" y="159744"/>
                  </a:lnTo>
                  <a:lnTo>
                    <a:pt x="57941" y="158001"/>
                  </a:lnTo>
                  <a:lnTo>
                    <a:pt x="57093" y="156953"/>
                  </a:lnTo>
                  <a:lnTo>
                    <a:pt x="56131" y="156420"/>
                  </a:lnTo>
                  <a:lnTo>
                    <a:pt x="52949" y="156505"/>
                  </a:lnTo>
                  <a:lnTo>
                    <a:pt x="53950" y="157048"/>
                  </a:lnTo>
                  <a:lnTo>
                    <a:pt x="54597" y="158277"/>
                  </a:lnTo>
                  <a:lnTo>
                    <a:pt x="54912" y="160639"/>
                  </a:lnTo>
                  <a:lnTo>
                    <a:pt x="54550" y="162954"/>
                  </a:lnTo>
                  <a:lnTo>
                    <a:pt x="52978" y="164125"/>
                  </a:lnTo>
                  <a:lnTo>
                    <a:pt x="51111" y="164344"/>
                  </a:lnTo>
                  <a:lnTo>
                    <a:pt x="48158" y="166735"/>
                  </a:lnTo>
                  <a:lnTo>
                    <a:pt x="44253" y="167383"/>
                  </a:lnTo>
                  <a:lnTo>
                    <a:pt x="42139" y="169583"/>
                  </a:lnTo>
                  <a:lnTo>
                    <a:pt x="29223" y="173298"/>
                  </a:lnTo>
                  <a:lnTo>
                    <a:pt x="28489" y="173336"/>
                  </a:lnTo>
                  <a:lnTo>
                    <a:pt x="26708" y="172393"/>
                  </a:lnTo>
                  <a:lnTo>
                    <a:pt x="24775" y="171974"/>
                  </a:lnTo>
                  <a:lnTo>
                    <a:pt x="22850" y="172269"/>
                  </a:lnTo>
                  <a:lnTo>
                    <a:pt x="17440" y="174346"/>
                  </a:lnTo>
                  <a:lnTo>
                    <a:pt x="14821" y="173936"/>
                  </a:lnTo>
                  <a:lnTo>
                    <a:pt x="18164" y="168774"/>
                  </a:lnTo>
                  <a:lnTo>
                    <a:pt x="22650" y="166164"/>
                  </a:lnTo>
                  <a:lnTo>
                    <a:pt x="23117" y="165450"/>
                  </a:lnTo>
                  <a:lnTo>
                    <a:pt x="21650" y="165097"/>
                  </a:lnTo>
                  <a:lnTo>
                    <a:pt x="13116" y="166907"/>
                  </a:lnTo>
                  <a:lnTo>
                    <a:pt x="10154" y="168450"/>
                  </a:lnTo>
                  <a:lnTo>
                    <a:pt x="7191" y="168898"/>
                  </a:lnTo>
                  <a:lnTo>
                    <a:pt x="8563" y="166535"/>
                  </a:lnTo>
                  <a:lnTo>
                    <a:pt x="12382" y="163306"/>
                  </a:lnTo>
                  <a:lnTo>
                    <a:pt x="14431" y="161782"/>
                  </a:lnTo>
                  <a:lnTo>
                    <a:pt x="15678" y="161173"/>
                  </a:lnTo>
                  <a:lnTo>
                    <a:pt x="17107" y="159268"/>
                  </a:lnTo>
                  <a:lnTo>
                    <a:pt x="21136" y="157106"/>
                  </a:lnTo>
                  <a:lnTo>
                    <a:pt x="8163" y="161563"/>
                  </a:lnTo>
                  <a:lnTo>
                    <a:pt x="4753" y="161020"/>
                  </a:lnTo>
                  <a:lnTo>
                    <a:pt x="3953" y="159782"/>
                  </a:lnTo>
                  <a:lnTo>
                    <a:pt x="1305" y="160372"/>
                  </a:lnTo>
                  <a:lnTo>
                    <a:pt x="295" y="157353"/>
                  </a:lnTo>
                  <a:lnTo>
                    <a:pt x="4229" y="152791"/>
                  </a:lnTo>
                  <a:lnTo>
                    <a:pt x="6525" y="150819"/>
                  </a:lnTo>
                  <a:lnTo>
                    <a:pt x="9249" y="149752"/>
                  </a:lnTo>
                  <a:lnTo>
                    <a:pt x="11868" y="148219"/>
                  </a:lnTo>
                  <a:lnTo>
                    <a:pt x="12840" y="146352"/>
                  </a:lnTo>
                  <a:lnTo>
                    <a:pt x="11611" y="145752"/>
                  </a:lnTo>
                  <a:lnTo>
                    <a:pt x="3762" y="146228"/>
                  </a:lnTo>
                  <a:lnTo>
                    <a:pt x="0" y="145828"/>
                  </a:lnTo>
                  <a:lnTo>
                    <a:pt x="200" y="144342"/>
                  </a:lnTo>
                  <a:lnTo>
                    <a:pt x="895" y="142694"/>
                  </a:lnTo>
                  <a:lnTo>
                    <a:pt x="4791" y="139875"/>
                  </a:lnTo>
                  <a:lnTo>
                    <a:pt x="6906" y="139427"/>
                  </a:lnTo>
                  <a:lnTo>
                    <a:pt x="8782" y="139694"/>
                  </a:lnTo>
                  <a:lnTo>
                    <a:pt x="10611" y="140418"/>
                  </a:lnTo>
                  <a:lnTo>
                    <a:pt x="12106" y="141361"/>
                  </a:lnTo>
                  <a:lnTo>
                    <a:pt x="16526" y="140818"/>
                  </a:lnTo>
                  <a:lnTo>
                    <a:pt x="14678" y="139017"/>
                  </a:lnTo>
                  <a:lnTo>
                    <a:pt x="14354" y="135350"/>
                  </a:lnTo>
                  <a:lnTo>
                    <a:pt x="12945" y="134122"/>
                  </a:lnTo>
                  <a:lnTo>
                    <a:pt x="14745" y="132417"/>
                  </a:lnTo>
                  <a:lnTo>
                    <a:pt x="16812" y="131388"/>
                  </a:lnTo>
                  <a:lnTo>
                    <a:pt x="20260" y="127854"/>
                  </a:lnTo>
                  <a:lnTo>
                    <a:pt x="21489" y="127311"/>
                  </a:lnTo>
                  <a:lnTo>
                    <a:pt x="28308" y="126454"/>
                  </a:lnTo>
                  <a:lnTo>
                    <a:pt x="35661" y="124597"/>
                  </a:lnTo>
                  <a:lnTo>
                    <a:pt x="42948" y="122025"/>
                  </a:lnTo>
                  <a:lnTo>
                    <a:pt x="39205" y="120587"/>
                  </a:lnTo>
                  <a:lnTo>
                    <a:pt x="37414" y="118682"/>
                  </a:lnTo>
                  <a:lnTo>
                    <a:pt x="34538" y="122520"/>
                  </a:lnTo>
                  <a:lnTo>
                    <a:pt x="32461" y="123987"/>
                  </a:lnTo>
                  <a:lnTo>
                    <a:pt x="26613" y="124778"/>
                  </a:lnTo>
                  <a:lnTo>
                    <a:pt x="24765" y="124349"/>
                  </a:lnTo>
                  <a:lnTo>
                    <a:pt x="22155" y="123158"/>
                  </a:lnTo>
                  <a:lnTo>
                    <a:pt x="21346" y="123606"/>
                  </a:lnTo>
                  <a:lnTo>
                    <a:pt x="20593" y="124520"/>
                  </a:lnTo>
                  <a:lnTo>
                    <a:pt x="16716" y="126397"/>
                  </a:lnTo>
                  <a:lnTo>
                    <a:pt x="12649" y="126845"/>
                  </a:lnTo>
                  <a:lnTo>
                    <a:pt x="17383" y="123397"/>
                  </a:lnTo>
                  <a:lnTo>
                    <a:pt x="23393" y="117538"/>
                  </a:lnTo>
                  <a:lnTo>
                    <a:pt x="24727" y="115691"/>
                  </a:lnTo>
                  <a:lnTo>
                    <a:pt x="26632" y="112462"/>
                  </a:lnTo>
                  <a:lnTo>
                    <a:pt x="26041" y="111023"/>
                  </a:lnTo>
                  <a:lnTo>
                    <a:pt x="24803" y="110204"/>
                  </a:lnTo>
                  <a:lnTo>
                    <a:pt x="29156" y="103537"/>
                  </a:lnTo>
                  <a:lnTo>
                    <a:pt x="30690" y="102327"/>
                  </a:lnTo>
                  <a:lnTo>
                    <a:pt x="33471" y="102127"/>
                  </a:lnTo>
                  <a:lnTo>
                    <a:pt x="35519" y="101070"/>
                  </a:lnTo>
                  <a:lnTo>
                    <a:pt x="36424" y="101070"/>
                  </a:lnTo>
                  <a:lnTo>
                    <a:pt x="37233" y="100670"/>
                  </a:lnTo>
                  <a:lnTo>
                    <a:pt x="39024" y="98670"/>
                  </a:lnTo>
                  <a:lnTo>
                    <a:pt x="36262" y="97393"/>
                  </a:lnTo>
                  <a:lnTo>
                    <a:pt x="33404" y="96736"/>
                  </a:lnTo>
                  <a:lnTo>
                    <a:pt x="24574" y="97431"/>
                  </a:lnTo>
                  <a:lnTo>
                    <a:pt x="23413" y="97279"/>
                  </a:lnTo>
                  <a:lnTo>
                    <a:pt x="22317" y="96660"/>
                  </a:lnTo>
                  <a:lnTo>
                    <a:pt x="21603" y="95774"/>
                  </a:lnTo>
                  <a:lnTo>
                    <a:pt x="21069" y="93497"/>
                  </a:lnTo>
                  <a:lnTo>
                    <a:pt x="20422" y="92983"/>
                  </a:lnTo>
                  <a:lnTo>
                    <a:pt x="18431" y="92983"/>
                  </a:lnTo>
                  <a:lnTo>
                    <a:pt x="16459" y="93679"/>
                  </a:lnTo>
                  <a:lnTo>
                    <a:pt x="15088" y="93612"/>
                  </a:lnTo>
                  <a:lnTo>
                    <a:pt x="13745" y="92612"/>
                  </a:lnTo>
                  <a:lnTo>
                    <a:pt x="15897" y="90278"/>
                  </a:lnTo>
                  <a:lnTo>
                    <a:pt x="13125" y="89726"/>
                  </a:lnTo>
                  <a:lnTo>
                    <a:pt x="10325" y="90183"/>
                  </a:lnTo>
                  <a:lnTo>
                    <a:pt x="7991" y="89468"/>
                  </a:lnTo>
                  <a:lnTo>
                    <a:pt x="7925" y="88002"/>
                  </a:lnTo>
                  <a:lnTo>
                    <a:pt x="8982" y="86535"/>
                  </a:lnTo>
                  <a:lnTo>
                    <a:pt x="7591" y="85144"/>
                  </a:lnTo>
                  <a:lnTo>
                    <a:pt x="7306" y="83382"/>
                  </a:lnTo>
                  <a:lnTo>
                    <a:pt x="8782" y="82515"/>
                  </a:lnTo>
                  <a:lnTo>
                    <a:pt x="10392" y="82801"/>
                  </a:lnTo>
                  <a:lnTo>
                    <a:pt x="13678" y="81496"/>
                  </a:lnTo>
                  <a:lnTo>
                    <a:pt x="17897" y="80867"/>
                  </a:lnTo>
                  <a:lnTo>
                    <a:pt x="14278" y="79581"/>
                  </a:lnTo>
                  <a:lnTo>
                    <a:pt x="12840" y="78477"/>
                  </a:lnTo>
                  <a:lnTo>
                    <a:pt x="12773" y="76791"/>
                  </a:lnTo>
                  <a:lnTo>
                    <a:pt x="13059" y="75343"/>
                  </a:lnTo>
                  <a:lnTo>
                    <a:pt x="17240" y="72895"/>
                  </a:lnTo>
                  <a:lnTo>
                    <a:pt x="21698" y="71819"/>
                  </a:lnTo>
                  <a:lnTo>
                    <a:pt x="21365" y="70209"/>
                  </a:lnTo>
                  <a:lnTo>
                    <a:pt x="21679" y="68456"/>
                  </a:lnTo>
                  <a:lnTo>
                    <a:pt x="17174" y="67951"/>
                  </a:lnTo>
                  <a:lnTo>
                    <a:pt x="12725" y="69180"/>
                  </a:lnTo>
                  <a:lnTo>
                    <a:pt x="13202" y="65837"/>
                  </a:lnTo>
                  <a:lnTo>
                    <a:pt x="14268" y="62808"/>
                  </a:lnTo>
                  <a:lnTo>
                    <a:pt x="14478" y="60817"/>
                  </a:lnTo>
                  <a:lnTo>
                    <a:pt x="14268" y="58674"/>
                  </a:lnTo>
                  <a:lnTo>
                    <a:pt x="12182" y="59589"/>
                  </a:lnTo>
                  <a:lnTo>
                    <a:pt x="11944" y="56569"/>
                  </a:lnTo>
                  <a:lnTo>
                    <a:pt x="11049" y="54502"/>
                  </a:lnTo>
                  <a:lnTo>
                    <a:pt x="7953" y="55931"/>
                  </a:lnTo>
                  <a:lnTo>
                    <a:pt x="8029" y="53188"/>
                  </a:lnTo>
                  <a:lnTo>
                    <a:pt x="8925" y="51273"/>
                  </a:lnTo>
                  <a:lnTo>
                    <a:pt x="10535" y="50445"/>
                  </a:lnTo>
                  <a:lnTo>
                    <a:pt x="12135" y="50806"/>
                  </a:lnTo>
                  <a:lnTo>
                    <a:pt x="15116" y="50778"/>
                  </a:lnTo>
                  <a:lnTo>
                    <a:pt x="17993" y="49330"/>
                  </a:lnTo>
                  <a:lnTo>
                    <a:pt x="22136" y="48959"/>
                  </a:lnTo>
                  <a:lnTo>
                    <a:pt x="28727" y="49406"/>
                  </a:lnTo>
                  <a:lnTo>
                    <a:pt x="33261" y="53473"/>
                  </a:lnTo>
                  <a:lnTo>
                    <a:pt x="34433" y="52750"/>
                  </a:lnTo>
                  <a:lnTo>
                    <a:pt x="36243" y="50178"/>
                  </a:lnTo>
                  <a:lnTo>
                    <a:pt x="37090" y="49892"/>
                  </a:lnTo>
                  <a:lnTo>
                    <a:pt x="43929" y="51016"/>
                  </a:lnTo>
                  <a:lnTo>
                    <a:pt x="48168" y="52492"/>
                  </a:lnTo>
                  <a:lnTo>
                    <a:pt x="49301" y="52035"/>
                  </a:lnTo>
                  <a:lnTo>
                    <a:pt x="48692" y="49187"/>
                  </a:lnTo>
                  <a:lnTo>
                    <a:pt x="47235" y="47206"/>
                  </a:lnTo>
                  <a:lnTo>
                    <a:pt x="49063" y="44615"/>
                  </a:lnTo>
                  <a:lnTo>
                    <a:pt x="51292" y="42853"/>
                  </a:lnTo>
                  <a:lnTo>
                    <a:pt x="52787" y="41977"/>
                  </a:lnTo>
                  <a:lnTo>
                    <a:pt x="56226" y="40882"/>
                  </a:lnTo>
                  <a:lnTo>
                    <a:pt x="57731" y="39853"/>
                  </a:lnTo>
                  <a:lnTo>
                    <a:pt x="58731" y="36500"/>
                  </a:lnTo>
                  <a:lnTo>
                    <a:pt x="60322" y="33709"/>
                  </a:lnTo>
                  <a:lnTo>
                    <a:pt x="51683" y="35157"/>
                  </a:lnTo>
                  <a:lnTo>
                    <a:pt x="43462" y="31842"/>
                  </a:lnTo>
                  <a:lnTo>
                    <a:pt x="44768" y="29499"/>
                  </a:lnTo>
                  <a:lnTo>
                    <a:pt x="46501" y="28165"/>
                  </a:lnTo>
                  <a:lnTo>
                    <a:pt x="49492" y="27146"/>
                  </a:lnTo>
                  <a:lnTo>
                    <a:pt x="49778" y="25918"/>
                  </a:lnTo>
                  <a:lnTo>
                    <a:pt x="51292" y="24898"/>
                  </a:lnTo>
                  <a:lnTo>
                    <a:pt x="53797" y="22212"/>
                  </a:lnTo>
                  <a:lnTo>
                    <a:pt x="52873" y="18698"/>
                  </a:lnTo>
                  <a:lnTo>
                    <a:pt x="53369" y="16126"/>
                  </a:lnTo>
                  <a:lnTo>
                    <a:pt x="55169" y="14449"/>
                  </a:lnTo>
                  <a:lnTo>
                    <a:pt x="55731" y="12040"/>
                  </a:lnTo>
                  <a:lnTo>
                    <a:pt x="56531" y="10258"/>
                  </a:lnTo>
                  <a:lnTo>
                    <a:pt x="60188" y="9620"/>
                  </a:lnTo>
                  <a:lnTo>
                    <a:pt x="63703" y="7972"/>
                  </a:lnTo>
                  <a:lnTo>
                    <a:pt x="64970" y="8134"/>
                  </a:lnTo>
                  <a:lnTo>
                    <a:pt x="69132" y="7753"/>
                  </a:lnTo>
                  <a:lnTo>
                    <a:pt x="70533" y="8420"/>
                  </a:lnTo>
                  <a:lnTo>
                    <a:pt x="70209" y="5496"/>
                  </a:lnTo>
                  <a:lnTo>
                    <a:pt x="72762" y="5115"/>
                  </a:lnTo>
                  <a:lnTo>
                    <a:pt x="73752" y="5696"/>
                  </a:lnTo>
                  <a:lnTo>
                    <a:pt x="74190" y="7772"/>
                  </a:lnTo>
                  <a:lnTo>
                    <a:pt x="75352" y="9097"/>
                  </a:lnTo>
                  <a:lnTo>
                    <a:pt x="75714" y="11392"/>
                  </a:lnTo>
                  <a:lnTo>
                    <a:pt x="74933" y="13164"/>
                  </a:lnTo>
                  <a:lnTo>
                    <a:pt x="73628" y="14526"/>
                  </a:lnTo>
                  <a:lnTo>
                    <a:pt x="74819" y="15916"/>
                  </a:lnTo>
                  <a:lnTo>
                    <a:pt x="72980" y="18440"/>
                  </a:lnTo>
                  <a:lnTo>
                    <a:pt x="74962" y="17364"/>
                  </a:lnTo>
                  <a:lnTo>
                    <a:pt x="77791" y="14897"/>
                  </a:lnTo>
                  <a:lnTo>
                    <a:pt x="77638" y="12887"/>
                  </a:lnTo>
                  <a:lnTo>
                    <a:pt x="77162" y="10344"/>
                  </a:lnTo>
                  <a:lnTo>
                    <a:pt x="76372" y="8049"/>
                  </a:lnTo>
                  <a:lnTo>
                    <a:pt x="76733" y="5515"/>
                  </a:lnTo>
                  <a:lnTo>
                    <a:pt x="78324" y="3934"/>
                  </a:lnTo>
                  <a:lnTo>
                    <a:pt x="82505" y="3134"/>
                  </a:lnTo>
                  <a:lnTo>
                    <a:pt x="80791" y="257"/>
                  </a:lnTo>
                  <a:lnTo>
                    <a:pt x="82315" y="0"/>
                  </a:lnTo>
                  <a:lnTo>
                    <a:pt x="83972" y="600"/>
                  </a:lnTo>
                  <a:lnTo>
                    <a:pt x="86411" y="2838"/>
                  </a:lnTo>
                  <a:lnTo>
                    <a:pt x="88954" y="4601"/>
                  </a:lnTo>
                  <a:lnTo>
                    <a:pt x="91583" y="5991"/>
                  </a:lnTo>
                  <a:lnTo>
                    <a:pt x="89049" y="8773"/>
                  </a:lnTo>
                  <a:lnTo>
                    <a:pt x="85935" y="10706"/>
                  </a:lnTo>
                  <a:lnTo>
                    <a:pt x="84744" y="12811"/>
                  </a:lnTo>
                  <a:close/>
                  <a:moveTo>
                    <a:pt x="11782" y="66961"/>
                  </a:moveTo>
                  <a:lnTo>
                    <a:pt x="11668" y="68256"/>
                  </a:lnTo>
                  <a:lnTo>
                    <a:pt x="9687" y="66628"/>
                  </a:lnTo>
                  <a:lnTo>
                    <a:pt x="8725" y="64846"/>
                  </a:lnTo>
                  <a:lnTo>
                    <a:pt x="3296" y="64037"/>
                  </a:lnTo>
                  <a:lnTo>
                    <a:pt x="5553" y="62256"/>
                  </a:lnTo>
                  <a:lnTo>
                    <a:pt x="6658" y="62779"/>
                  </a:lnTo>
                  <a:lnTo>
                    <a:pt x="10496" y="62855"/>
                  </a:lnTo>
                  <a:lnTo>
                    <a:pt x="11573" y="63598"/>
                  </a:lnTo>
                  <a:lnTo>
                    <a:pt x="11782" y="66961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2" name="Forme libre : forme 28">
              <a:extLst>
                <a:ext uri="{FF2B5EF4-FFF2-40B4-BE49-F238E27FC236}">
                  <a16:creationId xmlns:a16="http://schemas.microsoft.com/office/drawing/2014/main" id="{24DB46C5-EE36-0AB4-6884-0205CD2622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542835" y="3499458"/>
              <a:ext cx="41394" cy="55052"/>
            </a:xfrm>
            <a:custGeom>
              <a:avLst/>
              <a:gdLst>
                <a:gd name="connsiteX0" fmla="*/ 9973 w 11953"/>
                <a:gd name="connsiteY0" fmla="*/ 10135 h 15897"/>
                <a:gd name="connsiteX1" fmla="*/ 4572 w 11953"/>
                <a:gd name="connsiteY1" fmla="*/ 15897 h 15897"/>
                <a:gd name="connsiteX2" fmla="*/ 2381 w 11953"/>
                <a:gd name="connsiteY2" fmla="*/ 14869 h 15897"/>
                <a:gd name="connsiteX3" fmla="*/ 515 w 11953"/>
                <a:gd name="connsiteY3" fmla="*/ 15412 h 15897"/>
                <a:gd name="connsiteX4" fmla="*/ 0 w 11953"/>
                <a:gd name="connsiteY4" fmla="*/ 15250 h 15897"/>
                <a:gd name="connsiteX5" fmla="*/ 1057 w 11953"/>
                <a:gd name="connsiteY5" fmla="*/ 13164 h 15897"/>
                <a:gd name="connsiteX6" fmla="*/ 2315 w 11953"/>
                <a:gd name="connsiteY6" fmla="*/ 8334 h 15897"/>
                <a:gd name="connsiteX7" fmla="*/ 4553 w 11953"/>
                <a:gd name="connsiteY7" fmla="*/ 6420 h 15897"/>
                <a:gd name="connsiteX8" fmla="*/ 7391 w 11953"/>
                <a:gd name="connsiteY8" fmla="*/ 1391 h 15897"/>
                <a:gd name="connsiteX9" fmla="*/ 9640 w 11953"/>
                <a:gd name="connsiteY9" fmla="*/ 0 h 15897"/>
                <a:gd name="connsiteX10" fmla="*/ 10411 w 11953"/>
                <a:gd name="connsiteY10" fmla="*/ 191 h 15897"/>
                <a:gd name="connsiteX11" fmla="*/ 10906 w 11953"/>
                <a:gd name="connsiteY11" fmla="*/ 667 h 15897"/>
                <a:gd name="connsiteX12" fmla="*/ 11954 w 11953"/>
                <a:gd name="connsiteY12" fmla="*/ 6315 h 15897"/>
                <a:gd name="connsiteX13" fmla="*/ 10506 w 11953"/>
                <a:gd name="connsiteY13" fmla="*/ 8306 h 1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953" h="15897">
                  <a:moveTo>
                    <a:pt x="9973" y="10135"/>
                  </a:moveTo>
                  <a:lnTo>
                    <a:pt x="4572" y="15897"/>
                  </a:lnTo>
                  <a:lnTo>
                    <a:pt x="2381" y="14869"/>
                  </a:lnTo>
                  <a:lnTo>
                    <a:pt x="515" y="15412"/>
                  </a:lnTo>
                  <a:lnTo>
                    <a:pt x="0" y="15250"/>
                  </a:lnTo>
                  <a:lnTo>
                    <a:pt x="1057" y="13164"/>
                  </a:lnTo>
                  <a:lnTo>
                    <a:pt x="2315" y="8334"/>
                  </a:lnTo>
                  <a:lnTo>
                    <a:pt x="4553" y="6420"/>
                  </a:lnTo>
                  <a:lnTo>
                    <a:pt x="7391" y="1391"/>
                  </a:lnTo>
                  <a:lnTo>
                    <a:pt x="9640" y="0"/>
                  </a:lnTo>
                  <a:lnTo>
                    <a:pt x="10411" y="191"/>
                  </a:lnTo>
                  <a:lnTo>
                    <a:pt x="10906" y="667"/>
                  </a:lnTo>
                  <a:lnTo>
                    <a:pt x="11954" y="6315"/>
                  </a:lnTo>
                  <a:lnTo>
                    <a:pt x="10506" y="8306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3" name="Forme libre : forme 29">
              <a:extLst>
                <a:ext uri="{FF2B5EF4-FFF2-40B4-BE49-F238E27FC236}">
                  <a16:creationId xmlns:a16="http://schemas.microsoft.com/office/drawing/2014/main" id="{45AFDFD4-5FA4-F014-9471-9C59B77C0A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6720030" y="1195729"/>
              <a:ext cx="1010835" cy="682466"/>
            </a:xfrm>
            <a:custGeom>
              <a:avLst/>
              <a:gdLst>
                <a:gd name="connsiteX0" fmla="*/ 238782 w 291893"/>
                <a:gd name="connsiteY0" fmla="*/ 19831 h 197072"/>
                <a:gd name="connsiteX1" fmla="*/ 241849 w 291893"/>
                <a:gd name="connsiteY1" fmla="*/ 20079 h 197072"/>
                <a:gd name="connsiteX2" fmla="*/ 246859 w 291893"/>
                <a:gd name="connsiteY2" fmla="*/ 17802 h 197072"/>
                <a:gd name="connsiteX3" fmla="*/ 248955 w 291893"/>
                <a:gd name="connsiteY3" fmla="*/ 16307 h 197072"/>
                <a:gd name="connsiteX4" fmla="*/ 254108 w 291893"/>
                <a:gd name="connsiteY4" fmla="*/ 11116 h 197072"/>
                <a:gd name="connsiteX5" fmla="*/ 257147 w 291893"/>
                <a:gd name="connsiteY5" fmla="*/ 9668 h 197072"/>
                <a:gd name="connsiteX6" fmla="*/ 261842 w 291893"/>
                <a:gd name="connsiteY6" fmla="*/ 10030 h 197072"/>
                <a:gd name="connsiteX7" fmla="*/ 264100 w 291893"/>
                <a:gd name="connsiteY7" fmla="*/ 9668 h 197072"/>
                <a:gd name="connsiteX8" fmla="*/ 264157 w 291893"/>
                <a:gd name="connsiteY8" fmla="*/ 10173 h 197072"/>
                <a:gd name="connsiteX9" fmla="*/ 261271 w 291893"/>
                <a:gd name="connsiteY9" fmla="*/ 12278 h 197072"/>
                <a:gd name="connsiteX10" fmla="*/ 258966 w 291893"/>
                <a:gd name="connsiteY10" fmla="*/ 13002 h 197072"/>
                <a:gd name="connsiteX11" fmla="*/ 255651 w 291893"/>
                <a:gd name="connsiteY11" fmla="*/ 16135 h 197072"/>
                <a:gd name="connsiteX12" fmla="*/ 252498 w 291893"/>
                <a:gd name="connsiteY12" fmla="*/ 23184 h 197072"/>
                <a:gd name="connsiteX13" fmla="*/ 250165 w 291893"/>
                <a:gd name="connsiteY13" fmla="*/ 26632 h 197072"/>
                <a:gd name="connsiteX14" fmla="*/ 250184 w 291893"/>
                <a:gd name="connsiteY14" fmla="*/ 28165 h 197072"/>
                <a:gd name="connsiteX15" fmla="*/ 253022 w 291893"/>
                <a:gd name="connsiteY15" fmla="*/ 30880 h 197072"/>
                <a:gd name="connsiteX16" fmla="*/ 256137 w 291893"/>
                <a:gd name="connsiteY16" fmla="*/ 32414 h 197072"/>
                <a:gd name="connsiteX17" fmla="*/ 258994 w 291893"/>
                <a:gd name="connsiteY17" fmla="*/ 31023 h 197072"/>
                <a:gd name="connsiteX18" fmla="*/ 260242 w 291893"/>
                <a:gd name="connsiteY18" fmla="*/ 31566 h 197072"/>
                <a:gd name="connsiteX19" fmla="*/ 261366 w 291893"/>
                <a:gd name="connsiteY19" fmla="*/ 33576 h 197072"/>
                <a:gd name="connsiteX20" fmla="*/ 262004 w 291893"/>
                <a:gd name="connsiteY20" fmla="*/ 35566 h 197072"/>
                <a:gd name="connsiteX21" fmla="*/ 262147 w 291893"/>
                <a:gd name="connsiteY21" fmla="*/ 37538 h 197072"/>
                <a:gd name="connsiteX22" fmla="*/ 261633 w 291893"/>
                <a:gd name="connsiteY22" fmla="*/ 41653 h 197072"/>
                <a:gd name="connsiteX23" fmla="*/ 259918 w 291893"/>
                <a:gd name="connsiteY23" fmla="*/ 45777 h 197072"/>
                <a:gd name="connsiteX24" fmla="*/ 257594 w 291893"/>
                <a:gd name="connsiteY24" fmla="*/ 49225 h 197072"/>
                <a:gd name="connsiteX25" fmla="*/ 257918 w 291893"/>
                <a:gd name="connsiteY25" fmla="*/ 50311 h 197072"/>
                <a:gd name="connsiteX26" fmla="*/ 259785 w 291893"/>
                <a:gd name="connsiteY26" fmla="*/ 50863 h 197072"/>
                <a:gd name="connsiteX27" fmla="*/ 268634 w 291893"/>
                <a:gd name="connsiteY27" fmla="*/ 48635 h 197072"/>
                <a:gd name="connsiteX28" fmla="*/ 269557 w 291893"/>
                <a:gd name="connsiteY28" fmla="*/ 48797 h 197072"/>
                <a:gd name="connsiteX29" fmla="*/ 270062 w 291893"/>
                <a:gd name="connsiteY29" fmla="*/ 49911 h 197072"/>
                <a:gd name="connsiteX30" fmla="*/ 270167 w 291893"/>
                <a:gd name="connsiteY30" fmla="*/ 51968 h 197072"/>
                <a:gd name="connsiteX31" fmla="*/ 270653 w 291893"/>
                <a:gd name="connsiteY31" fmla="*/ 53826 h 197072"/>
                <a:gd name="connsiteX32" fmla="*/ 271529 w 291893"/>
                <a:gd name="connsiteY32" fmla="*/ 55493 h 197072"/>
                <a:gd name="connsiteX33" fmla="*/ 271253 w 291893"/>
                <a:gd name="connsiteY33" fmla="*/ 57188 h 197072"/>
                <a:gd name="connsiteX34" fmla="*/ 267376 w 291893"/>
                <a:gd name="connsiteY34" fmla="*/ 62551 h 197072"/>
                <a:gd name="connsiteX35" fmla="*/ 271958 w 291893"/>
                <a:gd name="connsiteY35" fmla="*/ 59179 h 197072"/>
                <a:gd name="connsiteX36" fmla="*/ 275568 w 291893"/>
                <a:gd name="connsiteY36" fmla="*/ 58226 h 197072"/>
                <a:gd name="connsiteX37" fmla="*/ 281759 w 291893"/>
                <a:gd name="connsiteY37" fmla="*/ 59922 h 197072"/>
                <a:gd name="connsiteX38" fmla="*/ 284293 w 291893"/>
                <a:gd name="connsiteY38" fmla="*/ 61865 h 197072"/>
                <a:gd name="connsiteX39" fmla="*/ 285769 w 291893"/>
                <a:gd name="connsiteY39" fmla="*/ 65284 h 197072"/>
                <a:gd name="connsiteX40" fmla="*/ 287912 w 291893"/>
                <a:gd name="connsiteY40" fmla="*/ 64151 h 197072"/>
                <a:gd name="connsiteX41" fmla="*/ 288846 w 291893"/>
                <a:gd name="connsiteY41" fmla="*/ 64218 h 197072"/>
                <a:gd name="connsiteX42" fmla="*/ 290246 w 291893"/>
                <a:gd name="connsiteY42" fmla="*/ 66161 h 197072"/>
                <a:gd name="connsiteX43" fmla="*/ 290293 w 291893"/>
                <a:gd name="connsiteY43" fmla="*/ 68237 h 197072"/>
                <a:gd name="connsiteX44" fmla="*/ 289265 w 291893"/>
                <a:gd name="connsiteY44" fmla="*/ 71180 h 197072"/>
                <a:gd name="connsiteX45" fmla="*/ 288912 w 291893"/>
                <a:gd name="connsiteY45" fmla="*/ 73905 h 197072"/>
                <a:gd name="connsiteX46" fmla="*/ 287836 w 291893"/>
                <a:gd name="connsiteY46" fmla="*/ 75019 h 197072"/>
                <a:gd name="connsiteX47" fmla="*/ 285826 w 291893"/>
                <a:gd name="connsiteY47" fmla="*/ 75829 h 197072"/>
                <a:gd name="connsiteX48" fmla="*/ 285255 w 291893"/>
                <a:gd name="connsiteY48" fmla="*/ 76733 h 197072"/>
                <a:gd name="connsiteX49" fmla="*/ 286140 w 291893"/>
                <a:gd name="connsiteY49" fmla="*/ 78800 h 197072"/>
                <a:gd name="connsiteX50" fmla="*/ 287446 w 291893"/>
                <a:gd name="connsiteY50" fmla="*/ 80820 h 197072"/>
                <a:gd name="connsiteX51" fmla="*/ 289293 w 291893"/>
                <a:gd name="connsiteY51" fmla="*/ 80905 h 197072"/>
                <a:gd name="connsiteX52" fmla="*/ 289627 w 291893"/>
                <a:gd name="connsiteY52" fmla="*/ 81839 h 197072"/>
                <a:gd name="connsiteX53" fmla="*/ 289665 w 291893"/>
                <a:gd name="connsiteY53" fmla="*/ 82953 h 197072"/>
                <a:gd name="connsiteX54" fmla="*/ 289417 w 291893"/>
                <a:gd name="connsiteY54" fmla="*/ 84268 h 197072"/>
                <a:gd name="connsiteX55" fmla="*/ 288817 w 291893"/>
                <a:gd name="connsiteY55" fmla="*/ 85163 h 197072"/>
                <a:gd name="connsiteX56" fmla="*/ 287855 w 291893"/>
                <a:gd name="connsiteY56" fmla="*/ 85658 h 197072"/>
                <a:gd name="connsiteX57" fmla="*/ 286588 w 291893"/>
                <a:gd name="connsiteY57" fmla="*/ 87097 h 197072"/>
                <a:gd name="connsiteX58" fmla="*/ 291236 w 291893"/>
                <a:gd name="connsiteY58" fmla="*/ 90240 h 197072"/>
                <a:gd name="connsiteX59" fmla="*/ 291827 w 291893"/>
                <a:gd name="connsiteY59" fmla="*/ 91411 h 197072"/>
                <a:gd name="connsiteX60" fmla="*/ 291894 w 291893"/>
                <a:gd name="connsiteY60" fmla="*/ 93116 h 197072"/>
                <a:gd name="connsiteX61" fmla="*/ 291532 w 291893"/>
                <a:gd name="connsiteY61" fmla="*/ 94993 h 197072"/>
                <a:gd name="connsiteX62" fmla="*/ 290741 w 291893"/>
                <a:gd name="connsiteY62" fmla="*/ 97031 h 197072"/>
                <a:gd name="connsiteX63" fmla="*/ 289341 w 291893"/>
                <a:gd name="connsiteY63" fmla="*/ 98231 h 197072"/>
                <a:gd name="connsiteX64" fmla="*/ 285988 w 291893"/>
                <a:gd name="connsiteY64" fmla="*/ 98431 h 197072"/>
                <a:gd name="connsiteX65" fmla="*/ 283931 w 291893"/>
                <a:gd name="connsiteY65" fmla="*/ 99755 h 197072"/>
                <a:gd name="connsiteX66" fmla="*/ 284636 w 291893"/>
                <a:gd name="connsiteY66" fmla="*/ 101946 h 197072"/>
                <a:gd name="connsiteX67" fmla="*/ 284578 w 291893"/>
                <a:gd name="connsiteY67" fmla="*/ 104718 h 197072"/>
                <a:gd name="connsiteX68" fmla="*/ 283959 w 291893"/>
                <a:gd name="connsiteY68" fmla="*/ 107985 h 197072"/>
                <a:gd name="connsiteX69" fmla="*/ 281321 w 291893"/>
                <a:gd name="connsiteY69" fmla="*/ 112909 h 197072"/>
                <a:gd name="connsiteX70" fmla="*/ 278844 w 291893"/>
                <a:gd name="connsiteY70" fmla="*/ 115529 h 197072"/>
                <a:gd name="connsiteX71" fmla="*/ 276415 w 291893"/>
                <a:gd name="connsiteY71" fmla="*/ 117224 h 197072"/>
                <a:gd name="connsiteX72" fmla="*/ 272091 w 291893"/>
                <a:gd name="connsiteY72" fmla="*/ 116624 h 197072"/>
                <a:gd name="connsiteX73" fmla="*/ 269738 w 291893"/>
                <a:gd name="connsiteY73" fmla="*/ 115319 h 197072"/>
                <a:gd name="connsiteX74" fmla="*/ 269996 w 291893"/>
                <a:gd name="connsiteY74" fmla="*/ 119558 h 197072"/>
                <a:gd name="connsiteX75" fmla="*/ 267595 w 291893"/>
                <a:gd name="connsiteY75" fmla="*/ 122158 h 197072"/>
                <a:gd name="connsiteX76" fmla="*/ 268043 w 291893"/>
                <a:gd name="connsiteY76" fmla="*/ 124330 h 197072"/>
                <a:gd name="connsiteX77" fmla="*/ 268881 w 291893"/>
                <a:gd name="connsiteY77" fmla="*/ 125435 h 197072"/>
                <a:gd name="connsiteX78" fmla="*/ 268472 w 291893"/>
                <a:gd name="connsiteY78" fmla="*/ 128216 h 197072"/>
                <a:gd name="connsiteX79" fmla="*/ 267329 w 291893"/>
                <a:gd name="connsiteY79" fmla="*/ 130969 h 197072"/>
                <a:gd name="connsiteX80" fmla="*/ 265414 w 291893"/>
                <a:gd name="connsiteY80" fmla="*/ 133941 h 197072"/>
                <a:gd name="connsiteX81" fmla="*/ 263242 w 291893"/>
                <a:gd name="connsiteY81" fmla="*/ 135798 h 197072"/>
                <a:gd name="connsiteX82" fmla="*/ 258928 w 291893"/>
                <a:gd name="connsiteY82" fmla="*/ 138036 h 197072"/>
                <a:gd name="connsiteX83" fmla="*/ 255241 w 291893"/>
                <a:gd name="connsiteY83" fmla="*/ 141742 h 197072"/>
                <a:gd name="connsiteX84" fmla="*/ 252727 w 291893"/>
                <a:gd name="connsiteY84" fmla="*/ 143208 h 197072"/>
                <a:gd name="connsiteX85" fmla="*/ 246459 w 291893"/>
                <a:gd name="connsiteY85" fmla="*/ 143142 h 197072"/>
                <a:gd name="connsiteX86" fmla="*/ 240068 w 291893"/>
                <a:gd name="connsiteY86" fmla="*/ 145523 h 197072"/>
                <a:gd name="connsiteX87" fmla="*/ 231039 w 291893"/>
                <a:gd name="connsiteY87" fmla="*/ 150533 h 197072"/>
                <a:gd name="connsiteX88" fmla="*/ 224952 w 291893"/>
                <a:gd name="connsiteY88" fmla="*/ 154534 h 197072"/>
                <a:gd name="connsiteX89" fmla="*/ 220256 w 291893"/>
                <a:gd name="connsiteY89" fmla="*/ 159058 h 197072"/>
                <a:gd name="connsiteX90" fmla="*/ 214055 w 291893"/>
                <a:gd name="connsiteY90" fmla="*/ 166411 h 197072"/>
                <a:gd name="connsiteX91" fmla="*/ 209455 w 291893"/>
                <a:gd name="connsiteY91" fmla="*/ 169497 h 197072"/>
                <a:gd name="connsiteX92" fmla="*/ 206797 w 291893"/>
                <a:gd name="connsiteY92" fmla="*/ 170326 h 197072"/>
                <a:gd name="connsiteX93" fmla="*/ 201625 w 291893"/>
                <a:gd name="connsiteY93" fmla="*/ 170983 h 197072"/>
                <a:gd name="connsiteX94" fmla="*/ 197291 w 291893"/>
                <a:gd name="connsiteY94" fmla="*/ 172974 h 197072"/>
                <a:gd name="connsiteX95" fmla="*/ 182899 w 291893"/>
                <a:gd name="connsiteY95" fmla="*/ 176689 h 197072"/>
                <a:gd name="connsiteX96" fmla="*/ 178032 w 291893"/>
                <a:gd name="connsiteY96" fmla="*/ 178718 h 197072"/>
                <a:gd name="connsiteX97" fmla="*/ 177403 w 291893"/>
                <a:gd name="connsiteY97" fmla="*/ 180556 h 197072"/>
                <a:gd name="connsiteX98" fmla="*/ 175384 w 291893"/>
                <a:gd name="connsiteY98" fmla="*/ 183328 h 197072"/>
                <a:gd name="connsiteX99" fmla="*/ 175260 w 291893"/>
                <a:gd name="connsiteY99" fmla="*/ 184328 h 197072"/>
                <a:gd name="connsiteX100" fmla="*/ 176136 w 291893"/>
                <a:gd name="connsiteY100" fmla="*/ 185099 h 197072"/>
                <a:gd name="connsiteX101" fmla="*/ 176308 w 291893"/>
                <a:gd name="connsiteY101" fmla="*/ 186099 h 197072"/>
                <a:gd name="connsiteX102" fmla="*/ 174527 w 291893"/>
                <a:gd name="connsiteY102" fmla="*/ 189367 h 197072"/>
                <a:gd name="connsiteX103" fmla="*/ 170964 w 291893"/>
                <a:gd name="connsiteY103" fmla="*/ 191719 h 197072"/>
                <a:gd name="connsiteX104" fmla="*/ 169288 w 291893"/>
                <a:gd name="connsiteY104" fmla="*/ 191681 h 197072"/>
                <a:gd name="connsiteX105" fmla="*/ 167249 w 291893"/>
                <a:gd name="connsiteY105" fmla="*/ 189652 h 197072"/>
                <a:gd name="connsiteX106" fmla="*/ 166364 w 291893"/>
                <a:gd name="connsiteY106" fmla="*/ 189729 h 197072"/>
                <a:gd name="connsiteX107" fmla="*/ 166011 w 291893"/>
                <a:gd name="connsiteY107" fmla="*/ 190043 h 197072"/>
                <a:gd name="connsiteX108" fmla="*/ 165992 w 291893"/>
                <a:gd name="connsiteY108" fmla="*/ 190672 h 197072"/>
                <a:gd name="connsiteX109" fmla="*/ 167164 w 291893"/>
                <a:gd name="connsiteY109" fmla="*/ 193110 h 197072"/>
                <a:gd name="connsiteX110" fmla="*/ 165011 w 291893"/>
                <a:gd name="connsiteY110" fmla="*/ 194234 h 197072"/>
                <a:gd name="connsiteX111" fmla="*/ 155638 w 291893"/>
                <a:gd name="connsiteY111" fmla="*/ 197072 h 197072"/>
                <a:gd name="connsiteX112" fmla="*/ 139684 w 291893"/>
                <a:gd name="connsiteY112" fmla="*/ 194977 h 197072"/>
                <a:gd name="connsiteX113" fmla="*/ 133369 w 291893"/>
                <a:gd name="connsiteY113" fmla="*/ 192796 h 197072"/>
                <a:gd name="connsiteX114" fmla="*/ 125568 w 291893"/>
                <a:gd name="connsiteY114" fmla="*/ 189309 h 197072"/>
                <a:gd name="connsiteX115" fmla="*/ 120929 w 291893"/>
                <a:gd name="connsiteY115" fmla="*/ 188385 h 197072"/>
                <a:gd name="connsiteX116" fmla="*/ 114348 w 291893"/>
                <a:gd name="connsiteY116" fmla="*/ 188157 h 197072"/>
                <a:gd name="connsiteX117" fmla="*/ 108938 w 291893"/>
                <a:gd name="connsiteY117" fmla="*/ 183280 h 197072"/>
                <a:gd name="connsiteX118" fmla="*/ 106432 w 291893"/>
                <a:gd name="connsiteY118" fmla="*/ 180261 h 197072"/>
                <a:gd name="connsiteX119" fmla="*/ 106232 w 291893"/>
                <a:gd name="connsiteY119" fmla="*/ 179003 h 197072"/>
                <a:gd name="connsiteX120" fmla="*/ 106518 w 291893"/>
                <a:gd name="connsiteY120" fmla="*/ 177565 h 197072"/>
                <a:gd name="connsiteX121" fmla="*/ 107080 w 291893"/>
                <a:gd name="connsiteY121" fmla="*/ 176584 h 197072"/>
                <a:gd name="connsiteX122" fmla="*/ 107918 w 291893"/>
                <a:gd name="connsiteY122" fmla="*/ 176060 h 197072"/>
                <a:gd name="connsiteX123" fmla="*/ 109699 w 291893"/>
                <a:gd name="connsiteY123" fmla="*/ 176003 h 197072"/>
                <a:gd name="connsiteX124" fmla="*/ 109937 w 291893"/>
                <a:gd name="connsiteY124" fmla="*/ 175574 h 197072"/>
                <a:gd name="connsiteX125" fmla="*/ 108575 w 291893"/>
                <a:gd name="connsiteY125" fmla="*/ 173145 h 197072"/>
                <a:gd name="connsiteX126" fmla="*/ 107270 w 291893"/>
                <a:gd name="connsiteY126" fmla="*/ 173936 h 197072"/>
                <a:gd name="connsiteX127" fmla="*/ 103794 w 291893"/>
                <a:gd name="connsiteY127" fmla="*/ 177365 h 197072"/>
                <a:gd name="connsiteX128" fmla="*/ 102241 w 291893"/>
                <a:gd name="connsiteY128" fmla="*/ 177241 h 197072"/>
                <a:gd name="connsiteX129" fmla="*/ 100203 w 291893"/>
                <a:gd name="connsiteY129" fmla="*/ 175527 h 197072"/>
                <a:gd name="connsiteX130" fmla="*/ 100127 w 291893"/>
                <a:gd name="connsiteY130" fmla="*/ 173860 h 197072"/>
                <a:gd name="connsiteX131" fmla="*/ 96155 w 291893"/>
                <a:gd name="connsiteY131" fmla="*/ 173222 h 197072"/>
                <a:gd name="connsiteX132" fmla="*/ 92697 w 291893"/>
                <a:gd name="connsiteY132" fmla="*/ 171136 h 197072"/>
                <a:gd name="connsiteX133" fmla="*/ 89259 w 291893"/>
                <a:gd name="connsiteY133" fmla="*/ 168135 h 197072"/>
                <a:gd name="connsiteX134" fmla="*/ 88744 w 291893"/>
                <a:gd name="connsiteY134" fmla="*/ 166992 h 197072"/>
                <a:gd name="connsiteX135" fmla="*/ 90402 w 291893"/>
                <a:gd name="connsiteY135" fmla="*/ 165306 h 197072"/>
                <a:gd name="connsiteX136" fmla="*/ 90078 w 291893"/>
                <a:gd name="connsiteY136" fmla="*/ 164983 h 197072"/>
                <a:gd name="connsiteX137" fmla="*/ 88830 w 291893"/>
                <a:gd name="connsiteY137" fmla="*/ 164697 h 197072"/>
                <a:gd name="connsiteX138" fmla="*/ 86325 w 291893"/>
                <a:gd name="connsiteY138" fmla="*/ 165249 h 197072"/>
                <a:gd name="connsiteX139" fmla="*/ 82544 w 291893"/>
                <a:gd name="connsiteY139" fmla="*/ 169050 h 197072"/>
                <a:gd name="connsiteX140" fmla="*/ 80915 w 291893"/>
                <a:gd name="connsiteY140" fmla="*/ 169926 h 197072"/>
                <a:gd name="connsiteX141" fmla="*/ 56217 w 291893"/>
                <a:gd name="connsiteY141" fmla="*/ 170812 h 197072"/>
                <a:gd name="connsiteX142" fmla="*/ 49949 w 291893"/>
                <a:gd name="connsiteY142" fmla="*/ 171202 h 197072"/>
                <a:gd name="connsiteX143" fmla="*/ 48739 w 291893"/>
                <a:gd name="connsiteY143" fmla="*/ 171783 h 197072"/>
                <a:gd name="connsiteX144" fmla="*/ 47653 w 291893"/>
                <a:gd name="connsiteY144" fmla="*/ 169316 h 197072"/>
                <a:gd name="connsiteX145" fmla="*/ 46682 w 291893"/>
                <a:gd name="connsiteY145" fmla="*/ 163792 h 197072"/>
                <a:gd name="connsiteX146" fmla="*/ 46320 w 291893"/>
                <a:gd name="connsiteY146" fmla="*/ 160144 h 197072"/>
                <a:gd name="connsiteX147" fmla="*/ 46568 w 291893"/>
                <a:gd name="connsiteY147" fmla="*/ 158372 h 197072"/>
                <a:gd name="connsiteX148" fmla="*/ 47435 w 291893"/>
                <a:gd name="connsiteY148" fmla="*/ 156248 h 197072"/>
                <a:gd name="connsiteX149" fmla="*/ 48778 w 291893"/>
                <a:gd name="connsiteY149" fmla="*/ 156610 h 197072"/>
                <a:gd name="connsiteX150" fmla="*/ 50054 w 291893"/>
                <a:gd name="connsiteY150" fmla="*/ 158296 h 197072"/>
                <a:gd name="connsiteX151" fmla="*/ 51216 w 291893"/>
                <a:gd name="connsiteY151" fmla="*/ 160687 h 197072"/>
                <a:gd name="connsiteX152" fmla="*/ 52540 w 291893"/>
                <a:gd name="connsiteY152" fmla="*/ 161849 h 197072"/>
                <a:gd name="connsiteX153" fmla="*/ 61160 w 291893"/>
                <a:gd name="connsiteY153" fmla="*/ 158934 h 197072"/>
                <a:gd name="connsiteX154" fmla="*/ 64665 w 291893"/>
                <a:gd name="connsiteY154" fmla="*/ 156972 h 197072"/>
                <a:gd name="connsiteX155" fmla="*/ 66151 w 291893"/>
                <a:gd name="connsiteY155" fmla="*/ 155115 h 197072"/>
                <a:gd name="connsiteX156" fmla="*/ 67904 w 291893"/>
                <a:gd name="connsiteY156" fmla="*/ 151933 h 197072"/>
                <a:gd name="connsiteX157" fmla="*/ 69761 w 291893"/>
                <a:gd name="connsiteY157" fmla="*/ 150304 h 197072"/>
                <a:gd name="connsiteX158" fmla="*/ 70647 w 291893"/>
                <a:gd name="connsiteY158" fmla="*/ 148771 h 197072"/>
                <a:gd name="connsiteX159" fmla="*/ 72390 w 291893"/>
                <a:gd name="connsiteY159" fmla="*/ 143885 h 197072"/>
                <a:gd name="connsiteX160" fmla="*/ 73590 w 291893"/>
                <a:gd name="connsiteY160" fmla="*/ 141618 h 197072"/>
                <a:gd name="connsiteX161" fmla="*/ 75038 w 291893"/>
                <a:gd name="connsiteY161" fmla="*/ 139932 h 197072"/>
                <a:gd name="connsiteX162" fmla="*/ 76714 w 291893"/>
                <a:gd name="connsiteY162" fmla="*/ 138846 h 197072"/>
                <a:gd name="connsiteX163" fmla="*/ 80524 w 291893"/>
                <a:gd name="connsiteY163" fmla="*/ 138074 h 197072"/>
                <a:gd name="connsiteX164" fmla="*/ 78019 w 291893"/>
                <a:gd name="connsiteY164" fmla="*/ 136922 h 197072"/>
                <a:gd name="connsiteX165" fmla="*/ 75619 w 291893"/>
                <a:gd name="connsiteY165" fmla="*/ 136922 h 197072"/>
                <a:gd name="connsiteX166" fmla="*/ 67485 w 291893"/>
                <a:gd name="connsiteY166" fmla="*/ 142094 h 197072"/>
                <a:gd name="connsiteX167" fmla="*/ 64751 w 291893"/>
                <a:gd name="connsiteY167" fmla="*/ 142094 h 197072"/>
                <a:gd name="connsiteX168" fmla="*/ 64865 w 291893"/>
                <a:gd name="connsiteY168" fmla="*/ 141284 h 197072"/>
                <a:gd name="connsiteX169" fmla="*/ 66018 w 291893"/>
                <a:gd name="connsiteY169" fmla="*/ 139827 h 197072"/>
                <a:gd name="connsiteX170" fmla="*/ 68818 w 291893"/>
                <a:gd name="connsiteY170" fmla="*/ 137303 h 197072"/>
                <a:gd name="connsiteX171" fmla="*/ 66894 w 291893"/>
                <a:gd name="connsiteY171" fmla="*/ 137112 h 197072"/>
                <a:gd name="connsiteX172" fmla="*/ 66161 w 291893"/>
                <a:gd name="connsiteY172" fmla="*/ 135969 h 197072"/>
                <a:gd name="connsiteX173" fmla="*/ 66075 w 291893"/>
                <a:gd name="connsiteY173" fmla="*/ 133560 h 197072"/>
                <a:gd name="connsiteX174" fmla="*/ 67504 w 291893"/>
                <a:gd name="connsiteY174" fmla="*/ 129664 h 197072"/>
                <a:gd name="connsiteX175" fmla="*/ 74133 w 291893"/>
                <a:gd name="connsiteY175" fmla="*/ 124520 h 197072"/>
                <a:gd name="connsiteX176" fmla="*/ 76428 w 291893"/>
                <a:gd name="connsiteY176" fmla="*/ 123758 h 197072"/>
                <a:gd name="connsiteX177" fmla="*/ 77124 w 291893"/>
                <a:gd name="connsiteY177" fmla="*/ 122739 h 197072"/>
                <a:gd name="connsiteX178" fmla="*/ 76257 w 291893"/>
                <a:gd name="connsiteY178" fmla="*/ 121910 h 197072"/>
                <a:gd name="connsiteX179" fmla="*/ 74866 w 291893"/>
                <a:gd name="connsiteY179" fmla="*/ 121406 h 197072"/>
                <a:gd name="connsiteX180" fmla="*/ 68199 w 291893"/>
                <a:gd name="connsiteY180" fmla="*/ 126711 h 197072"/>
                <a:gd name="connsiteX181" fmla="*/ 63341 w 291893"/>
                <a:gd name="connsiteY181" fmla="*/ 128540 h 197072"/>
                <a:gd name="connsiteX182" fmla="*/ 61903 w 291893"/>
                <a:gd name="connsiteY182" fmla="*/ 128187 h 197072"/>
                <a:gd name="connsiteX183" fmla="*/ 59388 w 291893"/>
                <a:gd name="connsiteY183" fmla="*/ 126140 h 197072"/>
                <a:gd name="connsiteX184" fmla="*/ 58579 w 291893"/>
                <a:gd name="connsiteY184" fmla="*/ 125216 h 197072"/>
                <a:gd name="connsiteX185" fmla="*/ 57493 w 291893"/>
                <a:gd name="connsiteY185" fmla="*/ 122863 h 197072"/>
                <a:gd name="connsiteX186" fmla="*/ 57626 w 291893"/>
                <a:gd name="connsiteY186" fmla="*/ 121444 h 197072"/>
                <a:gd name="connsiteX187" fmla="*/ 59931 w 291893"/>
                <a:gd name="connsiteY187" fmla="*/ 117272 h 197072"/>
                <a:gd name="connsiteX188" fmla="*/ 59560 w 291893"/>
                <a:gd name="connsiteY188" fmla="*/ 116462 h 197072"/>
                <a:gd name="connsiteX189" fmla="*/ 57969 w 291893"/>
                <a:gd name="connsiteY189" fmla="*/ 116053 h 197072"/>
                <a:gd name="connsiteX190" fmla="*/ 53692 w 291893"/>
                <a:gd name="connsiteY190" fmla="*/ 112204 h 197072"/>
                <a:gd name="connsiteX191" fmla="*/ 46930 w 291893"/>
                <a:gd name="connsiteY191" fmla="*/ 112595 h 197072"/>
                <a:gd name="connsiteX192" fmla="*/ 30175 w 291893"/>
                <a:gd name="connsiteY192" fmla="*/ 110357 h 197072"/>
                <a:gd name="connsiteX193" fmla="*/ 26708 w 291893"/>
                <a:gd name="connsiteY193" fmla="*/ 111309 h 197072"/>
                <a:gd name="connsiteX194" fmla="*/ 21002 w 291893"/>
                <a:gd name="connsiteY194" fmla="*/ 114614 h 197072"/>
                <a:gd name="connsiteX195" fmla="*/ 17554 w 291893"/>
                <a:gd name="connsiteY195" fmla="*/ 115700 h 197072"/>
                <a:gd name="connsiteX196" fmla="*/ 15964 w 291893"/>
                <a:gd name="connsiteY196" fmla="*/ 114986 h 197072"/>
                <a:gd name="connsiteX197" fmla="*/ 14516 w 291893"/>
                <a:gd name="connsiteY197" fmla="*/ 113233 h 197072"/>
                <a:gd name="connsiteX198" fmla="*/ 13202 w 291893"/>
                <a:gd name="connsiteY198" fmla="*/ 110881 h 197072"/>
                <a:gd name="connsiteX199" fmla="*/ 12020 w 291893"/>
                <a:gd name="connsiteY199" fmla="*/ 107899 h 197072"/>
                <a:gd name="connsiteX200" fmla="*/ 12525 w 291893"/>
                <a:gd name="connsiteY200" fmla="*/ 105832 h 197072"/>
                <a:gd name="connsiteX201" fmla="*/ 14735 w 291893"/>
                <a:gd name="connsiteY201" fmla="*/ 104651 h 197072"/>
                <a:gd name="connsiteX202" fmla="*/ 16355 w 291893"/>
                <a:gd name="connsiteY202" fmla="*/ 104089 h 197072"/>
                <a:gd name="connsiteX203" fmla="*/ 20917 w 291893"/>
                <a:gd name="connsiteY203" fmla="*/ 104804 h 197072"/>
                <a:gd name="connsiteX204" fmla="*/ 26479 w 291893"/>
                <a:gd name="connsiteY204" fmla="*/ 102718 h 197072"/>
                <a:gd name="connsiteX205" fmla="*/ 30023 w 291893"/>
                <a:gd name="connsiteY205" fmla="*/ 102280 h 197072"/>
                <a:gd name="connsiteX206" fmla="*/ 31042 w 291893"/>
                <a:gd name="connsiteY206" fmla="*/ 101946 h 197072"/>
                <a:gd name="connsiteX207" fmla="*/ 33128 w 291893"/>
                <a:gd name="connsiteY207" fmla="*/ 99727 h 197072"/>
                <a:gd name="connsiteX208" fmla="*/ 34157 w 291893"/>
                <a:gd name="connsiteY208" fmla="*/ 99165 h 197072"/>
                <a:gd name="connsiteX209" fmla="*/ 35757 w 291893"/>
                <a:gd name="connsiteY209" fmla="*/ 99946 h 197072"/>
                <a:gd name="connsiteX210" fmla="*/ 36538 w 291893"/>
                <a:gd name="connsiteY210" fmla="*/ 101451 h 197072"/>
                <a:gd name="connsiteX211" fmla="*/ 42129 w 291893"/>
                <a:gd name="connsiteY211" fmla="*/ 99108 h 197072"/>
                <a:gd name="connsiteX212" fmla="*/ 44053 w 291893"/>
                <a:gd name="connsiteY212" fmla="*/ 97936 h 197072"/>
                <a:gd name="connsiteX213" fmla="*/ 44272 w 291893"/>
                <a:gd name="connsiteY213" fmla="*/ 97203 h 197072"/>
                <a:gd name="connsiteX214" fmla="*/ 45110 w 291893"/>
                <a:gd name="connsiteY214" fmla="*/ 96364 h 197072"/>
                <a:gd name="connsiteX215" fmla="*/ 47892 w 291893"/>
                <a:gd name="connsiteY215" fmla="*/ 97631 h 197072"/>
                <a:gd name="connsiteX216" fmla="*/ 50149 w 291893"/>
                <a:gd name="connsiteY216" fmla="*/ 97669 h 197072"/>
                <a:gd name="connsiteX217" fmla="*/ 52959 w 291893"/>
                <a:gd name="connsiteY217" fmla="*/ 96793 h 197072"/>
                <a:gd name="connsiteX218" fmla="*/ 57931 w 291893"/>
                <a:gd name="connsiteY218" fmla="*/ 96412 h 197072"/>
                <a:gd name="connsiteX219" fmla="*/ 69066 w 291893"/>
                <a:gd name="connsiteY219" fmla="*/ 96212 h 197072"/>
                <a:gd name="connsiteX220" fmla="*/ 70733 w 291893"/>
                <a:gd name="connsiteY220" fmla="*/ 94297 h 197072"/>
                <a:gd name="connsiteX221" fmla="*/ 71514 w 291893"/>
                <a:gd name="connsiteY221" fmla="*/ 92602 h 197072"/>
                <a:gd name="connsiteX222" fmla="*/ 72495 w 291893"/>
                <a:gd name="connsiteY222" fmla="*/ 88287 h 197072"/>
                <a:gd name="connsiteX223" fmla="*/ 72057 w 291893"/>
                <a:gd name="connsiteY223" fmla="*/ 87401 h 197072"/>
                <a:gd name="connsiteX224" fmla="*/ 65113 w 291893"/>
                <a:gd name="connsiteY224" fmla="*/ 91373 h 197072"/>
                <a:gd name="connsiteX225" fmla="*/ 63522 w 291893"/>
                <a:gd name="connsiteY225" fmla="*/ 91307 h 197072"/>
                <a:gd name="connsiteX226" fmla="*/ 55474 w 291893"/>
                <a:gd name="connsiteY226" fmla="*/ 89202 h 197072"/>
                <a:gd name="connsiteX227" fmla="*/ 52569 w 291893"/>
                <a:gd name="connsiteY227" fmla="*/ 86820 h 197072"/>
                <a:gd name="connsiteX228" fmla="*/ 53521 w 291893"/>
                <a:gd name="connsiteY228" fmla="*/ 84906 h 197072"/>
                <a:gd name="connsiteX229" fmla="*/ 57788 w 291893"/>
                <a:gd name="connsiteY229" fmla="*/ 80772 h 197072"/>
                <a:gd name="connsiteX230" fmla="*/ 62189 w 291893"/>
                <a:gd name="connsiteY230" fmla="*/ 77457 h 197072"/>
                <a:gd name="connsiteX231" fmla="*/ 68666 w 291893"/>
                <a:gd name="connsiteY231" fmla="*/ 73857 h 197072"/>
                <a:gd name="connsiteX232" fmla="*/ 70180 w 291893"/>
                <a:gd name="connsiteY232" fmla="*/ 72457 h 197072"/>
                <a:gd name="connsiteX233" fmla="*/ 70342 w 291893"/>
                <a:gd name="connsiteY233" fmla="*/ 70790 h 197072"/>
                <a:gd name="connsiteX234" fmla="*/ 66018 w 291893"/>
                <a:gd name="connsiteY234" fmla="*/ 67828 h 197072"/>
                <a:gd name="connsiteX235" fmla="*/ 57855 w 291893"/>
                <a:gd name="connsiteY235" fmla="*/ 68647 h 197072"/>
                <a:gd name="connsiteX236" fmla="*/ 55759 w 291893"/>
                <a:gd name="connsiteY236" fmla="*/ 65132 h 197072"/>
                <a:gd name="connsiteX237" fmla="*/ 48968 w 291893"/>
                <a:gd name="connsiteY237" fmla="*/ 63046 h 197072"/>
                <a:gd name="connsiteX238" fmla="*/ 44453 w 291893"/>
                <a:gd name="connsiteY238" fmla="*/ 64351 h 197072"/>
                <a:gd name="connsiteX239" fmla="*/ 42053 w 291893"/>
                <a:gd name="connsiteY239" fmla="*/ 62217 h 197072"/>
                <a:gd name="connsiteX240" fmla="*/ 36186 w 291893"/>
                <a:gd name="connsiteY240" fmla="*/ 65170 h 197072"/>
                <a:gd name="connsiteX241" fmla="*/ 23289 w 291893"/>
                <a:gd name="connsiteY241" fmla="*/ 69428 h 197072"/>
                <a:gd name="connsiteX242" fmla="*/ 18155 w 291893"/>
                <a:gd name="connsiteY242" fmla="*/ 72371 h 197072"/>
                <a:gd name="connsiteX243" fmla="*/ 15392 w 291893"/>
                <a:gd name="connsiteY243" fmla="*/ 73352 h 197072"/>
                <a:gd name="connsiteX244" fmla="*/ 12211 w 291893"/>
                <a:gd name="connsiteY244" fmla="*/ 70952 h 197072"/>
                <a:gd name="connsiteX245" fmla="*/ 6725 w 291893"/>
                <a:gd name="connsiteY245" fmla="*/ 68237 h 197072"/>
                <a:gd name="connsiteX246" fmla="*/ 552 w 291893"/>
                <a:gd name="connsiteY246" fmla="*/ 67389 h 197072"/>
                <a:gd name="connsiteX247" fmla="*/ 0 w 291893"/>
                <a:gd name="connsiteY247" fmla="*/ 65789 h 197072"/>
                <a:gd name="connsiteX248" fmla="*/ 3600 w 291893"/>
                <a:gd name="connsiteY248" fmla="*/ 60884 h 197072"/>
                <a:gd name="connsiteX249" fmla="*/ 6067 w 291893"/>
                <a:gd name="connsiteY249" fmla="*/ 59988 h 197072"/>
                <a:gd name="connsiteX250" fmla="*/ 8544 w 291893"/>
                <a:gd name="connsiteY250" fmla="*/ 60446 h 197072"/>
                <a:gd name="connsiteX251" fmla="*/ 13278 w 291893"/>
                <a:gd name="connsiteY251" fmla="*/ 63865 h 197072"/>
                <a:gd name="connsiteX252" fmla="*/ 16545 w 291893"/>
                <a:gd name="connsiteY252" fmla="*/ 64941 h 197072"/>
                <a:gd name="connsiteX253" fmla="*/ 12449 w 291893"/>
                <a:gd name="connsiteY253" fmla="*/ 59912 h 197072"/>
                <a:gd name="connsiteX254" fmla="*/ 12554 w 291893"/>
                <a:gd name="connsiteY254" fmla="*/ 57979 h 197072"/>
                <a:gd name="connsiteX255" fmla="*/ 12240 w 291893"/>
                <a:gd name="connsiteY255" fmla="*/ 55074 h 197072"/>
                <a:gd name="connsiteX256" fmla="*/ 10982 w 291893"/>
                <a:gd name="connsiteY256" fmla="*/ 53826 h 197072"/>
                <a:gd name="connsiteX257" fmla="*/ 9725 w 291893"/>
                <a:gd name="connsiteY257" fmla="*/ 50606 h 197072"/>
                <a:gd name="connsiteX258" fmla="*/ 10239 w 291893"/>
                <a:gd name="connsiteY258" fmla="*/ 49521 h 197072"/>
                <a:gd name="connsiteX259" fmla="*/ 11849 w 291893"/>
                <a:gd name="connsiteY259" fmla="*/ 49130 h 197072"/>
                <a:gd name="connsiteX260" fmla="*/ 15145 w 291893"/>
                <a:gd name="connsiteY260" fmla="*/ 50225 h 197072"/>
                <a:gd name="connsiteX261" fmla="*/ 22984 w 291893"/>
                <a:gd name="connsiteY261" fmla="*/ 55807 h 197072"/>
                <a:gd name="connsiteX262" fmla="*/ 26832 w 291893"/>
                <a:gd name="connsiteY262" fmla="*/ 54816 h 197072"/>
                <a:gd name="connsiteX263" fmla="*/ 28937 w 291893"/>
                <a:gd name="connsiteY263" fmla="*/ 52759 h 197072"/>
                <a:gd name="connsiteX264" fmla="*/ 31823 w 291893"/>
                <a:gd name="connsiteY264" fmla="*/ 51235 h 197072"/>
                <a:gd name="connsiteX265" fmla="*/ 31004 w 291893"/>
                <a:gd name="connsiteY265" fmla="*/ 50444 h 197072"/>
                <a:gd name="connsiteX266" fmla="*/ 24232 w 291893"/>
                <a:gd name="connsiteY266" fmla="*/ 50349 h 197072"/>
                <a:gd name="connsiteX267" fmla="*/ 20603 w 291893"/>
                <a:gd name="connsiteY267" fmla="*/ 49206 h 197072"/>
                <a:gd name="connsiteX268" fmla="*/ 18774 w 291893"/>
                <a:gd name="connsiteY268" fmla="*/ 47568 h 197072"/>
                <a:gd name="connsiteX269" fmla="*/ 17183 w 291893"/>
                <a:gd name="connsiteY269" fmla="*/ 44777 h 197072"/>
                <a:gd name="connsiteX270" fmla="*/ 17745 w 291893"/>
                <a:gd name="connsiteY270" fmla="*/ 43491 h 197072"/>
                <a:gd name="connsiteX271" fmla="*/ 19631 w 291893"/>
                <a:gd name="connsiteY271" fmla="*/ 42462 h 197072"/>
                <a:gd name="connsiteX272" fmla="*/ 25413 w 291893"/>
                <a:gd name="connsiteY272" fmla="*/ 42767 h 197072"/>
                <a:gd name="connsiteX273" fmla="*/ 21603 w 291893"/>
                <a:gd name="connsiteY273" fmla="*/ 37900 h 197072"/>
                <a:gd name="connsiteX274" fmla="*/ 18955 w 291893"/>
                <a:gd name="connsiteY274" fmla="*/ 35100 h 197072"/>
                <a:gd name="connsiteX275" fmla="*/ 18669 w 291893"/>
                <a:gd name="connsiteY275" fmla="*/ 33747 h 197072"/>
                <a:gd name="connsiteX276" fmla="*/ 18850 w 291893"/>
                <a:gd name="connsiteY276" fmla="*/ 32052 h 197072"/>
                <a:gd name="connsiteX277" fmla="*/ 19202 w 291893"/>
                <a:gd name="connsiteY277" fmla="*/ 30909 h 197072"/>
                <a:gd name="connsiteX278" fmla="*/ 19745 w 291893"/>
                <a:gd name="connsiteY278" fmla="*/ 30337 h 197072"/>
                <a:gd name="connsiteX279" fmla="*/ 26375 w 291893"/>
                <a:gd name="connsiteY279" fmla="*/ 33195 h 197072"/>
                <a:gd name="connsiteX280" fmla="*/ 27832 w 291893"/>
                <a:gd name="connsiteY280" fmla="*/ 33309 h 197072"/>
                <a:gd name="connsiteX281" fmla="*/ 26489 w 291893"/>
                <a:gd name="connsiteY281" fmla="*/ 31471 h 197072"/>
                <a:gd name="connsiteX282" fmla="*/ 23574 w 291893"/>
                <a:gd name="connsiteY282" fmla="*/ 28756 h 197072"/>
                <a:gd name="connsiteX283" fmla="*/ 23451 w 291893"/>
                <a:gd name="connsiteY283" fmla="*/ 27737 h 197072"/>
                <a:gd name="connsiteX284" fmla="*/ 24679 w 291893"/>
                <a:gd name="connsiteY284" fmla="*/ 26908 h 197072"/>
                <a:gd name="connsiteX285" fmla="*/ 25279 w 291893"/>
                <a:gd name="connsiteY285" fmla="*/ 25356 h 197072"/>
                <a:gd name="connsiteX286" fmla="*/ 25337 w 291893"/>
                <a:gd name="connsiteY286" fmla="*/ 24079 h 197072"/>
                <a:gd name="connsiteX287" fmla="*/ 27346 w 291893"/>
                <a:gd name="connsiteY287" fmla="*/ 22974 h 197072"/>
                <a:gd name="connsiteX288" fmla="*/ 29385 w 291893"/>
                <a:gd name="connsiteY288" fmla="*/ 22927 h 197072"/>
                <a:gd name="connsiteX289" fmla="*/ 31432 w 291893"/>
                <a:gd name="connsiteY289" fmla="*/ 23936 h 197072"/>
                <a:gd name="connsiteX290" fmla="*/ 37776 w 291893"/>
                <a:gd name="connsiteY290" fmla="*/ 29232 h 197072"/>
                <a:gd name="connsiteX291" fmla="*/ 38681 w 291893"/>
                <a:gd name="connsiteY291" fmla="*/ 30718 h 197072"/>
                <a:gd name="connsiteX292" fmla="*/ 38986 w 291893"/>
                <a:gd name="connsiteY292" fmla="*/ 32671 h 197072"/>
                <a:gd name="connsiteX293" fmla="*/ 38671 w 291893"/>
                <a:gd name="connsiteY293" fmla="*/ 35100 h 197072"/>
                <a:gd name="connsiteX294" fmla="*/ 38938 w 291893"/>
                <a:gd name="connsiteY294" fmla="*/ 36071 h 197072"/>
                <a:gd name="connsiteX295" fmla="*/ 41415 w 291893"/>
                <a:gd name="connsiteY295" fmla="*/ 35242 h 197072"/>
                <a:gd name="connsiteX296" fmla="*/ 43396 w 291893"/>
                <a:gd name="connsiteY296" fmla="*/ 36262 h 197072"/>
                <a:gd name="connsiteX297" fmla="*/ 44377 w 291893"/>
                <a:gd name="connsiteY297" fmla="*/ 35985 h 197072"/>
                <a:gd name="connsiteX298" fmla="*/ 46844 w 291893"/>
                <a:gd name="connsiteY298" fmla="*/ 32337 h 197072"/>
                <a:gd name="connsiteX299" fmla="*/ 48539 w 291893"/>
                <a:gd name="connsiteY299" fmla="*/ 33204 h 197072"/>
                <a:gd name="connsiteX300" fmla="*/ 49559 w 291893"/>
                <a:gd name="connsiteY300" fmla="*/ 34909 h 197072"/>
                <a:gd name="connsiteX301" fmla="*/ 49882 w 291893"/>
                <a:gd name="connsiteY301" fmla="*/ 36452 h 197072"/>
                <a:gd name="connsiteX302" fmla="*/ 50035 w 291893"/>
                <a:gd name="connsiteY302" fmla="*/ 38567 h 197072"/>
                <a:gd name="connsiteX303" fmla="*/ 49597 w 291893"/>
                <a:gd name="connsiteY303" fmla="*/ 42967 h 197072"/>
                <a:gd name="connsiteX304" fmla="*/ 49711 w 291893"/>
                <a:gd name="connsiteY304" fmla="*/ 43586 h 197072"/>
                <a:gd name="connsiteX305" fmla="*/ 51435 w 291893"/>
                <a:gd name="connsiteY305" fmla="*/ 41100 h 197072"/>
                <a:gd name="connsiteX306" fmla="*/ 54369 w 291893"/>
                <a:gd name="connsiteY306" fmla="*/ 40910 h 197072"/>
                <a:gd name="connsiteX307" fmla="*/ 54750 w 291893"/>
                <a:gd name="connsiteY307" fmla="*/ 39662 h 197072"/>
                <a:gd name="connsiteX308" fmla="*/ 54835 w 291893"/>
                <a:gd name="connsiteY308" fmla="*/ 35033 h 197072"/>
                <a:gd name="connsiteX309" fmla="*/ 54597 w 291893"/>
                <a:gd name="connsiteY309" fmla="*/ 31109 h 197072"/>
                <a:gd name="connsiteX310" fmla="*/ 54273 w 291893"/>
                <a:gd name="connsiteY310" fmla="*/ 30309 h 197072"/>
                <a:gd name="connsiteX311" fmla="*/ 44615 w 291893"/>
                <a:gd name="connsiteY311" fmla="*/ 24860 h 197072"/>
                <a:gd name="connsiteX312" fmla="*/ 42939 w 291893"/>
                <a:gd name="connsiteY312" fmla="*/ 23565 h 197072"/>
                <a:gd name="connsiteX313" fmla="*/ 40834 w 291893"/>
                <a:gd name="connsiteY313" fmla="*/ 20879 h 197072"/>
                <a:gd name="connsiteX314" fmla="*/ 41262 w 291893"/>
                <a:gd name="connsiteY314" fmla="*/ 19526 h 197072"/>
                <a:gd name="connsiteX315" fmla="*/ 43148 w 291893"/>
                <a:gd name="connsiteY315" fmla="*/ 18317 h 197072"/>
                <a:gd name="connsiteX316" fmla="*/ 45977 w 291893"/>
                <a:gd name="connsiteY316" fmla="*/ 17831 h 197072"/>
                <a:gd name="connsiteX317" fmla="*/ 52559 w 291893"/>
                <a:gd name="connsiteY317" fmla="*/ 17897 h 197072"/>
                <a:gd name="connsiteX318" fmla="*/ 53226 w 291893"/>
                <a:gd name="connsiteY318" fmla="*/ 17326 h 197072"/>
                <a:gd name="connsiteX319" fmla="*/ 51949 w 291893"/>
                <a:gd name="connsiteY319" fmla="*/ 15907 h 197072"/>
                <a:gd name="connsiteX320" fmla="*/ 48911 w 291893"/>
                <a:gd name="connsiteY320" fmla="*/ 14992 h 197072"/>
                <a:gd name="connsiteX321" fmla="*/ 48196 w 291893"/>
                <a:gd name="connsiteY321" fmla="*/ 14164 h 197072"/>
                <a:gd name="connsiteX322" fmla="*/ 47835 w 291893"/>
                <a:gd name="connsiteY322" fmla="*/ 12583 h 197072"/>
                <a:gd name="connsiteX323" fmla="*/ 44225 w 291893"/>
                <a:gd name="connsiteY323" fmla="*/ 13449 h 197072"/>
                <a:gd name="connsiteX324" fmla="*/ 40196 w 291893"/>
                <a:gd name="connsiteY324" fmla="*/ 13487 h 197072"/>
                <a:gd name="connsiteX325" fmla="*/ 36319 w 291893"/>
                <a:gd name="connsiteY325" fmla="*/ 12516 h 197072"/>
                <a:gd name="connsiteX326" fmla="*/ 36243 w 291893"/>
                <a:gd name="connsiteY326" fmla="*/ 11287 h 197072"/>
                <a:gd name="connsiteX327" fmla="*/ 37767 w 291893"/>
                <a:gd name="connsiteY327" fmla="*/ 9477 h 197072"/>
                <a:gd name="connsiteX328" fmla="*/ 40938 w 291893"/>
                <a:gd name="connsiteY328" fmla="*/ 6477 h 197072"/>
                <a:gd name="connsiteX329" fmla="*/ 42405 w 291893"/>
                <a:gd name="connsiteY329" fmla="*/ 5725 h 197072"/>
                <a:gd name="connsiteX330" fmla="*/ 46834 w 291893"/>
                <a:gd name="connsiteY330" fmla="*/ 6248 h 197072"/>
                <a:gd name="connsiteX331" fmla="*/ 51225 w 291893"/>
                <a:gd name="connsiteY331" fmla="*/ 5401 h 197072"/>
                <a:gd name="connsiteX332" fmla="*/ 54788 w 291893"/>
                <a:gd name="connsiteY332" fmla="*/ 6429 h 197072"/>
                <a:gd name="connsiteX333" fmla="*/ 57617 w 291893"/>
                <a:gd name="connsiteY333" fmla="*/ 9401 h 197072"/>
                <a:gd name="connsiteX334" fmla="*/ 61627 w 291893"/>
                <a:gd name="connsiteY334" fmla="*/ 14621 h 197072"/>
                <a:gd name="connsiteX335" fmla="*/ 67056 w 291893"/>
                <a:gd name="connsiteY335" fmla="*/ 17945 h 197072"/>
                <a:gd name="connsiteX336" fmla="*/ 67561 w 291893"/>
                <a:gd name="connsiteY336" fmla="*/ 18993 h 197072"/>
                <a:gd name="connsiteX337" fmla="*/ 70447 w 291893"/>
                <a:gd name="connsiteY337" fmla="*/ 21708 h 197072"/>
                <a:gd name="connsiteX338" fmla="*/ 76200 w 291893"/>
                <a:gd name="connsiteY338" fmla="*/ 29004 h 197072"/>
                <a:gd name="connsiteX339" fmla="*/ 82039 w 291893"/>
                <a:gd name="connsiteY339" fmla="*/ 33223 h 197072"/>
                <a:gd name="connsiteX340" fmla="*/ 82305 w 291893"/>
                <a:gd name="connsiteY340" fmla="*/ 34300 h 197072"/>
                <a:gd name="connsiteX341" fmla="*/ 81344 w 291893"/>
                <a:gd name="connsiteY341" fmla="*/ 35557 h 197072"/>
                <a:gd name="connsiteX342" fmla="*/ 79095 w 291893"/>
                <a:gd name="connsiteY342" fmla="*/ 37033 h 197072"/>
                <a:gd name="connsiteX343" fmla="*/ 79610 w 291893"/>
                <a:gd name="connsiteY343" fmla="*/ 37843 h 197072"/>
                <a:gd name="connsiteX344" fmla="*/ 82544 w 291893"/>
                <a:gd name="connsiteY344" fmla="*/ 38919 h 197072"/>
                <a:gd name="connsiteX345" fmla="*/ 84658 w 291893"/>
                <a:gd name="connsiteY345" fmla="*/ 41758 h 197072"/>
                <a:gd name="connsiteX346" fmla="*/ 84801 w 291893"/>
                <a:gd name="connsiteY346" fmla="*/ 42996 h 197072"/>
                <a:gd name="connsiteX347" fmla="*/ 82887 w 291893"/>
                <a:gd name="connsiteY347" fmla="*/ 51759 h 197072"/>
                <a:gd name="connsiteX348" fmla="*/ 81867 w 291893"/>
                <a:gd name="connsiteY348" fmla="*/ 53616 h 197072"/>
                <a:gd name="connsiteX349" fmla="*/ 80705 w 291893"/>
                <a:gd name="connsiteY349" fmla="*/ 54597 h 197072"/>
                <a:gd name="connsiteX350" fmla="*/ 75314 w 291893"/>
                <a:gd name="connsiteY350" fmla="*/ 52950 h 197072"/>
                <a:gd name="connsiteX351" fmla="*/ 76590 w 291893"/>
                <a:gd name="connsiteY351" fmla="*/ 55731 h 197072"/>
                <a:gd name="connsiteX352" fmla="*/ 80448 w 291893"/>
                <a:gd name="connsiteY352" fmla="*/ 58683 h 197072"/>
                <a:gd name="connsiteX353" fmla="*/ 81315 w 291893"/>
                <a:gd name="connsiteY353" fmla="*/ 60331 h 197072"/>
                <a:gd name="connsiteX354" fmla="*/ 80743 w 291893"/>
                <a:gd name="connsiteY354" fmla="*/ 61951 h 197072"/>
                <a:gd name="connsiteX355" fmla="*/ 81162 w 291893"/>
                <a:gd name="connsiteY355" fmla="*/ 62322 h 197072"/>
                <a:gd name="connsiteX356" fmla="*/ 82572 w 291893"/>
                <a:gd name="connsiteY356" fmla="*/ 61455 h 197072"/>
                <a:gd name="connsiteX357" fmla="*/ 83163 w 291893"/>
                <a:gd name="connsiteY357" fmla="*/ 62370 h 197072"/>
                <a:gd name="connsiteX358" fmla="*/ 82915 w 291893"/>
                <a:gd name="connsiteY358" fmla="*/ 65065 h 197072"/>
                <a:gd name="connsiteX359" fmla="*/ 82315 w 291893"/>
                <a:gd name="connsiteY359" fmla="*/ 67304 h 197072"/>
                <a:gd name="connsiteX360" fmla="*/ 81353 w 291893"/>
                <a:gd name="connsiteY360" fmla="*/ 69075 h 197072"/>
                <a:gd name="connsiteX361" fmla="*/ 81639 w 291893"/>
                <a:gd name="connsiteY361" fmla="*/ 69847 h 197072"/>
                <a:gd name="connsiteX362" fmla="*/ 83144 w 291893"/>
                <a:gd name="connsiteY362" fmla="*/ 69609 h 197072"/>
                <a:gd name="connsiteX363" fmla="*/ 84553 w 291893"/>
                <a:gd name="connsiteY363" fmla="*/ 70066 h 197072"/>
                <a:gd name="connsiteX364" fmla="*/ 86763 w 291893"/>
                <a:gd name="connsiteY364" fmla="*/ 72514 h 197072"/>
                <a:gd name="connsiteX365" fmla="*/ 88554 w 291893"/>
                <a:gd name="connsiteY365" fmla="*/ 79972 h 197072"/>
                <a:gd name="connsiteX366" fmla="*/ 89440 w 291893"/>
                <a:gd name="connsiteY366" fmla="*/ 82372 h 197072"/>
                <a:gd name="connsiteX367" fmla="*/ 90088 w 291893"/>
                <a:gd name="connsiteY367" fmla="*/ 80239 h 197072"/>
                <a:gd name="connsiteX368" fmla="*/ 90887 w 291893"/>
                <a:gd name="connsiteY368" fmla="*/ 74800 h 197072"/>
                <a:gd name="connsiteX369" fmla="*/ 91640 w 291893"/>
                <a:gd name="connsiteY369" fmla="*/ 72019 h 197072"/>
                <a:gd name="connsiteX370" fmla="*/ 92354 w 291893"/>
                <a:gd name="connsiteY370" fmla="*/ 71895 h 197072"/>
                <a:gd name="connsiteX371" fmla="*/ 92964 w 291893"/>
                <a:gd name="connsiteY371" fmla="*/ 70980 h 197072"/>
                <a:gd name="connsiteX372" fmla="*/ 93478 w 291893"/>
                <a:gd name="connsiteY372" fmla="*/ 69266 h 197072"/>
                <a:gd name="connsiteX373" fmla="*/ 94526 w 291893"/>
                <a:gd name="connsiteY373" fmla="*/ 63208 h 197072"/>
                <a:gd name="connsiteX374" fmla="*/ 98145 w 291893"/>
                <a:gd name="connsiteY374" fmla="*/ 58607 h 197072"/>
                <a:gd name="connsiteX375" fmla="*/ 99869 w 291893"/>
                <a:gd name="connsiteY375" fmla="*/ 57188 h 197072"/>
                <a:gd name="connsiteX376" fmla="*/ 101498 w 291893"/>
                <a:gd name="connsiteY376" fmla="*/ 56883 h 197072"/>
                <a:gd name="connsiteX377" fmla="*/ 102280 w 291893"/>
                <a:gd name="connsiteY377" fmla="*/ 57455 h 197072"/>
                <a:gd name="connsiteX378" fmla="*/ 104994 w 291893"/>
                <a:gd name="connsiteY378" fmla="*/ 62284 h 197072"/>
                <a:gd name="connsiteX379" fmla="*/ 106642 w 291893"/>
                <a:gd name="connsiteY379" fmla="*/ 63094 h 197072"/>
                <a:gd name="connsiteX380" fmla="*/ 107480 w 291893"/>
                <a:gd name="connsiteY380" fmla="*/ 62836 h 197072"/>
                <a:gd name="connsiteX381" fmla="*/ 108642 w 291893"/>
                <a:gd name="connsiteY381" fmla="*/ 59550 h 197072"/>
                <a:gd name="connsiteX382" fmla="*/ 110109 w 291893"/>
                <a:gd name="connsiteY382" fmla="*/ 53245 h 197072"/>
                <a:gd name="connsiteX383" fmla="*/ 110442 w 291893"/>
                <a:gd name="connsiteY383" fmla="*/ 46177 h 197072"/>
                <a:gd name="connsiteX384" fmla="*/ 109652 w 291893"/>
                <a:gd name="connsiteY384" fmla="*/ 38338 h 197072"/>
                <a:gd name="connsiteX385" fmla="*/ 110109 w 291893"/>
                <a:gd name="connsiteY385" fmla="*/ 32718 h 197072"/>
                <a:gd name="connsiteX386" fmla="*/ 111833 w 291893"/>
                <a:gd name="connsiteY386" fmla="*/ 29356 h 197072"/>
                <a:gd name="connsiteX387" fmla="*/ 114090 w 291893"/>
                <a:gd name="connsiteY387" fmla="*/ 28318 h 197072"/>
                <a:gd name="connsiteX388" fmla="*/ 116900 w 291893"/>
                <a:gd name="connsiteY388" fmla="*/ 29613 h 197072"/>
                <a:gd name="connsiteX389" fmla="*/ 118948 w 291893"/>
                <a:gd name="connsiteY389" fmla="*/ 31671 h 197072"/>
                <a:gd name="connsiteX390" fmla="*/ 122987 w 291893"/>
                <a:gd name="connsiteY390" fmla="*/ 39481 h 197072"/>
                <a:gd name="connsiteX391" fmla="*/ 126254 w 291893"/>
                <a:gd name="connsiteY391" fmla="*/ 43567 h 197072"/>
                <a:gd name="connsiteX392" fmla="*/ 129054 w 291893"/>
                <a:gd name="connsiteY392" fmla="*/ 47930 h 197072"/>
                <a:gd name="connsiteX393" fmla="*/ 130502 w 291893"/>
                <a:gd name="connsiteY393" fmla="*/ 49349 h 197072"/>
                <a:gd name="connsiteX394" fmla="*/ 133283 w 291893"/>
                <a:gd name="connsiteY394" fmla="*/ 50063 h 197072"/>
                <a:gd name="connsiteX395" fmla="*/ 134026 w 291893"/>
                <a:gd name="connsiteY395" fmla="*/ 49778 h 197072"/>
                <a:gd name="connsiteX396" fmla="*/ 134521 w 291893"/>
                <a:gd name="connsiteY396" fmla="*/ 48778 h 197072"/>
                <a:gd name="connsiteX397" fmla="*/ 134779 w 291893"/>
                <a:gd name="connsiteY397" fmla="*/ 47044 h 197072"/>
                <a:gd name="connsiteX398" fmla="*/ 134179 w 291893"/>
                <a:gd name="connsiteY398" fmla="*/ 35890 h 197072"/>
                <a:gd name="connsiteX399" fmla="*/ 134960 w 291893"/>
                <a:gd name="connsiteY399" fmla="*/ 32414 h 197072"/>
                <a:gd name="connsiteX400" fmla="*/ 136141 w 291893"/>
                <a:gd name="connsiteY400" fmla="*/ 29928 h 197072"/>
                <a:gd name="connsiteX401" fmla="*/ 141151 w 291893"/>
                <a:gd name="connsiteY401" fmla="*/ 28470 h 197072"/>
                <a:gd name="connsiteX402" fmla="*/ 143885 w 291893"/>
                <a:gd name="connsiteY402" fmla="*/ 26908 h 197072"/>
                <a:gd name="connsiteX403" fmla="*/ 146542 w 291893"/>
                <a:gd name="connsiteY403" fmla="*/ 24346 h 197072"/>
                <a:gd name="connsiteX404" fmla="*/ 148742 w 291893"/>
                <a:gd name="connsiteY404" fmla="*/ 22965 h 197072"/>
                <a:gd name="connsiteX405" fmla="*/ 150495 w 291893"/>
                <a:gd name="connsiteY405" fmla="*/ 22784 h 197072"/>
                <a:gd name="connsiteX406" fmla="*/ 152314 w 291893"/>
                <a:gd name="connsiteY406" fmla="*/ 23784 h 197072"/>
                <a:gd name="connsiteX407" fmla="*/ 154229 w 291893"/>
                <a:gd name="connsiteY407" fmla="*/ 25965 h 197072"/>
                <a:gd name="connsiteX408" fmla="*/ 157201 w 291893"/>
                <a:gd name="connsiteY408" fmla="*/ 30213 h 197072"/>
                <a:gd name="connsiteX409" fmla="*/ 160944 w 291893"/>
                <a:gd name="connsiteY409" fmla="*/ 37233 h 197072"/>
                <a:gd name="connsiteX410" fmla="*/ 165706 w 291893"/>
                <a:gd name="connsiteY410" fmla="*/ 42453 h 197072"/>
                <a:gd name="connsiteX411" fmla="*/ 168192 w 291893"/>
                <a:gd name="connsiteY411" fmla="*/ 50721 h 197072"/>
                <a:gd name="connsiteX412" fmla="*/ 168726 w 291893"/>
                <a:gd name="connsiteY412" fmla="*/ 52111 h 197072"/>
                <a:gd name="connsiteX413" fmla="*/ 169316 w 291893"/>
                <a:gd name="connsiteY413" fmla="*/ 52273 h 197072"/>
                <a:gd name="connsiteX414" fmla="*/ 169945 w 291893"/>
                <a:gd name="connsiteY414" fmla="*/ 51197 h 197072"/>
                <a:gd name="connsiteX415" fmla="*/ 170345 w 291893"/>
                <a:gd name="connsiteY415" fmla="*/ 49682 h 197072"/>
                <a:gd name="connsiteX416" fmla="*/ 170459 w 291893"/>
                <a:gd name="connsiteY416" fmla="*/ 46006 h 197072"/>
                <a:gd name="connsiteX417" fmla="*/ 169126 w 291893"/>
                <a:gd name="connsiteY417" fmla="*/ 41129 h 197072"/>
                <a:gd name="connsiteX418" fmla="*/ 164678 w 291893"/>
                <a:gd name="connsiteY418" fmla="*/ 28775 h 197072"/>
                <a:gd name="connsiteX419" fmla="*/ 164602 w 291893"/>
                <a:gd name="connsiteY419" fmla="*/ 26422 h 197072"/>
                <a:gd name="connsiteX420" fmla="*/ 165163 w 291893"/>
                <a:gd name="connsiteY420" fmla="*/ 24536 h 197072"/>
                <a:gd name="connsiteX421" fmla="*/ 168297 w 291893"/>
                <a:gd name="connsiteY421" fmla="*/ 24327 h 197072"/>
                <a:gd name="connsiteX422" fmla="*/ 175593 w 291893"/>
                <a:gd name="connsiteY422" fmla="*/ 25470 h 197072"/>
                <a:gd name="connsiteX423" fmla="*/ 177917 w 291893"/>
                <a:gd name="connsiteY423" fmla="*/ 27394 h 197072"/>
                <a:gd name="connsiteX424" fmla="*/ 182880 w 291893"/>
                <a:gd name="connsiteY424" fmla="*/ 34957 h 197072"/>
                <a:gd name="connsiteX425" fmla="*/ 184271 w 291893"/>
                <a:gd name="connsiteY425" fmla="*/ 36786 h 197072"/>
                <a:gd name="connsiteX426" fmla="*/ 185118 w 291893"/>
                <a:gd name="connsiteY426" fmla="*/ 37243 h 197072"/>
                <a:gd name="connsiteX427" fmla="*/ 185433 w 291893"/>
                <a:gd name="connsiteY427" fmla="*/ 36328 h 197072"/>
                <a:gd name="connsiteX428" fmla="*/ 187357 w 291893"/>
                <a:gd name="connsiteY428" fmla="*/ 34928 h 197072"/>
                <a:gd name="connsiteX429" fmla="*/ 188681 w 291893"/>
                <a:gd name="connsiteY429" fmla="*/ 33233 h 197072"/>
                <a:gd name="connsiteX430" fmla="*/ 190900 w 291893"/>
                <a:gd name="connsiteY430" fmla="*/ 29061 h 197072"/>
                <a:gd name="connsiteX431" fmla="*/ 195748 w 291893"/>
                <a:gd name="connsiteY431" fmla="*/ 21536 h 197072"/>
                <a:gd name="connsiteX432" fmla="*/ 196758 w 291893"/>
                <a:gd name="connsiteY432" fmla="*/ 21317 h 197072"/>
                <a:gd name="connsiteX433" fmla="*/ 198168 w 291893"/>
                <a:gd name="connsiteY433" fmla="*/ 21908 h 197072"/>
                <a:gd name="connsiteX434" fmla="*/ 200654 w 291893"/>
                <a:gd name="connsiteY434" fmla="*/ 23879 h 197072"/>
                <a:gd name="connsiteX435" fmla="*/ 201835 w 291893"/>
                <a:gd name="connsiteY435" fmla="*/ 25460 h 197072"/>
                <a:gd name="connsiteX436" fmla="*/ 204168 w 291893"/>
                <a:gd name="connsiteY436" fmla="*/ 26660 h 197072"/>
                <a:gd name="connsiteX437" fmla="*/ 206559 w 291893"/>
                <a:gd name="connsiteY437" fmla="*/ 26241 h 197072"/>
                <a:gd name="connsiteX438" fmla="*/ 209864 w 291893"/>
                <a:gd name="connsiteY438" fmla="*/ 23603 h 197072"/>
                <a:gd name="connsiteX439" fmla="*/ 213608 w 291893"/>
                <a:gd name="connsiteY439" fmla="*/ 21984 h 197072"/>
                <a:gd name="connsiteX440" fmla="*/ 214884 w 291893"/>
                <a:gd name="connsiteY440" fmla="*/ 18240 h 197072"/>
                <a:gd name="connsiteX441" fmla="*/ 215122 w 291893"/>
                <a:gd name="connsiteY441" fmla="*/ 16526 h 197072"/>
                <a:gd name="connsiteX442" fmla="*/ 212112 w 291893"/>
                <a:gd name="connsiteY442" fmla="*/ 5315 h 197072"/>
                <a:gd name="connsiteX443" fmla="*/ 213379 w 291893"/>
                <a:gd name="connsiteY443" fmla="*/ 3010 h 197072"/>
                <a:gd name="connsiteX444" fmla="*/ 219904 w 291893"/>
                <a:gd name="connsiteY444" fmla="*/ 219 h 197072"/>
                <a:gd name="connsiteX445" fmla="*/ 225609 w 291893"/>
                <a:gd name="connsiteY445" fmla="*/ 0 h 197072"/>
                <a:gd name="connsiteX446" fmla="*/ 226962 w 291893"/>
                <a:gd name="connsiteY446" fmla="*/ 771 h 197072"/>
                <a:gd name="connsiteX447" fmla="*/ 230553 w 291893"/>
                <a:gd name="connsiteY447" fmla="*/ 6248 h 197072"/>
                <a:gd name="connsiteX448" fmla="*/ 232991 w 291893"/>
                <a:gd name="connsiteY448" fmla="*/ 8992 h 197072"/>
                <a:gd name="connsiteX449" fmla="*/ 234220 w 291893"/>
                <a:gd name="connsiteY449" fmla="*/ 11192 h 197072"/>
                <a:gd name="connsiteX450" fmla="*/ 234515 w 291893"/>
                <a:gd name="connsiteY450" fmla="*/ 16040 h 197072"/>
                <a:gd name="connsiteX451" fmla="*/ 235991 w 291893"/>
                <a:gd name="connsiteY451" fmla="*/ 17821 h 197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</a:cxnLst>
              <a:rect l="l" t="t" r="r" b="b"/>
              <a:pathLst>
                <a:path w="291893" h="197072">
                  <a:moveTo>
                    <a:pt x="238782" y="19831"/>
                  </a:moveTo>
                  <a:lnTo>
                    <a:pt x="241849" y="20079"/>
                  </a:lnTo>
                  <a:lnTo>
                    <a:pt x="246859" y="17802"/>
                  </a:lnTo>
                  <a:lnTo>
                    <a:pt x="248955" y="16307"/>
                  </a:lnTo>
                  <a:lnTo>
                    <a:pt x="254108" y="11116"/>
                  </a:lnTo>
                  <a:lnTo>
                    <a:pt x="257147" y="9668"/>
                  </a:lnTo>
                  <a:lnTo>
                    <a:pt x="261842" y="10030"/>
                  </a:lnTo>
                  <a:lnTo>
                    <a:pt x="264100" y="9668"/>
                  </a:lnTo>
                  <a:lnTo>
                    <a:pt x="264157" y="10173"/>
                  </a:lnTo>
                  <a:lnTo>
                    <a:pt x="261271" y="12278"/>
                  </a:lnTo>
                  <a:lnTo>
                    <a:pt x="258966" y="13002"/>
                  </a:lnTo>
                  <a:lnTo>
                    <a:pt x="255651" y="16135"/>
                  </a:lnTo>
                  <a:lnTo>
                    <a:pt x="252498" y="23184"/>
                  </a:lnTo>
                  <a:lnTo>
                    <a:pt x="250165" y="26632"/>
                  </a:lnTo>
                  <a:lnTo>
                    <a:pt x="250184" y="28165"/>
                  </a:lnTo>
                  <a:lnTo>
                    <a:pt x="253022" y="30880"/>
                  </a:lnTo>
                  <a:lnTo>
                    <a:pt x="256137" y="32414"/>
                  </a:lnTo>
                  <a:lnTo>
                    <a:pt x="258994" y="31023"/>
                  </a:lnTo>
                  <a:lnTo>
                    <a:pt x="260242" y="31566"/>
                  </a:lnTo>
                  <a:lnTo>
                    <a:pt x="261366" y="33576"/>
                  </a:lnTo>
                  <a:lnTo>
                    <a:pt x="262004" y="35566"/>
                  </a:lnTo>
                  <a:lnTo>
                    <a:pt x="262147" y="37538"/>
                  </a:lnTo>
                  <a:lnTo>
                    <a:pt x="261633" y="41653"/>
                  </a:lnTo>
                  <a:lnTo>
                    <a:pt x="259918" y="45777"/>
                  </a:lnTo>
                  <a:lnTo>
                    <a:pt x="257594" y="49225"/>
                  </a:lnTo>
                  <a:lnTo>
                    <a:pt x="257918" y="50311"/>
                  </a:lnTo>
                  <a:lnTo>
                    <a:pt x="259785" y="50863"/>
                  </a:lnTo>
                  <a:lnTo>
                    <a:pt x="268634" y="48635"/>
                  </a:lnTo>
                  <a:lnTo>
                    <a:pt x="269557" y="48797"/>
                  </a:lnTo>
                  <a:lnTo>
                    <a:pt x="270062" y="49911"/>
                  </a:lnTo>
                  <a:lnTo>
                    <a:pt x="270167" y="51968"/>
                  </a:lnTo>
                  <a:lnTo>
                    <a:pt x="270653" y="53826"/>
                  </a:lnTo>
                  <a:lnTo>
                    <a:pt x="271529" y="55493"/>
                  </a:lnTo>
                  <a:lnTo>
                    <a:pt x="271253" y="57188"/>
                  </a:lnTo>
                  <a:lnTo>
                    <a:pt x="267376" y="62551"/>
                  </a:lnTo>
                  <a:lnTo>
                    <a:pt x="271958" y="59179"/>
                  </a:lnTo>
                  <a:lnTo>
                    <a:pt x="275568" y="58226"/>
                  </a:lnTo>
                  <a:lnTo>
                    <a:pt x="281759" y="59922"/>
                  </a:lnTo>
                  <a:lnTo>
                    <a:pt x="284293" y="61865"/>
                  </a:lnTo>
                  <a:lnTo>
                    <a:pt x="285769" y="65284"/>
                  </a:lnTo>
                  <a:lnTo>
                    <a:pt x="287912" y="64151"/>
                  </a:lnTo>
                  <a:lnTo>
                    <a:pt x="288846" y="64218"/>
                  </a:lnTo>
                  <a:lnTo>
                    <a:pt x="290246" y="66161"/>
                  </a:lnTo>
                  <a:lnTo>
                    <a:pt x="290293" y="68237"/>
                  </a:lnTo>
                  <a:lnTo>
                    <a:pt x="289265" y="71180"/>
                  </a:lnTo>
                  <a:lnTo>
                    <a:pt x="288912" y="73905"/>
                  </a:lnTo>
                  <a:lnTo>
                    <a:pt x="287836" y="75019"/>
                  </a:lnTo>
                  <a:lnTo>
                    <a:pt x="285826" y="75829"/>
                  </a:lnTo>
                  <a:lnTo>
                    <a:pt x="285255" y="76733"/>
                  </a:lnTo>
                  <a:lnTo>
                    <a:pt x="286140" y="78800"/>
                  </a:lnTo>
                  <a:lnTo>
                    <a:pt x="287446" y="80820"/>
                  </a:lnTo>
                  <a:lnTo>
                    <a:pt x="289293" y="80905"/>
                  </a:lnTo>
                  <a:lnTo>
                    <a:pt x="289627" y="81839"/>
                  </a:lnTo>
                  <a:lnTo>
                    <a:pt x="289665" y="82953"/>
                  </a:lnTo>
                  <a:lnTo>
                    <a:pt x="289417" y="84268"/>
                  </a:lnTo>
                  <a:lnTo>
                    <a:pt x="288817" y="85163"/>
                  </a:lnTo>
                  <a:lnTo>
                    <a:pt x="287855" y="85658"/>
                  </a:lnTo>
                  <a:lnTo>
                    <a:pt x="286588" y="87097"/>
                  </a:lnTo>
                  <a:lnTo>
                    <a:pt x="291236" y="90240"/>
                  </a:lnTo>
                  <a:lnTo>
                    <a:pt x="291827" y="91411"/>
                  </a:lnTo>
                  <a:lnTo>
                    <a:pt x="291894" y="93116"/>
                  </a:lnTo>
                  <a:lnTo>
                    <a:pt x="291532" y="94993"/>
                  </a:lnTo>
                  <a:lnTo>
                    <a:pt x="290741" y="97031"/>
                  </a:lnTo>
                  <a:lnTo>
                    <a:pt x="289341" y="98231"/>
                  </a:lnTo>
                  <a:lnTo>
                    <a:pt x="285988" y="98431"/>
                  </a:lnTo>
                  <a:lnTo>
                    <a:pt x="283931" y="99755"/>
                  </a:lnTo>
                  <a:lnTo>
                    <a:pt x="284636" y="101946"/>
                  </a:lnTo>
                  <a:lnTo>
                    <a:pt x="284578" y="104718"/>
                  </a:lnTo>
                  <a:lnTo>
                    <a:pt x="283959" y="107985"/>
                  </a:lnTo>
                  <a:lnTo>
                    <a:pt x="281321" y="112909"/>
                  </a:lnTo>
                  <a:lnTo>
                    <a:pt x="278844" y="115529"/>
                  </a:lnTo>
                  <a:lnTo>
                    <a:pt x="276415" y="117224"/>
                  </a:lnTo>
                  <a:lnTo>
                    <a:pt x="272091" y="116624"/>
                  </a:lnTo>
                  <a:lnTo>
                    <a:pt x="269738" y="115319"/>
                  </a:lnTo>
                  <a:lnTo>
                    <a:pt x="269996" y="119558"/>
                  </a:lnTo>
                  <a:lnTo>
                    <a:pt x="267595" y="122158"/>
                  </a:lnTo>
                  <a:lnTo>
                    <a:pt x="268043" y="124330"/>
                  </a:lnTo>
                  <a:lnTo>
                    <a:pt x="268881" y="125435"/>
                  </a:lnTo>
                  <a:lnTo>
                    <a:pt x="268472" y="128216"/>
                  </a:lnTo>
                  <a:lnTo>
                    <a:pt x="267329" y="130969"/>
                  </a:lnTo>
                  <a:lnTo>
                    <a:pt x="265414" y="133941"/>
                  </a:lnTo>
                  <a:lnTo>
                    <a:pt x="263242" y="135798"/>
                  </a:lnTo>
                  <a:lnTo>
                    <a:pt x="258928" y="138036"/>
                  </a:lnTo>
                  <a:lnTo>
                    <a:pt x="255241" y="141742"/>
                  </a:lnTo>
                  <a:lnTo>
                    <a:pt x="252727" y="143208"/>
                  </a:lnTo>
                  <a:lnTo>
                    <a:pt x="246459" y="143142"/>
                  </a:lnTo>
                  <a:lnTo>
                    <a:pt x="240068" y="145523"/>
                  </a:lnTo>
                  <a:lnTo>
                    <a:pt x="231039" y="150533"/>
                  </a:lnTo>
                  <a:lnTo>
                    <a:pt x="224952" y="154534"/>
                  </a:lnTo>
                  <a:lnTo>
                    <a:pt x="220256" y="159058"/>
                  </a:lnTo>
                  <a:lnTo>
                    <a:pt x="214055" y="166411"/>
                  </a:lnTo>
                  <a:lnTo>
                    <a:pt x="209455" y="169497"/>
                  </a:lnTo>
                  <a:lnTo>
                    <a:pt x="206797" y="170326"/>
                  </a:lnTo>
                  <a:lnTo>
                    <a:pt x="201625" y="170983"/>
                  </a:lnTo>
                  <a:lnTo>
                    <a:pt x="197291" y="172974"/>
                  </a:lnTo>
                  <a:lnTo>
                    <a:pt x="182899" y="176689"/>
                  </a:lnTo>
                  <a:lnTo>
                    <a:pt x="178032" y="178718"/>
                  </a:lnTo>
                  <a:lnTo>
                    <a:pt x="177403" y="180556"/>
                  </a:lnTo>
                  <a:lnTo>
                    <a:pt x="175384" y="183328"/>
                  </a:lnTo>
                  <a:lnTo>
                    <a:pt x="175260" y="184328"/>
                  </a:lnTo>
                  <a:lnTo>
                    <a:pt x="176136" y="185099"/>
                  </a:lnTo>
                  <a:lnTo>
                    <a:pt x="176308" y="186099"/>
                  </a:lnTo>
                  <a:lnTo>
                    <a:pt x="174527" y="189367"/>
                  </a:lnTo>
                  <a:lnTo>
                    <a:pt x="170964" y="191719"/>
                  </a:lnTo>
                  <a:lnTo>
                    <a:pt x="169288" y="191681"/>
                  </a:lnTo>
                  <a:lnTo>
                    <a:pt x="167249" y="189652"/>
                  </a:lnTo>
                  <a:lnTo>
                    <a:pt x="166364" y="189729"/>
                  </a:lnTo>
                  <a:lnTo>
                    <a:pt x="166011" y="190043"/>
                  </a:lnTo>
                  <a:lnTo>
                    <a:pt x="165992" y="190672"/>
                  </a:lnTo>
                  <a:lnTo>
                    <a:pt x="167164" y="193110"/>
                  </a:lnTo>
                  <a:lnTo>
                    <a:pt x="165011" y="194234"/>
                  </a:lnTo>
                  <a:lnTo>
                    <a:pt x="155638" y="197072"/>
                  </a:lnTo>
                  <a:lnTo>
                    <a:pt x="139684" y="194977"/>
                  </a:lnTo>
                  <a:lnTo>
                    <a:pt x="133369" y="192796"/>
                  </a:lnTo>
                  <a:lnTo>
                    <a:pt x="125568" y="189309"/>
                  </a:lnTo>
                  <a:lnTo>
                    <a:pt x="120929" y="188385"/>
                  </a:lnTo>
                  <a:lnTo>
                    <a:pt x="114348" y="188157"/>
                  </a:lnTo>
                  <a:lnTo>
                    <a:pt x="108938" y="183280"/>
                  </a:lnTo>
                  <a:lnTo>
                    <a:pt x="106432" y="180261"/>
                  </a:lnTo>
                  <a:lnTo>
                    <a:pt x="106232" y="179003"/>
                  </a:lnTo>
                  <a:lnTo>
                    <a:pt x="106518" y="177565"/>
                  </a:lnTo>
                  <a:lnTo>
                    <a:pt x="107080" y="176584"/>
                  </a:lnTo>
                  <a:lnTo>
                    <a:pt x="107918" y="176060"/>
                  </a:lnTo>
                  <a:lnTo>
                    <a:pt x="109699" y="176003"/>
                  </a:lnTo>
                  <a:lnTo>
                    <a:pt x="109937" y="175574"/>
                  </a:lnTo>
                  <a:lnTo>
                    <a:pt x="108575" y="173145"/>
                  </a:lnTo>
                  <a:lnTo>
                    <a:pt x="107270" y="173936"/>
                  </a:lnTo>
                  <a:lnTo>
                    <a:pt x="103794" y="177365"/>
                  </a:lnTo>
                  <a:lnTo>
                    <a:pt x="102241" y="177241"/>
                  </a:lnTo>
                  <a:lnTo>
                    <a:pt x="100203" y="175527"/>
                  </a:lnTo>
                  <a:lnTo>
                    <a:pt x="100127" y="173860"/>
                  </a:lnTo>
                  <a:lnTo>
                    <a:pt x="96155" y="173222"/>
                  </a:lnTo>
                  <a:lnTo>
                    <a:pt x="92697" y="171136"/>
                  </a:lnTo>
                  <a:lnTo>
                    <a:pt x="89259" y="168135"/>
                  </a:lnTo>
                  <a:lnTo>
                    <a:pt x="88744" y="166992"/>
                  </a:lnTo>
                  <a:lnTo>
                    <a:pt x="90402" y="165306"/>
                  </a:lnTo>
                  <a:lnTo>
                    <a:pt x="90078" y="164983"/>
                  </a:lnTo>
                  <a:lnTo>
                    <a:pt x="88830" y="164697"/>
                  </a:lnTo>
                  <a:lnTo>
                    <a:pt x="86325" y="165249"/>
                  </a:lnTo>
                  <a:lnTo>
                    <a:pt x="82544" y="169050"/>
                  </a:lnTo>
                  <a:lnTo>
                    <a:pt x="80915" y="169926"/>
                  </a:lnTo>
                  <a:lnTo>
                    <a:pt x="56217" y="170812"/>
                  </a:lnTo>
                  <a:lnTo>
                    <a:pt x="49949" y="171202"/>
                  </a:lnTo>
                  <a:lnTo>
                    <a:pt x="48739" y="171783"/>
                  </a:lnTo>
                  <a:lnTo>
                    <a:pt x="47653" y="169316"/>
                  </a:lnTo>
                  <a:lnTo>
                    <a:pt x="46682" y="163792"/>
                  </a:lnTo>
                  <a:lnTo>
                    <a:pt x="46320" y="160144"/>
                  </a:lnTo>
                  <a:lnTo>
                    <a:pt x="46568" y="158372"/>
                  </a:lnTo>
                  <a:lnTo>
                    <a:pt x="47435" y="156248"/>
                  </a:lnTo>
                  <a:lnTo>
                    <a:pt x="48778" y="156610"/>
                  </a:lnTo>
                  <a:lnTo>
                    <a:pt x="50054" y="158296"/>
                  </a:lnTo>
                  <a:lnTo>
                    <a:pt x="51216" y="160687"/>
                  </a:lnTo>
                  <a:lnTo>
                    <a:pt x="52540" y="161849"/>
                  </a:lnTo>
                  <a:lnTo>
                    <a:pt x="61160" y="158934"/>
                  </a:lnTo>
                  <a:lnTo>
                    <a:pt x="64665" y="156972"/>
                  </a:lnTo>
                  <a:lnTo>
                    <a:pt x="66151" y="155115"/>
                  </a:lnTo>
                  <a:lnTo>
                    <a:pt x="67904" y="151933"/>
                  </a:lnTo>
                  <a:lnTo>
                    <a:pt x="69761" y="150304"/>
                  </a:lnTo>
                  <a:lnTo>
                    <a:pt x="70647" y="148771"/>
                  </a:lnTo>
                  <a:lnTo>
                    <a:pt x="72390" y="143885"/>
                  </a:lnTo>
                  <a:lnTo>
                    <a:pt x="73590" y="141618"/>
                  </a:lnTo>
                  <a:lnTo>
                    <a:pt x="75038" y="139932"/>
                  </a:lnTo>
                  <a:lnTo>
                    <a:pt x="76714" y="138846"/>
                  </a:lnTo>
                  <a:lnTo>
                    <a:pt x="80524" y="138074"/>
                  </a:lnTo>
                  <a:lnTo>
                    <a:pt x="78019" y="136922"/>
                  </a:lnTo>
                  <a:lnTo>
                    <a:pt x="75619" y="136922"/>
                  </a:lnTo>
                  <a:lnTo>
                    <a:pt x="67485" y="142094"/>
                  </a:lnTo>
                  <a:lnTo>
                    <a:pt x="64751" y="142094"/>
                  </a:lnTo>
                  <a:lnTo>
                    <a:pt x="64865" y="141284"/>
                  </a:lnTo>
                  <a:lnTo>
                    <a:pt x="66018" y="139827"/>
                  </a:lnTo>
                  <a:lnTo>
                    <a:pt x="68818" y="137303"/>
                  </a:lnTo>
                  <a:lnTo>
                    <a:pt x="66894" y="137112"/>
                  </a:lnTo>
                  <a:lnTo>
                    <a:pt x="66161" y="135969"/>
                  </a:lnTo>
                  <a:lnTo>
                    <a:pt x="66075" y="133560"/>
                  </a:lnTo>
                  <a:lnTo>
                    <a:pt x="67504" y="129664"/>
                  </a:lnTo>
                  <a:lnTo>
                    <a:pt x="74133" y="124520"/>
                  </a:lnTo>
                  <a:lnTo>
                    <a:pt x="76428" y="123758"/>
                  </a:lnTo>
                  <a:lnTo>
                    <a:pt x="77124" y="122739"/>
                  </a:lnTo>
                  <a:lnTo>
                    <a:pt x="76257" y="121910"/>
                  </a:lnTo>
                  <a:lnTo>
                    <a:pt x="74866" y="121406"/>
                  </a:lnTo>
                  <a:lnTo>
                    <a:pt x="68199" y="126711"/>
                  </a:lnTo>
                  <a:lnTo>
                    <a:pt x="63341" y="128540"/>
                  </a:lnTo>
                  <a:lnTo>
                    <a:pt x="61903" y="128187"/>
                  </a:lnTo>
                  <a:lnTo>
                    <a:pt x="59388" y="126140"/>
                  </a:lnTo>
                  <a:lnTo>
                    <a:pt x="58579" y="125216"/>
                  </a:lnTo>
                  <a:lnTo>
                    <a:pt x="57493" y="122863"/>
                  </a:lnTo>
                  <a:lnTo>
                    <a:pt x="57626" y="121444"/>
                  </a:lnTo>
                  <a:lnTo>
                    <a:pt x="59931" y="117272"/>
                  </a:lnTo>
                  <a:lnTo>
                    <a:pt x="59560" y="116462"/>
                  </a:lnTo>
                  <a:lnTo>
                    <a:pt x="57969" y="116053"/>
                  </a:lnTo>
                  <a:lnTo>
                    <a:pt x="53692" y="112204"/>
                  </a:lnTo>
                  <a:lnTo>
                    <a:pt x="46930" y="112595"/>
                  </a:lnTo>
                  <a:lnTo>
                    <a:pt x="30175" y="110357"/>
                  </a:lnTo>
                  <a:lnTo>
                    <a:pt x="26708" y="111309"/>
                  </a:lnTo>
                  <a:lnTo>
                    <a:pt x="21002" y="114614"/>
                  </a:lnTo>
                  <a:lnTo>
                    <a:pt x="17554" y="115700"/>
                  </a:lnTo>
                  <a:lnTo>
                    <a:pt x="15964" y="114986"/>
                  </a:lnTo>
                  <a:lnTo>
                    <a:pt x="14516" y="113233"/>
                  </a:lnTo>
                  <a:lnTo>
                    <a:pt x="13202" y="110881"/>
                  </a:lnTo>
                  <a:lnTo>
                    <a:pt x="12020" y="107899"/>
                  </a:lnTo>
                  <a:lnTo>
                    <a:pt x="12525" y="105832"/>
                  </a:lnTo>
                  <a:lnTo>
                    <a:pt x="14735" y="104651"/>
                  </a:lnTo>
                  <a:lnTo>
                    <a:pt x="16355" y="104089"/>
                  </a:lnTo>
                  <a:lnTo>
                    <a:pt x="20917" y="104804"/>
                  </a:lnTo>
                  <a:lnTo>
                    <a:pt x="26479" y="102718"/>
                  </a:lnTo>
                  <a:lnTo>
                    <a:pt x="30023" y="102280"/>
                  </a:lnTo>
                  <a:lnTo>
                    <a:pt x="31042" y="101946"/>
                  </a:lnTo>
                  <a:lnTo>
                    <a:pt x="33128" y="99727"/>
                  </a:lnTo>
                  <a:lnTo>
                    <a:pt x="34157" y="99165"/>
                  </a:lnTo>
                  <a:lnTo>
                    <a:pt x="35757" y="99946"/>
                  </a:lnTo>
                  <a:lnTo>
                    <a:pt x="36538" y="101451"/>
                  </a:lnTo>
                  <a:lnTo>
                    <a:pt x="42129" y="99108"/>
                  </a:lnTo>
                  <a:lnTo>
                    <a:pt x="44053" y="97936"/>
                  </a:lnTo>
                  <a:lnTo>
                    <a:pt x="44272" y="97203"/>
                  </a:lnTo>
                  <a:lnTo>
                    <a:pt x="45110" y="96364"/>
                  </a:lnTo>
                  <a:lnTo>
                    <a:pt x="47892" y="97631"/>
                  </a:lnTo>
                  <a:lnTo>
                    <a:pt x="50149" y="97669"/>
                  </a:lnTo>
                  <a:lnTo>
                    <a:pt x="52959" y="96793"/>
                  </a:lnTo>
                  <a:lnTo>
                    <a:pt x="57931" y="96412"/>
                  </a:lnTo>
                  <a:lnTo>
                    <a:pt x="69066" y="96212"/>
                  </a:lnTo>
                  <a:lnTo>
                    <a:pt x="70733" y="94297"/>
                  </a:lnTo>
                  <a:lnTo>
                    <a:pt x="71514" y="92602"/>
                  </a:lnTo>
                  <a:lnTo>
                    <a:pt x="72495" y="88287"/>
                  </a:lnTo>
                  <a:lnTo>
                    <a:pt x="72057" y="87401"/>
                  </a:lnTo>
                  <a:lnTo>
                    <a:pt x="65113" y="91373"/>
                  </a:lnTo>
                  <a:lnTo>
                    <a:pt x="63522" y="91307"/>
                  </a:lnTo>
                  <a:lnTo>
                    <a:pt x="55474" y="89202"/>
                  </a:lnTo>
                  <a:lnTo>
                    <a:pt x="52569" y="86820"/>
                  </a:lnTo>
                  <a:lnTo>
                    <a:pt x="53521" y="84906"/>
                  </a:lnTo>
                  <a:lnTo>
                    <a:pt x="57788" y="80772"/>
                  </a:lnTo>
                  <a:lnTo>
                    <a:pt x="62189" y="77457"/>
                  </a:lnTo>
                  <a:lnTo>
                    <a:pt x="68666" y="73857"/>
                  </a:lnTo>
                  <a:lnTo>
                    <a:pt x="70180" y="72457"/>
                  </a:lnTo>
                  <a:lnTo>
                    <a:pt x="70342" y="70790"/>
                  </a:lnTo>
                  <a:lnTo>
                    <a:pt x="66018" y="67828"/>
                  </a:lnTo>
                  <a:lnTo>
                    <a:pt x="57855" y="68647"/>
                  </a:lnTo>
                  <a:lnTo>
                    <a:pt x="55759" y="65132"/>
                  </a:lnTo>
                  <a:lnTo>
                    <a:pt x="48968" y="63046"/>
                  </a:lnTo>
                  <a:lnTo>
                    <a:pt x="44453" y="64351"/>
                  </a:lnTo>
                  <a:lnTo>
                    <a:pt x="42053" y="62217"/>
                  </a:lnTo>
                  <a:lnTo>
                    <a:pt x="36186" y="65170"/>
                  </a:lnTo>
                  <a:lnTo>
                    <a:pt x="23289" y="69428"/>
                  </a:lnTo>
                  <a:lnTo>
                    <a:pt x="18155" y="72371"/>
                  </a:lnTo>
                  <a:lnTo>
                    <a:pt x="15392" y="73352"/>
                  </a:lnTo>
                  <a:lnTo>
                    <a:pt x="12211" y="70952"/>
                  </a:lnTo>
                  <a:lnTo>
                    <a:pt x="6725" y="68237"/>
                  </a:lnTo>
                  <a:lnTo>
                    <a:pt x="552" y="67389"/>
                  </a:lnTo>
                  <a:lnTo>
                    <a:pt x="0" y="65789"/>
                  </a:lnTo>
                  <a:lnTo>
                    <a:pt x="3600" y="60884"/>
                  </a:lnTo>
                  <a:lnTo>
                    <a:pt x="6067" y="59988"/>
                  </a:lnTo>
                  <a:lnTo>
                    <a:pt x="8544" y="60446"/>
                  </a:lnTo>
                  <a:lnTo>
                    <a:pt x="13278" y="63865"/>
                  </a:lnTo>
                  <a:lnTo>
                    <a:pt x="16545" y="64941"/>
                  </a:lnTo>
                  <a:lnTo>
                    <a:pt x="12449" y="59912"/>
                  </a:lnTo>
                  <a:lnTo>
                    <a:pt x="12554" y="57979"/>
                  </a:lnTo>
                  <a:lnTo>
                    <a:pt x="12240" y="55074"/>
                  </a:lnTo>
                  <a:lnTo>
                    <a:pt x="10982" y="53826"/>
                  </a:lnTo>
                  <a:lnTo>
                    <a:pt x="9725" y="50606"/>
                  </a:lnTo>
                  <a:lnTo>
                    <a:pt x="10239" y="49521"/>
                  </a:lnTo>
                  <a:lnTo>
                    <a:pt x="11849" y="49130"/>
                  </a:lnTo>
                  <a:lnTo>
                    <a:pt x="15145" y="50225"/>
                  </a:lnTo>
                  <a:lnTo>
                    <a:pt x="22984" y="55807"/>
                  </a:lnTo>
                  <a:lnTo>
                    <a:pt x="26832" y="54816"/>
                  </a:lnTo>
                  <a:lnTo>
                    <a:pt x="28937" y="52759"/>
                  </a:lnTo>
                  <a:lnTo>
                    <a:pt x="31823" y="51235"/>
                  </a:lnTo>
                  <a:lnTo>
                    <a:pt x="31004" y="50444"/>
                  </a:lnTo>
                  <a:lnTo>
                    <a:pt x="24232" y="50349"/>
                  </a:lnTo>
                  <a:lnTo>
                    <a:pt x="20603" y="49206"/>
                  </a:lnTo>
                  <a:lnTo>
                    <a:pt x="18774" y="47568"/>
                  </a:lnTo>
                  <a:lnTo>
                    <a:pt x="17183" y="44777"/>
                  </a:lnTo>
                  <a:lnTo>
                    <a:pt x="17745" y="43491"/>
                  </a:lnTo>
                  <a:lnTo>
                    <a:pt x="19631" y="42462"/>
                  </a:lnTo>
                  <a:lnTo>
                    <a:pt x="25413" y="42767"/>
                  </a:lnTo>
                  <a:lnTo>
                    <a:pt x="21603" y="37900"/>
                  </a:lnTo>
                  <a:lnTo>
                    <a:pt x="18955" y="35100"/>
                  </a:lnTo>
                  <a:lnTo>
                    <a:pt x="18669" y="33747"/>
                  </a:lnTo>
                  <a:lnTo>
                    <a:pt x="18850" y="32052"/>
                  </a:lnTo>
                  <a:lnTo>
                    <a:pt x="19202" y="30909"/>
                  </a:lnTo>
                  <a:lnTo>
                    <a:pt x="19745" y="30337"/>
                  </a:lnTo>
                  <a:lnTo>
                    <a:pt x="26375" y="33195"/>
                  </a:lnTo>
                  <a:lnTo>
                    <a:pt x="27832" y="33309"/>
                  </a:lnTo>
                  <a:lnTo>
                    <a:pt x="26489" y="31471"/>
                  </a:lnTo>
                  <a:lnTo>
                    <a:pt x="23574" y="28756"/>
                  </a:lnTo>
                  <a:lnTo>
                    <a:pt x="23451" y="27737"/>
                  </a:lnTo>
                  <a:lnTo>
                    <a:pt x="24679" y="26908"/>
                  </a:lnTo>
                  <a:lnTo>
                    <a:pt x="25279" y="25356"/>
                  </a:lnTo>
                  <a:lnTo>
                    <a:pt x="25337" y="24079"/>
                  </a:lnTo>
                  <a:lnTo>
                    <a:pt x="27346" y="22974"/>
                  </a:lnTo>
                  <a:lnTo>
                    <a:pt x="29385" y="22927"/>
                  </a:lnTo>
                  <a:lnTo>
                    <a:pt x="31432" y="23936"/>
                  </a:lnTo>
                  <a:lnTo>
                    <a:pt x="37776" y="29232"/>
                  </a:lnTo>
                  <a:lnTo>
                    <a:pt x="38681" y="30718"/>
                  </a:lnTo>
                  <a:lnTo>
                    <a:pt x="38986" y="32671"/>
                  </a:lnTo>
                  <a:lnTo>
                    <a:pt x="38671" y="35100"/>
                  </a:lnTo>
                  <a:lnTo>
                    <a:pt x="38938" y="36071"/>
                  </a:lnTo>
                  <a:lnTo>
                    <a:pt x="41415" y="35242"/>
                  </a:lnTo>
                  <a:lnTo>
                    <a:pt x="43396" y="36262"/>
                  </a:lnTo>
                  <a:lnTo>
                    <a:pt x="44377" y="35985"/>
                  </a:lnTo>
                  <a:lnTo>
                    <a:pt x="46844" y="32337"/>
                  </a:lnTo>
                  <a:lnTo>
                    <a:pt x="48539" y="33204"/>
                  </a:lnTo>
                  <a:lnTo>
                    <a:pt x="49559" y="34909"/>
                  </a:lnTo>
                  <a:lnTo>
                    <a:pt x="49882" y="36452"/>
                  </a:lnTo>
                  <a:lnTo>
                    <a:pt x="50035" y="38567"/>
                  </a:lnTo>
                  <a:lnTo>
                    <a:pt x="49597" y="42967"/>
                  </a:lnTo>
                  <a:lnTo>
                    <a:pt x="49711" y="43586"/>
                  </a:lnTo>
                  <a:lnTo>
                    <a:pt x="51435" y="41100"/>
                  </a:lnTo>
                  <a:lnTo>
                    <a:pt x="54369" y="40910"/>
                  </a:lnTo>
                  <a:lnTo>
                    <a:pt x="54750" y="39662"/>
                  </a:lnTo>
                  <a:lnTo>
                    <a:pt x="54835" y="35033"/>
                  </a:lnTo>
                  <a:lnTo>
                    <a:pt x="54597" y="31109"/>
                  </a:lnTo>
                  <a:lnTo>
                    <a:pt x="54273" y="30309"/>
                  </a:lnTo>
                  <a:lnTo>
                    <a:pt x="44615" y="24860"/>
                  </a:lnTo>
                  <a:lnTo>
                    <a:pt x="42939" y="23565"/>
                  </a:lnTo>
                  <a:lnTo>
                    <a:pt x="40834" y="20879"/>
                  </a:lnTo>
                  <a:lnTo>
                    <a:pt x="41262" y="19526"/>
                  </a:lnTo>
                  <a:lnTo>
                    <a:pt x="43148" y="18317"/>
                  </a:lnTo>
                  <a:lnTo>
                    <a:pt x="45977" y="17831"/>
                  </a:lnTo>
                  <a:lnTo>
                    <a:pt x="52559" y="17897"/>
                  </a:lnTo>
                  <a:lnTo>
                    <a:pt x="53226" y="17326"/>
                  </a:lnTo>
                  <a:lnTo>
                    <a:pt x="51949" y="15907"/>
                  </a:lnTo>
                  <a:lnTo>
                    <a:pt x="48911" y="14992"/>
                  </a:lnTo>
                  <a:lnTo>
                    <a:pt x="48196" y="14164"/>
                  </a:lnTo>
                  <a:lnTo>
                    <a:pt x="47835" y="12583"/>
                  </a:lnTo>
                  <a:lnTo>
                    <a:pt x="44225" y="13449"/>
                  </a:lnTo>
                  <a:lnTo>
                    <a:pt x="40196" y="13487"/>
                  </a:lnTo>
                  <a:lnTo>
                    <a:pt x="36319" y="12516"/>
                  </a:lnTo>
                  <a:lnTo>
                    <a:pt x="36243" y="11287"/>
                  </a:lnTo>
                  <a:lnTo>
                    <a:pt x="37767" y="9477"/>
                  </a:lnTo>
                  <a:lnTo>
                    <a:pt x="40938" y="6477"/>
                  </a:lnTo>
                  <a:lnTo>
                    <a:pt x="42405" y="5725"/>
                  </a:lnTo>
                  <a:lnTo>
                    <a:pt x="46834" y="6248"/>
                  </a:lnTo>
                  <a:lnTo>
                    <a:pt x="51225" y="5401"/>
                  </a:lnTo>
                  <a:lnTo>
                    <a:pt x="54788" y="6429"/>
                  </a:lnTo>
                  <a:lnTo>
                    <a:pt x="57617" y="9401"/>
                  </a:lnTo>
                  <a:lnTo>
                    <a:pt x="61627" y="14621"/>
                  </a:lnTo>
                  <a:lnTo>
                    <a:pt x="67056" y="17945"/>
                  </a:lnTo>
                  <a:lnTo>
                    <a:pt x="67561" y="18993"/>
                  </a:lnTo>
                  <a:lnTo>
                    <a:pt x="70447" y="21708"/>
                  </a:lnTo>
                  <a:lnTo>
                    <a:pt x="76200" y="29004"/>
                  </a:lnTo>
                  <a:lnTo>
                    <a:pt x="82039" y="33223"/>
                  </a:lnTo>
                  <a:lnTo>
                    <a:pt x="82305" y="34300"/>
                  </a:lnTo>
                  <a:lnTo>
                    <a:pt x="81344" y="35557"/>
                  </a:lnTo>
                  <a:lnTo>
                    <a:pt x="79095" y="37033"/>
                  </a:lnTo>
                  <a:lnTo>
                    <a:pt x="79610" y="37843"/>
                  </a:lnTo>
                  <a:lnTo>
                    <a:pt x="82544" y="38919"/>
                  </a:lnTo>
                  <a:lnTo>
                    <a:pt x="84658" y="41758"/>
                  </a:lnTo>
                  <a:lnTo>
                    <a:pt x="84801" y="42996"/>
                  </a:lnTo>
                  <a:lnTo>
                    <a:pt x="82887" y="51759"/>
                  </a:lnTo>
                  <a:lnTo>
                    <a:pt x="81867" y="53616"/>
                  </a:lnTo>
                  <a:lnTo>
                    <a:pt x="80705" y="54597"/>
                  </a:lnTo>
                  <a:lnTo>
                    <a:pt x="75314" y="52950"/>
                  </a:lnTo>
                  <a:lnTo>
                    <a:pt x="76590" y="55731"/>
                  </a:lnTo>
                  <a:lnTo>
                    <a:pt x="80448" y="58683"/>
                  </a:lnTo>
                  <a:lnTo>
                    <a:pt x="81315" y="60331"/>
                  </a:lnTo>
                  <a:lnTo>
                    <a:pt x="80743" y="61951"/>
                  </a:lnTo>
                  <a:lnTo>
                    <a:pt x="81162" y="62322"/>
                  </a:lnTo>
                  <a:lnTo>
                    <a:pt x="82572" y="61455"/>
                  </a:lnTo>
                  <a:lnTo>
                    <a:pt x="83163" y="62370"/>
                  </a:lnTo>
                  <a:lnTo>
                    <a:pt x="82915" y="65065"/>
                  </a:lnTo>
                  <a:lnTo>
                    <a:pt x="82315" y="67304"/>
                  </a:lnTo>
                  <a:lnTo>
                    <a:pt x="81353" y="69075"/>
                  </a:lnTo>
                  <a:lnTo>
                    <a:pt x="81639" y="69847"/>
                  </a:lnTo>
                  <a:lnTo>
                    <a:pt x="83144" y="69609"/>
                  </a:lnTo>
                  <a:lnTo>
                    <a:pt x="84553" y="70066"/>
                  </a:lnTo>
                  <a:lnTo>
                    <a:pt x="86763" y="72514"/>
                  </a:lnTo>
                  <a:lnTo>
                    <a:pt x="88554" y="79972"/>
                  </a:lnTo>
                  <a:lnTo>
                    <a:pt x="89440" y="82372"/>
                  </a:lnTo>
                  <a:lnTo>
                    <a:pt x="90088" y="80239"/>
                  </a:lnTo>
                  <a:lnTo>
                    <a:pt x="90887" y="74800"/>
                  </a:lnTo>
                  <a:lnTo>
                    <a:pt x="91640" y="72019"/>
                  </a:lnTo>
                  <a:lnTo>
                    <a:pt x="92354" y="71895"/>
                  </a:lnTo>
                  <a:lnTo>
                    <a:pt x="92964" y="70980"/>
                  </a:lnTo>
                  <a:lnTo>
                    <a:pt x="93478" y="69266"/>
                  </a:lnTo>
                  <a:lnTo>
                    <a:pt x="94526" y="63208"/>
                  </a:lnTo>
                  <a:lnTo>
                    <a:pt x="98145" y="58607"/>
                  </a:lnTo>
                  <a:lnTo>
                    <a:pt x="99869" y="57188"/>
                  </a:lnTo>
                  <a:lnTo>
                    <a:pt x="101498" y="56883"/>
                  </a:lnTo>
                  <a:lnTo>
                    <a:pt x="102280" y="57455"/>
                  </a:lnTo>
                  <a:lnTo>
                    <a:pt x="104994" y="62284"/>
                  </a:lnTo>
                  <a:lnTo>
                    <a:pt x="106642" y="63094"/>
                  </a:lnTo>
                  <a:lnTo>
                    <a:pt x="107480" y="62836"/>
                  </a:lnTo>
                  <a:lnTo>
                    <a:pt x="108642" y="59550"/>
                  </a:lnTo>
                  <a:lnTo>
                    <a:pt x="110109" y="53245"/>
                  </a:lnTo>
                  <a:lnTo>
                    <a:pt x="110442" y="46177"/>
                  </a:lnTo>
                  <a:lnTo>
                    <a:pt x="109652" y="38338"/>
                  </a:lnTo>
                  <a:lnTo>
                    <a:pt x="110109" y="32718"/>
                  </a:lnTo>
                  <a:lnTo>
                    <a:pt x="111833" y="29356"/>
                  </a:lnTo>
                  <a:lnTo>
                    <a:pt x="114090" y="28318"/>
                  </a:lnTo>
                  <a:lnTo>
                    <a:pt x="116900" y="29613"/>
                  </a:lnTo>
                  <a:lnTo>
                    <a:pt x="118948" y="31671"/>
                  </a:lnTo>
                  <a:lnTo>
                    <a:pt x="122987" y="39481"/>
                  </a:lnTo>
                  <a:lnTo>
                    <a:pt x="126254" y="43567"/>
                  </a:lnTo>
                  <a:lnTo>
                    <a:pt x="129054" y="47930"/>
                  </a:lnTo>
                  <a:lnTo>
                    <a:pt x="130502" y="49349"/>
                  </a:lnTo>
                  <a:lnTo>
                    <a:pt x="133283" y="50063"/>
                  </a:lnTo>
                  <a:lnTo>
                    <a:pt x="134026" y="49778"/>
                  </a:lnTo>
                  <a:lnTo>
                    <a:pt x="134521" y="48778"/>
                  </a:lnTo>
                  <a:lnTo>
                    <a:pt x="134779" y="47044"/>
                  </a:lnTo>
                  <a:lnTo>
                    <a:pt x="134179" y="35890"/>
                  </a:lnTo>
                  <a:lnTo>
                    <a:pt x="134960" y="32414"/>
                  </a:lnTo>
                  <a:lnTo>
                    <a:pt x="136141" y="29928"/>
                  </a:lnTo>
                  <a:lnTo>
                    <a:pt x="141151" y="28470"/>
                  </a:lnTo>
                  <a:lnTo>
                    <a:pt x="143885" y="26908"/>
                  </a:lnTo>
                  <a:lnTo>
                    <a:pt x="146542" y="24346"/>
                  </a:lnTo>
                  <a:lnTo>
                    <a:pt x="148742" y="22965"/>
                  </a:lnTo>
                  <a:lnTo>
                    <a:pt x="150495" y="22784"/>
                  </a:lnTo>
                  <a:lnTo>
                    <a:pt x="152314" y="23784"/>
                  </a:lnTo>
                  <a:lnTo>
                    <a:pt x="154229" y="25965"/>
                  </a:lnTo>
                  <a:lnTo>
                    <a:pt x="157201" y="30213"/>
                  </a:lnTo>
                  <a:lnTo>
                    <a:pt x="160944" y="37233"/>
                  </a:lnTo>
                  <a:lnTo>
                    <a:pt x="165706" y="42453"/>
                  </a:lnTo>
                  <a:lnTo>
                    <a:pt x="168192" y="50721"/>
                  </a:lnTo>
                  <a:lnTo>
                    <a:pt x="168726" y="52111"/>
                  </a:lnTo>
                  <a:lnTo>
                    <a:pt x="169316" y="52273"/>
                  </a:lnTo>
                  <a:lnTo>
                    <a:pt x="169945" y="51197"/>
                  </a:lnTo>
                  <a:lnTo>
                    <a:pt x="170345" y="49682"/>
                  </a:lnTo>
                  <a:lnTo>
                    <a:pt x="170459" y="46006"/>
                  </a:lnTo>
                  <a:lnTo>
                    <a:pt x="169126" y="41129"/>
                  </a:lnTo>
                  <a:lnTo>
                    <a:pt x="164678" y="28775"/>
                  </a:lnTo>
                  <a:lnTo>
                    <a:pt x="164602" y="26422"/>
                  </a:lnTo>
                  <a:lnTo>
                    <a:pt x="165163" y="24536"/>
                  </a:lnTo>
                  <a:lnTo>
                    <a:pt x="168297" y="24327"/>
                  </a:lnTo>
                  <a:lnTo>
                    <a:pt x="175593" y="25470"/>
                  </a:lnTo>
                  <a:lnTo>
                    <a:pt x="177917" y="27394"/>
                  </a:lnTo>
                  <a:lnTo>
                    <a:pt x="182880" y="34957"/>
                  </a:lnTo>
                  <a:lnTo>
                    <a:pt x="184271" y="36786"/>
                  </a:lnTo>
                  <a:lnTo>
                    <a:pt x="185118" y="37243"/>
                  </a:lnTo>
                  <a:lnTo>
                    <a:pt x="185433" y="36328"/>
                  </a:lnTo>
                  <a:lnTo>
                    <a:pt x="187357" y="34928"/>
                  </a:lnTo>
                  <a:lnTo>
                    <a:pt x="188681" y="33233"/>
                  </a:lnTo>
                  <a:lnTo>
                    <a:pt x="190900" y="29061"/>
                  </a:lnTo>
                  <a:lnTo>
                    <a:pt x="195748" y="21536"/>
                  </a:lnTo>
                  <a:lnTo>
                    <a:pt x="196758" y="21317"/>
                  </a:lnTo>
                  <a:lnTo>
                    <a:pt x="198168" y="21908"/>
                  </a:lnTo>
                  <a:lnTo>
                    <a:pt x="200654" y="23879"/>
                  </a:lnTo>
                  <a:lnTo>
                    <a:pt x="201835" y="25460"/>
                  </a:lnTo>
                  <a:lnTo>
                    <a:pt x="204168" y="26660"/>
                  </a:lnTo>
                  <a:lnTo>
                    <a:pt x="206559" y="26241"/>
                  </a:lnTo>
                  <a:lnTo>
                    <a:pt x="209864" y="23603"/>
                  </a:lnTo>
                  <a:lnTo>
                    <a:pt x="213608" y="21984"/>
                  </a:lnTo>
                  <a:lnTo>
                    <a:pt x="214884" y="18240"/>
                  </a:lnTo>
                  <a:lnTo>
                    <a:pt x="215122" y="16526"/>
                  </a:lnTo>
                  <a:lnTo>
                    <a:pt x="212112" y="5315"/>
                  </a:lnTo>
                  <a:lnTo>
                    <a:pt x="213379" y="3010"/>
                  </a:lnTo>
                  <a:lnTo>
                    <a:pt x="219904" y="219"/>
                  </a:lnTo>
                  <a:lnTo>
                    <a:pt x="225609" y="0"/>
                  </a:lnTo>
                  <a:lnTo>
                    <a:pt x="226962" y="771"/>
                  </a:lnTo>
                  <a:lnTo>
                    <a:pt x="230553" y="6248"/>
                  </a:lnTo>
                  <a:lnTo>
                    <a:pt x="232991" y="8992"/>
                  </a:lnTo>
                  <a:lnTo>
                    <a:pt x="234220" y="11192"/>
                  </a:lnTo>
                  <a:lnTo>
                    <a:pt x="234515" y="16040"/>
                  </a:lnTo>
                  <a:lnTo>
                    <a:pt x="235991" y="17821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4" name="Forme libre : forme 30">
              <a:extLst>
                <a:ext uri="{FF2B5EF4-FFF2-40B4-BE49-F238E27FC236}">
                  <a16:creationId xmlns:a16="http://schemas.microsoft.com/office/drawing/2014/main" id="{8F180934-A5F7-1079-B5C5-E795B43E2D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599459" y="4571550"/>
              <a:ext cx="1097719" cy="1291769"/>
            </a:xfrm>
            <a:custGeom>
              <a:avLst/>
              <a:gdLst>
                <a:gd name="connsiteX0" fmla="*/ 189024 w 316982"/>
                <a:gd name="connsiteY0" fmla="*/ 21745 h 373017"/>
                <a:gd name="connsiteX1" fmla="*/ 188481 w 316982"/>
                <a:gd name="connsiteY1" fmla="*/ 23965 h 373017"/>
                <a:gd name="connsiteX2" fmla="*/ 187347 w 316982"/>
                <a:gd name="connsiteY2" fmla="*/ 24517 h 373017"/>
                <a:gd name="connsiteX3" fmla="*/ 185366 w 316982"/>
                <a:gd name="connsiteY3" fmla="*/ 25813 h 373017"/>
                <a:gd name="connsiteX4" fmla="*/ 183099 w 316982"/>
                <a:gd name="connsiteY4" fmla="*/ 27584 h 373017"/>
                <a:gd name="connsiteX5" fmla="*/ 180985 w 316982"/>
                <a:gd name="connsiteY5" fmla="*/ 29575 h 373017"/>
                <a:gd name="connsiteX6" fmla="*/ 180413 w 316982"/>
                <a:gd name="connsiteY6" fmla="*/ 31737 h 373017"/>
                <a:gd name="connsiteX7" fmla="*/ 180994 w 316982"/>
                <a:gd name="connsiteY7" fmla="*/ 33147 h 373017"/>
                <a:gd name="connsiteX8" fmla="*/ 181565 w 316982"/>
                <a:gd name="connsiteY8" fmla="*/ 33633 h 373017"/>
                <a:gd name="connsiteX9" fmla="*/ 182337 w 316982"/>
                <a:gd name="connsiteY9" fmla="*/ 33204 h 373017"/>
                <a:gd name="connsiteX10" fmla="*/ 183461 w 316982"/>
                <a:gd name="connsiteY10" fmla="*/ 33471 h 373017"/>
                <a:gd name="connsiteX11" fmla="*/ 184870 w 316982"/>
                <a:gd name="connsiteY11" fmla="*/ 34242 h 373017"/>
                <a:gd name="connsiteX12" fmla="*/ 187223 w 316982"/>
                <a:gd name="connsiteY12" fmla="*/ 34995 h 373017"/>
                <a:gd name="connsiteX13" fmla="*/ 187290 w 316982"/>
                <a:gd name="connsiteY13" fmla="*/ 35738 h 373017"/>
                <a:gd name="connsiteX14" fmla="*/ 186795 w 316982"/>
                <a:gd name="connsiteY14" fmla="*/ 36690 h 373017"/>
                <a:gd name="connsiteX15" fmla="*/ 184966 w 316982"/>
                <a:gd name="connsiteY15" fmla="*/ 38376 h 373017"/>
                <a:gd name="connsiteX16" fmla="*/ 183318 w 316982"/>
                <a:gd name="connsiteY16" fmla="*/ 40281 h 373017"/>
                <a:gd name="connsiteX17" fmla="*/ 183156 w 316982"/>
                <a:gd name="connsiteY17" fmla="*/ 41443 h 373017"/>
                <a:gd name="connsiteX18" fmla="*/ 183356 w 316982"/>
                <a:gd name="connsiteY18" fmla="*/ 42291 h 373017"/>
                <a:gd name="connsiteX19" fmla="*/ 183927 w 316982"/>
                <a:gd name="connsiteY19" fmla="*/ 42805 h 373017"/>
                <a:gd name="connsiteX20" fmla="*/ 186366 w 316982"/>
                <a:gd name="connsiteY20" fmla="*/ 42577 h 373017"/>
                <a:gd name="connsiteX21" fmla="*/ 186728 w 316982"/>
                <a:gd name="connsiteY21" fmla="*/ 43272 h 373017"/>
                <a:gd name="connsiteX22" fmla="*/ 185537 w 316982"/>
                <a:gd name="connsiteY22" fmla="*/ 48158 h 373017"/>
                <a:gd name="connsiteX23" fmla="*/ 185909 w 316982"/>
                <a:gd name="connsiteY23" fmla="*/ 48987 h 373017"/>
                <a:gd name="connsiteX24" fmla="*/ 188052 w 316982"/>
                <a:gd name="connsiteY24" fmla="*/ 49768 h 373017"/>
                <a:gd name="connsiteX25" fmla="*/ 189614 w 316982"/>
                <a:gd name="connsiteY25" fmla="*/ 50940 h 373017"/>
                <a:gd name="connsiteX26" fmla="*/ 192539 w 316982"/>
                <a:gd name="connsiteY26" fmla="*/ 54026 h 373017"/>
                <a:gd name="connsiteX27" fmla="*/ 193700 w 316982"/>
                <a:gd name="connsiteY27" fmla="*/ 56521 h 373017"/>
                <a:gd name="connsiteX28" fmla="*/ 192900 w 316982"/>
                <a:gd name="connsiteY28" fmla="*/ 57360 h 373017"/>
                <a:gd name="connsiteX29" fmla="*/ 191062 w 316982"/>
                <a:gd name="connsiteY29" fmla="*/ 57769 h 373017"/>
                <a:gd name="connsiteX30" fmla="*/ 189567 w 316982"/>
                <a:gd name="connsiteY30" fmla="*/ 57560 h 373017"/>
                <a:gd name="connsiteX31" fmla="*/ 191262 w 316982"/>
                <a:gd name="connsiteY31" fmla="*/ 56055 h 373017"/>
                <a:gd name="connsiteX32" fmla="*/ 187119 w 316982"/>
                <a:gd name="connsiteY32" fmla="*/ 50568 h 373017"/>
                <a:gd name="connsiteX33" fmla="*/ 185242 w 316982"/>
                <a:gd name="connsiteY33" fmla="*/ 50578 h 373017"/>
                <a:gd name="connsiteX34" fmla="*/ 182756 w 316982"/>
                <a:gd name="connsiteY34" fmla="*/ 52902 h 373017"/>
                <a:gd name="connsiteX35" fmla="*/ 175841 w 316982"/>
                <a:gd name="connsiteY35" fmla="*/ 50549 h 373017"/>
                <a:gd name="connsiteX36" fmla="*/ 174517 w 316982"/>
                <a:gd name="connsiteY36" fmla="*/ 51502 h 373017"/>
                <a:gd name="connsiteX37" fmla="*/ 173536 w 316982"/>
                <a:gd name="connsiteY37" fmla="*/ 53359 h 373017"/>
                <a:gd name="connsiteX38" fmla="*/ 171136 w 316982"/>
                <a:gd name="connsiteY38" fmla="*/ 55664 h 373017"/>
                <a:gd name="connsiteX39" fmla="*/ 167735 w 316982"/>
                <a:gd name="connsiteY39" fmla="*/ 56674 h 373017"/>
                <a:gd name="connsiteX40" fmla="*/ 163944 w 316982"/>
                <a:gd name="connsiteY40" fmla="*/ 59207 h 373017"/>
                <a:gd name="connsiteX41" fmla="*/ 159953 w 316982"/>
                <a:gd name="connsiteY41" fmla="*/ 60998 h 373017"/>
                <a:gd name="connsiteX42" fmla="*/ 156905 w 316982"/>
                <a:gd name="connsiteY42" fmla="*/ 62351 h 373017"/>
                <a:gd name="connsiteX43" fmla="*/ 155153 w 316982"/>
                <a:gd name="connsiteY43" fmla="*/ 62112 h 373017"/>
                <a:gd name="connsiteX44" fmla="*/ 157934 w 316982"/>
                <a:gd name="connsiteY44" fmla="*/ 59188 h 373017"/>
                <a:gd name="connsiteX45" fmla="*/ 156753 w 316982"/>
                <a:gd name="connsiteY45" fmla="*/ 59131 h 373017"/>
                <a:gd name="connsiteX46" fmla="*/ 153057 w 316982"/>
                <a:gd name="connsiteY46" fmla="*/ 61198 h 373017"/>
                <a:gd name="connsiteX47" fmla="*/ 150933 w 316982"/>
                <a:gd name="connsiteY47" fmla="*/ 62941 h 373017"/>
                <a:gd name="connsiteX48" fmla="*/ 150247 w 316982"/>
                <a:gd name="connsiteY48" fmla="*/ 65875 h 373017"/>
                <a:gd name="connsiteX49" fmla="*/ 149628 w 316982"/>
                <a:gd name="connsiteY49" fmla="*/ 70695 h 373017"/>
                <a:gd name="connsiteX50" fmla="*/ 151247 w 316982"/>
                <a:gd name="connsiteY50" fmla="*/ 71971 h 373017"/>
                <a:gd name="connsiteX51" fmla="*/ 154086 w 316982"/>
                <a:gd name="connsiteY51" fmla="*/ 78314 h 373017"/>
                <a:gd name="connsiteX52" fmla="*/ 157581 w 316982"/>
                <a:gd name="connsiteY52" fmla="*/ 81020 h 373017"/>
                <a:gd name="connsiteX53" fmla="*/ 156905 w 316982"/>
                <a:gd name="connsiteY53" fmla="*/ 83601 h 373017"/>
                <a:gd name="connsiteX54" fmla="*/ 155981 w 316982"/>
                <a:gd name="connsiteY54" fmla="*/ 85639 h 373017"/>
                <a:gd name="connsiteX55" fmla="*/ 153867 w 316982"/>
                <a:gd name="connsiteY55" fmla="*/ 87401 h 373017"/>
                <a:gd name="connsiteX56" fmla="*/ 152114 w 316982"/>
                <a:gd name="connsiteY56" fmla="*/ 86096 h 373017"/>
                <a:gd name="connsiteX57" fmla="*/ 151038 w 316982"/>
                <a:gd name="connsiteY57" fmla="*/ 86125 h 373017"/>
                <a:gd name="connsiteX58" fmla="*/ 150228 w 316982"/>
                <a:gd name="connsiteY58" fmla="*/ 90249 h 373017"/>
                <a:gd name="connsiteX59" fmla="*/ 151743 w 316982"/>
                <a:gd name="connsiteY59" fmla="*/ 101213 h 373017"/>
                <a:gd name="connsiteX60" fmla="*/ 154181 w 316982"/>
                <a:gd name="connsiteY60" fmla="*/ 108871 h 373017"/>
                <a:gd name="connsiteX61" fmla="*/ 156600 w 316982"/>
                <a:gd name="connsiteY61" fmla="*/ 112204 h 373017"/>
                <a:gd name="connsiteX62" fmla="*/ 162058 w 316982"/>
                <a:gd name="connsiteY62" fmla="*/ 117377 h 373017"/>
                <a:gd name="connsiteX63" fmla="*/ 167830 w 316982"/>
                <a:gd name="connsiteY63" fmla="*/ 120101 h 373017"/>
                <a:gd name="connsiteX64" fmla="*/ 178213 w 316982"/>
                <a:gd name="connsiteY64" fmla="*/ 128778 h 373017"/>
                <a:gd name="connsiteX65" fmla="*/ 183909 w 316982"/>
                <a:gd name="connsiteY65" fmla="*/ 131521 h 373017"/>
                <a:gd name="connsiteX66" fmla="*/ 185404 w 316982"/>
                <a:gd name="connsiteY66" fmla="*/ 133007 h 373017"/>
                <a:gd name="connsiteX67" fmla="*/ 188852 w 316982"/>
                <a:gd name="connsiteY67" fmla="*/ 139665 h 373017"/>
                <a:gd name="connsiteX68" fmla="*/ 191833 w 316982"/>
                <a:gd name="connsiteY68" fmla="*/ 147333 h 373017"/>
                <a:gd name="connsiteX69" fmla="*/ 195044 w 316982"/>
                <a:gd name="connsiteY69" fmla="*/ 159315 h 373017"/>
                <a:gd name="connsiteX70" fmla="*/ 197330 w 316982"/>
                <a:gd name="connsiteY70" fmla="*/ 165192 h 373017"/>
                <a:gd name="connsiteX71" fmla="*/ 201940 w 316982"/>
                <a:gd name="connsiteY71" fmla="*/ 171821 h 373017"/>
                <a:gd name="connsiteX72" fmla="*/ 211503 w 316982"/>
                <a:gd name="connsiteY72" fmla="*/ 181270 h 373017"/>
                <a:gd name="connsiteX73" fmla="*/ 220199 w 316982"/>
                <a:gd name="connsiteY73" fmla="*/ 188157 h 373017"/>
                <a:gd name="connsiteX74" fmla="*/ 228295 w 316982"/>
                <a:gd name="connsiteY74" fmla="*/ 192405 h 373017"/>
                <a:gd name="connsiteX75" fmla="*/ 234610 w 316982"/>
                <a:gd name="connsiteY75" fmla="*/ 193148 h 373017"/>
                <a:gd name="connsiteX76" fmla="*/ 249555 w 316982"/>
                <a:gd name="connsiteY76" fmla="*/ 192214 h 373017"/>
                <a:gd name="connsiteX77" fmla="*/ 252155 w 316982"/>
                <a:gd name="connsiteY77" fmla="*/ 192614 h 373017"/>
                <a:gd name="connsiteX78" fmla="*/ 254917 w 316982"/>
                <a:gd name="connsiteY78" fmla="*/ 193758 h 373017"/>
                <a:gd name="connsiteX79" fmla="*/ 255575 w 316982"/>
                <a:gd name="connsiteY79" fmla="*/ 196701 h 373017"/>
                <a:gd name="connsiteX80" fmla="*/ 254565 w 316982"/>
                <a:gd name="connsiteY80" fmla="*/ 198682 h 373017"/>
                <a:gd name="connsiteX81" fmla="*/ 251422 w 316982"/>
                <a:gd name="connsiteY81" fmla="*/ 200739 h 373017"/>
                <a:gd name="connsiteX82" fmla="*/ 248221 w 316982"/>
                <a:gd name="connsiteY82" fmla="*/ 203587 h 373017"/>
                <a:gd name="connsiteX83" fmla="*/ 247869 w 316982"/>
                <a:gd name="connsiteY83" fmla="*/ 207464 h 373017"/>
                <a:gd name="connsiteX84" fmla="*/ 250860 w 316982"/>
                <a:gd name="connsiteY84" fmla="*/ 210188 h 373017"/>
                <a:gd name="connsiteX85" fmla="*/ 265281 w 316982"/>
                <a:gd name="connsiteY85" fmla="*/ 217399 h 373017"/>
                <a:gd name="connsiteX86" fmla="*/ 280026 w 316982"/>
                <a:gd name="connsiteY86" fmla="*/ 223409 h 373017"/>
                <a:gd name="connsiteX87" fmla="*/ 284617 w 316982"/>
                <a:gd name="connsiteY87" fmla="*/ 226466 h 373017"/>
                <a:gd name="connsiteX88" fmla="*/ 289941 w 316982"/>
                <a:gd name="connsiteY88" fmla="*/ 231219 h 373017"/>
                <a:gd name="connsiteX89" fmla="*/ 302790 w 316982"/>
                <a:gd name="connsiteY89" fmla="*/ 237734 h 373017"/>
                <a:gd name="connsiteX90" fmla="*/ 304962 w 316982"/>
                <a:gd name="connsiteY90" fmla="*/ 240897 h 373017"/>
                <a:gd name="connsiteX91" fmla="*/ 312772 w 316982"/>
                <a:gd name="connsiteY91" fmla="*/ 247688 h 373017"/>
                <a:gd name="connsiteX92" fmla="*/ 316306 w 316982"/>
                <a:gd name="connsiteY92" fmla="*/ 252917 h 373017"/>
                <a:gd name="connsiteX93" fmla="*/ 316982 w 316982"/>
                <a:gd name="connsiteY93" fmla="*/ 256965 h 373017"/>
                <a:gd name="connsiteX94" fmla="*/ 315297 w 316982"/>
                <a:gd name="connsiteY94" fmla="*/ 261071 h 373017"/>
                <a:gd name="connsiteX95" fmla="*/ 314515 w 316982"/>
                <a:gd name="connsiteY95" fmla="*/ 263957 h 373017"/>
                <a:gd name="connsiteX96" fmla="*/ 313192 w 316982"/>
                <a:gd name="connsiteY96" fmla="*/ 266805 h 373017"/>
                <a:gd name="connsiteX97" fmla="*/ 309867 w 316982"/>
                <a:gd name="connsiteY97" fmla="*/ 265729 h 373017"/>
                <a:gd name="connsiteX98" fmla="*/ 306086 w 316982"/>
                <a:gd name="connsiteY98" fmla="*/ 262795 h 373017"/>
                <a:gd name="connsiteX99" fmla="*/ 300390 w 316982"/>
                <a:gd name="connsiteY99" fmla="*/ 250850 h 373017"/>
                <a:gd name="connsiteX100" fmla="*/ 289998 w 316982"/>
                <a:gd name="connsiteY100" fmla="*/ 249641 h 373017"/>
                <a:gd name="connsiteX101" fmla="*/ 287846 w 316982"/>
                <a:gd name="connsiteY101" fmla="*/ 248755 h 373017"/>
                <a:gd name="connsiteX102" fmla="*/ 284150 w 316982"/>
                <a:gd name="connsiteY102" fmla="*/ 246697 h 373017"/>
                <a:gd name="connsiteX103" fmla="*/ 283931 w 316982"/>
                <a:gd name="connsiteY103" fmla="*/ 245335 h 373017"/>
                <a:gd name="connsiteX104" fmla="*/ 283016 w 316982"/>
                <a:gd name="connsiteY104" fmla="*/ 243640 h 373017"/>
                <a:gd name="connsiteX105" fmla="*/ 282073 w 316982"/>
                <a:gd name="connsiteY105" fmla="*/ 243068 h 373017"/>
                <a:gd name="connsiteX106" fmla="*/ 278101 w 316982"/>
                <a:gd name="connsiteY106" fmla="*/ 242688 h 373017"/>
                <a:gd name="connsiteX107" fmla="*/ 275349 w 316982"/>
                <a:gd name="connsiteY107" fmla="*/ 244630 h 373017"/>
                <a:gd name="connsiteX108" fmla="*/ 272110 w 316982"/>
                <a:gd name="connsiteY108" fmla="*/ 249231 h 373017"/>
                <a:gd name="connsiteX109" fmla="*/ 268433 w 316982"/>
                <a:gd name="connsiteY109" fmla="*/ 255832 h 373017"/>
                <a:gd name="connsiteX110" fmla="*/ 264700 w 316982"/>
                <a:gd name="connsiteY110" fmla="*/ 265481 h 373017"/>
                <a:gd name="connsiteX111" fmla="*/ 264490 w 316982"/>
                <a:gd name="connsiteY111" fmla="*/ 269367 h 373017"/>
                <a:gd name="connsiteX112" fmla="*/ 266519 w 316982"/>
                <a:gd name="connsiteY112" fmla="*/ 273129 h 373017"/>
                <a:gd name="connsiteX113" fmla="*/ 272577 w 316982"/>
                <a:gd name="connsiteY113" fmla="*/ 275225 h 373017"/>
                <a:gd name="connsiteX114" fmla="*/ 277254 w 316982"/>
                <a:gd name="connsiteY114" fmla="*/ 278568 h 373017"/>
                <a:gd name="connsiteX115" fmla="*/ 280340 w 316982"/>
                <a:gd name="connsiteY115" fmla="*/ 282054 h 373017"/>
                <a:gd name="connsiteX116" fmla="*/ 280559 w 316982"/>
                <a:gd name="connsiteY116" fmla="*/ 290446 h 373017"/>
                <a:gd name="connsiteX117" fmla="*/ 281940 w 316982"/>
                <a:gd name="connsiteY117" fmla="*/ 295199 h 373017"/>
                <a:gd name="connsiteX118" fmla="*/ 279911 w 316982"/>
                <a:gd name="connsiteY118" fmla="*/ 297894 h 373017"/>
                <a:gd name="connsiteX119" fmla="*/ 275977 w 316982"/>
                <a:gd name="connsiteY119" fmla="*/ 297199 h 373017"/>
                <a:gd name="connsiteX120" fmla="*/ 270738 w 316982"/>
                <a:gd name="connsiteY120" fmla="*/ 298913 h 373017"/>
                <a:gd name="connsiteX121" fmla="*/ 267024 w 316982"/>
                <a:gd name="connsiteY121" fmla="*/ 301981 h 373017"/>
                <a:gd name="connsiteX122" fmla="*/ 265481 w 316982"/>
                <a:gd name="connsiteY122" fmla="*/ 304895 h 373017"/>
                <a:gd name="connsiteX123" fmla="*/ 265881 w 316982"/>
                <a:gd name="connsiteY123" fmla="*/ 312439 h 373017"/>
                <a:gd name="connsiteX124" fmla="*/ 265119 w 316982"/>
                <a:gd name="connsiteY124" fmla="*/ 315306 h 373017"/>
                <a:gd name="connsiteX125" fmla="*/ 258080 w 316982"/>
                <a:gd name="connsiteY125" fmla="*/ 320716 h 373017"/>
                <a:gd name="connsiteX126" fmla="*/ 254384 w 316982"/>
                <a:gd name="connsiteY126" fmla="*/ 326241 h 373017"/>
                <a:gd name="connsiteX127" fmla="*/ 253460 w 316982"/>
                <a:gd name="connsiteY127" fmla="*/ 328527 h 373017"/>
                <a:gd name="connsiteX128" fmla="*/ 252051 w 316982"/>
                <a:gd name="connsiteY128" fmla="*/ 331118 h 373017"/>
                <a:gd name="connsiteX129" fmla="*/ 243163 w 316982"/>
                <a:gd name="connsiteY129" fmla="*/ 331213 h 373017"/>
                <a:gd name="connsiteX130" fmla="*/ 241059 w 316982"/>
                <a:gd name="connsiteY130" fmla="*/ 328003 h 373017"/>
                <a:gd name="connsiteX131" fmla="*/ 240983 w 316982"/>
                <a:gd name="connsiteY131" fmla="*/ 323231 h 373017"/>
                <a:gd name="connsiteX132" fmla="*/ 242506 w 316982"/>
                <a:gd name="connsiteY132" fmla="*/ 320288 h 373017"/>
                <a:gd name="connsiteX133" fmla="*/ 245774 w 316982"/>
                <a:gd name="connsiteY133" fmla="*/ 318906 h 373017"/>
                <a:gd name="connsiteX134" fmla="*/ 247974 w 316982"/>
                <a:gd name="connsiteY134" fmla="*/ 312772 h 373017"/>
                <a:gd name="connsiteX135" fmla="*/ 247278 w 316982"/>
                <a:gd name="connsiteY135" fmla="*/ 308334 h 373017"/>
                <a:gd name="connsiteX136" fmla="*/ 248564 w 316982"/>
                <a:gd name="connsiteY136" fmla="*/ 306362 h 373017"/>
                <a:gd name="connsiteX137" fmla="*/ 249774 w 316982"/>
                <a:gd name="connsiteY137" fmla="*/ 304972 h 373017"/>
                <a:gd name="connsiteX138" fmla="*/ 252260 w 316982"/>
                <a:gd name="connsiteY138" fmla="*/ 304152 h 373017"/>
                <a:gd name="connsiteX139" fmla="*/ 255775 w 316982"/>
                <a:gd name="connsiteY139" fmla="*/ 303371 h 373017"/>
                <a:gd name="connsiteX140" fmla="*/ 256127 w 316982"/>
                <a:gd name="connsiteY140" fmla="*/ 297151 h 373017"/>
                <a:gd name="connsiteX141" fmla="*/ 253384 w 316982"/>
                <a:gd name="connsiteY141" fmla="*/ 294322 h 373017"/>
                <a:gd name="connsiteX142" fmla="*/ 252422 w 316982"/>
                <a:gd name="connsiteY142" fmla="*/ 290351 h 373017"/>
                <a:gd name="connsiteX143" fmla="*/ 251145 w 316982"/>
                <a:gd name="connsiteY143" fmla="*/ 282997 h 373017"/>
                <a:gd name="connsiteX144" fmla="*/ 246621 w 316982"/>
                <a:gd name="connsiteY144" fmla="*/ 273577 h 373017"/>
                <a:gd name="connsiteX145" fmla="*/ 244202 w 316982"/>
                <a:gd name="connsiteY145" fmla="*/ 265147 h 373017"/>
                <a:gd name="connsiteX146" fmla="*/ 242306 w 316982"/>
                <a:gd name="connsiteY146" fmla="*/ 260975 h 373017"/>
                <a:gd name="connsiteX147" fmla="*/ 239430 w 316982"/>
                <a:gd name="connsiteY147" fmla="*/ 258794 h 373017"/>
                <a:gd name="connsiteX148" fmla="*/ 234239 w 316982"/>
                <a:gd name="connsiteY148" fmla="*/ 258823 h 373017"/>
                <a:gd name="connsiteX149" fmla="*/ 231658 w 316982"/>
                <a:gd name="connsiteY149" fmla="*/ 258204 h 373017"/>
                <a:gd name="connsiteX150" fmla="*/ 222475 w 316982"/>
                <a:gd name="connsiteY150" fmla="*/ 252317 h 373017"/>
                <a:gd name="connsiteX151" fmla="*/ 221837 w 316982"/>
                <a:gd name="connsiteY151" fmla="*/ 251422 h 373017"/>
                <a:gd name="connsiteX152" fmla="*/ 221894 w 316982"/>
                <a:gd name="connsiteY152" fmla="*/ 249850 h 373017"/>
                <a:gd name="connsiteX153" fmla="*/ 223418 w 316982"/>
                <a:gd name="connsiteY153" fmla="*/ 247479 h 373017"/>
                <a:gd name="connsiteX154" fmla="*/ 222390 w 316982"/>
                <a:gd name="connsiteY154" fmla="*/ 244269 h 373017"/>
                <a:gd name="connsiteX155" fmla="*/ 221304 w 316982"/>
                <a:gd name="connsiteY155" fmla="*/ 241230 h 373017"/>
                <a:gd name="connsiteX156" fmla="*/ 219504 w 316982"/>
                <a:gd name="connsiteY156" fmla="*/ 238639 h 373017"/>
                <a:gd name="connsiteX157" fmla="*/ 217532 w 316982"/>
                <a:gd name="connsiteY157" fmla="*/ 237287 h 373017"/>
                <a:gd name="connsiteX158" fmla="*/ 213398 w 316982"/>
                <a:gd name="connsiteY158" fmla="*/ 238115 h 373017"/>
                <a:gd name="connsiteX159" fmla="*/ 211950 w 316982"/>
                <a:gd name="connsiteY159" fmla="*/ 238754 h 373017"/>
                <a:gd name="connsiteX160" fmla="*/ 209340 w 316982"/>
                <a:gd name="connsiteY160" fmla="*/ 238535 h 373017"/>
                <a:gd name="connsiteX161" fmla="*/ 207292 w 316982"/>
                <a:gd name="connsiteY161" fmla="*/ 239687 h 373017"/>
                <a:gd name="connsiteX162" fmla="*/ 206149 w 316982"/>
                <a:gd name="connsiteY162" fmla="*/ 239725 h 373017"/>
                <a:gd name="connsiteX163" fmla="*/ 209369 w 316982"/>
                <a:gd name="connsiteY163" fmla="*/ 235163 h 373017"/>
                <a:gd name="connsiteX164" fmla="*/ 208502 w 316982"/>
                <a:gd name="connsiteY164" fmla="*/ 234086 h 373017"/>
                <a:gd name="connsiteX165" fmla="*/ 205321 w 316982"/>
                <a:gd name="connsiteY165" fmla="*/ 232210 h 373017"/>
                <a:gd name="connsiteX166" fmla="*/ 200997 w 316982"/>
                <a:gd name="connsiteY166" fmla="*/ 231924 h 373017"/>
                <a:gd name="connsiteX167" fmla="*/ 199796 w 316982"/>
                <a:gd name="connsiteY167" fmla="*/ 231696 h 373017"/>
                <a:gd name="connsiteX168" fmla="*/ 199092 w 316982"/>
                <a:gd name="connsiteY168" fmla="*/ 232867 h 373017"/>
                <a:gd name="connsiteX169" fmla="*/ 198253 w 316982"/>
                <a:gd name="connsiteY169" fmla="*/ 232229 h 373017"/>
                <a:gd name="connsiteX170" fmla="*/ 198339 w 316982"/>
                <a:gd name="connsiteY170" fmla="*/ 230191 h 373017"/>
                <a:gd name="connsiteX171" fmla="*/ 193319 w 316982"/>
                <a:gd name="connsiteY171" fmla="*/ 221028 h 373017"/>
                <a:gd name="connsiteX172" fmla="*/ 189947 w 316982"/>
                <a:gd name="connsiteY172" fmla="*/ 217284 h 373017"/>
                <a:gd name="connsiteX173" fmla="*/ 188242 w 316982"/>
                <a:gd name="connsiteY173" fmla="*/ 216618 h 373017"/>
                <a:gd name="connsiteX174" fmla="*/ 185166 w 316982"/>
                <a:gd name="connsiteY174" fmla="*/ 217408 h 373017"/>
                <a:gd name="connsiteX175" fmla="*/ 180013 w 316982"/>
                <a:gd name="connsiteY175" fmla="*/ 215770 h 373017"/>
                <a:gd name="connsiteX176" fmla="*/ 176937 w 316982"/>
                <a:gd name="connsiteY176" fmla="*/ 215408 h 373017"/>
                <a:gd name="connsiteX177" fmla="*/ 175241 w 316982"/>
                <a:gd name="connsiteY177" fmla="*/ 215808 h 373017"/>
                <a:gd name="connsiteX178" fmla="*/ 172707 w 316982"/>
                <a:gd name="connsiteY178" fmla="*/ 216998 h 373017"/>
                <a:gd name="connsiteX179" fmla="*/ 171431 w 316982"/>
                <a:gd name="connsiteY179" fmla="*/ 216208 h 373017"/>
                <a:gd name="connsiteX180" fmla="*/ 170983 w 316982"/>
                <a:gd name="connsiteY180" fmla="*/ 214979 h 373017"/>
                <a:gd name="connsiteX181" fmla="*/ 166306 w 316982"/>
                <a:gd name="connsiteY181" fmla="*/ 211160 h 373017"/>
                <a:gd name="connsiteX182" fmla="*/ 160468 w 316982"/>
                <a:gd name="connsiteY182" fmla="*/ 208997 h 373017"/>
                <a:gd name="connsiteX183" fmla="*/ 149104 w 316982"/>
                <a:gd name="connsiteY183" fmla="*/ 196777 h 373017"/>
                <a:gd name="connsiteX184" fmla="*/ 145618 w 316982"/>
                <a:gd name="connsiteY184" fmla="*/ 192196 h 373017"/>
                <a:gd name="connsiteX185" fmla="*/ 138446 w 316982"/>
                <a:gd name="connsiteY185" fmla="*/ 187138 h 373017"/>
                <a:gd name="connsiteX186" fmla="*/ 133912 w 316982"/>
                <a:gd name="connsiteY186" fmla="*/ 179746 h 373017"/>
                <a:gd name="connsiteX187" fmla="*/ 130197 w 316982"/>
                <a:gd name="connsiteY187" fmla="*/ 177032 h 373017"/>
                <a:gd name="connsiteX188" fmla="*/ 124796 w 316982"/>
                <a:gd name="connsiteY188" fmla="*/ 174850 h 373017"/>
                <a:gd name="connsiteX189" fmla="*/ 123549 w 316982"/>
                <a:gd name="connsiteY189" fmla="*/ 175127 h 373017"/>
                <a:gd name="connsiteX190" fmla="*/ 121929 w 316982"/>
                <a:gd name="connsiteY190" fmla="*/ 175946 h 373017"/>
                <a:gd name="connsiteX191" fmla="*/ 120653 w 316982"/>
                <a:gd name="connsiteY191" fmla="*/ 176060 h 373017"/>
                <a:gd name="connsiteX192" fmla="*/ 119644 w 316982"/>
                <a:gd name="connsiteY192" fmla="*/ 175098 h 373017"/>
                <a:gd name="connsiteX193" fmla="*/ 120672 w 316982"/>
                <a:gd name="connsiteY193" fmla="*/ 174107 h 373017"/>
                <a:gd name="connsiteX194" fmla="*/ 121825 w 316982"/>
                <a:gd name="connsiteY194" fmla="*/ 173660 h 373017"/>
                <a:gd name="connsiteX195" fmla="*/ 121377 w 316982"/>
                <a:gd name="connsiteY195" fmla="*/ 170821 h 373017"/>
                <a:gd name="connsiteX196" fmla="*/ 115224 w 316982"/>
                <a:gd name="connsiteY196" fmla="*/ 163449 h 373017"/>
                <a:gd name="connsiteX197" fmla="*/ 111623 w 316982"/>
                <a:gd name="connsiteY197" fmla="*/ 161068 h 373017"/>
                <a:gd name="connsiteX198" fmla="*/ 110604 w 316982"/>
                <a:gd name="connsiteY198" fmla="*/ 159601 h 373017"/>
                <a:gd name="connsiteX199" fmla="*/ 109852 w 316982"/>
                <a:gd name="connsiteY199" fmla="*/ 157591 h 373017"/>
                <a:gd name="connsiteX200" fmla="*/ 109080 w 316982"/>
                <a:gd name="connsiteY200" fmla="*/ 156267 h 373017"/>
                <a:gd name="connsiteX201" fmla="*/ 107375 w 316982"/>
                <a:gd name="connsiteY201" fmla="*/ 155505 h 373017"/>
                <a:gd name="connsiteX202" fmla="*/ 105918 w 316982"/>
                <a:gd name="connsiteY202" fmla="*/ 155638 h 373017"/>
                <a:gd name="connsiteX203" fmla="*/ 103908 w 316982"/>
                <a:gd name="connsiteY203" fmla="*/ 155134 h 373017"/>
                <a:gd name="connsiteX204" fmla="*/ 103975 w 316982"/>
                <a:gd name="connsiteY204" fmla="*/ 151571 h 373017"/>
                <a:gd name="connsiteX205" fmla="*/ 104375 w 316982"/>
                <a:gd name="connsiteY205" fmla="*/ 148838 h 373017"/>
                <a:gd name="connsiteX206" fmla="*/ 104070 w 316982"/>
                <a:gd name="connsiteY206" fmla="*/ 146513 h 373017"/>
                <a:gd name="connsiteX207" fmla="*/ 102108 w 316982"/>
                <a:gd name="connsiteY207" fmla="*/ 140389 h 373017"/>
                <a:gd name="connsiteX208" fmla="*/ 98717 w 316982"/>
                <a:gd name="connsiteY208" fmla="*/ 135188 h 373017"/>
                <a:gd name="connsiteX209" fmla="*/ 96717 w 316982"/>
                <a:gd name="connsiteY209" fmla="*/ 122701 h 373017"/>
                <a:gd name="connsiteX210" fmla="*/ 95174 w 316982"/>
                <a:gd name="connsiteY210" fmla="*/ 119167 h 373017"/>
                <a:gd name="connsiteX211" fmla="*/ 91421 w 316982"/>
                <a:gd name="connsiteY211" fmla="*/ 116491 h 373017"/>
                <a:gd name="connsiteX212" fmla="*/ 82953 w 316982"/>
                <a:gd name="connsiteY212" fmla="*/ 113481 h 373017"/>
                <a:gd name="connsiteX213" fmla="*/ 71152 w 316982"/>
                <a:gd name="connsiteY213" fmla="*/ 105375 h 373017"/>
                <a:gd name="connsiteX214" fmla="*/ 68656 w 316982"/>
                <a:gd name="connsiteY214" fmla="*/ 105232 h 373017"/>
                <a:gd name="connsiteX215" fmla="*/ 61560 w 316982"/>
                <a:gd name="connsiteY215" fmla="*/ 102070 h 373017"/>
                <a:gd name="connsiteX216" fmla="*/ 57159 w 316982"/>
                <a:gd name="connsiteY216" fmla="*/ 101527 h 373017"/>
                <a:gd name="connsiteX217" fmla="*/ 51445 w 316982"/>
                <a:gd name="connsiteY217" fmla="*/ 104365 h 373017"/>
                <a:gd name="connsiteX218" fmla="*/ 44501 w 316982"/>
                <a:gd name="connsiteY218" fmla="*/ 112157 h 373017"/>
                <a:gd name="connsiteX219" fmla="*/ 38871 w 316982"/>
                <a:gd name="connsiteY219" fmla="*/ 120225 h 373017"/>
                <a:gd name="connsiteX220" fmla="*/ 36824 w 316982"/>
                <a:gd name="connsiteY220" fmla="*/ 121787 h 373017"/>
                <a:gd name="connsiteX221" fmla="*/ 29556 w 316982"/>
                <a:gd name="connsiteY221" fmla="*/ 124530 h 373017"/>
                <a:gd name="connsiteX222" fmla="*/ 23136 w 316982"/>
                <a:gd name="connsiteY222" fmla="*/ 125835 h 373017"/>
                <a:gd name="connsiteX223" fmla="*/ 23070 w 316982"/>
                <a:gd name="connsiteY223" fmla="*/ 123777 h 373017"/>
                <a:gd name="connsiteX224" fmla="*/ 22841 w 316982"/>
                <a:gd name="connsiteY224" fmla="*/ 122225 h 373017"/>
                <a:gd name="connsiteX225" fmla="*/ 23927 w 316982"/>
                <a:gd name="connsiteY225" fmla="*/ 120520 h 373017"/>
                <a:gd name="connsiteX226" fmla="*/ 25717 w 316982"/>
                <a:gd name="connsiteY226" fmla="*/ 118510 h 373017"/>
                <a:gd name="connsiteX227" fmla="*/ 27365 w 316982"/>
                <a:gd name="connsiteY227" fmla="*/ 115976 h 373017"/>
                <a:gd name="connsiteX228" fmla="*/ 28051 w 316982"/>
                <a:gd name="connsiteY228" fmla="*/ 114148 h 373017"/>
                <a:gd name="connsiteX229" fmla="*/ 27727 w 316982"/>
                <a:gd name="connsiteY229" fmla="*/ 112928 h 373017"/>
                <a:gd name="connsiteX230" fmla="*/ 26984 w 316982"/>
                <a:gd name="connsiteY230" fmla="*/ 111119 h 373017"/>
                <a:gd name="connsiteX231" fmla="*/ 25975 w 316982"/>
                <a:gd name="connsiteY231" fmla="*/ 110985 h 373017"/>
                <a:gd name="connsiteX232" fmla="*/ 19860 w 316982"/>
                <a:gd name="connsiteY232" fmla="*/ 112509 h 373017"/>
                <a:gd name="connsiteX233" fmla="*/ 18459 w 316982"/>
                <a:gd name="connsiteY233" fmla="*/ 112119 h 373017"/>
                <a:gd name="connsiteX234" fmla="*/ 13935 w 316982"/>
                <a:gd name="connsiteY234" fmla="*/ 109747 h 373017"/>
                <a:gd name="connsiteX235" fmla="*/ 9068 w 316982"/>
                <a:gd name="connsiteY235" fmla="*/ 106832 h 373017"/>
                <a:gd name="connsiteX236" fmla="*/ 7277 w 316982"/>
                <a:gd name="connsiteY236" fmla="*/ 104756 h 373017"/>
                <a:gd name="connsiteX237" fmla="*/ 6601 w 316982"/>
                <a:gd name="connsiteY237" fmla="*/ 102660 h 373017"/>
                <a:gd name="connsiteX238" fmla="*/ 7106 w 316982"/>
                <a:gd name="connsiteY238" fmla="*/ 101308 h 373017"/>
                <a:gd name="connsiteX239" fmla="*/ 6705 w 316982"/>
                <a:gd name="connsiteY239" fmla="*/ 99993 h 373017"/>
                <a:gd name="connsiteX240" fmla="*/ 5753 w 316982"/>
                <a:gd name="connsiteY240" fmla="*/ 98222 h 373017"/>
                <a:gd name="connsiteX241" fmla="*/ 6610 w 316982"/>
                <a:gd name="connsiteY241" fmla="*/ 96212 h 373017"/>
                <a:gd name="connsiteX242" fmla="*/ 8125 w 316982"/>
                <a:gd name="connsiteY242" fmla="*/ 93707 h 373017"/>
                <a:gd name="connsiteX243" fmla="*/ 8887 w 316982"/>
                <a:gd name="connsiteY243" fmla="*/ 92002 h 373017"/>
                <a:gd name="connsiteX244" fmla="*/ 10163 w 316982"/>
                <a:gd name="connsiteY244" fmla="*/ 91564 h 373017"/>
                <a:gd name="connsiteX245" fmla="*/ 10773 w 316982"/>
                <a:gd name="connsiteY245" fmla="*/ 90526 h 373017"/>
                <a:gd name="connsiteX246" fmla="*/ 9753 w 316982"/>
                <a:gd name="connsiteY246" fmla="*/ 86373 h 373017"/>
                <a:gd name="connsiteX247" fmla="*/ 9220 w 316982"/>
                <a:gd name="connsiteY247" fmla="*/ 85706 h 373017"/>
                <a:gd name="connsiteX248" fmla="*/ 8344 w 316982"/>
                <a:gd name="connsiteY248" fmla="*/ 85192 h 373017"/>
                <a:gd name="connsiteX249" fmla="*/ 6991 w 316982"/>
                <a:gd name="connsiteY249" fmla="*/ 85134 h 373017"/>
                <a:gd name="connsiteX250" fmla="*/ 4629 w 316982"/>
                <a:gd name="connsiteY250" fmla="*/ 84277 h 373017"/>
                <a:gd name="connsiteX251" fmla="*/ 2953 w 316982"/>
                <a:gd name="connsiteY251" fmla="*/ 82839 h 373017"/>
                <a:gd name="connsiteX252" fmla="*/ 2591 w 316982"/>
                <a:gd name="connsiteY252" fmla="*/ 80896 h 373017"/>
                <a:gd name="connsiteX253" fmla="*/ 1705 w 316982"/>
                <a:gd name="connsiteY253" fmla="*/ 79029 h 373017"/>
                <a:gd name="connsiteX254" fmla="*/ 190 w 316982"/>
                <a:gd name="connsiteY254" fmla="*/ 77314 h 373017"/>
                <a:gd name="connsiteX255" fmla="*/ 0 w 316982"/>
                <a:gd name="connsiteY255" fmla="*/ 75438 h 373017"/>
                <a:gd name="connsiteX256" fmla="*/ 1724 w 316982"/>
                <a:gd name="connsiteY256" fmla="*/ 74447 h 373017"/>
                <a:gd name="connsiteX257" fmla="*/ 4076 w 316982"/>
                <a:gd name="connsiteY257" fmla="*/ 74409 h 373017"/>
                <a:gd name="connsiteX258" fmla="*/ 5734 w 316982"/>
                <a:gd name="connsiteY258" fmla="*/ 74781 h 373017"/>
                <a:gd name="connsiteX259" fmla="*/ 9449 w 316982"/>
                <a:gd name="connsiteY259" fmla="*/ 71761 h 373017"/>
                <a:gd name="connsiteX260" fmla="*/ 10820 w 316982"/>
                <a:gd name="connsiteY260" fmla="*/ 71495 h 373017"/>
                <a:gd name="connsiteX261" fmla="*/ 12049 w 316982"/>
                <a:gd name="connsiteY261" fmla="*/ 70847 h 373017"/>
                <a:gd name="connsiteX262" fmla="*/ 13078 w 316982"/>
                <a:gd name="connsiteY262" fmla="*/ 66713 h 373017"/>
                <a:gd name="connsiteX263" fmla="*/ 13868 w 316982"/>
                <a:gd name="connsiteY263" fmla="*/ 65475 h 373017"/>
                <a:gd name="connsiteX264" fmla="*/ 14059 w 316982"/>
                <a:gd name="connsiteY264" fmla="*/ 64751 h 373017"/>
                <a:gd name="connsiteX265" fmla="*/ 13325 w 316982"/>
                <a:gd name="connsiteY265" fmla="*/ 63884 h 373017"/>
                <a:gd name="connsiteX266" fmla="*/ 10325 w 316982"/>
                <a:gd name="connsiteY266" fmla="*/ 60970 h 373017"/>
                <a:gd name="connsiteX267" fmla="*/ 8954 w 316982"/>
                <a:gd name="connsiteY267" fmla="*/ 57921 h 373017"/>
                <a:gd name="connsiteX268" fmla="*/ 6791 w 316982"/>
                <a:gd name="connsiteY268" fmla="*/ 54502 h 373017"/>
                <a:gd name="connsiteX269" fmla="*/ 4781 w 316982"/>
                <a:gd name="connsiteY269" fmla="*/ 52987 h 373017"/>
                <a:gd name="connsiteX270" fmla="*/ 4372 w 316982"/>
                <a:gd name="connsiteY270" fmla="*/ 51806 h 373017"/>
                <a:gd name="connsiteX271" fmla="*/ 4324 w 316982"/>
                <a:gd name="connsiteY271" fmla="*/ 50311 h 373017"/>
                <a:gd name="connsiteX272" fmla="*/ 4734 w 316982"/>
                <a:gd name="connsiteY272" fmla="*/ 48987 h 373017"/>
                <a:gd name="connsiteX273" fmla="*/ 8372 w 316982"/>
                <a:gd name="connsiteY273" fmla="*/ 46930 h 373017"/>
                <a:gd name="connsiteX274" fmla="*/ 10525 w 316982"/>
                <a:gd name="connsiteY274" fmla="*/ 44739 h 373017"/>
                <a:gd name="connsiteX275" fmla="*/ 11449 w 316982"/>
                <a:gd name="connsiteY275" fmla="*/ 45577 h 373017"/>
                <a:gd name="connsiteX276" fmla="*/ 13411 w 316982"/>
                <a:gd name="connsiteY276" fmla="*/ 46472 h 373017"/>
                <a:gd name="connsiteX277" fmla="*/ 18735 w 316982"/>
                <a:gd name="connsiteY277" fmla="*/ 45253 h 373017"/>
                <a:gd name="connsiteX278" fmla="*/ 22041 w 316982"/>
                <a:gd name="connsiteY278" fmla="*/ 44025 h 373017"/>
                <a:gd name="connsiteX279" fmla="*/ 24365 w 316982"/>
                <a:gd name="connsiteY279" fmla="*/ 42729 h 373017"/>
                <a:gd name="connsiteX280" fmla="*/ 25803 w 316982"/>
                <a:gd name="connsiteY280" fmla="*/ 42958 h 373017"/>
                <a:gd name="connsiteX281" fmla="*/ 31023 w 316982"/>
                <a:gd name="connsiteY281" fmla="*/ 44891 h 373017"/>
                <a:gd name="connsiteX282" fmla="*/ 32747 w 316982"/>
                <a:gd name="connsiteY282" fmla="*/ 43910 h 373017"/>
                <a:gd name="connsiteX283" fmla="*/ 36509 w 316982"/>
                <a:gd name="connsiteY283" fmla="*/ 41291 h 373017"/>
                <a:gd name="connsiteX284" fmla="*/ 37071 w 316982"/>
                <a:gd name="connsiteY284" fmla="*/ 39910 h 373017"/>
                <a:gd name="connsiteX285" fmla="*/ 40043 w 316982"/>
                <a:gd name="connsiteY285" fmla="*/ 35719 h 373017"/>
                <a:gd name="connsiteX286" fmla="*/ 40100 w 316982"/>
                <a:gd name="connsiteY286" fmla="*/ 34700 h 373017"/>
                <a:gd name="connsiteX287" fmla="*/ 38881 w 316982"/>
                <a:gd name="connsiteY287" fmla="*/ 32061 h 373017"/>
                <a:gd name="connsiteX288" fmla="*/ 39262 w 316982"/>
                <a:gd name="connsiteY288" fmla="*/ 31480 h 373017"/>
                <a:gd name="connsiteX289" fmla="*/ 42901 w 316982"/>
                <a:gd name="connsiteY289" fmla="*/ 28775 h 373017"/>
                <a:gd name="connsiteX290" fmla="*/ 44682 w 316982"/>
                <a:gd name="connsiteY290" fmla="*/ 26375 h 373017"/>
                <a:gd name="connsiteX291" fmla="*/ 46615 w 316982"/>
                <a:gd name="connsiteY291" fmla="*/ 24765 h 373017"/>
                <a:gd name="connsiteX292" fmla="*/ 48006 w 316982"/>
                <a:gd name="connsiteY292" fmla="*/ 24727 h 373017"/>
                <a:gd name="connsiteX293" fmla="*/ 48387 w 316982"/>
                <a:gd name="connsiteY293" fmla="*/ 25279 h 373017"/>
                <a:gd name="connsiteX294" fmla="*/ 48549 w 316982"/>
                <a:gd name="connsiteY294" fmla="*/ 26403 h 373017"/>
                <a:gd name="connsiteX295" fmla="*/ 48425 w 316982"/>
                <a:gd name="connsiteY295" fmla="*/ 31032 h 373017"/>
                <a:gd name="connsiteX296" fmla="*/ 48958 w 316982"/>
                <a:gd name="connsiteY296" fmla="*/ 32452 h 373017"/>
                <a:gd name="connsiteX297" fmla="*/ 51816 w 316982"/>
                <a:gd name="connsiteY297" fmla="*/ 35766 h 373017"/>
                <a:gd name="connsiteX298" fmla="*/ 53854 w 316982"/>
                <a:gd name="connsiteY298" fmla="*/ 37652 h 373017"/>
                <a:gd name="connsiteX299" fmla="*/ 58588 w 316982"/>
                <a:gd name="connsiteY299" fmla="*/ 38948 h 373017"/>
                <a:gd name="connsiteX300" fmla="*/ 58807 w 316982"/>
                <a:gd name="connsiteY300" fmla="*/ 39567 h 373017"/>
                <a:gd name="connsiteX301" fmla="*/ 57502 w 316982"/>
                <a:gd name="connsiteY301" fmla="*/ 42053 h 373017"/>
                <a:gd name="connsiteX302" fmla="*/ 60369 w 316982"/>
                <a:gd name="connsiteY302" fmla="*/ 45025 h 373017"/>
                <a:gd name="connsiteX303" fmla="*/ 60884 w 316982"/>
                <a:gd name="connsiteY303" fmla="*/ 47196 h 373017"/>
                <a:gd name="connsiteX304" fmla="*/ 62208 w 316982"/>
                <a:gd name="connsiteY304" fmla="*/ 48416 h 373017"/>
                <a:gd name="connsiteX305" fmla="*/ 64075 w 316982"/>
                <a:gd name="connsiteY305" fmla="*/ 47815 h 373017"/>
                <a:gd name="connsiteX306" fmla="*/ 64684 w 316982"/>
                <a:gd name="connsiteY306" fmla="*/ 46663 h 373017"/>
                <a:gd name="connsiteX307" fmla="*/ 63951 w 316982"/>
                <a:gd name="connsiteY307" fmla="*/ 44653 h 373017"/>
                <a:gd name="connsiteX308" fmla="*/ 63408 w 316982"/>
                <a:gd name="connsiteY308" fmla="*/ 42548 h 373017"/>
                <a:gd name="connsiteX309" fmla="*/ 63513 w 316982"/>
                <a:gd name="connsiteY309" fmla="*/ 41329 h 373017"/>
                <a:gd name="connsiteX310" fmla="*/ 64027 w 316982"/>
                <a:gd name="connsiteY310" fmla="*/ 39929 h 373017"/>
                <a:gd name="connsiteX311" fmla="*/ 65332 w 316982"/>
                <a:gd name="connsiteY311" fmla="*/ 37967 h 373017"/>
                <a:gd name="connsiteX312" fmla="*/ 68875 w 316982"/>
                <a:gd name="connsiteY312" fmla="*/ 33471 h 373017"/>
                <a:gd name="connsiteX313" fmla="*/ 70152 w 316982"/>
                <a:gd name="connsiteY313" fmla="*/ 30871 h 373017"/>
                <a:gd name="connsiteX314" fmla="*/ 70380 w 316982"/>
                <a:gd name="connsiteY314" fmla="*/ 26841 h 373017"/>
                <a:gd name="connsiteX315" fmla="*/ 70390 w 316982"/>
                <a:gd name="connsiteY315" fmla="*/ 23603 h 373017"/>
                <a:gd name="connsiteX316" fmla="*/ 71571 w 316982"/>
                <a:gd name="connsiteY316" fmla="*/ 22812 h 373017"/>
                <a:gd name="connsiteX317" fmla="*/ 74114 w 316982"/>
                <a:gd name="connsiteY317" fmla="*/ 23393 h 373017"/>
                <a:gd name="connsiteX318" fmla="*/ 74876 w 316982"/>
                <a:gd name="connsiteY318" fmla="*/ 23327 h 373017"/>
                <a:gd name="connsiteX319" fmla="*/ 75219 w 316982"/>
                <a:gd name="connsiteY319" fmla="*/ 25317 h 373017"/>
                <a:gd name="connsiteX320" fmla="*/ 76305 w 316982"/>
                <a:gd name="connsiteY320" fmla="*/ 28489 h 373017"/>
                <a:gd name="connsiteX321" fmla="*/ 77581 w 316982"/>
                <a:gd name="connsiteY321" fmla="*/ 30128 h 373017"/>
                <a:gd name="connsiteX322" fmla="*/ 78943 w 316982"/>
                <a:gd name="connsiteY322" fmla="*/ 30518 h 373017"/>
                <a:gd name="connsiteX323" fmla="*/ 80543 w 316982"/>
                <a:gd name="connsiteY323" fmla="*/ 30527 h 373017"/>
                <a:gd name="connsiteX324" fmla="*/ 84506 w 316982"/>
                <a:gd name="connsiteY324" fmla="*/ 28594 h 373017"/>
                <a:gd name="connsiteX325" fmla="*/ 87087 w 316982"/>
                <a:gd name="connsiteY325" fmla="*/ 27756 h 373017"/>
                <a:gd name="connsiteX326" fmla="*/ 88554 w 316982"/>
                <a:gd name="connsiteY326" fmla="*/ 27984 h 373017"/>
                <a:gd name="connsiteX327" fmla="*/ 89421 w 316982"/>
                <a:gd name="connsiteY327" fmla="*/ 29299 h 373017"/>
                <a:gd name="connsiteX328" fmla="*/ 91269 w 316982"/>
                <a:gd name="connsiteY328" fmla="*/ 32756 h 373017"/>
                <a:gd name="connsiteX329" fmla="*/ 92326 w 316982"/>
                <a:gd name="connsiteY329" fmla="*/ 33147 h 373017"/>
                <a:gd name="connsiteX330" fmla="*/ 93602 w 316982"/>
                <a:gd name="connsiteY330" fmla="*/ 32747 h 373017"/>
                <a:gd name="connsiteX331" fmla="*/ 94050 w 316982"/>
                <a:gd name="connsiteY331" fmla="*/ 32156 h 373017"/>
                <a:gd name="connsiteX332" fmla="*/ 93640 w 316982"/>
                <a:gd name="connsiteY332" fmla="*/ 30823 h 373017"/>
                <a:gd name="connsiteX333" fmla="*/ 93097 w 316982"/>
                <a:gd name="connsiteY333" fmla="*/ 27937 h 373017"/>
                <a:gd name="connsiteX334" fmla="*/ 92354 w 316982"/>
                <a:gd name="connsiteY334" fmla="*/ 25698 h 373017"/>
                <a:gd name="connsiteX335" fmla="*/ 91383 w 316982"/>
                <a:gd name="connsiteY335" fmla="*/ 24651 h 373017"/>
                <a:gd name="connsiteX336" fmla="*/ 91183 w 316982"/>
                <a:gd name="connsiteY336" fmla="*/ 23289 h 373017"/>
                <a:gd name="connsiteX337" fmla="*/ 91792 w 316982"/>
                <a:gd name="connsiteY337" fmla="*/ 20831 h 373017"/>
                <a:gd name="connsiteX338" fmla="*/ 92488 w 316982"/>
                <a:gd name="connsiteY338" fmla="*/ 18774 h 373017"/>
                <a:gd name="connsiteX339" fmla="*/ 93840 w 316982"/>
                <a:gd name="connsiteY339" fmla="*/ 18212 h 373017"/>
                <a:gd name="connsiteX340" fmla="*/ 95393 w 316982"/>
                <a:gd name="connsiteY340" fmla="*/ 17955 h 373017"/>
                <a:gd name="connsiteX341" fmla="*/ 97441 w 316982"/>
                <a:gd name="connsiteY341" fmla="*/ 20136 h 373017"/>
                <a:gd name="connsiteX342" fmla="*/ 99869 w 316982"/>
                <a:gd name="connsiteY342" fmla="*/ 20822 h 373017"/>
                <a:gd name="connsiteX343" fmla="*/ 101679 w 316982"/>
                <a:gd name="connsiteY343" fmla="*/ 20707 h 373017"/>
                <a:gd name="connsiteX344" fmla="*/ 101993 w 316982"/>
                <a:gd name="connsiteY344" fmla="*/ 19440 h 373017"/>
                <a:gd name="connsiteX345" fmla="*/ 101879 w 316982"/>
                <a:gd name="connsiteY345" fmla="*/ 18050 h 373017"/>
                <a:gd name="connsiteX346" fmla="*/ 100803 w 316982"/>
                <a:gd name="connsiteY346" fmla="*/ 16259 h 373017"/>
                <a:gd name="connsiteX347" fmla="*/ 101012 w 316982"/>
                <a:gd name="connsiteY347" fmla="*/ 13545 h 373017"/>
                <a:gd name="connsiteX348" fmla="*/ 102260 w 316982"/>
                <a:gd name="connsiteY348" fmla="*/ 8477 h 373017"/>
                <a:gd name="connsiteX349" fmla="*/ 102975 w 316982"/>
                <a:gd name="connsiteY349" fmla="*/ 8868 h 373017"/>
                <a:gd name="connsiteX350" fmla="*/ 105661 w 316982"/>
                <a:gd name="connsiteY350" fmla="*/ 8915 h 373017"/>
                <a:gd name="connsiteX351" fmla="*/ 108585 w 316982"/>
                <a:gd name="connsiteY351" fmla="*/ 9201 h 373017"/>
                <a:gd name="connsiteX352" fmla="*/ 110471 w 316982"/>
                <a:gd name="connsiteY352" fmla="*/ 11268 h 373017"/>
                <a:gd name="connsiteX353" fmla="*/ 112319 w 316982"/>
                <a:gd name="connsiteY353" fmla="*/ 11973 h 373017"/>
                <a:gd name="connsiteX354" fmla="*/ 114948 w 316982"/>
                <a:gd name="connsiteY354" fmla="*/ 12192 h 373017"/>
                <a:gd name="connsiteX355" fmla="*/ 116710 w 316982"/>
                <a:gd name="connsiteY355" fmla="*/ 11906 h 373017"/>
                <a:gd name="connsiteX356" fmla="*/ 117567 w 316982"/>
                <a:gd name="connsiteY356" fmla="*/ 11125 h 373017"/>
                <a:gd name="connsiteX357" fmla="*/ 118586 w 316982"/>
                <a:gd name="connsiteY357" fmla="*/ 8706 h 373017"/>
                <a:gd name="connsiteX358" fmla="*/ 120472 w 316982"/>
                <a:gd name="connsiteY358" fmla="*/ 5705 h 373017"/>
                <a:gd name="connsiteX359" fmla="*/ 123425 w 316982"/>
                <a:gd name="connsiteY359" fmla="*/ 4163 h 373017"/>
                <a:gd name="connsiteX360" fmla="*/ 128473 w 316982"/>
                <a:gd name="connsiteY360" fmla="*/ 3877 h 373017"/>
                <a:gd name="connsiteX361" fmla="*/ 130997 w 316982"/>
                <a:gd name="connsiteY361" fmla="*/ 3315 h 373017"/>
                <a:gd name="connsiteX362" fmla="*/ 133617 w 316982"/>
                <a:gd name="connsiteY362" fmla="*/ 3343 h 373017"/>
                <a:gd name="connsiteX363" fmla="*/ 135588 w 316982"/>
                <a:gd name="connsiteY363" fmla="*/ 3810 h 373017"/>
                <a:gd name="connsiteX364" fmla="*/ 137627 w 316982"/>
                <a:gd name="connsiteY364" fmla="*/ 3753 h 373017"/>
                <a:gd name="connsiteX365" fmla="*/ 142808 w 316982"/>
                <a:gd name="connsiteY365" fmla="*/ 1657 h 373017"/>
                <a:gd name="connsiteX366" fmla="*/ 148152 w 316982"/>
                <a:gd name="connsiteY366" fmla="*/ 0 h 373017"/>
                <a:gd name="connsiteX367" fmla="*/ 148895 w 316982"/>
                <a:gd name="connsiteY367" fmla="*/ 276 h 373017"/>
                <a:gd name="connsiteX368" fmla="*/ 149009 w 316982"/>
                <a:gd name="connsiteY368" fmla="*/ 829 h 373017"/>
                <a:gd name="connsiteX369" fmla="*/ 148047 w 316982"/>
                <a:gd name="connsiteY369" fmla="*/ 2105 h 373017"/>
                <a:gd name="connsiteX370" fmla="*/ 147113 w 316982"/>
                <a:gd name="connsiteY370" fmla="*/ 3800 h 373017"/>
                <a:gd name="connsiteX371" fmla="*/ 147742 w 316982"/>
                <a:gd name="connsiteY371" fmla="*/ 5734 h 373017"/>
                <a:gd name="connsiteX372" fmla="*/ 150781 w 316982"/>
                <a:gd name="connsiteY372" fmla="*/ 9611 h 373017"/>
                <a:gd name="connsiteX373" fmla="*/ 152438 w 316982"/>
                <a:gd name="connsiteY373" fmla="*/ 12573 h 373017"/>
                <a:gd name="connsiteX374" fmla="*/ 154000 w 316982"/>
                <a:gd name="connsiteY374" fmla="*/ 14792 h 373017"/>
                <a:gd name="connsiteX375" fmla="*/ 156429 w 316982"/>
                <a:gd name="connsiteY375" fmla="*/ 15964 h 373017"/>
                <a:gd name="connsiteX376" fmla="*/ 159620 w 316982"/>
                <a:gd name="connsiteY376" fmla="*/ 16678 h 373017"/>
                <a:gd name="connsiteX377" fmla="*/ 162325 w 316982"/>
                <a:gd name="connsiteY377" fmla="*/ 16935 h 373017"/>
                <a:gd name="connsiteX378" fmla="*/ 165154 w 316982"/>
                <a:gd name="connsiteY378" fmla="*/ 17774 h 373017"/>
                <a:gd name="connsiteX379" fmla="*/ 174860 w 316982"/>
                <a:gd name="connsiteY379" fmla="*/ 19841 h 373017"/>
                <a:gd name="connsiteX380" fmla="*/ 179746 w 316982"/>
                <a:gd name="connsiteY380" fmla="*/ 20412 h 373017"/>
                <a:gd name="connsiteX381" fmla="*/ 183451 w 316982"/>
                <a:gd name="connsiteY381" fmla="*/ 20498 h 373017"/>
                <a:gd name="connsiteX382" fmla="*/ 189024 w 316982"/>
                <a:gd name="connsiteY382" fmla="*/ 21745 h 373017"/>
                <a:gd name="connsiteX383" fmla="*/ 156553 w 316982"/>
                <a:gd name="connsiteY383" fmla="*/ 120815 h 373017"/>
                <a:gd name="connsiteX384" fmla="*/ 157343 w 316982"/>
                <a:gd name="connsiteY384" fmla="*/ 118910 h 373017"/>
                <a:gd name="connsiteX385" fmla="*/ 157048 w 316982"/>
                <a:gd name="connsiteY385" fmla="*/ 117548 h 373017"/>
                <a:gd name="connsiteX386" fmla="*/ 155372 w 316982"/>
                <a:gd name="connsiteY386" fmla="*/ 117824 h 373017"/>
                <a:gd name="connsiteX387" fmla="*/ 154191 w 316982"/>
                <a:gd name="connsiteY387" fmla="*/ 119596 h 373017"/>
                <a:gd name="connsiteX388" fmla="*/ 154981 w 316982"/>
                <a:gd name="connsiteY388" fmla="*/ 121091 h 373017"/>
                <a:gd name="connsiteX389" fmla="*/ 156553 w 316982"/>
                <a:gd name="connsiteY389" fmla="*/ 120815 h 373017"/>
                <a:gd name="connsiteX390" fmla="*/ 155324 w 316982"/>
                <a:gd name="connsiteY390" fmla="*/ 193662 h 373017"/>
                <a:gd name="connsiteX391" fmla="*/ 155305 w 316982"/>
                <a:gd name="connsiteY391" fmla="*/ 193377 h 373017"/>
                <a:gd name="connsiteX392" fmla="*/ 155105 w 316982"/>
                <a:gd name="connsiteY392" fmla="*/ 193405 h 373017"/>
                <a:gd name="connsiteX393" fmla="*/ 155019 w 316982"/>
                <a:gd name="connsiteY393" fmla="*/ 193577 h 373017"/>
                <a:gd name="connsiteX394" fmla="*/ 155105 w 316982"/>
                <a:gd name="connsiteY394" fmla="*/ 193691 h 373017"/>
                <a:gd name="connsiteX395" fmla="*/ 155324 w 316982"/>
                <a:gd name="connsiteY395" fmla="*/ 193662 h 373017"/>
                <a:gd name="connsiteX396" fmla="*/ 100689 w 316982"/>
                <a:gd name="connsiteY396" fmla="*/ 159048 h 373017"/>
                <a:gd name="connsiteX397" fmla="*/ 101575 w 316982"/>
                <a:gd name="connsiteY397" fmla="*/ 160458 h 373017"/>
                <a:gd name="connsiteX398" fmla="*/ 101679 w 316982"/>
                <a:gd name="connsiteY398" fmla="*/ 161277 h 373017"/>
                <a:gd name="connsiteX399" fmla="*/ 101079 w 316982"/>
                <a:gd name="connsiteY399" fmla="*/ 162211 h 373017"/>
                <a:gd name="connsiteX400" fmla="*/ 101327 w 316982"/>
                <a:gd name="connsiteY400" fmla="*/ 164306 h 373017"/>
                <a:gd name="connsiteX401" fmla="*/ 99088 w 316982"/>
                <a:gd name="connsiteY401" fmla="*/ 162563 h 373017"/>
                <a:gd name="connsiteX402" fmla="*/ 95707 w 316982"/>
                <a:gd name="connsiteY402" fmla="*/ 163439 h 373017"/>
                <a:gd name="connsiteX403" fmla="*/ 93631 w 316982"/>
                <a:gd name="connsiteY403" fmla="*/ 163249 h 373017"/>
                <a:gd name="connsiteX404" fmla="*/ 93059 w 316982"/>
                <a:gd name="connsiteY404" fmla="*/ 161687 h 373017"/>
                <a:gd name="connsiteX405" fmla="*/ 93535 w 316982"/>
                <a:gd name="connsiteY405" fmla="*/ 160772 h 373017"/>
                <a:gd name="connsiteX406" fmla="*/ 96755 w 316982"/>
                <a:gd name="connsiteY406" fmla="*/ 160572 h 373017"/>
                <a:gd name="connsiteX407" fmla="*/ 97755 w 316982"/>
                <a:gd name="connsiteY407" fmla="*/ 160125 h 373017"/>
                <a:gd name="connsiteX408" fmla="*/ 99717 w 316982"/>
                <a:gd name="connsiteY408" fmla="*/ 160334 h 373017"/>
                <a:gd name="connsiteX409" fmla="*/ 100689 w 316982"/>
                <a:gd name="connsiteY409" fmla="*/ 159048 h 373017"/>
                <a:gd name="connsiteX410" fmla="*/ 80276 w 316982"/>
                <a:gd name="connsiteY410" fmla="*/ 229733 h 373017"/>
                <a:gd name="connsiteX411" fmla="*/ 81620 w 316982"/>
                <a:gd name="connsiteY411" fmla="*/ 231981 h 373017"/>
                <a:gd name="connsiteX412" fmla="*/ 84620 w 316982"/>
                <a:gd name="connsiteY412" fmla="*/ 241182 h 373017"/>
                <a:gd name="connsiteX413" fmla="*/ 84906 w 316982"/>
                <a:gd name="connsiteY413" fmla="*/ 243164 h 373017"/>
                <a:gd name="connsiteX414" fmla="*/ 84306 w 316982"/>
                <a:gd name="connsiteY414" fmla="*/ 245193 h 373017"/>
                <a:gd name="connsiteX415" fmla="*/ 83544 w 316982"/>
                <a:gd name="connsiteY415" fmla="*/ 246631 h 373017"/>
                <a:gd name="connsiteX416" fmla="*/ 80562 w 316982"/>
                <a:gd name="connsiteY416" fmla="*/ 251241 h 373017"/>
                <a:gd name="connsiteX417" fmla="*/ 81001 w 316982"/>
                <a:gd name="connsiteY417" fmla="*/ 255041 h 373017"/>
                <a:gd name="connsiteX418" fmla="*/ 82105 w 316982"/>
                <a:gd name="connsiteY418" fmla="*/ 257394 h 373017"/>
                <a:gd name="connsiteX419" fmla="*/ 82267 w 316982"/>
                <a:gd name="connsiteY419" fmla="*/ 259994 h 373017"/>
                <a:gd name="connsiteX420" fmla="*/ 81715 w 316982"/>
                <a:gd name="connsiteY420" fmla="*/ 263214 h 373017"/>
                <a:gd name="connsiteX421" fmla="*/ 79867 w 316982"/>
                <a:gd name="connsiteY421" fmla="*/ 282921 h 373017"/>
                <a:gd name="connsiteX422" fmla="*/ 78972 w 316982"/>
                <a:gd name="connsiteY422" fmla="*/ 286398 h 373017"/>
                <a:gd name="connsiteX423" fmla="*/ 78410 w 316982"/>
                <a:gd name="connsiteY423" fmla="*/ 289398 h 373017"/>
                <a:gd name="connsiteX424" fmla="*/ 76372 w 316982"/>
                <a:gd name="connsiteY424" fmla="*/ 290313 h 373017"/>
                <a:gd name="connsiteX425" fmla="*/ 73743 w 316982"/>
                <a:gd name="connsiteY425" fmla="*/ 289350 h 373017"/>
                <a:gd name="connsiteX426" fmla="*/ 70428 w 316982"/>
                <a:gd name="connsiteY426" fmla="*/ 287655 h 373017"/>
                <a:gd name="connsiteX427" fmla="*/ 68894 w 316982"/>
                <a:gd name="connsiteY427" fmla="*/ 287760 h 373017"/>
                <a:gd name="connsiteX428" fmla="*/ 67351 w 316982"/>
                <a:gd name="connsiteY428" fmla="*/ 288341 h 373017"/>
                <a:gd name="connsiteX429" fmla="*/ 66084 w 316982"/>
                <a:gd name="connsiteY429" fmla="*/ 287846 h 373017"/>
                <a:gd name="connsiteX430" fmla="*/ 64875 w 316982"/>
                <a:gd name="connsiteY430" fmla="*/ 286883 h 373017"/>
                <a:gd name="connsiteX431" fmla="*/ 63970 w 316982"/>
                <a:gd name="connsiteY431" fmla="*/ 293608 h 373017"/>
                <a:gd name="connsiteX432" fmla="*/ 62474 w 316982"/>
                <a:gd name="connsiteY432" fmla="*/ 296332 h 373017"/>
                <a:gd name="connsiteX433" fmla="*/ 60198 w 316982"/>
                <a:gd name="connsiteY433" fmla="*/ 298075 h 373017"/>
                <a:gd name="connsiteX434" fmla="*/ 58055 w 316982"/>
                <a:gd name="connsiteY434" fmla="*/ 298180 h 373017"/>
                <a:gd name="connsiteX435" fmla="*/ 55845 w 316982"/>
                <a:gd name="connsiteY435" fmla="*/ 297599 h 373017"/>
                <a:gd name="connsiteX436" fmla="*/ 53978 w 316982"/>
                <a:gd name="connsiteY436" fmla="*/ 297599 h 373017"/>
                <a:gd name="connsiteX437" fmla="*/ 52559 w 316982"/>
                <a:gd name="connsiteY437" fmla="*/ 296313 h 373017"/>
                <a:gd name="connsiteX438" fmla="*/ 51435 w 316982"/>
                <a:gd name="connsiteY438" fmla="*/ 294046 h 373017"/>
                <a:gd name="connsiteX439" fmla="*/ 49644 w 316982"/>
                <a:gd name="connsiteY439" fmla="*/ 291294 h 373017"/>
                <a:gd name="connsiteX440" fmla="*/ 47825 w 316982"/>
                <a:gd name="connsiteY440" fmla="*/ 288026 h 373017"/>
                <a:gd name="connsiteX441" fmla="*/ 47625 w 316982"/>
                <a:gd name="connsiteY441" fmla="*/ 285064 h 373017"/>
                <a:gd name="connsiteX442" fmla="*/ 47310 w 316982"/>
                <a:gd name="connsiteY442" fmla="*/ 278521 h 373017"/>
                <a:gd name="connsiteX443" fmla="*/ 47835 w 316982"/>
                <a:gd name="connsiteY443" fmla="*/ 277092 h 373017"/>
                <a:gd name="connsiteX444" fmla="*/ 48596 w 316982"/>
                <a:gd name="connsiteY444" fmla="*/ 275720 h 373017"/>
                <a:gd name="connsiteX445" fmla="*/ 48968 w 316982"/>
                <a:gd name="connsiteY445" fmla="*/ 272787 h 373017"/>
                <a:gd name="connsiteX446" fmla="*/ 48711 w 316982"/>
                <a:gd name="connsiteY446" fmla="*/ 270224 h 373017"/>
                <a:gd name="connsiteX447" fmla="*/ 49244 w 316982"/>
                <a:gd name="connsiteY447" fmla="*/ 269310 h 373017"/>
                <a:gd name="connsiteX448" fmla="*/ 50302 w 316982"/>
                <a:gd name="connsiteY448" fmla="*/ 270224 h 373017"/>
                <a:gd name="connsiteX449" fmla="*/ 51092 w 316982"/>
                <a:gd name="connsiteY449" fmla="*/ 269881 h 373017"/>
                <a:gd name="connsiteX450" fmla="*/ 51044 w 316982"/>
                <a:gd name="connsiteY450" fmla="*/ 268557 h 373017"/>
                <a:gd name="connsiteX451" fmla="*/ 51283 w 316982"/>
                <a:gd name="connsiteY451" fmla="*/ 266147 h 373017"/>
                <a:gd name="connsiteX452" fmla="*/ 49892 w 316982"/>
                <a:gd name="connsiteY452" fmla="*/ 264128 h 373017"/>
                <a:gd name="connsiteX453" fmla="*/ 47539 w 316982"/>
                <a:gd name="connsiteY453" fmla="*/ 263442 h 373017"/>
                <a:gd name="connsiteX454" fmla="*/ 47310 w 316982"/>
                <a:gd name="connsiteY454" fmla="*/ 261328 h 373017"/>
                <a:gd name="connsiteX455" fmla="*/ 47558 w 316982"/>
                <a:gd name="connsiteY455" fmla="*/ 259261 h 373017"/>
                <a:gd name="connsiteX456" fmla="*/ 48796 w 316982"/>
                <a:gd name="connsiteY456" fmla="*/ 257870 h 373017"/>
                <a:gd name="connsiteX457" fmla="*/ 49216 w 316982"/>
                <a:gd name="connsiteY457" fmla="*/ 256022 h 373017"/>
                <a:gd name="connsiteX458" fmla="*/ 49225 w 316982"/>
                <a:gd name="connsiteY458" fmla="*/ 250374 h 373017"/>
                <a:gd name="connsiteX459" fmla="*/ 47568 w 316982"/>
                <a:gd name="connsiteY459" fmla="*/ 248288 h 373017"/>
                <a:gd name="connsiteX460" fmla="*/ 46930 w 316982"/>
                <a:gd name="connsiteY460" fmla="*/ 245126 h 373017"/>
                <a:gd name="connsiteX461" fmla="*/ 46072 w 316982"/>
                <a:gd name="connsiteY461" fmla="*/ 243107 h 373017"/>
                <a:gd name="connsiteX462" fmla="*/ 44529 w 316982"/>
                <a:gd name="connsiteY462" fmla="*/ 241068 h 373017"/>
                <a:gd name="connsiteX463" fmla="*/ 42777 w 316982"/>
                <a:gd name="connsiteY463" fmla="*/ 239411 h 373017"/>
                <a:gd name="connsiteX464" fmla="*/ 41700 w 316982"/>
                <a:gd name="connsiteY464" fmla="*/ 237811 h 373017"/>
                <a:gd name="connsiteX465" fmla="*/ 41462 w 316982"/>
                <a:gd name="connsiteY465" fmla="*/ 233620 h 373017"/>
                <a:gd name="connsiteX466" fmla="*/ 42072 w 316982"/>
                <a:gd name="connsiteY466" fmla="*/ 230114 h 373017"/>
                <a:gd name="connsiteX467" fmla="*/ 42624 w 316982"/>
                <a:gd name="connsiteY467" fmla="*/ 228610 h 373017"/>
                <a:gd name="connsiteX468" fmla="*/ 43186 w 316982"/>
                <a:gd name="connsiteY468" fmla="*/ 228828 h 373017"/>
                <a:gd name="connsiteX469" fmla="*/ 44920 w 316982"/>
                <a:gd name="connsiteY469" fmla="*/ 230572 h 373017"/>
                <a:gd name="connsiteX470" fmla="*/ 46339 w 316982"/>
                <a:gd name="connsiteY470" fmla="*/ 230962 h 373017"/>
                <a:gd name="connsiteX471" fmla="*/ 49149 w 316982"/>
                <a:gd name="connsiteY471" fmla="*/ 231381 h 373017"/>
                <a:gd name="connsiteX472" fmla="*/ 51911 w 316982"/>
                <a:gd name="connsiteY472" fmla="*/ 230819 h 373017"/>
                <a:gd name="connsiteX473" fmla="*/ 55302 w 316982"/>
                <a:gd name="connsiteY473" fmla="*/ 229229 h 373017"/>
                <a:gd name="connsiteX474" fmla="*/ 58569 w 316982"/>
                <a:gd name="connsiteY474" fmla="*/ 227304 h 373017"/>
                <a:gd name="connsiteX475" fmla="*/ 63303 w 316982"/>
                <a:gd name="connsiteY475" fmla="*/ 221637 h 373017"/>
                <a:gd name="connsiteX476" fmla="*/ 66218 w 316982"/>
                <a:gd name="connsiteY476" fmla="*/ 220485 h 373017"/>
                <a:gd name="connsiteX477" fmla="*/ 67713 w 316982"/>
                <a:gd name="connsiteY477" fmla="*/ 218989 h 373017"/>
                <a:gd name="connsiteX478" fmla="*/ 68228 w 316982"/>
                <a:gd name="connsiteY478" fmla="*/ 216970 h 373017"/>
                <a:gd name="connsiteX479" fmla="*/ 69466 w 316982"/>
                <a:gd name="connsiteY479" fmla="*/ 216446 h 373017"/>
                <a:gd name="connsiteX480" fmla="*/ 70923 w 316982"/>
                <a:gd name="connsiteY480" fmla="*/ 218408 h 373017"/>
                <a:gd name="connsiteX481" fmla="*/ 72733 w 316982"/>
                <a:gd name="connsiteY481" fmla="*/ 218618 h 373017"/>
                <a:gd name="connsiteX482" fmla="*/ 75524 w 316982"/>
                <a:gd name="connsiteY482" fmla="*/ 220237 h 373017"/>
                <a:gd name="connsiteX483" fmla="*/ 76724 w 316982"/>
                <a:gd name="connsiteY483" fmla="*/ 221780 h 373017"/>
                <a:gd name="connsiteX484" fmla="*/ 77753 w 316982"/>
                <a:gd name="connsiteY484" fmla="*/ 223638 h 373017"/>
                <a:gd name="connsiteX485" fmla="*/ 78743 w 316982"/>
                <a:gd name="connsiteY485" fmla="*/ 224457 h 373017"/>
                <a:gd name="connsiteX486" fmla="*/ 79800 w 316982"/>
                <a:gd name="connsiteY486" fmla="*/ 224923 h 373017"/>
                <a:gd name="connsiteX487" fmla="*/ 79953 w 316982"/>
                <a:gd name="connsiteY487" fmla="*/ 225362 h 373017"/>
                <a:gd name="connsiteX488" fmla="*/ 79115 w 316982"/>
                <a:gd name="connsiteY488" fmla="*/ 225800 h 373017"/>
                <a:gd name="connsiteX489" fmla="*/ 78153 w 316982"/>
                <a:gd name="connsiteY489" fmla="*/ 227924 h 373017"/>
                <a:gd name="connsiteX490" fmla="*/ 78695 w 316982"/>
                <a:gd name="connsiteY490" fmla="*/ 228533 h 373017"/>
                <a:gd name="connsiteX491" fmla="*/ 80276 w 316982"/>
                <a:gd name="connsiteY491" fmla="*/ 229733 h 373017"/>
                <a:gd name="connsiteX492" fmla="*/ 44301 w 316982"/>
                <a:gd name="connsiteY492" fmla="*/ 224171 h 373017"/>
                <a:gd name="connsiteX493" fmla="*/ 43415 w 316982"/>
                <a:gd name="connsiteY493" fmla="*/ 225781 h 373017"/>
                <a:gd name="connsiteX494" fmla="*/ 42158 w 316982"/>
                <a:gd name="connsiteY494" fmla="*/ 225666 h 373017"/>
                <a:gd name="connsiteX495" fmla="*/ 42653 w 316982"/>
                <a:gd name="connsiteY495" fmla="*/ 224476 h 373017"/>
                <a:gd name="connsiteX496" fmla="*/ 43815 w 316982"/>
                <a:gd name="connsiteY496" fmla="*/ 222085 h 373017"/>
                <a:gd name="connsiteX497" fmla="*/ 45225 w 316982"/>
                <a:gd name="connsiteY497" fmla="*/ 221285 h 373017"/>
                <a:gd name="connsiteX498" fmla="*/ 45853 w 316982"/>
                <a:gd name="connsiteY498" fmla="*/ 221999 h 373017"/>
                <a:gd name="connsiteX499" fmla="*/ 45186 w 316982"/>
                <a:gd name="connsiteY499" fmla="*/ 223371 h 373017"/>
                <a:gd name="connsiteX500" fmla="*/ 44301 w 316982"/>
                <a:gd name="connsiteY500" fmla="*/ 224171 h 373017"/>
                <a:gd name="connsiteX501" fmla="*/ 195396 w 316982"/>
                <a:gd name="connsiteY501" fmla="*/ 235944 h 373017"/>
                <a:gd name="connsiteX502" fmla="*/ 194205 w 316982"/>
                <a:gd name="connsiteY502" fmla="*/ 236249 h 373017"/>
                <a:gd name="connsiteX503" fmla="*/ 193510 w 316982"/>
                <a:gd name="connsiteY503" fmla="*/ 235830 h 373017"/>
                <a:gd name="connsiteX504" fmla="*/ 193129 w 316982"/>
                <a:gd name="connsiteY504" fmla="*/ 235296 h 373017"/>
                <a:gd name="connsiteX505" fmla="*/ 193595 w 316982"/>
                <a:gd name="connsiteY505" fmla="*/ 233972 h 373017"/>
                <a:gd name="connsiteX506" fmla="*/ 196024 w 316982"/>
                <a:gd name="connsiteY506" fmla="*/ 234763 h 373017"/>
                <a:gd name="connsiteX507" fmla="*/ 195996 w 316982"/>
                <a:gd name="connsiteY507" fmla="*/ 235506 h 373017"/>
                <a:gd name="connsiteX508" fmla="*/ 195396 w 316982"/>
                <a:gd name="connsiteY508" fmla="*/ 235944 h 373017"/>
                <a:gd name="connsiteX509" fmla="*/ 49463 w 316982"/>
                <a:gd name="connsiteY509" fmla="*/ 292789 h 373017"/>
                <a:gd name="connsiteX510" fmla="*/ 47920 w 316982"/>
                <a:gd name="connsiteY510" fmla="*/ 296180 h 373017"/>
                <a:gd name="connsiteX511" fmla="*/ 46311 w 316982"/>
                <a:gd name="connsiteY511" fmla="*/ 293779 h 373017"/>
                <a:gd name="connsiteX512" fmla="*/ 46244 w 316982"/>
                <a:gd name="connsiteY512" fmla="*/ 291722 h 373017"/>
                <a:gd name="connsiteX513" fmla="*/ 46463 w 316982"/>
                <a:gd name="connsiteY513" fmla="*/ 291132 h 373017"/>
                <a:gd name="connsiteX514" fmla="*/ 48444 w 316982"/>
                <a:gd name="connsiteY514" fmla="*/ 291998 h 373017"/>
                <a:gd name="connsiteX515" fmla="*/ 49463 w 316982"/>
                <a:gd name="connsiteY515" fmla="*/ 292789 h 373017"/>
                <a:gd name="connsiteX516" fmla="*/ 239192 w 316982"/>
                <a:gd name="connsiteY516" fmla="*/ 321669 h 373017"/>
                <a:gd name="connsiteX517" fmla="*/ 237382 w 316982"/>
                <a:gd name="connsiteY517" fmla="*/ 325517 h 373017"/>
                <a:gd name="connsiteX518" fmla="*/ 236496 w 316982"/>
                <a:gd name="connsiteY518" fmla="*/ 326993 h 373017"/>
                <a:gd name="connsiteX519" fmla="*/ 230048 w 316982"/>
                <a:gd name="connsiteY519" fmla="*/ 336375 h 373017"/>
                <a:gd name="connsiteX520" fmla="*/ 229305 w 316982"/>
                <a:gd name="connsiteY520" fmla="*/ 338537 h 373017"/>
                <a:gd name="connsiteX521" fmla="*/ 228847 w 316982"/>
                <a:gd name="connsiteY521" fmla="*/ 340890 h 373017"/>
                <a:gd name="connsiteX522" fmla="*/ 228181 w 316982"/>
                <a:gd name="connsiteY522" fmla="*/ 342948 h 373017"/>
                <a:gd name="connsiteX523" fmla="*/ 227285 w 316982"/>
                <a:gd name="connsiteY523" fmla="*/ 344881 h 373017"/>
                <a:gd name="connsiteX524" fmla="*/ 226438 w 316982"/>
                <a:gd name="connsiteY524" fmla="*/ 347339 h 373017"/>
                <a:gd name="connsiteX525" fmla="*/ 226600 w 316982"/>
                <a:gd name="connsiteY525" fmla="*/ 350120 h 373017"/>
                <a:gd name="connsiteX526" fmla="*/ 226904 w 316982"/>
                <a:gd name="connsiteY526" fmla="*/ 351482 h 373017"/>
                <a:gd name="connsiteX527" fmla="*/ 227685 w 316982"/>
                <a:gd name="connsiteY527" fmla="*/ 352377 h 373017"/>
                <a:gd name="connsiteX528" fmla="*/ 228962 w 316982"/>
                <a:gd name="connsiteY528" fmla="*/ 353216 h 373017"/>
                <a:gd name="connsiteX529" fmla="*/ 229943 w 316982"/>
                <a:gd name="connsiteY529" fmla="*/ 354511 h 373017"/>
                <a:gd name="connsiteX530" fmla="*/ 228438 w 316982"/>
                <a:gd name="connsiteY530" fmla="*/ 355683 h 373017"/>
                <a:gd name="connsiteX531" fmla="*/ 230086 w 316982"/>
                <a:gd name="connsiteY531" fmla="*/ 358035 h 373017"/>
                <a:gd name="connsiteX532" fmla="*/ 231495 w 316982"/>
                <a:gd name="connsiteY532" fmla="*/ 359426 h 373017"/>
                <a:gd name="connsiteX533" fmla="*/ 231686 w 316982"/>
                <a:gd name="connsiteY533" fmla="*/ 360817 h 373017"/>
                <a:gd name="connsiteX534" fmla="*/ 231658 w 316982"/>
                <a:gd name="connsiteY534" fmla="*/ 362207 h 373017"/>
                <a:gd name="connsiteX535" fmla="*/ 228733 w 316982"/>
                <a:gd name="connsiteY535" fmla="*/ 364817 h 373017"/>
                <a:gd name="connsiteX536" fmla="*/ 227590 w 316982"/>
                <a:gd name="connsiteY536" fmla="*/ 366255 h 373017"/>
                <a:gd name="connsiteX537" fmla="*/ 226885 w 316982"/>
                <a:gd name="connsiteY537" fmla="*/ 367998 h 373017"/>
                <a:gd name="connsiteX538" fmla="*/ 226581 w 316982"/>
                <a:gd name="connsiteY538" fmla="*/ 369789 h 373017"/>
                <a:gd name="connsiteX539" fmla="*/ 226895 w 316982"/>
                <a:gd name="connsiteY539" fmla="*/ 371408 h 373017"/>
                <a:gd name="connsiteX540" fmla="*/ 226800 w 316982"/>
                <a:gd name="connsiteY540" fmla="*/ 373018 h 373017"/>
                <a:gd name="connsiteX541" fmla="*/ 223856 w 316982"/>
                <a:gd name="connsiteY541" fmla="*/ 372818 h 373017"/>
                <a:gd name="connsiteX542" fmla="*/ 220847 w 316982"/>
                <a:gd name="connsiteY542" fmla="*/ 371827 h 373017"/>
                <a:gd name="connsiteX543" fmla="*/ 217808 w 316982"/>
                <a:gd name="connsiteY543" fmla="*/ 372256 h 373017"/>
                <a:gd name="connsiteX544" fmla="*/ 213484 w 316982"/>
                <a:gd name="connsiteY544" fmla="*/ 370389 h 373017"/>
                <a:gd name="connsiteX545" fmla="*/ 211912 w 316982"/>
                <a:gd name="connsiteY545" fmla="*/ 370056 h 373017"/>
                <a:gd name="connsiteX546" fmla="*/ 210483 w 316982"/>
                <a:gd name="connsiteY546" fmla="*/ 369322 h 373017"/>
                <a:gd name="connsiteX547" fmla="*/ 206892 w 316982"/>
                <a:gd name="connsiteY547" fmla="*/ 363531 h 373017"/>
                <a:gd name="connsiteX548" fmla="*/ 203997 w 316982"/>
                <a:gd name="connsiteY548" fmla="*/ 361083 h 373017"/>
                <a:gd name="connsiteX549" fmla="*/ 200892 w 316982"/>
                <a:gd name="connsiteY549" fmla="*/ 359169 h 373017"/>
                <a:gd name="connsiteX550" fmla="*/ 197720 w 316982"/>
                <a:gd name="connsiteY550" fmla="*/ 359054 h 373017"/>
                <a:gd name="connsiteX551" fmla="*/ 194548 w 316982"/>
                <a:gd name="connsiteY551" fmla="*/ 359273 h 373017"/>
                <a:gd name="connsiteX552" fmla="*/ 191748 w 316982"/>
                <a:gd name="connsiteY552" fmla="*/ 358092 h 373017"/>
                <a:gd name="connsiteX553" fmla="*/ 186042 w 316982"/>
                <a:gd name="connsiteY553" fmla="*/ 354139 h 373017"/>
                <a:gd name="connsiteX554" fmla="*/ 179994 w 316982"/>
                <a:gd name="connsiteY554" fmla="*/ 350968 h 373017"/>
                <a:gd name="connsiteX555" fmla="*/ 177432 w 316982"/>
                <a:gd name="connsiteY555" fmla="*/ 348910 h 373017"/>
                <a:gd name="connsiteX556" fmla="*/ 176260 w 316982"/>
                <a:gd name="connsiteY556" fmla="*/ 347520 h 373017"/>
                <a:gd name="connsiteX557" fmla="*/ 174888 w 316982"/>
                <a:gd name="connsiteY557" fmla="*/ 346596 h 373017"/>
                <a:gd name="connsiteX558" fmla="*/ 171431 w 316982"/>
                <a:gd name="connsiteY558" fmla="*/ 345681 h 373017"/>
                <a:gd name="connsiteX559" fmla="*/ 168316 w 316982"/>
                <a:gd name="connsiteY559" fmla="*/ 343529 h 373017"/>
                <a:gd name="connsiteX560" fmla="*/ 166906 w 316982"/>
                <a:gd name="connsiteY560" fmla="*/ 343376 h 373017"/>
                <a:gd name="connsiteX561" fmla="*/ 163868 w 316982"/>
                <a:gd name="connsiteY561" fmla="*/ 343633 h 373017"/>
                <a:gd name="connsiteX562" fmla="*/ 162306 w 316982"/>
                <a:gd name="connsiteY562" fmla="*/ 343481 h 373017"/>
                <a:gd name="connsiteX563" fmla="*/ 160734 w 316982"/>
                <a:gd name="connsiteY563" fmla="*/ 342719 h 373017"/>
                <a:gd name="connsiteX564" fmla="*/ 157705 w 316982"/>
                <a:gd name="connsiteY564" fmla="*/ 340195 h 373017"/>
                <a:gd name="connsiteX565" fmla="*/ 155762 w 316982"/>
                <a:gd name="connsiteY565" fmla="*/ 336690 h 373017"/>
                <a:gd name="connsiteX566" fmla="*/ 155257 w 316982"/>
                <a:gd name="connsiteY566" fmla="*/ 335137 h 373017"/>
                <a:gd name="connsiteX567" fmla="*/ 156629 w 316982"/>
                <a:gd name="connsiteY567" fmla="*/ 331127 h 373017"/>
                <a:gd name="connsiteX568" fmla="*/ 158258 w 316982"/>
                <a:gd name="connsiteY568" fmla="*/ 327270 h 373017"/>
                <a:gd name="connsiteX569" fmla="*/ 159696 w 316982"/>
                <a:gd name="connsiteY569" fmla="*/ 326193 h 373017"/>
                <a:gd name="connsiteX570" fmla="*/ 161372 w 316982"/>
                <a:gd name="connsiteY570" fmla="*/ 325412 h 373017"/>
                <a:gd name="connsiteX571" fmla="*/ 162382 w 316982"/>
                <a:gd name="connsiteY571" fmla="*/ 324269 h 373017"/>
                <a:gd name="connsiteX572" fmla="*/ 163239 w 316982"/>
                <a:gd name="connsiteY572" fmla="*/ 322869 h 373017"/>
                <a:gd name="connsiteX573" fmla="*/ 166354 w 316982"/>
                <a:gd name="connsiteY573" fmla="*/ 326907 h 373017"/>
                <a:gd name="connsiteX574" fmla="*/ 167745 w 316982"/>
                <a:gd name="connsiteY574" fmla="*/ 327889 h 373017"/>
                <a:gd name="connsiteX575" fmla="*/ 169155 w 316982"/>
                <a:gd name="connsiteY575" fmla="*/ 327670 h 373017"/>
                <a:gd name="connsiteX576" fmla="*/ 171650 w 316982"/>
                <a:gd name="connsiteY576" fmla="*/ 326222 h 373017"/>
                <a:gd name="connsiteX577" fmla="*/ 171860 w 316982"/>
                <a:gd name="connsiteY577" fmla="*/ 324631 h 373017"/>
                <a:gd name="connsiteX578" fmla="*/ 174622 w 316982"/>
                <a:gd name="connsiteY578" fmla="*/ 322621 h 373017"/>
                <a:gd name="connsiteX579" fmla="*/ 178127 w 316982"/>
                <a:gd name="connsiteY579" fmla="*/ 322583 h 373017"/>
                <a:gd name="connsiteX580" fmla="*/ 179746 w 316982"/>
                <a:gd name="connsiteY580" fmla="*/ 322955 h 373017"/>
                <a:gd name="connsiteX581" fmla="*/ 180594 w 316982"/>
                <a:gd name="connsiteY581" fmla="*/ 324774 h 373017"/>
                <a:gd name="connsiteX582" fmla="*/ 181928 w 316982"/>
                <a:gd name="connsiteY582" fmla="*/ 325336 h 373017"/>
                <a:gd name="connsiteX583" fmla="*/ 183470 w 316982"/>
                <a:gd name="connsiteY583" fmla="*/ 325574 h 373017"/>
                <a:gd name="connsiteX584" fmla="*/ 188557 w 316982"/>
                <a:gd name="connsiteY584" fmla="*/ 329032 h 373017"/>
                <a:gd name="connsiteX585" fmla="*/ 189986 w 316982"/>
                <a:gd name="connsiteY585" fmla="*/ 329594 h 373017"/>
                <a:gd name="connsiteX586" fmla="*/ 191424 w 316982"/>
                <a:gd name="connsiteY586" fmla="*/ 329689 h 373017"/>
                <a:gd name="connsiteX587" fmla="*/ 195377 w 316982"/>
                <a:gd name="connsiteY587" fmla="*/ 328241 h 373017"/>
                <a:gd name="connsiteX588" fmla="*/ 198406 w 316982"/>
                <a:gd name="connsiteY588" fmla="*/ 327688 h 373017"/>
                <a:gd name="connsiteX589" fmla="*/ 204759 w 316982"/>
                <a:gd name="connsiteY589" fmla="*/ 328489 h 373017"/>
                <a:gd name="connsiteX590" fmla="*/ 208188 w 316982"/>
                <a:gd name="connsiteY590" fmla="*/ 327622 h 373017"/>
                <a:gd name="connsiteX591" fmla="*/ 210588 w 316982"/>
                <a:gd name="connsiteY591" fmla="*/ 327517 h 373017"/>
                <a:gd name="connsiteX592" fmla="*/ 214084 w 316982"/>
                <a:gd name="connsiteY592" fmla="*/ 326184 h 373017"/>
                <a:gd name="connsiteX593" fmla="*/ 216770 w 316982"/>
                <a:gd name="connsiteY593" fmla="*/ 323964 h 373017"/>
                <a:gd name="connsiteX594" fmla="*/ 218170 w 316982"/>
                <a:gd name="connsiteY594" fmla="*/ 323412 h 373017"/>
                <a:gd name="connsiteX595" fmla="*/ 219675 w 316982"/>
                <a:gd name="connsiteY595" fmla="*/ 323250 h 373017"/>
                <a:gd name="connsiteX596" fmla="*/ 223313 w 316982"/>
                <a:gd name="connsiteY596" fmla="*/ 323393 h 373017"/>
                <a:gd name="connsiteX597" fmla="*/ 226971 w 316982"/>
                <a:gd name="connsiteY597" fmla="*/ 323898 h 373017"/>
                <a:gd name="connsiteX598" fmla="*/ 228505 w 316982"/>
                <a:gd name="connsiteY598" fmla="*/ 323374 h 373017"/>
                <a:gd name="connsiteX599" fmla="*/ 229790 w 316982"/>
                <a:gd name="connsiteY599" fmla="*/ 321916 h 373017"/>
                <a:gd name="connsiteX600" fmla="*/ 231276 w 316982"/>
                <a:gd name="connsiteY600" fmla="*/ 321259 h 373017"/>
                <a:gd name="connsiteX601" fmla="*/ 232905 w 316982"/>
                <a:gd name="connsiteY601" fmla="*/ 321697 h 373017"/>
                <a:gd name="connsiteX602" fmla="*/ 237125 w 316982"/>
                <a:gd name="connsiteY602" fmla="*/ 319202 h 373017"/>
                <a:gd name="connsiteX603" fmla="*/ 238992 w 316982"/>
                <a:gd name="connsiteY603" fmla="*/ 319030 h 373017"/>
                <a:gd name="connsiteX604" fmla="*/ 240764 w 316982"/>
                <a:gd name="connsiteY604" fmla="*/ 319992 h 373017"/>
                <a:gd name="connsiteX605" fmla="*/ 239192 w 316982"/>
                <a:gd name="connsiteY605" fmla="*/ 321669 h 373017"/>
                <a:gd name="connsiteX606" fmla="*/ 144951 w 316982"/>
                <a:gd name="connsiteY606" fmla="*/ 370761 h 373017"/>
                <a:gd name="connsiteX607" fmla="*/ 143665 w 316982"/>
                <a:gd name="connsiteY607" fmla="*/ 371132 h 373017"/>
                <a:gd name="connsiteX608" fmla="*/ 141989 w 316982"/>
                <a:gd name="connsiteY608" fmla="*/ 369989 h 373017"/>
                <a:gd name="connsiteX609" fmla="*/ 141875 w 316982"/>
                <a:gd name="connsiteY609" fmla="*/ 368389 h 373017"/>
                <a:gd name="connsiteX610" fmla="*/ 142180 w 316982"/>
                <a:gd name="connsiteY610" fmla="*/ 367913 h 373017"/>
                <a:gd name="connsiteX611" fmla="*/ 144218 w 316982"/>
                <a:gd name="connsiteY611" fmla="*/ 368646 h 373017"/>
                <a:gd name="connsiteX612" fmla="*/ 144856 w 316982"/>
                <a:gd name="connsiteY612" fmla="*/ 370132 h 373017"/>
                <a:gd name="connsiteX613" fmla="*/ 144951 w 316982"/>
                <a:gd name="connsiteY613" fmla="*/ 370761 h 373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</a:cxnLst>
              <a:rect l="l" t="t" r="r" b="b"/>
              <a:pathLst>
                <a:path w="316982" h="373017">
                  <a:moveTo>
                    <a:pt x="189024" y="21745"/>
                  </a:moveTo>
                  <a:lnTo>
                    <a:pt x="188481" y="23965"/>
                  </a:lnTo>
                  <a:lnTo>
                    <a:pt x="187347" y="24517"/>
                  </a:lnTo>
                  <a:lnTo>
                    <a:pt x="185366" y="25813"/>
                  </a:lnTo>
                  <a:lnTo>
                    <a:pt x="183099" y="27584"/>
                  </a:lnTo>
                  <a:lnTo>
                    <a:pt x="180985" y="29575"/>
                  </a:lnTo>
                  <a:lnTo>
                    <a:pt x="180413" y="31737"/>
                  </a:lnTo>
                  <a:lnTo>
                    <a:pt x="180994" y="33147"/>
                  </a:lnTo>
                  <a:lnTo>
                    <a:pt x="181565" y="33633"/>
                  </a:lnTo>
                  <a:lnTo>
                    <a:pt x="182337" y="33204"/>
                  </a:lnTo>
                  <a:lnTo>
                    <a:pt x="183461" y="33471"/>
                  </a:lnTo>
                  <a:lnTo>
                    <a:pt x="184870" y="34242"/>
                  </a:lnTo>
                  <a:lnTo>
                    <a:pt x="187223" y="34995"/>
                  </a:lnTo>
                  <a:lnTo>
                    <a:pt x="187290" y="35738"/>
                  </a:lnTo>
                  <a:lnTo>
                    <a:pt x="186795" y="36690"/>
                  </a:lnTo>
                  <a:lnTo>
                    <a:pt x="184966" y="38376"/>
                  </a:lnTo>
                  <a:lnTo>
                    <a:pt x="183318" y="40281"/>
                  </a:lnTo>
                  <a:lnTo>
                    <a:pt x="183156" y="41443"/>
                  </a:lnTo>
                  <a:lnTo>
                    <a:pt x="183356" y="42291"/>
                  </a:lnTo>
                  <a:lnTo>
                    <a:pt x="183927" y="42805"/>
                  </a:lnTo>
                  <a:lnTo>
                    <a:pt x="186366" y="42577"/>
                  </a:lnTo>
                  <a:lnTo>
                    <a:pt x="186728" y="43272"/>
                  </a:lnTo>
                  <a:lnTo>
                    <a:pt x="185537" y="48158"/>
                  </a:lnTo>
                  <a:lnTo>
                    <a:pt x="185909" y="48987"/>
                  </a:lnTo>
                  <a:lnTo>
                    <a:pt x="188052" y="49768"/>
                  </a:lnTo>
                  <a:lnTo>
                    <a:pt x="189614" y="50940"/>
                  </a:lnTo>
                  <a:lnTo>
                    <a:pt x="192539" y="54026"/>
                  </a:lnTo>
                  <a:lnTo>
                    <a:pt x="193700" y="56521"/>
                  </a:lnTo>
                  <a:lnTo>
                    <a:pt x="192900" y="57360"/>
                  </a:lnTo>
                  <a:lnTo>
                    <a:pt x="191062" y="57769"/>
                  </a:lnTo>
                  <a:lnTo>
                    <a:pt x="189567" y="57560"/>
                  </a:lnTo>
                  <a:lnTo>
                    <a:pt x="191262" y="56055"/>
                  </a:lnTo>
                  <a:lnTo>
                    <a:pt x="187119" y="50568"/>
                  </a:lnTo>
                  <a:lnTo>
                    <a:pt x="185242" y="50578"/>
                  </a:lnTo>
                  <a:lnTo>
                    <a:pt x="182756" y="52902"/>
                  </a:lnTo>
                  <a:lnTo>
                    <a:pt x="175841" y="50549"/>
                  </a:lnTo>
                  <a:lnTo>
                    <a:pt x="174517" y="51502"/>
                  </a:lnTo>
                  <a:lnTo>
                    <a:pt x="173536" y="53359"/>
                  </a:lnTo>
                  <a:lnTo>
                    <a:pt x="171136" y="55664"/>
                  </a:lnTo>
                  <a:lnTo>
                    <a:pt x="167735" y="56674"/>
                  </a:lnTo>
                  <a:lnTo>
                    <a:pt x="163944" y="59207"/>
                  </a:lnTo>
                  <a:lnTo>
                    <a:pt x="159953" y="60998"/>
                  </a:lnTo>
                  <a:lnTo>
                    <a:pt x="156905" y="62351"/>
                  </a:lnTo>
                  <a:lnTo>
                    <a:pt x="155153" y="62112"/>
                  </a:lnTo>
                  <a:lnTo>
                    <a:pt x="157934" y="59188"/>
                  </a:lnTo>
                  <a:lnTo>
                    <a:pt x="156753" y="59131"/>
                  </a:lnTo>
                  <a:lnTo>
                    <a:pt x="153057" y="61198"/>
                  </a:lnTo>
                  <a:lnTo>
                    <a:pt x="150933" y="62941"/>
                  </a:lnTo>
                  <a:lnTo>
                    <a:pt x="150247" y="65875"/>
                  </a:lnTo>
                  <a:lnTo>
                    <a:pt x="149628" y="70695"/>
                  </a:lnTo>
                  <a:lnTo>
                    <a:pt x="151247" y="71971"/>
                  </a:lnTo>
                  <a:lnTo>
                    <a:pt x="154086" y="78314"/>
                  </a:lnTo>
                  <a:lnTo>
                    <a:pt x="157581" y="81020"/>
                  </a:lnTo>
                  <a:lnTo>
                    <a:pt x="156905" y="83601"/>
                  </a:lnTo>
                  <a:lnTo>
                    <a:pt x="155981" y="85639"/>
                  </a:lnTo>
                  <a:lnTo>
                    <a:pt x="153867" y="87401"/>
                  </a:lnTo>
                  <a:lnTo>
                    <a:pt x="152114" y="86096"/>
                  </a:lnTo>
                  <a:lnTo>
                    <a:pt x="151038" y="86125"/>
                  </a:lnTo>
                  <a:lnTo>
                    <a:pt x="150228" y="90249"/>
                  </a:lnTo>
                  <a:lnTo>
                    <a:pt x="151743" y="101213"/>
                  </a:lnTo>
                  <a:lnTo>
                    <a:pt x="154181" y="108871"/>
                  </a:lnTo>
                  <a:lnTo>
                    <a:pt x="156600" y="112204"/>
                  </a:lnTo>
                  <a:lnTo>
                    <a:pt x="162058" y="117377"/>
                  </a:lnTo>
                  <a:lnTo>
                    <a:pt x="167830" y="120101"/>
                  </a:lnTo>
                  <a:lnTo>
                    <a:pt x="178213" y="128778"/>
                  </a:lnTo>
                  <a:lnTo>
                    <a:pt x="183909" y="131521"/>
                  </a:lnTo>
                  <a:lnTo>
                    <a:pt x="185404" y="133007"/>
                  </a:lnTo>
                  <a:lnTo>
                    <a:pt x="188852" y="139665"/>
                  </a:lnTo>
                  <a:lnTo>
                    <a:pt x="191833" y="147333"/>
                  </a:lnTo>
                  <a:lnTo>
                    <a:pt x="195044" y="159315"/>
                  </a:lnTo>
                  <a:lnTo>
                    <a:pt x="197330" y="165192"/>
                  </a:lnTo>
                  <a:lnTo>
                    <a:pt x="201940" y="171821"/>
                  </a:lnTo>
                  <a:lnTo>
                    <a:pt x="211503" y="181270"/>
                  </a:lnTo>
                  <a:lnTo>
                    <a:pt x="220199" y="188157"/>
                  </a:lnTo>
                  <a:lnTo>
                    <a:pt x="228295" y="192405"/>
                  </a:lnTo>
                  <a:lnTo>
                    <a:pt x="234610" y="193148"/>
                  </a:lnTo>
                  <a:lnTo>
                    <a:pt x="249555" y="192214"/>
                  </a:lnTo>
                  <a:lnTo>
                    <a:pt x="252155" y="192614"/>
                  </a:lnTo>
                  <a:lnTo>
                    <a:pt x="254917" y="193758"/>
                  </a:lnTo>
                  <a:lnTo>
                    <a:pt x="255575" y="196701"/>
                  </a:lnTo>
                  <a:lnTo>
                    <a:pt x="254565" y="198682"/>
                  </a:lnTo>
                  <a:lnTo>
                    <a:pt x="251422" y="200739"/>
                  </a:lnTo>
                  <a:lnTo>
                    <a:pt x="248221" y="203587"/>
                  </a:lnTo>
                  <a:lnTo>
                    <a:pt x="247869" y="207464"/>
                  </a:lnTo>
                  <a:lnTo>
                    <a:pt x="250860" y="210188"/>
                  </a:lnTo>
                  <a:lnTo>
                    <a:pt x="265281" y="217399"/>
                  </a:lnTo>
                  <a:lnTo>
                    <a:pt x="280026" y="223409"/>
                  </a:lnTo>
                  <a:lnTo>
                    <a:pt x="284617" y="226466"/>
                  </a:lnTo>
                  <a:lnTo>
                    <a:pt x="289941" y="231219"/>
                  </a:lnTo>
                  <a:lnTo>
                    <a:pt x="302790" y="237734"/>
                  </a:lnTo>
                  <a:lnTo>
                    <a:pt x="304962" y="240897"/>
                  </a:lnTo>
                  <a:lnTo>
                    <a:pt x="312772" y="247688"/>
                  </a:lnTo>
                  <a:lnTo>
                    <a:pt x="316306" y="252917"/>
                  </a:lnTo>
                  <a:lnTo>
                    <a:pt x="316982" y="256965"/>
                  </a:lnTo>
                  <a:lnTo>
                    <a:pt x="315297" y="261071"/>
                  </a:lnTo>
                  <a:lnTo>
                    <a:pt x="314515" y="263957"/>
                  </a:lnTo>
                  <a:lnTo>
                    <a:pt x="313192" y="266805"/>
                  </a:lnTo>
                  <a:lnTo>
                    <a:pt x="309867" y="265729"/>
                  </a:lnTo>
                  <a:lnTo>
                    <a:pt x="306086" y="262795"/>
                  </a:lnTo>
                  <a:lnTo>
                    <a:pt x="300390" y="250850"/>
                  </a:lnTo>
                  <a:lnTo>
                    <a:pt x="289998" y="249641"/>
                  </a:lnTo>
                  <a:lnTo>
                    <a:pt x="287846" y="248755"/>
                  </a:lnTo>
                  <a:lnTo>
                    <a:pt x="284150" y="246697"/>
                  </a:lnTo>
                  <a:lnTo>
                    <a:pt x="283931" y="245335"/>
                  </a:lnTo>
                  <a:lnTo>
                    <a:pt x="283016" y="243640"/>
                  </a:lnTo>
                  <a:lnTo>
                    <a:pt x="282073" y="243068"/>
                  </a:lnTo>
                  <a:lnTo>
                    <a:pt x="278101" y="242688"/>
                  </a:lnTo>
                  <a:lnTo>
                    <a:pt x="275349" y="244630"/>
                  </a:lnTo>
                  <a:lnTo>
                    <a:pt x="272110" y="249231"/>
                  </a:lnTo>
                  <a:lnTo>
                    <a:pt x="268433" y="255832"/>
                  </a:lnTo>
                  <a:lnTo>
                    <a:pt x="264700" y="265481"/>
                  </a:lnTo>
                  <a:lnTo>
                    <a:pt x="264490" y="269367"/>
                  </a:lnTo>
                  <a:lnTo>
                    <a:pt x="266519" y="273129"/>
                  </a:lnTo>
                  <a:lnTo>
                    <a:pt x="272577" y="275225"/>
                  </a:lnTo>
                  <a:lnTo>
                    <a:pt x="277254" y="278568"/>
                  </a:lnTo>
                  <a:lnTo>
                    <a:pt x="280340" y="282054"/>
                  </a:lnTo>
                  <a:lnTo>
                    <a:pt x="280559" y="290446"/>
                  </a:lnTo>
                  <a:lnTo>
                    <a:pt x="281940" y="295199"/>
                  </a:lnTo>
                  <a:lnTo>
                    <a:pt x="279911" y="297894"/>
                  </a:lnTo>
                  <a:lnTo>
                    <a:pt x="275977" y="297199"/>
                  </a:lnTo>
                  <a:lnTo>
                    <a:pt x="270738" y="298913"/>
                  </a:lnTo>
                  <a:lnTo>
                    <a:pt x="267024" y="301981"/>
                  </a:lnTo>
                  <a:lnTo>
                    <a:pt x="265481" y="304895"/>
                  </a:lnTo>
                  <a:lnTo>
                    <a:pt x="265881" y="312439"/>
                  </a:lnTo>
                  <a:lnTo>
                    <a:pt x="265119" y="315306"/>
                  </a:lnTo>
                  <a:lnTo>
                    <a:pt x="258080" y="320716"/>
                  </a:lnTo>
                  <a:lnTo>
                    <a:pt x="254384" y="326241"/>
                  </a:lnTo>
                  <a:lnTo>
                    <a:pt x="253460" y="328527"/>
                  </a:lnTo>
                  <a:lnTo>
                    <a:pt x="252051" y="331118"/>
                  </a:lnTo>
                  <a:lnTo>
                    <a:pt x="243163" y="331213"/>
                  </a:lnTo>
                  <a:lnTo>
                    <a:pt x="241059" y="328003"/>
                  </a:lnTo>
                  <a:lnTo>
                    <a:pt x="240983" y="323231"/>
                  </a:lnTo>
                  <a:lnTo>
                    <a:pt x="242506" y="320288"/>
                  </a:lnTo>
                  <a:lnTo>
                    <a:pt x="245774" y="318906"/>
                  </a:lnTo>
                  <a:lnTo>
                    <a:pt x="247974" y="312772"/>
                  </a:lnTo>
                  <a:lnTo>
                    <a:pt x="247278" y="308334"/>
                  </a:lnTo>
                  <a:lnTo>
                    <a:pt x="248564" y="306362"/>
                  </a:lnTo>
                  <a:lnTo>
                    <a:pt x="249774" y="304972"/>
                  </a:lnTo>
                  <a:lnTo>
                    <a:pt x="252260" y="304152"/>
                  </a:lnTo>
                  <a:lnTo>
                    <a:pt x="255775" y="303371"/>
                  </a:lnTo>
                  <a:lnTo>
                    <a:pt x="256127" y="297151"/>
                  </a:lnTo>
                  <a:lnTo>
                    <a:pt x="253384" y="294322"/>
                  </a:lnTo>
                  <a:lnTo>
                    <a:pt x="252422" y="290351"/>
                  </a:lnTo>
                  <a:lnTo>
                    <a:pt x="251145" y="282997"/>
                  </a:lnTo>
                  <a:lnTo>
                    <a:pt x="246621" y="273577"/>
                  </a:lnTo>
                  <a:lnTo>
                    <a:pt x="244202" y="265147"/>
                  </a:lnTo>
                  <a:lnTo>
                    <a:pt x="242306" y="260975"/>
                  </a:lnTo>
                  <a:lnTo>
                    <a:pt x="239430" y="258794"/>
                  </a:lnTo>
                  <a:lnTo>
                    <a:pt x="234239" y="258823"/>
                  </a:lnTo>
                  <a:lnTo>
                    <a:pt x="231658" y="258204"/>
                  </a:lnTo>
                  <a:lnTo>
                    <a:pt x="222475" y="252317"/>
                  </a:lnTo>
                  <a:lnTo>
                    <a:pt x="221837" y="251422"/>
                  </a:lnTo>
                  <a:lnTo>
                    <a:pt x="221894" y="249850"/>
                  </a:lnTo>
                  <a:lnTo>
                    <a:pt x="223418" y="247479"/>
                  </a:lnTo>
                  <a:lnTo>
                    <a:pt x="222390" y="244269"/>
                  </a:lnTo>
                  <a:lnTo>
                    <a:pt x="221304" y="241230"/>
                  </a:lnTo>
                  <a:lnTo>
                    <a:pt x="219504" y="238639"/>
                  </a:lnTo>
                  <a:lnTo>
                    <a:pt x="217532" y="237287"/>
                  </a:lnTo>
                  <a:lnTo>
                    <a:pt x="213398" y="238115"/>
                  </a:lnTo>
                  <a:lnTo>
                    <a:pt x="211950" y="238754"/>
                  </a:lnTo>
                  <a:lnTo>
                    <a:pt x="209340" y="238535"/>
                  </a:lnTo>
                  <a:lnTo>
                    <a:pt x="207292" y="239687"/>
                  </a:lnTo>
                  <a:lnTo>
                    <a:pt x="206149" y="239725"/>
                  </a:lnTo>
                  <a:lnTo>
                    <a:pt x="209369" y="235163"/>
                  </a:lnTo>
                  <a:lnTo>
                    <a:pt x="208502" y="234086"/>
                  </a:lnTo>
                  <a:lnTo>
                    <a:pt x="205321" y="232210"/>
                  </a:lnTo>
                  <a:lnTo>
                    <a:pt x="200997" y="231924"/>
                  </a:lnTo>
                  <a:lnTo>
                    <a:pt x="199796" y="231696"/>
                  </a:lnTo>
                  <a:lnTo>
                    <a:pt x="199092" y="232867"/>
                  </a:lnTo>
                  <a:lnTo>
                    <a:pt x="198253" y="232229"/>
                  </a:lnTo>
                  <a:lnTo>
                    <a:pt x="198339" y="230191"/>
                  </a:lnTo>
                  <a:lnTo>
                    <a:pt x="193319" y="221028"/>
                  </a:lnTo>
                  <a:lnTo>
                    <a:pt x="189947" y="217284"/>
                  </a:lnTo>
                  <a:lnTo>
                    <a:pt x="188242" y="216618"/>
                  </a:lnTo>
                  <a:lnTo>
                    <a:pt x="185166" y="217408"/>
                  </a:lnTo>
                  <a:lnTo>
                    <a:pt x="180013" y="215770"/>
                  </a:lnTo>
                  <a:lnTo>
                    <a:pt x="176937" y="215408"/>
                  </a:lnTo>
                  <a:lnTo>
                    <a:pt x="175241" y="215808"/>
                  </a:lnTo>
                  <a:lnTo>
                    <a:pt x="172707" y="216998"/>
                  </a:lnTo>
                  <a:lnTo>
                    <a:pt x="171431" y="216208"/>
                  </a:lnTo>
                  <a:lnTo>
                    <a:pt x="170983" y="214979"/>
                  </a:lnTo>
                  <a:lnTo>
                    <a:pt x="166306" y="211160"/>
                  </a:lnTo>
                  <a:lnTo>
                    <a:pt x="160468" y="208997"/>
                  </a:lnTo>
                  <a:lnTo>
                    <a:pt x="149104" y="196777"/>
                  </a:lnTo>
                  <a:lnTo>
                    <a:pt x="145618" y="192196"/>
                  </a:lnTo>
                  <a:lnTo>
                    <a:pt x="138446" y="187138"/>
                  </a:lnTo>
                  <a:lnTo>
                    <a:pt x="133912" y="179746"/>
                  </a:lnTo>
                  <a:lnTo>
                    <a:pt x="130197" y="177032"/>
                  </a:lnTo>
                  <a:lnTo>
                    <a:pt x="124796" y="174850"/>
                  </a:lnTo>
                  <a:lnTo>
                    <a:pt x="123549" y="175127"/>
                  </a:lnTo>
                  <a:lnTo>
                    <a:pt x="121929" y="175946"/>
                  </a:lnTo>
                  <a:lnTo>
                    <a:pt x="120653" y="176060"/>
                  </a:lnTo>
                  <a:lnTo>
                    <a:pt x="119644" y="175098"/>
                  </a:lnTo>
                  <a:lnTo>
                    <a:pt x="120672" y="174107"/>
                  </a:lnTo>
                  <a:lnTo>
                    <a:pt x="121825" y="173660"/>
                  </a:lnTo>
                  <a:lnTo>
                    <a:pt x="121377" y="170821"/>
                  </a:lnTo>
                  <a:lnTo>
                    <a:pt x="115224" y="163449"/>
                  </a:lnTo>
                  <a:lnTo>
                    <a:pt x="111623" y="161068"/>
                  </a:lnTo>
                  <a:lnTo>
                    <a:pt x="110604" y="159601"/>
                  </a:lnTo>
                  <a:lnTo>
                    <a:pt x="109852" y="157591"/>
                  </a:lnTo>
                  <a:lnTo>
                    <a:pt x="109080" y="156267"/>
                  </a:lnTo>
                  <a:lnTo>
                    <a:pt x="107375" y="155505"/>
                  </a:lnTo>
                  <a:lnTo>
                    <a:pt x="105918" y="155638"/>
                  </a:lnTo>
                  <a:lnTo>
                    <a:pt x="103908" y="155134"/>
                  </a:lnTo>
                  <a:lnTo>
                    <a:pt x="103975" y="151571"/>
                  </a:lnTo>
                  <a:lnTo>
                    <a:pt x="104375" y="148838"/>
                  </a:lnTo>
                  <a:lnTo>
                    <a:pt x="104070" y="146513"/>
                  </a:lnTo>
                  <a:lnTo>
                    <a:pt x="102108" y="140389"/>
                  </a:lnTo>
                  <a:lnTo>
                    <a:pt x="98717" y="135188"/>
                  </a:lnTo>
                  <a:lnTo>
                    <a:pt x="96717" y="122701"/>
                  </a:lnTo>
                  <a:lnTo>
                    <a:pt x="95174" y="119167"/>
                  </a:lnTo>
                  <a:lnTo>
                    <a:pt x="91421" y="116491"/>
                  </a:lnTo>
                  <a:lnTo>
                    <a:pt x="82953" y="113481"/>
                  </a:lnTo>
                  <a:lnTo>
                    <a:pt x="71152" y="105375"/>
                  </a:lnTo>
                  <a:lnTo>
                    <a:pt x="68656" y="105232"/>
                  </a:lnTo>
                  <a:lnTo>
                    <a:pt x="61560" y="102070"/>
                  </a:lnTo>
                  <a:lnTo>
                    <a:pt x="57159" y="101527"/>
                  </a:lnTo>
                  <a:lnTo>
                    <a:pt x="51445" y="104365"/>
                  </a:lnTo>
                  <a:lnTo>
                    <a:pt x="44501" y="112157"/>
                  </a:lnTo>
                  <a:lnTo>
                    <a:pt x="38871" y="120225"/>
                  </a:lnTo>
                  <a:lnTo>
                    <a:pt x="36824" y="121787"/>
                  </a:lnTo>
                  <a:lnTo>
                    <a:pt x="29556" y="124530"/>
                  </a:lnTo>
                  <a:lnTo>
                    <a:pt x="23136" y="125835"/>
                  </a:lnTo>
                  <a:lnTo>
                    <a:pt x="23070" y="123777"/>
                  </a:lnTo>
                  <a:lnTo>
                    <a:pt x="22841" y="122225"/>
                  </a:lnTo>
                  <a:lnTo>
                    <a:pt x="23927" y="120520"/>
                  </a:lnTo>
                  <a:lnTo>
                    <a:pt x="25717" y="118510"/>
                  </a:lnTo>
                  <a:lnTo>
                    <a:pt x="27365" y="115976"/>
                  </a:lnTo>
                  <a:lnTo>
                    <a:pt x="28051" y="114148"/>
                  </a:lnTo>
                  <a:lnTo>
                    <a:pt x="27727" y="112928"/>
                  </a:lnTo>
                  <a:lnTo>
                    <a:pt x="26984" y="111119"/>
                  </a:lnTo>
                  <a:lnTo>
                    <a:pt x="25975" y="110985"/>
                  </a:lnTo>
                  <a:lnTo>
                    <a:pt x="19860" y="112509"/>
                  </a:lnTo>
                  <a:lnTo>
                    <a:pt x="18459" y="112119"/>
                  </a:lnTo>
                  <a:lnTo>
                    <a:pt x="13935" y="109747"/>
                  </a:lnTo>
                  <a:lnTo>
                    <a:pt x="9068" y="106832"/>
                  </a:lnTo>
                  <a:lnTo>
                    <a:pt x="7277" y="104756"/>
                  </a:lnTo>
                  <a:lnTo>
                    <a:pt x="6601" y="102660"/>
                  </a:lnTo>
                  <a:lnTo>
                    <a:pt x="7106" y="101308"/>
                  </a:lnTo>
                  <a:lnTo>
                    <a:pt x="6705" y="99993"/>
                  </a:lnTo>
                  <a:lnTo>
                    <a:pt x="5753" y="98222"/>
                  </a:lnTo>
                  <a:lnTo>
                    <a:pt x="6610" y="96212"/>
                  </a:lnTo>
                  <a:lnTo>
                    <a:pt x="8125" y="93707"/>
                  </a:lnTo>
                  <a:lnTo>
                    <a:pt x="8887" y="92002"/>
                  </a:lnTo>
                  <a:lnTo>
                    <a:pt x="10163" y="91564"/>
                  </a:lnTo>
                  <a:lnTo>
                    <a:pt x="10773" y="90526"/>
                  </a:lnTo>
                  <a:lnTo>
                    <a:pt x="9753" y="86373"/>
                  </a:lnTo>
                  <a:lnTo>
                    <a:pt x="9220" y="85706"/>
                  </a:lnTo>
                  <a:lnTo>
                    <a:pt x="8344" y="85192"/>
                  </a:lnTo>
                  <a:lnTo>
                    <a:pt x="6991" y="85134"/>
                  </a:lnTo>
                  <a:lnTo>
                    <a:pt x="4629" y="84277"/>
                  </a:lnTo>
                  <a:lnTo>
                    <a:pt x="2953" y="82839"/>
                  </a:lnTo>
                  <a:lnTo>
                    <a:pt x="2591" y="80896"/>
                  </a:lnTo>
                  <a:lnTo>
                    <a:pt x="1705" y="79029"/>
                  </a:lnTo>
                  <a:lnTo>
                    <a:pt x="190" y="77314"/>
                  </a:lnTo>
                  <a:lnTo>
                    <a:pt x="0" y="75438"/>
                  </a:lnTo>
                  <a:lnTo>
                    <a:pt x="1724" y="74447"/>
                  </a:lnTo>
                  <a:lnTo>
                    <a:pt x="4076" y="74409"/>
                  </a:lnTo>
                  <a:lnTo>
                    <a:pt x="5734" y="74781"/>
                  </a:lnTo>
                  <a:lnTo>
                    <a:pt x="9449" y="71761"/>
                  </a:lnTo>
                  <a:lnTo>
                    <a:pt x="10820" y="71495"/>
                  </a:lnTo>
                  <a:lnTo>
                    <a:pt x="12049" y="70847"/>
                  </a:lnTo>
                  <a:lnTo>
                    <a:pt x="13078" y="66713"/>
                  </a:lnTo>
                  <a:lnTo>
                    <a:pt x="13868" y="65475"/>
                  </a:lnTo>
                  <a:lnTo>
                    <a:pt x="14059" y="64751"/>
                  </a:lnTo>
                  <a:lnTo>
                    <a:pt x="13325" y="63884"/>
                  </a:lnTo>
                  <a:lnTo>
                    <a:pt x="10325" y="60970"/>
                  </a:lnTo>
                  <a:lnTo>
                    <a:pt x="8954" y="57921"/>
                  </a:lnTo>
                  <a:lnTo>
                    <a:pt x="6791" y="54502"/>
                  </a:lnTo>
                  <a:lnTo>
                    <a:pt x="4781" y="52987"/>
                  </a:lnTo>
                  <a:lnTo>
                    <a:pt x="4372" y="51806"/>
                  </a:lnTo>
                  <a:lnTo>
                    <a:pt x="4324" y="50311"/>
                  </a:lnTo>
                  <a:lnTo>
                    <a:pt x="4734" y="48987"/>
                  </a:lnTo>
                  <a:lnTo>
                    <a:pt x="8372" y="46930"/>
                  </a:lnTo>
                  <a:lnTo>
                    <a:pt x="10525" y="44739"/>
                  </a:lnTo>
                  <a:lnTo>
                    <a:pt x="11449" y="45577"/>
                  </a:lnTo>
                  <a:lnTo>
                    <a:pt x="13411" y="46472"/>
                  </a:lnTo>
                  <a:lnTo>
                    <a:pt x="18735" y="45253"/>
                  </a:lnTo>
                  <a:lnTo>
                    <a:pt x="22041" y="44025"/>
                  </a:lnTo>
                  <a:lnTo>
                    <a:pt x="24365" y="42729"/>
                  </a:lnTo>
                  <a:lnTo>
                    <a:pt x="25803" y="42958"/>
                  </a:lnTo>
                  <a:lnTo>
                    <a:pt x="31023" y="44891"/>
                  </a:lnTo>
                  <a:lnTo>
                    <a:pt x="32747" y="43910"/>
                  </a:lnTo>
                  <a:lnTo>
                    <a:pt x="36509" y="41291"/>
                  </a:lnTo>
                  <a:lnTo>
                    <a:pt x="37071" y="39910"/>
                  </a:lnTo>
                  <a:lnTo>
                    <a:pt x="40043" y="35719"/>
                  </a:lnTo>
                  <a:lnTo>
                    <a:pt x="40100" y="34700"/>
                  </a:lnTo>
                  <a:lnTo>
                    <a:pt x="38881" y="32061"/>
                  </a:lnTo>
                  <a:lnTo>
                    <a:pt x="39262" y="31480"/>
                  </a:lnTo>
                  <a:lnTo>
                    <a:pt x="42901" y="28775"/>
                  </a:lnTo>
                  <a:lnTo>
                    <a:pt x="44682" y="26375"/>
                  </a:lnTo>
                  <a:lnTo>
                    <a:pt x="46615" y="24765"/>
                  </a:lnTo>
                  <a:lnTo>
                    <a:pt x="48006" y="24727"/>
                  </a:lnTo>
                  <a:lnTo>
                    <a:pt x="48387" y="25279"/>
                  </a:lnTo>
                  <a:lnTo>
                    <a:pt x="48549" y="26403"/>
                  </a:lnTo>
                  <a:lnTo>
                    <a:pt x="48425" y="31032"/>
                  </a:lnTo>
                  <a:lnTo>
                    <a:pt x="48958" y="32452"/>
                  </a:lnTo>
                  <a:lnTo>
                    <a:pt x="51816" y="35766"/>
                  </a:lnTo>
                  <a:lnTo>
                    <a:pt x="53854" y="37652"/>
                  </a:lnTo>
                  <a:lnTo>
                    <a:pt x="58588" y="38948"/>
                  </a:lnTo>
                  <a:lnTo>
                    <a:pt x="58807" y="39567"/>
                  </a:lnTo>
                  <a:lnTo>
                    <a:pt x="57502" y="42053"/>
                  </a:lnTo>
                  <a:lnTo>
                    <a:pt x="60369" y="45025"/>
                  </a:lnTo>
                  <a:lnTo>
                    <a:pt x="60884" y="47196"/>
                  </a:lnTo>
                  <a:lnTo>
                    <a:pt x="62208" y="48416"/>
                  </a:lnTo>
                  <a:lnTo>
                    <a:pt x="64075" y="47815"/>
                  </a:lnTo>
                  <a:lnTo>
                    <a:pt x="64684" y="46663"/>
                  </a:lnTo>
                  <a:lnTo>
                    <a:pt x="63951" y="44653"/>
                  </a:lnTo>
                  <a:lnTo>
                    <a:pt x="63408" y="42548"/>
                  </a:lnTo>
                  <a:lnTo>
                    <a:pt x="63513" y="41329"/>
                  </a:lnTo>
                  <a:lnTo>
                    <a:pt x="64027" y="39929"/>
                  </a:lnTo>
                  <a:lnTo>
                    <a:pt x="65332" y="37967"/>
                  </a:lnTo>
                  <a:lnTo>
                    <a:pt x="68875" y="33471"/>
                  </a:lnTo>
                  <a:lnTo>
                    <a:pt x="70152" y="30871"/>
                  </a:lnTo>
                  <a:lnTo>
                    <a:pt x="70380" y="26841"/>
                  </a:lnTo>
                  <a:lnTo>
                    <a:pt x="70390" y="23603"/>
                  </a:lnTo>
                  <a:lnTo>
                    <a:pt x="71571" y="22812"/>
                  </a:lnTo>
                  <a:lnTo>
                    <a:pt x="74114" y="23393"/>
                  </a:lnTo>
                  <a:lnTo>
                    <a:pt x="74876" y="23327"/>
                  </a:lnTo>
                  <a:lnTo>
                    <a:pt x="75219" y="25317"/>
                  </a:lnTo>
                  <a:lnTo>
                    <a:pt x="76305" y="28489"/>
                  </a:lnTo>
                  <a:lnTo>
                    <a:pt x="77581" y="30128"/>
                  </a:lnTo>
                  <a:lnTo>
                    <a:pt x="78943" y="30518"/>
                  </a:lnTo>
                  <a:lnTo>
                    <a:pt x="80543" y="30527"/>
                  </a:lnTo>
                  <a:lnTo>
                    <a:pt x="84506" y="28594"/>
                  </a:lnTo>
                  <a:lnTo>
                    <a:pt x="87087" y="27756"/>
                  </a:lnTo>
                  <a:lnTo>
                    <a:pt x="88554" y="27984"/>
                  </a:lnTo>
                  <a:lnTo>
                    <a:pt x="89421" y="29299"/>
                  </a:lnTo>
                  <a:lnTo>
                    <a:pt x="91269" y="32756"/>
                  </a:lnTo>
                  <a:lnTo>
                    <a:pt x="92326" y="33147"/>
                  </a:lnTo>
                  <a:lnTo>
                    <a:pt x="93602" y="32747"/>
                  </a:lnTo>
                  <a:lnTo>
                    <a:pt x="94050" y="32156"/>
                  </a:lnTo>
                  <a:lnTo>
                    <a:pt x="93640" y="30823"/>
                  </a:lnTo>
                  <a:lnTo>
                    <a:pt x="93097" y="27937"/>
                  </a:lnTo>
                  <a:lnTo>
                    <a:pt x="92354" y="25698"/>
                  </a:lnTo>
                  <a:lnTo>
                    <a:pt x="91383" y="24651"/>
                  </a:lnTo>
                  <a:lnTo>
                    <a:pt x="91183" y="23289"/>
                  </a:lnTo>
                  <a:lnTo>
                    <a:pt x="91792" y="20831"/>
                  </a:lnTo>
                  <a:lnTo>
                    <a:pt x="92488" y="18774"/>
                  </a:lnTo>
                  <a:lnTo>
                    <a:pt x="93840" y="18212"/>
                  </a:lnTo>
                  <a:lnTo>
                    <a:pt x="95393" y="17955"/>
                  </a:lnTo>
                  <a:lnTo>
                    <a:pt x="97441" y="20136"/>
                  </a:lnTo>
                  <a:lnTo>
                    <a:pt x="99869" y="20822"/>
                  </a:lnTo>
                  <a:lnTo>
                    <a:pt x="101679" y="20707"/>
                  </a:lnTo>
                  <a:lnTo>
                    <a:pt x="101993" y="19440"/>
                  </a:lnTo>
                  <a:lnTo>
                    <a:pt x="101879" y="18050"/>
                  </a:lnTo>
                  <a:lnTo>
                    <a:pt x="100803" y="16259"/>
                  </a:lnTo>
                  <a:lnTo>
                    <a:pt x="101012" y="13545"/>
                  </a:lnTo>
                  <a:lnTo>
                    <a:pt x="102260" y="8477"/>
                  </a:lnTo>
                  <a:lnTo>
                    <a:pt x="102975" y="8868"/>
                  </a:lnTo>
                  <a:lnTo>
                    <a:pt x="105661" y="8915"/>
                  </a:lnTo>
                  <a:lnTo>
                    <a:pt x="108585" y="9201"/>
                  </a:lnTo>
                  <a:lnTo>
                    <a:pt x="110471" y="11268"/>
                  </a:lnTo>
                  <a:lnTo>
                    <a:pt x="112319" y="11973"/>
                  </a:lnTo>
                  <a:lnTo>
                    <a:pt x="114948" y="12192"/>
                  </a:lnTo>
                  <a:lnTo>
                    <a:pt x="116710" y="11906"/>
                  </a:lnTo>
                  <a:lnTo>
                    <a:pt x="117567" y="11125"/>
                  </a:lnTo>
                  <a:lnTo>
                    <a:pt x="118586" y="8706"/>
                  </a:lnTo>
                  <a:lnTo>
                    <a:pt x="120472" y="5705"/>
                  </a:lnTo>
                  <a:lnTo>
                    <a:pt x="123425" y="4163"/>
                  </a:lnTo>
                  <a:lnTo>
                    <a:pt x="128473" y="3877"/>
                  </a:lnTo>
                  <a:lnTo>
                    <a:pt x="130997" y="3315"/>
                  </a:lnTo>
                  <a:lnTo>
                    <a:pt x="133617" y="3343"/>
                  </a:lnTo>
                  <a:lnTo>
                    <a:pt x="135588" y="3810"/>
                  </a:lnTo>
                  <a:lnTo>
                    <a:pt x="137627" y="3753"/>
                  </a:lnTo>
                  <a:lnTo>
                    <a:pt x="142808" y="1657"/>
                  </a:lnTo>
                  <a:lnTo>
                    <a:pt x="148152" y="0"/>
                  </a:lnTo>
                  <a:lnTo>
                    <a:pt x="148895" y="276"/>
                  </a:lnTo>
                  <a:lnTo>
                    <a:pt x="149009" y="829"/>
                  </a:lnTo>
                  <a:lnTo>
                    <a:pt x="148047" y="2105"/>
                  </a:lnTo>
                  <a:lnTo>
                    <a:pt x="147113" y="3800"/>
                  </a:lnTo>
                  <a:lnTo>
                    <a:pt x="147742" y="5734"/>
                  </a:lnTo>
                  <a:lnTo>
                    <a:pt x="150781" y="9611"/>
                  </a:lnTo>
                  <a:lnTo>
                    <a:pt x="152438" y="12573"/>
                  </a:lnTo>
                  <a:lnTo>
                    <a:pt x="154000" y="14792"/>
                  </a:lnTo>
                  <a:lnTo>
                    <a:pt x="156429" y="15964"/>
                  </a:lnTo>
                  <a:lnTo>
                    <a:pt x="159620" y="16678"/>
                  </a:lnTo>
                  <a:lnTo>
                    <a:pt x="162325" y="16935"/>
                  </a:lnTo>
                  <a:lnTo>
                    <a:pt x="165154" y="17774"/>
                  </a:lnTo>
                  <a:lnTo>
                    <a:pt x="174860" y="19841"/>
                  </a:lnTo>
                  <a:lnTo>
                    <a:pt x="179746" y="20412"/>
                  </a:lnTo>
                  <a:lnTo>
                    <a:pt x="183451" y="20498"/>
                  </a:lnTo>
                  <a:lnTo>
                    <a:pt x="189024" y="21745"/>
                  </a:lnTo>
                  <a:close/>
                  <a:moveTo>
                    <a:pt x="156553" y="120815"/>
                  </a:moveTo>
                  <a:lnTo>
                    <a:pt x="157343" y="118910"/>
                  </a:lnTo>
                  <a:lnTo>
                    <a:pt x="157048" y="117548"/>
                  </a:lnTo>
                  <a:lnTo>
                    <a:pt x="155372" y="117824"/>
                  </a:lnTo>
                  <a:lnTo>
                    <a:pt x="154191" y="119596"/>
                  </a:lnTo>
                  <a:lnTo>
                    <a:pt x="154981" y="121091"/>
                  </a:lnTo>
                  <a:lnTo>
                    <a:pt x="156553" y="120815"/>
                  </a:lnTo>
                  <a:close/>
                  <a:moveTo>
                    <a:pt x="155324" y="193662"/>
                  </a:moveTo>
                  <a:lnTo>
                    <a:pt x="155305" y="193377"/>
                  </a:lnTo>
                  <a:lnTo>
                    <a:pt x="155105" y="193405"/>
                  </a:lnTo>
                  <a:lnTo>
                    <a:pt x="155019" y="193577"/>
                  </a:lnTo>
                  <a:lnTo>
                    <a:pt x="155105" y="193691"/>
                  </a:lnTo>
                  <a:lnTo>
                    <a:pt x="155324" y="193662"/>
                  </a:lnTo>
                  <a:close/>
                  <a:moveTo>
                    <a:pt x="100689" y="159048"/>
                  </a:moveTo>
                  <a:lnTo>
                    <a:pt x="101575" y="160458"/>
                  </a:lnTo>
                  <a:lnTo>
                    <a:pt x="101679" y="161277"/>
                  </a:lnTo>
                  <a:lnTo>
                    <a:pt x="101079" y="162211"/>
                  </a:lnTo>
                  <a:lnTo>
                    <a:pt x="101327" y="164306"/>
                  </a:lnTo>
                  <a:lnTo>
                    <a:pt x="99088" y="162563"/>
                  </a:lnTo>
                  <a:lnTo>
                    <a:pt x="95707" y="163439"/>
                  </a:lnTo>
                  <a:lnTo>
                    <a:pt x="93631" y="163249"/>
                  </a:lnTo>
                  <a:lnTo>
                    <a:pt x="93059" y="161687"/>
                  </a:lnTo>
                  <a:lnTo>
                    <a:pt x="93535" y="160772"/>
                  </a:lnTo>
                  <a:lnTo>
                    <a:pt x="96755" y="160572"/>
                  </a:lnTo>
                  <a:lnTo>
                    <a:pt x="97755" y="160125"/>
                  </a:lnTo>
                  <a:lnTo>
                    <a:pt x="99717" y="160334"/>
                  </a:lnTo>
                  <a:lnTo>
                    <a:pt x="100689" y="159048"/>
                  </a:lnTo>
                  <a:close/>
                  <a:moveTo>
                    <a:pt x="80276" y="229733"/>
                  </a:moveTo>
                  <a:lnTo>
                    <a:pt x="81620" y="231981"/>
                  </a:lnTo>
                  <a:lnTo>
                    <a:pt x="84620" y="241182"/>
                  </a:lnTo>
                  <a:lnTo>
                    <a:pt x="84906" y="243164"/>
                  </a:lnTo>
                  <a:lnTo>
                    <a:pt x="84306" y="245193"/>
                  </a:lnTo>
                  <a:lnTo>
                    <a:pt x="83544" y="246631"/>
                  </a:lnTo>
                  <a:lnTo>
                    <a:pt x="80562" y="251241"/>
                  </a:lnTo>
                  <a:lnTo>
                    <a:pt x="81001" y="255041"/>
                  </a:lnTo>
                  <a:lnTo>
                    <a:pt x="82105" y="257394"/>
                  </a:lnTo>
                  <a:lnTo>
                    <a:pt x="82267" y="259994"/>
                  </a:lnTo>
                  <a:lnTo>
                    <a:pt x="81715" y="263214"/>
                  </a:lnTo>
                  <a:lnTo>
                    <a:pt x="79867" y="282921"/>
                  </a:lnTo>
                  <a:lnTo>
                    <a:pt x="78972" y="286398"/>
                  </a:lnTo>
                  <a:lnTo>
                    <a:pt x="78410" y="289398"/>
                  </a:lnTo>
                  <a:lnTo>
                    <a:pt x="76372" y="290313"/>
                  </a:lnTo>
                  <a:lnTo>
                    <a:pt x="73743" y="289350"/>
                  </a:lnTo>
                  <a:lnTo>
                    <a:pt x="70428" y="287655"/>
                  </a:lnTo>
                  <a:lnTo>
                    <a:pt x="68894" y="287760"/>
                  </a:lnTo>
                  <a:lnTo>
                    <a:pt x="67351" y="288341"/>
                  </a:lnTo>
                  <a:lnTo>
                    <a:pt x="66084" y="287846"/>
                  </a:lnTo>
                  <a:lnTo>
                    <a:pt x="64875" y="286883"/>
                  </a:lnTo>
                  <a:lnTo>
                    <a:pt x="63970" y="293608"/>
                  </a:lnTo>
                  <a:lnTo>
                    <a:pt x="62474" y="296332"/>
                  </a:lnTo>
                  <a:lnTo>
                    <a:pt x="60198" y="298075"/>
                  </a:lnTo>
                  <a:lnTo>
                    <a:pt x="58055" y="298180"/>
                  </a:lnTo>
                  <a:lnTo>
                    <a:pt x="55845" y="297599"/>
                  </a:lnTo>
                  <a:lnTo>
                    <a:pt x="53978" y="297599"/>
                  </a:lnTo>
                  <a:lnTo>
                    <a:pt x="52559" y="296313"/>
                  </a:lnTo>
                  <a:lnTo>
                    <a:pt x="51435" y="294046"/>
                  </a:lnTo>
                  <a:lnTo>
                    <a:pt x="49644" y="291294"/>
                  </a:lnTo>
                  <a:lnTo>
                    <a:pt x="47825" y="288026"/>
                  </a:lnTo>
                  <a:lnTo>
                    <a:pt x="47625" y="285064"/>
                  </a:lnTo>
                  <a:lnTo>
                    <a:pt x="47310" y="278521"/>
                  </a:lnTo>
                  <a:lnTo>
                    <a:pt x="47835" y="277092"/>
                  </a:lnTo>
                  <a:lnTo>
                    <a:pt x="48596" y="275720"/>
                  </a:lnTo>
                  <a:lnTo>
                    <a:pt x="48968" y="272787"/>
                  </a:lnTo>
                  <a:lnTo>
                    <a:pt x="48711" y="270224"/>
                  </a:lnTo>
                  <a:lnTo>
                    <a:pt x="49244" y="269310"/>
                  </a:lnTo>
                  <a:lnTo>
                    <a:pt x="50302" y="270224"/>
                  </a:lnTo>
                  <a:lnTo>
                    <a:pt x="51092" y="269881"/>
                  </a:lnTo>
                  <a:lnTo>
                    <a:pt x="51044" y="268557"/>
                  </a:lnTo>
                  <a:lnTo>
                    <a:pt x="51283" y="266147"/>
                  </a:lnTo>
                  <a:lnTo>
                    <a:pt x="49892" y="264128"/>
                  </a:lnTo>
                  <a:lnTo>
                    <a:pt x="47539" y="263442"/>
                  </a:lnTo>
                  <a:lnTo>
                    <a:pt x="47310" y="261328"/>
                  </a:lnTo>
                  <a:lnTo>
                    <a:pt x="47558" y="259261"/>
                  </a:lnTo>
                  <a:lnTo>
                    <a:pt x="48796" y="257870"/>
                  </a:lnTo>
                  <a:lnTo>
                    <a:pt x="49216" y="256022"/>
                  </a:lnTo>
                  <a:lnTo>
                    <a:pt x="49225" y="250374"/>
                  </a:lnTo>
                  <a:lnTo>
                    <a:pt x="47568" y="248288"/>
                  </a:lnTo>
                  <a:lnTo>
                    <a:pt x="46930" y="245126"/>
                  </a:lnTo>
                  <a:lnTo>
                    <a:pt x="46072" y="243107"/>
                  </a:lnTo>
                  <a:lnTo>
                    <a:pt x="44529" y="241068"/>
                  </a:lnTo>
                  <a:lnTo>
                    <a:pt x="42777" y="239411"/>
                  </a:lnTo>
                  <a:lnTo>
                    <a:pt x="41700" y="237811"/>
                  </a:lnTo>
                  <a:lnTo>
                    <a:pt x="41462" y="233620"/>
                  </a:lnTo>
                  <a:lnTo>
                    <a:pt x="42072" y="230114"/>
                  </a:lnTo>
                  <a:lnTo>
                    <a:pt x="42624" y="228610"/>
                  </a:lnTo>
                  <a:lnTo>
                    <a:pt x="43186" y="228828"/>
                  </a:lnTo>
                  <a:lnTo>
                    <a:pt x="44920" y="230572"/>
                  </a:lnTo>
                  <a:lnTo>
                    <a:pt x="46339" y="230962"/>
                  </a:lnTo>
                  <a:lnTo>
                    <a:pt x="49149" y="231381"/>
                  </a:lnTo>
                  <a:lnTo>
                    <a:pt x="51911" y="230819"/>
                  </a:lnTo>
                  <a:lnTo>
                    <a:pt x="55302" y="229229"/>
                  </a:lnTo>
                  <a:lnTo>
                    <a:pt x="58569" y="227304"/>
                  </a:lnTo>
                  <a:lnTo>
                    <a:pt x="63303" y="221637"/>
                  </a:lnTo>
                  <a:lnTo>
                    <a:pt x="66218" y="220485"/>
                  </a:lnTo>
                  <a:lnTo>
                    <a:pt x="67713" y="218989"/>
                  </a:lnTo>
                  <a:lnTo>
                    <a:pt x="68228" y="216970"/>
                  </a:lnTo>
                  <a:lnTo>
                    <a:pt x="69466" y="216446"/>
                  </a:lnTo>
                  <a:lnTo>
                    <a:pt x="70923" y="218408"/>
                  </a:lnTo>
                  <a:lnTo>
                    <a:pt x="72733" y="218618"/>
                  </a:lnTo>
                  <a:lnTo>
                    <a:pt x="75524" y="220237"/>
                  </a:lnTo>
                  <a:lnTo>
                    <a:pt x="76724" y="221780"/>
                  </a:lnTo>
                  <a:lnTo>
                    <a:pt x="77753" y="223638"/>
                  </a:lnTo>
                  <a:lnTo>
                    <a:pt x="78743" y="224457"/>
                  </a:lnTo>
                  <a:lnTo>
                    <a:pt x="79800" y="224923"/>
                  </a:lnTo>
                  <a:lnTo>
                    <a:pt x="79953" y="225362"/>
                  </a:lnTo>
                  <a:lnTo>
                    <a:pt x="79115" y="225800"/>
                  </a:lnTo>
                  <a:lnTo>
                    <a:pt x="78153" y="227924"/>
                  </a:lnTo>
                  <a:lnTo>
                    <a:pt x="78695" y="228533"/>
                  </a:lnTo>
                  <a:lnTo>
                    <a:pt x="80276" y="229733"/>
                  </a:lnTo>
                  <a:close/>
                  <a:moveTo>
                    <a:pt x="44301" y="224171"/>
                  </a:moveTo>
                  <a:lnTo>
                    <a:pt x="43415" y="225781"/>
                  </a:lnTo>
                  <a:lnTo>
                    <a:pt x="42158" y="225666"/>
                  </a:lnTo>
                  <a:lnTo>
                    <a:pt x="42653" y="224476"/>
                  </a:lnTo>
                  <a:lnTo>
                    <a:pt x="43815" y="222085"/>
                  </a:lnTo>
                  <a:lnTo>
                    <a:pt x="45225" y="221285"/>
                  </a:lnTo>
                  <a:lnTo>
                    <a:pt x="45853" y="221999"/>
                  </a:lnTo>
                  <a:lnTo>
                    <a:pt x="45186" y="223371"/>
                  </a:lnTo>
                  <a:lnTo>
                    <a:pt x="44301" y="224171"/>
                  </a:lnTo>
                  <a:close/>
                  <a:moveTo>
                    <a:pt x="195396" y="235944"/>
                  </a:moveTo>
                  <a:lnTo>
                    <a:pt x="194205" y="236249"/>
                  </a:lnTo>
                  <a:lnTo>
                    <a:pt x="193510" y="235830"/>
                  </a:lnTo>
                  <a:lnTo>
                    <a:pt x="193129" y="235296"/>
                  </a:lnTo>
                  <a:lnTo>
                    <a:pt x="193595" y="233972"/>
                  </a:lnTo>
                  <a:lnTo>
                    <a:pt x="196024" y="234763"/>
                  </a:lnTo>
                  <a:lnTo>
                    <a:pt x="195996" y="235506"/>
                  </a:lnTo>
                  <a:lnTo>
                    <a:pt x="195396" y="235944"/>
                  </a:lnTo>
                  <a:close/>
                  <a:moveTo>
                    <a:pt x="49463" y="292789"/>
                  </a:moveTo>
                  <a:lnTo>
                    <a:pt x="47920" y="296180"/>
                  </a:lnTo>
                  <a:lnTo>
                    <a:pt x="46311" y="293779"/>
                  </a:lnTo>
                  <a:lnTo>
                    <a:pt x="46244" y="291722"/>
                  </a:lnTo>
                  <a:lnTo>
                    <a:pt x="46463" y="291132"/>
                  </a:lnTo>
                  <a:lnTo>
                    <a:pt x="48444" y="291998"/>
                  </a:lnTo>
                  <a:lnTo>
                    <a:pt x="49463" y="292789"/>
                  </a:lnTo>
                  <a:close/>
                  <a:moveTo>
                    <a:pt x="239192" y="321669"/>
                  </a:moveTo>
                  <a:lnTo>
                    <a:pt x="237382" y="325517"/>
                  </a:lnTo>
                  <a:lnTo>
                    <a:pt x="236496" y="326993"/>
                  </a:lnTo>
                  <a:lnTo>
                    <a:pt x="230048" y="336375"/>
                  </a:lnTo>
                  <a:lnTo>
                    <a:pt x="229305" y="338537"/>
                  </a:lnTo>
                  <a:lnTo>
                    <a:pt x="228847" y="340890"/>
                  </a:lnTo>
                  <a:lnTo>
                    <a:pt x="228181" y="342948"/>
                  </a:lnTo>
                  <a:lnTo>
                    <a:pt x="227285" y="344881"/>
                  </a:lnTo>
                  <a:lnTo>
                    <a:pt x="226438" y="347339"/>
                  </a:lnTo>
                  <a:lnTo>
                    <a:pt x="226600" y="350120"/>
                  </a:lnTo>
                  <a:lnTo>
                    <a:pt x="226904" y="351482"/>
                  </a:lnTo>
                  <a:lnTo>
                    <a:pt x="227685" y="352377"/>
                  </a:lnTo>
                  <a:lnTo>
                    <a:pt x="228962" y="353216"/>
                  </a:lnTo>
                  <a:lnTo>
                    <a:pt x="229943" y="354511"/>
                  </a:lnTo>
                  <a:lnTo>
                    <a:pt x="228438" y="355683"/>
                  </a:lnTo>
                  <a:lnTo>
                    <a:pt x="230086" y="358035"/>
                  </a:lnTo>
                  <a:lnTo>
                    <a:pt x="231495" y="359426"/>
                  </a:lnTo>
                  <a:lnTo>
                    <a:pt x="231686" y="360817"/>
                  </a:lnTo>
                  <a:lnTo>
                    <a:pt x="231658" y="362207"/>
                  </a:lnTo>
                  <a:lnTo>
                    <a:pt x="228733" y="364817"/>
                  </a:lnTo>
                  <a:lnTo>
                    <a:pt x="227590" y="366255"/>
                  </a:lnTo>
                  <a:lnTo>
                    <a:pt x="226885" y="367998"/>
                  </a:lnTo>
                  <a:lnTo>
                    <a:pt x="226581" y="369789"/>
                  </a:lnTo>
                  <a:lnTo>
                    <a:pt x="226895" y="371408"/>
                  </a:lnTo>
                  <a:lnTo>
                    <a:pt x="226800" y="373018"/>
                  </a:lnTo>
                  <a:lnTo>
                    <a:pt x="223856" y="372818"/>
                  </a:lnTo>
                  <a:lnTo>
                    <a:pt x="220847" y="371827"/>
                  </a:lnTo>
                  <a:lnTo>
                    <a:pt x="217808" y="372256"/>
                  </a:lnTo>
                  <a:lnTo>
                    <a:pt x="213484" y="370389"/>
                  </a:lnTo>
                  <a:lnTo>
                    <a:pt x="211912" y="370056"/>
                  </a:lnTo>
                  <a:lnTo>
                    <a:pt x="210483" y="369322"/>
                  </a:lnTo>
                  <a:lnTo>
                    <a:pt x="206892" y="363531"/>
                  </a:lnTo>
                  <a:lnTo>
                    <a:pt x="203997" y="361083"/>
                  </a:lnTo>
                  <a:lnTo>
                    <a:pt x="200892" y="359169"/>
                  </a:lnTo>
                  <a:lnTo>
                    <a:pt x="197720" y="359054"/>
                  </a:lnTo>
                  <a:lnTo>
                    <a:pt x="194548" y="359273"/>
                  </a:lnTo>
                  <a:lnTo>
                    <a:pt x="191748" y="358092"/>
                  </a:lnTo>
                  <a:lnTo>
                    <a:pt x="186042" y="354139"/>
                  </a:lnTo>
                  <a:lnTo>
                    <a:pt x="179994" y="350968"/>
                  </a:lnTo>
                  <a:lnTo>
                    <a:pt x="177432" y="348910"/>
                  </a:lnTo>
                  <a:lnTo>
                    <a:pt x="176260" y="347520"/>
                  </a:lnTo>
                  <a:lnTo>
                    <a:pt x="174888" y="346596"/>
                  </a:lnTo>
                  <a:lnTo>
                    <a:pt x="171431" y="345681"/>
                  </a:lnTo>
                  <a:lnTo>
                    <a:pt x="168316" y="343529"/>
                  </a:lnTo>
                  <a:lnTo>
                    <a:pt x="166906" y="343376"/>
                  </a:lnTo>
                  <a:lnTo>
                    <a:pt x="163868" y="343633"/>
                  </a:lnTo>
                  <a:lnTo>
                    <a:pt x="162306" y="343481"/>
                  </a:lnTo>
                  <a:lnTo>
                    <a:pt x="160734" y="342719"/>
                  </a:lnTo>
                  <a:lnTo>
                    <a:pt x="157705" y="340195"/>
                  </a:lnTo>
                  <a:lnTo>
                    <a:pt x="155762" y="336690"/>
                  </a:lnTo>
                  <a:lnTo>
                    <a:pt x="155257" y="335137"/>
                  </a:lnTo>
                  <a:lnTo>
                    <a:pt x="156629" y="331127"/>
                  </a:lnTo>
                  <a:lnTo>
                    <a:pt x="158258" y="327270"/>
                  </a:lnTo>
                  <a:lnTo>
                    <a:pt x="159696" y="326193"/>
                  </a:lnTo>
                  <a:lnTo>
                    <a:pt x="161372" y="325412"/>
                  </a:lnTo>
                  <a:lnTo>
                    <a:pt x="162382" y="324269"/>
                  </a:lnTo>
                  <a:lnTo>
                    <a:pt x="163239" y="322869"/>
                  </a:lnTo>
                  <a:lnTo>
                    <a:pt x="166354" y="326907"/>
                  </a:lnTo>
                  <a:lnTo>
                    <a:pt x="167745" y="327889"/>
                  </a:lnTo>
                  <a:lnTo>
                    <a:pt x="169155" y="327670"/>
                  </a:lnTo>
                  <a:lnTo>
                    <a:pt x="171650" y="326222"/>
                  </a:lnTo>
                  <a:lnTo>
                    <a:pt x="171860" y="324631"/>
                  </a:lnTo>
                  <a:lnTo>
                    <a:pt x="174622" y="322621"/>
                  </a:lnTo>
                  <a:lnTo>
                    <a:pt x="178127" y="322583"/>
                  </a:lnTo>
                  <a:lnTo>
                    <a:pt x="179746" y="322955"/>
                  </a:lnTo>
                  <a:lnTo>
                    <a:pt x="180594" y="324774"/>
                  </a:lnTo>
                  <a:lnTo>
                    <a:pt x="181928" y="325336"/>
                  </a:lnTo>
                  <a:lnTo>
                    <a:pt x="183470" y="325574"/>
                  </a:lnTo>
                  <a:lnTo>
                    <a:pt x="188557" y="329032"/>
                  </a:lnTo>
                  <a:lnTo>
                    <a:pt x="189986" y="329594"/>
                  </a:lnTo>
                  <a:lnTo>
                    <a:pt x="191424" y="329689"/>
                  </a:lnTo>
                  <a:lnTo>
                    <a:pt x="195377" y="328241"/>
                  </a:lnTo>
                  <a:lnTo>
                    <a:pt x="198406" y="327688"/>
                  </a:lnTo>
                  <a:lnTo>
                    <a:pt x="204759" y="328489"/>
                  </a:lnTo>
                  <a:lnTo>
                    <a:pt x="208188" y="327622"/>
                  </a:lnTo>
                  <a:lnTo>
                    <a:pt x="210588" y="327517"/>
                  </a:lnTo>
                  <a:lnTo>
                    <a:pt x="214084" y="326184"/>
                  </a:lnTo>
                  <a:lnTo>
                    <a:pt x="216770" y="323964"/>
                  </a:lnTo>
                  <a:lnTo>
                    <a:pt x="218170" y="323412"/>
                  </a:lnTo>
                  <a:lnTo>
                    <a:pt x="219675" y="323250"/>
                  </a:lnTo>
                  <a:lnTo>
                    <a:pt x="223313" y="323393"/>
                  </a:lnTo>
                  <a:lnTo>
                    <a:pt x="226971" y="323898"/>
                  </a:lnTo>
                  <a:lnTo>
                    <a:pt x="228505" y="323374"/>
                  </a:lnTo>
                  <a:lnTo>
                    <a:pt x="229790" y="321916"/>
                  </a:lnTo>
                  <a:lnTo>
                    <a:pt x="231276" y="321259"/>
                  </a:lnTo>
                  <a:lnTo>
                    <a:pt x="232905" y="321697"/>
                  </a:lnTo>
                  <a:lnTo>
                    <a:pt x="237125" y="319202"/>
                  </a:lnTo>
                  <a:lnTo>
                    <a:pt x="238992" y="319030"/>
                  </a:lnTo>
                  <a:lnTo>
                    <a:pt x="240764" y="319992"/>
                  </a:lnTo>
                  <a:lnTo>
                    <a:pt x="239192" y="321669"/>
                  </a:lnTo>
                  <a:close/>
                  <a:moveTo>
                    <a:pt x="144951" y="370761"/>
                  </a:moveTo>
                  <a:lnTo>
                    <a:pt x="143665" y="371132"/>
                  </a:lnTo>
                  <a:lnTo>
                    <a:pt x="141989" y="369989"/>
                  </a:lnTo>
                  <a:lnTo>
                    <a:pt x="141875" y="368389"/>
                  </a:lnTo>
                  <a:lnTo>
                    <a:pt x="142180" y="367913"/>
                  </a:lnTo>
                  <a:lnTo>
                    <a:pt x="144218" y="368646"/>
                  </a:lnTo>
                  <a:lnTo>
                    <a:pt x="144856" y="370132"/>
                  </a:lnTo>
                  <a:lnTo>
                    <a:pt x="144951" y="370761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5" name="Forme libre : forme 31">
              <a:extLst>
                <a:ext uri="{FF2B5EF4-FFF2-40B4-BE49-F238E27FC236}">
                  <a16:creationId xmlns:a16="http://schemas.microsoft.com/office/drawing/2014/main" id="{A2AF0B8F-E3CC-6F59-03C3-1DE20CBE6D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778848" y="4268743"/>
              <a:ext cx="20910" cy="13655"/>
            </a:xfrm>
            <a:custGeom>
              <a:avLst/>
              <a:gdLst>
                <a:gd name="connsiteX0" fmla="*/ 5801 w 6038"/>
                <a:gd name="connsiteY0" fmla="*/ 1438 h 3943"/>
                <a:gd name="connsiteX1" fmla="*/ 6039 w 6038"/>
                <a:gd name="connsiteY1" fmla="*/ 3496 h 3943"/>
                <a:gd name="connsiteX2" fmla="*/ 4867 w 6038"/>
                <a:gd name="connsiteY2" fmla="*/ 3943 h 3943"/>
                <a:gd name="connsiteX3" fmla="*/ 3867 w 6038"/>
                <a:gd name="connsiteY3" fmla="*/ 3229 h 3943"/>
                <a:gd name="connsiteX4" fmla="*/ 1877 w 6038"/>
                <a:gd name="connsiteY4" fmla="*/ 3229 h 3943"/>
                <a:gd name="connsiteX5" fmla="*/ 0 w 6038"/>
                <a:gd name="connsiteY5" fmla="*/ 3677 h 3943"/>
                <a:gd name="connsiteX6" fmla="*/ 410 w 6038"/>
                <a:gd name="connsiteY6" fmla="*/ 0 h 3943"/>
                <a:gd name="connsiteX7" fmla="*/ 4105 w 6038"/>
                <a:gd name="connsiteY7" fmla="*/ 448 h 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38" h="3943">
                  <a:moveTo>
                    <a:pt x="5801" y="1438"/>
                  </a:moveTo>
                  <a:lnTo>
                    <a:pt x="6039" y="3496"/>
                  </a:lnTo>
                  <a:lnTo>
                    <a:pt x="4867" y="3943"/>
                  </a:lnTo>
                  <a:lnTo>
                    <a:pt x="3867" y="3229"/>
                  </a:lnTo>
                  <a:lnTo>
                    <a:pt x="1877" y="3229"/>
                  </a:lnTo>
                  <a:lnTo>
                    <a:pt x="0" y="3677"/>
                  </a:lnTo>
                  <a:lnTo>
                    <a:pt x="410" y="0"/>
                  </a:lnTo>
                  <a:lnTo>
                    <a:pt x="4105" y="448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6" name="Forme libre : forme 32">
              <a:extLst>
                <a:ext uri="{FF2B5EF4-FFF2-40B4-BE49-F238E27FC236}">
                  <a16:creationId xmlns:a16="http://schemas.microsoft.com/office/drawing/2014/main" id="{FFFE0952-A52C-4ED6-2DD2-DA32864C0F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840004" y="5071476"/>
              <a:ext cx="159549" cy="176237"/>
            </a:xfrm>
            <a:custGeom>
              <a:avLst/>
              <a:gdLst>
                <a:gd name="connsiteX0" fmla="*/ 40977 w 46072"/>
                <a:gd name="connsiteY0" fmla="*/ 36766 h 50891"/>
                <a:gd name="connsiteX1" fmla="*/ 40939 w 46072"/>
                <a:gd name="connsiteY1" fmla="*/ 36766 h 50891"/>
                <a:gd name="connsiteX2" fmla="*/ 36357 w 46072"/>
                <a:gd name="connsiteY2" fmla="*/ 37767 h 50891"/>
                <a:gd name="connsiteX3" fmla="*/ 34814 w 46072"/>
                <a:gd name="connsiteY3" fmla="*/ 38938 h 50891"/>
                <a:gd name="connsiteX4" fmla="*/ 33900 w 46072"/>
                <a:gd name="connsiteY4" fmla="*/ 40995 h 50891"/>
                <a:gd name="connsiteX5" fmla="*/ 33604 w 46072"/>
                <a:gd name="connsiteY5" fmla="*/ 42053 h 50891"/>
                <a:gd name="connsiteX6" fmla="*/ 32795 w 46072"/>
                <a:gd name="connsiteY6" fmla="*/ 42091 h 50891"/>
                <a:gd name="connsiteX7" fmla="*/ 31452 w 46072"/>
                <a:gd name="connsiteY7" fmla="*/ 41034 h 50891"/>
                <a:gd name="connsiteX8" fmla="*/ 29756 w 46072"/>
                <a:gd name="connsiteY8" fmla="*/ 39376 h 50891"/>
                <a:gd name="connsiteX9" fmla="*/ 27537 w 46072"/>
                <a:gd name="connsiteY9" fmla="*/ 39510 h 50891"/>
                <a:gd name="connsiteX10" fmla="*/ 20012 w 46072"/>
                <a:gd name="connsiteY10" fmla="*/ 43110 h 50891"/>
                <a:gd name="connsiteX11" fmla="*/ 19269 w 46072"/>
                <a:gd name="connsiteY11" fmla="*/ 44996 h 50891"/>
                <a:gd name="connsiteX12" fmla="*/ 19108 w 46072"/>
                <a:gd name="connsiteY12" fmla="*/ 49082 h 50891"/>
                <a:gd name="connsiteX13" fmla="*/ 18593 w 46072"/>
                <a:gd name="connsiteY13" fmla="*/ 50187 h 50891"/>
                <a:gd name="connsiteX14" fmla="*/ 17783 w 46072"/>
                <a:gd name="connsiteY14" fmla="*/ 50892 h 50891"/>
                <a:gd name="connsiteX15" fmla="*/ 14678 w 46072"/>
                <a:gd name="connsiteY15" fmla="*/ 50444 h 50891"/>
                <a:gd name="connsiteX16" fmla="*/ 14345 w 46072"/>
                <a:gd name="connsiteY16" fmla="*/ 50178 h 50891"/>
                <a:gd name="connsiteX17" fmla="*/ 14754 w 46072"/>
                <a:gd name="connsiteY17" fmla="*/ 48616 h 50891"/>
                <a:gd name="connsiteX18" fmla="*/ 14592 w 46072"/>
                <a:gd name="connsiteY18" fmla="*/ 45186 h 50891"/>
                <a:gd name="connsiteX19" fmla="*/ 13183 w 46072"/>
                <a:gd name="connsiteY19" fmla="*/ 39500 h 50891"/>
                <a:gd name="connsiteX20" fmla="*/ 12192 w 46072"/>
                <a:gd name="connsiteY20" fmla="*/ 37643 h 50891"/>
                <a:gd name="connsiteX21" fmla="*/ 10125 w 46072"/>
                <a:gd name="connsiteY21" fmla="*/ 35785 h 50891"/>
                <a:gd name="connsiteX22" fmla="*/ 8525 w 46072"/>
                <a:gd name="connsiteY22" fmla="*/ 34566 h 50891"/>
                <a:gd name="connsiteX23" fmla="*/ 5639 w 46072"/>
                <a:gd name="connsiteY23" fmla="*/ 33480 h 50891"/>
                <a:gd name="connsiteX24" fmla="*/ 4182 w 46072"/>
                <a:gd name="connsiteY24" fmla="*/ 30337 h 50891"/>
                <a:gd name="connsiteX25" fmla="*/ 1981 w 46072"/>
                <a:gd name="connsiteY25" fmla="*/ 26775 h 50891"/>
                <a:gd name="connsiteX26" fmla="*/ 924 w 46072"/>
                <a:gd name="connsiteY26" fmla="*/ 25956 h 50891"/>
                <a:gd name="connsiteX27" fmla="*/ 1095 w 46072"/>
                <a:gd name="connsiteY27" fmla="*/ 25603 h 50891"/>
                <a:gd name="connsiteX28" fmla="*/ 1600 w 46072"/>
                <a:gd name="connsiteY28" fmla="*/ 22908 h 50891"/>
                <a:gd name="connsiteX29" fmla="*/ 971 w 46072"/>
                <a:gd name="connsiteY29" fmla="*/ 20946 h 50891"/>
                <a:gd name="connsiteX30" fmla="*/ 0 w 46072"/>
                <a:gd name="connsiteY30" fmla="*/ 19269 h 50891"/>
                <a:gd name="connsiteX31" fmla="*/ 658 w 46072"/>
                <a:gd name="connsiteY31" fmla="*/ 18250 h 50891"/>
                <a:gd name="connsiteX32" fmla="*/ 2686 w 46072"/>
                <a:gd name="connsiteY32" fmla="*/ 18259 h 50891"/>
                <a:gd name="connsiteX33" fmla="*/ 4363 w 46072"/>
                <a:gd name="connsiteY33" fmla="*/ 18450 h 50891"/>
                <a:gd name="connsiteX34" fmla="*/ 4962 w 46072"/>
                <a:gd name="connsiteY34" fmla="*/ 16840 h 50891"/>
                <a:gd name="connsiteX35" fmla="*/ 8420 w 46072"/>
                <a:gd name="connsiteY35" fmla="*/ 15792 h 50891"/>
                <a:gd name="connsiteX36" fmla="*/ 11745 w 46072"/>
                <a:gd name="connsiteY36" fmla="*/ 14697 h 50891"/>
                <a:gd name="connsiteX37" fmla="*/ 12230 w 46072"/>
                <a:gd name="connsiteY37" fmla="*/ 13935 h 50891"/>
                <a:gd name="connsiteX38" fmla="*/ 11468 w 46072"/>
                <a:gd name="connsiteY38" fmla="*/ 12278 h 50891"/>
                <a:gd name="connsiteX39" fmla="*/ 11916 w 46072"/>
                <a:gd name="connsiteY39" fmla="*/ 11239 h 50891"/>
                <a:gd name="connsiteX40" fmla="*/ 15897 w 46072"/>
                <a:gd name="connsiteY40" fmla="*/ 8287 h 50891"/>
                <a:gd name="connsiteX41" fmla="*/ 16545 w 46072"/>
                <a:gd name="connsiteY41" fmla="*/ 6944 h 50891"/>
                <a:gd name="connsiteX42" fmla="*/ 16793 w 46072"/>
                <a:gd name="connsiteY42" fmla="*/ 5896 h 50891"/>
                <a:gd name="connsiteX43" fmla="*/ 16259 w 46072"/>
                <a:gd name="connsiteY43" fmla="*/ 4772 h 50891"/>
                <a:gd name="connsiteX44" fmla="*/ 15507 w 46072"/>
                <a:gd name="connsiteY44" fmla="*/ 3029 h 50891"/>
                <a:gd name="connsiteX45" fmla="*/ 15869 w 46072"/>
                <a:gd name="connsiteY45" fmla="*/ 2286 h 50891"/>
                <a:gd name="connsiteX46" fmla="*/ 17936 w 46072"/>
                <a:gd name="connsiteY46" fmla="*/ 1276 h 50891"/>
                <a:gd name="connsiteX47" fmla="*/ 19621 w 46072"/>
                <a:gd name="connsiteY47" fmla="*/ 95 h 50891"/>
                <a:gd name="connsiteX48" fmla="*/ 20612 w 46072"/>
                <a:gd name="connsiteY48" fmla="*/ 0 h 50891"/>
                <a:gd name="connsiteX49" fmla="*/ 21231 w 46072"/>
                <a:gd name="connsiteY49" fmla="*/ 848 h 50891"/>
                <a:gd name="connsiteX50" fmla="*/ 21231 w 46072"/>
                <a:gd name="connsiteY50" fmla="*/ 1724 h 50891"/>
                <a:gd name="connsiteX51" fmla="*/ 21784 w 46072"/>
                <a:gd name="connsiteY51" fmla="*/ 3200 h 50891"/>
                <a:gd name="connsiteX52" fmla="*/ 23022 w 46072"/>
                <a:gd name="connsiteY52" fmla="*/ 4000 h 50891"/>
                <a:gd name="connsiteX53" fmla="*/ 25079 w 46072"/>
                <a:gd name="connsiteY53" fmla="*/ 5305 h 50891"/>
                <a:gd name="connsiteX54" fmla="*/ 27470 w 46072"/>
                <a:gd name="connsiteY54" fmla="*/ 6191 h 50891"/>
                <a:gd name="connsiteX55" fmla="*/ 29337 w 46072"/>
                <a:gd name="connsiteY55" fmla="*/ 7963 h 50891"/>
                <a:gd name="connsiteX56" fmla="*/ 31899 w 46072"/>
                <a:gd name="connsiteY56" fmla="*/ 11125 h 50891"/>
                <a:gd name="connsiteX57" fmla="*/ 32281 w 46072"/>
                <a:gd name="connsiteY57" fmla="*/ 12687 h 50891"/>
                <a:gd name="connsiteX58" fmla="*/ 34586 w 46072"/>
                <a:gd name="connsiteY58" fmla="*/ 14088 h 50891"/>
                <a:gd name="connsiteX59" fmla="*/ 36719 w 46072"/>
                <a:gd name="connsiteY59" fmla="*/ 15659 h 50891"/>
                <a:gd name="connsiteX60" fmla="*/ 36386 w 46072"/>
                <a:gd name="connsiteY60" fmla="*/ 18564 h 50891"/>
                <a:gd name="connsiteX61" fmla="*/ 43653 w 46072"/>
                <a:gd name="connsiteY61" fmla="*/ 21098 h 50891"/>
                <a:gd name="connsiteX62" fmla="*/ 45291 w 46072"/>
                <a:gd name="connsiteY62" fmla="*/ 21079 h 50891"/>
                <a:gd name="connsiteX63" fmla="*/ 46073 w 46072"/>
                <a:gd name="connsiteY63" fmla="*/ 21526 h 50891"/>
                <a:gd name="connsiteX64" fmla="*/ 46054 w 46072"/>
                <a:gd name="connsiteY64" fmla="*/ 22184 h 50891"/>
                <a:gd name="connsiteX65" fmla="*/ 45482 w 46072"/>
                <a:gd name="connsiteY65" fmla="*/ 24212 h 50891"/>
                <a:gd name="connsiteX66" fmla="*/ 42491 w 46072"/>
                <a:gd name="connsiteY66" fmla="*/ 30442 h 50891"/>
                <a:gd name="connsiteX67" fmla="*/ 42253 w 46072"/>
                <a:gd name="connsiteY67" fmla="*/ 31728 h 50891"/>
                <a:gd name="connsiteX68" fmla="*/ 40110 w 46072"/>
                <a:gd name="connsiteY68" fmla="*/ 33080 h 50891"/>
                <a:gd name="connsiteX69" fmla="*/ 39814 w 46072"/>
                <a:gd name="connsiteY69" fmla="*/ 33861 h 50891"/>
                <a:gd name="connsiteX70" fmla="*/ 40424 w 46072"/>
                <a:gd name="connsiteY70" fmla="*/ 35566 h 50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46072" h="50891">
                  <a:moveTo>
                    <a:pt x="40977" y="36766"/>
                  </a:moveTo>
                  <a:lnTo>
                    <a:pt x="40939" y="36766"/>
                  </a:lnTo>
                  <a:lnTo>
                    <a:pt x="36357" y="37767"/>
                  </a:lnTo>
                  <a:lnTo>
                    <a:pt x="34814" y="38938"/>
                  </a:lnTo>
                  <a:lnTo>
                    <a:pt x="33900" y="40995"/>
                  </a:lnTo>
                  <a:lnTo>
                    <a:pt x="33604" y="42053"/>
                  </a:lnTo>
                  <a:lnTo>
                    <a:pt x="32795" y="42091"/>
                  </a:lnTo>
                  <a:lnTo>
                    <a:pt x="31452" y="41034"/>
                  </a:lnTo>
                  <a:lnTo>
                    <a:pt x="29756" y="39376"/>
                  </a:lnTo>
                  <a:lnTo>
                    <a:pt x="27537" y="39510"/>
                  </a:lnTo>
                  <a:lnTo>
                    <a:pt x="20012" y="43110"/>
                  </a:lnTo>
                  <a:lnTo>
                    <a:pt x="19269" y="44996"/>
                  </a:lnTo>
                  <a:lnTo>
                    <a:pt x="19108" y="49082"/>
                  </a:lnTo>
                  <a:lnTo>
                    <a:pt x="18593" y="50187"/>
                  </a:lnTo>
                  <a:lnTo>
                    <a:pt x="17783" y="50892"/>
                  </a:lnTo>
                  <a:lnTo>
                    <a:pt x="14678" y="50444"/>
                  </a:lnTo>
                  <a:lnTo>
                    <a:pt x="14345" y="50178"/>
                  </a:lnTo>
                  <a:lnTo>
                    <a:pt x="14754" y="48616"/>
                  </a:lnTo>
                  <a:lnTo>
                    <a:pt x="14592" y="45186"/>
                  </a:lnTo>
                  <a:lnTo>
                    <a:pt x="13183" y="39500"/>
                  </a:lnTo>
                  <a:lnTo>
                    <a:pt x="12192" y="37643"/>
                  </a:lnTo>
                  <a:lnTo>
                    <a:pt x="10125" y="35785"/>
                  </a:lnTo>
                  <a:lnTo>
                    <a:pt x="8525" y="34566"/>
                  </a:lnTo>
                  <a:lnTo>
                    <a:pt x="5639" y="33480"/>
                  </a:lnTo>
                  <a:lnTo>
                    <a:pt x="4182" y="30337"/>
                  </a:lnTo>
                  <a:lnTo>
                    <a:pt x="1981" y="26775"/>
                  </a:lnTo>
                  <a:lnTo>
                    <a:pt x="924" y="25956"/>
                  </a:lnTo>
                  <a:lnTo>
                    <a:pt x="1095" y="25603"/>
                  </a:lnTo>
                  <a:lnTo>
                    <a:pt x="1600" y="22908"/>
                  </a:lnTo>
                  <a:lnTo>
                    <a:pt x="971" y="20946"/>
                  </a:lnTo>
                  <a:lnTo>
                    <a:pt x="0" y="19269"/>
                  </a:lnTo>
                  <a:lnTo>
                    <a:pt x="658" y="18250"/>
                  </a:lnTo>
                  <a:lnTo>
                    <a:pt x="2686" y="18259"/>
                  </a:lnTo>
                  <a:lnTo>
                    <a:pt x="4363" y="18450"/>
                  </a:lnTo>
                  <a:lnTo>
                    <a:pt x="4962" y="16840"/>
                  </a:lnTo>
                  <a:lnTo>
                    <a:pt x="8420" y="15792"/>
                  </a:lnTo>
                  <a:lnTo>
                    <a:pt x="11745" y="14697"/>
                  </a:lnTo>
                  <a:lnTo>
                    <a:pt x="12230" y="13935"/>
                  </a:lnTo>
                  <a:lnTo>
                    <a:pt x="11468" y="12278"/>
                  </a:lnTo>
                  <a:lnTo>
                    <a:pt x="11916" y="11239"/>
                  </a:lnTo>
                  <a:lnTo>
                    <a:pt x="15897" y="8287"/>
                  </a:lnTo>
                  <a:lnTo>
                    <a:pt x="16545" y="6944"/>
                  </a:lnTo>
                  <a:lnTo>
                    <a:pt x="16793" y="5896"/>
                  </a:lnTo>
                  <a:lnTo>
                    <a:pt x="16259" y="4772"/>
                  </a:lnTo>
                  <a:lnTo>
                    <a:pt x="15507" y="3029"/>
                  </a:lnTo>
                  <a:lnTo>
                    <a:pt x="15869" y="2286"/>
                  </a:lnTo>
                  <a:lnTo>
                    <a:pt x="17936" y="1276"/>
                  </a:lnTo>
                  <a:lnTo>
                    <a:pt x="19621" y="95"/>
                  </a:lnTo>
                  <a:lnTo>
                    <a:pt x="20612" y="0"/>
                  </a:lnTo>
                  <a:lnTo>
                    <a:pt x="21231" y="848"/>
                  </a:lnTo>
                  <a:lnTo>
                    <a:pt x="21231" y="1724"/>
                  </a:lnTo>
                  <a:lnTo>
                    <a:pt x="21784" y="3200"/>
                  </a:lnTo>
                  <a:lnTo>
                    <a:pt x="23022" y="4000"/>
                  </a:lnTo>
                  <a:lnTo>
                    <a:pt x="25079" y="5305"/>
                  </a:lnTo>
                  <a:lnTo>
                    <a:pt x="27470" y="6191"/>
                  </a:lnTo>
                  <a:lnTo>
                    <a:pt x="29337" y="7963"/>
                  </a:lnTo>
                  <a:lnTo>
                    <a:pt x="31899" y="11125"/>
                  </a:lnTo>
                  <a:lnTo>
                    <a:pt x="32281" y="12687"/>
                  </a:lnTo>
                  <a:lnTo>
                    <a:pt x="34586" y="14088"/>
                  </a:lnTo>
                  <a:lnTo>
                    <a:pt x="36719" y="15659"/>
                  </a:lnTo>
                  <a:lnTo>
                    <a:pt x="36386" y="18564"/>
                  </a:lnTo>
                  <a:lnTo>
                    <a:pt x="43653" y="21098"/>
                  </a:lnTo>
                  <a:lnTo>
                    <a:pt x="45291" y="21079"/>
                  </a:lnTo>
                  <a:lnTo>
                    <a:pt x="46073" y="21526"/>
                  </a:lnTo>
                  <a:lnTo>
                    <a:pt x="46054" y="22184"/>
                  </a:lnTo>
                  <a:lnTo>
                    <a:pt x="45482" y="24212"/>
                  </a:lnTo>
                  <a:lnTo>
                    <a:pt x="42491" y="30442"/>
                  </a:lnTo>
                  <a:lnTo>
                    <a:pt x="42253" y="31728"/>
                  </a:lnTo>
                  <a:lnTo>
                    <a:pt x="40110" y="33080"/>
                  </a:lnTo>
                  <a:lnTo>
                    <a:pt x="39814" y="33861"/>
                  </a:lnTo>
                  <a:lnTo>
                    <a:pt x="40424" y="35566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7" name="Forme libre : forme 33">
              <a:extLst>
                <a:ext uri="{FF2B5EF4-FFF2-40B4-BE49-F238E27FC236}">
                  <a16:creationId xmlns:a16="http://schemas.microsoft.com/office/drawing/2014/main" id="{040D381B-A8DA-4F2B-9383-A4C016DE53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863373" y="4545522"/>
              <a:ext cx="12103" cy="28958"/>
            </a:xfrm>
            <a:custGeom>
              <a:avLst/>
              <a:gdLst>
                <a:gd name="connsiteX0" fmla="*/ 2686 w 3495"/>
                <a:gd name="connsiteY0" fmla="*/ 8363 h 8362"/>
                <a:gd name="connsiteX1" fmla="*/ 610 w 3495"/>
                <a:gd name="connsiteY1" fmla="*/ 8153 h 8362"/>
                <a:gd name="connsiteX2" fmla="*/ 219 w 3495"/>
                <a:gd name="connsiteY2" fmla="*/ 8172 h 8362"/>
                <a:gd name="connsiteX3" fmla="*/ 0 w 3495"/>
                <a:gd name="connsiteY3" fmla="*/ 6791 h 8362"/>
                <a:gd name="connsiteX4" fmla="*/ 124 w 3495"/>
                <a:gd name="connsiteY4" fmla="*/ 3848 h 8362"/>
                <a:gd name="connsiteX5" fmla="*/ 1276 w 3495"/>
                <a:gd name="connsiteY5" fmla="*/ 0 h 8362"/>
                <a:gd name="connsiteX6" fmla="*/ 1524 w 3495"/>
                <a:gd name="connsiteY6" fmla="*/ 629 h 8362"/>
                <a:gd name="connsiteX7" fmla="*/ 1667 w 3495"/>
                <a:gd name="connsiteY7" fmla="*/ 1438 h 8362"/>
                <a:gd name="connsiteX8" fmla="*/ 1905 w 3495"/>
                <a:gd name="connsiteY8" fmla="*/ 2295 h 8362"/>
                <a:gd name="connsiteX9" fmla="*/ 2039 w 3495"/>
                <a:gd name="connsiteY9" fmla="*/ 3343 h 8362"/>
                <a:gd name="connsiteX10" fmla="*/ 2467 w 3495"/>
                <a:gd name="connsiteY10" fmla="*/ 4419 h 8362"/>
                <a:gd name="connsiteX11" fmla="*/ 3248 w 3495"/>
                <a:gd name="connsiteY11" fmla="*/ 5439 h 8362"/>
                <a:gd name="connsiteX12" fmla="*/ 3496 w 3495"/>
                <a:gd name="connsiteY12" fmla="*/ 6410 h 8362"/>
                <a:gd name="connsiteX13" fmla="*/ 3105 w 3495"/>
                <a:gd name="connsiteY13" fmla="*/ 7639 h 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95" h="8362">
                  <a:moveTo>
                    <a:pt x="2686" y="8363"/>
                  </a:moveTo>
                  <a:lnTo>
                    <a:pt x="610" y="8153"/>
                  </a:lnTo>
                  <a:lnTo>
                    <a:pt x="219" y="8172"/>
                  </a:lnTo>
                  <a:lnTo>
                    <a:pt x="0" y="6791"/>
                  </a:lnTo>
                  <a:lnTo>
                    <a:pt x="124" y="3848"/>
                  </a:lnTo>
                  <a:lnTo>
                    <a:pt x="1276" y="0"/>
                  </a:lnTo>
                  <a:lnTo>
                    <a:pt x="1524" y="629"/>
                  </a:lnTo>
                  <a:lnTo>
                    <a:pt x="1667" y="1438"/>
                  </a:lnTo>
                  <a:lnTo>
                    <a:pt x="1905" y="2295"/>
                  </a:lnTo>
                  <a:lnTo>
                    <a:pt x="2039" y="3343"/>
                  </a:lnTo>
                  <a:lnTo>
                    <a:pt x="2467" y="4419"/>
                  </a:lnTo>
                  <a:lnTo>
                    <a:pt x="3248" y="5439"/>
                  </a:lnTo>
                  <a:lnTo>
                    <a:pt x="3496" y="6410"/>
                  </a:lnTo>
                  <a:lnTo>
                    <a:pt x="3105" y="7639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8" name="Forme libre : forme 34">
              <a:extLst>
                <a:ext uri="{FF2B5EF4-FFF2-40B4-BE49-F238E27FC236}">
                  <a16:creationId xmlns:a16="http://schemas.microsoft.com/office/drawing/2014/main" id="{3F023AA4-664D-59BE-8693-EC3C6298D1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920554" y="3173331"/>
              <a:ext cx="543959" cy="407204"/>
            </a:xfrm>
            <a:custGeom>
              <a:avLst/>
              <a:gdLst>
                <a:gd name="connsiteX0" fmla="*/ 152209 w 157076"/>
                <a:gd name="connsiteY0" fmla="*/ 35500 h 117586"/>
                <a:gd name="connsiteX1" fmla="*/ 152143 w 157076"/>
                <a:gd name="connsiteY1" fmla="*/ 37624 h 117586"/>
                <a:gd name="connsiteX2" fmla="*/ 151495 w 157076"/>
                <a:gd name="connsiteY2" fmla="*/ 41215 h 117586"/>
                <a:gd name="connsiteX3" fmla="*/ 150228 w 157076"/>
                <a:gd name="connsiteY3" fmla="*/ 45844 h 117586"/>
                <a:gd name="connsiteX4" fmla="*/ 148904 w 157076"/>
                <a:gd name="connsiteY4" fmla="*/ 49425 h 117586"/>
                <a:gd name="connsiteX5" fmla="*/ 148580 w 157076"/>
                <a:gd name="connsiteY5" fmla="*/ 50806 h 117586"/>
                <a:gd name="connsiteX6" fmla="*/ 149580 w 157076"/>
                <a:gd name="connsiteY6" fmla="*/ 51959 h 117586"/>
                <a:gd name="connsiteX7" fmla="*/ 154553 w 157076"/>
                <a:gd name="connsiteY7" fmla="*/ 52502 h 117586"/>
                <a:gd name="connsiteX8" fmla="*/ 156667 w 157076"/>
                <a:gd name="connsiteY8" fmla="*/ 53112 h 117586"/>
                <a:gd name="connsiteX9" fmla="*/ 157076 w 157076"/>
                <a:gd name="connsiteY9" fmla="*/ 54064 h 117586"/>
                <a:gd name="connsiteX10" fmla="*/ 155972 w 157076"/>
                <a:gd name="connsiteY10" fmla="*/ 55293 h 117586"/>
                <a:gd name="connsiteX11" fmla="*/ 154381 w 157076"/>
                <a:gd name="connsiteY11" fmla="*/ 56312 h 117586"/>
                <a:gd name="connsiteX12" fmla="*/ 153676 w 157076"/>
                <a:gd name="connsiteY12" fmla="*/ 57283 h 117586"/>
                <a:gd name="connsiteX13" fmla="*/ 152409 w 157076"/>
                <a:gd name="connsiteY13" fmla="*/ 60741 h 117586"/>
                <a:gd name="connsiteX14" fmla="*/ 144142 w 157076"/>
                <a:gd name="connsiteY14" fmla="*/ 60303 h 117586"/>
                <a:gd name="connsiteX15" fmla="*/ 143047 w 157076"/>
                <a:gd name="connsiteY15" fmla="*/ 61008 h 117586"/>
                <a:gd name="connsiteX16" fmla="*/ 142523 w 157076"/>
                <a:gd name="connsiteY16" fmla="*/ 62608 h 117586"/>
                <a:gd name="connsiteX17" fmla="*/ 142113 w 157076"/>
                <a:gd name="connsiteY17" fmla="*/ 64456 h 117586"/>
                <a:gd name="connsiteX18" fmla="*/ 141027 w 157076"/>
                <a:gd name="connsiteY18" fmla="*/ 66647 h 117586"/>
                <a:gd name="connsiteX19" fmla="*/ 138836 w 157076"/>
                <a:gd name="connsiteY19" fmla="*/ 68551 h 117586"/>
                <a:gd name="connsiteX20" fmla="*/ 135398 w 157076"/>
                <a:gd name="connsiteY20" fmla="*/ 69256 h 117586"/>
                <a:gd name="connsiteX21" fmla="*/ 132588 w 157076"/>
                <a:gd name="connsiteY21" fmla="*/ 70552 h 117586"/>
                <a:gd name="connsiteX22" fmla="*/ 130493 w 157076"/>
                <a:gd name="connsiteY22" fmla="*/ 74533 h 117586"/>
                <a:gd name="connsiteX23" fmla="*/ 128931 w 157076"/>
                <a:gd name="connsiteY23" fmla="*/ 79867 h 117586"/>
                <a:gd name="connsiteX24" fmla="*/ 128968 w 157076"/>
                <a:gd name="connsiteY24" fmla="*/ 83639 h 117586"/>
                <a:gd name="connsiteX25" fmla="*/ 129168 w 157076"/>
                <a:gd name="connsiteY25" fmla="*/ 85744 h 117586"/>
                <a:gd name="connsiteX26" fmla="*/ 128987 w 157076"/>
                <a:gd name="connsiteY26" fmla="*/ 86944 h 117586"/>
                <a:gd name="connsiteX27" fmla="*/ 127930 w 157076"/>
                <a:gd name="connsiteY27" fmla="*/ 88249 h 117586"/>
                <a:gd name="connsiteX28" fmla="*/ 126197 w 157076"/>
                <a:gd name="connsiteY28" fmla="*/ 91707 h 117586"/>
                <a:gd name="connsiteX29" fmla="*/ 124787 w 157076"/>
                <a:gd name="connsiteY29" fmla="*/ 95526 h 117586"/>
                <a:gd name="connsiteX30" fmla="*/ 124244 w 157076"/>
                <a:gd name="connsiteY30" fmla="*/ 97593 h 117586"/>
                <a:gd name="connsiteX31" fmla="*/ 124511 w 157076"/>
                <a:gd name="connsiteY31" fmla="*/ 98565 h 117586"/>
                <a:gd name="connsiteX32" fmla="*/ 126102 w 157076"/>
                <a:gd name="connsiteY32" fmla="*/ 98593 h 117586"/>
                <a:gd name="connsiteX33" fmla="*/ 128397 w 157076"/>
                <a:gd name="connsiteY33" fmla="*/ 99374 h 117586"/>
                <a:gd name="connsiteX34" fmla="*/ 129616 w 157076"/>
                <a:gd name="connsiteY34" fmla="*/ 100898 h 117586"/>
                <a:gd name="connsiteX35" fmla="*/ 130064 w 157076"/>
                <a:gd name="connsiteY35" fmla="*/ 102661 h 117586"/>
                <a:gd name="connsiteX36" fmla="*/ 130064 w 157076"/>
                <a:gd name="connsiteY36" fmla="*/ 104547 h 117586"/>
                <a:gd name="connsiteX37" fmla="*/ 129635 w 157076"/>
                <a:gd name="connsiteY37" fmla="*/ 105585 h 117586"/>
                <a:gd name="connsiteX38" fmla="*/ 127797 w 157076"/>
                <a:gd name="connsiteY38" fmla="*/ 106337 h 117586"/>
                <a:gd name="connsiteX39" fmla="*/ 124920 w 157076"/>
                <a:gd name="connsiteY39" fmla="*/ 106366 h 117586"/>
                <a:gd name="connsiteX40" fmla="*/ 123244 w 157076"/>
                <a:gd name="connsiteY40" fmla="*/ 105470 h 117586"/>
                <a:gd name="connsiteX41" fmla="*/ 122901 w 157076"/>
                <a:gd name="connsiteY41" fmla="*/ 104756 h 117586"/>
                <a:gd name="connsiteX42" fmla="*/ 123701 w 157076"/>
                <a:gd name="connsiteY42" fmla="*/ 102937 h 117586"/>
                <a:gd name="connsiteX43" fmla="*/ 123120 w 157076"/>
                <a:gd name="connsiteY43" fmla="*/ 100660 h 117586"/>
                <a:gd name="connsiteX44" fmla="*/ 121930 w 157076"/>
                <a:gd name="connsiteY44" fmla="*/ 99393 h 117586"/>
                <a:gd name="connsiteX45" fmla="*/ 119510 w 157076"/>
                <a:gd name="connsiteY45" fmla="*/ 101289 h 117586"/>
                <a:gd name="connsiteX46" fmla="*/ 117186 w 157076"/>
                <a:gd name="connsiteY46" fmla="*/ 101289 h 117586"/>
                <a:gd name="connsiteX47" fmla="*/ 114405 w 157076"/>
                <a:gd name="connsiteY47" fmla="*/ 102984 h 117586"/>
                <a:gd name="connsiteX48" fmla="*/ 112586 w 157076"/>
                <a:gd name="connsiteY48" fmla="*/ 105689 h 117586"/>
                <a:gd name="connsiteX49" fmla="*/ 110843 w 157076"/>
                <a:gd name="connsiteY49" fmla="*/ 106680 h 117586"/>
                <a:gd name="connsiteX50" fmla="*/ 106118 w 157076"/>
                <a:gd name="connsiteY50" fmla="*/ 106128 h 117586"/>
                <a:gd name="connsiteX51" fmla="*/ 104947 w 157076"/>
                <a:gd name="connsiteY51" fmla="*/ 107318 h 117586"/>
                <a:gd name="connsiteX52" fmla="*/ 103965 w 157076"/>
                <a:gd name="connsiteY52" fmla="*/ 112805 h 117586"/>
                <a:gd name="connsiteX53" fmla="*/ 103404 w 157076"/>
                <a:gd name="connsiteY53" fmla="*/ 113872 h 117586"/>
                <a:gd name="connsiteX54" fmla="*/ 99460 w 157076"/>
                <a:gd name="connsiteY54" fmla="*/ 113643 h 117586"/>
                <a:gd name="connsiteX55" fmla="*/ 95659 w 157076"/>
                <a:gd name="connsiteY55" fmla="*/ 115824 h 117586"/>
                <a:gd name="connsiteX56" fmla="*/ 91364 w 157076"/>
                <a:gd name="connsiteY56" fmla="*/ 117586 h 117586"/>
                <a:gd name="connsiteX57" fmla="*/ 89192 w 157076"/>
                <a:gd name="connsiteY57" fmla="*/ 116367 h 117586"/>
                <a:gd name="connsiteX58" fmla="*/ 87982 w 157076"/>
                <a:gd name="connsiteY58" fmla="*/ 114986 h 117586"/>
                <a:gd name="connsiteX59" fmla="*/ 85639 w 157076"/>
                <a:gd name="connsiteY59" fmla="*/ 115233 h 117586"/>
                <a:gd name="connsiteX60" fmla="*/ 83087 w 157076"/>
                <a:gd name="connsiteY60" fmla="*/ 115843 h 117586"/>
                <a:gd name="connsiteX61" fmla="*/ 81372 w 157076"/>
                <a:gd name="connsiteY61" fmla="*/ 115510 h 117586"/>
                <a:gd name="connsiteX62" fmla="*/ 79448 w 157076"/>
                <a:gd name="connsiteY62" fmla="*/ 115662 h 117586"/>
                <a:gd name="connsiteX63" fmla="*/ 75733 w 157076"/>
                <a:gd name="connsiteY63" fmla="*/ 116719 h 117586"/>
                <a:gd name="connsiteX64" fmla="*/ 71066 w 157076"/>
                <a:gd name="connsiteY64" fmla="*/ 116377 h 117586"/>
                <a:gd name="connsiteX65" fmla="*/ 69075 w 157076"/>
                <a:gd name="connsiteY65" fmla="*/ 115472 h 117586"/>
                <a:gd name="connsiteX66" fmla="*/ 68885 w 157076"/>
                <a:gd name="connsiteY66" fmla="*/ 114605 h 117586"/>
                <a:gd name="connsiteX67" fmla="*/ 69028 w 157076"/>
                <a:gd name="connsiteY67" fmla="*/ 112471 h 117586"/>
                <a:gd name="connsiteX68" fmla="*/ 68980 w 157076"/>
                <a:gd name="connsiteY68" fmla="*/ 109156 h 117586"/>
                <a:gd name="connsiteX69" fmla="*/ 68237 w 157076"/>
                <a:gd name="connsiteY69" fmla="*/ 106223 h 117586"/>
                <a:gd name="connsiteX70" fmla="*/ 65999 w 157076"/>
                <a:gd name="connsiteY70" fmla="*/ 103632 h 117586"/>
                <a:gd name="connsiteX71" fmla="*/ 63655 w 157076"/>
                <a:gd name="connsiteY71" fmla="*/ 101813 h 117586"/>
                <a:gd name="connsiteX72" fmla="*/ 60665 w 157076"/>
                <a:gd name="connsiteY72" fmla="*/ 99936 h 117586"/>
                <a:gd name="connsiteX73" fmla="*/ 58455 w 157076"/>
                <a:gd name="connsiteY73" fmla="*/ 99117 h 117586"/>
                <a:gd name="connsiteX74" fmla="*/ 57245 w 157076"/>
                <a:gd name="connsiteY74" fmla="*/ 98908 h 117586"/>
                <a:gd name="connsiteX75" fmla="*/ 56969 w 157076"/>
                <a:gd name="connsiteY75" fmla="*/ 97822 h 117586"/>
                <a:gd name="connsiteX76" fmla="*/ 56531 w 157076"/>
                <a:gd name="connsiteY76" fmla="*/ 96879 h 117586"/>
                <a:gd name="connsiteX77" fmla="*/ 55493 w 157076"/>
                <a:gd name="connsiteY77" fmla="*/ 96060 h 117586"/>
                <a:gd name="connsiteX78" fmla="*/ 53283 w 157076"/>
                <a:gd name="connsiteY78" fmla="*/ 94955 h 117586"/>
                <a:gd name="connsiteX79" fmla="*/ 51406 w 157076"/>
                <a:gd name="connsiteY79" fmla="*/ 94717 h 117586"/>
                <a:gd name="connsiteX80" fmla="*/ 49873 w 157076"/>
                <a:gd name="connsiteY80" fmla="*/ 96498 h 117586"/>
                <a:gd name="connsiteX81" fmla="*/ 48749 w 157076"/>
                <a:gd name="connsiteY81" fmla="*/ 94269 h 117586"/>
                <a:gd name="connsiteX82" fmla="*/ 47558 w 157076"/>
                <a:gd name="connsiteY82" fmla="*/ 90259 h 117586"/>
                <a:gd name="connsiteX83" fmla="*/ 47682 w 157076"/>
                <a:gd name="connsiteY83" fmla="*/ 87049 h 117586"/>
                <a:gd name="connsiteX84" fmla="*/ 48359 w 157076"/>
                <a:gd name="connsiteY84" fmla="*/ 83839 h 117586"/>
                <a:gd name="connsiteX85" fmla="*/ 51606 w 157076"/>
                <a:gd name="connsiteY85" fmla="*/ 74324 h 117586"/>
                <a:gd name="connsiteX86" fmla="*/ 51435 w 157076"/>
                <a:gd name="connsiteY86" fmla="*/ 72800 h 117586"/>
                <a:gd name="connsiteX87" fmla="*/ 49073 w 157076"/>
                <a:gd name="connsiteY87" fmla="*/ 70133 h 117586"/>
                <a:gd name="connsiteX88" fmla="*/ 46158 w 157076"/>
                <a:gd name="connsiteY88" fmla="*/ 68189 h 117586"/>
                <a:gd name="connsiteX89" fmla="*/ 44548 w 157076"/>
                <a:gd name="connsiteY89" fmla="*/ 64075 h 117586"/>
                <a:gd name="connsiteX90" fmla="*/ 38643 w 157076"/>
                <a:gd name="connsiteY90" fmla="*/ 63837 h 117586"/>
                <a:gd name="connsiteX91" fmla="*/ 33071 w 157076"/>
                <a:gd name="connsiteY91" fmla="*/ 64065 h 117586"/>
                <a:gd name="connsiteX92" fmla="*/ 31318 w 157076"/>
                <a:gd name="connsiteY92" fmla="*/ 63865 h 117586"/>
                <a:gd name="connsiteX93" fmla="*/ 26013 w 157076"/>
                <a:gd name="connsiteY93" fmla="*/ 62141 h 117586"/>
                <a:gd name="connsiteX94" fmla="*/ 20898 w 157076"/>
                <a:gd name="connsiteY94" fmla="*/ 59360 h 117586"/>
                <a:gd name="connsiteX95" fmla="*/ 17479 w 157076"/>
                <a:gd name="connsiteY95" fmla="*/ 57731 h 117586"/>
                <a:gd name="connsiteX96" fmla="*/ 14602 w 157076"/>
                <a:gd name="connsiteY96" fmla="*/ 55902 h 117586"/>
                <a:gd name="connsiteX97" fmla="*/ 13049 w 157076"/>
                <a:gd name="connsiteY97" fmla="*/ 53978 h 117586"/>
                <a:gd name="connsiteX98" fmla="*/ 10601 w 157076"/>
                <a:gd name="connsiteY98" fmla="*/ 54493 h 117586"/>
                <a:gd name="connsiteX99" fmla="*/ 8944 w 157076"/>
                <a:gd name="connsiteY99" fmla="*/ 54512 h 117586"/>
                <a:gd name="connsiteX100" fmla="*/ 8963 w 157076"/>
                <a:gd name="connsiteY100" fmla="*/ 54178 h 117586"/>
                <a:gd name="connsiteX101" fmla="*/ 8020 w 157076"/>
                <a:gd name="connsiteY101" fmla="*/ 50778 h 117586"/>
                <a:gd name="connsiteX102" fmla="*/ 9010 w 157076"/>
                <a:gd name="connsiteY102" fmla="*/ 45558 h 117586"/>
                <a:gd name="connsiteX103" fmla="*/ 7220 w 157076"/>
                <a:gd name="connsiteY103" fmla="*/ 37881 h 117586"/>
                <a:gd name="connsiteX104" fmla="*/ 4296 w 157076"/>
                <a:gd name="connsiteY104" fmla="*/ 28613 h 117586"/>
                <a:gd name="connsiteX105" fmla="*/ 4086 w 157076"/>
                <a:gd name="connsiteY105" fmla="*/ 18640 h 117586"/>
                <a:gd name="connsiteX106" fmla="*/ 3877 w 157076"/>
                <a:gd name="connsiteY106" fmla="*/ 16393 h 117586"/>
                <a:gd name="connsiteX107" fmla="*/ 11059 w 157076"/>
                <a:gd name="connsiteY107" fmla="*/ 10735 h 117586"/>
                <a:gd name="connsiteX108" fmla="*/ 20117 w 157076"/>
                <a:gd name="connsiteY108" fmla="*/ 4667 h 117586"/>
                <a:gd name="connsiteX109" fmla="*/ 22174 w 157076"/>
                <a:gd name="connsiteY109" fmla="*/ 4115 h 117586"/>
                <a:gd name="connsiteX110" fmla="*/ 30518 w 157076"/>
                <a:gd name="connsiteY110" fmla="*/ 515 h 117586"/>
                <a:gd name="connsiteX111" fmla="*/ 31632 w 157076"/>
                <a:gd name="connsiteY111" fmla="*/ 229 h 117586"/>
                <a:gd name="connsiteX112" fmla="*/ 39157 w 157076"/>
                <a:gd name="connsiteY112" fmla="*/ 895 h 117586"/>
                <a:gd name="connsiteX113" fmla="*/ 45063 w 157076"/>
                <a:gd name="connsiteY113" fmla="*/ 1753 h 117586"/>
                <a:gd name="connsiteX114" fmla="*/ 50044 w 157076"/>
                <a:gd name="connsiteY114" fmla="*/ 1648 h 117586"/>
                <a:gd name="connsiteX115" fmla="*/ 52778 w 157076"/>
                <a:gd name="connsiteY115" fmla="*/ 724 h 117586"/>
                <a:gd name="connsiteX116" fmla="*/ 55255 w 157076"/>
                <a:gd name="connsiteY116" fmla="*/ 1496 h 117586"/>
                <a:gd name="connsiteX117" fmla="*/ 57245 w 157076"/>
                <a:gd name="connsiteY117" fmla="*/ 4210 h 117586"/>
                <a:gd name="connsiteX118" fmla="*/ 59303 w 157076"/>
                <a:gd name="connsiteY118" fmla="*/ 3886 h 117586"/>
                <a:gd name="connsiteX119" fmla="*/ 61332 w 157076"/>
                <a:gd name="connsiteY119" fmla="*/ 2134 h 117586"/>
                <a:gd name="connsiteX120" fmla="*/ 72476 w 157076"/>
                <a:gd name="connsiteY120" fmla="*/ 3734 h 117586"/>
                <a:gd name="connsiteX121" fmla="*/ 74990 w 157076"/>
                <a:gd name="connsiteY121" fmla="*/ 3696 h 117586"/>
                <a:gd name="connsiteX122" fmla="*/ 77819 w 157076"/>
                <a:gd name="connsiteY122" fmla="*/ 3953 h 117586"/>
                <a:gd name="connsiteX123" fmla="*/ 83039 w 157076"/>
                <a:gd name="connsiteY123" fmla="*/ 5582 h 117586"/>
                <a:gd name="connsiteX124" fmla="*/ 86049 w 157076"/>
                <a:gd name="connsiteY124" fmla="*/ 7077 h 117586"/>
                <a:gd name="connsiteX125" fmla="*/ 92659 w 157076"/>
                <a:gd name="connsiteY125" fmla="*/ 6172 h 117586"/>
                <a:gd name="connsiteX126" fmla="*/ 95488 w 157076"/>
                <a:gd name="connsiteY126" fmla="*/ 6125 h 117586"/>
                <a:gd name="connsiteX127" fmla="*/ 96964 w 157076"/>
                <a:gd name="connsiteY127" fmla="*/ 5534 h 117586"/>
                <a:gd name="connsiteX128" fmla="*/ 101527 w 157076"/>
                <a:gd name="connsiteY128" fmla="*/ 1438 h 117586"/>
                <a:gd name="connsiteX129" fmla="*/ 103498 w 157076"/>
                <a:gd name="connsiteY129" fmla="*/ 733 h 117586"/>
                <a:gd name="connsiteX130" fmla="*/ 105308 w 157076"/>
                <a:gd name="connsiteY130" fmla="*/ 0 h 117586"/>
                <a:gd name="connsiteX131" fmla="*/ 106966 w 157076"/>
                <a:gd name="connsiteY131" fmla="*/ 619 h 117586"/>
                <a:gd name="connsiteX132" fmla="*/ 108052 w 157076"/>
                <a:gd name="connsiteY132" fmla="*/ 4115 h 117586"/>
                <a:gd name="connsiteX133" fmla="*/ 111423 w 157076"/>
                <a:gd name="connsiteY133" fmla="*/ 10125 h 117586"/>
                <a:gd name="connsiteX134" fmla="*/ 115091 w 157076"/>
                <a:gd name="connsiteY134" fmla="*/ 11182 h 117586"/>
                <a:gd name="connsiteX135" fmla="*/ 125216 w 157076"/>
                <a:gd name="connsiteY135" fmla="*/ 13488 h 117586"/>
                <a:gd name="connsiteX136" fmla="*/ 127282 w 157076"/>
                <a:gd name="connsiteY136" fmla="*/ 14697 h 117586"/>
                <a:gd name="connsiteX137" fmla="*/ 132979 w 157076"/>
                <a:gd name="connsiteY137" fmla="*/ 19974 h 117586"/>
                <a:gd name="connsiteX138" fmla="*/ 136398 w 157076"/>
                <a:gd name="connsiteY138" fmla="*/ 22555 h 117586"/>
                <a:gd name="connsiteX139" fmla="*/ 138569 w 157076"/>
                <a:gd name="connsiteY139" fmla="*/ 24613 h 117586"/>
                <a:gd name="connsiteX140" fmla="*/ 141884 w 157076"/>
                <a:gd name="connsiteY140" fmla="*/ 28642 h 117586"/>
                <a:gd name="connsiteX141" fmla="*/ 143799 w 157076"/>
                <a:gd name="connsiteY141" fmla="*/ 31566 h 117586"/>
                <a:gd name="connsiteX142" fmla="*/ 146999 w 157076"/>
                <a:gd name="connsiteY142" fmla="*/ 33776 h 117586"/>
                <a:gd name="connsiteX143" fmla="*/ 150790 w 157076"/>
                <a:gd name="connsiteY143" fmla="*/ 35262 h 117586"/>
                <a:gd name="connsiteX144" fmla="*/ 152209 w 157076"/>
                <a:gd name="connsiteY144" fmla="*/ 35500 h 117586"/>
                <a:gd name="connsiteX145" fmla="*/ 1553 w 157076"/>
                <a:gd name="connsiteY145" fmla="*/ 53788 h 117586"/>
                <a:gd name="connsiteX146" fmla="*/ 0 w 157076"/>
                <a:gd name="connsiteY146" fmla="*/ 53426 h 117586"/>
                <a:gd name="connsiteX147" fmla="*/ 3057 w 157076"/>
                <a:gd name="connsiteY147" fmla="*/ 48016 h 117586"/>
                <a:gd name="connsiteX148" fmla="*/ 4229 w 157076"/>
                <a:gd name="connsiteY148" fmla="*/ 44491 h 117586"/>
                <a:gd name="connsiteX149" fmla="*/ 5039 w 157076"/>
                <a:gd name="connsiteY149" fmla="*/ 39481 h 117586"/>
                <a:gd name="connsiteX150" fmla="*/ 5753 w 157076"/>
                <a:gd name="connsiteY150" fmla="*/ 37900 h 117586"/>
                <a:gd name="connsiteX151" fmla="*/ 5772 w 157076"/>
                <a:gd name="connsiteY151" fmla="*/ 40177 h 117586"/>
                <a:gd name="connsiteX152" fmla="*/ 5458 w 157076"/>
                <a:gd name="connsiteY152" fmla="*/ 43967 h 117586"/>
                <a:gd name="connsiteX153" fmla="*/ 3524 w 157076"/>
                <a:gd name="connsiteY153" fmla="*/ 50416 h 117586"/>
                <a:gd name="connsiteX154" fmla="*/ 1553 w 157076"/>
                <a:gd name="connsiteY154" fmla="*/ 53788 h 117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157076" h="117586">
                  <a:moveTo>
                    <a:pt x="152209" y="35500"/>
                  </a:moveTo>
                  <a:lnTo>
                    <a:pt x="152143" y="37624"/>
                  </a:lnTo>
                  <a:lnTo>
                    <a:pt x="151495" y="41215"/>
                  </a:lnTo>
                  <a:lnTo>
                    <a:pt x="150228" y="45844"/>
                  </a:lnTo>
                  <a:lnTo>
                    <a:pt x="148904" y="49425"/>
                  </a:lnTo>
                  <a:lnTo>
                    <a:pt x="148580" y="50806"/>
                  </a:lnTo>
                  <a:lnTo>
                    <a:pt x="149580" y="51959"/>
                  </a:lnTo>
                  <a:lnTo>
                    <a:pt x="154553" y="52502"/>
                  </a:lnTo>
                  <a:lnTo>
                    <a:pt x="156667" y="53112"/>
                  </a:lnTo>
                  <a:lnTo>
                    <a:pt x="157076" y="54064"/>
                  </a:lnTo>
                  <a:lnTo>
                    <a:pt x="155972" y="55293"/>
                  </a:lnTo>
                  <a:lnTo>
                    <a:pt x="154381" y="56312"/>
                  </a:lnTo>
                  <a:lnTo>
                    <a:pt x="153676" y="57283"/>
                  </a:lnTo>
                  <a:lnTo>
                    <a:pt x="152409" y="60741"/>
                  </a:lnTo>
                  <a:lnTo>
                    <a:pt x="144142" y="60303"/>
                  </a:lnTo>
                  <a:lnTo>
                    <a:pt x="143047" y="61008"/>
                  </a:lnTo>
                  <a:lnTo>
                    <a:pt x="142523" y="62608"/>
                  </a:lnTo>
                  <a:lnTo>
                    <a:pt x="142113" y="64456"/>
                  </a:lnTo>
                  <a:lnTo>
                    <a:pt x="141027" y="66647"/>
                  </a:lnTo>
                  <a:lnTo>
                    <a:pt x="138836" y="68551"/>
                  </a:lnTo>
                  <a:lnTo>
                    <a:pt x="135398" y="69256"/>
                  </a:lnTo>
                  <a:lnTo>
                    <a:pt x="132588" y="70552"/>
                  </a:lnTo>
                  <a:lnTo>
                    <a:pt x="130493" y="74533"/>
                  </a:lnTo>
                  <a:lnTo>
                    <a:pt x="128931" y="79867"/>
                  </a:lnTo>
                  <a:lnTo>
                    <a:pt x="128968" y="83639"/>
                  </a:lnTo>
                  <a:lnTo>
                    <a:pt x="129168" y="85744"/>
                  </a:lnTo>
                  <a:lnTo>
                    <a:pt x="128987" y="86944"/>
                  </a:lnTo>
                  <a:lnTo>
                    <a:pt x="127930" y="88249"/>
                  </a:lnTo>
                  <a:lnTo>
                    <a:pt x="126197" y="91707"/>
                  </a:lnTo>
                  <a:lnTo>
                    <a:pt x="124787" y="95526"/>
                  </a:lnTo>
                  <a:lnTo>
                    <a:pt x="124244" y="97593"/>
                  </a:lnTo>
                  <a:lnTo>
                    <a:pt x="124511" y="98565"/>
                  </a:lnTo>
                  <a:lnTo>
                    <a:pt x="126102" y="98593"/>
                  </a:lnTo>
                  <a:lnTo>
                    <a:pt x="128397" y="99374"/>
                  </a:lnTo>
                  <a:lnTo>
                    <a:pt x="129616" y="100898"/>
                  </a:lnTo>
                  <a:lnTo>
                    <a:pt x="130064" y="102661"/>
                  </a:lnTo>
                  <a:lnTo>
                    <a:pt x="130064" y="104547"/>
                  </a:lnTo>
                  <a:lnTo>
                    <a:pt x="129635" y="105585"/>
                  </a:lnTo>
                  <a:lnTo>
                    <a:pt x="127797" y="106337"/>
                  </a:lnTo>
                  <a:lnTo>
                    <a:pt x="124920" y="106366"/>
                  </a:lnTo>
                  <a:lnTo>
                    <a:pt x="123244" y="105470"/>
                  </a:lnTo>
                  <a:lnTo>
                    <a:pt x="122901" y="104756"/>
                  </a:lnTo>
                  <a:lnTo>
                    <a:pt x="123701" y="102937"/>
                  </a:lnTo>
                  <a:lnTo>
                    <a:pt x="123120" y="100660"/>
                  </a:lnTo>
                  <a:lnTo>
                    <a:pt x="121930" y="99393"/>
                  </a:lnTo>
                  <a:lnTo>
                    <a:pt x="119510" y="101289"/>
                  </a:lnTo>
                  <a:lnTo>
                    <a:pt x="117186" y="101289"/>
                  </a:lnTo>
                  <a:lnTo>
                    <a:pt x="114405" y="102984"/>
                  </a:lnTo>
                  <a:lnTo>
                    <a:pt x="112586" y="105689"/>
                  </a:lnTo>
                  <a:lnTo>
                    <a:pt x="110843" y="106680"/>
                  </a:lnTo>
                  <a:lnTo>
                    <a:pt x="106118" y="106128"/>
                  </a:lnTo>
                  <a:lnTo>
                    <a:pt x="104947" y="107318"/>
                  </a:lnTo>
                  <a:lnTo>
                    <a:pt x="103965" y="112805"/>
                  </a:lnTo>
                  <a:lnTo>
                    <a:pt x="103404" y="113872"/>
                  </a:lnTo>
                  <a:lnTo>
                    <a:pt x="99460" y="113643"/>
                  </a:lnTo>
                  <a:lnTo>
                    <a:pt x="95659" y="115824"/>
                  </a:lnTo>
                  <a:lnTo>
                    <a:pt x="91364" y="117586"/>
                  </a:lnTo>
                  <a:lnTo>
                    <a:pt x="89192" y="116367"/>
                  </a:lnTo>
                  <a:lnTo>
                    <a:pt x="87982" y="114986"/>
                  </a:lnTo>
                  <a:lnTo>
                    <a:pt x="85639" y="115233"/>
                  </a:lnTo>
                  <a:lnTo>
                    <a:pt x="83087" y="115843"/>
                  </a:lnTo>
                  <a:lnTo>
                    <a:pt x="81372" y="115510"/>
                  </a:lnTo>
                  <a:lnTo>
                    <a:pt x="79448" y="115662"/>
                  </a:lnTo>
                  <a:lnTo>
                    <a:pt x="75733" y="116719"/>
                  </a:lnTo>
                  <a:lnTo>
                    <a:pt x="71066" y="116377"/>
                  </a:lnTo>
                  <a:lnTo>
                    <a:pt x="69075" y="115472"/>
                  </a:lnTo>
                  <a:lnTo>
                    <a:pt x="68885" y="114605"/>
                  </a:lnTo>
                  <a:lnTo>
                    <a:pt x="69028" y="112471"/>
                  </a:lnTo>
                  <a:lnTo>
                    <a:pt x="68980" y="109156"/>
                  </a:lnTo>
                  <a:lnTo>
                    <a:pt x="68237" y="106223"/>
                  </a:lnTo>
                  <a:lnTo>
                    <a:pt x="65999" y="103632"/>
                  </a:lnTo>
                  <a:lnTo>
                    <a:pt x="63655" y="101813"/>
                  </a:lnTo>
                  <a:lnTo>
                    <a:pt x="60665" y="99936"/>
                  </a:lnTo>
                  <a:lnTo>
                    <a:pt x="58455" y="99117"/>
                  </a:lnTo>
                  <a:lnTo>
                    <a:pt x="57245" y="98908"/>
                  </a:lnTo>
                  <a:lnTo>
                    <a:pt x="56969" y="97822"/>
                  </a:lnTo>
                  <a:lnTo>
                    <a:pt x="56531" y="96879"/>
                  </a:lnTo>
                  <a:lnTo>
                    <a:pt x="55493" y="96060"/>
                  </a:lnTo>
                  <a:lnTo>
                    <a:pt x="53283" y="94955"/>
                  </a:lnTo>
                  <a:lnTo>
                    <a:pt x="51406" y="94717"/>
                  </a:lnTo>
                  <a:lnTo>
                    <a:pt x="49873" y="96498"/>
                  </a:lnTo>
                  <a:lnTo>
                    <a:pt x="48749" y="94269"/>
                  </a:lnTo>
                  <a:lnTo>
                    <a:pt x="47558" y="90259"/>
                  </a:lnTo>
                  <a:lnTo>
                    <a:pt x="47682" y="87049"/>
                  </a:lnTo>
                  <a:lnTo>
                    <a:pt x="48359" y="83839"/>
                  </a:lnTo>
                  <a:lnTo>
                    <a:pt x="51606" y="74324"/>
                  </a:lnTo>
                  <a:lnTo>
                    <a:pt x="51435" y="72800"/>
                  </a:lnTo>
                  <a:lnTo>
                    <a:pt x="49073" y="70133"/>
                  </a:lnTo>
                  <a:lnTo>
                    <a:pt x="46158" y="68189"/>
                  </a:lnTo>
                  <a:lnTo>
                    <a:pt x="44548" y="64075"/>
                  </a:lnTo>
                  <a:lnTo>
                    <a:pt x="38643" y="63837"/>
                  </a:lnTo>
                  <a:lnTo>
                    <a:pt x="33071" y="64065"/>
                  </a:lnTo>
                  <a:lnTo>
                    <a:pt x="31318" y="63865"/>
                  </a:lnTo>
                  <a:lnTo>
                    <a:pt x="26013" y="62141"/>
                  </a:lnTo>
                  <a:lnTo>
                    <a:pt x="20898" y="59360"/>
                  </a:lnTo>
                  <a:lnTo>
                    <a:pt x="17479" y="57731"/>
                  </a:lnTo>
                  <a:lnTo>
                    <a:pt x="14602" y="55902"/>
                  </a:lnTo>
                  <a:lnTo>
                    <a:pt x="13049" y="53978"/>
                  </a:lnTo>
                  <a:lnTo>
                    <a:pt x="10601" y="54493"/>
                  </a:lnTo>
                  <a:lnTo>
                    <a:pt x="8944" y="54512"/>
                  </a:lnTo>
                  <a:lnTo>
                    <a:pt x="8963" y="54178"/>
                  </a:lnTo>
                  <a:lnTo>
                    <a:pt x="8020" y="50778"/>
                  </a:lnTo>
                  <a:lnTo>
                    <a:pt x="9010" y="45558"/>
                  </a:lnTo>
                  <a:lnTo>
                    <a:pt x="7220" y="37881"/>
                  </a:lnTo>
                  <a:lnTo>
                    <a:pt x="4296" y="28613"/>
                  </a:lnTo>
                  <a:lnTo>
                    <a:pt x="4086" y="18640"/>
                  </a:lnTo>
                  <a:lnTo>
                    <a:pt x="3877" y="16393"/>
                  </a:lnTo>
                  <a:lnTo>
                    <a:pt x="11059" y="10735"/>
                  </a:lnTo>
                  <a:lnTo>
                    <a:pt x="20117" y="4667"/>
                  </a:lnTo>
                  <a:lnTo>
                    <a:pt x="22174" y="4115"/>
                  </a:lnTo>
                  <a:lnTo>
                    <a:pt x="30518" y="515"/>
                  </a:lnTo>
                  <a:lnTo>
                    <a:pt x="31632" y="229"/>
                  </a:lnTo>
                  <a:lnTo>
                    <a:pt x="39157" y="895"/>
                  </a:lnTo>
                  <a:lnTo>
                    <a:pt x="45063" y="1753"/>
                  </a:lnTo>
                  <a:lnTo>
                    <a:pt x="50044" y="1648"/>
                  </a:lnTo>
                  <a:lnTo>
                    <a:pt x="52778" y="724"/>
                  </a:lnTo>
                  <a:lnTo>
                    <a:pt x="55255" y="1496"/>
                  </a:lnTo>
                  <a:lnTo>
                    <a:pt x="57245" y="4210"/>
                  </a:lnTo>
                  <a:lnTo>
                    <a:pt x="59303" y="3886"/>
                  </a:lnTo>
                  <a:lnTo>
                    <a:pt x="61332" y="2134"/>
                  </a:lnTo>
                  <a:lnTo>
                    <a:pt x="72476" y="3734"/>
                  </a:lnTo>
                  <a:lnTo>
                    <a:pt x="74990" y="3696"/>
                  </a:lnTo>
                  <a:lnTo>
                    <a:pt x="77819" y="3953"/>
                  </a:lnTo>
                  <a:lnTo>
                    <a:pt x="83039" y="5582"/>
                  </a:lnTo>
                  <a:lnTo>
                    <a:pt x="86049" y="7077"/>
                  </a:lnTo>
                  <a:lnTo>
                    <a:pt x="92659" y="6172"/>
                  </a:lnTo>
                  <a:lnTo>
                    <a:pt x="95488" y="6125"/>
                  </a:lnTo>
                  <a:lnTo>
                    <a:pt x="96964" y="5534"/>
                  </a:lnTo>
                  <a:lnTo>
                    <a:pt x="101527" y="1438"/>
                  </a:lnTo>
                  <a:lnTo>
                    <a:pt x="103498" y="733"/>
                  </a:lnTo>
                  <a:lnTo>
                    <a:pt x="105308" y="0"/>
                  </a:lnTo>
                  <a:lnTo>
                    <a:pt x="106966" y="619"/>
                  </a:lnTo>
                  <a:lnTo>
                    <a:pt x="108052" y="4115"/>
                  </a:lnTo>
                  <a:lnTo>
                    <a:pt x="111423" y="10125"/>
                  </a:lnTo>
                  <a:lnTo>
                    <a:pt x="115091" y="11182"/>
                  </a:lnTo>
                  <a:lnTo>
                    <a:pt x="125216" y="13488"/>
                  </a:lnTo>
                  <a:lnTo>
                    <a:pt x="127282" y="14697"/>
                  </a:lnTo>
                  <a:lnTo>
                    <a:pt x="132979" y="19974"/>
                  </a:lnTo>
                  <a:lnTo>
                    <a:pt x="136398" y="22555"/>
                  </a:lnTo>
                  <a:lnTo>
                    <a:pt x="138569" y="24613"/>
                  </a:lnTo>
                  <a:lnTo>
                    <a:pt x="141884" y="28642"/>
                  </a:lnTo>
                  <a:lnTo>
                    <a:pt x="143799" y="31566"/>
                  </a:lnTo>
                  <a:lnTo>
                    <a:pt x="146999" y="33776"/>
                  </a:lnTo>
                  <a:lnTo>
                    <a:pt x="150790" y="35262"/>
                  </a:lnTo>
                  <a:lnTo>
                    <a:pt x="152209" y="35500"/>
                  </a:lnTo>
                  <a:close/>
                  <a:moveTo>
                    <a:pt x="1553" y="53788"/>
                  </a:moveTo>
                  <a:lnTo>
                    <a:pt x="0" y="53426"/>
                  </a:lnTo>
                  <a:lnTo>
                    <a:pt x="3057" y="48016"/>
                  </a:lnTo>
                  <a:lnTo>
                    <a:pt x="4229" y="44491"/>
                  </a:lnTo>
                  <a:lnTo>
                    <a:pt x="5039" y="39481"/>
                  </a:lnTo>
                  <a:lnTo>
                    <a:pt x="5753" y="37900"/>
                  </a:lnTo>
                  <a:lnTo>
                    <a:pt x="5772" y="40177"/>
                  </a:lnTo>
                  <a:lnTo>
                    <a:pt x="5458" y="43967"/>
                  </a:lnTo>
                  <a:lnTo>
                    <a:pt x="3524" y="50416"/>
                  </a:lnTo>
                  <a:lnTo>
                    <a:pt x="1553" y="53788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9" name="Forme libre : forme 35">
              <a:extLst>
                <a:ext uri="{FF2B5EF4-FFF2-40B4-BE49-F238E27FC236}">
                  <a16:creationId xmlns:a16="http://schemas.microsoft.com/office/drawing/2014/main" id="{9E88E760-9D73-CBFB-EDF0-F26F7E9E49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515806" y="4140133"/>
              <a:ext cx="71148" cy="103243"/>
            </a:xfrm>
            <a:custGeom>
              <a:avLst/>
              <a:gdLst>
                <a:gd name="connsiteX0" fmla="*/ 10458 w 20545"/>
                <a:gd name="connsiteY0" fmla="*/ 1924 h 29813"/>
                <a:gd name="connsiteX1" fmla="*/ 10249 w 20545"/>
                <a:gd name="connsiteY1" fmla="*/ 3038 h 29813"/>
                <a:gd name="connsiteX2" fmla="*/ 10287 w 20545"/>
                <a:gd name="connsiteY2" fmla="*/ 5525 h 29813"/>
                <a:gd name="connsiteX3" fmla="*/ 11039 w 20545"/>
                <a:gd name="connsiteY3" fmla="*/ 8011 h 29813"/>
                <a:gd name="connsiteX4" fmla="*/ 12830 w 20545"/>
                <a:gd name="connsiteY4" fmla="*/ 10468 h 29813"/>
                <a:gd name="connsiteX5" fmla="*/ 14192 w 20545"/>
                <a:gd name="connsiteY5" fmla="*/ 12240 h 29813"/>
                <a:gd name="connsiteX6" fmla="*/ 16031 w 20545"/>
                <a:gd name="connsiteY6" fmla="*/ 13659 h 29813"/>
                <a:gd name="connsiteX7" fmla="*/ 19136 w 20545"/>
                <a:gd name="connsiteY7" fmla="*/ 15002 h 29813"/>
                <a:gd name="connsiteX8" fmla="*/ 20374 w 20545"/>
                <a:gd name="connsiteY8" fmla="*/ 15288 h 29813"/>
                <a:gd name="connsiteX9" fmla="*/ 20546 w 20545"/>
                <a:gd name="connsiteY9" fmla="*/ 17107 h 29813"/>
                <a:gd name="connsiteX10" fmla="*/ 20307 w 20545"/>
                <a:gd name="connsiteY10" fmla="*/ 19031 h 29813"/>
                <a:gd name="connsiteX11" fmla="*/ 19231 w 20545"/>
                <a:gd name="connsiteY11" fmla="*/ 20088 h 29813"/>
                <a:gd name="connsiteX12" fmla="*/ 18221 w 20545"/>
                <a:gd name="connsiteY12" fmla="*/ 21622 h 29813"/>
                <a:gd name="connsiteX13" fmla="*/ 17459 w 20545"/>
                <a:gd name="connsiteY13" fmla="*/ 23479 h 29813"/>
                <a:gd name="connsiteX14" fmla="*/ 16669 w 20545"/>
                <a:gd name="connsiteY14" fmla="*/ 27051 h 29813"/>
                <a:gd name="connsiteX15" fmla="*/ 16555 w 20545"/>
                <a:gd name="connsiteY15" fmla="*/ 29518 h 29813"/>
                <a:gd name="connsiteX16" fmla="*/ 14764 w 20545"/>
                <a:gd name="connsiteY16" fmla="*/ 28499 h 29813"/>
                <a:gd name="connsiteX17" fmla="*/ 13821 w 20545"/>
                <a:gd name="connsiteY17" fmla="*/ 27804 h 29813"/>
                <a:gd name="connsiteX18" fmla="*/ 12182 w 20545"/>
                <a:gd name="connsiteY18" fmla="*/ 27613 h 29813"/>
                <a:gd name="connsiteX19" fmla="*/ 10554 w 20545"/>
                <a:gd name="connsiteY19" fmla="*/ 28185 h 29813"/>
                <a:gd name="connsiteX20" fmla="*/ 9335 w 20545"/>
                <a:gd name="connsiteY20" fmla="*/ 29432 h 29813"/>
                <a:gd name="connsiteX21" fmla="*/ 7649 w 20545"/>
                <a:gd name="connsiteY21" fmla="*/ 29813 h 29813"/>
                <a:gd name="connsiteX22" fmla="*/ 6267 w 20545"/>
                <a:gd name="connsiteY22" fmla="*/ 29432 h 29813"/>
                <a:gd name="connsiteX23" fmla="*/ 5448 w 20545"/>
                <a:gd name="connsiteY23" fmla="*/ 28499 h 29813"/>
                <a:gd name="connsiteX24" fmla="*/ 4715 w 20545"/>
                <a:gd name="connsiteY24" fmla="*/ 27994 h 29813"/>
                <a:gd name="connsiteX25" fmla="*/ 2629 w 20545"/>
                <a:gd name="connsiteY25" fmla="*/ 27365 h 29813"/>
                <a:gd name="connsiteX26" fmla="*/ 1724 w 20545"/>
                <a:gd name="connsiteY26" fmla="*/ 26003 h 29813"/>
                <a:gd name="connsiteX27" fmla="*/ 2419 w 20545"/>
                <a:gd name="connsiteY27" fmla="*/ 25365 h 29813"/>
                <a:gd name="connsiteX28" fmla="*/ 3010 w 20545"/>
                <a:gd name="connsiteY28" fmla="*/ 24355 h 29813"/>
                <a:gd name="connsiteX29" fmla="*/ 3515 w 20545"/>
                <a:gd name="connsiteY29" fmla="*/ 22936 h 29813"/>
                <a:gd name="connsiteX30" fmla="*/ 4153 w 20545"/>
                <a:gd name="connsiteY30" fmla="*/ 21631 h 29813"/>
                <a:gd name="connsiteX31" fmla="*/ 2105 w 20545"/>
                <a:gd name="connsiteY31" fmla="*/ 18021 h 29813"/>
                <a:gd name="connsiteX32" fmla="*/ 1676 w 20545"/>
                <a:gd name="connsiteY32" fmla="*/ 16916 h 29813"/>
                <a:gd name="connsiteX33" fmla="*/ 0 w 20545"/>
                <a:gd name="connsiteY33" fmla="*/ 14888 h 29813"/>
                <a:gd name="connsiteX34" fmla="*/ 19 w 20545"/>
                <a:gd name="connsiteY34" fmla="*/ 13849 h 29813"/>
                <a:gd name="connsiteX35" fmla="*/ 419 w 20545"/>
                <a:gd name="connsiteY35" fmla="*/ 12868 h 29813"/>
                <a:gd name="connsiteX36" fmla="*/ 267 w 20545"/>
                <a:gd name="connsiteY36" fmla="*/ 12097 h 29813"/>
                <a:gd name="connsiteX37" fmla="*/ 505 w 20545"/>
                <a:gd name="connsiteY37" fmla="*/ 10278 h 29813"/>
                <a:gd name="connsiteX38" fmla="*/ 1686 w 20545"/>
                <a:gd name="connsiteY38" fmla="*/ 8554 h 29813"/>
                <a:gd name="connsiteX39" fmla="*/ 2467 w 20545"/>
                <a:gd name="connsiteY39" fmla="*/ 6420 h 29813"/>
                <a:gd name="connsiteX40" fmla="*/ 3791 w 20545"/>
                <a:gd name="connsiteY40" fmla="*/ 3505 h 29813"/>
                <a:gd name="connsiteX41" fmla="*/ 6715 w 20545"/>
                <a:gd name="connsiteY41" fmla="*/ 0 h 29813"/>
                <a:gd name="connsiteX42" fmla="*/ 8811 w 20545"/>
                <a:gd name="connsiteY42" fmla="*/ 543 h 29813"/>
                <a:gd name="connsiteX43" fmla="*/ 9735 w 20545"/>
                <a:gd name="connsiteY43" fmla="*/ 524 h 29813"/>
                <a:gd name="connsiteX44" fmla="*/ 10287 w 20545"/>
                <a:gd name="connsiteY44" fmla="*/ 1810 h 29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0545" h="29813">
                  <a:moveTo>
                    <a:pt x="10458" y="1924"/>
                  </a:moveTo>
                  <a:lnTo>
                    <a:pt x="10249" y="3038"/>
                  </a:lnTo>
                  <a:lnTo>
                    <a:pt x="10287" y="5525"/>
                  </a:lnTo>
                  <a:lnTo>
                    <a:pt x="11039" y="8011"/>
                  </a:lnTo>
                  <a:lnTo>
                    <a:pt x="12830" y="10468"/>
                  </a:lnTo>
                  <a:lnTo>
                    <a:pt x="14192" y="12240"/>
                  </a:lnTo>
                  <a:lnTo>
                    <a:pt x="16031" y="13659"/>
                  </a:lnTo>
                  <a:lnTo>
                    <a:pt x="19136" y="15002"/>
                  </a:lnTo>
                  <a:lnTo>
                    <a:pt x="20374" y="15288"/>
                  </a:lnTo>
                  <a:lnTo>
                    <a:pt x="20546" y="17107"/>
                  </a:lnTo>
                  <a:lnTo>
                    <a:pt x="20307" y="19031"/>
                  </a:lnTo>
                  <a:lnTo>
                    <a:pt x="19231" y="20088"/>
                  </a:lnTo>
                  <a:lnTo>
                    <a:pt x="18221" y="21622"/>
                  </a:lnTo>
                  <a:lnTo>
                    <a:pt x="17459" y="23479"/>
                  </a:lnTo>
                  <a:lnTo>
                    <a:pt x="16669" y="27051"/>
                  </a:lnTo>
                  <a:lnTo>
                    <a:pt x="16555" y="29518"/>
                  </a:lnTo>
                  <a:lnTo>
                    <a:pt x="14764" y="28499"/>
                  </a:lnTo>
                  <a:lnTo>
                    <a:pt x="13821" y="27804"/>
                  </a:lnTo>
                  <a:lnTo>
                    <a:pt x="12182" y="27613"/>
                  </a:lnTo>
                  <a:lnTo>
                    <a:pt x="10554" y="28185"/>
                  </a:lnTo>
                  <a:lnTo>
                    <a:pt x="9335" y="29432"/>
                  </a:lnTo>
                  <a:lnTo>
                    <a:pt x="7649" y="29813"/>
                  </a:lnTo>
                  <a:lnTo>
                    <a:pt x="6267" y="29432"/>
                  </a:lnTo>
                  <a:lnTo>
                    <a:pt x="5448" y="28499"/>
                  </a:lnTo>
                  <a:lnTo>
                    <a:pt x="4715" y="27994"/>
                  </a:lnTo>
                  <a:lnTo>
                    <a:pt x="2629" y="27365"/>
                  </a:lnTo>
                  <a:lnTo>
                    <a:pt x="1724" y="26003"/>
                  </a:lnTo>
                  <a:lnTo>
                    <a:pt x="2419" y="25365"/>
                  </a:lnTo>
                  <a:lnTo>
                    <a:pt x="3010" y="24355"/>
                  </a:lnTo>
                  <a:lnTo>
                    <a:pt x="3515" y="22936"/>
                  </a:lnTo>
                  <a:lnTo>
                    <a:pt x="4153" y="21631"/>
                  </a:lnTo>
                  <a:lnTo>
                    <a:pt x="2105" y="18021"/>
                  </a:lnTo>
                  <a:lnTo>
                    <a:pt x="1676" y="16916"/>
                  </a:lnTo>
                  <a:lnTo>
                    <a:pt x="0" y="14888"/>
                  </a:lnTo>
                  <a:lnTo>
                    <a:pt x="19" y="13849"/>
                  </a:lnTo>
                  <a:lnTo>
                    <a:pt x="419" y="12868"/>
                  </a:lnTo>
                  <a:lnTo>
                    <a:pt x="267" y="12097"/>
                  </a:lnTo>
                  <a:lnTo>
                    <a:pt x="505" y="10278"/>
                  </a:lnTo>
                  <a:lnTo>
                    <a:pt x="1686" y="8554"/>
                  </a:lnTo>
                  <a:lnTo>
                    <a:pt x="2467" y="6420"/>
                  </a:lnTo>
                  <a:lnTo>
                    <a:pt x="3791" y="3505"/>
                  </a:lnTo>
                  <a:lnTo>
                    <a:pt x="6715" y="0"/>
                  </a:lnTo>
                  <a:lnTo>
                    <a:pt x="8811" y="543"/>
                  </a:lnTo>
                  <a:lnTo>
                    <a:pt x="9735" y="524"/>
                  </a:lnTo>
                  <a:lnTo>
                    <a:pt x="10287" y="1810"/>
                  </a:lnTo>
                  <a:close/>
                </a:path>
              </a:pathLst>
            </a:custGeom>
            <a:solidFill>
              <a:schemeClr val="accent6"/>
            </a:solidFill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0" name="Forme libre : forme 36">
              <a:extLst>
                <a:ext uri="{FF2B5EF4-FFF2-40B4-BE49-F238E27FC236}">
                  <a16:creationId xmlns:a16="http://schemas.microsoft.com/office/drawing/2014/main" id="{7880A842-9102-19C5-76D4-B1DD905224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931241" y="2891142"/>
              <a:ext cx="665315" cy="405123"/>
            </a:xfrm>
            <a:custGeom>
              <a:avLst/>
              <a:gdLst>
                <a:gd name="connsiteX0" fmla="*/ 169393 w 192119"/>
                <a:gd name="connsiteY0" fmla="*/ 26803 h 116985"/>
                <a:gd name="connsiteX1" fmla="*/ 172546 w 192119"/>
                <a:gd name="connsiteY1" fmla="*/ 27003 h 116985"/>
                <a:gd name="connsiteX2" fmla="*/ 173650 w 192119"/>
                <a:gd name="connsiteY2" fmla="*/ 27794 h 116985"/>
                <a:gd name="connsiteX3" fmla="*/ 174393 w 192119"/>
                <a:gd name="connsiteY3" fmla="*/ 31680 h 116985"/>
                <a:gd name="connsiteX4" fmla="*/ 177975 w 192119"/>
                <a:gd name="connsiteY4" fmla="*/ 34738 h 116985"/>
                <a:gd name="connsiteX5" fmla="*/ 181290 w 192119"/>
                <a:gd name="connsiteY5" fmla="*/ 37262 h 116985"/>
                <a:gd name="connsiteX6" fmla="*/ 182137 w 192119"/>
                <a:gd name="connsiteY6" fmla="*/ 38433 h 116985"/>
                <a:gd name="connsiteX7" fmla="*/ 182395 w 192119"/>
                <a:gd name="connsiteY7" fmla="*/ 40681 h 116985"/>
                <a:gd name="connsiteX8" fmla="*/ 182185 w 192119"/>
                <a:gd name="connsiteY8" fmla="*/ 43310 h 116985"/>
                <a:gd name="connsiteX9" fmla="*/ 181766 w 192119"/>
                <a:gd name="connsiteY9" fmla="*/ 44663 h 116985"/>
                <a:gd name="connsiteX10" fmla="*/ 180375 w 192119"/>
                <a:gd name="connsiteY10" fmla="*/ 46225 h 116985"/>
                <a:gd name="connsiteX11" fmla="*/ 179165 w 192119"/>
                <a:gd name="connsiteY11" fmla="*/ 50178 h 116985"/>
                <a:gd name="connsiteX12" fmla="*/ 178994 w 192119"/>
                <a:gd name="connsiteY12" fmla="*/ 53930 h 116985"/>
                <a:gd name="connsiteX13" fmla="*/ 177089 w 192119"/>
                <a:gd name="connsiteY13" fmla="*/ 60408 h 116985"/>
                <a:gd name="connsiteX14" fmla="*/ 177518 w 192119"/>
                <a:gd name="connsiteY14" fmla="*/ 60522 h 116985"/>
                <a:gd name="connsiteX15" fmla="*/ 181537 w 192119"/>
                <a:gd name="connsiteY15" fmla="*/ 59360 h 116985"/>
                <a:gd name="connsiteX16" fmla="*/ 182671 w 192119"/>
                <a:gd name="connsiteY16" fmla="*/ 60027 h 116985"/>
                <a:gd name="connsiteX17" fmla="*/ 183556 w 192119"/>
                <a:gd name="connsiteY17" fmla="*/ 61446 h 116985"/>
                <a:gd name="connsiteX18" fmla="*/ 183842 w 192119"/>
                <a:gd name="connsiteY18" fmla="*/ 65494 h 116985"/>
                <a:gd name="connsiteX19" fmla="*/ 185157 w 192119"/>
                <a:gd name="connsiteY19" fmla="*/ 67313 h 116985"/>
                <a:gd name="connsiteX20" fmla="*/ 186500 w 192119"/>
                <a:gd name="connsiteY20" fmla="*/ 70152 h 116985"/>
                <a:gd name="connsiteX21" fmla="*/ 186919 w 192119"/>
                <a:gd name="connsiteY21" fmla="*/ 72352 h 116985"/>
                <a:gd name="connsiteX22" fmla="*/ 189481 w 192119"/>
                <a:gd name="connsiteY22" fmla="*/ 74971 h 116985"/>
                <a:gd name="connsiteX23" fmla="*/ 189681 w 192119"/>
                <a:gd name="connsiteY23" fmla="*/ 76676 h 116985"/>
                <a:gd name="connsiteX24" fmla="*/ 191243 w 192119"/>
                <a:gd name="connsiteY24" fmla="*/ 82648 h 116985"/>
                <a:gd name="connsiteX25" fmla="*/ 191843 w 192119"/>
                <a:gd name="connsiteY25" fmla="*/ 86077 h 116985"/>
                <a:gd name="connsiteX26" fmla="*/ 192120 w 192119"/>
                <a:gd name="connsiteY26" fmla="*/ 88735 h 116985"/>
                <a:gd name="connsiteX27" fmla="*/ 191358 w 192119"/>
                <a:gd name="connsiteY27" fmla="*/ 92097 h 116985"/>
                <a:gd name="connsiteX28" fmla="*/ 190672 w 192119"/>
                <a:gd name="connsiteY28" fmla="*/ 94364 h 116985"/>
                <a:gd name="connsiteX29" fmla="*/ 189872 w 192119"/>
                <a:gd name="connsiteY29" fmla="*/ 94221 h 116985"/>
                <a:gd name="connsiteX30" fmla="*/ 187576 w 192119"/>
                <a:gd name="connsiteY30" fmla="*/ 94821 h 116985"/>
                <a:gd name="connsiteX31" fmla="*/ 183947 w 192119"/>
                <a:gd name="connsiteY31" fmla="*/ 97555 h 116985"/>
                <a:gd name="connsiteX32" fmla="*/ 178546 w 192119"/>
                <a:gd name="connsiteY32" fmla="*/ 103984 h 116985"/>
                <a:gd name="connsiteX33" fmla="*/ 177155 w 192119"/>
                <a:gd name="connsiteY33" fmla="*/ 105404 h 116985"/>
                <a:gd name="connsiteX34" fmla="*/ 175746 w 192119"/>
                <a:gd name="connsiteY34" fmla="*/ 110271 h 116985"/>
                <a:gd name="connsiteX35" fmla="*/ 175403 w 192119"/>
                <a:gd name="connsiteY35" fmla="*/ 110766 h 116985"/>
                <a:gd name="connsiteX36" fmla="*/ 172260 w 192119"/>
                <a:gd name="connsiteY36" fmla="*/ 110547 h 116985"/>
                <a:gd name="connsiteX37" fmla="*/ 171402 w 192119"/>
                <a:gd name="connsiteY37" fmla="*/ 110433 h 116985"/>
                <a:gd name="connsiteX38" fmla="*/ 168260 w 192119"/>
                <a:gd name="connsiteY38" fmla="*/ 110528 h 116985"/>
                <a:gd name="connsiteX39" fmla="*/ 161392 w 192119"/>
                <a:gd name="connsiteY39" fmla="*/ 109261 h 116985"/>
                <a:gd name="connsiteX40" fmla="*/ 158735 w 192119"/>
                <a:gd name="connsiteY40" fmla="*/ 110099 h 116985"/>
                <a:gd name="connsiteX41" fmla="*/ 155248 w 192119"/>
                <a:gd name="connsiteY41" fmla="*/ 115014 h 116985"/>
                <a:gd name="connsiteX42" fmla="*/ 153886 w 192119"/>
                <a:gd name="connsiteY42" fmla="*/ 115738 h 116985"/>
                <a:gd name="connsiteX43" fmla="*/ 149838 w 192119"/>
                <a:gd name="connsiteY43" fmla="*/ 116414 h 116985"/>
                <a:gd name="connsiteX44" fmla="*/ 149123 w 192119"/>
                <a:gd name="connsiteY44" fmla="*/ 116986 h 116985"/>
                <a:gd name="connsiteX45" fmla="*/ 147771 w 192119"/>
                <a:gd name="connsiteY45" fmla="*/ 116757 h 116985"/>
                <a:gd name="connsiteX46" fmla="*/ 143980 w 192119"/>
                <a:gd name="connsiteY46" fmla="*/ 115271 h 116985"/>
                <a:gd name="connsiteX47" fmla="*/ 140780 w 192119"/>
                <a:gd name="connsiteY47" fmla="*/ 113062 h 116985"/>
                <a:gd name="connsiteX48" fmla="*/ 138855 w 192119"/>
                <a:gd name="connsiteY48" fmla="*/ 110137 h 116985"/>
                <a:gd name="connsiteX49" fmla="*/ 135541 w 192119"/>
                <a:gd name="connsiteY49" fmla="*/ 106108 h 116985"/>
                <a:gd name="connsiteX50" fmla="*/ 133369 w 192119"/>
                <a:gd name="connsiteY50" fmla="*/ 104051 h 116985"/>
                <a:gd name="connsiteX51" fmla="*/ 129950 w 192119"/>
                <a:gd name="connsiteY51" fmla="*/ 101470 h 116985"/>
                <a:gd name="connsiteX52" fmla="*/ 124254 w 192119"/>
                <a:gd name="connsiteY52" fmla="*/ 96183 h 116985"/>
                <a:gd name="connsiteX53" fmla="*/ 122187 w 192119"/>
                <a:gd name="connsiteY53" fmla="*/ 94974 h 116985"/>
                <a:gd name="connsiteX54" fmla="*/ 112052 w 192119"/>
                <a:gd name="connsiteY54" fmla="*/ 92669 h 116985"/>
                <a:gd name="connsiteX55" fmla="*/ 108395 w 192119"/>
                <a:gd name="connsiteY55" fmla="*/ 91612 h 116985"/>
                <a:gd name="connsiteX56" fmla="*/ 105023 w 192119"/>
                <a:gd name="connsiteY56" fmla="*/ 85601 h 116985"/>
                <a:gd name="connsiteX57" fmla="*/ 103937 w 192119"/>
                <a:gd name="connsiteY57" fmla="*/ 82096 h 116985"/>
                <a:gd name="connsiteX58" fmla="*/ 102280 w 192119"/>
                <a:gd name="connsiteY58" fmla="*/ 81477 h 116985"/>
                <a:gd name="connsiteX59" fmla="*/ 100460 w 192119"/>
                <a:gd name="connsiteY59" fmla="*/ 82210 h 116985"/>
                <a:gd name="connsiteX60" fmla="*/ 98498 w 192119"/>
                <a:gd name="connsiteY60" fmla="*/ 82915 h 116985"/>
                <a:gd name="connsiteX61" fmla="*/ 93936 w 192119"/>
                <a:gd name="connsiteY61" fmla="*/ 87011 h 116985"/>
                <a:gd name="connsiteX62" fmla="*/ 92459 w 192119"/>
                <a:gd name="connsiteY62" fmla="*/ 87592 h 116985"/>
                <a:gd name="connsiteX63" fmla="*/ 89631 w 192119"/>
                <a:gd name="connsiteY63" fmla="*/ 87639 h 116985"/>
                <a:gd name="connsiteX64" fmla="*/ 83020 w 192119"/>
                <a:gd name="connsiteY64" fmla="*/ 88544 h 116985"/>
                <a:gd name="connsiteX65" fmla="*/ 80010 w 192119"/>
                <a:gd name="connsiteY65" fmla="*/ 87049 h 116985"/>
                <a:gd name="connsiteX66" fmla="*/ 74791 w 192119"/>
                <a:gd name="connsiteY66" fmla="*/ 85420 h 116985"/>
                <a:gd name="connsiteX67" fmla="*/ 71952 w 192119"/>
                <a:gd name="connsiteY67" fmla="*/ 85163 h 116985"/>
                <a:gd name="connsiteX68" fmla="*/ 69438 w 192119"/>
                <a:gd name="connsiteY68" fmla="*/ 85201 h 116985"/>
                <a:gd name="connsiteX69" fmla="*/ 58293 w 192119"/>
                <a:gd name="connsiteY69" fmla="*/ 83601 h 116985"/>
                <a:gd name="connsiteX70" fmla="*/ 56265 w 192119"/>
                <a:gd name="connsiteY70" fmla="*/ 85354 h 116985"/>
                <a:gd name="connsiteX71" fmla="*/ 54207 w 192119"/>
                <a:gd name="connsiteY71" fmla="*/ 85668 h 116985"/>
                <a:gd name="connsiteX72" fmla="*/ 52216 w 192119"/>
                <a:gd name="connsiteY72" fmla="*/ 82953 h 116985"/>
                <a:gd name="connsiteX73" fmla="*/ 49730 w 192119"/>
                <a:gd name="connsiteY73" fmla="*/ 82182 h 116985"/>
                <a:gd name="connsiteX74" fmla="*/ 46997 w 192119"/>
                <a:gd name="connsiteY74" fmla="*/ 83106 h 116985"/>
                <a:gd name="connsiteX75" fmla="*/ 42015 w 192119"/>
                <a:gd name="connsiteY75" fmla="*/ 83210 h 116985"/>
                <a:gd name="connsiteX76" fmla="*/ 36109 w 192119"/>
                <a:gd name="connsiteY76" fmla="*/ 82353 h 116985"/>
                <a:gd name="connsiteX77" fmla="*/ 28594 w 192119"/>
                <a:gd name="connsiteY77" fmla="*/ 81686 h 116985"/>
                <a:gd name="connsiteX78" fmla="*/ 27480 w 192119"/>
                <a:gd name="connsiteY78" fmla="*/ 81972 h 116985"/>
                <a:gd name="connsiteX79" fmla="*/ 19126 w 192119"/>
                <a:gd name="connsiteY79" fmla="*/ 85582 h 116985"/>
                <a:gd name="connsiteX80" fmla="*/ 17069 w 192119"/>
                <a:gd name="connsiteY80" fmla="*/ 86125 h 116985"/>
                <a:gd name="connsiteX81" fmla="*/ 8011 w 192119"/>
                <a:gd name="connsiteY81" fmla="*/ 92192 h 116985"/>
                <a:gd name="connsiteX82" fmla="*/ 829 w 192119"/>
                <a:gd name="connsiteY82" fmla="*/ 97850 h 116985"/>
                <a:gd name="connsiteX83" fmla="*/ 0 w 192119"/>
                <a:gd name="connsiteY83" fmla="*/ 88802 h 116985"/>
                <a:gd name="connsiteX84" fmla="*/ 438 w 192119"/>
                <a:gd name="connsiteY84" fmla="*/ 70571 h 116985"/>
                <a:gd name="connsiteX85" fmla="*/ 1505 w 192119"/>
                <a:gd name="connsiteY85" fmla="*/ 61474 h 116985"/>
                <a:gd name="connsiteX86" fmla="*/ 6477 w 192119"/>
                <a:gd name="connsiteY86" fmla="*/ 56150 h 116985"/>
                <a:gd name="connsiteX87" fmla="*/ 8973 w 192119"/>
                <a:gd name="connsiteY87" fmla="*/ 51997 h 116985"/>
                <a:gd name="connsiteX88" fmla="*/ 10420 w 192119"/>
                <a:gd name="connsiteY88" fmla="*/ 46434 h 116985"/>
                <a:gd name="connsiteX89" fmla="*/ 10859 w 192119"/>
                <a:gd name="connsiteY89" fmla="*/ 41272 h 116985"/>
                <a:gd name="connsiteX90" fmla="*/ 11868 w 192119"/>
                <a:gd name="connsiteY90" fmla="*/ 36995 h 116985"/>
                <a:gd name="connsiteX91" fmla="*/ 19079 w 192119"/>
                <a:gd name="connsiteY91" fmla="*/ 24670 h 116985"/>
                <a:gd name="connsiteX92" fmla="*/ 24785 w 192119"/>
                <a:gd name="connsiteY92" fmla="*/ 23336 h 116985"/>
                <a:gd name="connsiteX93" fmla="*/ 32518 w 192119"/>
                <a:gd name="connsiteY93" fmla="*/ 19898 h 116985"/>
                <a:gd name="connsiteX94" fmla="*/ 41158 w 192119"/>
                <a:gd name="connsiteY94" fmla="*/ 17031 h 116985"/>
                <a:gd name="connsiteX95" fmla="*/ 42825 w 192119"/>
                <a:gd name="connsiteY95" fmla="*/ 20679 h 116985"/>
                <a:gd name="connsiteX96" fmla="*/ 43672 w 192119"/>
                <a:gd name="connsiteY96" fmla="*/ 23460 h 116985"/>
                <a:gd name="connsiteX97" fmla="*/ 54073 w 192119"/>
                <a:gd name="connsiteY97" fmla="*/ 33547 h 116985"/>
                <a:gd name="connsiteX98" fmla="*/ 56722 w 192119"/>
                <a:gd name="connsiteY98" fmla="*/ 36928 h 116985"/>
                <a:gd name="connsiteX99" fmla="*/ 60741 w 192119"/>
                <a:gd name="connsiteY99" fmla="*/ 48454 h 116985"/>
                <a:gd name="connsiteX100" fmla="*/ 70381 w 192119"/>
                <a:gd name="connsiteY100" fmla="*/ 54283 h 116985"/>
                <a:gd name="connsiteX101" fmla="*/ 77953 w 192119"/>
                <a:gd name="connsiteY101" fmla="*/ 52445 h 116985"/>
                <a:gd name="connsiteX102" fmla="*/ 81249 w 192119"/>
                <a:gd name="connsiteY102" fmla="*/ 49616 h 116985"/>
                <a:gd name="connsiteX103" fmla="*/ 87316 w 192119"/>
                <a:gd name="connsiteY103" fmla="*/ 44396 h 116985"/>
                <a:gd name="connsiteX104" fmla="*/ 90021 w 192119"/>
                <a:gd name="connsiteY104" fmla="*/ 40567 h 116985"/>
                <a:gd name="connsiteX105" fmla="*/ 90574 w 192119"/>
                <a:gd name="connsiteY105" fmla="*/ 36871 h 116985"/>
                <a:gd name="connsiteX106" fmla="*/ 89497 w 192119"/>
                <a:gd name="connsiteY106" fmla="*/ 20964 h 116985"/>
                <a:gd name="connsiteX107" fmla="*/ 87859 w 192119"/>
                <a:gd name="connsiteY107" fmla="*/ 14030 h 116985"/>
                <a:gd name="connsiteX108" fmla="*/ 88411 w 192119"/>
                <a:gd name="connsiteY108" fmla="*/ 9706 h 116985"/>
                <a:gd name="connsiteX109" fmla="*/ 89478 w 192119"/>
                <a:gd name="connsiteY109" fmla="*/ 9925 h 116985"/>
                <a:gd name="connsiteX110" fmla="*/ 92060 w 192119"/>
                <a:gd name="connsiteY110" fmla="*/ 7829 h 116985"/>
                <a:gd name="connsiteX111" fmla="*/ 100527 w 192119"/>
                <a:gd name="connsiteY111" fmla="*/ 3943 h 116985"/>
                <a:gd name="connsiteX112" fmla="*/ 102222 w 192119"/>
                <a:gd name="connsiteY112" fmla="*/ 3762 h 116985"/>
                <a:gd name="connsiteX113" fmla="*/ 104156 w 192119"/>
                <a:gd name="connsiteY113" fmla="*/ 2972 h 116985"/>
                <a:gd name="connsiteX114" fmla="*/ 109490 w 192119"/>
                <a:gd name="connsiteY114" fmla="*/ 0 h 116985"/>
                <a:gd name="connsiteX115" fmla="*/ 111214 w 192119"/>
                <a:gd name="connsiteY115" fmla="*/ 1581 h 116985"/>
                <a:gd name="connsiteX116" fmla="*/ 112643 w 192119"/>
                <a:gd name="connsiteY116" fmla="*/ 3372 h 116985"/>
                <a:gd name="connsiteX117" fmla="*/ 113424 w 192119"/>
                <a:gd name="connsiteY117" fmla="*/ 3391 h 116985"/>
                <a:gd name="connsiteX118" fmla="*/ 113815 w 192119"/>
                <a:gd name="connsiteY118" fmla="*/ 2724 h 116985"/>
                <a:gd name="connsiteX119" fmla="*/ 113710 w 192119"/>
                <a:gd name="connsiteY119" fmla="*/ 1572 h 116985"/>
                <a:gd name="connsiteX120" fmla="*/ 114081 w 192119"/>
                <a:gd name="connsiteY120" fmla="*/ 753 h 116985"/>
                <a:gd name="connsiteX121" fmla="*/ 115614 w 192119"/>
                <a:gd name="connsiteY121" fmla="*/ 1210 h 116985"/>
                <a:gd name="connsiteX122" fmla="*/ 121797 w 192119"/>
                <a:gd name="connsiteY122" fmla="*/ 6077 h 116985"/>
                <a:gd name="connsiteX123" fmla="*/ 124168 w 192119"/>
                <a:gd name="connsiteY123" fmla="*/ 7220 h 116985"/>
                <a:gd name="connsiteX124" fmla="*/ 125797 w 192119"/>
                <a:gd name="connsiteY124" fmla="*/ 7534 h 116985"/>
                <a:gd name="connsiteX125" fmla="*/ 127740 w 192119"/>
                <a:gd name="connsiteY125" fmla="*/ 9811 h 116985"/>
                <a:gd name="connsiteX126" fmla="*/ 133017 w 192119"/>
                <a:gd name="connsiteY126" fmla="*/ 11325 h 116985"/>
                <a:gd name="connsiteX127" fmla="*/ 133665 w 192119"/>
                <a:gd name="connsiteY127" fmla="*/ 12497 h 116985"/>
                <a:gd name="connsiteX128" fmla="*/ 134064 w 192119"/>
                <a:gd name="connsiteY128" fmla="*/ 13964 h 116985"/>
                <a:gd name="connsiteX129" fmla="*/ 139008 w 192119"/>
                <a:gd name="connsiteY129" fmla="*/ 20098 h 116985"/>
                <a:gd name="connsiteX130" fmla="*/ 141227 w 192119"/>
                <a:gd name="connsiteY130" fmla="*/ 23174 h 116985"/>
                <a:gd name="connsiteX131" fmla="*/ 145609 w 192119"/>
                <a:gd name="connsiteY131" fmla="*/ 25994 h 116985"/>
                <a:gd name="connsiteX132" fmla="*/ 147495 w 192119"/>
                <a:gd name="connsiteY132" fmla="*/ 26661 h 116985"/>
                <a:gd name="connsiteX133" fmla="*/ 155172 w 192119"/>
                <a:gd name="connsiteY133" fmla="*/ 23784 h 116985"/>
                <a:gd name="connsiteX134" fmla="*/ 157306 w 192119"/>
                <a:gd name="connsiteY134" fmla="*/ 22793 h 116985"/>
                <a:gd name="connsiteX135" fmla="*/ 159078 w 192119"/>
                <a:gd name="connsiteY135" fmla="*/ 22774 h 116985"/>
                <a:gd name="connsiteX136" fmla="*/ 160877 w 192119"/>
                <a:gd name="connsiteY136" fmla="*/ 24289 h 116985"/>
                <a:gd name="connsiteX137" fmla="*/ 164992 w 192119"/>
                <a:gd name="connsiteY137" fmla="*/ 26298 h 116985"/>
                <a:gd name="connsiteX138" fmla="*/ 168716 w 192119"/>
                <a:gd name="connsiteY138" fmla="*/ 26937 h 11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92119" h="116985">
                  <a:moveTo>
                    <a:pt x="169393" y="26803"/>
                  </a:moveTo>
                  <a:lnTo>
                    <a:pt x="172546" y="27003"/>
                  </a:lnTo>
                  <a:lnTo>
                    <a:pt x="173650" y="27794"/>
                  </a:lnTo>
                  <a:lnTo>
                    <a:pt x="174393" y="31680"/>
                  </a:lnTo>
                  <a:lnTo>
                    <a:pt x="177975" y="34738"/>
                  </a:lnTo>
                  <a:lnTo>
                    <a:pt x="181290" y="37262"/>
                  </a:lnTo>
                  <a:lnTo>
                    <a:pt x="182137" y="38433"/>
                  </a:lnTo>
                  <a:lnTo>
                    <a:pt x="182395" y="40681"/>
                  </a:lnTo>
                  <a:lnTo>
                    <a:pt x="182185" y="43310"/>
                  </a:lnTo>
                  <a:lnTo>
                    <a:pt x="181766" y="44663"/>
                  </a:lnTo>
                  <a:lnTo>
                    <a:pt x="180375" y="46225"/>
                  </a:lnTo>
                  <a:lnTo>
                    <a:pt x="179165" y="50178"/>
                  </a:lnTo>
                  <a:lnTo>
                    <a:pt x="178994" y="53930"/>
                  </a:lnTo>
                  <a:lnTo>
                    <a:pt x="177089" y="60408"/>
                  </a:lnTo>
                  <a:lnTo>
                    <a:pt x="177518" y="60522"/>
                  </a:lnTo>
                  <a:lnTo>
                    <a:pt x="181537" y="59360"/>
                  </a:lnTo>
                  <a:lnTo>
                    <a:pt x="182671" y="60027"/>
                  </a:lnTo>
                  <a:lnTo>
                    <a:pt x="183556" y="61446"/>
                  </a:lnTo>
                  <a:lnTo>
                    <a:pt x="183842" y="65494"/>
                  </a:lnTo>
                  <a:lnTo>
                    <a:pt x="185157" y="67313"/>
                  </a:lnTo>
                  <a:lnTo>
                    <a:pt x="186500" y="70152"/>
                  </a:lnTo>
                  <a:lnTo>
                    <a:pt x="186919" y="72352"/>
                  </a:lnTo>
                  <a:lnTo>
                    <a:pt x="189481" y="74971"/>
                  </a:lnTo>
                  <a:lnTo>
                    <a:pt x="189681" y="76676"/>
                  </a:lnTo>
                  <a:lnTo>
                    <a:pt x="191243" y="82648"/>
                  </a:lnTo>
                  <a:lnTo>
                    <a:pt x="191843" y="86077"/>
                  </a:lnTo>
                  <a:lnTo>
                    <a:pt x="192120" y="88735"/>
                  </a:lnTo>
                  <a:lnTo>
                    <a:pt x="191358" y="92097"/>
                  </a:lnTo>
                  <a:lnTo>
                    <a:pt x="190672" y="94364"/>
                  </a:lnTo>
                  <a:lnTo>
                    <a:pt x="189872" y="94221"/>
                  </a:lnTo>
                  <a:lnTo>
                    <a:pt x="187576" y="94821"/>
                  </a:lnTo>
                  <a:lnTo>
                    <a:pt x="183947" y="97555"/>
                  </a:lnTo>
                  <a:lnTo>
                    <a:pt x="178546" y="103984"/>
                  </a:lnTo>
                  <a:lnTo>
                    <a:pt x="177155" y="105404"/>
                  </a:lnTo>
                  <a:lnTo>
                    <a:pt x="175746" y="110271"/>
                  </a:lnTo>
                  <a:lnTo>
                    <a:pt x="175403" y="110766"/>
                  </a:lnTo>
                  <a:lnTo>
                    <a:pt x="172260" y="110547"/>
                  </a:lnTo>
                  <a:lnTo>
                    <a:pt x="171402" y="110433"/>
                  </a:lnTo>
                  <a:lnTo>
                    <a:pt x="168260" y="110528"/>
                  </a:lnTo>
                  <a:lnTo>
                    <a:pt x="161392" y="109261"/>
                  </a:lnTo>
                  <a:lnTo>
                    <a:pt x="158735" y="110099"/>
                  </a:lnTo>
                  <a:lnTo>
                    <a:pt x="155248" y="115014"/>
                  </a:lnTo>
                  <a:lnTo>
                    <a:pt x="153886" y="115738"/>
                  </a:lnTo>
                  <a:lnTo>
                    <a:pt x="149838" y="116414"/>
                  </a:lnTo>
                  <a:lnTo>
                    <a:pt x="149123" y="116986"/>
                  </a:lnTo>
                  <a:lnTo>
                    <a:pt x="147771" y="116757"/>
                  </a:lnTo>
                  <a:lnTo>
                    <a:pt x="143980" y="115271"/>
                  </a:lnTo>
                  <a:lnTo>
                    <a:pt x="140780" y="113062"/>
                  </a:lnTo>
                  <a:lnTo>
                    <a:pt x="138855" y="110137"/>
                  </a:lnTo>
                  <a:lnTo>
                    <a:pt x="135541" y="106108"/>
                  </a:lnTo>
                  <a:lnTo>
                    <a:pt x="133369" y="104051"/>
                  </a:lnTo>
                  <a:lnTo>
                    <a:pt x="129950" y="101470"/>
                  </a:lnTo>
                  <a:lnTo>
                    <a:pt x="124254" y="96183"/>
                  </a:lnTo>
                  <a:lnTo>
                    <a:pt x="122187" y="94974"/>
                  </a:lnTo>
                  <a:lnTo>
                    <a:pt x="112052" y="92669"/>
                  </a:lnTo>
                  <a:lnTo>
                    <a:pt x="108395" y="91612"/>
                  </a:lnTo>
                  <a:lnTo>
                    <a:pt x="105023" y="85601"/>
                  </a:lnTo>
                  <a:lnTo>
                    <a:pt x="103937" y="82096"/>
                  </a:lnTo>
                  <a:lnTo>
                    <a:pt x="102280" y="81477"/>
                  </a:lnTo>
                  <a:lnTo>
                    <a:pt x="100460" y="82210"/>
                  </a:lnTo>
                  <a:lnTo>
                    <a:pt x="98498" y="82915"/>
                  </a:lnTo>
                  <a:lnTo>
                    <a:pt x="93936" y="87011"/>
                  </a:lnTo>
                  <a:lnTo>
                    <a:pt x="92459" y="87592"/>
                  </a:lnTo>
                  <a:lnTo>
                    <a:pt x="89631" y="87639"/>
                  </a:lnTo>
                  <a:lnTo>
                    <a:pt x="83020" y="88544"/>
                  </a:lnTo>
                  <a:lnTo>
                    <a:pt x="80010" y="87049"/>
                  </a:lnTo>
                  <a:lnTo>
                    <a:pt x="74791" y="85420"/>
                  </a:lnTo>
                  <a:lnTo>
                    <a:pt x="71952" y="85163"/>
                  </a:lnTo>
                  <a:lnTo>
                    <a:pt x="69438" y="85201"/>
                  </a:lnTo>
                  <a:lnTo>
                    <a:pt x="58293" y="83601"/>
                  </a:lnTo>
                  <a:lnTo>
                    <a:pt x="56265" y="85354"/>
                  </a:lnTo>
                  <a:lnTo>
                    <a:pt x="54207" y="85668"/>
                  </a:lnTo>
                  <a:lnTo>
                    <a:pt x="52216" y="82953"/>
                  </a:lnTo>
                  <a:lnTo>
                    <a:pt x="49730" y="82182"/>
                  </a:lnTo>
                  <a:lnTo>
                    <a:pt x="46997" y="83106"/>
                  </a:lnTo>
                  <a:lnTo>
                    <a:pt x="42015" y="83210"/>
                  </a:lnTo>
                  <a:lnTo>
                    <a:pt x="36109" y="82353"/>
                  </a:lnTo>
                  <a:lnTo>
                    <a:pt x="28594" y="81686"/>
                  </a:lnTo>
                  <a:lnTo>
                    <a:pt x="27480" y="81972"/>
                  </a:lnTo>
                  <a:lnTo>
                    <a:pt x="19126" y="85582"/>
                  </a:lnTo>
                  <a:lnTo>
                    <a:pt x="17069" y="86125"/>
                  </a:lnTo>
                  <a:lnTo>
                    <a:pt x="8011" y="92192"/>
                  </a:lnTo>
                  <a:lnTo>
                    <a:pt x="829" y="97850"/>
                  </a:lnTo>
                  <a:lnTo>
                    <a:pt x="0" y="88802"/>
                  </a:lnTo>
                  <a:lnTo>
                    <a:pt x="438" y="70571"/>
                  </a:lnTo>
                  <a:lnTo>
                    <a:pt x="1505" y="61474"/>
                  </a:lnTo>
                  <a:lnTo>
                    <a:pt x="6477" y="56150"/>
                  </a:lnTo>
                  <a:lnTo>
                    <a:pt x="8973" y="51997"/>
                  </a:lnTo>
                  <a:lnTo>
                    <a:pt x="10420" y="46434"/>
                  </a:lnTo>
                  <a:lnTo>
                    <a:pt x="10859" y="41272"/>
                  </a:lnTo>
                  <a:lnTo>
                    <a:pt x="11868" y="36995"/>
                  </a:lnTo>
                  <a:lnTo>
                    <a:pt x="19079" y="24670"/>
                  </a:lnTo>
                  <a:lnTo>
                    <a:pt x="24785" y="23336"/>
                  </a:lnTo>
                  <a:lnTo>
                    <a:pt x="32518" y="19898"/>
                  </a:lnTo>
                  <a:lnTo>
                    <a:pt x="41158" y="17031"/>
                  </a:lnTo>
                  <a:lnTo>
                    <a:pt x="42825" y="20679"/>
                  </a:lnTo>
                  <a:lnTo>
                    <a:pt x="43672" y="23460"/>
                  </a:lnTo>
                  <a:lnTo>
                    <a:pt x="54073" y="33547"/>
                  </a:lnTo>
                  <a:lnTo>
                    <a:pt x="56722" y="36928"/>
                  </a:lnTo>
                  <a:lnTo>
                    <a:pt x="60741" y="48454"/>
                  </a:lnTo>
                  <a:lnTo>
                    <a:pt x="70381" y="54283"/>
                  </a:lnTo>
                  <a:lnTo>
                    <a:pt x="77953" y="52445"/>
                  </a:lnTo>
                  <a:lnTo>
                    <a:pt x="81249" y="49616"/>
                  </a:lnTo>
                  <a:lnTo>
                    <a:pt x="87316" y="44396"/>
                  </a:lnTo>
                  <a:lnTo>
                    <a:pt x="90021" y="40567"/>
                  </a:lnTo>
                  <a:lnTo>
                    <a:pt x="90574" y="36871"/>
                  </a:lnTo>
                  <a:lnTo>
                    <a:pt x="89497" y="20964"/>
                  </a:lnTo>
                  <a:lnTo>
                    <a:pt x="87859" y="14030"/>
                  </a:lnTo>
                  <a:lnTo>
                    <a:pt x="88411" y="9706"/>
                  </a:lnTo>
                  <a:lnTo>
                    <a:pt x="89478" y="9925"/>
                  </a:lnTo>
                  <a:lnTo>
                    <a:pt x="92060" y="7829"/>
                  </a:lnTo>
                  <a:lnTo>
                    <a:pt x="100527" y="3943"/>
                  </a:lnTo>
                  <a:lnTo>
                    <a:pt x="102222" y="3762"/>
                  </a:lnTo>
                  <a:lnTo>
                    <a:pt x="104156" y="2972"/>
                  </a:lnTo>
                  <a:lnTo>
                    <a:pt x="109490" y="0"/>
                  </a:lnTo>
                  <a:lnTo>
                    <a:pt x="111214" y="1581"/>
                  </a:lnTo>
                  <a:lnTo>
                    <a:pt x="112643" y="3372"/>
                  </a:lnTo>
                  <a:lnTo>
                    <a:pt x="113424" y="3391"/>
                  </a:lnTo>
                  <a:lnTo>
                    <a:pt x="113815" y="2724"/>
                  </a:lnTo>
                  <a:lnTo>
                    <a:pt x="113710" y="1572"/>
                  </a:lnTo>
                  <a:lnTo>
                    <a:pt x="114081" y="753"/>
                  </a:lnTo>
                  <a:lnTo>
                    <a:pt x="115614" y="1210"/>
                  </a:lnTo>
                  <a:lnTo>
                    <a:pt x="121797" y="6077"/>
                  </a:lnTo>
                  <a:lnTo>
                    <a:pt x="124168" y="7220"/>
                  </a:lnTo>
                  <a:lnTo>
                    <a:pt x="125797" y="7534"/>
                  </a:lnTo>
                  <a:lnTo>
                    <a:pt x="127740" y="9811"/>
                  </a:lnTo>
                  <a:lnTo>
                    <a:pt x="133017" y="11325"/>
                  </a:lnTo>
                  <a:lnTo>
                    <a:pt x="133665" y="12497"/>
                  </a:lnTo>
                  <a:lnTo>
                    <a:pt x="134064" y="13964"/>
                  </a:lnTo>
                  <a:lnTo>
                    <a:pt x="139008" y="20098"/>
                  </a:lnTo>
                  <a:lnTo>
                    <a:pt x="141227" y="23174"/>
                  </a:lnTo>
                  <a:lnTo>
                    <a:pt x="145609" y="25994"/>
                  </a:lnTo>
                  <a:lnTo>
                    <a:pt x="147495" y="26661"/>
                  </a:lnTo>
                  <a:lnTo>
                    <a:pt x="155172" y="23784"/>
                  </a:lnTo>
                  <a:lnTo>
                    <a:pt x="157306" y="22793"/>
                  </a:lnTo>
                  <a:lnTo>
                    <a:pt x="159078" y="22774"/>
                  </a:lnTo>
                  <a:lnTo>
                    <a:pt x="160877" y="24289"/>
                  </a:lnTo>
                  <a:lnTo>
                    <a:pt x="164992" y="26298"/>
                  </a:lnTo>
                  <a:lnTo>
                    <a:pt x="168716" y="26937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1" name="Forme libre : forme 37">
              <a:extLst>
                <a:ext uri="{FF2B5EF4-FFF2-40B4-BE49-F238E27FC236}">
                  <a16:creationId xmlns:a16="http://schemas.microsoft.com/office/drawing/2014/main" id="{F70F5B86-005B-8A57-651C-0D44227848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668792" y="5006628"/>
              <a:ext cx="5638" cy="5011"/>
            </a:xfrm>
            <a:custGeom>
              <a:avLst/>
              <a:gdLst>
                <a:gd name="connsiteX0" fmla="*/ 1629 w 1628"/>
                <a:gd name="connsiteY0" fmla="*/ 752 h 1447"/>
                <a:gd name="connsiteX1" fmla="*/ 0 w 1628"/>
                <a:gd name="connsiteY1" fmla="*/ 1448 h 1447"/>
                <a:gd name="connsiteX2" fmla="*/ 67 w 1628"/>
                <a:gd name="connsiteY2" fmla="*/ 648 h 1447"/>
                <a:gd name="connsiteX3" fmla="*/ 467 w 1628"/>
                <a:gd name="connsiteY3" fmla="*/ 210 h 1447"/>
                <a:gd name="connsiteX4" fmla="*/ 981 w 1628"/>
                <a:gd name="connsiteY4" fmla="*/ 0 h 1447"/>
                <a:gd name="connsiteX5" fmla="*/ 1581 w 1628"/>
                <a:gd name="connsiteY5" fmla="*/ 352 h 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28" h="1447">
                  <a:moveTo>
                    <a:pt x="1629" y="752"/>
                  </a:moveTo>
                  <a:lnTo>
                    <a:pt x="0" y="1448"/>
                  </a:lnTo>
                  <a:lnTo>
                    <a:pt x="67" y="648"/>
                  </a:lnTo>
                  <a:lnTo>
                    <a:pt x="467" y="210"/>
                  </a:lnTo>
                  <a:lnTo>
                    <a:pt x="981" y="0"/>
                  </a:lnTo>
                  <a:lnTo>
                    <a:pt x="1581" y="352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2" name="Forme libre : forme 38">
              <a:extLst>
                <a:ext uri="{FF2B5EF4-FFF2-40B4-BE49-F238E27FC236}">
                  <a16:creationId xmlns:a16="http://schemas.microsoft.com/office/drawing/2014/main" id="{7ECE43C6-8AD2-0CA7-6E5E-D9E1DE747E3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1450004" y="4379442"/>
              <a:ext cx="325134" cy="409510"/>
            </a:xfrm>
            <a:custGeom>
              <a:avLst/>
              <a:gdLst>
                <a:gd name="connsiteX0" fmla="*/ 42596 w 93887"/>
                <a:gd name="connsiteY0" fmla="*/ 118253 h 118252"/>
                <a:gd name="connsiteX1" fmla="*/ 41262 w 93887"/>
                <a:gd name="connsiteY1" fmla="*/ 115843 h 118252"/>
                <a:gd name="connsiteX2" fmla="*/ 39909 w 93887"/>
                <a:gd name="connsiteY2" fmla="*/ 113738 h 118252"/>
                <a:gd name="connsiteX3" fmla="*/ 38919 w 93887"/>
                <a:gd name="connsiteY3" fmla="*/ 112604 h 118252"/>
                <a:gd name="connsiteX4" fmla="*/ 39338 w 93887"/>
                <a:gd name="connsiteY4" fmla="*/ 112081 h 118252"/>
                <a:gd name="connsiteX5" fmla="*/ 40414 w 93887"/>
                <a:gd name="connsiteY5" fmla="*/ 111481 h 118252"/>
                <a:gd name="connsiteX6" fmla="*/ 41186 w 93887"/>
                <a:gd name="connsiteY6" fmla="*/ 110766 h 118252"/>
                <a:gd name="connsiteX7" fmla="*/ 41100 w 93887"/>
                <a:gd name="connsiteY7" fmla="*/ 108252 h 118252"/>
                <a:gd name="connsiteX8" fmla="*/ 40528 w 93887"/>
                <a:gd name="connsiteY8" fmla="*/ 105356 h 118252"/>
                <a:gd name="connsiteX9" fmla="*/ 40005 w 93887"/>
                <a:gd name="connsiteY9" fmla="*/ 103956 h 118252"/>
                <a:gd name="connsiteX10" fmla="*/ 39957 w 93887"/>
                <a:gd name="connsiteY10" fmla="*/ 101756 h 118252"/>
                <a:gd name="connsiteX11" fmla="*/ 39585 w 93887"/>
                <a:gd name="connsiteY11" fmla="*/ 98327 h 118252"/>
                <a:gd name="connsiteX12" fmla="*/ 40110 w 93887"/>
                <a:gd name="connsiteY12" fmla="*/ 91945 h 118252"/>
                <a:gd name="connsiteX13" fmla="*/ 42262 w 93887"/>
                <a:gd name="connsiteY13" fmla="*/ 83906 h 118252"/>
                <a:gd name="connsiteX14" fmla="*/ 43453 w 93887"/>
                <a:gd name="connsiteY14" fmla="*/ 79896 h 118252"/>
                <a:gd name="connsiteX15" fmla="*/ 42872 w 93887"/>
                <a:gd name="connsiteY15" fmla="*/ 77696 h 118252"/>
                <a:gd name="connsiteX16" fmla="*/ 43319 w 93887"/>
                <a:gd name="connsiteY16" fmla="*/ 72552 h 118252"/>
                <a:gd name="connsiteX17" fmla="*/ 42386 w 93887"/>
                <a:gd name="connsiteY17" fmla="*/ 70009 h 118252"/>
                <a:gd name="connsiteX18" fmla="*/ 40929 w 93887"/>
                <a:gd name="connsiteY18" fmla="*/ 66675 h 118252"/>
                <a:gd name="connsiteX19" fmla="*/ 38842 w 93887"/>
                <a:gd name="connsiteY19" fmla="*/ 59407 h 118252"/>
                <a:gd name="connsiteX20" fmla="*/ 36233 w 93887"/>
                <a:gd name="connsiteY20" fmla="*/ 56874 h 118252"/>
                <a:gd name="connsiteX21" fmla="*/ 33013 w 93887"/>
                <a:gd name="connsiteY21" fmla="*/ 54083 h 118252"/>
                <a:gd name="connsiteX22" fmla="*/ 31642 w 93887"/>
                <a:gd name="connsiteY22" fmla="*/ 51978 h 118252"/>
                <a:gd name="connsiteX23" fmla="*/ 30718 w 93887"/>
                <a:gd name="connsiteY23" fmla="*/ 49654 h 118252"/>
                <a:gd name="connsiteX24" fmla="*/ 28803 w 93887"/>
                <a:gd name="connsiteY24" fmla="*/ 47339 h 118252"/>
                <a:gd name="connsiteX25" fmla="*/ 26603 w 93887"/>
                <a:gd name="connsiteY25" fmla="*/ 45215 h 118252"/>
                <a:gd name="connsiteX26" fmla="*/ 23974 w 93887"/>
                <a:gd name="connsiteY26" fmla="*/ 39891 h 118252"/>
                <a:gd name="connsiteX27" fmla="*/ 22612 w 93887"/>
                <a:gd name="connsiteY27" fmla="*/ 37481 h 118252"/>
                <a:gd name="connsiteX28" fmla="*/ 22193 w 93887"/>
                <a:gd name="connsiteY28" fmla="*/ 36843 h 118252"/>
                <a:gd name="connsiteX29" fmla="*/ 19192 w 93887"/>
                <a:gd name="connsiteY29" fmla="*/ 33414 h 118252"/>
                <a:gd name="connsiteX30" fmla="*/ 17621 w 93887"/>
                <a:gd name="connsiteY30" fmla="*/ 30318 h 118252"/>
                <a:gd name="connsiteX31" fmla="*/ 16821 w 93887"/>
                <a:gd name="connsiteY31" fmla="*/ 27765 h 118252"/>
                <a:gd name="connsiteX32" fmla="*/ 16364 w 93887"/>
                <a:gd name="connsiteY32" fmla="*/ 25413 h 118252"/>
                <a:gd name="connsiteX33" fmla="*/ 14249 w 93887"/>
                <a:gd name="connsiteY33" fmla="*/ 20736 h 118252"/>
                <a:gd name="connsiteX34" fmla="*/ 12335 w 93887"/>
                <a:gd name="connsiteY34" fmla="*/ 17221 h 118252"/>
                <a:gd name="connsiteX35" fmla="*/ 10515 w 93887"/>
                <a:gd name="connsiteY35" fmla="*/ 14707 h 118252"/>
                <a:gd name="connsiteX36" fmla="*/ 9677 w 93887"/>
                <a:gd name="connsiteY36" fmla="*/ 12925 h 118252"/>
                <a:gd name="connsiteX37" fmla="*/ 7544 w 93887"/>
                <a:gd name="connsiteY37" fmla="*/ 10687 h 118252"/>
                <a:gd name="connsiteX38" fmla="*/ 4505 w 93887"/>
                <a:gd name="connsiteY38" fmla="*/ 8896 h 118252"/>
                <a:gd name="connsiteX39" fmla="*/ 2534 w 93887"/>
                <a:gd name="connsiteY39" fmla="*/ 8592 h 118252"/>
                <a:gd name="connsiteX40" fmla="*/ 0 w 93887"/>
                <a:gd name="connsiteY40" fmla="*/ 8734 h 118252"/>
                <a:gd name="connsiteX41" fmla="*/ 581 w 93887"/>
                <a:gd name="connsiteY41" fmla="*/ 7363 h 118252"/>
                <a:gd name="connsiteX42" fmla="*/ 6096 w 93887"/>
                <a:gd name="connsiteY42" fmla="*/ 3638 h 118252"/>
                <a:gd name="connsiteX43" fmla="*/ 7534 w 93887"/>
                <a:gd name="connsiteY43" fmla="*/ 4248 h 118252"/>
                <a:gd name="connsiteX44" fmla="*/ 10420 w 93887"/>
                <a:gd name="connsiteY44" fmla="*/ 4391 h 118252"/>
                <a:gd name="connsiteX45" fmla="*/ 16297 w 93887"/>
                <a:gd name="connsiteY45" fmla="*/ 4267 h 118252"/>
                <a:gd name="connsiteX46" fmla="*/ 19192 w 93887"/>
                <a:gd name="connsiteY46" fmla="*/ 1810 h 118252"/>
                <a:gd name="connsiteX47" fmla="*/ 20983 w 93887"/>
                <a:gd name="connsiteY47" fmla="*/ 2495 h 118252"/>
                <a:gd name="connsiteX48" fmla="*/ 22440 w 93887"/>
                <a:gd name="connsiteY48" fmla="*/ 1391 h 118252"/>
                <a:gd name="connsiteX49" fmla="*/ 24869 w 93887"/>
                <a:gd name="connsiteY49" fmla="*/ 0 h 118252"/>
                <a:gd name="connsiteX50" fmla="*/ 25222 w 93887"/>
                <a:gd name="connsiteY50" fmla="*/ 295 h 118252"/>
                <a:gd name="connsiteX51" fmla="*/ 25527 w 93887"/>
                <a:gd name="connsiteY51" fmla="*/ 515 h 118252"/>
                <a:gd name="connsiteX52" fmla="*/ 29280 w 93887"/>
                <a:gd name="connsiteY52" fmla="*/ 1133 h 118252"/>
                <a:gd name="connsiteX53" fmla="*/ 32109 w 93887"/>
                <a:gd name="connsiteY53" fmla="*/ 2467 h 118252"/>
                <a:gd name="connsiteX54" fmla="*/ 33994 w 93887"/>
                <a:gd name="connsiteY54" fmla="*/ 4515 h 118252"/>
                <a:gd name="connsiteX55" fmla="*/ 35947 w 93887"/>
                <a:gd name="connsiteY55" fmla="*/ 5782 h 118252"/>
                <a:gd name="connsiteX56" fmla="*/ 37947 w 93887"/>
                <a:gd name="connsiteY56" fmla="*/ 6277 h 118252"/>
                <a:gd name="connsiteX57" fmla="*/ 39062 w 93887"/>
                <a:gd name="connsiteY57" fmla="*/ 7306 h 118252"/>
                <a:gd name="connsiteX58" fmla="*/ 39281 w 93887"/>
                <a:gd name="connsiteY58" fmla="*/ 8849 h 118252"/>
                <a:gd name="connsiteX59" fmla="*/ 41167 w 93887"/>
                <a:gd name="connsiteY59" fmla="*/ 9611 h 118252"/>
                <a:gd name="connsiteX60" fmla="*/ 44701 w 93887"/>
                <a:gd name="connsiteY60" fmla="*/ 9592 h 118252"/>
                <a:gd name="connsiteX61" fmla="*/ 46196 w 93887"/>
                <a:gd name="connsiteY61" fmla="*/ 10611 h 118252"/>
                <a:gd name="connsiteX62" fmla="*/ 45662 w 93887"/>
                <a:gd name="connsiteY62" fmla="*/ 12678 h 118252"/>
                <a:gd name="connsiteX63" fmla="*/ 46025 w 93887"/>
                <a:gd name="connsiteY63" fmla="*/ 13354 h 118252"/>
                <a:gd name="connsiteX64" fmla="*/ 47282 w 93887"/>
                <a:gd name="connsiteY64" fmla="*/ 12649 h 118252"/>
                <a:gd name="connsiteX65" fmla="*/ 48234 w 93887"/>
                <a:gd name="connsiteY65" fmla="*/ 13259 h 118252"/>
                <a:gd name="connsiteX66" fmla="*/ 48730 w 93887"/>
                <a:gd name="connsiteY66" fmla="*/ 14783 h 118252"/>
                <a:gd name="connsiteX67" fmla="*/ 49301 w 93887"/>
                <a:gd name="connsiteY67" fmla="*/ 15507 h 118252"/>
                <a:gd name="connsiteX68" fmla="*/ 51102 w 93887"/>
                <a:gd name="connsiteY68" fmla="*/ 13116 h 118252"/>
                <a:gd name="connsiteX69" fmla="*/ 53006 w 93887"/>
                <a:gd name="connsiteY69" fmla="*/ 13354 h 118252"/>
                <a:gd name="connsiteX70" fmla="*/ 57607 w 93887"/>
                <a:gd name="connsiteY70" fmla="*/ 14345 h 118252"/>
                <a:gd name="connsiteX71" fmla="*/ 60064 w 93887"/>
                <a:gd name="connsiteY71" fmla="*/ 19288 h 118252"/>
                <a:gd name="connsiteX72" fmla="*/ 61598 w 93887"/>
                <a:gd name="connsiteY72" fmla="*/ 21060 h 118252"/>
                <a:gd name="connsiteX73" fmla="*/ 62941 w 93887"/>
                <a:gd name="connsiteY73" fmla="*/ 21784 h 118252"/>
                <a:gd name="connsiteX74" fmla="*/ 64636 w 93887"/>
                <a:gd name="connsiteY74" fmla="*/ 21012 h 118252"/>
                <a:gd name="connsiteX75" fmla="*/ 66141 w 93887"/>
                <a:gd name="connsiteY75" fmla="*/ 20098 h 118252"/>
                <a:gd name="connsiteX76" fmla="*/ 66999 w 93887"/>
                <a:gd name="connsiteY76" fmla="*/ 20526 h 118252"/>
                <a:gd name="connsiteX77" fmla="*/ 68866 w 93887"/>
                <a:gd name="connsiteY77" fmla="*/ 23794 h 118252"/>
                <a:gd name="connsiteX78" fmla="*/ 69294 w 93887"/>
                <a:gd name="connsiteY78" fmla="*/ 28061 h 118252"/>
                <a:gd name="connsiteX79" fmla="*/ 69285 w 93887"/>
                <a:gd name="connsiteY79" fmla="*/ 29775 h 118252"/>
                <a:gd name="connsiteX80" fmla="*/ 68627 w 93887"/>
                <a:gd name="connsiteY80" fmla="*/ 32671 h 118252"/>
                <a:gd name="connsiteX81" fmla="*/ 67684 w 93887"/>
                <a:gd name="connsiteY81" fmla="*/ 35738 h 118252"/>
                <a:gd name="connsiteX82" fmla="*/ 66941 w 93887"/>
                <a:gd name="connsiteY82" fmla="*/ 37738 h 118252"/>
                <a:gd name="connsiteX83" fmla="*/ 67256 w 93887"/>
                <a:gd name="connsiteY83" fmla="*/ 39338 h 118252"/>
                <a:gd name="connsiteX84" fmla="*/ 67923 w 93887"/>
                <a:gd name="connsiteY84" fmla="*/ 40681 h 118252"/>
                <a:gd name="connsiteX85" fmla="*/ 69009 w 93887"/>
                <a:gd name="connsiteY85" fmla="*/ 41120 h 118252"/>
                <a:gd name="connsiteX86" fmla="*/ 72571 w 93887"/>
                <a:gd name="connsiteY86" fmla="*/ 43825 h 118252"/>
                <a:gd name="connsiteX87" fmla="*/ 73904 w 93887"/>
                <a:gd name="connsiteY87" fmla="*/ 45711 h 118252"/>
                <a:gd name="connsiteX88" fmla="*/ 75838 w 93887"/>
                <a:gd name="connsiteY88" fmla="*/ 47101 h 118252"/>
                <a:gd name="connsiteX89" fmla="*/ 77305 w 93887"/>
                <a:gd name="connsiteY89" fmla="*/ 47177 h 118252"/>
                <a:gd name="connsiteX90" fmla="*/ 78067 w 93887"/>
                <a:gd name="connsiteY90" fmla="*/ 47949 h 118252"/>
                <a:gd name="connsiteX91" fmla="*/ 78334 w 93887"/>
                <a:gd name="connsiteY91" fmla="*/ 48901 h 118252"/>
                <a:gd name="connsiteX92" fmla="*/ 78133 w 93887"/>
                <a:gd name="connsiteY92" fmla="*/ 51302 h 118252"/>
                <a:gd name="connsiteX93" fmla="*/ 77314 w 93887"/>
                <a:gd name="connsiteY93" fmla="*/ 53550 h 118252"/>
                <a:gd name="connsiteX94" fmla="*/ 77419 w 93887"/>
                <a:gd name="connsiteY94" fmla="*/ 54998 h 118252"/>
                <a:gd name="connsiteX95" fmla="*/ 78714 w 93887"/>
                <a:gd name="connsiteY95" fmla="*/ 56712 h 118252"/>
                <a:gd name="connsiteX96" fmla="*/ 78857 w 93887"/>
                <a:gd name="connsiteY96" fmla="*/ 58693 h 118252"/>
                <a:gd name="connsiteX97" fmla="*/ 78943 w 93887"/>
                <a:gd name="connsiteY97" fmla="*/ 59969 h 118252"/>
                <a:gd name="connsiteX98" fmla="*/ 79629 w 93887"/>
                <a:gd name="connsiteY98" fmla="*/ 60951 h 118252"/>
                <a:gd name="connsiteX99" fmla="*/ 82896 w 93887"/>
                <a:gd name="connsiteY99" fmla="*/ 63132 h 118252"/>
                <a:gd name="connsiteX100" fmla="*/ 87116 w 93887"/>
                <a:gd name="connsiteY100" fmla="*/ 65237 h 118252"/>
                <a:gd name="connsiteX101" fmla="*/ 88192 w 93887"/>
                <a:gd name="connsiteY101" fmla="*/ 67046 h 118252"/>
                <a:gd name="connsiteX102" fmla="*/ 88849 w 93887"/>
                <a:gd name="connsiteY102" fmla="*/ 69332 h 118252"/>
                <a:gd name="connsiteX103" fmla="*/ 88639 w 93887"/>
                <a:gd name="connsiteY103" fmla="*/ 73171 h 118252"/>
                <a:gd name="connsiteX104" fmla="*/ 88363 w 93887"/>
                <a:gd name="connsiteY104" fmla="*/ 76505 h 118252"/>
                <a:gd name="connsiteX105" fmla="*/ 93888 w 93887"/>
                <a:gd name="connsiteY105" fmla="*/ 80982 h 118252"/>
                <a:gd name="connsiteX106" fmla="*/ 93259 w 93887"/>
                <a:gd name="connsiteY106" fmla="*/ 81820 h 118252"/>
                <a:gd name="connsiteX107" fmla="*/ 92402 w 93887"/>
                <a:gd name="connsiteY107" fmla="*/ 82734 h 118252"/>
                <a:gd name="connsiteX108" fmla="*/ 87125 w 93887"/>
                <a:gd name="connsiteY108" fmla="*/ 83410 h 118252"/>
                <a:gd name="connsiteX109" fmla="*/ 86049 w 93887"/>
                <a:gd name="connsiteY109" fmla="*/ 83782 h 118252"/>
                <a:gd name="connsiteX110" fmla="*/ 83753 w 93887"/>
                <a:gd name="connsiteY110" fmla="*/ 80420 h 118252"/>
                <a:gd name="connsiteX111" fmla="*/ 82543 w 93887"/>
                <a:gd name="connsiteY111" fmla="*/ 79991 h 118252"/>
                <a:gd name="connsiteX112" fmla="*/ 81419 w 93887"/>
                <a:gd name="connsiteY112" fmla="*/ 81229 h 118252"/>
                <a:gd name="connsiteX113" fmla="*/ 80086 w 93887"/>
                <a:gd name="connsiteY113" fmla="*/ 81915 h 118252"/>
                <a:gd name="connsiteX114" fmla="*/ 78495 w 93887"/>
                <a:gd name="connsiteY114" fmla="*/ 81572 h 118252"/>
                <a:gd name="connsiteX115" fmla="*/ 76781 w 93887"/>
                <a:gd name="connsiteY115" fmla="*/ 80534 h 118252"/>
                <a:gd name="connsiteX116" fmla="*/ 75914 w 93887"/>
                <a:gd name="connsiteY116" fmla="*/ 79800 h 118252"/>
                <a:gd name="connsiteX117" fmla="*/ 75219 w 93887"/>
                <a:gd name="connsiteY117" fmla="*/ 79715 h 118252"/>
                <a:gd name="connsiteX118" fmla="*/ 74152 w 93887"/>
                <a:gd name="connsiteY118" fmla="*/ 80448 h 118252"/>
                <a:gd name="connsiteX119" fmla="*/ 72733 w 93887"/>
                <a:gd name="connsiteY119" fmla="*/ 80134 h 118252"/>
                <a:gd name="connsiteX120" fmla="*/ 71799 w 93887"/>
                <a:gd name="connsiteY120" fmla="*/ 79305 h 118252"/>
                <a:gd name="connsiteX121" fmla="*/ 70456 w 93887"/>
                <a:gd name="connsiteY121" fmla="*/ 82163 h 118252"/>
                <a:gd name="connsiteX122" fmla="*/ 69637 w 93887"/>
                <a:gd name="connsiteY122" fmla="*/ 82763 h 118252"/>
                <a:gd name="connsiteX123" fmla="*/ 69123 w 93887"/>
                <a:gd name="connsiteY123" fmla="*/ 82677 h 118252"/>
                <a:gd name="connsiteX124" fmla="*/ 69018 w 93887"/>
                <a:gd name="connsiteY124" fmla="*/ 77819 h 118252"/>
                <a:gd name="connsiteX125" fmla="*/ 68627 w 93887"/>
                <a:gd name="connsiteY125" fmla="*/ 77086 h 118252"/>
                <a:gd name="connsiteX126" fmla="*/ 67560 w 93887"/>
                <a:gd name="connsiteY126" fmla="*/ 76962 h 118252"/>
                <a:gd name="connsiteX127" fmla="*/ 64989 w 93887"/>
                <a:gd name="connsiteY127" fmla="*/ 78124 h 118252"/>
                <a:gd name="connsiteX128" fmla="*/ 62541 w 93887"/>
                <a:gd name="connsiteY128" fmla="*/ 79620 h 118252"/>
                <a:gd name="connsiteX129" fmla="*/ 61712 w 93887"/>
                <a:gd name="connsiteY129" fmla="*/ 80944 h 118252"/>
                <a:gd name="connsiteX130" fmla="*/ 61798 w 93887"/>
                <a:gd name="connsiteY130" fmla="*/ 83334 h 118252"/>
                <a:gd name="connsiteX131" fmla="*/ 62150 w 93887"/>
                <a:gd name="connsiteY131" fmla="*/ 86182 h 118252"/>
                <a:gd name="connsiteX132" fmla="*/ 63817 w 93887"/>
                <a:gd name="connsiteY132" fmla="*/ 90497 h 118252"/>
                <a:gd name="connsiteX133" fmla="*/ 62903 w 93887"/>
                <a:gd name="connsiteY133" fmla="*/ 92373 h 118252"/>
                <a:gd name="connsiteX134" fmla="*/ 62255 w 93887"/>
                <a:gd name="connsiteY134" fmla="*/ 95364 h 118252"/>
                <a:gd name="connsiteX135" fmla="*/ 59636 w 93887"/>
                <a:gd name="connsiteY135" fmla="*/ 98098 h 118252"/>
                <a:gd name="connsiteX136" fmla="*/ 56664 w 93887"/>
                <a:gd name="connsiteY136" fmla="*/ 99689 h 118252"/>
                <a:gd name="connsiteX137" fmla="*/ 56416 w 93887"/>
                <a:gd name="connsiteY137" fmla="*/ 102946 h 118252"/>
                <a:gd name="connsiteX138" fmla="*/ 54769 w 93887"/>
                <a:gd name="connsiteY138" fmla="*/ 105166 h 118252"/>
                <a:gd name="connsiteX139" fmla="*/ 51949 w 93887"/>
                <a:gd name="connsiteY139" fmla="*/ 107385 h 118252"/>
                <a:gd name="connsiteX140" fmla="*/ 50063 w 93887"/>
                <a:gd name="connsiteY140" fmla="*/ 110061 h 118252"/>
                <a:gd name="connsiteX141" fmla="*/ 50539 w 93887"/>
                <a:gd name="connsiteY141" fmla="*/ 111881 h 118252"/>
                <a:gd name="connsiteX142" fmla="*/ 50654 w 93887"/>
                <a:gd name="connsiteY142" fmla="*/ 113614 h 118252"/>
                <a:gd name="connsiteX143" fmla="*/ 50330 w 93887"/>
                <a:gd name="connsiteY143" fmla="*/ 114786 h 118252"/>
                <a:gd name="connsiteX144" fmla="*/ 50263 w 93887"/>
                <a:gd name="connsiteY144" fmla="*/ 115691 h 118252"/>
                <a:gd name="connsiteX145" fmla="*/ 49520 w 93887"/>
                <a:gd name="connsiteY145" fmla="*/ 116091 h 118252"/>
                <a:gd name="connsiteX146" fmla="*/ 45215 w 93887"/>
                <a:gd name="connsiteY146" fmla="*/ 116424 h 118252"/>
                <a:gd name="connsiteX147" fmla="*/ 43996 w 93887"/>
                <a:gd name="connsiteY147" fmla="*/ 116986 h 11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93887" h="118252">
                  <a:moveTo>
                    <a:pt x="42596" y="118253"/>
                  </a:moveTo>
                  <a:lnTo>
                    <a:pt x="41262" y="115843"/>
                  </a:lnTo>
                  <a:lnTo>
                    <a:pt x="39909" y="113738"/>
                  </a:lnTo>
                  <a:lnTo>
                    <a:pt x="38919" y="112604"/>
                  </a:lnTo>
                  <a:lnTo>
                    <a:pt x="39338" y="112081"/>
                  </a:lnTo>
                  <a:lnTo>
                    <a:pt x="40414" y="111481"/>
                  </a:lnTo>
                  <a:lnTo>
                    <a:pt x="41186" y="110766"/>
                  </a:lnTo>
                  <a:lnTo>
                    <a:pt x="41100" y="108252"/>
                  </a:lnTo>
                  <a:lnTo>
                    <a:pt x="40528" y="105356"/>
                  </a:lnTo>
                  <a:lnTo>
                    <a:pt x="40005" y="103956"/>
                  </a:lnTo>
                  <a:lnTo>
                    <a:pt x="39957" y="101756"/>
                  </a:lnTo>
                  <a:lnTo>
                    <a:pt x="39585" y="98327"/>
                  </a:lnTo>
                  <a:lnTo>
                    <a:pt x="40110" y="91945"/>
                  </a:lnTo>
                  <a:lnTo>
                    <a:pt x="42262" y="83906"/>
                  </a:lnTo>
                  <a:lnTo>
                    <a:pt x="43453" y="79896"/>
                  </a:lnTo>
                  <a:lnTo>
                    <a:pt x="42872" y="77696"/>
                  </a:lnTo>
                  <a:lnTo>
                    <a:pt x="43319" y="72552"/>
                  </a:lnTo>
                  <a:lnTo>
                    <a:pt x="42386" y="70009"/>
                  </a:lnTo>
                  <a:lnTo>
                    <a:pt x="40929" y="66675"/>
                  </a:lnTo>
                  <a:lnTo>
                    <a:pt x="38842" y="59407"/>
                  </a:lnTo>
                  <a:lnTo>
                    <a:pt x="36233" y="56874"/>
                  </a:lnTo>
                  <a:lnTo>
                    <a:pt x="33013" y="54083"/>
                  </a:lnTo>
                  <a:lnTo>
                    <a:pt x="31642" y="51978"/>
                  </a:lnTo>
                  <a:lnTo>
                    <a:pt x="30718" y="49654"/>
                  </a:lnTo>
                  <a:lnTo>
                    <a:pt x="28803" y="47339"/>
                  </a:lnTo>
                  <a:lnTo>
                    <a:pt x="26603" y="45215"/>
                  </a:lnTo>
                  <a:lnTo>
                    <a:pt x="23974" y="39891"/>
                  </a:lnTo>
                  <a:lnTo>
                    <a:pt x="22612" y="37481"/>
                  </a:lnTo>
                  <a:lnTo>
                    <a:pt x="22193" y="36843"/>
                  </a:lnTo>
                  <a:lnTo>
                    <a:pt x="19192" y="33414"/>
                  </a:lnTo>
                  <a:lnTo>
                    <a:pt x="17621" y="30318"/>
                  </a:lnTo>
                  <a:lnTo>
                    <a:pt x="16821" y="27765"/>
                  </a:lnTo>
                  <a:lnTo>
                    <a:pt x="16364" y="25413"/>
                  </a:lnTo>
                  <a:lnTo>
                    <a:pt x="14249" y="20736"/>
                  </a:lnTo>
                  <a:lnTo>
                    <a:pt x="12335" y="17221"/>
                  </a:lnTo>
                  <a:lnTo>
                    <a:pt x="10515" y="14707"/>
                  </a:lnTo>
                  <a:lnTo>
                    <a:pt x="9677" y="12925"/>
                  </a:lnTo>
                  <a:lnTo>
                    <a:pt x="7544" y="10687"/>
                  </a:lnTo>
                  <a:lnTo>
                    <a:pt x="4505" y="8896"/>
                  </a:lnTo>
                  <a:lnTo>
                    <a:pt x="2534" y="8592"/>
                  </a:lnTo>
                  <a:lnTo>
                    <a:pt x="0" y="8734"/>
                  </a:lnTo>
                  <a:lnTo>
                    <a:pt x="581" y="7363"/>
                  </a:lnTo>
                  <a:lnTo>
                    <a:pt x="6096" y="3638"/>
                  </a:lnTo>
                  <a:lnTo>
                    <a:pt x="7534" y="4248"/>
                  </a:lnTo>
                  <a:lnTo>
                    <a:pt x="10420" y="4391"/>
                  </a:lnTo>
                  <a:lnTo>
                    <a:pt x="16297" y="4267"/>
                  </a:lnTo>
                  <a:lnTo>
                    <a:pt x="19192" y="1810"/>
                  </a:lnTo>
                  <a:lnTo>
                    <a:pt x="20983" y="2495"/>
                  </a:lnTo>
                  <a:lnTo>
                    <a:pt x="22440" y="1391"/>
                  </a:lnTo>
                  <a:lnTo>
                    <a:pt x="24869" y="0"/>
                  </a:lnTo>
                  <a:lnTo>
                    <a:pt x="25222" y="295"/>
                  </a:lnTo>
                  <a:lnTo>
                    <a:pt x="25527" y="515"/>
                  </a:lnTo>
                  <a:lnTo>
                    <a:pt x="29280" y="1133"/>
                  </a:lnTo>
                  <a:lnTo>
                    <a:pt x="32109" y="2467"/>
                  </a:lnTo>
                  <a:lnTo>
                    <a:pt x="33994" y="4515"/>
                  </a:lnTo>
                  <a:lnTo>
                    <a:pt x="35947" y="5782"/>
                  </a:lnTo>
                  <a:lnTo>
                    <a:pt x="37947" y="6277"/>
                  </a:lnTo>
                  <a:lnTo>
                    <a:pt x="39062" y="7306"/>
                  </a:lnTo>
                  <a:lnTo>
                    <a:pt x="39281" y="8849"/>
                  </a:lnTo>
                  <a:lnTo>
                    <a:pt x="41167" y="9611"/>
                  </a:lnTo>
                  <a:lnTo>
                    <a:pt x="44701" y="9592"/>
                  </a:lnTo>
                  <a:lnTo>
                    <a:pt x="46196" y="10611"/>
                  </a:lnTo>
                  <a:lnTo>
                    <a:pt x="45662" y="12678"/>
                  </a:lnTo>
                  <a:lnTo>
                    <a:pt x="46025" y="13354"/>
                  </a:lnTo>
                  <a:lnTo>
                    <a:pt x="47282" y="12649"/>
                  </a:lnTo>
                  <a:lnTo>
                    <a:pt x="48234" y="13259"/>
                  </a:lnTo>
                  <a:lnTo>
                    <a:pt x="48730" y="14783"/>
                  </a:lnTo>
                  <a:lnTo>
                    <a:pt x="49301" y="15507"/>
                  </a:lnTo>
                  <a:lnTo>
                    <a:pt x="51102" y="13116"/>
                  </a:lnTo>
                  <a:lnTo>
                    <a:pt x="53006" y="13354"/>
                  </a:lnTo>
                  <a:lnTo>
                    <a:pt x="57607" y="14345"/>
                  </a:lnTo>
                  <a:lnTo>
                    <a:pt x="60064" y="19288"/>
                  </a:lnTo>
                  <a:lnTo>
                    <a:pt x="61598" y="21060"/>
                  </a:lnTo>
                  <a:lnTo>
                    <a:pt x="62941" y="21784"/>
                  </a:lnTo>
                  <a:lnTo>
                    <a:pt x="64636" y="21012"/>
                  </a:lnTo>
                  <a:lnTo>
                    <a:pt x="66141" y="20098"/>
                  </a:lnTo>
                  <a:lnTo>
                    <a:pt x="66999" y="20526"/>
                  </a:lnTo>
                  <a:lnTo>
                    <a:pt x="68866" y="23794"/>
                  </a:lnTo>
                  <a:lnTo>
                    <a:pt x="69294" y="28061"/>
                  </a:lnTo>
                  <a:lnTo>
                    <a:pt x="69285" y="29775"/>
                  </a:lnTo>
                  <a:lnTo>
                    <a:pt x="68627" y="32671"/>
                  </a:lnTo>
                  <a:lnTo>
                    <a:pt x="67684" y="35738"/>
                  </a:lnTo>
                  <a:lnTo>
                    <a:pt x="66941" y="37738"/>
                  </a:lnTo>
                  <a:lnTo>
                    <a:pt x="67256" y="39338"/>
                  </a:lnTo>
                  <a:lnTo>
                    <a:pt x="67923" y="40681"/>
                  </a:lnTo>
                  <a:lnTo>
                    <a:pt x="69009" y="41120"/>
                  </a:lnTo>
                  <a:lnTo>
                    <a:pt x="72571" y="43825"/>
                  </a:lnTo>
                  <a:lnTo>
                    <a:pt x="73904" y="45711"/>
                  </a:lnTo>
                  <a:lnTo>
                    <a:pt x="75838" y="47101"/>
                  </a:lnTo>
                  <a:lnTo>
                    <a:pt x="77305" y="47177"/>
                  </a:lnTo>
                  <a:lnTo>
                    <a:pt x="78067" y="47949"/>
                  </a:lnTo>
                  <a:lnTo>
                    <a:pt x="78334" y="48901"/>
                  </a:lnTo>
                  <a:lnTo>
                    <a:pt x="78133" y="51302"/>
                  </a:lnTo>
                  <a:lnTo>
                    <a:pt x="77314" y="53550"/>
                  </a:lnTo>
                  <a:lnTo>
                    <a:pt x="77419" y="54998"/>
                  </a:lnTo>
                  <a:lnTo>
                    <a:pt x="78714" y="56712"/>
                  </a:lnTo>
                  <a:lnTo>
                    <a:pt x="78857" y="58693"/>
                  </a:lnTo>
                  <a:lnTo>
                    <a:pt x="78943" y="59969"/>
                  </a:lnTo>
                  <a:lnTo>
                    <a:pt x="79629" y="60951"/>
                  </a:lnTo>
                  <a:lnTo>
                    <a:pt x="82896" y="63132"/>
                  </a:lnTo>
                  <a:lnTo>
                    <a:pt x="87116" y="65237"/>
                  </a:lnTo>
                  <a:lnTo>
                    <a:pt x="88192" y="67046"/>
                  </a:lnTo>
                  <a:lnTo>
                    <a:pt x="88849" y="69332"/>
                  </a:lnTo>
                  <a:lnTo>
                    <a:pt x="88639" y="73171"/>
                  </a:lnTo>
                  <a:lnTo>
                    <a:pt x="88363" y="76505"/>
                  </a:lnTo>
                  <a:lnTo>
                    <a:pt x="93888" y="80982"/>
                  </a:lnTo>
                  <a:lnTo>
                    <a:pt x="93259" y="81820"/>
                  </a:lnTo>
                  <a:lnTo>
                    <a:pt x="92402" y="82734"/>
                  </a:lnTo>
                  <a:lnTo>
                    <a:pt x="87125" y="83410"/>
                  </a:lnTo>
                  <a:lnTo>
                    <a:pt x="86049" y="83782"/>
                  </a:lnTo>
                  <a:lnTo>
                    <a:pt x="83753" y="80420"/>
                  </a:lnTo>
                  <a:lnTo>
                    <a:pt x="82543" y="79991"/>
                  </a:lnTo>
                  <a:lnTo>
                    <a:pt x="81419" y="81229"/>
                  </a:lnTo>
                  <a:lnTo>
                    <a:pt x="80086" y="81915"/>
                  </a:lnTo>
                  <a:lnTo>
                    <a:pt x="78495" y="81572"/>
                  </a:lnTo>
                  <a:lnTo>
                    <a:pt x="76781" y="80534"/>
                  </a:lnTo>
                  <a:lnTo>
                    <a:pt x="75914" y="79800"/>
                  </a:lnTo>
                  <a:lnTo>
                    <a:pt x="75219" y="79715"/>
                  </a:lnTo>
                  <a:lnTo>
                    <a:pt x="74152" y="80448"/>
                  </a:lnTo>
                  <a:lnTo>
                    <a:pt x="72733" y="80134"/>
                  </a:lnTo>
                  <a:lnTo>
                    <a:pt x="71799" y="79305"/>
                  </a:lnTo>
                  <a:lnTo>
                    <a:pt x="70456" y="82163"/>
                  </a:lnTo>
                  <a:lnTo>
                    <a:pt x="69637" y="82763"/>
                  </a:lnTo>
                  <a:lnTo>
                    <a:pt x="69123" y="82677"/>
                  </a:lnTo>
                  <a:lnTo>
                    <a:pt x="69018" y="77819"/>
                  </a:lnTo>
                  <a:lnTo>
                    <a:pt x="68627" y="77086"/>
                  </a:lnTo>
                  <a:lnTo>
                    <a:pt x="67560" y="76962"/>
                  </a:lnTo>
                  <a:lnTo>
                    <a:pt x="64989" y="78124"/>
                  </a:lnTo>
                  <a:lnTo>
                    <a:pt x="62541" y="79620"/>
                  </a:lnTo>
                  <a:lnTo>
                    <a:pt x="61712" y="80944"/>
                  </a:lnTo>
                  <a:lnTo>
                    <a:pt x="61798" y="83334"/>
                  </a:lnTo>
                  <a:lnTo>
                    <a:pt x="62150" y="86182"/>
                  </a:lnTo>
                  <a:lnTo>
                    <a:pt x="63817" y="90497"/>
                  </a:lnTo>
                  <a:lnTo>
                    <a:pt x="62903" y="92373"/>
                  </a:lnTo>
                  <a:lnTo>
                    <a:pt x="62255" y="95364"/>
                  </a:lnTo>
                  <a:lnTo>
                    <a:pt x="59636" y="98098"/>
                  </a:lnTo>
                  <a:lnTo>
                    <a:pt x="56664" y="99689"/>
                  </a:lnTo>
                  <a:lnTo>
                    <a:pt x="56416" y="102946"/>
                  </a:lnTo>
                  <a:lnTo>
                    <a:pt x="54769" y="105166"/>
                  </a:lnTo>
                  <a:lnTo>
                    <a:pt x="51949" y="107385"/>
                  </a:lnTo>
                  <a:lnTo>
                    <a:pt x="50063" y="110061"/>
                  </a:lnTo>
                  <a:lnTo>
                    <a:pt x="50539" y="111881"/>
                  </a:lnTo>
                  <a:lnTo>
                    <a:pt x="50654" y="113614"/>
                  </a:lnTo>
                  <a:lnTo>
                    <a:pt x="50330" y="114786"/>
                  </a:lnTo>
                  <a:lnTo>
                    <a:pt x="50263" y="115691"/>
                  </a:lnTo>
                  <a:lnTo>
                    <a:pt x="49520" y="116091"/>
                  </a:lnTo>
                  <a:lnTo>
                    <a:pt x="45215" y="116424"/>
                  </a:lnTo>
                  <a:lnTo>
                    <a:pt x="43996" y="116986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3" name="Forme libre : forme 39">
              <a:extLst>
                <a:ext uri="{FF2B5EF4-FFF2-40B4-BE49-F238E27FC236}">
                  <a16:creationId xmlns:a16="http://schemas.microsoft.com/office/drawing/2014/main" id="{F18F45A3-B84C-7FE6-84DF-4E83EFCEFF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692527" y="5035752"/>
              <a:ext cx="176933" cy="210081"/>
            </a:xfrm>
            <a:custGeom>
              <a:avLst/>
              <a:gdLst>
                <a:gd name="connsiteX0" fmla="*/ 20260 w 51092"/>
                <a:gd name="connsiteY0" fmla="*/ 343 h 60664"/>
                <a:gd name="connsiteX1" fmla="*/ 20193 w 51092"/>
                <a:gd name="connsiteY1" fmla="*/ 791 h 60664"/>
                <a:gd name="connsiteX2" fmla="*/ 20317 w 51092"/>
                <a:gd name="connsiteY2" fmla="*/ 2114 h 60664"/>
                <a:gd name="connsiteX3" fmla="*/ 20917 w 51092"/>
                <a:gd name="connsiteY3" fmla="*/ 3400 h 60664"/>
                <a:gd name="connsiteX4" fmla="*/ 23041 w 51092"/>
                <a:gd name="connsiteY4" fmla="*/ 4715 h 60664"/>
                <a:gd name="connsiteX5" fmla="*/ 26156 w 51092"/>
                <a:gd name="connsiteY5" fmla="*/ 7325 h 60664"/>
                <a:gd name="connsiteX6" fmla="*/ 29813 w 51092"/>
                <a:gd name="connsiteY6" fmla="*/ 12106 h 60664"/>
                <a:gd name="connsiteX7" fmla="*/ 31490 w 51092"/>
                <a:gd name="connsiteY7" fmla="*/ 13516 h 60664"/>
                <a:gd name="connsiteX8" fmla="*/ 33004 w 51092"/>
                <a:gd name="connsiteY8" fmla="*/ 13868 h 60664"/>
                <a:gd name="connsiteX9" fmla="*/ 35948 w 51092"/>
                <a:gd name="connsiteY9" fmla="*/ 15840 h 60664"/>
                <a:gd name="connsiteX10" fmla="*/ 38005 w 51092"/>
                <a:gd name="connsiteY10" fmla="*/ 16326 h 60664"/>
                <a:gd name="connsiteX11" fmla="*/ 40300 w 51092"/>
                <a:gd name="connsiteY11" fmla="*/ 16869 h 60664"/>
                <a:gd name="connsiteX12" fmla="*/ 46282 w 51092"/>
                <a:gd name="connsiteY12" fmla="*/ 20993 h 60664"/>
                <a:gd name="connsiteX13" fmla="*/ 48978 w 51092"/>
                <a:gd name="connsiteY13" fmla="*/ 22193 h 60664"/>
                <a:gd name="connsiteX14" fmla="*/ 50883 w 51092"/>
                <a:gd name="connsiteY14" fmla="*/ 23746 h 60664"/>
                <a:gd name="connsiteX15" fmla="*/ 51092 w 51092"/>
                <a:gd name="connsiteY15" fmla="*/ 25203 h 60664"/>
                <a:gd name="connsiteX16" fmla="*/ 51007 w 51092"/>
                <a:gd name="connsiteY16" fmla="*/ 26108 h 60664"/>
                <a:gd name="connsiteX17" fmla="*/ 47549 w 51092"/>
                <a:gd name="connsiteY17" fmla="*/ 27156 h 60664"/>
                <a:gd name="connsiteX18" fmla="*/ 46949 w 51092"/>
                <a:gd name="connsiteY18" fmla="*/ 28765 h 60664"/>
                <a:gd name="connsiteX19" fmla="*/ 45272 w 51092"/>
                <a:gd name="connsiteY19" fmla="*/ 28575 h 60664"/>
                <a:gd name="connsiteX20" fmla="*/ 43244 w 51092"/>
                <a:gd name="connsiteY20" fmla="*/ 28565 h 60664"/>
                <a:gd name="connsiteX21" fmla="*/ 42586 w 51092"/>
                <a:gd name="connsiteY21" fmla="*/ 29585 h 60664"/>
                <a:gd name="connsiteX22" fmla="*/ 43558 w 51092"/>
                <a:gd name="connsiteY22" fmla="*/ 31261 h 60664"/>
                <a:gd name="connsiteX23" fmla="*/ 44187 w 51092"/>
                <a:gd name="connsiteY23" fmla="*/ 33223 h 60664"/>
                <a:gd name="connsiteX24" fmla="*/ 43682 w 51092"/>
                <a:gd name="connsiteY24" fmla="*/ 35919 h 60664"/>
                <a:gd name="connsiteX25" fmla="*/ 43510 w 51092"/>
                <a:gd name="connsiteY25" fmla="*/ 36271 h 60664"/>
                <a:gd name="connsiteX26" fmla="*/ 43025 w 51092"/>
                <a:gd name="connsiteY26" fmla="*/ 36176 h 60664"/>
                <a:gd name="connsiteX27" fmla="*/ 40167 w 51092"/>
                <a:gd name="connsiteY27" fmla="*/ 37738 h 60664"/>
                <a:gd name="connsiteX28" fmla="*/ 38052 w 51092"/>
                <a:gd name="connsiteY28" fmla="*/ 38471 h 60664"/>
                <a:gd name="connsiteX29" fmla="*/ 36138 w 51092"/>
                <a:gd name="connsiteY29" fmla="*/ 38843 h 60664"/>
                <a:gd name="connsiteX30" fmla="*/ 35233 w 51092"/>
                <a:gd name="connsiteY30" fmla="*/ 38090 h 60664"/>
                <a:gd name="connsiteX31" fmla="*/ 34786 w 51092"/>
                <a:gd name="connsiteY31" fmla="*/ 37071 h 60664"/>
                <a:gd name="connsiteX32" fmla="*/ 34871 w 51092"/>
                <a:gd name="connsiteY32" fmla="*/ 34119 h 60664"/>
                <a:gd name="connsiteX33" fmla="*/ 34519 w 51092"/>
                <a:gd name="connsiteY33" fmla="*/ 33118 h 60664"/>
                <a:gd name="connsiteX34" fmla="*/ 33871 w 51092"/>
                <a:gd name="connsiteY34" fmla="*/ 32633 h 60664"/>
                <a:gd name="connsiteX35" fmla="*/ 32557 w 51092"/>
                <a:gd name="connsiteY35" fmla="*/ 33328 h 60664"/>
                <a:gd name="connsiteX36" fmla="*/ 31042 w 51092"/>
                <a:gd name="connsiteY36" fmla="*/ 35623 h 60664"/>
                <a:gd name="connsiteX37" fmla="*/ 29623 w 51092"/>
                <a:gd name="connsiteY37" fmla="*/ 38272 h 60664"/>
                <a:gd name="connsiteX38" fmla="*/ 27499 w 51092"/>
                <a:gd name="connsiteY38" fmla="*/ 41034 h 60664"/>
                <a:gd name="connsiteX39" fmla="*/ 25746 w 51092"/>
                <a:gd name="connsiteY39" fmla="*/ 43682 h 60664"/>
                <a:gd name="connsiteX40" fmla="*/ 23860 w 51092"/>
                <a:gd name="connsiteY40" fmla="*/ 47025 h 60664"/>
                <a:gd name="connsiteX41" fmla="*/ 22574 w 51092"/>
                <a:gd name="connsiteY41" fmla="*/ 49778 h 60664"/>
                <a:gd name="connsiteX42" fmla="*/ 23908 w 51092"/>
                <a:gd name="connsiteY42" fmla="*/ 51340 h 60664"/>
                <a:gd name="connsiteX43" fmla="*/ 24727 w 51092"/>
                <a:gd name="connsiteY43" fmla="*/ 53492 h 60664"/>
                <a:gd name="connsiteX44" fmla="*/ 24479 w 51092"/>
                <a:gd name="connsiteY44" fmla="*/ 55112 h 60664"/>
                <a:gd name="connsiteX45" fmla="*/ 24718 w 51092"/>
                <a:gd name="connsiteY45" fmla="*/ 56055 h 60664"/>
                <a:gd name="connsiteX46" fmla="*/ 24299 w 51092"/>
                <a:gd name="connsiteY46" fmla="*/ 58884 h 60664"/>
                <a:gd name="connsiteX47" fmla="*/ 24222 w 51092"/>
                <a:gd name="connsiteY47" fmla="*/ 60665 h 60664"/>
                <a:gd name="connsiteX48" fmla="*/ 20051 w 51092"/>
                <a:gd name="connsiteY48" fmla="*/ 57817 h 60664"/>
                <a:gd name="connsiteX49" fmla="*/ 18336 w 51092"/>
                <a:gd name="connsiteY49" fmla="*/ 53807 h 60664"/>
                <a:gd name="connsiteX50" fmla="*/ 12240 w 51092"/>
                <a:gd name="connsiteY50" fmla="*/ 47015 h 60664"/>
                <a:gd name="connsiteX51" fmla="*/ 5258 w 51092"/>
                <a:gd name="connsiteY51" fmla="*/ 42386 h 60664"/>
                <a:gd name="connsiteX52" fmla="*/ 4886 w 51092"/>
                <a:gd name="connsiteY52" fmla="*/ 41653 h 60664"/>
                <a:gd name="connsiteX53" fmla="*/ 5268 w 51092"/>
                <a:gd name="connsiteY53" fmla="*/ 40757 h 60664"/>
                <a:gd name="connsiteX54" fmla="*/ 5601 w 51092"/>
                <a:gd name="connsiteY54" fmla="*/ 40052 h 60664"/>
                <a:gd name="connsiteX55" fmla="*/ 4143 w 51092"/>
                <a:gd name="connsiteY55" fmla="*/ 39996 h 60664"/>
                <a:gd name="connsiteX56" fmla="*/ 3134 w 51092"/>
                <a:gd name="connsiteY56" fmla="*/ 40567 h 60664"/>
                <a:gd name="connsiteX57" fmla="*/ 2163 w 51092"/>
                <a:gd name="connsiteY57" fmla="*/ 40405 h 60664"/>
                <a:gd name="connsiteX58" fmla="*/ 1077 w 51092"/>
                <a:gd name="connsiteY58" fmla="*/ 38662 h 60664"/>
                <a:gd name="connsiteX59" fmla="*/ 48 w 51092"/>
                <a:gd name="connsiteY59" fmla="*/ 37157 h 60664"/>
                <a:gd name="connsiteX60" fmla="*/ 0 w 51092"/>
                <a:gd name="connsiteY60" fmla="*/ 35823 h 60664"/>
                <a:gd name="connsiteX61" fmla="*/ 467 w 51092"/>
                <a:gd name="connsiteY61" fmla="*/ 35652 h 60664"/>
                <a:gd name="connsiteX62" fmla="*/ 1162 w 51092"/>
                <a:gd name="connsiteY62" fmla="*/ 35119 h 60664"/>
                <a:gd name="connsiteX63" fmla="*/ 2639 w 51092"/>
                <a:gd name="connsiteY63" fmla="*/ 33642 h 60664"/>
                <a:gd name="connsiteX64" fmla="*/ 2934 w 51092"/>
                <a:gd name="connsiteY64" fmla="*/ 32861 h 60664"/>
                <a:gd name="connsiteX65" fmla="*/ 2858 w 51092"/>
                <a:gd name="connsiteY65" fmla="*/ 31680 h 60664"/>
                <a:gd name="connsiteX66" fmla="*/ 791 w 51092"/>
                <a:gd name="connsiteY66" fmla="*/ 27946 h 60664"/>
                <a:gd name="connsiteX67" fmla="*/ 495 w 51092"/>
                <a:gd name="connsiteY67" fmla="*/ 25517 h 60664"/>
                <a:gd name="connsiteX68" fmla="*/ 200 w 51092"/>
                <a:gd name="connsiteY68" fmla="*/ 20993 h 60664"/>
                <a:gd name="connsiteX69" fmla="*/ 638 w 51092"/>
                <a:gd name="connsiteY69" fmla="*/ 19926 h 60664"/>
                <a:gd name="connsiteX70" fmla="*/ 1391 w 51092"/>
                <a:gd name="connsiteY70" fmla="*/ 19402 h 60664"/>
                <a:gd name="connsiteX71" fmla="*/ 5001 w 51092"/>
                <a:gd name="connsiteY71" fmla="*/ 18840 h 60664"/>
                <a:gd name="connsiteX72" fmla="*/ 4953 w 51092"/>
                <a:gd name="connsiteY72" fmla="*/ 15307 h 60664"/>
                <a:gd name="connsiteX73" fmla="*/ 5172 w 51092"/>
                <a:gd name="connsiteY73" fmla="*/ 14240 h 60664"/>
                <a:gd name="connsiteX74" fmla="*/ 5896 w 51092"/>
                <a:gd name="connsiteY74" fmla="*/ 12773 h 60664"/>
                <a:gd name="connsiteX75" fmla="*/ 6353 w 51092"/>
                <a:gd name="connsiteY75" fmla="*/ 11430 h 60664"/>
                <a:gd name="connsiteX76" fmla="*/ 8363 w 51092"/>
                <a:gd name="connsiteY76" fmla="*/ 9497 h 60664"/>
                <a:gd name="connsiteX77" fmla="*/ 11087 w 51092"/>
                <a:gd name="connsiteY77" fmla="*/ 7201 h 60664"/>
                <a:gd name="connsiteX78" fmla="*/ 12278 w 51092"/>
                <a:gd name="connsiteY78" fmla="*/ 7125 h 60664"/>
                <a:gd name="connsiteX79" fmla="*/ 13316 w 51092"/>
                <a:gd name="connsiteY79" fmla="*/ 7449 h 60664"/>
                <a:gd name="connsiteX80" fmla="*/ 14497 w 51092"/>
                <a:gd name="connsiteY80" fmla="*/ 9430 h 60664"/>
                <a:gd name="connsiteX81" fmla="*/ 15783 w 51092"/>
                <a:gd name="connsiteY81" fmla="*/ 9173 h 60664"/>
                <a:gd name="connsiteX82" fmla="*/ 16050 w 51092"/>
                <a:gd name="connsiteY82" fmla="*/ 6791 h 60664"/>
                <a:gd name="connsiteX83" fmla="*/ 14364 w 51092"/>
                <a:gd name="connsiteY83" fmla="*/ 3677 h 60664"/>
                <a:gd name="connsiteX84" fmla="*/ 13468 w 51092"/>
                <a:gd name="connsiteY84" fmla="*/ 1686 h 60664"/>
                <a:gd name="connsiteX85" fmla="*/ 13745 w 51092"/>
                <a:gd name="connsiteY85" fmla="*/ 581 h 60664"/>
                <a:gd name="connsiteX86" fmla="*/ 14374 w 51092"/>
                <a:gd name="connsiteY86" fmla="*/ 0 h 60664"/>
                <a:gd name="connsiteX87" fmla="*/ 15831 w 51092"/>
                <a:gd name="connsiteY87" fmla="*/ 362 h 60664"/>
                <a:gd name="connsiteX88" fmla="*/ 17212 w 51092"/>
                <a:gd name="connsiteY88" fmla="*/ 914 h 60664"/>
                <a:gd name="connsiteX89" fmla="*/ 18079 w 51092"/>
                <a:gd name="connsiteY89" fmla="*/ 543 h 60664"/>
                <a:gd name="connsiteX90" fmla="*/ 19460 w 51092"/>
                <a:gd name="connsiteY90" fmla="*/ 257 h 6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51092" h="60664">
                  <a:moveTo>
                    <a:pt x="20260" y="343"/>
                  </a:moveTo>
                  <a:lnTo>
                    <a:pt x="20193" y="791"/>
                  </a:lnTo>
                  <a:lnTo>
                    <a:pt x="20317" y="2114"/>
                  </a:lnTo>
                  <a:lnTo>
                    <a:pt x="20917" y="3400"/>
                  </a:lnTo>
                  <a:lnTo>
                    <a:pt x="23041" y="4715"/>
                  </a:lnTo>
                  <a:lnTo>
                    <a:pt x="26156" y="7325"/>
                  </a:lnTo>
                  <a:lnTo>
                    <a:pt x="29813" y="12106"/>
                  </a:lnTo>
                  <a:lnTo>
                    <a:pt x="31490" y="13516"/>
                  </a:lnTo>
                  <a:lnTo>
                    <a:pt x="33004" y="13868"/>
                  </a:lnTo>
                  <a:lnTo>
                    <a:pt x="35948" y="15840"/>
                  </a:lnTo>
                  <a:lnTo>
                    <a:pt x="38005" y="16326"/>
                  </a:lnTo>
                  <a:lnTo>
                    <a:pt x="40300" y="16869"/>
                  </a:lnTo>
                  <a:lnTo>
                    <a:pt x="46282" y="20993"/>
                  </a:lnTo>
                  <a:lnTo>
                    <a:pt x="48978" y="22193"/>
                  </a:lnTo>
                  <a:lnTo>
                    <a:pt x="50883" y="23746"/>
                  </a:lnTo>
                  <a:lnTo>
                    <a:pt x="51092" y="25203"/>
                  </a:lnTo>
                  <a:lnTo>
                    <a:pt x="51007" y="26108"/>
                  </a:lnTo>
                  <a:lnTo>
                    <a:pt x="47549" y="27156"/>
                  </a:lnTo>
                  <a:lnTo>
                    <a:pt x="46949" y="28765"/>
                  </a:lnTo>
                  <a:lnTo>
                    <a:pt x="45272" y="28575"/>
                  </a:lnTo>
                  <a:lnTo>
                    <a:pt x="43244" y="28565"/>
                  </a:lnTo>
                  <a:lnTo>
                    <a:pt x="42586" y="29585"/>
                  </a:lnTo>
                  <a:lnTo>
                    <a:pt x="43558" y="31261"/>
                  </a:lnTo>
                  <a:lnTo>
                    <a:pt x="44187" y="33223"/>
                  </a:lnTo>
                  <a:lnTo>
                    <a:pt x="43682" y="35919"/>
                  </a:lnTo>
                  <a:lnTo>
                    <a:pt x="43510" y="36271"/>
                  </a:lnTo>
                  <a:lnTo>
                    <a:pt x="43025" y="36176"/>
                  </a:lnTo>
                  <a:lnTo>
                    <a:pt x="40167" y="37738"/>
                  </a:lnTo>
                  <a:lnTo>
                    <a:pt x="38052" y="38471"/>
                  </a:lnTo>
                  <a:lnTo>
                    <a:pt x="36138" y="38843"/>
                  </a:lnTo>
                  <a:lnTo>
                    <a:pt x="35233" y="38090"/>
                  </a:lnTo>
                  <a:lnTo>
                    <a:pt x="34786" y="37071"/>
                  </a:lnTo>
                  <a:lnTo>
                    <a:pt x="34871" y="34119"/>
                  </a:lnTo>
                  <a:lnTo>
                    <a:pt x="34519" y="33118"/>
                  </a:lnTo>
                  <a:lnTo>
                    <a:pt x="33871" y="32633"/>
                  </a:lnTo>
                  <a:lnTo>
                    <a:pt x="32557" y="33328"/>
                  </a:lnTo>
                  <a:lnTo>
                    <a:pt x="31042" y="35623"/>
                  </a:lnTo>
                  <a:lnTo>
                    <a:pt x="29623" y="38272"/>
                  </a:lnTo>
                  <a:lnTo>
                    <a:pt x="27499" y="41034"/>
                  </a:lnTo>
                  <a:lnTo>
                    <a:pt x="25746" y="43682"/>
                  </a:lnTo>
                  <a:lnTo>
                    <a:pt x="23860" y="47025"/>
                  </a:lnTo>
                  <a:lnTo>
                    <a:pt x="22574" y="49778"/>
                  </a:lnTo>
                  <a:lnTo>
                    <a:pt x="23908" y="51340"/>
                  </a:lnTo>
                  <a:lnTo>
                    <a:pt x="24727" y="53492"/>
                  </a:lnTo>
                  <a:lnTo>
                    <a:pt x="24479" y="55112"/>
                  </a:lnTo>
                  <a:lnTo>
                    <a:pt x="24718" y="56055"/>
                  </a:lnTo>
                  <a:lnTo>
                    <a:pt x="24299" y="58884"/>
                  </a:lnTo>
                  <a:lnTo>
                    <a:pt x="24222" y="60665"/>
                  </a:lnTo>
                  <a:lnTo>
                    <a:pt x="20051" y="57817"/>
                  </a:lnTo>
                  <a:lnTo>
                    <a:pt x="18336" y="53807"/>
                  </a:lnTo>
                  <a:lnTo>
                    <a:pt x="12240" y="47015"/>
                  </a:lnTo>
                  <a:lnTo>
                    <a:pt x="5258" y="42386"/>
                  </a:lnTo>
                  <a:lnTo>
                    <a:pt x="4886" y="41653"/>
                  </a:lnTo>
                  <a:lnTo>
                    <a:pt x="5268" y="40757"/>
                  </a:lnTo>
                  <a:lnTo>
                    <a:pt x="5601" y="40052"/>
                  </a:lnTo>
                  <a:lnTo>
                    <a:pt x="4143" y="39996"/>
                  </a:lnTo>
                  <a:lnTo>
                    <a:pt x="3134" y="40567"/>
                  </a:lnTo>
                  <a:lnTo>
                    <a:pt x="2163" y="40405"/>
                  </a:lnTo>
                  <a:lnTo>
                    <a:pt x="1077" y="38662"/>
                  </a:lnTo>
                  <a:lnTo>
                    <a:pt x="48" y="37157"/>
                  </a:lnTo>
                  <a:lnTo>
                    <a:pt x="0" y="35823"/>
                  </a:lnTo>
                  <a:lnTo>
                    <a:pt x="467" y="35652"/>
                  </a:lnTo>
                  <a:lnTo>
                    <a:pt x="1162" y="35119"/>
                  </a:lnTo>
                  <a:lnTo>
                    <a:pt x="2639" y="33642"/>
                  </a:lnTo>
                  <a:lnTo>
                    <a:pt x="2934" y="32861"/>
                  </a:lnTo>
                  <a:lnTo>
                    <a:pt x="2858" y="31680"/>
                  </a:lnTo>
                  <a:lnTo>
                    <a:pt x="791" y="27946"/>
                  </a:lnTo>
                  <a:lnTo>
                    <a:pt x="495" y="25517"/>
                  </a:lnTo>
                  <a:lnTo>
                    <a:pt x="200" y="20993"/>
                  </a:lnTo>
                  <a:lnTo>
                    <a:pt x="638" y="19926"/>
                  </a:lnTo>
                  <a:lnTo>
                    <a:pt x="1391" y="19402"/>
                  </a:lnTo>
                  <a:lnTo>
                    <a:pt x="5001" y="18840"/>
                  </a:lnTo>
                  <a:lnTo>
                    <a:pt x="4953" y="15307"/>
                  </a:lnTo>
                  <a:lnTo>
                    <a:pt x="5172" y="14240"/>
                  </a:lnTo>
                  <a:lnTo>
                    <a:pt x="5896" y="12773"/>
                  </a:lnTo>
                  <a:lnTo>
                    <a:pt x="6353" y="11430"/>
                  </a:lnTo>
                  <a:lnTo>
                    <a:pt x="8363" y="9497"/>
                  </a:lnTo>
                  <a:lnTo>
                    <a:pt x="11087" y="7201"/>
                  </a:lnTo>
                  <a:lnTo>
                    <a:pt x="12278" y="7125"/>
                  </a:lnTo>
                  <a:lnTo>
                    <a:pt x="13316" y="7449"/>
                  </a:lnTo>
                  <a:lnTo>
                    <a:pt x="14497" y="9430"/>
                  </a:lnTo>
                  <a:lnTo>
                    <a:pt x="15783" y="9173"/>
                  </a:lnTo>
                  <a:lnTo>
                    <a:pt x="16050" y="6791"/>
                  </a:lnTo>
                  <a:lnTo>
                    <a:pt x="14364" y="3677"/>
                  </a:lnTo>
                  <a:lnTo>
                    <a:pt x="13468" y="1686"/>
                  </a:lnTo>
                  <a:lnTo>
                    <a:pt x="13745" y="581"/>
                  </a:lnTo>
                  <a:lnTo>
                    <a:pt x="14374" y="0"/>
                  </a:lnTo>
                  <a:lnTo>
                    <a:pt x="15831" y="362"/>
                  </a:lnTo>
                  <a:lnTo>
                    <a:pt x="17212" y="914"/>
                  </a:lnTo>
                  <a:lnTo>
                    <a:pt x="18079" y="543"/>
                  </a:lnTo>
                  <a:lnTo>
                    <a:pt x="19460" y="257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4" name="Forme libre : forme 40">
              <a:extLst>
                <a:ext uri="{FF2B5EF4-FFF2-40B4-BE49-F238E27FC236}">
                  <a16:creationId xmlns:a16="http://schemas.microsoft.com/office/drawing/2014/main" id="{CC53743F-8FFF-A984-4A83-AFCE68F964E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878797" y="5185012"/>
              <a:ext cx="236733" cy="186037"/>
            </a:xfrm>
            <a:custGeom>
              <a:avLst/>
              <a:gdLst>
                <a:gd name="connsiteX0" fmla="*/ 50673 w 68360"/>
                <a:gd name="connsiteY0" fmla="*/ 1591 h 53721"/>
                <a:gd name="connsiteX1" fmla="*/ 54797 w 68360"/>
                <a:gd name="connsiteY1" fmla="*/ 6944 h 53721"/>
                <a:gd name="connsiteX2" fmla="*/ 57055 w 68360"/>
                <a:gd name="connsiteY2" fmla="*/ 9115 h 53721"/>
                <a:gd name="connsiteX3" fmla="*/ 59712 w 68360"/>
                <a:gd name="connsiteY3" fmla="*/ 10754 h 53721"/>
                <a:gd name="connsiteX4" fmla="*/ 62751 w 68360"/>
                <a:gd name="connsiteY4" fmla="*/ 11954 h 53721"/>
                <a:gd name="connsiteX5" fmla="*/ 63846 w 68360"/>
                <a:gd name="connsiteY5" fmla="*/ 13097 h 53721"/>
                <a:gd name="connsiteX6" fmla="*/ 65780 w 68360"/>
                <a:gd name="connsiteY6" fmla="*/ 18764 h 53721"/>
                <a:gd name="connsiteX7" fmla="*/ 66703 w 68360"/>
                <a:gd name="connsiteY7" fmla="*/ 20917 h 53721"/>
                <a:gd name="connsiteX8" fmla="*/ 67989 w 68360"/>
                <a:gd name="connsiteY8" fmla="*/ 21555 h 53721"/>
                <a:gd name="connsiteX9" fmla="*/ 68303 w 68360"/>
                <a:gd name="connsiteY9" fmla="*/ 22174 h 53721"/>
                <a:gd name="connsiteX10" fmla="*/ 68361 w 68360"/>
                <a:gd name="connsiteY10" fmla="*/ 22993 h 53721"/>
                <a:gd name="connsiteX11" fmla="*/ 66913 w 68360"/>
                <a:gd name="connsiteY11" fmla="*/ 26965 h 53721"/>
                <a:gd name="connsiteX12" fmla="*/ 66323 w 68360"/>
                <a:gd name="connsiteY12" fmla="*/ 35833 h 53721"/>
                <a:gd name="connsiteX13" fmla="*/ 65961 w 68360"/>
                <a:gd name="connsiteY13" fmla="*/ 36538 h 53721"/>
                <a:gd name="connsiteX14" fmla="*/ 64446 w 68360"/>
                <a:gd name="connsiteY14" fmla="*/ 36500 h 53721"/>
                <a:gd name="connsiteX15" fmla="*/ 62427 w 68360"/>
                <a:gd name="connsiteY15" fmla="*/ 36690 h 53721"/>
                <a:gd name="connsiteX16" fmla="*/ 61665 w 68360"/>
                <a:gd name="connsiteY16" fmla="*/ 37376 h 53721"/>
                <a:gd name="connsiteX17" fmla="*/ 60855 w 68360"/>
                <a:gd name="connsiteY17" fmla="*/ 42129 h 53721"/>
                <a:gd name="connsiteX18" fmla="*/ 57607 w 68360"/>
                <a:gd name="connsiteY18" fmla="*/ 43482 h 53721"/>
                <a:gd name="connsiteX19" fmla="*/ 54664 w 68360"/>
                <a:gd name="connsiteY19" fmla="*/ 44244 h 53721"/>
                <a:gd name="connsiteX20" fmla="*/ 52188 w 68360"/>
                <a:gd name="connsiteY20" fmla="*/ 44072 h 53721"/>
                <a:gd name="connsiteX21" fmla="*/ 47825 w 68360"/>
                <a:gd name="connsiteY21" fmla="*/ 42948 h 53721"/>
                <a:gd name="connsiteX22" fmla="*/ 46406 w 68360"/>
                <a:gd name="connsiteY22" fmla="*/ 42824 h 53721"/>
                <a:gd name="connsiteX23" fmla="*/ 45186 w 68360"/>
                <a:gd name="connsiteY23" fmla="*/ 43463 h 53721"/>
                <a:gd name="connsiteX24" fmla="*/ 41291 w 68360"/>
                <a:gd name="connsiteY24" fmla="*/ 43805 h 53721"/>
                <a:gd name="connsiteX25" fmla="*/ 39586 w 68360"/>
                <a:gd name="connsiteY25" fmla="*/ 44634 h 53721"/>
                <a:gd name="connsiteX26" fmla="*/ 35576 w 68360"/>
                <a:gd name="connsiteY26" fmla="*/ 50178 h 53721"/>
                <a:gd name="connsiteX27" fmla="*/ 31518 w 68360"/>
                <a:gd name="connsiteY27" fmla="*/ 52092 h 53721"/>
                <a:gd name="connsiteX28" fmla="*/ 30127 w 68360"/>
                <a:gd name="connsiteY28" fmla="*/ 53054 h 53721"/>
                <a:gd name="connsiteX29" fmla="*/ 27032 w 68360"/>
                <a:gd name="connsiteY29" fmla="*/ 51835 h 53721"/>
                <a:gd name="connsiteX30" fmla="*/ 25546 w 68360"/>
                <a:gd name="connsiteY30" fmla="*/ 51702 h 53721"/>
                <a:gd name="connsiteX31" fmla="*/ 23393 w 68360"/>
                <a:gd name="connsiteY31" fmla="*/ 53112 h 53721"/>
                <a:gd name="connsiteX32" fmla="*/ 18688 w 68360"/>
                <a:gd name="connsiteY32" fmla="*/ 53254 h 53721"/>
                <a:gd name="connsiteX33" fmla="*/ 17421 w 68360"/>
                <a:gd name="connsiteY33" fmla="*/ 53502 h 53721"/>
                <a:gd name="connsiteX34" fmla="*/ 13792 w 68360"/>
                <a:gd name="connsiteY34" fmla="*/ 53721 h 53721"/>
                <a:gd name="connsiteX35" fmla="*/ 13640 w 68360"/>
                <a:gd name="connsiteY35" fmla="*/ 52959 h 53721"/>
                <a:gd name="connsiteX36" fmla="*/ 12963 w 68360"/>
                <a:gd name="connsiteY36" fmla="*/ 51845 h 53721"/>
                <a:gd name="connsiteX37" fmla="*/ 11268 w 68360"/>
                <a:gd name="connsiteY37" fmla="*/ 51321 h 53721"/>
                <a:gd name="connsiteX38" fmla="*/ 7811 w 68360"/>
                <a:gd name="connsiteY38" fmla="*/ 51768 h 53721"/>
                <a:gd name="connsiteX39" fmla="*/ 6972 w 68360"/>
                <a:gd name="connsiteY39" fmla="*/ 50959 h 53721"/>
                <a:gd name="connsiteX40" fmla="*/ 5543 w 68360"/>
                <a:gd name="connsiteY40" fmla="*/ 46254 h 53721"/>
                <a:gd name="connsiteX41" fmla="*/ 4439 w 68360"/>
                <a:gd name="connsiteY41" fmla="*/ 45501 h 53721"/>
                <a:gd name="connsiteX42" fmla="*/ 3191 w 68360"/>
                <a:gd name="connsiteY42" fmla="*/ 43920 h 53721"/>
                <a:gd name="connsiteX43" fmla="*/ 1086 w 68360"/>
                <a:gd name="connsiteY43" fmla="*/ 38795 h 53721"/>
                <a:gd name="connsiteX44" fmla="*/ 1028 w 68360"/>
                <a:gd name="connsiteY44" fmla="*/ 36547 h 53721"/>
                <a:gd name="connsiteX45" fmla="*/ 1171 w 68360"/>
                <a:gd name="connsiteY45" fmla="*/ 34576 h 53721"/>
                <a:gd name="connsiteX46" fmla="*/ 0 w 68360"/>
                <a:gd name="connsiteY46" fmla="*/ 29966 h 53721"/>
                <a:gd name="connsiteX47" fmla="*/ 724 w 68360"/>
                <a:gd name="connsiteY47" fmla="*/ 28794 h 53721"/>
                <a:gd name="connsiteX48" fmla="*/ 1810 w 68360"/>
                <a:gd name="connsiteY48" fmla="*/ 28061 h 53721"/>
                <a:gd name="connsiteX49" fmla="*/ 1819 w 68360"/>
                <a:gd name="connsiteY49" fmla="*/ 26194 h 53721"/>
                <a:gd name="connsiteX50" fmla="*/ 1514 w 68360"/>
                <a:gd name="connsiteY50" fmla="*/ 23365 h 53721"/>
                <a:gd name="connsiteX51" fmla="*/ 2800 w 68360"/>
                <a:gd name="connsiteY51" fmla="*/ 17802 h 53721"/>
                <a:gd name="connsiteX52" fmla="*/ 3143 w 68360"/>
                <a:gd name="connsiteY52" fmla="*/ 17393 h 53721"/>
                <a:gd name="connsiteX53" fmla="*/ 3477 w 68360"/>
                <a:gd name="connsiteY53" fmla="*/ 17659 h 53721"/>
                <a:gd name="connsiteX54" fmla="*/ 6582 w 68360"/>
                <a:gd name="connsiteY54" fmla="*/ 18107 h 53721"/>
                <a:gd name="connsiteX55" fmla="*/ 7391 w 68360"/>
                <a:gd name="connsiteY55" fmla="*/ 17402 h 53721"/>
                <a:gd name="connsiteX56" fmla="*/ 7906 w 68360"/>
                <a:gd name="connsiteY56" fmla="*/ 16297 h 53721"/>
                <a:gd name="connsiteX57" fmla="*/ 8068 w 68360"/>
                <a:gd name="connsiteY57" fmla="*/ 12211 h 53721"/>
                <a:gd name="connsiteX58" fmla="*/ 8811 w 68360"/>
                <a:gd name="connsiteY58" fmla="*/ 10325 h 53721"/>
                <a:gd name="connsiteX59" fmla="*/ 16335 w 68360"/>
                <a:gd name="connsiteY59" fmla="*/ 6725 h 53721"/>
                <a:gd name="connsiteX60" fmla="*/ 18555 w 68360"/>
                <a:gd name="connsiteY60" fmla="*/ 6591 h 53721"/>
                <a:gd name="connsiteX61" fmla="*/ 20250 w 68360"/>
                <a:gd name="connsiteY61" fmla="*/ 8249 h 53721"/>
                <a:gd name="connsiteX62" fmla="*/ 21593 w 68360"/>
                <a:gd name="connsiteY62" fmla="*/ 9306 h 53721"/>
                <a:gd name="connsiteX63" fmla="*/ 22403 w 68360"/>
                <a:gd name="connsiteY63" fmla="*/ 9268 h 53721"/>
                <a:gd name="connsiteX64" fmla="*/ 22698 w 68360"/>
                <a:gd name="connsiteY64" fmla="*/ 8211 h 53721"/>
                <a:gd name="connsiteX65" fmla="*/ 23613 w 68360"/>
                <a:gd name="connsiteY65" fmla="*/ 6153 h 53721"/>
                <a:gd name="connsiteX66" fmla="*/ 25155 w 68360"/>
                <a:gd name="connsiteY66" fmla="*/ 4982 h 53721"/>
                <a:gd name="connsiteX67" fmla="*/ 29737 w 68360"/>
                <a:gd name="connsiteY67" fmla="*/ 3981 h 53721"/>
                <a:gd name="connsiteX68" fmla="*/ 29775 w 68360"/>
                <a:gd name="connsiteY68" fmla="*/ 3981 h 53721"/>
                <a:gd name="connsiteX69" fmla="*/ 31270 w 68360"/>
                <a:gd name="connsiteY69" fmla="*/ 4181 h 53721"/>
                <a:gd name="connsiteX70" fmla="*/ 34500 w 68360"/>
                <a:gd name="connsiteY70" fmla="*/ 3258 h 53721"/>
                <a:gd name="connsiteX71" fmla="*/ 36519 w 68360"/>
                <a:gd name="connsiteY71" fmla="*/ 1981 h 53721"/>
                <a:gd name="connsiteX72" fmla="*/ 37548 w 68360"/>
                <a:gd name="connsiteY72" fmla="*/ 1791 h 53721"/>
                <a:gd name="connsiteX73" fmla="*/ 38909 w 68360"/>
                <a:gd name="connsiteY73" fmla="*/ 1305 h 53721"/>
                <a:gd name="connsiteX74" fmla="*/ 40872 w 68360"/>
                <a:gd name="connsiteY74" fmla="*/ 1372 h 53721"/>
                <a:gd name="connsiteX75" fmla="*/ 42863 w 68360"/>
                <a:gd name="connsiteY75" fmla="*/ 1924 h 53721"/>
                <a:gd name="connsiteX76" fmla="*/ 45396 w 68360"/>
                <a:gd name="connsiteY76" fmla="*/ 1191 h 53721"/>
                <a:gd name="connsiteX77" fmla="*/ 47882 w 68360"/>
                <a:gd name="connsiteY77" fmla="*/ 0 h 53721"/>
                <a:gd name="connsiteX78" fmla="*/ 48882 w 68360"/>
                <a:gd name="connsiteY78" fmla="*/ 305 h 53721"/>
                <a:gd name="connsiteX79" fmla="*/ 49959 w 68360"/>
                <a:gd name="connsiteY79" fmla="*/ 1314 h 53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8360" h="53721">
                  <a:moveTo>
                    <a:pt x="50673" y="1591"/>
                  </a:moveTo>
                  <a:lnTo>
                    <a:pt x="54797" y="6944"/>
                  </a:lnTo>
                  <a:lnTo>
                    <a:pt x="57055" y="9115"/>
                  </a:lnTo>
                  <a:lnTo>
                    <a:pt x="59712" y="10754"/>
                  </a:lnTo>
                  <a:lnTo>
                    <a:pt x="62751" y="11954"/>
                  </a:lnTo>
                  <a:lnTo>
                    <a:pt x="63846" y="13097"/>
                  </a:lnTo>
                  <a:lnTo>
                    <a:pt x="65780" y="18764"/>
                  </a:lnTo>
                  <a:lnTo>
                    <a:pt x="66703" y="20917"/>
                  </a:lnTo>
                  <a:lnTo>
                    <a:pt x="67989" y="21555"/>
                  </a:lnTo>
                  <a:lnTo>
                    <a:pt x="68303" y="22174"/>
                  </a:lnTo>
                  <a:lnTo>
                    <a:pt x="68361" y="22993"/>
                  </a:lnTo>
                  <a:lnTo>
                    <a:pt x="66913" y="26965"/>
                  </a:lnTo>
                  <a:lnTo>
                    <a:pt x="66323" y="35833"/>
                  </a:lnTo>
                  <a:lnTo>
                    <a:pt x="65961" y="36538"/>
                  </a:lnTo>
                  <a:lnTo>
                    <a:pt x="64446" y="36500"/>
                  </a:lnTo>
                  <a:lnTo>
                    <a:pt x="62427" y="36690"/>
                  </a:lnTo>
                  <a:lnTo>
                    <a:pt x="61665" y="37376"/>
                  </a:lnTo>
                  <a:lnTo>
                    <a:pt x="60855" y="42129"/>
                  </a:lnTo>
                  <a:lnTo>
                    <a:pt x="57607" y="43482"/>
                  </a:lnTo>
                  <a:lnTo>
                    <a:pt x="54664" y="44244"/>
                  </a:lnTo>
                  <a:lnTo>
                    <a:pt x="52188" y="44072"/>
                  </a:lnTo>
                  <a:lnTo>
                    <a:pt x="47825" y="42948"/>
                  </a:lnTo>
                  <a:lnTo>
                    <a:pt x="46406" y="42824"/>
                  </a:lnTo>
                  <a:lnTo>
                    <a:pt x="45186" y="43463"/>
                  </a:lnTo>
                  <a:lnTo>
                    <a:pt x="41291" y="43805"/>
                  </a:lnTo>
                  <a:lnTo>
                    <a:pt x="39586" y="44634"/>
                  </a:lnTo>
                  <a:lnTo>
                    <a:pt x="35576" y="50178"/>
                  </a:lnTo>
                  <a:lnTo>
                    <a:pt x="31518" y="52092"/>
                  </a:lnTo>
                  <a:lnTo>
                    <a:pt x="30127" y="53054"/>
                  </a:lnTo>
                  <a:lnTo>
                    <a:pt x="27032" y="51835"/>
                  </a:lnTo>
                  <a:lnTo>
                    <a:pt x="25546" y="51702"/>
                  </a:lnTo>
                  <a:lnTo>
                    <a:pt x="23393" y="53112"/>
                  </a:lnTo>
                  <a:lnTo>
                    <a:pt x="18688" y="53254"/>
                  </a:lnTo>
                  <a:lnTo>
                    <a:pt x="17421" y="53502"/>
                  </a:lnTo>
                  <a:lnTo>
                    <a:pt x="13792" y="53721"/>
                  </a:lnTo>
                  <a:lnTo>
                    <a:pt x="13640" y="52959"/>
                  </a:lnTo>
                  <a:lnTo>
                    <a:pt x="12963" y="51845"/>
                  </a:lnTo>
                  <a:lnTo>
                    <a:pt x="11268" y="51321"/>
                  </a:lnTo>
                  <a:lnTo>
                    <a:pt x="7811" y="51768"/>
                  </a:lnTo>
                  <a:lnTo>
                    <a:pt x="6972" y="50959"/>
                  </a:lnTo>
                  <a:lnTo>
                    <a:pt x="5543" y="46254"/>
                  </a:lnTo>
                  <a:lnTo>
                    <a:pt x="4439" y="45501"/>
                  </a:lnTo>
                  <a:lnTo>
                    <a:pt x="3191" y="43920"/>
                  </a:lnTo>
                  <a:lnTo>
                    <a:pt x="1086" y="38795"/>
                  </a:lnTo>
                  <a:lnTo>
                    <a:pt x="1028" y="36547"/>
                  </a:lnTo>
                  <a:lnTo>
                    <a:pt x="1171" y="34576"/>
                  </a:lnTo>
                  <a:lnTo>
                    <a:pt x="0" y="29966"/>
                  </a:lnTo>
                  <a:lnTo>
                    <a:pt x="724" y="28794"/>
                  </a:lnTo>
                  <a:lnTo>
                    <a:pt x="1810" y="28061"/>
                  </a:lnTo>
                  <a:lnTo>
                    <a:pt x="1819" y="26194"/>
                  </a:lnTo>
                  <a:lnTo>
                    <a:pt x="1514" y="23365"/>
                  </a:lnTo>
                  <a:lnTo>
                    <a:pt x="2800" y="17802"/>
                  </a:lnTo>
                  <a:lnTo>
                    <a:pt x="3143" y="17393"/>
                  </a:lnTo>
                  <a:lnTo>
                    <a:pt x="3477" y="17659"/>
                  </a:lnTo>
                  <a:lnTo>
                    <a:pt x="6582" y="18107"/>
                  </a:lnTo>
                  <a:lnTo>
                    <a:pt x="7391" y="17402"/>
                  </a:lnTo>
                  <a:lnTo>
                    <a:pt x="7906" y="16297"/>
                  </a:lnTo>
                  <a:lnTo>
                    <a:pt x="8068" y="12211"/>
                  </a:lnTo>
                  <a:lnTo>
                    <a:pt x="8811" y="10325"/>
                  </a:lnTo>
                  <a:lnTo>
                    <a:pt x="16335" y="6725"/>
                  </a:lnTo>
                  <a:lnTo>
                    <a:pt x="18555" y="6591"/>
                  </a:lnTo>
                  <a:lnTo>
                    <a:pt x="20250" y="8249"/>
                  </a:lnTo>
                  <a:lnTo>
                    <a:pt x="21593" y="9306"/>
                  </a:lnTo>
                  <a:lnTo>
                    <a:pt x="22403" y="9268"/>
                  </a:lnTo>
                  <a:lnTo>
                    <a:pt x="22698" y="8211"/>
                  </a:lnTo>
                  <a:lnTo>
                    <a:pt x="23613" y="6153"/>
                  </a:lnTo>
                  <a:lnTo>
                    <a:pt x="25155" y="4982"/>
                  </a:lnTo>
                  <a:lnTo>
                    <a:pt x="29737" y="3981"/>
                  </a:lnTo>
                  <a:lnTo>
                    <a:pt x="29775" y="3981"/>
                  </a:lnTo>
                  <a:lnTo>
                    <a:pt x="31270" y="4181"/>
                  </a:lnTo>
                  <a:lnTo>
                    <a:pt x="34500" y="3258"/>
                  </a:lnTo>
                  <a:lnTo>
                    <a:pt x="36519" y="1981"/>
                  </a:lnTo>
                  <a:lnTo>
                    <a:pt x="37548" y="1791"/>
                  </a:lnTo>
                  <a:lnTo>
                    <a:pt x="38909" y="1305"/>
                  </a:lnTo>
                  <a:lnTo>
                    <a:pt x="40872" y="1372"/>
                  </a:lnTo>
                  <a:lnTo>
                    <a:pt x="42863" y="1924"/>
                  </a:lnTo>
                  <a:lnTo>
                    <a:pt x="45396" y="1191"/>
                  </a:lnTo>
                  <a:lnTo>
                    <a:pt x="47882" y="0"/>
                  </a:lnTo>
                  <a:lnTo>
                    <a:pt x="48882" y="305"/>
                  </a:lnTo>
                  <a:lnTo>
                    <a:pt x="49959" y="1314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5" name="Forme libre : forme 41">
              <a:extLst>
                <a:ext uri="{FF2B5EF4-FFF2-40B4-BE49-F238E27FC236}">
                  <a16:creationId xmlns:a16="http://schemas.microsoft.com/office/drawing/2014/main" id="{4D3B095E-34C2-749A-6867-CE39187A7A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298517" y="5933515"/>
              <a:ext cx="35721" cy="29124"/>
            </a:xfrm>
            <a:custGeom>
              <a:avLst/>
              <a:gdLst>
                <a:gd name="connsiteX0" fmla="*/ 3563 w 10315"/>
                <a:gd name="connsiteY0" fmla="*/ 1591 h 8410"/>
                <a:gd name="connsiteX1" fmla="*/ 1963 w 10315"/>
                <a:gd name="connsiteY1" fmla="*/ 2096 h 8410"/>
                <a:gd name="connsiteX2" fmla="*/ 371 w 10315"/>
                <a:gd name="connsiteY2" fmla="*/ 1105 h 8410"/>
                <a:gd name="connsiteX3" fmla="*/ 0 w 10315"/>
                <a:gd name="connsiteY3" fmla="*/ 505 h 8410"/>
                <a:gd name="connsiteX4" fmla="*/ 2210 w 10315"/>
                <a:gd name="connsiteY4" fmla="*/ 0 h 8410"/>
                <a:gd name="connsiteX5" fmla="*/ 3296 w 10315"/>
                <a:gd name="connsiteY5" fmla="*/ 448 h 8410"/>
                <a:gd name="connsiteX6" fmla="*/ 3753 w 10315"/>
                <a:gd name="connsiteY6" fmla="*/ 1305 h 8410"/>
                <a:gd name="connsiteX7" fmla="*/ 3563 w 10315"/>
                <a:gd name="connsiteY7" fmla="*/ 1591 h 8410"/>
                <a:gd name="connsiteX8" fmla="*/ 10316 w 10315"/>
                <a:gd name="connsiteY8" fmla="*/ 7344 h 8410"/>
                <a:gd name="connsiteX9" fmla="*/ 9420 w 10315"/>
                <a:gd name="connsiteY9" fmla="*/ 8411 h 8410"/>
                <a:gd name="connsiteX10" fmla="*/ 6849 w 10315"/>
                <a:gd name="connsiteY10" fmla="*/ 8363 h 8410"/>
                <a:gd name="connsiteX11" fmla="*/ 4601 w 10315"/>
                <a:gd name="connsiteY11" fmla="*/ 6696 h 8410"/>
                <a:gd name="connsiteX12" fmla="*/ 4582 w 10315"/>
                <a:gd name="connsiteY12" fmla="*/ 3210 h 8410"/>
                <a:gd name="connsiteX13" fmla="*/ 7173 w 10315"/>
                <a:gd name="connsiteY13" fmla="*/ 3896 h 8410"/>
                <a:gd name="connsiteX14" fmla="*/ 9544 w 10315"/>
                <a:gd name="connsiteY14" fmla="*/ 6229 h 8410"/>
                <a:gd name="connsiteX15" fmla="*/ 10316 w 10315"/>
                <a:gd name="connsiteY15" fmla="*/ 7344 h 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315" h="8410">
                  <a:moveTo>
                    <a:pt x="3563" y="1591"/>
                  </a:moveTo>
                  <a:lnTo>
                    <a:pt x="1963" y="2096"/>
                  </a:lnTo>
                  <a:lnTo>
                    <a:pt x="371" y="1105"/>
                  </a:lnTo>
                  <a:lnTo>
                    <a:pt x="0" y="505"/>
                  </a:lnTo>
                  <a:lnTo>
                    <a:pt x="2210" y="0"/>
                  </a:lnTo>
                  <a:lnTo>
                    <a:pt x="3296" y="448"/>
                  </a:lnTo>
                  <a:lnTo>
                    <a:pt x="3753" y="1305"/>
                  </a:lnTo>
                  <a:lnTo>
                    <a:pt x="3563" y="1591"/>
                  </a:lnTo>
                  <a:close/>
                  <a:moveTo>
                    <a:pt x="10316" y="7344"/>
                  </a:moveTo>
                  <a:lnTo>
                    <a:pt x="9420" y="8411"/>
                  </a:lnTo>
                  <a:lnTo>
                    <a:pt x="6849" y="8363"/>
                  </a:lnTo>
                  <a:lnTo>
                    <a:pt x="4601" y="6696"/>
                  </a:lnTo>
                  <a:lnTo>
                    <a:pt x="4582" y="3210"/>
                  </a:lnTo>
                  <a:lnTo>
                    <a:pt x="7173" y="3896"/>
                  </a:lnTo>
                  <a:lnTo>
                    <a:pt x="9544" y="6229"/>
                  </a:lnTo>
                  <a:lnTo>
                    <a:pt x="10316" y="7344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6" name="Forme libre : forme 42">
              <a:extLst>
                <a:ext uri="{FF2B5EF4-FFF2-40B4-BE49-F238E27FC236}">
                  <a16:creationId xmlns:a16="http://schemas.microsoft.com/office/drawing/2014/main" id="{6BF45536-E21B-F440-8D46-BFEE72EE57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296024" y="3622330"/>
              <a:ext cx="356076" cy="433260"/>
            </a:xfrm>
            <a:custGeom>
              <a:avLst/>
              <a:gdLst>
                <a:gd name="connsiteX0" fmla="*/ 50302 w 102822"/>
                <a:gd name="connsiteY0" fmla="*/ 11106 h 125110"/>
                <a:gd name="connsiteX1" fmla="*/ 49168 w 102822"/>
                <a:gd name="connsiteY1" fmla="*/ 10487 h 125110"/>
                <a:gd name="connsiteX2" fmla="*/ 55178 w 102822"/>
                <a:gd name="connsiteY2" fmla="*/ 8706 h 125110"/>
                <a:gd name="connsiteX3" fmla="*/ 58979 w 102822"/>
                <a:gd name="connsiteY3" fmla="*/ 8163 h 125110"/>
                <a:gd name="connsiteX4" fmla="*/ 59655 w 102822"/>
                <a:gd name="connsiteY4" fmla="*/ 8401 h 125110"/>
                <a:gd name="connsiteX5" fmla="*/ 52787 w 102822"/>
                <a:gd name="connsiteY5" fmla="*/ 10744 h 125110"/>
                <a:gd name="connsiteX6" fmla="*/ 50302 w 102822"/>
                <a:gd name="connsiteY6" fmla="*/ 11106 h 125110"/>
                <a:gd name="connsiteX7" fmla="*/ 63646 w 102822"/>
                <a:gd name="connsiteY7" fmla="*/ 8211 h 125110"/>
                <a:gd name="connsiteX8" fmla="*/ 68923 w 102822"/>
                <a:gd name="connsiteY8" fmla="*/ 7477 h 125110"/>
                <a:gd name="connsiteX9" fmla="*/ 68894 w 102822"/>
                <a:gd name="connsiteY9" fmla="*/ 7201 h 125110"/>
                <a:gd name="connsiteX10" fmla="*/ 67504 w 102822"/>
                <a:gd name="connsiteY10" fmla="*/ 6753 h 125110"/>
                <a:gd name="connsiteX11" fmla="*/ 63008 w 102822"/>
                <a:gd name="connsiteY11" fmla="*/ 6830 h 125110"/>
                <a:gd name="connsiteX12" fmla="*/ 61569 w 102822"/>
                <a:gd name="connsiteY12" fmla="*/ 7144 h 125110"/>
                <a:gd name="connsiteX13" fmla="*/ 61865 w 102822"/>
                <a:gd name="connsiteY13" fmla="*/ 7668 h 125110"/>
                <a:gd name="connsiteX14" fmla="*/ 63646 w 102822"/>
                <a:gd name="connsiteY14" fmla="*/ 8211 h 125110"/>
                <a:gd name="connsiteX15" fmla="*/ 79724 w 102822"/>
                <a:gd name="connsiteY15" fmla="*/ 5153 h 125110"/>
                <a:gd name="connsiteX16" fmla="*/ 78591 w 102822"/>
                <a:gd name="connsiteY16" fmla="*/ 4962 h 125110"/>
                <a:gd name="connsiteX17" fmla="*/ 75295 w 102822"/>
                <a:gd name="connsiteY17" fmla="*/ 5915 h 125110"/>
                <a:gd name="connsiteX18" fmla="*/ 75066 w 102822"/>
                <a:gd name="connsiteY18" fmla="*/ 6353 h 125110"/>
                <a:gd name="connsiteX19" fmla="*/ 75981 w 102822"/>
                <a:gd name="connsiteY19" fmla="*/ 6677 h 125110"/>
                <a:gd name="connsiteX20" fmla="*/ 79724 w 102822"/>
                <a:gd name="connsiteY20" fmla="*/ 5153 h 125110"/>
                <a:gd name="connsiteX21" fmla="*/ 46987 w 102822"/>
                <a:gd name="connsiteY21" fmla="*/ 14221 h 125110"/>
                <a:gd name="connsiteX22" fmla="*/ 44806 w 102822"/>
                <a:gd name="connsiteY22" fmla="*/ 14126 h 125110"/>
                <a:gd name="connsiteX23" fmla="*/ 41624 w 102822"/>
                <a:gd name="connsiteY23" fmla="*/ 16974 h 125110"/>
                <a:gd name="connsiteX24" fmla="*/ 42043 w 102822"/>
                <a:gd name="connsiteY24" fmla="*/ 17497 h 125110"/>
                <a:gd name="connsiteX25" fmla="*/ 46987 w 102822"/>
                <a:gd name="connsiteY25" fmla="*/ 14221 h 125110"/>
                <a:gd name="connsiteX26" fmla="*/ 92221 w 102822"/>
                <a:gd name="connsiteY26" fmla="*/ 0 h 125110"/>
                <a:gd name="connsiteX27" fmla="*/ 90983 w 102822"/>
                <a:gd name="connsiteY27" fmla="*/ 0 h 125110"/>
                <a:gd name="connsiteX28" fmla="*/ 88687 w 102822"/>
                <a:gd name="connsiteY28" fmla="*/ 895 h 125110"/>
                <a:gd name="connsiteX29" fmla="*/ 87973 w 102822"/>
                <a:gd name="connsiteY29" fmla="*/ 2086 h 125110"/>
                <a:gd name="connsiteX30" fmla="*/ 90449 w 102822"/>
                <a:gd name="connsiteY30" fmla="*/ 1934 h 125110"/>
                <a:gd name="connsiteX31" fmla="*/ 92221 w 102822"/>
                <a:gd name="connsiteY31" fmla="*/ 0 h 125110"/>
                <a:gd name="connsiteX32" fmla="*/ 17650 w 102822"/>
                <a:gd name="connsiteY32" fmla="*/ 97717 h 125110"/>
                <a:gd name="connsiteX33" fmla="*/ 14240 w 102822"/>
                <a:gd name="connsiteY33" fmla="*/ 99489 h 125110"/>
                <a:gd name="connsiteX34" fmla="*/ 9782 w 102822"/>
                <a:gd name="connsiteY34" fmla="*/ 98870 h 125110"/>
                <a:gd name="connsiteX35" fmla="*/ 6391 w 102822"/>
                <a:gd name="connsiteY35" fmla="*/ 97574 h 125110"/>
                <a:gd name="connsiteX36" fmla="*/ 2019 w 102822"/>
                <a:gd name="connsiteY36" fmla="*/ 97822 h 125110"/>
                <a:gd name="connsiteX37" fmla="*/ 0 w 102822"/>
                <a:gd name="connsiteY37" fmla="*/ 98498 h 125110"/>
                <a:gd name="connsiteX38" fmla="*/ 800 w 102822"/>
                <a:gd name="connsiteY38" fmla="*/ 102194 h 125110"/>
                <a:gd name="connsiteX39" fmla="*/ 1410 w 102822"/>
                <a:gd name="connsiteY39" fmla="*/ 103365 h 125110"/>
                <a:gd name="connsiteX40" fmla="*/ 2200 w 102822"/>
                <a:gd name="connsiteY40" fmla="*/ 104127 h 125110"/>
                <a:gd name="connsiteX41" fmla="*/ 3248 w 102822"/>
                <a:gd name="connsiteY41" fmla="*/ 104280 h 125110"/>
                <a:gd name="connsiteX42" fmla="*/ 4458 w 102822"/>
                <a:gd name="connsiteY42" fmla="*/ 103365 h 125110"/>
                <a:gd name="connsiteX43" fmla="*/ 6144 w 102822"/>
                <a:gd name="connsiteY43" fmla="*/ 102403 h 125110"/>
                <a:gd name="connsiteX44" fmla="*/ 8858 w 102822"/>
                <a:gd name="connsiteY44" fmla="*/ 102851 h 125110"/>
                <a:gd name="connsiteX45" fmla="*/ 10830 w 102822"/>
                <a:gd name="connsiteY45" fmla="*/ 103737 h 125110"/>
                <a:gd name="connsiteX46" fmla="*/ 11535 w 102822"/>
                <a:gd name="connsiteY46" fmla="*/ 104661 h 125110"/>
                <a:gd name="connsiteX47" fmla="*/ 12840 w 102822"/>
                <a:gd name="connsiteY47" fmla="*/ 105537 h 125110"/>
                <a:gd name="connsiteX48" fmla="*/ 14745 w 102822"/>
                <a:gd name="connsiteY48" fmla="*/ 105747 h 125110"/>
                <a:gd name="connsiteX49" fmla="*/ 18431 w 102822"/>
                <a:gd name="connsiteY49" fmla="*/ 104070 h 125110"/>
                <a:gd name="connsiteX50" fmla="*/ 21974 w 102822"/>
                <a:gd name="connsiteY50" fmla="*/ 101508 h 125110"/>
                <a:gd name="connsiteX51" fmla="*/ 23012 w 102822"/>
                <a:gd name="connsiteY51" fmla="*/ 99727 h 125110"/>
                <a:gd name="connsiteX52" fmla="*/ 23403 w 102822"/>
                <a:gd name="connsiteY52" fmla="*/ 98117 h 125110"/>
                <a:gd name="connsiteX53" fmla="*/ 20336 w 102822"/>
                <a:gd name="connsiteY53" fmla="*/ 99222 h 125110"/>
                <a:gd name="connsiteX54" fmla="*/ 17650 w 102822"/>
                <a:gd name="connsiteY54" fmla="*/ 97717 h 125110"/>
                <a:gd name="connsiteX55" fmla="*/ 102822 w 102822"/>
                <a:gd name="connsiteY55" fmla="*/ 15373 h 125110"/>
                <a:gd name="connsiteX56" fmla="*/ 99098 w 102822"/>
                <a:gd name="connsiteY56" fmla="*/ 14564 h 125110"/>
                <a:gd name="connsiteX57" fmla="*/ 96698 w 102822"/>
                <a:gd name="connsiteY57" fmla="*/ 13373 h 125110"/>
                <a:gd name="connsiteX58" fmla="*/ 95202 w 102822"/>
                <a:gd name="connsiteY58" fmla="*/ 11221 h 125110"/>
                <a:gd name="connsiteX59" fmla="*/ 92631 w 102822"/>
                <a:gd name="connsiteY59" fmla="*/ 8277 h 125110"/>
                <a:gd name="connsiteX60" fmla="*/ 85877 w 102822"/>
                <a:gd name="connsiteY60" fmla="*/ 8582 h 125110"/>
                <a:gd name="connsiteX61" fmla="*/ 80258 w 102822"/>
                <a:gd name="connsiteY61" fmla="*/ 9430 h 125110"/>
                <a:gd name="connsiteX62" fmla="*/ 72476 w 102822"/>
                <a:gd name="connsiteY62" fmla="*/ 9792 h 125110"/>
                <a:gd name="connsiteX63" fmla="*/ 67437 w 102822"/>
                <a:gd name="connsiteY63" fmla="*/ 11221 h 125110"/>
                <a:gd name="connsiteX64" fmla="*/ 58312 w 102822"/>
                <a:gd name="connsiteY64" fmla="*/ 15983 h 125110"/>
                <a:gd name="connsiteX65" fmla="*/ 56016 w 102822"/>
                <a:gd name="connsiteY65" fmla="*/ 18412 h 125110"/>
                <a:gd name="connsiteX66" fmla="*/ 53673 w 102822"/>
                <a:gd name="connsiteY66" fmla="*/ 23641 h 125110"/>
                <a:gd name="connsiteX67" fmla="*/ 45729 w 102822"/>
                <a:gd name="connsiteY67" fmla="*/ 29661 h 125110"/>
                <a:gd name="connsiteX68" fmla="*/ 41100 w 102822"/>
                <a:gd name="connsiteY68" fmla="*/ 31975 h 125110"/>
                <a:gd name="connsiteX69" fmla="*/ 39796 w 102822"/>
                <a:gd name="connsiteY69" fmla="*/ 31090 h 125110"/>
                <a:gd name="connsiteX70" fmla="*/ 37919 w 102822"/>
                <a:gd name="connsiteY70" fmla="*/ 30509 h 125110"/>
                <a:gd name="connsiteX71" fmla="*/ 36424 w 102822"/>
                <a:gd name="connsiteY71" fmla="*/ 33566 h 125110"/>
                <a:gd name="connsiteX72" fmla="*/ 35500 w 102822"/>
                <a:gd name="connsiteY72" fmla="*/ 36319 h 125110"/>
                <a:gd name="connsiteX73" fmla="*/ 32395 w 102822"/>
                <a:gd name="connsiteY73" fmla="*/ 52445 h 125110"/>
                <a:gd name="connsiteX74" fmla="*/ 30280 w 102822"/>
                <a:gd name="connsiteY74" fmla="*/ 58274 h 125110"/>
                <a:gd name="connsiteX75" fmla="*/ 27432 w 102822"/>
                <a:gd name="connsiteY75" fmla="*/ 63170 h 125110"/>
                <a:gd name="connsiteX76" fmla="*/ 22955 w 102822"/>
                <a:gd name="connsiteY76" fmla="*/ 69152 h 125110"/>
                <a:gd name="connsiteX77" fmla="*/ 20898 w 102822"/>
                <a:gd name="connsiteY77" fmla="*/ 71190 h 125110"/>
                <a:gd name="connsiteX78" fmla="*/ 19640 w 102822"/>
                <a:gd name="connsiteY78" fmla="*/ 71961 h 125110"/>
                <a:gd name="connsiteX79" fmla="*/ 18069 w 102822"/>
                <a:gd name="connsiteY79" fmla="*/ 74838 h 125110"/>
                <a:gd name="connsiteX80" fmla="*/ 16811 w 102822"/>
                <a:gd name="connsiteY80" fmla="*/ 78286 h 125110"/>
                <a:gd name="connsiteX81" fmla="*/ 15954 w 102822"/>
                <a:gd name="connsiteY81" fmla="*/ 79896 h 125110"/>
                <a:gd name="connsiteX82" fmla="*/ 20974 w 102822"/>
                <a:gd name="connsiteY82" fmla="*/ 85820 h 125110"/>
                <a:gd name="connsiteX83" fmla="*/ 21603 w 102822"/>
                <a:gd name="connsiteY83" fmla="*/ 87516 h 125110"/>
                <a:gd name="connsiteX84" fmla="*/ 22260 w 102822"/>
                <a:gd name="connsiteY84" fmla="*/ 88506 h 125110"/>
                <a:gd name="connsiteX85" fmla="*/ 17507 w 102822"/>
                <a:gd name="connsiteY85" fmla="*/ 89125 h 125110"/>
                <a:gd name="connsiteX86" fmla="*/ 19526 w 102822"/>
                <a:gd name="connsiteY86" fmla="*/ 91040 h 125110"/>
                <a:gd name="connsiteX87" fmla="*/ 22069 w 102822"/>
                <a:gd name="connsiteY87" fmla="*/ 92412 h 125110"/>
                <a:gd name="connsiteX88" fmla="*/ 23774 w 102822"/>
                <a:gd name="connsiteY88" fmla="*/ 93069 h 125110"/>
                <a:gd name="connsiteX89" fmla="*/ 24708 w 102822"/>
                <a:gd name="connsiteY89" fmla="*/ 94450 h 125110"/>
                <a:gd name="connsiteX90" fmla="*/ 22879 w 102822"/>
                <a:gd name="connsiteY90" fmla="*/ 95088 h 125110"/>
                <a:gd name="connsiteX91" fmla="*/ 21155 w 102822"/>
                <a:gd name="connsiteY91" fmla="*/ 95126 h 125110"/>
                <a:gd name="connsiteX92" fmla="*/ 14335 w 102822"/>
                <a:gd name="connsiteY92" fmla="*/ 90049 h 125110"/>
                <a:gd name="connsiteX93" fmla="*/ 10544 w 102822"/>
                <a:gd name="connsiteY93" fmla="*/ 89116 h 125110"/>
                <a:gd name="connsiteX94" fmla="*/ 5324 w 102822"/>
                <a:gd name="connsiteY94" fmla="*/ 89411 h 125110"/>
                <a:gd name="connsiteX95" fmla="*/ 4010 w 102822"/>
                <a:gd name="connsiteY95" fmla="*/ 89945 h 125110"/>
                <a:gd name="connsiteX96" fmla="*/ 2657 w 102822"/>
                <a:gd name="connsiteY96" fmla="*/ 91488 h 125110"/>
                <a:gd name="connsiteX97" fmla="*/ 4572 w 102822"/>
                <a:gd name="connsiteY97" fmla="*/ 93831 h 125110"/>
                <a:gd name="connsiteX98" fmla="*/ 6344 w 102822"/>
                <a:gd name="connsiteY98" fmla="*/ 95212 h 125110"/>
                <a:gd name="connsiteX99" fmla="*/ 9192 w 102822"/>
                <a:gd name="connsiteY99" fmla="*/ 95393 h 125110"/>
                <a:gd name="connsiteX100" fmla="*/ 12620 w 102822"/>
                <a:gd name="connsiteY100" fmla="*/ 97126 h 125110"/>
                <a:gd name="connsiteX101" fmla="*/ 17554 w 102822"/>
                <a:gd name="connsiteY101" fmla="*/ 95679 h 125110"/>
                <a:gd name="connsiteX102" fmla="*/ 21098 w 102822"/>
                <a:gd name="connsiteY102" fmla="*/ 97460 h 125110"/>
                <a:gd name="connsiteX103" fmla="*/ 23431 w 102822"/>
                <a:gd name="connsiteY103" fmla="*/ 98098 h 125110"/>
                <a:gd name="connsiteX104" fmla="*/ 25527 w 102822"/>
                <a:gd name="connsiteY104" fmla="*/ 99165 h 125110"/>
                <a:gd name="connsiteX105" fmla="*/ 27375 w 102822"/>
                <a:gd name="connsiteY105" fmla="*/ 99393 h 125110"/>
                <a:gd name="connsiteX106" fmla="*/ 28184 w 102822"/>
                <a:gd name="connsiteY106" fmla="*/ 98917 h 125110"/>
                <a:gd name="connsiteX107" fmla="*/ 27670 w 102822"/>
                <a:gd name="connsiteY107" fmla="*/ 96336 h 125110"/>
                <a:gd name="connsiteX108" fmla="*/ 29175 w 102822"/>
                <a:gd name="connsiteY108" fmla="*/ 94955 h 125110"/>
                <a:gd name="connsiteX109" fmla="*/ 30842 w 102822"/>
                <a:gd name="connsiteY109" fmla="*/ 94317 h 125110"/>
                <a:gd name="connsiteX110" fmla="*/ 31594 w 102822"/>
                <a:gd name="connsiteY110" fmla="*/ 95441 h 125110"/>
                <a:gd name="connsiteX111" fmla="*/ 33128 w 102822"/>
                <a:gd name="connsiteY111" fmla="*/ 96584 h 125110"/>
                <a:gd name="connsiteX112" fmla="*/ 34328 w 102822"/>
                <a:gd name="connsiteY112" fmla="*/ 96593 h 125110"/>
                <a:gd name="connsiteX113" fmla="*/ 37585 w 102822"/>
                <a:gd name="connsiteY113" fmla="*/ 93621 h 125110"/>
                <a:gd name="connsiteX114" fmla="*/ 38348 w 102822"/>
                <a:gd name="connsiteY114" fmla="*/ 94212 h 125110"/>
                <a:gd name="connsiteX115" fmla="*/ 39053 w 102822"/>
                <a:gd name="connsiteY115" fmla="*/ 95269 h 125110"/>
                <a:gd name="connsiteX116" fmla="*/ 39205 w 102822"/>
                <a:gd name="connsiteY116" fmla="*/ 96117 h 125110"/>
                <a:gd name="connsiteX117" fmla="*/ 39329 w 102822"/>
                <a:gd name="connsiteY117" fmla="*/ 97012 h 125110"/>
                <a:gd name="connsiteX118" fmla="*/ 40062 w 102822"/>
                <a:gd name="connsiteY118" fmla="*/ 97384 h 125110"/>
                <a:gd name="connsiteX119" fmla="*/ 42624 w 102822"/>
                <a:gd name="connsiteY119" fmla="*/ 97193 h 125110"/>
                <a:gd name="connsiteX120" fmla="*/ 43929 w 102822"/>
                <a:gd name="connsiteY120" fmla="*/ 95583 h 125110"/>
                <a:gd name="connsiteX121" fmla="*/ 44948 w 102822"/>
                <a:gd name="connsiteY121" fmla="*/ 94574 h 125110"/>
                <a:gd name="connsiteX122" fmla="*/ 45711 w 102822"/>
                <a:gd name="connsiteY122" fmla="*/ 95260 h 125110"/>
                <a:gd name="connsiteX123" fmla="*/ 46082 w 102822"/>
                <a:gd name="connsiteY123" fmla="*/ 97241 h 125110"/>
                <a:gd name="connsiteX124" fmla="*/ 46787 w 102822"/>
                <a:gd name="connsiteY124" fmla="*/ 99822 h 125110"/>
                <a:gd name="connsiteX125" fmla="*/ 49844 w 102822"/>
                <a:gd name="connsiteY125" fmla="*/ 102699 h 125110"/>
                <a:gd name="connsiteX126" fmla="*/ 52426 w 102822"/>
                <a:gd name="connsiteY126" fmla="*/ 103518 h 125110"/>
                <a:gd name="connsiteX127" fmla="*/ 55597 w 102822"/>
                <a:gd name="connsiteY127" fmla="*/ 102956 h 125110"/>
                <a:gd name="connsiteX128" fmla="*/ 56855 w 102822"/>
                <a:gd name="connsiteY128" fmla="*/ 102441 h 125110"/>
                <a:gd name="connsiteX129" fmla="*/ 57702 w 102822"/>
                <a:gd name="connsiteY129" fmla="*/ 102870 h 125110"/>
                <a:gd name="connsiteX130" fmla="*/ 58550 w 102822"/>
                <a:gd name="connsiteY130" fmla="*/ 104394 h 125110"/>
                <a:gd name="connsiteX131" fmla="*/ 60379 w 102822"/>
                <a:gd name="connsiteY131" fmla="*/ 106137 h 125110"/>
                <a:gd name="connsiteX132" fmla="*/ 64218 w 102822"/>
                <a:gd name="connsiteY132" fmla="*/ 107366 h 125110"/>
                <a:gd name="connsiteX133" fmla="*/ 65399 w 102822"/>
                <a:gd name="connsiteY133" fmla="*/ 108061 h 125110"/>
                <a:gd name="connsiteX134" fmla="*/ 66218 w 102822"/>
                <a:gd name="connsiteY134" fmla="*/ 109233 h 125110"/>
                <a:gd name="connsiteX135" fmla="*/ 65980 w 102822"/>
                <a:gd name="connsiteY135" fmla="*/ 110900 h 125110"/>
                <a:gd name="connsiteX136" fmla="*/ 64151 w 102822"/>
                <a:gd name="connsiteY136" fmla="*/ 115043 h 125110"/>
                <a:gd name="connsiteX137" fmla="*/ 63913 w 102822"/>
                <a:gd name="connsiteY137" fmla="*/ 116262 h 125110"/>
                <a:gd name="connsiteX138" fmla="*/ 64160 w 102822"/>
                <a:gd name="connsiteY138" fmla="*/ 116672 h 125110"/>
                <a:gd name="connsiteX139" fmla="*/ 63798 w 102822"/>
                <a:gd name="connsiteY139" fmla="*/ 117434 h 125110"/>
                <a:gd name="connsiteX140" fmla="*/ 61417 w 102822"/>
                <a:gd name="connsiteY140" fmla="*/ 120205 h 125110"/>
                <a:gd name="connsiteX141" fmla="*/ 61208 w 102822"/>
                <a:gd name="connsiteY141" fmla="*/ 121187 h 125110"/>
                <a:gd name="connsiteX142" fmla="*/ 61998 w 102822"/>
                <a:gd name="connsiteY142" fmla="*/ 122777 h 125110"/>
                <a:gd name="connsiteX143" fmla="*/ 62655 w 102822"/>
                <a:gd name="connsiteY143" fmla="*/ 124092 h 125110"/>
                <a:gd name="connsiteX144" fmla="*/ 62655 w 102822"/>
                <a:gd name="connsiteY144" fmla="*/ 124092 h 125110"/>
                <a:gd name="connsiteX145" fmla="*/ 64084 w 102822"/>
                <a:gd name="connsiteY145" fmla="*/ 124730 h 125110"/>
                <a:gd name="connsiteX146" fmla="*/ 65427 w 102822"/>
                <a:gd name="connsiteY146" fmla="*/ 124939 h 125110"/>
                <a:gd name="connsiteX147" fmla="*/ 67970 w 102822"/>
                <a:gd name="connsiteY147" fmla="*/ 125025 h 125110"/>
                <a:gd name="connsiteX148" fmla="*/ 70685 w 102822"/>
                <a:gd name="connsiteY148" fmla="*/ 125111 h 125110"/>
                <a:gd name="connsiteX149" fmla="*/ 72142 w 102822"/>
                <a:gd name="connsiteY149" fmla="*/ 118586 h 125110"/>
                <a:gd name="connsiteX150" fmla="*/ 71028 w 102822"/>
                <a:gd name="connsiteY150" fmla="*/ 116681 h 125110"/>
                <a:gd name="connsiteX151" fmla="*/ 69647 w 102822"/>
                <a:gd name="connsiteY151" fmla="*/ 115710 h 125110"/>
                <a:gd name="connsiteX152" fmla="*/ 68037 w 102822"/>
                <a:gd name="connsiteY152" fmla="*/ 115233 h 125110"/>
                <a:gd name="connsiteX153" fmla="*/ 67294 w 102822"/>
                <a:gd name="connsiteY153" fmla="*/ 114328 h 125110"/>
                <a:gd name="connsiteX154" fmla="*/ 67037 w 102822"/>
                <a:gd name="connsiteY154" fmla="*/ 113290 h 125110"/>
                <a:gd name="connsiteX155" fmla="*/ 67323 w 102822"/>
                <a:gd name="connsiteY155" fmla="*/ 112652 h 125110"/>
                <a:gd name="connsiteX156" fmla="*/ 69218 w 102822"/>
                <a:gd name="connsiteY156" fmla="*/ 112843 h 125110"/>
                <a:gd name="connsiteX157" fmla="*/ 69809 w 102822"/>
                <a:gd name="connsiteY157" fmla="*/ 112166 h 125110"/>
                <a:gd name="connsiteX158" fmla="*/ 74324 w 102822"/>
                <a:gd name="connsiteY158" fmla="*/ 108318 h 125110"/>
                <a:gd name="connsiteX159" fmla="*/ 74514 w 102822"/>
                <a:gd name="connsiteY159" fmla="*/ 107575 h 125110"/>
                <a:gd name="connsiteX160" fmla="*/ 73885 w 102822"/>
                <a:gd name="connsiteY160" fmla="*/ 107156 h 125110"/>
                <a:gd name="connsiteX161" fmla="*/ 73066 w 102822"/>
                <a:gd name="connsiteY161" fmla="*/ 106937 h 125110"/>
                <a:gd name="connsiteX162" fmla="*/ 72857 w 102822"/>
                <a:gd name="connsiteY162" fmla="*/ 106128 h 125110"/>
                <a:gd name="connsiteX163" fmla="*/ 72885 w 102822"/>
                <a:gd name="connsiteY163" fmla="*/ 105061 h 125110"/>
                <a:gd name="connsiteX164" fmla="*/ 75295 w 102822"/>
                <a:gd name="connsiteY164" fmla="*/ 99489 h 125110"/>
                <a:gd name="connsiteX165" fmla="*/ 76010 w 102822"/>
                <a:gd name="connsiteY165" fmla="*/ 97107 h 125110"/>
                <a:gd name="connsiteX166" fmla="*/ 76172 w 102822"/>
                <a:gd name="connsiteY166" fmla="*/ 95422 h 125110"/>
                <a:gd name="connsiteX167" fmla="*/ 76019 w 102822"/>
                <a:gd name="connsiteY167" fmla="*/ 93755 h 125110"/>
                <a:gd name="connsiteX168" fmla="*/ 74628 w 102822"/>
                <a:gd name="connsiteY168" fmla="*/ 91135 h 125110"/>
                <a:gd name="connsiteX169" fmla="*/ 73285 w 102822"/>
                <a:gd name="connsiteY169" fmla="*/ 89040 h 125110"/>
                <a:gd name="connsiteX170" fmla="*/ 73238 w 102822"/>
                <a:gd name="connsiteY170" fmla="*/ 87373 h 125110"/>
                <a:gd name="connsiteX171" fmla="*/ 72257 w 102822"/>
                <a:gd name="connsiteY171" fmla="*/ 86496 h 125110"/>
                <a:gd name="connsiteX172" fmla="*/ 69475 w 102822"/>
                <a:gd name="connsiteY172" fmla="*/ 82010 h 125110"/>
                <a:gd name="connsiteX173" fmla="*/ 69475 w 102822"/>
                <a:gd name="connsiteY173" fmla="*/ 80277 h 125110"/>
                <a:gd name="connsiteX174" fmla="*/ 71047 w 102822"/>
                <a:gd name="connsiteY174" fmla="*/ 78924 h 125110"/>
                <a:gd name="connsiteX175" fmla="*/ 73247 w 102822"/>
                <a:gd name="connsiteY175" fmla="*/ 78067 h 125110"/>
                <a:gd name="connsiteX176" fmla="*/ 73981 w 102822"/>
                <a:gd name="connsiteY176" fmla="*/ 77353 h 125110"/>
                <a:gd name="connsiteX177" fmla="*/ 75295 w 102822"/>
                <a:gd name="connsiteY177" fmla="*/ 76905 h 125110"/>
                <a:gd name="connsiteX178" fmla="*/ 78791 w 102822"/>
                <a:gd name="connsiteY178" fmla="*/ 78200 h 125110"/>
                <a:gd name="connsiteX179" fmla="*/ 80353 w 102822"/>
                <a:gd name="connsiteY179" fmla="*/ 79324 h 125110"/>
                <a:gd name="connsiteX180" fmla="*/ 80791 w 102822"/>
                <a:gd name="connsiteY180" fmla="*/ 79096 h 125110"/>
                <a:gd name="connsiteX181" fmla="*/ 82201 w 102822"/>
                <a:gd name="connsiteY181" fmla="*/ 77876 h 125110"/>
                <a:gd name="connsiteX182" fmla="*/ 84677 w 102822"/>
                <a:gd name="connsiteY182" fmla="*/ 78067 h 125110"/>
                <a:gd name="connsiteX183" fmla="*/ 90668 w 102822"/>
                <a:gd name="connsiteY183" fmla="*/ 75610 h 125110"/>
                <a:gd name="connsiteX184" fmla="*/ 91564 w 102822"/>
                <a:gd name="connsiteY184" fmla="*/ 74428 h 125110"/>
                <a:gd name="connsiteX185" fmla="*/ 92230 w 102822"/>
                <a:gd name="connsiteY185" fmla="*/ 73171 h 125110"/>
                <a:gd name="connsiteX186" fmla="*/ 92288 w 102822"/>
                <a:gd name="connsiteY186" fmla="*/ 72619 h 125110"/>
                <a:gd name="connsiteX187" fmla="*/ 89964 w 102822"/>
                <a:gd name="connsiteY187" fmla="*/ 70190 h 125110"/>
                <a:gd name="connsiteX188" fmla="*/ 89897 w 102822"/>
                <a:gd name="connsiteY188" fmla="*/ 69294 h 125110"/>
                <a:gd name="connsiteX189" fmla="*/ 90202 w 102822"/>
                <a:gd name="connsiteY189" fmla="*/ 68285 h 125110"/>
                <a:gd name="connsiteX190" fmla="*/ 90859 w 102822"/>
                <a:gd name="connsiteY190" fmla="*/ 67485 h 125110"/>
                <a:gd name="connsiteX191" fmla="*/ 92230 w 102822"/>
                <a:gd name="connsiteY191" fmla="*/ 66942 h 125110"/>
                <a:gd name="connsiteX192" fmla="*/ 93688 w 102822"/>
                <a:gd name="connsiteY192" fmla="*/ 65875 h 125110"/>
                <a:gd name="connsiteX193" fmla="*/ 96955 w 102822"/>
                <a:gd name="connsiteY193" fmla="*/ 62846 h 125110"/>
                <a:gd name="connsiteX194" fmla="*/ 98088 w 102822"/>
                <a:gd name="connsiteY194" fmla="*/ 60217 h 125110"/>
                <a:gd name="connsiteX195" fmla="*/ 98441 w 102822"/>
                <a:gd name="connsiteY195" fmla="*/ 57360 h 125110"/>
                <a:gd name="connsiteX196" fmla="*/ 98508 w 102822"/>
                <a:gd name="connsiteY196" fmla="*/ 55226 h 125110"/>
                <a:gd name="connsiteX197" fmla="*/ 97612 w 102822"/>
                <a:gd name="connsiteY197" fmla="*/ 53530 h 125110"/>
                <a:gd name="connsiteX198" fmla="*/ 96707 w 102822"/>
                <a:gd name="connsiteY198" fmla="*/ 52435 h 125110"/>
                <a:gd name="connsiteX199" fmla="*/ 95478 w 102822"/>
                <a:gd name="connsiteY199" fmla="*/ 52607 h 125110"/>
                <a:gd name="connsiteX200" fmla="*/ 93088 w 102822"/>
                <a:gd name="connsiteY200" fmla="*/ 52521 h 125110"/>
                <a:gd name="connsiteX201" fmla="*/ 90849 w 102822"/>
                <a:gd name="connsiteY201" fmla="*/ 51568 h 125110"/>
                <a:gd name="connsiteX202" fmla="*/ 89621 w 102822"/>
                <a:gd name="connsiteY202" fmla="*/ 50025 h 125110"/>
                <a:gd name="connsiteX203" fmla="*/ 89316 w 102822"/>
                <a:gd name="connsiteY203" fmla="*/ 48673 h 125110"/>
                <a:gd name="connsiteX204" fmla="*/ 89878 w 102822"/>
                <a:gd name="connsiteY204" fmla="*/ 47816 h 125110"/>
                <a:gd name="connsiteX205" fmla="*/ 90049 w 102822"/>
                <a:gd name="connsiteY205" fmla="*/ 46768 h 125110"/>
                <a:gd name="connsiteX206" fmla="*/ 89687 w 102822"/>
                <a:gd name="connsiteY206" fmla="*/ 45711 h 125110"/>
                <a:gd name="connsiteX207" fmla="*/ 89830 w 102822"/>
                <a:gd name="connsiteY207" fmla="*/ 44825 h 125110"/>
                <a:gd name="connsiteX208" fmla="*/ 90840 w 102822"/>
                <a:gd name="connsiteY208" fmla="*/ 44110 h 125110"/>
                <a:gd name="connsiteX209" fmla="*/ 97917 w 102822"/>
                <a:gd name="connsiteY209" fmla="*/ 44129 h 125110"/>
                <a:gd name="connsiteX210" fmla="*/ 98450 w 102822"/>
                <a:gd name="connsiteY210" fmla="*/ 43348 h 125110"/>
                <a:gd name="connsiteX211" fmla="*/ 98927 w 102822"/>
                <a:gd name="connsiteY211" fmla="*/ 39234 h 125110"/>
                <a:gd name="connsiteX212" fmla="*/ 100698 w 102822"/>
                <a:gd name="connsiteY212" fmla="*/ 32956 h 125110"/>
                <a:gd name="connsiteX213" fmla="*/ 102365 w 102822"/>
                <a:gd name="connsiteY213" fmla="*/ 29451 h 125110"/>
                <a:gd name="connsiteX214" fmla="*/ 102641 w 102822"/>
                <a:gd name="connsiteY214" fmla="*/ 27975 h 125110"/>
                <a:gd name="connsiteX215" fmla="*/ 102613 w 102822"/>
                <a:gd name="connsiteY215" fmla="*/ 19641 h 125110"/>
                <a:gd name="connsiteX216" fmla="*/ 102822 w 102822"/>
                <a:gd name="connsiteY216" fmla="*/ 15373 h 125110"/>
                <a:gd name="connsiteX217" fmla="*/ 10182 w 102822"/>
                <a:gd name="connsiteY217" fmla="*/ 85611 h 125110"/>
                <a:gd name="connsiteX218" fmla="*/ 12516 w 102822"/>
                <a:gd name="connsiteY218" fmla="*/ 84934 h 125110"/>
                <a:gd name="connsiteX219" fmla="*/ 16050 w 102822"/>
                <a:gd name="connsiteY219" fmla="*/ 87811 h 125110"/>
                <a:gd name="connsiteX220" fmla="*/ 19364 w 102822"/>
                <a:gd name="connsiteY220" fmla="*/ 86878 h 125110"/>
                <a:gd name="connsiteX221" fmla="*/ 19164 w 102822"/>
                <a:gd name="connsiteY221" fmla="*/ 86078 h 125110"/>
                <a:gd name="connsiteX222" fmla="*/ 18602 w 102822"/>
                <a:gd name="connsiteY222" fmla="*/ 85325 h 125110"/>
                <a:gd name="connsiteX223" fmla="*/ 15992 w 102822"/>
                <a:gd name="connsiteY223" fmla="*/ 82972 h 125110"/>
                <a:gd name="connsiteX224" fmla="*/ 11716 w 102822"/>
                <a:gd name="connsiteY224" fmla="*/ 82677 h 125110"/>
                <a:gd name="connsiteX225" fmla="*/ 9296 w 102822"/>
                <a:gd name="connsiteY225" fmla="*/ 83401 h 125110"/>
                <a:gd name="connsiteX226" fmla="*/ 9306 w 102822"/>
                <a:gd name="connsiteY226" fmla="*/ 84249 h 125110"/>
                <a:gd name="connsiteX227" fmla="*/ 10182 w 102822"/>
                <a:gd name="connsiteY227" fmla="*/ 85611 h 125110"/>
                <a:gd name="connsiteX228" fmla="*/ 38395 w 102822"/>
                <a:gd name="connsiteY228" fmla="*/ 27927 h 125110"/>
                <a:gd name="connsiteX229" fmla="*/ 41043 w 102822"/>
                <a:gd name="connsiteY229" fmla="*/ 24784 h 125110"/>
                <a:gd name="connsiteX230" fmla="*/ 41043 w 102822"/>
                <a:gd name="connsiteY230" fmla="*/ 19783 h 125110"/>
                <a:gd name="connsiteX231" fmla="*/ 37129 w 102822"/>
                <a:gd name="connsiteY231" fmla="*/ 23870 h 125110"/>
                <a:gd name="connsiteX232" fmla="*/ 36309 w 102822"/>
                <a:gd name="connsiteY232" fmla="*/ 26327 h 125110"/>
                <a:gd name="connsiteX233" fmla="*/ 36776 w 102822"/>
                <a:gd name="connsiteY233" fmla="*/ 27061 h 125110"/>
                <a:gd name="connsiteX234" fmla="*/ 38395 w 102822"/>
                <a:gd name="connsiteY234" fmla="*/ 27927 h 12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</a:cxnLst>
              <a:rect l="l" t="t" r="r" b="b"/>
              <a:pathLst>
                <a:path w="102822" h="125110">
                  <a:moveTo>
                    <a:pt x="50302" y="11106"/>
                  </a:moveTo>
                  <a:lnTo>
                    <a:pt x="49168" y="10487"/>
                  </a:lnTo>
                  <a:lnTo>
                    <a:pt x="55178" y="8706"/>
                  </a:lnTo>
                  <a:lnTo>
                    <a:pt x="58979" y="8163"/>
                  </a:lnTo>
                  <a:lnTo>
                    <a:pt x="59655" y="8401"/>
                  </a:lnTo>
                  <a:lnTo>
                    <a:pt x="52787" y="10744"/>
                  </a:lnTo>
                  <a:lnTo>
                    <a:pt x="50302" y="11106"/>
                  </a:lnTo>
                  <a:close/>
                  <a:moveTo>
                    <a:pt x="63646" y="8211"/>
                  </a:moveTo>
                  <a:lnTo>
                    <a:pt x="68923" y="7477"/>
                  </a:lnTo>
                  <a:lnTo>
                    <a:pt x="68894" y="7201"/>
                  </a:lnTo>
                  <a:lnTo>
                    <a:pt x="67504" y="6753"/>
                  </a:lnTo>
                  <a:lnTo>
                    <a:pt x="63008" y="6830"/>
                  </a:lnTo>
                  <a:lnTo>
                    <a:pt x="61569" y="7144"/>
                  </a:lnTo>
                  <a:lnTo>
                    <a:pt x="61865" y="7668"/>
                  </a:lnTo>
                  <a:lnTo>
                    <a:pt x="63646" y="8211"/>
                  </a:lnTo>
                  <a:close/>
                  <a:moveTo>
                    <a:pt x="79724" y="5153"/>
                  </a:moveTo>
                  <a:lnTo>
                    <a:pt x="78591" y="4962"/>
                  </a:lnTo>
                  <a:lnTo>
                    <a:pt x="75295" y="5915"/>
                  </a:lnTo>
                  <a:lnTo>
                    <a:pt x="75066" y="6353"/>
                  </a:lnTo>
                  <a:lnTo>
                    <a:pt x="75981" y="6677"/>
                  </a:lnTo>
                  <a:lnTo>
                    <a:pt x="79724" y="5153"/>
                  </a:lnTo>
                  <a:close/>
                  <a:moveTo>
                    <a:pt x="46987" y="14221"/>
                  </a:moveTo>
                  <a:lnTo>
                    <a:pt x="44806" y="14126"/>
                  </a:lnTo>
                  <a:lnTo>
                    <a:pt x="41624" y="16974"/>
                  </a:lnTo>
                  <a:lnTo>
                    <a:pt x="42043" y="17497"/>
                  </a:lnTo>
                  <a:lnTo>
                    <a:pt x="46987" y="14221"/>
                  </a:lnTo>
                  <a:close/>
                  <a:moveTo>
                    <a:pt x="92221" y="0"/>
                  </a:moveTo>
                  <a:lnTo>
                    <a:pt x="90983" y="0"/>
                  </a:lnTo>
                  <a:lnTo>
                    <a:pt x="88687" y="895"/>
                  </a:lnTo>
                  <a:lnTo>
                    <a:pt x="87973" y="2086"/>
                  </a:lnTo>
                  <a:lnTo>
                    <a:pt x="90449" y="1934"/>
                  </a:lnTo>
                  <a:lnTo>
                    <a:pt x="92221" y="0"/>
                  </a:lnTo>
                  <a:close/>
                  <a:moveTo>
                    <a:pt x="17650" y="97717"/>
                  </a:moveTo>
                  <a:lnTo>
                    <a:pt x="14240" y="99489"/>
                  </a:lnTo>
                  <a:lnTo>
                    <a:pt x="9782" y="98870"/>
                  </a:lnTo>
                  <a:lnTo>
                    <a:pt x="6391" y="97574"/>
                  </a:lnTo>
                  <a:lnTo>
                    <a:pt x="2019" y="97822"/>
                  </a:lnTo>
                  <a:lnTo>
                    <a:pt x="0" y="98498"/>
                  </a:lnTo>
                  <a:lnTo>
                    <a:pt x="800" y="102194"/>
                  </a:lnTo>
                  <a:lnTo>
                    <a:pt x="1410" y="103365"/>
                  </a:lnTo>
                  <a:lnTo>
                    <a:pt x="2200" y="104127"/>
                  </a:lnTo>
                  <a:lnTo>
                    <a:pt x="3248" y="104280"/>
                  </a:lnTo>
                  <a:lnTo>
                    <a:pt x="4458" y="103365"/>
                  </a:lnTo>
                  <a:lnTo>
                    <a:pt x="6144" y="102403"/>
                  </a:lnTo>
                  <a:lnTo>
                    <a:pt x="8858" y="102851"/>
                  </a:lnTo>
                  <a:lnTo>
                    <a:pt x="10830" y="103737"/>
                  </a:lnTo>
                  <a:lnTo>
                    <a:pt x="11535" y="104661"/>
                  </a:lnTo>
                  <a:lnTo>
                    <a:pt x="12840" y="105537"/>
                  </a:lnTo>
                  <a:lnTo>
                    <a:pt x="14745" y="105747"/>
                  </a:lnTo>
                  <a:lnTo>
                    <a:pt x="18431" y="104070"/>
                  </a:lnTo>
                  <a:lnTo>
                    <a:pt x="21974" y="101508"/>
                  </a:lnTo>
                  <a:lnTo>
                    <a:pt x="23012" y="99727"/>
                  </a:lnTo>
                  <a:lnTo>
                    <a:pt x="23403" y="98117"/>
                  </a:lnTo>
                  <a:lnTo>
                    <a:pt x="20336" y="99222"/>
                  </a:lnTo>
                  <a:lnTo>
                    <a:pt x="17650" y="97717"/>
                  </a:lnTo>
                  <a:close/>
                  <a:moveTo>
                    <a:pt x="102822" y="15373"/>
                  </a:moveTo>
                  <a:lnTo>
                    <a:pt x="99098" y="14564"/>
                  </a:lnTo>
                  <a:lnTo>
                    <a:pt x="96698" y="13373"/>
                  </a:lnTo>
                  <a:lnTo>
                    <a:pt x="95202" y="11221"/>
                  </a:lnTo>
                  <a:lnTo>
                    <a:pt x="92631" y="8277"/>
                  </a:lnTo>
                  <a:lnTo>
                    <a:pt x="85877" y="8582"/>
                  </a:lnTo>
                  <a:lnTo>
                    <a:pt x="80258" y="9430"/>
                  </a:lnTo>
                  <a:lnTo>
                    <a:pt x="72476" y="9792"/>
                  </a:lnTo>
                  <a:lnTo>
                    <a:pt x="67437" y="11221"/>
                  </a:lnTo>
                  <a:lnTo>
                    <a:pt x="58312" y="15983"/>
                  </a:lnTo>
                  <a:lnTo>
                    <a:pt x="56016" y="18412"/>
                  </a:lnTo>
                  <a:lnTo>
                    <a:pt x="53673" y="23641"/>
                  </a:lnTo>
                  <a:lnTo>
                    <a:pt x="45729" y="29661"/>
                  </a:lnTo>
                  <a:lnTo>
                    <a:pt x="41100" y="31975"/>
                  </a:lnTo>
                  <a:lnTo>
                    <a:pt x="39796" y="31090"/>
                  </a:lnTo>
                  <a:lnTo>
                    <a:pt x="37919" y="30509"/>
                  </a:lnTo>
                  <a:lnTo>
                    <a:pt x="36424" y="33566"/>
                  </a:lnTo>
                  <a:lnTo>
                    <a:pt x="35500" y="36319"/>
                  </a:lnTo>
                  <a:lnTo>
                    <a:pt x="32395" y="52445"/>
                  </a:lnTo>
                  <a:lnTo>
                    <a:pt x="30280" y="58274"/>
                  </a:lnTo>
                  <a:lnTo>
                    <a:pt x="27432" y="63170"/>
                  </a:lnTo>
                  <a:lnTo>
                    <a:pt x="22955" y="69152"/>
                  </a:lnTo>
                  <a:lnTo>
                    <a:pt x="20898" y="71190"/>
                  </a:lnTo>
                  <a:lnTo>
                    <a:pt x="19640" y="71961"/>
                  </a:lnTo>
                  <a:lnTo>
                    <a:pt x="18069" y="74838"/>
                  </a:lnTo>
                  <a:lnTo>
                    <a:pt x="16811" y="78286"/>
                  </a:lnTo>
                  <a:lnTo>
                    <a:pt x="15954" y="79896"/>
                  </a:lnTo>
                  <a:lnTo>
                    <a:pt x="20974" y="85820"/>
                  </a:lnTo>
                  <a:lnTo>
                    <a:pt x="21603" y="87516"/>
                  </a:lnTo>
                  <a:lnTo>
                    <a:pt x="22260" y="88506"/>
                  </a:lnTo>
                  <a:lnTo>
                    <a:pt x="17507" y="89125"/>
                  </a:lnTo>
                  <a:lnTo>
                    <a:pt x="19526" y="91040"/>
                  </a:lnTo>
                  <a:lnTo>
                    <a:pt x="22069" y="92412"/>
                  </a:lnTo>
                  <a:lnTo>
                    <a:pt x="23774" y="93069"/>
                  </a:lnTo>
                  <a:lnTo>
                    <a:pt x="24708" y="94450"/>
                  </a:lnTo>
                  <a:lnTo>
                    <a:pt x="22879" y="95088"/>
                  </a:lnTo>
                  <a:lnTo>
                    <a:pt x="21155" y="95126"/>
                  </a:lnTo>
                  <a:lnTo>
                    <a:pt x="14335" y="90049"/>
                  </a:lnTo>
                  <a:lnTo>
                    <a:pt x="10544" y="89116"/>
                  </a:lnTo>
                  <a:lnTo>
                    <a:pt x="5324" y="89411"/>
                  </a:lnTo>
                  <a:lnTo>
                    <a:pt x="4010" y="89945"/>
                  </a:lnTo>
                  <a:lnTo>
                    <a:pt x="2657" y="91488"/>
                  </a:lnTo>
                  <a:lnTo>
                    <a:pt x="4572" y="93831"/>
                  </a:lnTo>
                  <a:lnTo>
                    <a:pt x="6344" y="95212"/>
                  </a:lnTo>
                  <a:lnTo>
                    <a:pt x="9192" y="95393"/>
                  </a:lnTo>
                  <a:lnTo>
                    <a:pt x="12620" y="97126"/>
                  </a:lnTo>
                  <a:lnTo>
                    <a:pt x="17554" y="95679"/>
                  </a:lnTo>
                  <a:lnTo>
                    <a:pt x="21098" y="97460"/>
                  </a:lnTo>
                  <a:lnTo>
                    <a:pt x="23431" y="98098"/>
                  </a:lnTo>
                  <a:lnTo>
                    <a:pt x="25527" y="99165"/>
                  </a:lnTo>
                  <a:lnTo>
                    <a:pt x="27375" y="99393"/>
                  </a:lnTo>
                  <a:lnTo>
                    <a:pt x="28184" y="98917"/>
                  </a:lnTo>
                  <a:lnTo>
                    <a:pt x="27670" y="96336"/>
                  </a:lnTo>
                  <a:lnTo>
                    <a:pt x="29175" y="94955"/>
                  </a:lnTo>
                  <a:lnTo>
                    <a:pt x="30842" y="94317"/>
                  </a:lnTo>
                  <a:lnTo>
                    <a:pt x="31594" y="95441"/>
                  </a:lnTo>
                  <a:lnTo>
                    <a:pt x="33128" y="96584"/>
                  </a:lnTo>
                  <a:lnTo>
                    <a:pt x="34328" y="96593"/>
                  </a:lnTo>
                  <a:lnTo>
                    <a:pt x="37585" y="93621"/>
                  </a:lnTo>
                  <a:lnTo>
                    <a:pt x="38348" y="94212"/>
                  </a:lnTo>
                  <a:lnTo>
                    <a:pt x="39053" y="95269"/>
                  </a:lnTo>
                  <a:lnTo>
                    <a:pt x="39205" y="96117"/>
                  </a:lnTo>
                  <a:lnTo>
                    <a:pt x="39329" y="97012"/>
                  </a:lnTo>
                  <a:lnTo>
                    <a:pt x="40062" y="97384"/>
                  </a:lnTo>
                  <a:lnTo>
                    <a:pt x="42624" y="97193"/>
                  </a:lnTo>
                  <a:lnTo>
                    <a:pt x="43929" y="95583"/>
                  </a:lnTo>
                  <a:lnTo>
                    <a:pt x="44948" y="94574"/>
                  </a:lnTo>
                  <a:lnTo>
                    <a:pt x="45711" y="95260"/>
                  </a:lnTo>
                  <a:lnTo>
                    <a:pt x="46082" y="97241"/>
                  </a:lnTo>
                  <a:lnTo>
                    <a:pt x="46787" y="99822"/>
                  </a:lnTo>
                  <a:lnTo>
                    <a:pt x="49844" y="102699"/>
                  </a:lnTo>
                  <a:lnTo>
                    <a:pt x="52426" y="103518"/>
                  </a:lnTo>
                  <a:lnTo>
                    <a:pt x="55597" y="102956"/>
                  </a:lnTo>
                  <a:lnTo>
                    <a:pt x="56855" y="102441"/>
                  </a:lnTo>
                  <a:lnTo>
                    <a:pt x="57702" y="102870"/>
                  </a:lnTo>
                  <a:lnTo>
                    <a:pt x="58550" y="104394"/>
                  </a:lnTo>
                  <a:lnTo>
                    <a:pt x="60379" y="106137"/>
                  </a:lnTo>
                  <a:lnTo>
                    <a:pt x="64218" y="107366"/>
                  </a:lnTo>
                  <a:lnTo>
                    <a:pt x="65399" y="108061"/>
                  </a:lnTo>
                  <a:lnTo>
                    <a:pt x="66218" y="109233"/>
                  </a:lnTo>
                  <a:lnTo>
                    <a:pt x="65980" y="110900"/>
                  </a:lnTo>
                  <a:lnTo>
                    <a:pt x="64151" y="115043"/>
                  </a:lnTo>
                  <a:lnTo>
                    <a:pt x="63913" y="116262"/>
                  </a:lnTo>
                  <a:lnTo>
                    <a:pt x="64160" y="116672"/>
                  </a:lnTo>
                  <a:lnTo>
                    <a:pt x="63798" y="117434"/>
                  </a:lnTo>
                  <a:lnTo>
                    <a:pt x="61417" y="120205"/>
                  </a:lnTo>
                  <a:lnTo>
                    <a:pt x="61208" y="121187"/>
                  </a:lnTo>
                  <a:lnTo>
                    <a:pt x="61998" y="122777"/>
                  </a:lnTo>
                  <a:lnTo>
                    <a:pt x="62655" y="124092"/>
                  </a:lnTo>
                  <a:lnTo>
                    <a:pt x="62655" y="124092"/>
                  </a:lnTo>
                  <a:lnTo>
                    <a:pt x="64084" y="124730"/>
                  </a:lnTo>
                  <a:lnTo>
                    <a:pt x="65427" y="124939"/>
                  </a:lnTo>
                  <a:lnTo>
                    <a:pt x="67970" y="125025"/>
                  </a:lnTo>
                  <a:lnTo>
                    <a:pt x="70685" y="125111"/>
                  </a:lnTo>
                  <a:lnTo>
                    <a:pt x="72142" y="118586"/>
                  </a:lnTo>
                  <a:lnTo>
                    <a:pt x="71028" y="116681"/>
                  </a:lnTo>
                  <a:lnTo>
                    <a:pt x="69647" y="115710"/>
                  </a:lnTo>
                  <a:lnTo>
                    <a:pt x="68037" y="115233"/>
                  </a:lnTo>
                  <a:lnTo>
                    <a:pt x="67294" y="114328"/>
                  </a:lnTo>
                  <a:lnTo>
                    <a:pt x="67037" y="113290"/>
                  </a:lnTo>
                  <a:lnTo>
                    <a:pt x="67323" y="112652"/>
                  </a:lnTo>
                  <a:lnTo>
                    <a:pt x="69218" y="112843"/>
                  </a:lnTo>
                  <a:lnTo>
                    <a:pt x="69809" y="112166"/>
                  </a:lnTo>
                  <a:lnTo>
                    <a:pt x="74324" y="108318"/>
                  </a:lnTo>
                  <a:lnTo>
                    <a:pt x="74514" y="107575"/>
                  </a:lnTo>
                  <a:lnTo>
                    <a:pt x="73885" y="107156"/>
                  </a:lnTo>
                  <a:lnTo>
                    <a:pt x="73066" y="106937"/>
                  </a:lnTo>
                  <a:lnTo>
                    <a:pt x="72857" y="106128"/>
                  </a:lnTo>
                  <a:lnTo>
                    <a:pt x="72885" y="105061"/>
                  </a:lnTo>
                  <a:lnTo>
                    <a:pt x="75295" y="99489"/>
                  </a:lnTo>
                  <a:lnTo>
                    <a:pt x="76010" y="97107"/>
                  </a:lnTo>
                  <a:lnTo>
                    <a:pt x="76172" y="95422"/>
                  </a:lnTo>
                  <a:lnTo>
                    <a:pt x="76019" y="93755"/>
                  </a:lnTo>
                  <a:lnTo>
                    <a:pt x="74628" y="91135"/>
                  </a:lnTo>
                  <a:lnTo>
                    <a:pt x="73285" y="89040"/>
                  </a:lnTo>
                  <a:lnTo>
                    <a:pt x="73238" y="87373"/>
                  </a:lnTo>
                  <a:lnTo>
                    <a:pt x="72257" y="86496"/>
                  </a:lnTo>
                  <a:lnTo>
                    <a:pt x="69475" y="82010"/>
                  </a:lnTo>
                  <a:lnTo>
                    <a:pt x="69475" y="80277"/>
                  </a:lnTo>
                  <a:lnTo>
                    <a:pt x="71047" y="78924"/>
                  </a:lnTo>
                  <a:lnTo>
                    <a:pt x="73247" y="78067"/>
                  </a:lnTo>
                  <a:lnTo>
                    <a:pt x="73981" y="77353"/>
                  </a:lnTo>
                  <a:lnTo>
                    <a:pt x="75295" y="76905"/>
                  </a:lnTo>
                  <a:lnTo>
                    <a:pt x="78791" y="78200"/>
                  </a:lnTo>
                  <a:lnTo>
                    <a:pt x="80353" y="79324"/>
                  </a:lnTo>
                  <a:lnTo>
                    <a:pt x="80791" y="79096"/>
                  </a:lnTo>
                  <a:lnTo>
                    <a:pt x="82201" y="77876"/>
                  </a:lnTo>
                  <a:lnTo>
                    <a:pt x="84677" y="78067"/>
                  </a:lnTo>
                  <a:lnTo>
                    <a:pt x="90668" y="75610"/>
                  </a:lnTo>
                  <a:lnTo>
                    <a:pt x="91564" y="74428"/>
                  </a:lnTo>
                  <a:lnTo>
                    <a:pt x="92230" y="73171"/>
                  </a:lnTo>
                  <a:lnTo>
                    <a:pt x="92288" y="72619"/>
                  </a:lnTo>
                  <a:lnTo>
                    <a:pt x="89964" y="70190"/>
                  </a:lnTo>
                  <a:lnTo>
                    <a:pt x="89897" y="69294"/>
                  </a:lnTo>
                  <a:lnTo>
                    <a:pt x="90202" y="68285"/>
                  </a:lnTo>
                  <a:lnTo>
                    <a:pt x="90859" y="67485"/>
                  </a:lnTo>
                  <a:lnTo>
                    <a:pt x="92230" y="66942"/>
                  </a:lnTo>
                  <a:lnTo>
                    <a:pt x="93688" y="65875"/>
                  </a:lnTo>
                  <a:lnTo>
                    <a:pt x="96955" y="62846"/>
                  </a:lnTo>
                  <a:lnTo>
                    <a:pt x="98088" y="60217"/>
                  </a:lnTo>
                  <a:lnTo>
                    <a:pt x="98441" y="57360"/>
                  </a:lnTo>
                  <a:lnTo>
                    <a:pt x="98508" y="55226"/>
                  </a:lnTo>
                  <a:lnTo>
                    <a:pt x="97612" y="53530"/>
                  </a:lnTo>
                  <a:lnTo>
                    <a:pt x="96707" y="52435"/>
                  </a:lnTo>
                  <a:lnTo>
                    <a:pt x="95478" y="52607"/>
                  </a:lnTo>
                  <a:lnTo>
                    <a:pt x="93088" y="52521"/>
                  </a:lnTo>
                  <a:lnTo>
                    <a:pt x="90849" y="51568"/>
                  </a:lnTo>
                  <a:lnTo>
                    <a:pt x="89621" y="50025"/>
                  </a:lnTo>
                  <a:lnTo>
                    <a:pt x="89316" y="48673"/>
                  </a:lnTo>
                  <a:lnTo>
                    <a:pt x="89878" y="47816"/>
                  </a:lnTo>
                  <a:lnTo>
                    <a:pt x="90049" y="46768"/>
                  </a:lnTo>
                  <a:lnTo>
                    <a:pt x="89687" y="45711"/>
                  </a:lnTo>
                  <a:lnTo>
                    <a:pt x="89830" y="44825"/>
                  </a:lnTo>
                  <a:lnTo>
                    <a:pt x="90840" y="44110"/>
                  </a:lnTo>
                  <a:lnTo>
                    <a:pt x="97917" y="44129"/>
                  </a:lnTo>
                  <a:lnTo>
                    <a:pt x="98450" y="43348"/>
                  </a:lnTo>
                  <a:lnTo>
                    <a:pt x="98927" y="39234"/>
                  </a:lnTo>
                  <a:lnTo>
                    <a:pt x="100698" y="32956"/>
                  </a:lnTo>
                  <a:lnTo>
                    <a:pt x="102365" y="29451"/>
                  </a:lnTo>
                  <a:lnTo>
                    <a:pt x="102641" y="27975"/>
                  </a:lnTo>
                  <a:lnTo>
                    <a:pt x="102613" y="19641"/>
                  </a:lnTo>
                  <a:lnTo>
                    <a:pt x="102822" y="15373"/>
                  </a:lnTo>
                  <a:close/>
                  <a:moveTo>
                    <a:pt x="10182" y="85611"/>
                  </a:moveTo>
                  <a:lnTo>
                    <a:pt x="12516" y="84934"/>
                  </a:lnTo>
                  <a:lnTo>
                    <a:pt x="16050" y="87811"/>
                  </a:lnTo>
                  <a:lnTo>
                    <a:pt x="19364" y="86878"/>
                  </a:lnTo>
                  <a:lnTo>
                    <a:pt x="19164" y="86078"/>
                  </a:lnTo>
                  <a:lnTo>
                    <a:pt x="18602" y="85325"/>
                  </a:lnTo>
                  <a:lnTo>
                    <a:pt x="15992" y="82972"/>
                  </a:lnTo>
                  <a:lnTo>
                    <a:pt x="11716" y="82677"/>
                  </a:lnTo>
                  <a:lnTo>
                    <a:pt x="9296" y="83401"/>
                  </a:lnTo>
                  <a:lnTo>
                    <a:pt x="9306" y="84249"/>
                  </a:lnTo>
                  <a:lnTo>
                    <a:pt x="10182" y="85611"/>
                  </a:lnTo>
                  <a:close/>
                  <a:moveTo>
                    <a:pt x="38395" y="27927"/>
                  </a:moveTo>
                  <a:lnTo>
                    <a:pt x="41043" y="24784"/>
                  </a:lnTo>
                  <a:lnTo>
                    <a:pt x="41043" y="19783"/>
                  </a:lnTo>
                  <a:lnTo>
                    <a:pt x="37129" y="23870"/>
                  </a:lnTo>
                  <a:lnTo>
                    <a:pt x="36309" y="26327"/>
                  </a:lnTo>
                  <a:lnTo>
                    <a:pt x="36776" y="27061"/>
                  </a:lnTo>
                  <a:lnTo>
                    <a:pt x="38395" y="27927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7" name="Forme libre : forme 43">
              <a:extLst>
                <a:ext uri="{FF2B5EF4-FFF2-40B4-BE49-F238E27FC236}">
                  <a16:creationId xmlns:a16="http://schemas.microsoft.com/office/drawing/2014/main" id="{8458E530-503C-87E5-FA95-5B7D273145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430044" y="8682"/>
              <a:ext cx="2422018" cy="2889781"/>
            </a:xfrm>
            <a:custGeom>
              <a:avLst/>
              <a:gdLst>
                <a:gd name="connsiteX0" fmla="*/ 555689 w 699392"/>
                <a:gd name="connsiteY0" fmla="*/ 0 h 834466"/>
                <a:gd name="connsiteX1" fmla="*/ 562833 w 699392"/>
                <a:gd name="connsiteY1" fmla="*/ 3162 h 834466"/>
                <a:gd name="connsiteX2" fmla="*/ 565271 w 699392"/>
                <a:gd name="connsiteY2" fmla="*/ 3096 h 834466"/>
                <a:gd name="connsiteX3" fmla="*/ 568823 w 699392"/>
                <a:gd name="connsiteY3" fmla="*/ 8992 h 834466"/>
                <a:gd name="connsiteX4" fmla="*/ 570672 w 699392"/>
                <a:gd name="connsiteY4" fmla="*/ 8468 h 834466"/>
                <a:gd name="connsiteX5" fmla="*/ 570319 w 699392"/>
                <a:gd name="connsiteY5" fmla="*/ 12049 h 834466"/>
                <a:gd name="connsiteX6" fmla="*/ 566738 w 699392"/>
                <a:gd name="connsiteY6" fmla="*/ 13754 h 834466"/>
                <a:gd name="connsiteX7" fmla="*/ 561165 w 699392"/>
                <a:gd name="connsiteY7" fmla="*/ 14783 h 834466"/>
                <a:gd name="connsiteX8" fmla="*/ 560337 w 699392"/>
                <a:gd name="connsiteY8" fmla="*/ 15497 h 834466"/>
                <a:gd name="connsiteX9" fmla="*/ 555574 w 699392"/>
                <a:gd name="connsiteY9" fmla="*/ 14926 h 834466"/>
                <a:gd name="connsiteX10" fmla="*/ 552898 w 699392"/>
                <a:gd name="connsiteY10" fmla="*/ 10106 h 834466"/>
                <a:gd name="connsiteX11" fmla="*/ 548431 w 699392"/>
                <a:gd name="connsiteY11" fmla="*/ 8915 h 834466"/>
                <a:gd name="connsiteX12" fmla="*/ 548440 w 699392"/>
                <a:gd name="connsiteY12" fmla="*/ 7363 h 834466"/>
                <a:gd name="connsiteX13" fmla="*/ 551336 w 699392"/>
                <a:gd name="connsiteY13" fmla="*/ 3705 h 834466"/>
                <a:gd name="connsiteX14" fmla="*/ 555689 w 699392"/>
                <a:gd name="connsiteY14" fmla="*/ 0 h 834466"/>
                <a:gd name="connsiteX15" fmla="*/ 696926 w 699392"/>
                <a:gd name="connsiteY15" fmla="*/ 108566 h 834466"/>
                <a:gd name="connsiteX16" fmla="*/ 698382 w 699392"/>
                <a:gd name="connsiteY16" fmla="*/ 118710 h 834466"/>
                <a:gd name="connsiteX17" fmla="*/ 698335 w 699392"/>
                <a:gd name="connsiteY17" fmla="*/ 122234 h 834466"/>
                <a:gd name="connsiteX18" fmla="*/ 697649 w 699392"/>
                <a:gd name="connsiteY18" fmla="*/ 125644 h 834466"/>
                <a:gd name="connsiteX19" fmla="*/ 696687 w 699392"/>
                <a:gd name="connsiteY19" fmla="*/ 127387 h 834466"/>
                <a:gd name="connsiteX20" fmla="*/ 694773 w 699392"/>
                <a:gd name="connsiteY20" fmla="*/ 128149 h 834466"/>
                <a:gd name="connsiteX21" fmla="*/ 690134 w 699392"/>
                <a:gd name="connsiteY21" fmla="*/ 127845 h 834466"/>
                <a:gd name="connsiteX22" fmla="*/ 683838 w 699392"/>
                <a:gd name="connsiteY22" fmla="*/ 123854 h 834466"/>
                <a:gd name="connsiteX23" fmla="*/ 679771 w 699392"/>
                <a:gd name="connsiteY23" fmla="*/ 120091 h 834466"/>
                <a:gd name="connsiteX24" fmla="*/ 678504 w 699392"/>
                <a:gd name="connsiteY24" fmla="*/ 119929 h 834466"/>
                <a:gd name="connsiteX25" fmla="*/ 677952 w 699392"/>
                <a:gd name="connsiteY25" fmla="*/ 120386 h 834466"/>
                <a:gd name="connsiteX26" fmla="*/ 678942 w 699392"/>
                <a:gd name="connsiteY26" fmla="*/ 124158 h 834466"/>
                <a:gd name="connsiteX27" fmla="*/ 678675 w 699392"/>
                <a:gd name="connsiteY27" fmla="*/ 127054 h 834466"/>
                <a:gd name="connsiteX28" fmla="*/ 678066 w 699392"/>
                <a:gd name="connsiteY28" fmla="*/ 130197 h 834466"/>
                <a:gd name="connsiteX29" fmla="*/ 677209 w 699392"/>
                <a:gd name="connsiteY29" fmla="*/ 133045 h 834466"/>
                <a:gd name="connsiteX30" fmla="*/ 676018 w 699392"/>
                <a:gd name="connsiteY30" fmla="*/ 135426 h 834466"/>
                <a:gd name="connsiteX31" fmla="*/ 673522 w 699392"/>
                <a:gd name="connsiteY31" fmla="*/ 138493 h 834466"/>
                <a:gd name="connsiteX32" fmla="*/ 669207 w 699392"/>
                <a:gd name="connsiteY32" fmla="*/ 140913 h 834466"/>
                <a:gd name="connsiteX33" fmla="*/ 657330 w 699392"/>
                <a:gd name="connsiteY33" fmla="*/ 145628 h 834466"/>
                <a:gd name="connsiteX34" fmla="*/ 656387 w 699392"/>
                <a:gd name="connsiteY34" fmla="*/ 147704 h 834466"/>
                <a:gd name="connsiteX35" fmla="*/ 652558 w 699392"/>
                <a:gd name="connsiteY35" fmla="*/ 160753 h 834466"/>
                <a:gd name="connsiteX36" fmla="*/ 651520 w 699392"/>
                <a:gd name="connsiteY36" fmla="*/ 162658 h 834466"/>
                <a:gd name="connsiteX37" fmla="*/ 650120 w 699392"/>
                <a:gd name="connsiteY37" fmla="*/ 164268 h 834466"/>
                <a:gd name="connsiteX38" fmla="*/ 646033 w 699392"/>
                <a:gd name="connsiteY38" fmla="*/ 166354 h 834466"/>
                <a:gd name="connsiteX39" fmla="*/ 644052 w 699392"/>
                <a:gd name="connsiteY39" fmla="*/ 163478 h 834466"/>
                <a:gd name="connsiteX40" fmla="*/ 642471 w 699392"/>
                <a:gd name="connsiteY40" fmla="*/ 159106 h 834466"/>
                <a:gd name="connsiteX41" fmla="*/ 642833 w 699392"/>
                <a:gd name="connsiteY41" fmla="*/ 154762 h 834466"/>
                <a:gd name="connsiteX42" fmla="*/ 647605 w 699392"/>
                <a:gd name="connsiteY42" fmla="*/ 146399 h 834466"/>
                <a:gd name="connsiteX43" fmla="*/ 652072 w 699392"/>
                <a:gd name="connsiteY43" fmla="*/ 140446 h 834466"/>
                <a:gd name="connsiteX44" fmla="*/ 653329 w 699392"/>
                <a:gd name="connsiteY44" fmla="*/ 138379 h 834466"/>
                <a:gd name="connsiteX45" fmla="*/ 655863 w 699392"/>
                <a:gd name="connsiteY45" fmla="*/ 132369 h 834466"/>
                <a:gd name="connsiteX46" fmla="*/ 650739 w 699392"/>
                <a:gd name="connsiteY46" fmla="*/ 117186 h 834466"/>
                <a:gd name="connsiteX47" fmla="*/ 641614 w 699392"/>
                <a:gd name="connsiteY47" fmla="*/ 112566 h 834466"/>
                <a:gd name="connsiteX48" fmla="*/ 631222 w 699392"/>
                <a:gd name="connsiteY48" fmla="*/ 105508 h 834466"/>
                <a:gd name="connsiteX49" fmla="*/ 627412 w 699392"/>
                <a:gd name="connsiteY49" fmla="*/ 101737 h 834466"/>
                <a:gd name="connsiteX50" fmla="*/ 621478 w 699392"/>
                <a:gd name="connsiteY50" fmla="*/ 93936 h 834466"/>
                <a:gd name="connsiteX51" fmla="*/ 617277 w 699392"/>
                <a:gd name="connsiteY51" fmla="*/ 86906 h 834466"/>
                <a:gd name="connsiteX52" fmla="*/ 613486 w 699392"/>
                <a:gd name="connsiteY52" fmla="*/ 86658 h 834466"/>
                <a:gd name="connsiteX53" fmla="*/ 609315 w 699392"/>
                <a:gd name="connsiteY53" fmla="*/ 88430 h 834466"/>
                <a:gd name="connsiteX54" fmla="*/ 602799 w 699392"/>
                <a:gd name="connsiteY54" fmla="*/ 94850 h 834466"/>
                <a:gd name="connsiteX55" fmla="*/ 598999 w 699392"/>
                <a:gd name="connsiteY55" fmla="*/ 98069 h 834466"/>
                <a:gd name="connsiteX56" fmla="*/ 596903 w 699392"/>
                <a:gd name="connsiteY56" fmla="*/ 99022 h 834466"/>
                <a:gd name="connsiteX57" fmla="*/ 596399 w 699392"/>
                <a:gd name="connsiteY57" fmla="*/ 99165 h 834466"/>
                <a:gd name="connsiteX58" fmla="*/ 591731 w 699392"/>
                <a:gd name="connsiteY58" fmla="*/ 97346 h 834466"/>
                <a:gd name="connsiteX59" fmla="*/ 586550 w 699392"/>
                <a:gd name="connsiteY59" fmla="*/ 96964 h 834466"/>
                <a:gd name="connsiteX60" fmla="*/ 582378 w 699392"/>
                <a:gd name="connsiteY60" fmla="*/ 97488 h 834466"/>
                <a:gd name="connsiteX61" fmla="*/ 580806 w 699392"/>
                <a:gd name="connsiteY61" fmla="*/ 98365 h 834466"/>
                <a:gd name="connsiteX62" fmla="*/ 574996 w 699392"/>
                <a:gd name="connsiteY62" fmla="*/ 108690 h 834466"/>
                <a:gd name="connsiteX63" fmla="*/ 570929 w 699392"/>
                <a:gd name="connsiteY63" fmla="*/ 113871 h 834466"/>
                <a:gd name="connsiteX64" fmla="*/ 568690 w 699392"/>
                <a:gd name="connsiteY64" fmla="*/ 115653 h 834466"/>
                <a:gd name="connsiteX65" fmla="*/ 567061 w 699392"/>
                <a:gd name="connsiteY65" fmla="*/ 118643 h 834466"/>
                <a:gd name="connsiteX66" fmla="*/ 565728 w 699392"/>
                <a:gd name="connsiteY66" fmla="*/ 123558 h 834466"/>
                <a:gd name="connsiteX67" fmla="*/ 562746 w 699392"/>
                <a:gd name="connsiteY67" fmla="*/ 140475 h 834466"/>
                <a:gd name="connsiteX68" fmla="*/ 560527 w 699392"/>
                <a:gd name="connsiteY68" fmla="*/ 146818 h 834466"/>
                <a:gd name="connsiteX69" fmla="*/ 560032 w 699392"/>
                <a:gd name="connsiteY69" fmla="*/ 150685 h 834466"/>
                <a:gd name="connsiteX70" fmla="*/ 560556 w 699392"/>
                <a:gd name="connsiteY70" fmla="*/ 162344 h 834466"/>
                <a:gd name="connsiteX71" fmla="*/ 560022 w 699392"/>
                <a:gd name="connsiteY71" fmla="*/ 168764 h 834466"/>
                <a:gd name="connsiteX72" fmla="*/ 557308 w 699392"/>
                <a:gd name="connsiteY72" fmla="*/ 174041 h 834466"/>
                <a:gd name="connsiteX73" fmla="*/ 555393 w 699392"/>
                <a:gd name="connsiteY73" fmla="*/ 176412 h 834466"/>
                <a:gd name="connsiteX74" fmla="*/ 552869 w 699392"/>
                <a:gd name="connsiteY74" fmla="*/ 176898 h 834466"/>
                <a:gd name="connsiteX75" fmla="*/ 549564 w 699392"/>
                <a:gd name="connsiteY75" fmla="*/ 178241 h 834466"/>
                <a:gd name="connsiteX76" fmla="*/ 546678 w 699392"/>
                <a:gd name="connsiteY76" fmla="*/ 181280 h 834466"/>
                <a:gd name="connsiteX77" fmla="*/ 544639 w 699392"/>
                <a:gd name="connsiteY77" fmla="*/ 185423 h 834466"/>
                <a:gd name="connsiteX78" fmla="*/ 542344 w 699392"/>
                <a:gd name="connsiteY78" fmla="*/ 194672 h 834466"/>
                <a:gd name="connsiteX79" fmla="*/ 538458 w 699392"/>
                <a:gd name="connsiteY79" fmla="*/ 198063 h 834466"/>
                <a:gd name="connsiteX80" fmla="*/ 534743 w 699392"/>
                <a:gd name="connsiteY80" fmla="*/ 197091 h 834466"/>
                <a:gd name="connsiteX81" fmla="*/ 532095 w 699392"/>
                <a:gd name="connsiteY81" fmla="*/ 193700 h 834466"/>
                <a:gd name="connsiteX82" fmla="*/ 526409 w 699392"/>
                <a:gd name="connsiteY82" fmla="*/ 191071 h 834466"/>
                <a:gd name="connsiteX83" fmla="*/ 522170 w 699392"/>
                <a:gd name="connsiteY83" fmla="*/ 189395 h 834466"/>
                <a:gd name="connsiteX84" fmla="*/ 517417 w 699392"/>
                <a:gd name="connsiteY84" fmla="*/ 185757 h 834466"/>
                <a:gd name="connsiteX85" fmla="*/ 513226 w 699392"/>
                <a:gd name="connsiteY85" fmla="*/ 182985 h 834466"/>
                <a:gd name="connsiteX86" fmla="*/ 509397 w 699392"/>
                <a:gd name="connsiteY86" fmla="*/ 182432 h 834466"/>
                <a:gd name="connsiteX87" fmla="*/ 507216 w 699392"/>
                <a:gd name="connsiteY87" fmla="*/ 185947 h 834466"/>
                <a:gd name="connsiteX88" fmla="*/ 505463 w 699392"/>
                <a:gd name="connsiteY88" fmla="*/ 189224 h 834466"/>
                <a:gd name="connsiteX89" fmla="*/ 498929 w 699392"/>
                <a:gd name="connsiteY89" fmla="*/ 191881 h 834466"/>
                <a:gd name="connsiteX90" fmla="*/ 495224 w 699392"/>
                <a:gd name="connsiteY90" fmla="*/ 193986 h 834466"/>
                <a:gd name="connsiteX91" fmla="*/ 490424 w 699392"/>
                <a:gd name="connsiteY91" fmla="*/ 194453 h 834466"/>
                <a:gd name="connsiteX92" fmla="*/ 488480 w 699392"/>
                <a:gd name="connsiteY92" fmla="*/ 192119 h 834466"/>
                <a:gd name="connsiteX93" fmla="*/ 481508 w 699392"/>
                <a:gd name="connsiteY93" fmla="*/ 190576 h 834466"/>
                <a:gd name="connsiteX94" fmla="*/ 473212 w 699392"/>
                <a:gd name="connsiteY94" fmla="*/ 188747 h 834466"/>
                <a:gd name="connsiteX95" fmla="*/ 470811 w 699392"/>
                <a:gd name="connsiteY95" fmla="*/ 188766 h 834466"/>
                <a:gd name="connsiteX96" fmla="*/ 470059 w 699392"/>
                <a:gd name="connsiteY96" fmla="*/ 184585 h 834466"/>
                <a:gd name="connsiteX97" fmla="*/ 467849 w 699392"/>
                <a:gd name="connsiteY97" fmla="*/ 178727 h 834466"/>
                <a:gd name="connsiteX98" fmla="*/ 461953 w 699392"/>
                <a:gd name="connsiteY98" fmla="*/ 168554 h 834466"/>
                <a:gd name="connsiteX99" fmla="*/ 459543 w 699392"/>
                <a:gd name="connsiteY99" fmla="*/ 164954 h 834466"/>
                <a:gd name="connsiteX100" fmla="*/ 455000 w 699392"/>
                <a:gd name="connsiteY100" fmla="*/ 156467 h 834466"/>
                <a:gd name="connsiteX101" fmla="*/ 449713 w 699392"/>
                <a:gd name="connsiteY101" fmla="*/ 147723 h 834466"/>
                <a:gd name="connsiteX102" fmla="*/ 448961 w 699392"/>
                <a:gd name="connsiteY102" fmla="*/ 147504 h 834466"/>
                <a:gd name="connsiteX103" fmla="*/ 445418 w 699392"/>
                <a:gd name="connsiteY103" fmla="*/ 147209 h 834466"/>
                <a:gd name="connsiteX104" fmla="*/ 440227 w 699392"/>
                <a:gd name="connsiteY104" fmla="*/ 147495 h 834466"/>
                <a:gd name="connsiteX105" fmla="*/ 436931 w 699392"/>
                <a:gd name="connsiteY105" fmla="*/ 149485 h 834466"/>
                <a:gd name="connsiteX106" fmla="*/ 434854 w 699392"/>
                <a:gd name="connsiteY106" fmla="*/ 151981 h 834466"/>
                <a:gd name="connsiteX107" fmla="*/ 434493 w 699392"/>
                <a:gd name="connsiteY107" fmla="*/ 154057 h 834466"/>
                <a:gd name="connsiteX108" fmla="*/ 436502 w 699392"/>
                <a:gd name="connsiteY108" fmla="*/ 161982 h 834466"/>
                <a:gd name="connsiteX109" fmla="*/ 435883 w 699392"/>
                <a:gd name="connsiteY109" fmla="*/ 163954 h 834466"/>
                <a:gd name="connsiteX110" fmla="*/ 434845 w 699392"/>
                <a:gd name="connsiteY110" fmla="*/ 164906 h 834466"/>
                <a:gd name="connsiteX111" fmla="*/ 430130 w 699392"/>
                <a:gd name="connsiteY111" fmla="*/ 162687 h 834466"/>
                <a:gd name="connsiteX112" fmla="*/ 424425 w 699392"/>
                <a:gd name="connsiteY112" fmla="*/ 162839 h 834466"/>
                <a:gd name="connsiteX113" fmla="*/ 422986 w 699392"/>
                <a:gd name="connsiteY113" fmla="*/ 165278 h 834466"/>
                <a:gd name="connsiteX114" fmla="*/ 419510 w 699392"/>
                <a:gd name="connsiteY114" fmla="*/ 165545 h 834466"/>
                <a:gd name="connsiteX115" fmla="*/ 409480 w 699392"/>
                <a:gd name="connsiteY115" fmla="*/ 166468 h 834466"/>
                <a:gd name="connsiteX116" fmla="*/ 413909 w 699392"/>
                <a:gd name="connsiteY116" fmla="*/ 172907 h 834466"/>
                <a:gd name="connsiteX117" fmla="*/ 415376 w 699392"/>
                <a:gd name="connsiteY117" fmla="*/ 175489 h 834466"/>
                <a:gd name="connsiteX118" fmla="*/ 415671 w 699392"/>
                <a:gd name="connsiteY118" fmla="*/ 179260 h 834466"/>
                <a:gd name="connsiteX119" fmla="*/ 414900 w 699392"/>
                <a:gd name="connsiteY119" fmla="*/ 186252 h 834466"/>
                <a:gd name="connsiteX120" fmla="*/ 412775 w 699392"/>
                <a:gd name="connsiteY120" fmla="*/ 192205 h 834466"/>
                <a:gd name="connsiteX121" fmla="*/ 410299 w 699392"/>
                <a:gd name="connsiteY121" fmla="*/ 197034 h 834466"/>
                <a:gd name="connsiteX122" fmla="*/ 405527 w 699392"/>
                <a:gd name="connsiteY122" fmla="*/ 201806 h 834466"/>
                <a:gd name="connsiteX123" fmla="*/ 412775 w 699392"/>
                <a:gd name="connsiteY123" fmla="*/ 206512 h 834466"/>
                <a:gd name="connsiteX124" fmla="*/ 407851 w 699392"/>
                <a:gd name="connsiteY124" fmla="*/ 212846 h 834466"/>
                <a:gd name="connsiteX125" fmla="*/ 405546 w 699392"/>
                <a:gd name="connsiteY125" fmla="*/ 215303 h 834466"/>
                <a:gd name="connsiteX126" fmla="*/ 402879 w 699392"/>
                <a:gd name="connsiteY126" fmla="*/ 214884 h 834466"/>
                <a:gd name="connsiteX127" fmla="*/ 398107 w 699392"/>
                <a:gd name="connsiteY127" fmla="*/ 212703 h 834466"/>
                <a:gd name="connsiteX128" fmla="*/ 386553 w 699392"/>
                <a:gd name="connsiteY128" fmla="*/ 207407 h 834466"/>
                <a:gd name="connsiteX129" fmla="*/ 381038 w 699392"/>
                <a:gd name="connsiteY129" fmla="*/ 205416 h 834466"/>
                <a:gd name="connsiteX130" fmla="*/ 376104 w 699392"/>
                <a:gd name="connsiteY130" fmla="*/ 204807 h 834466"/>
                <a:gd name="connsiteX131" fmla="*/ 373475 w 699392"/>
                <a:gd name="connsiteY131" fmla="*/ 204883 h 834466"/>
                <a:gd name="connsiteX132" fmla="*/ 363017 w 699392"/>
                <a:gd name="connsiteY132" fmla="*/ 200330 h 834466"/>
                <a:gd name="connsiteX133" fmla="*/ 360998 w 699392"/>
                <a:gd name="connsiteY133" fmla="*/ 200835 h 834466"/>
                <a:gd name="connsiteX134" fmla="*/ 357244 w 699392"/>
                <a:gd name="connsiteY134" fmla="*/ 202806 h 834466"/>
                <a:gd name="connsiteX135" fmla="*/ 356826 w 699392"/>
                <a:gd name="connsiteY135" fmla="*/ 207226 h 834466"/>
                <a:gd name="connsiteX136" fmla="*/ 357064 w 699392"/>
                <a:gd name="connsiteY136" fmla="*/ 218170 h 834466"/>
                <a:gd name="connsiteX137" fmla="*/ 357616 w 699392"/>
                <a:gd name="connsiteY137" fmla="*/ 226552 h 834466"/>
                <a:gd name="connsiteX138" fmla="*/ 356235 w 699392"/>
                <a:gd name="connsiteY138" fmla="*/ 231372 h 834466"/>
                <a:gd name="connsiteX139" fmla="*/ 354854 w 699392"/>
                <a:gd name="connsiteY139" fmla="*/ 234639 h 834466"/>
                <a:gd name="connsiteX140" fmla="*/ 350672 w 699392"/>
                <a:gd name="connsiteY140" fmla="*/ 243411 h 834466"/>
                <a:gd name="connsiteX141" fmla="*/ 341262 w 699392"/>
                <a:gd name="connsiteY141" fmla="*/ 237449 h 834466"/>
                <a:gd name="connsiteX142" fmla="*/ 334842 w 699392"/>
                <a:gd name="connsiteY142" fmla="*/ 233486 h 834466"/>
                <a:gd name="connsiteX143" fmla="*/ 330718 w 699392"/>
                <a:gd name="connsiteY143" fmla="*/ 238754 h 834466"/>
                <a:gd name="connsiteX144" fmla="*/ 320383 w 699392"/>
                <a:gd name="connsiteY144" fmla="*/ 248374 h 834466"/>
                <a:gd name="connsiteX145" fmla="*/ 315087 w 699392"/>
                <a:gd name="connsiteY145" fmla="*/ 267195 h 834466"/>
                <a:gd name="connsiteX146" fmla="*/ 314783 w 699392"/>
                <a:gd name="connsiteY146" fmla="*/ 267805 h 834466"/>
                <a:gd name="connsiteX147" fmla="*/ 311648 w 699392"/>
                <a:gd name="connsiteY147" fmla="*/ 272558 h 834466"/>
                <a:gd name="connsiteX148" fmla="*/ 307639 w 699392"/>
                <a:gd name="connsiteY148" fmla="*/ 274739 h 834466"/>
                <a:gd name="connsiteX149" fmla="*/ 304600 w 699392"/>
                <a:gd name="connsiteY149" fmla="*/ 275815 h 834466"/>
                <a:gd name="connsiteX150" fmla="*/ 302829 w 699392"/>
                <a:gd name="connsiteY150" fmla="*/ 281349 h 834466"/>
                <a:gd name="connsiteX151" fmla="*/ 306953 w 699392"/>
                <a:gd name="connsiteY151" fmla="*/ 289246 h 834466"/>
                <a:gd name="connsiteX152" fmla="*/ 309067 w 699392"/>
                <a:gd name="connsiteY152" fmla="*/ 293399 h 834466"/>
                <a:gd name="connsiteX153" fmla="*/ 311039 w 699392"/>
                <a:gd name="connsiteY153" fmla="*/ 300085 h 834466"/>
                <a:gd name="connsiteX154" fmla="*/ 310677 w 699392"/>
                <a:gd name="connsiteY154" fmla="*/ 304324 h 834466"/>
                <a:gd name="connsiteX155" fmla="*/ 310220 w 699392"/>
                <a:gd name="connsiteY155" fmla="*/ 306953 h 834466"/>
                <a:gd name="connsiteX156" fmla="*/ 305791 w 699392"/>
                <a:gd name="connsiteY156" fmla="*/ 312325 h 834466"/>
                <a:gd name="connsiteX157" fmla="*/ 296342 w 699392"/>
                <a:gd name="connsiteY157" fmla="*/ 326431 h 834466"/>
                <a:gd name="connsiteX158" fmla="*/ 287598 w 699392"/>
                <a:gd name="connsiteY158" fmla="*/ 341043 h 834466"/>
                <a:gd name="connsiteX159" fmla="*/ 284016 w 699392"/>
                <a:gd name="connsiteY159" fmla="*/ 345215 h 834466"/>
                <a:gd name="connsiteX160" fmla="*/ 285636 w 699392"/>
                <a:gd name="connsiteY160" fmla="*/ 357483 h 834466"/>
                <a:gd name="connsiteX161" fmla="*/ 282730 w 699392"/>
                <a:gd name="connsiteY161" fmla="*/ 361064 h 834466"/>
                <a:gd name="connsiteX162" fmla="*/ 276806 w 699392"/>
                <a:gd name="connsiteY162" fmla="*/ 365103 h 834466"/>
                <a:gd name="connsiteX163" fmla="*/ 273777 w 699392"/>
                <a:gd name="connsiteY163" fmla="*/ 366655 h 834466"/>
                <a:gd name="connsiteX164" fmla="*/ 270520 w 699392"/>
                <a:gd name="connsiteY164" fmla="*/ 367570 h 834466"/>
                <a:gd name="connsiteX165" fmla="*/ 260499 w 699392"/>
                <a:gd name="connsiteY165" fmla="*/ 369180 h 834466"/>
                <a:gd name="connsiteX166" fmla="*/ 262281 w 699392"/>
                <a:gd name="connsiteY166" fmla="*/ 382134 h 834466"/>
                <a:gd name="connsiteX167" fmla="*/ 262957 w 699392"/>
                <a:gd name="connsiteY167" fmla="*/ 387839 h 834466"/>
                <a:gd name="connsiteX168" fmla="*/ 262947 w 699392"/>
                <a:gd name="connsiteY168" fmla="*/ 391211 h 834466"/>
                <a:gd name="connsiteX169" fmla="*/ 261909 w 699392"/>
                <a:gd name="connsiteY169" fmla="*/ 394497 h 834466"/>
                <a:gd name="connsiteX170" fmla="*/ 260671 w 699392"/>
                <a:gd name="connsiteY170" fmla="*/ 400755 h 834466"/>
                <a:gd name="connsiteX171" fmla="*/ 258804 w 699392"/>
                <a:gd name="connsiteY171" fmla="*/ 422948 h 834466"/>
                <a:gd name="connsiteX172" fmla="*/ 257375 w 699392"/>
                <a:gd name="connsiteY172" fmla="*/ 425320 h 834466"/>
                <a:gd name="connsiteX173" fmla="*/ 255404 w 699392"/>
                <a:gd name="connsiteY173" fmla="*/ 431273 h 834466"/>
                <a:gd name="connsiteX174" fmla="*/ 249060 w 699392"/>
                <a:gd name="connsiteY174" fmla="*/ 445494 h 834466"/>
                <a:gd name="connsiteX175" fmla="*/ 243973 w 699392"/>
                <a:gd name="connsiteY175" fmla="*/ 454885 h 834466"/>
                <a:gd name="connsiteX176" fmla="*/ 236630 w 699392"/>
                <a:gd name="connsiteY176" fmla="*/ 468325 h 834466"/>
                <a:gd name="connsiteX177" fmla="*/ 242602 w 699392"/>
                <a:gd name="connsiteY177" fmla="*/ 472545 h 834466"/>
                <a:gd name="connsiteX178" fmla="*/ 248050 w 699392"/>
                <a:gd name="connsiteY178" fmla="*/ 475621 h 834466"/>
                <a:gd name="connsiteX179" fmla="*/ 249184 w 699392"/>
                <a:gd name="connsiteY179" fmla="*/ 480336 h 834466"/>
                <a:gd name="connsiteX180" fmla="*/ 249936 w 699392"/>
                <a:gd name="connsiteY180" fmla="*/ 488185 h 834466"/>
                <a:gd name="connsiteX181" fmla="*/ 249755 w 699392"/>
                <a:gd name="connsiteY181" fmla="*/ 493509 h 834466"/>
                <a:gd name="connsiteX182" fmla="*/ 247669 w 699392"/>
                <a:gd name="connsiteY182" fmla="*/ 498281 h 834466"/>
                <a:gd name="connsiteX183" fmla="*/ 246050 w 699392"/>
                <a:gd name="connsiteY183" fmla="*/ 501625 h 834466"/>
                <a:gd name="connsiteX184" fmla="*/ 244916 w 699392"/>
                <a:gd name="connsiteY184" fmla="*/ 503253 h 834466"/>
                <a:gd name="connsiteX185" fmla="*/ 237173 w 699392"/>
                <a:gd name="connsiteY185" fmla="*/ 501634 h 834466"/>
                <a:gd name="connsiteX186" fmla="*/ 227248 w 699392"/>
                <a:gd name="connsiteY186" fmla="*/ 499548 h 834466"/>
                <a:gd name="connsiteX187" fmla="*/ 224676 w 699392"/>
                <a:gd name="connsiteY187" fmla="*/ 499529 h 834466"/>
                <a:gd name="connsiteX188" fmla="*/ 218904 w 699392"/>
                <a:gd name="connsiteY188" fmla="*/ 501034 h 834466"/>
                <a:gd name="connsiteX189" fmla="*/ 213693 w 699392"/>
                <a:gd name="connsiteY189" fmla="*/ 504111 h 834466"/>
                <a:gd name="connsiteX190" fmla="*/ 210950 w 699392"/>
                <a:gd name="connsiteY190" fmla="*/ 506701 h 834466"/>
                <a:gd name="connsiteX191" fmla="*/ 210217 w 699392"/>
                <a:gd name="connsiteY191" fmla="*/ 507730 h 834466"/>
                <a:gd name="connsiteX192" fmla="*/ 206750 w 699392"/>
                <a:gd name="connsiteY192" fmla="*/ 513617 h 834466"/>
                <a:gd name="connsiteX193" fmla="*/ 200578 w 699392"/>
                <a:gd name="connsiteY193" fmla="*/ 524018 h 834466"/>
                <a:gd name="connsiteX194" fmla="*/ 197196 w 699392"/>
                <a:gd name="connsiteY194" fmla="*/ 528542 h 834466"/>
                <a:gd name="connsiteX195" fmla="*/ 198187 w 699392"/>
                <a:gd name="connsiteY195" fmla="*/ 534762 h 834466"/>
                <a:gd name="connsiteX196" fmla="*/ 192510 w 699392"/>
                <a:gd name="connsiteY196" fmla="*/ 546716 h 834466"/>
                <a:gd name="connsiteX197" fmla="*/ 196225 w 699392"/>
                <a:gd name="connsiteY197" fmla="*/ 558698 h 834466"/>
                <a:gd name="connsiteX198" fmla="*/ 196387 w 699392"/>
                <a:gd name="connsiteY198" fmla="*/ 559098 h 834466"/>
                <a:gd name="connsiteX199" fmla="*/ 198358 w 699392"/>
                <a:gd name="connsiteY199" fmla="*/ 563918 h 834466"/>
                <a:gd name="connsiteX200" fmla="*/ 196301 w 699392"/>
                <a:gd name="connsiteY200" fmla="*/ 567023 h 834466"/>
                <a:gd name="connsiteX201" fmla="*/ 195434 w 699392"/>
                <a:gd name="connsiteY201" fmla="*/ 568690 h 834466"/>
                <a:gd name="connsiteX202" fmla="*/ 195729 w 699392"/>
                <a:gd name="connsiteY202" fmla="*/ 574167 h 834466"/>
                <a:gd name="connsiteX203" fmla="*/ 196272 w 699392"/>
                <a:gd name="connsiteY203" fmla="*/ 580273 h 834466"/>
                <a:gd name="connsiteX204" fmla="*/ 195796 w 699392"/>
                <a:gd name="connsiteY204" fmla="*/ 583844 h 834466"/>
                <a:gd name="connsiteX205" fmla="*/ 195596 w 699392"/>
                <a:gd name="connsiteY205" fmla="*/ 587797 h 834466"/>
                <a:gd name="connsiteX206" fmla="*/ 200644 w 699392"/>
                <a:gd name="connsiteY206" fmla="*/ 605466 h 834466"/>
                <a:gd name="connsiteX207" fmla="*/ 200587 w 699392"/>
                <a:gd name="connsiteY207" fmla="*/ 609581 h 834466"/>
                <a:gd name="connsiteX208" fmla="*/ 200340 w 699392"/>
                <a:gd name="connsiteY208" fmla="*/ 612229 h 834466"/>
                <a:gd name="connsiteX209" fmla="*/ 198777 w 699392"/>
                <a:gd name="connsiteY209" fmla="*/ 623097 h 834466"/>
                <a:gd name="connsiteX210" fmla="*/ 196682 w 699392"/>
                <a:gd name="connsiteY210" fmla="*/ 637585 h 834466"/>
                <a:gd name="connsiteX211" fmla="*/ 200340 w 699392"/>
                <a:gd name="connsiteY211" fmla="*/ 641366 h 834466"/>
                <a:gd name="connsiteX212" fmla="*/ 205540 w 699392"/>
                <a:gd name="connsiteY212" fmla="*/ 645881 h 834466"/>
                <a:gd name="connsiteX213" fmla="*/ 208464 w 699392"/>
                <a:gd name="connsiteY213" fmla="*/ 647662 h 834466"/>
                <a:gd name="connsiteX214" fmla="*/ 212779 w 699392"/>
                <a:gd name="connsiteY214" fmla="*/ 653015 h 834466"/>
                <a:gd name="connsiteX215" fmla="*/ 216075 w 699392"/>
                <a:gd name="connsiteY215" fmla="*/ 658225 h 834466"/>
                <a:gd name="connsiteX216" fmla="*/ 215617 w 699392"/>
                <a:gd name="connsiteY216" fmla="*/ 661673 h 834466"/>
                <a:gd name="connsiteX217" fmla="*/ 214665 w 699392"/>
                <a:gd name="connsiteY217" fmla="*/ 665474 h 834466"/>
                <a:gd name="connsiteX218" fmla="*/ 213284 w 699392"/>
                <a:gd name="connsiteY218" fmla="*/ 668122 h 834466"/>
                <a:gd name="connsiteX219" fmla="*/ 211979 w 699392"/>
                <a:gd name="connsiteY219" fmla="*/ 671751 h 834466"/>
                <a:gd name="connsiteX220" fmla="*/ 211398 w 699392"/>
                <a:gd name="connsiteY220" fmla="*/ 674427 h 834466"/>
                <a:gd name="connsiteX221" fmla="*/ 210788 w 699392"/>
                <a:gd name="connsiteY221" fmla="*/ 675142 h 834466"/>
                <a:gd name="connsiteX222" fmla="*/ 205026 w 699392"/>
                <a:gd name="connsiteY222" fmla="*/ 675437 h 834466"/>
                <a:gd name="connsiteX223" fmla="*/ 201987 w 699392"/>
                <a:gd name="connsiteY223" fmla="*/ 676447 h 834466"/>
                <a:gd name="connsiteX224" fmla="*/ 200396 w 699392"/>
                <a:gd name="connsiteY224" fmla="*/ 677580 h 834466"/>
                <a:gd name="connsiteX225" fmla="*/ 200939 w 699392"/>
                <a:gd name="connsiteY225" fmla="*/ 683657 h 834466"/>
                <a:gd name="connsiteX226" fmla="*/ 204435 w 699392"/>
                <a:gd name="connsiteY226" fmla="*/ 694735 h 834466"/>
                <a:gd name="connsiteX227" fmla="*/ 207340 w 699392"/>
                <a:gd name="connsiteY227" fmla="*/ 702564 h 834466"/>
                <a:gd name="connsiteX228" fmla="*/ 208274 w 699392"/>
                <a:gd name="connsiteY228" fmla="*/ 707708 h 834466"/>
                <a:gd name="connsiteX229" fmla="*/ 207321 w 699392"/>
                <a:gd name="connsiteY229" fmla="*/ 712908 h 834466"/>
                <a:gd name="connsiteX230" fmla="*/ 206331 w 699392"/>
                <a:gd name="connsiteY230" fmla="*/ 715566 h 834466"/>
                <a:gd name="connsiteX231" fmla="*/ 206302 w 699392"/>
                <a:gd name="connsiteY231" fmla="*/ 719138 h 834466"/>
                <a:gd name="connsiteX232" fmla="*/ 205540 w 699392"/>
                <a:gd name="connsiteY232" fmla="*/ 726224 h 834466"/>
                <a:gd name="connsiteX233" fmla="*/ 203292 w 699392"/>
                <a:gd name="connsiteY233" fmla="*/ 729796 h 834466"/>
                <a:gd name="connsiteX234" fmla="*/ 200349 w 699392"/>
                <a:gd name="connsiteY234" fmla="*/ 733682 h 834466"/>
                <a:gd name="connsiteX235" fmla="*/ 197072 w 699392"/>
                <a:gd name="connsiteY235" fmla="*/ 736578 h 834466"/>
                <a:gd name="connsiteX236" fmla="*/ 194472 w 699392"/>
                <a:gd name="connsiteY236" fmla="*/ 737387 h 834466"/>
                <a:gd name="connsiteX237" fmla="*/ 192243 w 699392"/>
                <a:gd name="connsiteY237" fmla="*/ 737721 h 834466"/>
                <a:gd name="connsiteX238" fmla="*/ 190738 w 699392"/>
                <a:gd name="connsiteY238" fmla="*/ 739188 h 834466"/>
                <a:gd name="connsiteX239" fmla="*/ 189376 w 699392"/>
                <a:gd name="connsiteY239" fmla="*/ 743502 h 834466"/>
                <a:gd name="connsiteX240" fmla="*/ 188119 w 699392"/>
                <a:gd name="connsiteY240" fmla="*/ 748017 h 834466"/>
                <a:gd name="connsiteX241" fmla="*/ 184013 w 699392"/>
                <a:gd name="connsiteY241" fmla="*/ 753561 h 834466"/>
                <a:gd name="connsiteX242" fmla="*/ 184128 w 699392"/>
                <a:gd name="connsiteY242" fmla="*/ 755485 h 834466"/>
                <a:gd name="connsiteX243" fmla="*/ 185690 w 699392"/>
                <a:gd name="connsiteY243" fmla="*/ 762019 h 834466"/>
                <a:gd name="connsiteX244" fmla="*/ 187157 w 699392"/>
                <a:gd name="connsiteY244" fmla="*/ 769430 h 834466"/>
                <a:gd name="connsiteX245" fmla="*/ 185919 w 699392"/>
                <a:gd name="connsiteY245" fmla="*/ 776335 h 834466"/>
                <a:gd name="connsiteX246" fmla="*/ 184861 w 699392"/>
                <a:gd name="connsiteY246" fmla="*/ 783546 h 834466"/>
                <a:gd name="connsiteX247" fmla="*/ 183004 w 699392"/>
                <a:gd name="connsiteY247" fmla="*/ 788337 h 834466"/>
                <a:gd name="connsiteX248" fmla="*/ 180356 w 699392"/>
                <a:gd name="connsiteY248" fmla="*/ 790051 h 834466"/>
                <a:gd name="connsiteX249" fmla="*/ 178413 w 699392"/>
                <a:gd name="connsiteY249" fmla="*/ 789194 h 834466"/>
                <a:gd name="connsiteX250" fmla="*/ 176213 w 699392"/>
                <a:gd name="connsiteY250" fmla="*/ 782622 h 834466"/>
                <a:gd name="connsiteX251" fmla="*/ 176098 w 699392"/>
                <a:gd name="connsiteY251" fmla="*/ 781069 h 834466"/>
                <a:gd name="connsiteX252" fmla="*/ 175555 w 699392"/>
                <a:gd name="connsiteY252" fmla="*/ 779050 h 834466"/>
                <a:gd name="connsiteX253" fmla="*/ 169307 w 699392"/>
                <a:gd name="connsiteY253" fmla="*/ 777040 h 834466"/>
                <a:gd name="connsiteX254" fmla="*/ 168202 w 699392"/>
                <a:gd name="connsiteY254" fmla="*/ 777107 h 834466"/>
                <a:gd name="connsiteX255" fmla="*/ 165745 w 699392"/>
                <a:gd name="connsiteY255" fmla="*/ 775925 h 834466"/>
                <a:gd name="connsiteX256" fmla="*/ 164306 w 699392"/>
                <a:gd name="connsiteY256" fmla="*/ 775592 h 834466"/>
                <a:gd name="connsiteX257" fmla="*/ 161354 w 699392"/>
                <a:gd name="connsiteY257" fmla="*/ 774916 h 834466"/>
                <a:gd name="connsiteX258" fmla="*/ 158896 w 699392"/>
                <a:gd name="connsiteY258" fmla="*/ 769068 h 834466"/>
                <a:gd name="connsiteX259" fmla="*/ 156296 w 699392"/>
                <a:gd name="connsiteY259" fmla="*/ 764191 h 834466"/>
                <a:gd name="connsiteX260" fmla="*/ 155915 w 699392"/>
                <a:gd name="connsiteY260" fmla="*/ 762152 h 834466"/>
                <a:gd name="connsiteX261" fmla="*/ 156010 w 699392"/>
                <a:gd name="connsiteY261" fmla="*/ 752980 h 834466"/>
                <a:gd name="connsiteX262" fmla="*/ 155210 w 699392"/>
                <a:gd name="connsiteY262" fmla="*/ 748884 h 834466"/>
                <a:gd name="connsiteX263" fmla="*/ 154962 w 699392"/>
                <a:gd name="connsiteY263" fmla="*/ 744407 h 834466"/>
                <a:gd name="connsiteX264" fmla="*/ 153324 w 699392"/>
                <a:gd name="connsiteY264" fmla="*/ 748046 h 834466"/>
                <a:gd name="connsiteX265" fmla="*/ 154277 w 699392"/>
                <a:gd name="connsiteY265" fmla="*/ 753789 h 834466"/>
                <a:gd name="connsiteX266" fmla="*/ 152257 w 699392"/>
                <a:gd name="connsiteY266" fmla="*/ 756190 h 834466"/>
                <a:gd name="connsiteX267" fmla="*/ 149695 w 699392"/>
                <a:gd name="connsiteY267" fmla="*/ 757361 h 834466"/>
                <a:gd name="connsiteX268" fmla="*/ 149933 w 699392"/>
                <a:gd name="connsiteY268" fmla="*/ 760705 h 834466"/>
                <a:gd name="connsiteX269" fmla="*/ 150981 w 699392"/>
                <a:gd name="connsiteY269" fmla="*/ 761343 h 834466"/>
                <a:gd name="connsiteX270" fmla="*/ 151200 w 699392"/>
                <a:gd name="connsiteY270" fmla="*/ 764800 h 834466"/>
                <a:gd name="connsiteX271" fmla="*/ 150581 w 699392"/>
                <a:gd name="connsiteY271" fmla="*/ 769925 h 834466"/>
                <a:gd name="connsiteX272" fmla="*/ 145552 w 699392"/>
                <a:gd name="connsiteY272" fmla="*/ 781250 h 834466"/>
                <a:gd name="connsiteX273" fmla="*/ 144542 w 699392"/>
                <a:gd name="connsiteY273" fmla="*/ 782460 h 834466"/>
                <a:gd name="connsiteX274" fmla="*/ 143847 w 699392"/>
                <a:gd name="connsiteY274" fmla="*/ 783984 h 834466"/>
                <a:gd name="connsiteX275" fmla="*/ 141275 w 699392"/>
                <a:gd name="connsiteY275" fmla="*/ 782974 h 834466"/>
                <a:gd name="connsiteX276" fmla="*/ 137970 w 699392"/>
                <a:gd name="connsiteY276" fmla="*/ 786117 h 834466"/>
                <a:gd name="connsiteX277" fmla="*/ 134836 w 699392"/>
                <a:gd name="connsiteY277" fmla="*/ 786622 h 834466"/>
                <a:gd name="connsiteX278" fmla="*/ 133703 w 699392"/>
                <a:gd name="connsiteY278" fmla="*/ 783069 h 834466"/>
                <a:gd name="connsiteX279" fmla="*/ 129292 w 699392"/>
                <a:gd name="connsiteY279" fmla="*/ 778354 h 834466"/>
                <a:gd name="connsiteX280" fmla="*/ 127216 w 699392"/>
                <a:gd name="connsiteY280" fmla="*/ 778621 h 834466"/>
                <a:gd name="connsiteX281" fmla="*/ 129083 w 699392"/>
                <a:gd name="connsiteY281" fmla="*/ 780945 h 834466"/>
                <a:gd name="connsiteX282" fmla="*/ 130931 w 699392"/>
                <a:gd name="connsiteY282" fmla="*/ 783965 h 834466"/>
                <a:gd name="connsiteX283" fmla="*/ 129883 w 699392"/>
                <a:gd name="connsiteY283" fmla="*/ 785955 h 834466"/>
                <a:gd name="connsiteX284" fmla="*/ 128854 w 699392"/>
                <a:gd name="connsiteY284" fmla="*/ 787260 h 834466"/>
                <a:gd name="connsiteX285" fmla="*/ 127054 w 699392"/>
                <a:gd name="connsiteY285" fmla="*/ 787937 h 834466"/>
                <a:gd name="connsiteX286" fmla="*/ 120606 w 699392"/>
                <a:gd name="connsiteY286" fmla="*/ 791870 h 834466"/>
                <a:gd name="connsiteX287" fmla="*/ 122901 w 699392"/>
                <a:gd name="connsiteY287" fmla="*/ 794509 h 834466"/>
                <a:gd name="connsiteX288" fmla="*/ 120948 w 699392"/>
                <a:gd name="connsiteY288" fmla="*/ 797500 h 834466"/>
                <a:gd name="connsiteX289" fmla="*/ 118701 w 699392"/>
                <a:gd name="connsiteY289" fmla="*/ 797938 h 834466"/>
                <a:gd name="connsiteX290" fmla="*/ 117500 w 699392"/>
                <a:gd name="connsiteY290" fmla="*/ 799328 h 834466"/>
                <a:gd name="connsiteX291" fmla="*/ 117082 w 699392"/>
                <a:gd name="connsiteY291" fmla="*/ 801214 h 834466"/>
                <a:gd name="connsiteX292" fmla="*/ 110404 w 699392"/>
                <a:gd name="connsiteY292" fmla="*/ 806596 h 834466"/>
                <a:gd name="connsiteX293" fmla="*/ 99527 w 699392"/>
                <a:gd name="connsiteY293" fmla="*/ 820322 h 834466"/>
                <a:gd name="connsiteX294" fmla="*/ 93936 w 699392"/>
                <a:gd name="connsiteY294" fmla="*/ 824189 h 834466"/>
                <a:gd name="connsiteX295" fmla="*/ 90030 w 699392"/>
                <a:gd name="connsiteY295" fmla="*/ 828189 h 834466"/>
                <a:gd name="connsiteX296" fmla="*/ 86592 w 699392"/>
                <a:gd name="connsiteY296" fmla="*/ 828094 h 834466"/>
                <a:gd name="connsiteX297" fmla="*/ 82267 w 699392"/>
                <a:gd name="connsiteY297" fmla="*/ 831494 h 834466"/>
                <a:gd name="connsiteX298" fmla="*/ 71314 w 699392"/>
                <a:gd name="connsiteY298" fmla="*/ 834466 h 834466"/>
                <a:gd name="connsiteX299" fmla="*/ 64046 w 699392"/>
                <a:gd name="connsiteY299" fmla="*/ 833123 h 834466"/>
                <a:gd name="connsiteX300" fmla="*/ 58988 w 699392"/>
                <a:gd name="connsiteY300" fmla="*/ 834304 h 834466"/>
                <a:gd name="connsiteX301" fmla="*/ 56274 w 699392"/>
                <a:gd name="connsiteY301" fmla="*/ 831971 h 834466"/>
                <a:gd name="connsiteX302" fmla="*/ 55921 w 699392"/>
                <a:gd name="connsiteY302" fmla="*/ 830370 h 834466"/>
                <a:gd name="connsiteX303" fmla="*/ 56055 w 699392"/>
                <a:gd name="connsiteY303" fmla="*/ 829437 h 834466"/>
                <a:gd name="connsiteX304" fmla="*/ 56502 w 699392"/>
                <a:gd name="connsiteY304" fmla="*/ 828313 h 834466"/>
                <a:gd name="connsiteX305" fmla="*/ 55559 w 699392"/>
                <a:gd name="connsiteY305" fmla="*/ 827942 h 834466"/>
                <a:gd name="connsiteX306" fmla="*/ 53578 w 699392"/>
                <a:gd name="connsiteY306" fmla="*/ 827751 h 834466"/>
                <a:gd name="connsiteX307" fmla="*/ 52731 w 699392"/>
                <a:gd name="connsiteY307" fmla="*/ 828875 h 834466"/>
                <a:gd name="connsiteX308" fmla="*/ 52616 w 699392"/>
                <a:gd name="connsiteY308" fmla="*/ 831437 h 834466"/>
                <a:gd name="connsiteX309" fmla="*/ 51673 w 699392"/>
                <a:gd name="connsiteY309" fmla="*/ 832104 h 834466"/>
                <a:gd name="connsiteX310" fmla="*/ 47901 w 699392"/>
                <a:gd name="connsiteY310" fmla="*/ 830637 h 834466"/>
                <a:gd name="connsiteX311" fmla="*/ 46949 w 699392"/>
                <a:gd name="connsiteY311" fmla="*/ 829323 h 834466"/>
                <a:gd name="connsiteX312" fmla="*/ 48301 w 699392"/>
                <a:gd name="connsiteY312" fmla="*/ 826646 h 834466"/>
                <a:gd name="connsiteX313" fmla="*/ 50625 w 699392"/>
                <a:gd name="connsiteY313" fmla="*/ 824236 h 834466"/>
                <a:gd name="connsiteX314" fmla="*/ 50206 w 699392"/>
                <a:gd name="connsiteY314" fmla="*/ 823741 h 834466"/>
                <a:gd name="connsiteX315" fmla="*/ 49759 w 699392"/>
                <a:gd name="connsiteY315" fmla="*/ 822274 h 834466"/>
                <a:gd name="connsiteX316" fmla="*/ 48625 w 699392"/>
                <a:gd name="connsiteY316" fmla="*/ 822084 h 834466"/>
                <a:gd name="connsiteX317" fmla="*/ 45253 w 699392"/>
                <a:gd name="connsiteY317" fmla="*/ 822446 h 834466"/>
                <a:gd name="connsiteX318" fmla="*/ 42510 w 699392"/>
                <a:gd name="connsiteY318" fmla="*/ 822008 h 834466"/>
                <a:gd name="connsiteX319" fmla="*/ 33576 w 699392"/>
                <a:gd name="connsiteY319" fmla="*/ 816569 h 834466"/>
                <a:gd name="connsiteX320" fmla="*/ 31490 w 699392"/>
                <a:gd name="connsiteY320" fmla="*/ 813654 h 834466"/>
                <a:gd name="connsiteX321" fmla="*/ 24279 w 699392"/>
                <a:gd name="connsiteY321" fmla="*/ 808996 h 834466"/>
                <a:gd name="connsiteX322" fmla="*/ 21050 w 699392"/>
                <a:gd name="connsiteY322" fmla="*/ 804043 h 834466"/>
                <a:gd name="connsiteX323" fmla="*/ 19212 w 699392"/>
                <a:gd name="connsiteY323" fmla="*/ 798595 h 834466"/>
                <a:gd name="connsiteX324" fmla="*/ 19355 w 699392"/>
                <a:gd name="connsiteY324" fmla="*/ 793642 h 834466"/>
                <a:gd name="connsiteX325" fmla="*/ 20241 w 699392"/>
                <a:gd name="connsiteY325" fmla="*/ 785765 h 834466"/>
                <a:gd name="connsiteX326" fmla="*/ 21755 w 699392"/>
                <a:gd name="connsiteY326" fmla="*/ 783812 h 834466"/>
                <a:gd name="connsiteX327" fmla="*/ 28223 w 699392"/>
                <a:gd name="connsiteY327" fmla="*/ 786584 h 834466"/>
                <a:gd name="connsiteX328" fmla="*/ 34766 w 699392"/>
                <a:gd name="connsiteY328" fmla="*/ 791194 h 834466"/>
                <a:gd name="connsiteX329" fmla="*/ 35786 w 699392"/>
                <a:gd name="connsiteY329" fmla="*/ 790966 h 834466"/>
                <a:gd name="connsiteX330" fmla="*/ 37843 w 699392"/>
                <a:gd name="connsiteY330" fmla="*/ 787346 h 834466"/>
                <a:gd name="connsiteX331" fmla="*/ 41824 w 699392"/>
                <a:gd name="connsiteY331" fmla="*/ 784431 h 834466"/>
                <a:gd name="connsiteX332" fmla="*/ 40691 w 699392"/>
                <a:gd name="connsiteY332" fmla="*/ 783631 h 834466"/>
                <a:gd name="connsiteX333" fmla="*/ 34766 w 699392"/>
                <a:gd name="connsiteY333" fmla="*/ 786975 h 834466"/>
                <a:gd name="connsiteX334" fmla="*/ 32566 w 699392"/>
                <a:gd name="connsiteY334" fmla="*/ 785127 h 834466"/>
                <a:gd name="connsiteX335" fmla="*/ 29146 w 699392"/>
                <a:gd name="connsiteY335" fmla="*/ 781355 h 834466"/>
                <a:gd name="connsiteX336" fmla="*/ 29146 w 699392"/>
                <a:gd name="connsiteY336" fmla="*/ 779402 h 834466"/>
                <a:gd name="connsiteX337" fmla="*/ 30737 w 699392"/>
                <a:gd name="connsiteY337" fmla="*/ 777450 h 834466"/>
                <a:gd name="connsiteX338" fmla="*/ 31271 w 699392"/>
                <a:gd name="connsiteY338" fmla="*/ 774811 h 834466"/>
                <a:gd name="connsiteX339" fmla="*/ 30442 w 699392"/>
                <a:gd name="connsiteY339" fmla="*/ 772316 h 834466"/>
                <a:gd name="connsiteX340" fmla="*/ 30832 w 699392"/>
                <a:gd name="connsiteY340" fmla="*/ 768915 h 834466"/>
                <a:gd name="connsiteX341" fmla="*/ 33471 w 699392"/>
                <a:gd name="connsiteY341" fmla="*/ 765305 h 834466"/>
                <a:gd name="connsiteX342" fmla="*/ 37433 w 699392"/>
                <a:gd name="connsiteY342" fmla="*/ 761638 h 834466"/>
                <a:gd name="connsiteX343" fmla="*/ 40291 w 699392"/>
                <a:gd name="connsiteY343" fmla="*/ 758085 h 834466"/>
                <a:gd name="connsiteX344" fmla="*/ 43224 w 699392"/>
                <a:gd name="connsiteY344" fmla="*/ 755904 h 834466"/>
                <a:gd name="connsiteX345" fmla="*/ 42920 w 699392"/>
                <a:gd name="connsiteY345" fmla="*/ 755171 h 834466"/>
                <a:gd name="connsiteX346" fmla="*/ 39567 w 699392"/>
                <a:gd name="connsiteY346" fmla="*/ 756561 h 834466"/>
                <a:gd name="connsiteX347" fmla="*/ 36357 w 699392"/>
                <a:gd name="connsiteY347" fmla="*/ 758923 h 834466"/>
                <a:gd name="connsiteX348" fmla="*/ 32585 w 699392"/>
                <a:gd name="connsiteY348" fmla="*/ 762876 h 834466"/>
                <a:gd name="connsiteX349" fmla="*/ 27985 w 699392"/>
                <a:gd name="connsiteY349" fmla="*/ 766067 h 834466"/>
                <a:gd name="connsiteX350" fmla="*/ 24584 w 699392"/>
                <a:gd name="connsiteY350" fmla="*/ 767305 h 834466"/>
                <a:gd name="connsiteX351" fmla="*/ 22965 w 699392"/>
                <a:gd name="connsiteY351" fmla="*/ 768334 h 834466"/>
                <a:gd name="connsiteX352" fmla="*/ 20469 w 699392"/>
                <a:gd name="connsiteY352" fmla="*/ 769325 h 834466"/>
                <a:gd name="connsiteX353" fmla="*/ 17888 w 699392"/>
                <a:gd name="connsiteY353" fmla="*/ 773887 h 834466"/>
                <a:gd name="connsiteX354" fmla="*/ 15069 w 699392"/>
                <a:gd name="connsiteY354" fmla="*/ 775840 h 834466"/>
                <a:gd name="connsiteX355" fmla="*/ 10020 w 699392"/>
                <a:gd name="connsiteY355" fmla="*/ 776040 h 834466"/>
                <a:gd name="connsiteX356" fmla="*/ 8906 w 699392"/>
                <a:gd name="connsiteY356" fmla="*/ 772706 h 834466"/>
                <a:gd name="connsiteX357" fmla="*/ 10335 w 699392"/>
                <a:gd name="connsiteY357" fmla="*/ 760819 h 834466"/>
                <a:gd name="connsiteX358" fmla="*/ 11859 w 699392"/>
                <a:gd name="connsiteY358" fmla="*/ 754999 h 834466"/>
                <a:gd name="connsiteX359" fmla="*/ 13535 w 699392"/>
                <a:gd name="connsiteY359" fmla="*/ 750875 h 834466"/>
                <a:gd name="connsiteX360" fmla="*/ 16164 w 699392"/>
                <a:gd name="connsiteY360" fmla="*/ 750180 h 834466"/>
                <a:gd name="connsiteX361" fmla="*/ 18012 w 699392"/>
                <a:gd name="connsiteY361" fmla="*/ 747151 h 834466"/>
                <a:gd name="connsiteX362" fmla="*/ 19545 w 699392"/>
                <a:gd name="connsiteY362" fmla="*/ 747151 h 834466"/>
                <a:gd name="connsiteX363" fmla="*/ 20879 w 699392"/>
                <a:gd name="connsiteY363" fmla="*/ 748551 h 834466"/>
                <a:gd name="connsiteX364" fmla="*/ 26032 w 699392"/>
                <a:gd name="connsiteY364" fmla="*/ 749903 h 834466"/>
                <a:gd name="connsiteX365" fmla="*/ 28575 w 699392"/>
                <a:gd name="connsiteY365" fmla="*/ 746046 h 834466"/>
                <a:gd name="connsiteX366" fmla="*/ 31880 w 699392"/>
                <a:gd name="connsiteY366" fmla="*/ 745474 h 834466"/>
                <a:gd name="connsiteX367" fmla="*/ 37910 w 699392"/>
                <a:gd name="connsiteY367" fmla="*/ 741569 h 834466"/>
                <a:gd name="connsiteX368" fmla="*/ 37786 w 699392"/>
                <a:gd name="connsiteY368" fmla="*/ 740855 h 834466"/>
                <a:gd name="connsiteX369" fmla="*/ 33709 w 699392"/>
                <a:gd name="connsiteY369" fmla="*/ 741712 h 834466"/>
                <a:gd name="connsiteX370" fmla="*/ 31233 w 699392"/>
                <a:gd name="connsiteY370" fmla="*/ 741836 h 834466"/>
                <a:gd name="connsiteX371" fmla="*/ 27689 w 699392"/>
                <a:gd name="connsiteY371" fmla="*/ 742817 h 834466"/>
                <a:gd name="connsiteX372" fmla="*/ 25803 w 699392"/>
                <a:gd name="connsiteY372" fmla="*/ 742112 h 834466"/>
                <a:gd name="connsiteX373" fmla="*/ 24917 w 699392"/>
                <a:gd name="connsiteY373" fmla="*/ 739188 h 834466"/>
                <a:gd name="connsiteX374" fmla="*/ 26337 w 699392"/>
                <a:gd name="connsiteY374" fmla="*/ 736540 h 834466"/>
                <a:gd name="connsiteX375" fmla="*/ 32023 w 699392"/>
                <a:gd name="connsiteY375" fmla="*/ 730206 h 834466"/>
                <a:gd name="connsiteX376" fmla="*/ 33995 w 699392"/>
                <a:gd name="connsiteY376" fmla="*/ 727424 h 834466"/>
                <a:gd name="connsiteX377" fmla="*/ 35109 w 699392"/>
                <a:gd name="connsiteY377" fmla="*/ 724824 h 834466"/>
                <a:gd name="connsiteX378" fmla="*/ 34928 w 699392"/>
                <a:gd name="connsiteY378" fmla="*/ 723052 h 834466"/>
                <a:gd name="connsiteX379" fmla="*/ 35881 w 699392"/>
                <a:gd name="connsiteY379" fmla="*/ 719376 h 834466"/>
                <a:gd name="connsiteX380" fmla="*/ 41443 w 699392"/>
                <a:gd name="connsiteY380" fmla="*/ 712946 h 834466"/>
                <a:gd name="connsiteX381" fmla="*/ 45977 w 699392"/>
                <a:gd name="connsiteY381" fmla="*/ 709993 h 834466"/>
                <a:gd name="connsiteX382" fmla="*/ 47463 w 699392"/>
                <a:gd name="connsiteY382" fmla="*/ 712527 h 834466"/>
                <a:gd name="connsiteX383" fmla="*/ 46196 w 699392"/>
                <a:gd name="connsiteY383" fmla="*/ 720442 h 834466"/>
                <a:gd name="connsiteX384" fmla="*/ 46206 w 699392"/>
                <a:gd name="connsiteY384" fmla="*/ 723700 h 834466"/>
                <a:gd name="connsiteX385" fmla="*/ 49787 w 699392"/>
                <a:gd name="connsiteY385" fmla="*/ 712175 h 834466"/>
                <a:gd name="connsiteX386" fmla="*/ 51368 w 699392"/>
                <a:gd name="connsiteY386" fmla="*/ 709422 h 834466"/>
                <a:gd name="connsiteX387" fmla="*/ 53159 w 699392"/>
                <a:gd name="connsiteY387" fmla="*/ 707479 h 834466"/>
                <a:gd name="connsiteX388" fmla="*/ 57503 w 699392"/>
                <a:gd name="connsiteY388" fmla="*/ 706174 h 834466"/>
                <a:gd name="connsiteX389" fmla="*/ 58731 w 699392"/>
                <a:gd name="connsiteY389" fmla="*/ 704345 h 834466"/>
                <a:gd name="connsiteX390" fmla="*/ 53664 w 699392"/>
                <a:gd name="connsiteY390" fmla="*/ 704945 h 834466"/>
                <a:gd name="connsiteX391" fmla="*/ 41386 w 699392"/>
                <a:gd name="connsiteY391" fmla="*/ 709365 h 834466"/>
                <a:gd name="connsiteX392" fmla="*/ 36214 w 699392"/>
                <a:gd name="connsiteY392" fmla="*/ 713299 h 834466"/>
                <a:gd name="connsiteX393" fmla="*/ 34833 w 699392"/>
                <a:gd name="connsiteY393" fmla="*/ 716318 h 834466"/>
                <a:gd name="connsiteX394" fmla="*/ 31242 w 699392"/>
                <a:gd name="connsiteY394" fmla="*/ 720871 h 834466"/>
                <a:gd name="connsiteX395" fmla="*/ 29556 w 699392"/>
                <a:gd name="connsiteY395" fmla="*/ 723814 h 834466"/>
                <a:gd name="connsiteX396" fmla="*/ 28813 w 699392"/>
                <a:gd name="connsiteY396" fmla="*/ 728139 h 834466"/>
                <a:gd name="connsiteX397" fmla="*/ 26794 w 699392"/>
                <a:gd name="connsiteY397" fmla="*/ 730482 h 834466"/>
                <a:gd name="connsiteX398" fmla="*/ 24060 w 699392"/>
                <a:gd name="connsiteY398" fmla="*/ 731349 h 834466"/>
                <a:gd name="connsiteX399" fmla="*/ 20269 w 699392"/>
                <a:gd name="connsiteY399" fmla="*/ 736797 h 834466"/>
                <a:gd name="connsiteX400" fmla="*/ 18593 w 699392"/>
                <a:gd name="connsiteY400" fmla="*/ 741169 h 834466"/>
                <a:gd name="connsiteX401" fmla="*/ 14821 w 699392"/>
                <a:gd name="connsiteY401" fmla="*/ 744636 h 834466"/>
                <a:gd name="connsiteX402" fmla="*/ 12430 w 699392"/>
                <a:gd name="connsiteY402" fmla="*/ 747303 h 834466"/>
                <a:gd name="connsiteX403" fmla="*/ 11640 w 699392"/>
                <a:gd name="connsiteY403" fmla="*/ 748255 h 834466"/>
                <a:gd name="connsiteX404" fmla="*/ 10344 w 699392"/>
                <a:gd name="connsiteY404" fmla="*/ 750865 h 834466"/>
                <a:gd name="connsiteX405" fmla="*/ 9268 w 699392"/>
                <a:gd name="connsiteY405" fmla="*/ 751056 h 834466"/>
                <a:gd name="connsiteX406" fmla="*/ 8334 w 699392"/>
                <a:gd name="connsiteY406" fmla="*/ 749522 h 834466"/>
                <a:gd name="connsiteX407" fmla="*/ 8172 w 699392"/>
                <a:gd name="connsiteY407" fmla="*/ 746150 h 834466"/>
                <a:gd name="connsiteX408" fmla="*/ 8554 w 699392"/>
                <a:gd name="connsiteY408" fmla="*/ 740740 h 834466"/>
                <a:gd name="connsiteX409" fmla="*/ 10373 w 699392"/>
                <a:gd name="connsiteY409" fmla="*/ 736835 h 834466"/>
                <a:gd name="connsiteX410" fmla="*/ 11239 w 699392"/>
                <a:gd name="connsiteY410" fmla="*/ 733015 h 834466"/>
                <a:gd name="connsiteX411" fmla="*/ 10040 w 699392"/>
                <a:gd name="connsiteY411" fmla="*/ 729444 h 834466"/>
                <a:gd name="connsiteX412" fmla="*/ 10878 w 699392"/>
                <a:gd name="connsiteY412" fmla="*/ 727177 h 834466"/>
                <a:gd name="connsiteX413" fmla="*/ 12468 w 699392"/>
                <a:gd name="connsiteY413" fmla="*/ 727262 h 834466"/>
                <a:gd name="connsiteX414" fmla="*/ 15440 w 699392"/>
                <a:gd name="connsiteY414" fmla="*/ 728291 h 834466"/>
                <a:gd name="connsiteX415" fmla="*/ 18593 w 699392"/>
                <a:gd name="connsiteY415" fmla="*/ 728129 h 834466"/>
                <a:gd name="connsiteX416" fmla="*/ 23784 w 699392"/>
                <a:gd name="connsiteY416" fmla="*/ 725300 h 834466"/>
                <a:gd name="connsiteX417" fmla="*/ 22955 w 699392"/>
                <a:gd name="connsiteY417" fmla="*/ 723643 h 834466"/>
                <a:gd name="connsiteX418" fmla="*/ 20717 w 699392"/>
                <a:gd name="connsiteY418" fmla="*/ 723405 h 834466"/>
                <a:gd name="connsiteX419" fmla="*/ 16536 w 699392"/>
                <a:gd name="connsiteY419" fmla="*/ 723643 h 834466"/>
                <a:gd name="connsiteX420" fmla="*/ 13021 w 699392"/>
                <a:gd name="connsiteY420" fmla="*/ 720871 h 834466"/>
                <a:gd name="connsiteX421" fmla="*/ 10287 w 699392"/>
                <a:gd name="connsiteY421" fmla="*/ 715347 h 834466"/>
                <a:gd name="connsiteX422" fmla="*/ 9049 w 699392"/>
                <a:gd name="connsiteY422" fmla="*/ 707936 h 834466"/>
                <a:gd name="connsiteX423" fmla="*/ 9878 w 699392"/>
                <a:gd name="connsiteY423" fmla="*/ 705812 h 834466"/>
                <a:gd name="connsiteX424" fmla="*/ 19993 w 699392"/>
                <a:gd name="connsiteY424" fmla="*/ 698230 h 834466"/>
                <a:gd name="connsiteX425" fmla="*/ 22717 w 699392"/>
                <a:gd name="connsiteY425" fmla="*/ 694773 h 834466"/>
                <a:gd name="connsiteX426" fmla="*/ 21136 w 699392"/>
                <a:gd name="connsiteY426" fmla="*/ 694430 h 834466"/>
                <a:gd name="connsiteX427" fmla="*/ 17336 w 699392"/>
                <a:gd name="connsiteY427" fmla="*/ 698621 h 834466"/>
                <a:gd name="connsiteX428" fmla="*/ 11906 w 699392"/>
                <a:gd name="connsiteY428" fmla="*/ 701211 h 834466"/>
                <a:gd name="connsiteX429" fmla="*/ 8477 w 699392"/>
                <a:gd name="connsiteY429" fmla="*/ 697601 h 834466"/>
                <a:gd name="connsiteX430" fmla="*/ 6696 w 699392"/>
                <a:gd name="connsiteY430" fmla="*/ 693706 h 834466"/>
                <a:gd name="connsiteX431" fmla="*/ 5667 w 699392"/>
                <a:gd name="connsiteY431" fmla="*/ 685448 h 834466"/>
                <a:gd name="connsiteX432" fmla="*/ 6039 w 699392"/>
                <a:gd name="connsiteY432" fmla="*/ 681190 h 834466"/>
                <a:gd name="connsiteX433" fmla="*/ 5610 w 699392"/>
                <a:gd name="connsiteY433" fmla="*/ 675580 h 834466"/>
                <a:gd name="connsiteX434" fmla="*/ 7934 w 699392"/>
                <a:gd name="connsiteY434" fmla="*/ 673751 h 834466"/>
                <a:gd name="connsiteX435" fmla="*/ 10525 w 699392"/>
                <a:gd name="connsiteY435" fmla="*/ 674723 h 834466"/>
                <a:gd name="connsiteX436" fmla="*/ 13087 w 699392"/>
                <a:gd name="connsiteY436" fmla="*/ 675084 h 834466"/>
                <a:gd name="connsiteX437" fmla="*/ 18888 w 699392"/>
                <a:gd name="connsiteY437" fmla="*/ 674589 h 834466"/>
                <a:gd name="connsiteX438" fmla="*/ 31690 w 699392"/>
                <a:gd name="connsiteY438" fmla="*/ 671208 h 834466"/>
                <a:gd name="connsiteX439" fmla="*/ 39938 w 699392"/>
                <a:gd name="connsiteY439" fmla="*/ 673218 h 834466"/>
                <a:gd name="connsiteX440" fmla="*/ 43291 w 699392"/>
                <a:gd name="connsiteY440" fmla="*/ 673037 h 834466"/>
                <a:gd name="connsiteX441" fmla="*/ 48425 w 699392"/>
                <a:gd name="connsiteY441" fmla="*/ 670122 h 834466"/>
                <a:gd name="connsiteX442" fmla="*/ 52911 w 699392"/>
                <a:gd name="connsiteY442" fmla="*/ 669827 h 834466"/>
                <a:gd name="connsiteX443" fmla="*/ 56274 w 699392"/>
                <a:gd name="connsiteY443" fmla="*/ 672046 h 834466"/>
                <a:gd name="connsiteX444" fmla="*/ 58112 w 699392"/>
                <a:gd name="connsiteY444" fmla="*/ 674599 h 834466"/>
                <a:gd name="connsiteX445" fmla="*/ 58341 w 699392"/>
                <a:gd name="connsiteY445" fmla="*/ 677999 h 834466"/>
                <a:gd name="connsiteX446" fmla="*/ 59893 w 699392"/>
                <a:gd name="connsiteY446" fmla="*/ 680266 h 834466"/>
                <a:gd name="connsiteX447" fmla="*/ 60941 w 699392"/>
                <a:gd name="connsiteY447" fmla="*/ 679523 h 834466"/>
                <a:gd name="connsiteX448" fmla="*/ 60103 w 699392"/>
                <a:gd name="connsiteY448" fmla="*/ 676827 h 834466"/>
                <a:gd name="connsiteX449" fmla="*/ 59932 w 699392"/>
                <a:gd name="connsiteY449" fmla="*/ 672646 h 834466"/>
                <a:gd name="connsiteX450" fmla="*/ 73428 w 699392"/>
                <a:gd name="connsiteY450" fmla="*/ 667893 h 834466"/>
                <a:gd name="connsiteX451" fmla="*/ 75019 w 699392"/>
                <a:gd name="connsiteY451" fmla="*/ 666045 h 834466"/>
                <a:gd name="connsiteX452" fmla="*/ 69657 w 699392"/>
                <a:gd name="connsiteY452" fmla="*/ 665397 h 834466"/>
                <a:gd name="connsiteX453" fmla="*/ 68123 w 699392"/>
                <a:gd name="connsiteY453" fmla="*/ 661045 h 834466"/>
                <a:gd name="connsiteX454" fmla="*/ 70952 w 699392"/>
                <a:gd name="connsiteY454" fmla="*/ 654434 h 834466"/>
                <a:gd name="connsiteX455" fmla="*/ 70685 w 699392"/>
                <a:gd name="connsiteY455" fmla="*/ 653577 h 834466"/>
                <a:gd name="connsiteX456" fmla="*/ 67704 w 699392"/>
                <a:gd name="connsiteY456" fmla="*/ 657073 h 834466"/>
                <a:gd name="connsiteX457" fmla="*/ 66237 w 699392"/>
                <a:gd name="connsiteY457" fmla="*/ 661968 h 834466"/>
                <a:gd name="connsiteX458" fmla="*/ 66828 w 699392"/>
                <a:gd name="connsiteY458" fmla="*/ 665874 h 834466"/>
                <a:gd name="connsiteX459" fmla="*/ 66237 w 699392"/>
                <a:gd name="connsiteY459" fmla="*/ 667683 h 834466"/>
                <a:gd name="connsiteX460" fmla="*/ 63494 w 699392"/>
                <a:gd name="connsiteY460" fmla="*/ 668512 h 834466"/>
                <a:gd name="connsiteX461" fmla="*/ 57322 w 699392"/>
                <a:gd name="connsiteY461" fmla="*/ 668817 h 834466"/>
                <a:gd name="connsiteX462" fmla="*/ 53359 w 699392"/>
                <a:gd name="connsiteY462" fmla="*/ 667160 h 834466"/>
                <a:gd name="connsiteX463" fmla="*/ 49692 w 699392"/>
                <a:gd name="connsiteY463" fmla="*/ 666264 h 834466"/>
                <a:gd name="connsiteX464" fmla="*/ 48444 w 699392"/>
                <a:gd name="connsiteY464" fmla="*/ 665016 h 834466"/>
                <a:gd name="connsiteX465" fmla="*/ 48863 w 699392"/>
                <a:gd name="connsiteY465" fmla="*/ 662226 h 834466"/>
                <a:gd name="connsiteX466" fmla="*/ 48168 w 699392"/>
                <a:gd name="connsiteY466" fmla="*/ 661645 h 834466"/>
                <a:gd name="connsiteX467" fmla="*/ 46644 w 699392"/>
                <a:gd name="connsiteY467" fmla="*/ 664150 h 834466"/>
                <a:gd name="connsiteX468" fmla="*/ 45291 w 699392"/>
                <a:gd name="connsiteY468" fmla="*/ 669131 h 834466"/>
                <a:gd name="connsiteX469" fmla="*/ 42377 w 699392"/>
                <a:gd name="connsiteY469" fmla="*/ 670284 h 834466"/>
                <a:gd name="connsiteX470" fmla="*/ 34328 w 699392"/>
                <a:gd name="connsiteY470" fmla="*/ 668436 h 834466"/>
                <a:gd name="connsiteX471" fmla="*/ 22679 w 699392"/>
                <a:gd name="connsiteY471" fmla="*/ 669522 h 834466"/>
                <a:gd name="connsiteX472" fmla="*/ 17450 w 699392"/>
                <a:gd name="connsiteY472" fmla="*/ 672017 h 834466"/>
                <a:gd name="connsiteX473" fmla="*/ 14069 w 699392"/>
                <a:gd name="connsiteY473" fmla="*/ 671693 h 834466"/>
                <a:gd name="connsiteX474" fmla="*/ 8239 w 699392"/>
                <a:gd name="connsiteY474" fmla="*/ 667312 h 834466"/>
                <a:gd name="connsiteX475" fmla="*/ 5972 w 699392"/>
                <a:gd name="connsiteY475" fmla="*/ 663816 h 834466"/>
                <a:gd name="connsiteX476" fmla="*/ 5124 w 699392"/>
                <a:gd name="connsiteY476" fmla="*/ 656749 h 834466"/>
                <a:gd name="connsiteX477" fmla="*/ 5467 w 699392"/>
                <a:gd name="connsiteY477" fmla="*/ 653634 h 834466"/>
                <a:gd name="connsiteX478" fmla="*/ 10001 w 699392"/>
                <a:gd name="connsiteY478" fmla="*/ 652320 h 834466"/>
                <a:gd name="connsiteX479" fmla="*/ 12297 w 699392"/>
                <a:gd name="connsiteY479" fmla="*/ 652405 h 834466"/>
                <a:gd name="connsiteX480" fmla="*/ 14449 w 699392"/>
                <a:gd name="connsiteY480" fmla="*/ 650729 h 834466"/>
                <a:gd name="connsiteX481" fmla="*/ 12545 w 699392"/>
                <a:gd name="connsiteY481" fmla="*/ 649634 h 834466"/>
                <a:gd name="connsiteX482" fmla="*/ 9868 w 699392"/>
                <a:gd name="connsiteY482" fmla="*/ 647481 h 834466"/>
                <a:gd name="connsiteX483" fmla="*/ 8049 w 699392"/>
                <a:gd name="connsiteY483" fmla="*/ 643176 h 834466"/>
                <a:gd name="connsiteX484" fmla="*/ 5296 w 699392"/>
                <a:gd name="connsiteY484" fmla="*/ 641766 h 834466"/>
                <a:gd name="connsiteX485" fmla="*/ 3458 w 699392"/>
                <a:gd name="connsiteY485" fmla="*/ 638080 h 834466"/>
                <a:gd name="connsiteX486" fmla="*/ 2991 w 699392"/>
                <a:gd name="connsiteY486" fmla="*/ 632508 h 834466"/>
                <a:gd name="connsiteX487" fmla="*/ 3515 w 699392"/>
                <a:gd name="connsiteY487" fmla="*/ 628621 h 834466"/>
                <a:gd name="connsiteX488" fmla="*/ 4982 w 699392"/>
                <a:gd name="connsiteY488" fmla="*/ 627374 h 834466"/>
                <a:gd name="connsiteX489" fmla="*/ 8515 w 699392"/>
                <a:gd name="connsiteY489" fmla="*/ 628221 h 834466"/>
                <a:gd name="connsiteX490" fmla="*/ 17831 w 699392"/>
                <a:gd name="connsiteY490" fmla="*/ 627564 h 834466"/>
                <a:gd name="connsiteX491" fmla="*/ 26594 w 699392"/>
                <a:gd name="connsiteY491" fmla="*/ 631527 h 834466"/>
                <a:gd name="connsiteX492" fmla="*/ 32547 w 699392"/>
                <a:gd name="connsiteY492" fmla="*/ 633755 h 834466"/>
                <a:gd name="connsiteX493" fmla="*/ 44596 w 699392"/>
                <a:gd name="connsiteY493" fmla="*/ 632631 h 834466"/>
                <a:gd name="connsiteX494" fmla="*/ 51654 w 699392"/>
                <a:gd name="connsiteY494" fmla="*/ 629098 h 834466"/>
                <a:gd name="connsiteX495" fmla="*/ 50359 w 699392"/>
                <a:gd name="connsiteY495" fmla="*/ 628126 h 834466"/>
                <a:gd name="connsiteX496" fmla="*/ 42701 w 699392"/>
                <a:gd name="connsiteY496" fmla="*/ 630164 h 834466"/>
                <a:gd name="connsiteX497" fmla="*/ 35624 w 699392"/>
                <a:gd name="connsiteY497" fmla="*/ 630079 h 834466"/>
                <a:gd name="connsiteX498" fmla="*/ 23146 w 699392"/>
                <a:gd name="connsiteY498" fmla="*/ 626088 h 834466"/>
                <a:gd name="connsiteX499" fmla="*/ 18031 w 699392"/>
                <a:gd name="connsiteY499" fmla="*/ 624802 h 834466"/>
                <a:gd name="connsiteX500" fmla="*/ 12516 w 699392"/>
                <a:gd name="connsiteY500" fmla="*/ 625373 h 834466"/>
                <a:gd name="connsiteX501" fmla="*/ 9649 w 699392"/>
                <a:gd name="connsiteY501" fmla="*/ 624164 h 834466"/>
                <a:gd name="connsiteX502" fmla="*/ 7963 w 699392"/>
                <a:gd name="connsiteY502" fmla="*/ 620201 h 834466"/>
                <a:gd name="connsiteX503" fmla="*/ 9211 w 699392"/>
                <a:gd name="connsiteY503" fmla="*/ 612600 h 834466"/>
                <a:gd name="connsiteX504" fmla="*/ 11820 w 699392"/>
                <a:gd name="connsiteY504" fmla="*/ 610962 h 834466"/>
                <a:gd name="connsiteX505" fmla="*/ 13230 w 699392"/>
                <a:gd name="connsiteY505" fmla="*/ 612943 h 834466"/>
                <a:gd name="connsiteX506" fmla="*/ 14935 w 699392"/>
                <a:gd name="connsiteY506" fmla="*/ 613067 h 834466"/>
                <a:gd name="connsiteX507" fmla="*/ 16669 w 699392"/>
                <a:gd name="connsiteY507" fmla="*/ 609886 h 834466"/>
                <a:gd name="connsiteX508" fmla="*/ 18317 w 699392"/>
                <a:gd name="connsiteY508" fmla="*/ 608067 h 834466"/>
                <a:gd name="connsiteX509" fmla="*/ 19631 w 699392"/>
                <a:gd name="connsiteY509" fmla="*/ 603952 h 834466"/>
                <a:gd name="connsiteX510" fmla="*/ 24575 w 699392"/>
                <a:gd name="connsiteY510" fmla="*/ 600037 h 834466"/>
                <a:gd name="connsiteX511" fmla="*/ 26661 w 699392"/>
                <a:gd name="connsiteY511" fmla="*/ 599704 h 834466"/>
                <a:gd name="connsiteX512" fmla="*/ 29651 w 699392"/>
                <a:gd name="connsiteY512" fmla="*/ 597903 h 834466"/>
                <a:gd name="connsiteX513" fmla="*/ 31566 w 699392"/>
                <a:gd name="connsiteY513" fmla="*/ 598418 h 834466"/>
                <a:gd name="connsiteX514" fmla="*/ 32785 w 699392"/>
                <a:gd name="connsiteY514" fmla="*/ 600227 h 834466"/>
                <a:gd name="connsiteX515" fmla="*/ 34338 w 699392"/>
                <a:gd name="connsiteY515" fmla="*/ 601723 h 834466"/>
                <a:gd name="connsiteX516" fmla="*/ 37690 w 699392"/>
                <a:gd name="connsiteY516" fmla="*/ 601542 h 834466"/>
                <a:gd name="connsiteX517" fmla="*/ 47615 w 699392"/>
                <a:gd name="connsiteY517" fmla="*/ 598399 h 834466"/>
                <a:gd name="connsiteX518" fmla="*/ 48682 w 699392"/>
                <a:gd name="connsiteY518" fmla="*/ 597475 h 834466"/>
                <a:gd name="connsiteX519" fmla="*/ 50616 w 699392"/>
                <a:gd name="connsiteY519" fmla="*/ 594893 h 834466"/>
                <a:gd name="connsiteX520" fmla="*/ 44330 w 699392"/>
                <a:gd name="connsiteY520" fmla="*/ 596046 h 834466"/>
                <a:gd name="connsiteX521" fmla="*/ 39110 w 699392"/>
                <a:gd name="connsiteY521" fmla="*/ 597875 h 834466"/>
                <a:gd name="connsiteX522" fmla="*/ 35748 w 699392"/>
                <a:gd name="connsiteY522" fmla="*/ 598389 h 834466"/>
                <a:gd name="connsiteX523" fmla="*/ 35271 w 699392"/>
                <a:gd name="connsiteY523" fmla="*/ 596094 h 834466"/>
                <a:gd name="connsiteX524" fmla="*/ 36509 w 699392"/>
                <a:gd name="connsiteY524" fmla="*/ 594065 h 834466"/>
                <a:gd name="connsiteX525" fmla="*/ 38453 w 699392"/>
                <a:gd name="connsiteY525" fmla="*/ 591893 h 834466"/>
                <a:gd name="connsiteX526" fmla="*/ 39396 w 699392"/>
                <a:gd name="connsiteY526" fmla="*/ 588188 h 834466"/>
                <a:gd name="connsiteX527" fmla="*/ 41539 w 699392"/>
                <a:gd name="connsiteY527" fmla="*/ 586607 h 834466"/>
                <a:gd name="connsiteX528" fmla="*/ 43853 w 699392"/>
                <a:gd name="connsiteY528" fmla="*/ 586692 h 834466"/>
                <a:gd name="connsiteX529" fmla="*/ 48635 w 699392"/>
                <a:gd name="connsiteY529" fmla="*/ 586016 h 834466"/>
                <a:gd name="connsiteX530" fmla="*/ 52007 w 699392"/>
                <a:gd name="connsiteY530" fmla="*/ 585054 h 834466"/>
                <a:gd name="connsiteX531" fmla="*/ 57788 w 699392"/>
                <a:gd name="connsiteY531" fmla="*/ 585692 h 834466"/>
                <a:gd name="connsiteX532" fmla="*/ 66418 w 699392"/>
                <a:gd name="connsiteY532" fmla="*/ 587111 h 834466"/>
                <a:gd name="connsiteX533" fmla="*/ 71971 w 699392"/>
                <a:gd name="connsiteY533" fmla="*/ 590559 h 834466"/>
                <a:gd name="connsiteX534" fmla="*/ 74066 w 699392"/>
                <a:gd name="connsiteY534" fmla="*/ 590245 h 834466"/>
                <a:gd name="connsiteX535" fmla="*/ 76286 w 699392"/>
                <a:gd name="connsiteY535" fmla="*/ 589331 h 834466"/>
                <a:gd name="connsiteX536" fmla="*/ 77296 w 699392"/>
                <a:gd name="connsiteY536" fmla="*/ 588083 h 834466"/>
                <a:gd name="connsiteX537" fmla="*/ 72933 w 699392"/>
                <a:gd name="connsiteY537" fmla="*/ 586654 h 834466"/>
                <a:gd name="connsiteX538" fmla="*/ 72685 w 699392"/>
                <a:gd name="connsiteY538" fmla="*/ 584606 h 834466"/>
                <a:gd name="connsiteX539" fmla="*/ 73228 w 699392"/>
                <a:gd name="connsiteY539" fmla="*/ 583063 h 834466"/>
                <a:gd name="connsiteX540" fmla="*/ 80353 w 699392"/>
                <a:gd name="connsiteY540" fmla="*/ 580215 h 834466"/>
                <a:gd name="connsiteX541" fmla="*/ 88125 w 699392"/>
                <a:gd name="connsiteY541" fmla="*/ 579587 h 834466"/>
                <a:gd name="connsiteX542" fmla="*/ 86792 w 699392"/>
                <a:gd name="connsiteY542" fmla="*/ 577291 h 834466"/>
                <a:gd name="connsiteX543" fmla="*/ 69761 w 699392"/>
                <a:gd name="connsiteY543" fmla="*/ 580758 h 834466"/>
                <a:gd name="connsiteX544" fmla="*/ 65313 w 699392"/>
                <a:gd name="connsiteY544" fmla="*/ 578387 h 834466"/>
                <a:gd name="connsiteX545" fmla="*/ 61798 w 699392"/>
                <a:gd name="connsiteY545" fmla="*/ 578406 h 834466"/>
                <a:gd name="connsiteX546" fmla="*/ 59503 w 699392"/>
                <a:gd name="connsiteY546" fmla="*/ 579758 h 834466"/>
                <a:gd name="connsiteX547" fmla="*/ 52950 w 699392"/>
                <a:gd name="connsiteY547" fmla="*/ 581397 h 834466"/>
                <a:gd name="connsiteX548" fmla="*/ 51749 w 699392"/>
                <a:gd name="connsiteY548" fmla="*/ 580234 h 834466"/>
                <a:gd name="connsiteX549" fmla="*/ 52997 w 699392"/>
                <a:gd name="connsiteY549" fmla="*/ 576215 h 834466"/>
                <a:gd name="connsiteX550" fmla="*/ 56922 w 699392"/>
                <a:gd name="connsiteY550" fmla="*/ 569605 h 834466"/>
                <a:gd name="connsiteX551" fmla="*/ 57245 w 699392"/>
                <a:gd name="connsiteY551" fmla="*/ 567985 h 834466"/>
                <a:gd name="connsiteX552" fmla="*/ 59065 w 699392"/>
                <a:gd name="connsiteY552" fmla="*/ 566385 h 834466"/>
                <a:gd name="connsiteX553" fmla="*/ 69237 w 699392"/>
                <a:gd name="connsiteY553" fmla="*/ 562527 h 834466"/>
                <a:gd name="connsiteX554" fmla="*/ 74124 w 699392"/>
                <a:gd name="connsiteY554" fmla="*/ 558032 h 834466"/>
                <a:gd name="connsiteX555" fmla="*/ 76324 w 699392"/>
                <a:gd name="connsiteY555" fmla="*/ 557460 h 834466"/>
                <a:gd name="connsiteX556" fmla="*/ 78505 w 699392"/>
                <a:gd name="connsiteY556" fmla="*/ 557775 h 834466"/>
                <a:gd name="connsiteX557" fmla="*/ 81829 w 699392"/>
                <a:gd name="connsiteY557" fmla="*/ 557251 h 834466"/>
                <a:gd name="connsiteX558" fmla="*/ 88249 w 699392"/>
                <a:gd name="connsiteY558" fmla="*/ 558536 h 834466"/>
                <a:gd name="connsiteX559" fmla="*/ 91212 w 699392"/>
                <a:gd name="connsiteY559" fmla="*/ 564156 h 834466"/>
                <a:gd name="connsiteX560" fmla="*/ 93869 w 699392"/>
                <a:gd name="connsiteY560" fmla="*/ 565918 h 834466"/>
                <a:gd name="connsiteX561" fmla="*/ 102222 w 699392"/>
                <a:gd name="connsiteY561" fmla="*/ 572910 h 834466"/>
                <a:gd name="connsiteX562" fmla="*/ 101851 w 699392"/>
                <a:gd name="connsiteY562" fmla="*/ 570910 h 834466"/>
                <a:gd name="connsiteX563" fmla="*/ 94612 w 699392"/>
                <a:gd name="connsiteY563" fmla="*/ 561413 h 834466"/>
                <a:gd name="connsiteX564" fmla="*/ 91850 w 699392"/>
                <a:gd name="connsiteY564" fmla="*/ 559051 h 834466"/>
                <a:gd name="connsiteX565" fmla="*/ 89783 w 699392"/>
                <a:gd name="connsiteY565" fmla="*/ 554365 h 834466"/>
                <a:gd name="connsiteX566" fmla="*/ 90488 w 699392"/>
                <a:gd name="connsiteY566" fmla="*/ 549926 h 834466"/>
                <a:gd name="connsiteX567" fmla="*/ 92812 w 699392"/>
                <a:gd name="connsiteY567" fmla="*/ 546954 h 834466"/>
                <a:gd name="connsiteX568" fmla="*/ 101070 w 699392"/>
                <a:gd name="connsiteY568" fmla="*/ 545363 h 834466"/>
                <a:gd name="connsiteX569" fmla="*/ 102546 w 699392"/>
                <a:gd name="connsiteY569" fmla="*/ 543639 h 834466"/>
                <a:gd name="connsiteX570" fmla="*/ 102699 w 699392"/>
                <a:gd name="connsiteY570" fmla="*/ 540677 h 834466"/>
                <a:gd name="connsiteX571" fmla="*/ 101432 w 699392"/>
                <a:gd name="connsiteY571" fmla="*/ 538648 h 834466"/>
                <a:gd name="connsiteX572" fmla="*/ 98393 w 699392"/>
                <a:gd name="connsiteY572" fmla="*/ 538763 h 834466"/>
                <a:gd name="connsiteX573" fmla="*/ 95888 w 699392"/>
                <a:gd name="connsiteY573" fmla="*/ 537505 h 834466"/>
                <a:gd name="connsiteX574" fmla="*/ 95202 w 699392"/>
                <a:gd name="connsiteY574" fmla="*/ 534305 h 834466"/>
                <a:gd name="connsiteX575" fmla="*/ 96203 w 699392"/>
                <a:gd name="connsiteY575" fmla="*/ 532133 h 834466"/>
                <a:gd name="connsiteX576" fmla="*/ 100965 w 699392"/>
                <a:gd name="connsiteY576" fmla="*/ 528161 h 834466"/>
                <a:gd name="connsiteX577" fmla="*/ 103565 w 699392"/>
                <a:gd name="connsiteY577" fmla="*/ 526875 h 834466"/>
                <a:gd name="connsiteX578" fmla="*/ 108080 w 699392"/>
                <a:gd name="connsiteY578" fmla="*/ 525485 h 834466"/>
                <a:gd name="connsiteX579" fmla="*/ 115919 w 699392"/>
                <a:gd name="connsiteY579" fmla="*/ 528628 h 834466"/>
                <a:gd name="connsiteX580" fmla="*/ 116519 w 699392"/>
                <a:gd name="connsiteY580" fmla="*/ 530266 h 834466"/>
                <a:gd name="connsiteX581" fmla="*/ 114319 w 699392"/>
                <a:gd name="connsiteY581" fmla="*/ 534210 h 834466"/>
                <a:gd name="connsiteX582" fmla="*/ 114538 w 699392"/>
                <a:gd name="connsiteY582" fmla="*/ 536419 h 834466"/>
                <a:gd name="connsiteX583" fmla="*/ 116462 w 699392"/>
                <a:gd name="connsiteY583" fmla="*/ 536658 h 834466"/>
                <a:gd name="connsiteX584" fmla="*/ 120939 w 699392"/>
                <a:gd name="connsiteY584" fmla="*/ 530009 h 834466"/>
                <a:gd name="connsiteX585" fmla="*/ 126206 w 699392"/>
                <a:gd name="connsiteY585" fmla="*/ 529085 h 834466"/>
                <a:gd name="connsiteX586" fmla="*/ 128388 w 699392"/>
                <a:gd name="connsiteY586" fmla="*/ 527656 h 834466"/>
                <a:gd name="connsiteX587" fmla="*/ 130921 w 699392"/>
                <a:gd name="connsiteY587" fmla="*/ 526752 h 834466"/>
                <a:gd name="connsiteX588" fmla="*/ 134531 w 699392"/>
                <a:gd name="connsiteY588" fmla="*/ 532771 h 834466"/>
                <a:gd name="connsiteX589" fmla="*/ 136122 w 699392"/>
                <a:gd name="connsiteY589" fmla="*/ 534695 h 834466"/>
                <a:gd name="connsiteX590" fmla="*/ 137313 w 699392"/>
                <a:gd name="connsiteY590" fmla="*/ 535486 h 834466"/>
                <a:gd name="connsiteX591" fmla="*/ 138465 w 699392"/>
                <a:gd name="connsiteY591" fmla="*/ 540477 h 834466"/>
                <a:gd name="connsiteX592" fmla="*/ 139580 w 699392"/>
                <a:gd name="connsiteY592" fmla="*/ 540744 h 834466"/>
                <a:gd name="connsiteX593" fmla="*/ 141170 w 699392"/>
                <a:gd name="connsiteY593" fmla="*/ 538248 h 834466"/>
                <a:gd name="connsiteX594" fmla="*/ 144056 w 699392"/>
                <a:gd name="connsiteY594" fmla="*/ 536924 h 834466"/>
                <a:gd name="connsiteX595" fmla="*/ 148104 w 699392"/>
                <a:gd name="connsiteY595" fmla="*/ 536057 h 834466"/>
                <a:gd name="connsiteX596" fmla="*/ 154810 w 699392"/>
                <a:gd name="connsiteY596" fmla="*/ 537381 h 834466"/>
                <a:gd name="connsiteX597" fmla="*/ 157849 w 699392"/>
                <a:gd name="connsiteY597" fmla="*/ 536400 h 834466"/>
                <a:gd name="connsiteX598" fmla="*/ 159334 w 699392"/>
                <a:gd name="connsiteY598" fmla="*/ 536543 h 834466"/>
                <a:gd name="connsiteX599" fmla="*/ 157905 w 699392"/>
                <a:gd name="connsiteY599" fmla="*/ 532057 h 834466"/>
                <a:gd name="connsiteX600" fmla="*/ 157020 w 699392"/>
                <a:gd name="connsiteY600" fmla="*/ 530752 h 834466"/>
                <a:gd name="connsiteX601" fmla="*/ 158401 w 699392"/>
                <a:gd name="connsiteY601" fmla="*/ 526733 h 834466"/>
                <a:gd name="connsiteX602" fmla="*/ 159839 w 699392"/>
                <a:gd name="connsiteY602" fmla="*/ 525161 h 834466"/>
                <a:gd name="connsiteX603" fmla="*/ 164468 w 699392"/>
                <a:gd name="connsiteY603" fmla="*/ 522332 h 834466"/>
                <a:gd name="connsiteX604" fmla="*/ 168888 w 699392"/>
                <a:gd name="connsiteY604" fmla="*/ 521065 h 834466"/>
                <a:gd name="connsiteX605" fmla="*/ 171774 w 699392"/>
                <a:gd name="connsiteY605" fmla="*/ 518379 h 834466"/>
                <a:gd name="connsiteX606" fmla="*/ 175651 w 699392"/>
                <a:gd name="connsiteY606" fmla="*/ 515893 h 834466"/>
                <a:gd name="connsiteX607" fmla="*/ 175041 w 699392"/>
                <a:gd name="connsiteY607" fmla="*/ 513912 h 834466"/>
                <a:gd name="connsiteX608" fmla="*/ 173965 w 699392"/>
                <a:gd name="connsiteY608" fmla="*/ 511607 h 834466"/>
                <a:gd name="connsiteX609" fmla="*/ 171450 w 699392"/>
                <a:gd name="connsiteY609" fmla="*/ 511464 h 834466"/>
                <a:gd name="connsiteX610" fmla="*/ 170431 w 699392"/>
                <a:gd name="connsiteY610" fmla="*/ 510207 h 834466"/>
                <a:gd name="connsiteX611" fmla="*/ 173612 w 699392"/>
                <a:gd name="connsiteY611" fmla="*/ 507216 h 834466"/>
                <a:gd name="connsiteX612" fmla="*/ 177975 w 699392"/>
                <a:gd name="connsiteY612" fmla="*/ 503882 h 834466"/>
                <a:gd name="connsiteX613" fmla="*/ 177213 w 699392"/>
                <a:gd name="connsiteY613" fmla="*/ 502568 h 834466"/>
                <a:gd name="connsiteX614" fmla="*/ 173936 w 699392"/>
                <a:gd name="connsiteY614" fmla="*/ 501082 h 834466"/>
                <a:gd name="connsiteX615" fmla="*/ 171450 w 699392"/>
                <a:gd name="connsiteY615" fmla="*/ 502196 h 834466"/>
                <a:gd name="connsiteX616" fmla="*/ 167754 w 699392"/>
                <a:gd name="connsiteY616" fmla="*/ 504777 h 834466"/>
                <a:gd name="connsiteX617" fmla="*/ 163449 w 699392"/>
                <a:gd name="connsiteY617" fmla="*/ 508854 h 834466"/>
                <a:gd name="connsiteX618" fmla="*/ 164849 w 699392"/>
                <a:gd name="connsiteY618" fmla="*/ 510045 h 834466"/>
                <a:gd name="connsiteX619" fmla="*/ 167002 w 699392"/>
                <a:gd name="connsiteY619" fmla="*/ 513464 h 834466"/>
                <a:gd name="connsiteX620" fmla="*/ 164002 w 699392"/>
                <a:gd name="connsiteY620" fmla="*/ 517998 h 834466"/>
                <a:gd name="connsiteX621" fmla="*/ 148076 w 699392"/>
                <a:gd name="connsiteY621" fmla="*/ 529990 h 834466"/>
                <a:gd name="connsiteX622" fmla="*/ 140484 w 699392"/>
                <a:gd name="connsiteY622" fmla="*/ 533486 h 834466"/>
                <a:gd name="connsiteX623" fmla="*/ 136979 w 699392"/>
                <a:gd name="connsiteY623" fmla="*/ 532943 h 834466"/>
                <a:gd name="connsiteX624" fmla="*/ 136141 w 699392"/>
                <a:gd name="connsiteY624" fmla="*/ 529676 h 834466"/>
                <a:gd name="connsiteX625" fmla="*/ 134531 w 699392"/>
                <a:gd name="connsiteY625" fmla="*/ 527266 h 834466"/>
                <a:gd name="connsiteX626" fmla="*/ 132798 w 699392"/>
                <a:gd name="connsiteY626" fmla="*/ 522265 h 834466"/>
                <a:gd name="connsiteX627" fmla="*/ 129845 w 699392"/>
                <a:gd name="connsiteY627" fmla="*/ 522399 h 834466"/>
                <a:gd name="connsiteX628" fmla="*/ 128168 w 699392"/>
                <a:gd name="connsiteY628" fmla="*/ 523504 h 834466"/>
                <a:gd name="connsiteX629" fmla="*/ 127445 w 699392"/>
                <a:gd name="connsiteY629" fmla="*/ 521865 h 834466"/>
                <a:gd name="connsiteX630" fmla="*/ 128711 w 699392"/>
                <a:gd name="connsiteY630" fmla="*/ 516512 h 834466"/>
                <a:gd name="connsiteX631" fmla="*/ 131207 w 699392"/>
                <a:gd name="connsiteY631" fmla="*/ 512274 h 834466"/>
                <a:gd name="connsiteX632" fmla="*/ 135389 w 699392"/>
                <a:gd name="connsiteY632" fmla="*/ 509064 h 834466"/>
                <a:gd name="connsiteX633" fmla="*/ 137398 w 699392"/>
                <a:gd name="connsiteY633" fmla="*/ 505177 h 834466"/>
                <a:gd name="connsiteX634" fmla="*/ 139284 w 699392"/>
                <a:gd name="connsiteY634" fmla="*/ 498996 h 834466"/>
                <a:gd name="connsiteX635" fmla="*/ 145332 w 699392"/>
                <a:gd name="connsiteY635" fmla="*/ 493090 h 834466"/>
                <a:gd name="connsiteX636" fmla="*/ 154134 w 699392"/>
                <a:gd name="connsiteY636" fmla="*/ 478403 h 834466"/>
                <a:gd name="connsiteX637" fmla="*/ 161306 w 699392"/>
                <a:gd name="connsiteY637" fmla="*/ 473688 h 834466"/>
                <a:gd name="connsiteX638" fmla="*/ 163935 w 699392"/>
                <a:gd name="connsiteY638" fmla="*/ 468516 h 834466"/>
                <a:gd name="connsiteX639" fmla="*/ 168164 w 699392"/>
                <a:gd name="connsiteY639" fmla="*/ 466230 h 834466"/>
                <a:gd name="connsiteX640" fmla="*/ 171774 w 699392"/>
                <a:gd name="connsiteY640" fmla="*/ 462182 h 834466"/>
                <a:gd name="connsiteX641" fmla="*/ 174603 w 699392"/>
                <a:gd name="connsiteY641" fmla="*/ 461782 h 834466"/>
                <a:gd name="connsiteX642" fmla="*/ 179746 w 699392"/>
                <a:gd name="connsiteY642" fmla="*/ 458124 h 834466"/>
                <a:gd name="connsiteX643" fmla="*/ 182661 w 699392"/>
                <a:gd name="connsiteY643" fmla="*/ 453761 h 834466"/>
                <a:gd name="connsiteX644" fmla="*/ 180756 w 699392"/>
                <a:gd name="connsiteY644" fmla="*/ 453495 h 834466"/>
                <a:gd name="connsiteX645" fmla="*/ 176232 w 699392"/>
                <a:gd name="connsiteY645" fmla="*/ 456324 h 834466"/>
                <a:gd name="connsiteX646" fmla="*/ 173669 w 699392"/>
                <a:gd name="connsiteY646" fmla="*/ 457467 h 834466"/>
                <a:gd name="connsiteX647" fmla="*/ 173850 w 699392"/>
                <a:gd name="connsiteY647" fmla="*/ 452790 h 834466"/>
                <a:gd name="connsiteX648" fmla="*/ 175089 w 699392"/>
                <a:gd name="connsiteY648" fmla="*/ 447980 h 834466"/>
                <a:gd name="connsiteX649" fmla="*/ 178813 w 699392"/>
                <a:gd name="connsiteY649" fmla="*/ 443570 h 834466"/>
                <a:gd name="connsiteX650" fmla="*/ 196730 w 699392"/>
                <a:gd name="connsiteY650" fmla="*/ 430701 h 834466"/>
                <a:gd name="connsiteX651" fmla="*/ 198520 w 699392"/>
                <a:gd name="connsiteY651" fmla="*/ 432835 h 834466"/>
                <a:gd name="connsiteX652" fmla="*/ 200663 w 699392"/>
                <a:gd name="connsiteY652" fmla="*/ 436607 h 834466"/>
                <a:gd name="connsiteX653" fmla="*/ 206054 w 699392"/>
                <a:gd name="connsiteY653" fmla="*/ 435759 h 834466"/>
                <a:gd name="connsiteX654" fmla="*/ 212208 w 699392"/>
                <a:gd name="connsiteY654" fmla="*/ 428454 h 834466"/>
                <a:gd name="connsiteX655" fmla="*/ 216941 w 699392"/>
                <a:gd name="connsiteY655" fmla="*/ 420481 h 834466"/>
                <a:gd name="connsiteX656" fmla="*/ 214379 w 699392"/>
                <a:gd name="connsiteY656" fmla="*/ 421872 h 834466"/>
                <a:gd name="connsiteX657" fmla="*/ 211589 w 699392"/>
                <a:gd name="connsiteY657" fmla="*/ 425139 h 834466"/>
                <a:gd name="connsiteX658" fmla="*/ 206150 w 699392"/>
                <a:gd name="connsiteY658" fmla="*/ 429663 h 834466"/>
                <a:gd name="connsiteX659" fmla="*/ 203635 w 699392"/>
                <a:gd name="connsiteY659" fmla="*/ 430378 h 834466"/>
                <a:gd name="connsiteX660" fmla="*/ 202197 w 699392"/>
                <a:gd name="connsiteY660" fmla="*/ 429787 h 834466"/>
                <a:gd name="connsiteX661" fmla="*/ 201397 w 699392"/>
                <a:gd name="connsiteY661" fmla="*/ 426768 h 834466"/>
                <a:gd name="connsiteX662" fmla="*/ 199511 w 699392"/>
                <a:gd name="connsiteY662" fmla="*/ 425787 h 834466"/>
                <a:gd name="connsiteX663" fmla="*/ 197806 w 699392"/>
                <a:gd name="connsiteY663" fmla="*/ 426463 h 834466"/>
                <a:gd name="connsiteX664" fmla="*/ 196044 w 699392"/>
                <a:gd name="connsiteY664" fmla="*/ 424310 h 834466"/>
                <a:gd name="connsiteX665" fmla="*/ 195729 w 699392"/>
                <a:gd name="connsiteY665" fmla="*/ 418986 h 834466"/>
                <a:gd name="connsiteX666" fmla="*/ 197977 w 699392"/>
                <a:gd name="connsiteY666" fmla="*/ 411032 h 834466"/>
                <a:gd name="connsiteX667" fmla="*/ 199758 w 699392"/>
                <a:gd name="connsiteY667" fmla="*/ 405755 h 834466"/>
                <a:gd name="connsiteX668" fmla="*/ 201682 w 699392"/>
                <a:gd name="connsiteY668" fmla="*/ 401745 h 834466"/>
                <a:gd name="connsiteX669" fmla="*/ 209245 w 699392"/>
                <a:gd name="connsiteY669" fmla="*/ 390315 h 834466"/>
                <a:gd name="connsiteX670" fmla="*/ 210874 w 699392"/>
                <a:gd name="connsiteY670" fmla="*/ 384048 h 834466"/>
                <a:gd name="connsiteX671" fmla="*/ 214294 w 699392"/>
                <a:gd name="connsiteY671" fmla="*/ 380733 h 834466"/>
                <a:gd name="connsiteX672" fmla="*/ 218732 w 699392"/>
                <a:gd name="connsiteY672" fmla="*/ 381467 h 834466"/>
                <a:gd name="connsiteX673" fmla="*/ 220075 w 699392"/>
                <a:gd name="connsiteY673" fmla="*/ 380505 h 834466"/>
                <a:gd name="connsiteX674" fmla="*/ 218551 w 699392"/>
                <a:gd name="connsiteY674" fmla="*/ 376371 h 834466"/>
                <a:gd name="connsiteX675" fmla="*/ 213713 w 699392"/>
                <a:gd name="connsiteY675" fmla="*/ 373094 h 834466"/>
                <a:gd name="connsiteX676" fmla="*/ 213417 w 699392"/>
                <a:gd name="connsiteY676" fmla="*/ 371027 h 834466"/>
                <a:gd name="connsiteX677" fmla="*/ 229543 w 699392"/>
                <a:gd name="connsiteY677" fmla="*/ 365589 h 834466"/>
                <a:gd name="connsiteX678" fmla="*/ 237220 w 699392"/>
                <a:gd name="connsiteY678" fmla="*/ 365770 h 834466"/>
                <a:gd name="connsiteX679" fmla="*/ 239496 w 699392"/>
                <a:gd name="connsiteY679" fmla="*/ 363055 h 834466"/>
                <a:gd name="connsiteX680" fmla="*/ 243669 w 699392"/>
                <a:gd name="connsiteY680" fmla="*/ 361302 h 834466"/>
                <a:gd name="connsiteX681" fmla="*/ 246831 w 699392"/>
                <a:gd name="connsiteY681" fmla="*/ 357969 h 834466"/>
                <a:gd name="connsiteX682" fmla="*/ 245202 w 699392"/>
                <a:gd name="connsiteY682" fmla="*/ 356492 h 834466"/>
                <a:gd name="connsiteX683" fmla="*/ 237401 w 699392"/>
                <a:gd name="connsiteY683" fmla="*/ 359559 h 834466"/>
                <a:gd name="connsiteX684" fmla="*/ 232524 w 699392"/>
                <a:gd name="connsiteY684" fmla="*/ 360997 h 834466"/>
                <a:gd name="connsiteX685" fmla="*/ 230324 w 699392"/>
                <a:gd name="connsiteY685" fmla="*/ 360950 h 834466"/>
                <a:gd name="connsiteX686" fmla="*/ 228600 w 699392"/>
                <a:gd name="connsiteY686" fmla="*/ 361998 h 834466"/>
                <a:gd name="connsiteX687" fmla="*/ 222371 w 699392"/>
                <a:gd name="connsiteY687" fmla="*/ 362398 h 834466"/>
                <a:gd name="connsiteX688" fmla="*/ 221009 w 699392"/>
                <a:gd name="connsiteY688" fmla="*/ 349091 h 834466"/>
                <a:gd name="connsiteX689" fmla="*/ 221990 w 699392"/>
                <a:gd name="connsiteY689" fmla="*/ 341824 h 834466"/>
                <a:gd name="connsiteX690" fmla="*/ 224314 w 699392"/>
                <a:gd name="connsiteY690" fmla="*/ 341976 h 834466"/>
                <a:gd name="connsiteX691" fmla="*/ 224847 w 699392"/>
                <a:gd name="connsiteY691" fmla="*/ 335013 h 834466"/>
                <a:gd name="connsiteX692" fmla="*/ 227533 w 699392"/>
                <a:gd name="connsiteY692" fmla="*/ 330889 h 834466"/>
                <a:gd name="connsiteX693" fmla="*/ 231238 w 699392"/>
                <a:gd name="connsiteY693" fmla="*/ 329965 h 834466"/>
                <a:gd name="connsiteX694" fmla="*/ 233106 w 699392"/>
                <a:gd name="connsiteY694" fmla="*/ 328203 h 834466"/>
                <a:gd name="connsiteX695" fmla="*/ 235801 w 699392"/>
                <a:gd name="connsiteY695" fmla="*/ 324602 h 834466"/>
                <a:gd name="connsiteX696" fmla="*/ 240259 w 699392"/>
                <a:gd name="connsiteY696" fmla="*/ 325431 h 834466"/>
                <a:gd name="connsiteX697" fmla="*/ 244840 w 699392"/>
                <a:gd name="connsiteY697" fmla="*/ 324631 h 834466"/>
                <a:gd name="connsiteX698" fmla="*/ 243697 w 699392"/>
                <a:gd name="connsiteY698" fmla="*/ 322926 h 834466"/>
                <a:gd name="connsiteX699" fmla="*/ 238011 w 699392"/>
                <a:gd name="connsiteY699" fmla="*/ 320735 h 834466"/>
                <a:gd name="connsiteX700" fmla="*/ 236611 w 699392"/>
                <a:gd name="connsiteY700" fmla="*/ 316963 h 834466"/>
                <a:gd name="connsiteX701" fmla="*/ 238611 w 699392"/>
                <a:gd name="connsiteY701" fmla="*/ 314849 h 834466"/>
                <a:gd name="connsiteX702" fmla="*/ 240792 w 699392"/>
                <a:gd name="connsiteY702" fmla="*/ 313296 h 834466"/>
                <a:gd name="connsiteX703" fmla="*/ 242716 w 699392"/>
                <a:gd name="connsiteY703" fmla="*/ 313020 h 834466"/>
                <a:gd name="connsiteX704" fmla="*/ 246516 w 699392"/>
                <a:gd name="connsiteY704" fmla="*/ 305619 h 834466"/>
                <a:gd name="connsiteX705" fmla="*/ 248831 w 699392"/>
                <a:gd name="connsiteY705" fmla="*/ 302447 h 834466"/>
                <a:gd name="connsiteX706" fmla="*/ 251413 w 699392"/>
                <a:gd name="connsiteY706" fmla="*/ 303000 h 834466"/>
                <a:gd name="connsiteX707" fmla="*/ 255013 w 699392"/>
                <a:gd name="connsiteY707" fmla="*/ 299723 h 834466"/>
                <a:gd name="connsiteX708" fmla="*/ 258556 w 699392"/>
                <a:gd name="connsiteY708" fmla="*/ 300838 h 834466"/>
                <a:gd name="connsiteX709" fmla="*/ 261976 w 699392"/>
                <a:gd name="connsiteY709" fmla="*/ 298694 h 834466"/>
                <a:gd name="connsiteX710" fmla="*/ 266652 w 699392"/>
                <a:gd name="connsiteY710" fmla="*/ 297275 h 834466"/>
                <a:gd name="connsiteX711" fmla="*/ 283769 w 699392"/>
                <a:gd name="connsiteY711" fmla="*/ 296732 h 834466"/>
                <a:gd name="connsiteX712" fmla="*/ 284274 w 699392"/>
                <a:gd name="connsiteY712" fmla="*/ 293675 h 834466"/>
                <a:gd name="connsiteX713" fmla="*/ 280673 w 699392"/>
                <a:gd name="connsiteY713" fmla="*/ 292970 h 834466"/>
                <a:gd name="connsiteX714" fmla="*/ 267957 w 699392"/>
                <a:gd name="connsiteY714" fmla="*/ 292179 h 834466"/>
                <a:gd name="connsiteX715" fmla="*/ 261461 w 699392"/>
                <a:gd name="connsiteY715" fmla="*/ 292246 h 834466"/>
                <a:gd name="connsiteX716" fmla="*/ 258728 w 699392"/>
                <a:gd name="connsiteY716" fmla="*/ 293037 h 834466"/>
                <a:gd name="connsiteX717" fmla="*/ 257727 w 699392"/>
                <a:gd name="connsiteY717" fmla="*/ 291970 h 834466"/>
                <a:gd name="connsiteX718" fmla="*/ 257909 w 699392"/>
                <a:gd name="connsiteY718" fmla="*/ 290141 h 834466"/>
                <a:gd name="connsiteX719" fmla="*/ 260271 w 699392"/>
                <a:gd name="connsiteY719" fmla="*/ 287236 h 834466"/>
                <a:gd name="connsiteX720" fmla="*/ 261385 w 699392"/>
                <a:gd name="connsiteY720" fmla="*/ 284026 h 834466"/>
                <a:gd name="connsiteX721" fmla="*/ 266109 w 699392"/>
                <a:gd name="connsiteY721" fmla="*/ 276158 h 834466"/>
                <a:gd name="connsiteX722" fmla="*/ 271643 w 699392"/>
                <a:gd name="connsiteY722" fmla="*/ 270900 h 834466"/>
                <a:gd name="connsiteX723" fmla="*/ 275882 w 699392"/>
                <a:gd name="connsiteY723" fmla="*/ 272244 h 834466"/>
                <a:gd name="connsiteX724" fmla="*/ 280388 w 699392"/>
                <a:gd name="connsiteY724" fmla="*/ 277263 h 834466"/>
                <a:gd name="connsiteX725" fmla="*/ 283597 w 699392"/>
                <a:gd name="connsiteY725" fmla="*/ 277892 h 834466"/>
                <a:gd name="connsiteX726" fmla="*/ 285093 w 699392"/>
                <a:gd name="connsiteY726" fmla="*/ 279511 h 834466"/>
                <a:gd name="connsiteX727" fmla="*/ 287436 w 699392"/>
                <a:gd name="connsiteY727" fmla="*/ 286407 h 834466"/>
                <a:gd name="connsiteX728" fmla="*/ 288550 w 699392"/>
                <a:gd name="connsiteY728" fmla="*/ 286626 h 834466"/>
                <a:gd name="connsiteX729" fmla="*/ 288046 w 699392"/>
                <a:gd name="connsiteY729" fmla="*/ 280006 h 834466"/>
                <a:gd name="connsiteX730" fmla="*/ 291141 w 699392"/>
                <a:gd name="connsiteY730" fmla="*/ 274596 h 834466"/>
                <a:gd name="connsiteX731" fmla="*/ 290341 w 699392"/>
                <a:gd name="connsiteY731" fmla="*/ 273101 h 834466"/>
                <a:gd name="connsiteX732" fmla="*/ 285693 w 699392"/>
                <a:gd name="connsiteY732" fmla="*/ 275063 h 834466"/>
                <a:gd name="connsiteX733" fmla="*/ 282130 w 699392"/>
                <a:gd name="connsiteY733" fmla="*/ 273025 h 834466"/>
                <a:gd name="connsiteX734" fmla="*/ 279321 w 699392"/>
                <a:gd name="connsiteY734" fmla="*/ 268948 h 834466"/>
                <a:gd name="connsiteX735" fmla="*/ 278521 w 699392"/>
                <a:gd name="connsiteY735" fmla="*/ 265214 h 834466"/>
                <a:gd name="connsiteX736" fmla="*/ 280273 w 699392"/>
                <a:gd name="connsiteY736" fmla="*/ 261518 h 834466"/>
                <a:gd name="connsiteX737" fmla="*/ 281921 w 699392"/>
                <a:gd name="connsiteY737" fmla="*/ 259651 h 834466"/>
                <a:gd name="connsiteX738" fmla="*/ 280807 w 699392"/>
                <a:gd name="connsiteY738" fmla="*/ 257470 h 834466"/>
                <a:gd name="connsiteX739" fmla="*/ 273777 w 699392"/>
                <a:gd name="connsiteY739" fmla="*/ 263290 h 834466"/>
                <a:gd name="connsiteX740" fmla="*/ 268805 w 699392"/>
                <a:gd name="connsiteY740" fmla="*/ 264652 h 834466"/>
                <a:gd name="connsiteX741" fmla="*/ 266843 w 699392"/>
                <a:gd name="connsiteY741" fmla="*/ 263842 h 834466"/>
                <a:gd name="connsiteX742" fmla="*/ 267901 w 699392"/>
                <a:gd name="connsiteY742" fmla="*/ 258566 h 834466"/>
                <a:gd name="connsiteX743" fmla="*/ 267310 w 699392"/>
                <a:gd name="connsiteY743" fmla="*/ 254365 h 834466"/>
                <a:gd name="connsiteX744" fmla="*/ 273977 w 699392"/>
                <a:gd name="connsiteY744" fmla="*/ 243983 h 834466"/>
                <a:gd name="connsiteX745" fmla="*/ 276273 w 699392"/>
                <a:gd name="connsiteY745" fmla="*/ 242783 h 834466"/>
                <a:gd name="connsiteX746" fmla="*/ 280016 w 699392"/>
                <a:gd name="connsiteY746" fmla="*/ 243621 h 834466"/>
                <a:gd name="connsiteX747" fmla="*/ 283397 w 699392"/>
                <a:gd name="connsiteY747" fmla="*/ 246555 h 834466"/>
                <a:gd name="connsiteX748" fmla="*/ 286226 w 699392"/>
                <a:gd name="connsiteY748" fmla="*/ 246088 h 834466"/>
                <a:gd name="connsiteX749" fmla="*/ 289293 w 699392"/>
                <a:gd name="connsiteY749" fmla="*/ 244516 h 834466"/>
                <a:gd name="connsiteX750" fmla="*/ 288874 w 699392"/>
                <a:gd name="connsiteY750" fmla="*/ 241697 h 834466"/>
                <a:gd name="connsiteX751" fmla="*/ 282226 w 699392"/>
                <a:gd name="connsiteY751" fmla="*/ 240573 h 834466"/>
                <a:gd name="connsiteX752" fmla="*/ 280511 w 699392"/>
                <a:gd name="connsiteY752" fmla="*/ 238230 h 834466"/>
                <a:gd name="connsiteX753" fmla="*/ 281131 w 699392"/>
                <a:gd name="connsiteY753" fmla="*/ 235915 h 834466"/>
                <a:gd name="connsiteX754" fmla="*/ 285693 w 699392"/>
                <a:gd name="connsiteY754" fmla="*/ 233477 h 834466"/>
                <a:gd name="connsiteX755" fmla="*/ 290236 w 699392"/>
                <a:gd name="connsiteY755" fmla="*/ 229067 h 834466"/>
                <a:gd name="connsiteX756" fmla="*/ 295437 w 699392"/>
                <a:gd name="connsiteY756" fmla="*/ 227781 h 834466"/>
                <a:gd name="connsiteX757" fmla="*/ 299618 w 699392"/>
                <a:gd name="connsiteY757" fmla="*/ 224438 h 834466"/>
                <a:gd name="connsiteX758" fmla="*/ 300428 w 699392"/>
                <a:gd name="connsiteY758" fmla="*/ 225200 h 834466"/>
                <a:gd name="connsiteX759" fmla="*/ 301133 w 699392"/>
                <a:gd name="connsiteY759" fmla="*/ 226514 h 834466"/>
                <a:gd name="connsiteX760" fmla="*/ 302638 w 699392"/>
                <a:gd name="connsiteY760" fmla="*/ 238877 h 834466"/>
                <a:gd name="connsiteX761" fmla="*/ 306381 w 699392"/>
                <a:gd name="connsiteY761" fmla="*/ 248898 h 834466"/>
                <a:gd name="connsiteX762" fmla="*/ 307763 w 699392"/>
                <a:gd name="connsiteY762" fmla="*/ 249260 h 834466"/>
                <a:gd name="connsiteX763" fmla="*/ 306324 w 699392"/>
                <a:gd name="connsiteY763" fmla="*/ 240744 h 834466"/>
                <a:gd name="connsiteX764" fmla="*/ 307667 w 699392"/>
                <a:gd name="connsiteY764" fmla="*/ 238287 h 834466"/>
                <a:gd name="connsiteX765" fmla="*/ 309363 w 699392"/>
                <a:gd name="connsiteY765" fmla="*/ 236420 h 834466"/>
                <a:gd name="connsiteX766" fmla="*/ 309896 w 699392"/>
                <a:gd name="connsiteY766" fmla="*/ 234286 h 834466"/>
                <a:gd name="connsiteX767" fmla="*/ 307953 w 699392"/>
                <a:gd name="connsiteY767" fmla="*/ 233562 h 834466"/>
                <a:gd name="connsiteX768" fmla="*/ 306362 w 699392"/>
                <a:gd name="connsiteY768" fmla="*/ 230496 h 834466"/>
                <a:gd name="connsiteX769" fmla="*/ 304095 w 699392"/>
                <a:gd name="connsiteY769" fmla="*/ 220656 h 834466"/>
                <a:gd name="connsiteX770" fmla="*/ 304876 w 699392"/>
                <a:gd name="connsiteY770" fmla="*/ 218084 h 834466"/>
                <a:gd name="connsiteX771" fmla="*/ 309801 w 699392"/>
                <a:gd name="connsiteY771" fmla="*/ 212808 h 834466"/>
                <a:gd name="connsiteX772" fmla="*/ 315973 w 699392"/>
                <a:gd name="connsiteY772" fmla="*/ 211598 h 834466"/>
                <a:gd name="connsiteX773" fmla="*/ 322545 w 699392"/>
                <a:gd name="connsiteY773" fmla="*/ 215294 h 834466"/>
                <a:gd name="connsiteX774" fmla="*/ 324860 w 699392"/>
                <a:gd name="connsiteY774" fmla="*/ 215332 h 834466"/>
                <a:gd name="connsiteX775" fmla="*/ 328669 w 699392"/>
                <a:gd name="connsiteY775" fmla="*/ 214341 h 834466"/>
                <a:gd name="connsiteX776" fmla="*/ 335137 w 699392"/>
                <a:gd name="connsiteY776" fmla="*/ 211293 h 834466"/>
                <a:gd name="connsiteX777" fmla="*/ 338947 w 699392"/>
                <a:gd name="connsiteY777" fmla="*/ 210131 h 834466"/>
                <a:gd name="connsiteX778" fmla="*/ 340929 w 699392"/>
                <a:gd name="connsiteY778" fmla="*/ 210131 h 834466"/>
                <a:gd name="connsiteX779" fmla="*/ 341414 w 699392"/>
                <a:gd name="connsiteY779" fmla="*/ 208588 h 834466"/>
                <a:gd name="connsiteX780" fmla="*/ 339576 w 699392"/>
                <a:gd name="connsiteY780" fmla="*/ 207597 h 834466"/>
                <a:gd name="connsiteX781" fmla="*/ 338985 w 699392"/>
                <a:gd name="connsiteY781" fmla="*/ 206635 h 834466"/>
                <a:gd name="connsiteX782" fmla="*/ 337547 w 699392"/>
                <a:gd name="connsiteY782" fmla="*/ 206083 h 834466"/>
                <a:gd name="connsiteX783" fmla="*/ 331565 w 699392"/>
                <a:gd name="connsiteY783" fmla="*/ 207731 h 834466"/>
                <a:gd name="connsiteX784" fmla="*/ 315059 w 699392"/>
                <a:gd name="connsiteY784" fmla="*/ 207207 h 834466"/>
                <a:gd name="connsiteX785" fmla="*/ 313468 w 699392"/>
                <a:gd name="connsiteY785" fmla="*/ 205445 h 834466"/>
                <a:gd name="connsiteX786" fmla="*/ 313173 w 699392"/>
                <a:gd name="connsiteY786" fmla="*/ 202387 h 834466"/>
                <a:gd name="connsiteX787" fmla="*/ 314925 w 699392"/>
                <a:gd name="connsiteY787" fmla="*/ 198006 h 834466"/>
                <a:gd name="connsiteX788" fmla="*/ 316849 w 699392"/>
                <a:gd name="connsiteY788" fmla="*/ 195577 h 834466"/>
                <a:gd name="connsiteX789" fmla="*/ 323079 w 699392"/>
                <a:gd name="connsiteY789" fmla="*/ 191205 h 834466"/>
                <a:gd name="connsiteX790" fmla="*/ 329660 w 699392"/>
                <a:gd name="connsiteY790" fmla="*/ 190614 h 834466"/>
                <a:gd name="connsiteX791" fmla="*/ 336604 w 699392"/>
                <a:gd name="connsiteY791" fmla="*/ 182813 h 834466"/>
                <a:gd name="connsiteX792" fmla="*/ 339252 w 699392"/>
                <a:gd name="connsiteY792" fmla="*/ 176946 h 834466"/>
                <a:gd name="connsiteX793" fmla="*/ 340757 w 699392"/>
                <a:gd name="connsiteY793" fmla="*/ 167850 h 834466"/>
                <a:gd name="connsiteX794" fmla="*/ 344986 w 699392"/>
                <a:gd name="connsiteY794" fmla="*/ 160458 h 834466"/>
                <a:gd name="connsiteX795" fmla="*/ 355597 w 699392"/>
                <a:gd name="connsiteY795" fmla="*/ 156239 h 834466"/>
                <a:gd name="connsiteX796" fmla="*/ 356025 w 699392"/>
                <a:gd name="connsiteY796" fmla="*/ 154372 h 834466"/>
                <a:gd name="connsiteX797" fmla="*/ 354902 w 699392"/>
                <a:gd name="connsiteY797" fmla="*/ 150495 h 834466"/>
                <a:gd name="connsiteX798" fmla="*/ 354997 w 699392"/>
                <a:gd name="connsiteY798" fmla="*/ 143504 h 834466"/>
                <a:gd name="connsiteX799" fmla="*/ 357902 w 699392"/>
                <a:gd name="connsiteY799" fmla="*/ 135322 h 834466"/>
                <a:gd name="connsiteX800" fmla="*/ 359836 w 699392"/>
                <a:gd name="connsiteY800" fmla="*/ 132474 h 834466"/>
                <a:gd name="connsiteX801" fmla="*/ 360731 w 699392"/>
                <a:gd name="connsiteY801" fmla="*/ 132131 h 834466"/>
                <a:gd name="connsiteX802" fmla="*/ 363017 w 699392"/>
                <a:gd name="connsiteY802" fmla="*/ 134817 h 834466"/>
                <a:gd name="connsiteX803" fmla="*/ 365798 w 699392"/>
                <a:gd name="connsiteY803" fmla="*/ 140513 h 834466"/>
                <a:gd name="connsiteX804" fmla="*/ 370151 w 699392"/>
                <a:gd name="connsiteY804" fmla="*/ 143770 h 834466"/>
                <a:gd name="connsiteX805" fmla="*/ 375857 w 699392"/>
                <a:gd name="connsiteY805" fmla="*/ 144332 h 834466"/>
                <a:gd name="connsiteX806" fmla="*/ 377380 w 699392"/>
                <a:gd name="connsiteY806" fmla="*/ 142732 h 834466"/>
                <a:gd name="connsiteX807" fmla="*/ 372952 w 699392"/>
                <a:gd name="connsiteY807" fmla="*/ 139494 h 834466"/>
                <a:gd name="connsiteX808" fmla="*/ 369589 w 699392"/>
                <a:gd name="connsiteY808" fmla="*/ 135246 h 834466"/>
                <a:gd name="connsiteX809" fmla="*/ 369322 w 699392"/>
                <a:gd name="connsiteY809" fmla="*/ 130969 h 834466"/>
                <a:gd name="connsiteX810" fmla="*/ 370913 w 699392"/>
                <a:gd name="connsiteY810" fmla="*/ 128702 h 834466"/>
                <a:gd name="connsiteX811" fmla="*/ 373389 w 699392"/>
                <a:gd name="connsiteY811" fmla="*/ 128949 h 834466"/>
                <a:gd name="connsiteX812" fmla="*/ 376494 w 699392"/>
                <a:gd name="connsiteY812" fmla="*/ 128473 h 834466"/>
                <a:gd name="connsiteX813" fmla="*/ 379390 w 699392"/>
                <a:gd name="connsiteY813" fmla="*/ 125587 h 834466"/>
                <a:gd name="connsiteX814" fmla="*/ 379809 w 699392"/>
                <a:gd name="connsiteY814" fmla="*/ 123558 h 834466"/>
                <a:gd name="connsiteX815" fmla="*/ 379933 w 699392"/>
                <a:gd name="connsiteY815" fmla="*/ 120796 h 834466"/>
                <a:gd name="connsiteX816" fmla="*/ 380657 w 699392"/>
                <a:gd name="connsiteY816" fmla="*/ 117986 h 834466"/>
                <a:gd name="connsiteX817" fmla="*/ 384906 w 699392"/>
                <a:gd name="connsiteY817" fmla="*/ 111252 h 834466"/>
                <a:gd name="connsiteX818" fmla="*/ 397993 w 699392"/>
                <a:gd name="connsiteY818" fmla="*/ 106861 h 834466"/>
                <a:gd name="connsiteX819" fmla="*/ 398945 w 699392"/>
                <a:gd name="connsiteY819" fmla="*/ 108652 h 834466"/>
                <a:gd name="connsiteX820" fmla="*/ 398240 w 699392"/>
                <a:gd name="connsiteY820" fmla="*/ 121634 h 834466"/>
                <a:gd name="connsiteX821" fmla="*/ 396735 w 699392"/>
                <a:gd name="connsiteY821" fmla="*/ 129978 h 834466"/>
                <a:gd name="connsiteX822" fmla="*/ 396783 w 699392"/>
                <a:gd name="connsiteY822" fmla="*/ 136055 h 834466"/>
                <a:gd name="connsiteX823" fmla="*/ 399336 w 699392"/>
                <a:gd name="connsiteY823" fmla="*/ 129978 h 834466"/>
                <a:gd name="connsiteX824" fmla="*/ 402746 w 699392"/>
                <a:gd name="connsiteY824" fmla="*/ 113243 h 834466"/>
                <a:gd name="connsiteX825" fmla="*/ 405317 w 699392"/>
                <a:gd name="connsiteY825" fmla="*/ 105318 h 834466"/>
                <a:gd name="connsiteX826" fmla="*/ 408213 w 699392"/>
                <a:gd name="connsiteY826" fmla="*/ 100755 h 834466"/>
                <a:gd name="connsiteX827" fmla="*/ 410280 w 699392"/>
                <a:gd name="connsiteY827" fmla="*/ 99727 h 834466"/>
                <a:gd name="connsiteX828" fmla="*/ 412328 w 699392"/>
                <a:gd name="connsiteY828" fmla="*/ 97355 h 834466"/>
                <a:gd name="connsiteX829" fmla="*/ 415033 w 699392"/>
                <a:gd name="connsiteY829" fmla="*/ 95945 h 834466"/>
                <a:gd name="connsiteX830" fmla="*/ 415862 w 699392"/>
                <a:gd name="connsiteY830" fmla="*/ 97765 h 834466"/>
                <a:gd name="connsiteX831" fmla="*/ 416719 w 699392"/>
                <a:gd name="connsiteY831" fmla="*/ 101984 h 834466"/>
                <a:gd name="connsiteX832" fmla="*/ 415261 w 699392"/>
                <a:gd name="connsiteY832" fmla="*/ 116710 h 834466"/>
                <a:gd name="connsiteX833" fmla="*/ 415404 w 699392"/>
                <a:gd name="connsiteY833" fmla="*/ 121339 h 834466"/>
                <a:gd name="connsiteX834" fmla="*/ 413775 w 699392"/>
                <a:gd name="connsiteY834" fmla="*/ 127521 h 834466"/>
                <a:gd name="connsiteX835" fmla="*/ 407537 w 699392"/>
                <a:gd name="connsiteY835" fmla="*/ 141227 h 834466"/>
                <a:gd name="connsiteX836" fmla="*/ 407822 w 699392"/>
                <a:gd name="connsiteY836" fmla="*/ 142970 h 834466"/>
                <a:gd name="connsiteX837" fmla="*/ 409232 w 699392"/>
                <a:gd name="connsiteY837" fmla="*/ 142323 h 834466"/>
                <a:gd name="connsiteX838" fmla="*/ 411642 w 699392"/>
                <a:gd name="connsiteY838" fmla="*/ 140075 h 834466"/>
                <a:gd name="connsiteX839" fmla="*/ 419376 w 699392"/>
                <a:gd name="connsiteY839" fmla="*/ 127044 h 834466"/>
                <a:gd name="connsiteX840" fmla="*/ 426130 w 699392"/>
                <a:gd name="connsiteY840" fmla="*/ 128692 h 834466"/>
                <a:gd name="connsiteX841" fmla="*/ 426215 w 699392"/>
                <a:gd name="connsiteY841" fmla="*/ 127625 h 834466"/>
                <a:gd name="connsiteX842" fmla="*/ 424043 w 699392"/>
                <a:gd name="connsiteY842" fmla="*/ 123787 h 834466"/>
                <a:gd name="connsiteX843" fmla="*/ 421405 w 699392"/>
                <a:gd name="connsiteY843" fmla="*/ 120101 h 834466"/>
                <a:gd name="connsiteX844" fmla="*/ 420605 w 699392"/>
                <a:gd name="connsiteY844" fmla="*/ 115529 h 834466"/>
                <a:gd name="connsiteX845" fmla="*/ 420957 w 699392"/>
                <a:gd name="connsiteY845" fmla="*/ 103261 h 834466"/>
                <a:gd name="connsiteX846" fmla="*/ 422996 w 699392"/>
                <a:gd name="connsiteY846" fmla="*/ 98374 h 834466"/>
                <a:gd name="connsiteX847" fmla="*/ 428825 w 699392"/>
                <a:gd name="connsiteY847" fmla="*/ 98889 h 834466"/>
                <a:gd name="connsiteX848" fmla="*/ 432321 w 699392"/>
                <a:gd name="connsiteY848" fmla="*/ 98212 h 834466"/>
                <a:gd name="connsiteX849" fmla="*/ 433950 w 699392"/>
                <a:gd name="connsiteY849" fmla="*/ 100432 h 834466"/>
                <a:gd name="connsiteX850" fmla="*/ 437445 w 699392"/>
                <a:gd name="connsiteY850" fmla="*/ 100270 h 834466"/>
                <a:gd name="connsiteX851" fmla="*/ 439864 w 699392"/>
                <a:gd name="connsiteY851" fmla="*/ 91411 h 834466"/>
                <a:gd name="connsiteX852" fmla="*/ 444655 w 699392"/>
                <a:gd name="connsiteY852" fmla="*/ 90630 h 834466"/>
                <a:gd name="connsiteX853" fmla="*/ 448866 w 699392"/>
                <a:gd name="connsiteY853" fmla="*/ 96498 h 834466"/>
                <a:gd name="connsiteX854" fmla="*/ 453923 w 699392"/>
                <a:gd name="connsiteY854" fmla="*/ 100432 h 834466"/>
                <a:gd name="connsiteX855" fmla="*/ 457991 w 699392"/>
                <a:gd name="connsiteY855" fmla="*/ 106070 h 834466"/>
                <a:gd name="connsiteX856" fmla="*/ 459143 w 699392"/>
                <a:gd name="connsiteY856" fmla="*/ 104527 h 834466"/>
                <a:gd name="connsiteX857" fmla="*/ 456952 w 699392"/>
                <a:gd name="connsiteY857" fmla="*/ 91326 h 834466"/>
                <a:gd name="connsiteX858" fmla="*/ 454552 w 699392"/>
                <a:gd name="connsiteY858" fmla="*/ 86487 h 834466"/>
                <a:gd name="connsiteX859" fmla="*/ 449342 w 699392"/>
                <a:gd name="connsiteY859" fmla="*/ 83963 h 834466"/>
                <a:gd name="connsiteX860" fmla="*/ 443789 w 699392"/>
                <a:gd name="connsiteY860" fmla="*/ 77972 h 834466"/>
                <a:gd name="connsiteX861" fmla="*/ 442350 w 699392"/>
                <a:gd name="connsiteY861" fmla="*/ 75305 h 834466"/>
                <a:gd name="connsiteX862" fmla="*/ 442598 w 699392"/>
                <a:gd name="connsiteY862" fmla="*/ 73323 h 834466"/>
                <a:gd name="connsiteX863" fmla="*/ 447494 w 699392"/>
                <a:gd name="connsiteY863" fmla="*/ 71409 h 834466"/>
                <a:gd name="connsiteX864" fmla="*/ 453952 w 699392"/>
                <a:gd name="connsiteY864" fmla="*/ 73609 h 834466"/>
                <a:gd name="connsiteX865" fmla="*/ 459705 w 699392"/>
                <a:gd name="connsiteY865" fmla="*/ 68590 h 834466"/>
                <a:gd name="connsiteX866" fmla="*/ 461277 w 699392"/>
                <a:gd name="connsiteY866" fmla="*/ 69971 h 834466"/>
                <a:gd name="connsiteX867" fmla="*/ 465687 w 699392"/>
                <a:gd name="connsiteY867" fmla="*/ 67342 h 834466"/>
                <a:gd name="connsiteX868" fmla="*/ 468430 w 699392"/>
                <a:gd name="connsiteY868" fmla="*/ 70885 h 834466"/>
                <a:gd name="connsiteX869" fmla="*/ 470116 w 699392"/>
                <a:gd name="connsiteY869" fmla="*/ 69837 h 834466"/>
                <a:gd name="connsiteX870" fmla="*/ 471088 w 699392"/>
                <a:gd name="connsiteY870" fmla="*/ 65084 h 834466"/>
                <a:gd name="connsiteX871" fmla="*/ 478127 w 699392"/>
                <a:gd name="connsiteY871" fmla="*/ 62132 h 834466"/>
                <a:gd name="connsiteX872" fmla="*/ 482594 w 699392"/>
                <a:gd name="connsiteY872" fmla="*/ 64865 h 834466"/>
                <a:gd name="connsiteX873" fmla="*/ 484984 w 699392"/>
                <a:gd name="connsiteY873" fmla="*/ 67675 h 834466"/>
                <a:gd name="connsiteX874" fmla="*/ 486099 w 699392"/>
                <a:gd name="connsiteY874" fmla="*/ 73076 h 834466"/>
                <a:gd name="connsiteX875" fmla="*/ 487804 w 699392"/>
                <a:gd name="connsiteY875" fmla="*/ 83696 h 834466"/>
                <a:gd name="connsiteX876" fmla="*/ 491290 w 699392"/>
                <a:gd name="connsiteY876" fmla="*/ 89402 h 834466"/>
                <a:gd name="connsiteX877" fmla="*/ 493462 w 699392"/>
                <a:gd name="connsiteY877" fmla="*/ 92192 h 834466"/>
                <a:gd name="connsiteX878" fmla="*/ 496024 w 699392"/>
                <a:gd name="connsiteY878" fmla="*/ 92964 h 834466"/>
                <a:gd name="connsiteX879" fmla="*/ 497262 w 699392"/>
                <a:gd name="connsiteY879" fmla="*/ 90126 h 834466"/>
                <a:gd name="connsiteX880" fmla="*/ 494862 w 699392"/>
                <a:gd name="connsiteY880" fmla="*/ 86697 h 834466"/>
                <a:gd name="connsiteX881" fmla="*/ 494214 w 699392"/>
                <a:gd name="connsiteY881" fmla="*/ 83458 h 834466"/>
                <a:gd name="connsiteX882" fmla="*/ 495367 w 699392"/>
                <a:gd name="connsiteY882" fmla="*/ 75400 h 834466"/>
                <a:gd name="connsiteX883" fmla="*/ 496710 w 699392"/>
                <a:gd name="connsiteY883" fmla="*/ 72228 h 834466"/>
                <a:gd name="connsiteX884" fmla="*/ 504244 w 699392"/>
                <a:gd name="connsiteY884" fmla="*/ 60141 h 834466"/>
                <a:gd name="connsiteX885" fmla="*/ 510550 w 699392"/>
                <a:gd name="connsiteY885" fmla="*/ 53835 h 834466"/>
                <a:gd name="connsiteX886" fmla="*/ 514322 w 699392"/>
                <a:gd name="connsiteY886" fmla="*/ 53302 h 834466"/>
                <a:gd name="connsiteX887" fmla="*/ 520932 w 699392"/>
                <a:gd name="connsiteY887" fmla="*/ 39081 h 834466"/>
                <a:gd name="connsiteX888" fmla="*/ 522799 w 699392"/>
                <a:gd name="connsiteY888" fmla="*/ 36481 h 834466"/>
                <a:gd name="connsiteX889" fmla="*/ 524523 w 699392"/>
                <a:gd name="connsiteY889" fmla="*/ 35881 h 834466"/>
                <a:gd name="connsiteX890" fmla="*/ 524085 w 699392"/>
                <a:gd name="connsiteY890" fmla="*/ 32375 h 834466"/>
                <a:gd name="connsiteX891" fmla="*/ 520475 w 699392"/>
                <a:gd name="connsiteY891" fmla="*/ 30156 h 834466"/>
                <a:gd name="connsiteX892" fmla="*/ 520351 w 699392"/>
                <a:gd name="connsiteY892" fmla="*/ 25794 h 834466"/>
                <a:gd name="connsiteX893" fmla="*/ 525113 w 699392"/>
                <a:gd name="connsiteY893" fmla="*/ 20479 h 834466"/>
                <a:gd name="connsiteX894" fmla="*/ 530895 w 699392"/>
                <a:gd name="connsiteY894" fmla="*/ 11516 h 834466"/>
                <a:gd name="connsiteX895" fmla="*/ 533743 w 699392"/>
                <a:gd name="connsiteY895" fmla="*/ 10916 h 834466"/>
                <a:gd name="connsiteX896" fmla="*/ 535534 w 699392"/>
                <a:gd name="connsiteY896" fmla="*/ 13411 h 834466"/>
                <a:gd name="connsiteX897" fmla="*/ 541163 w 699392"/>
                <a:gd name="connsiteY897" fmla="*/ 17459 h 834466"/>
                <a:gd name="connsiteX898" fmla="*/ 544611 w 699392"/>
                <a:gd name="connsiteY898" fmla="*/ 22079 h 834466"/>
                <a:gd name="connsiteX899" fmla="*/ 547107 w 699392"/>
                <a:gd name="connsiteY899" fmla="*/ 24403 h 834466"/>
                <a:gd name="connsiteX900" fmla="*/ 548726 w 699392"/>
                <a:gd name="connsiteY900" fmla="*/ 23917 h 834466"/>
                <a:gd name="connsiteX901" fmla="*/ 550069 w 699392"/>
                <a:gd name="connsiteY901" fmla="*/ 20450 h 834466"/>
                <a:gd name="connsiteX902" fmla="*/ 551688 w 699392"/>
                <a:gd name="connsiteY902" fmla="*/ 18821 h 834466"/>
                <a:gd name="connsiteX903" fmla="*/ 555260 w 699392"/>
                <a:gd name="connsiteY903" fmla="*/ 19736 h 834466"/>
                <a:gd name="connsiteX904" fmla="*/ 557393 w 699392"/>
                <a:gd name="connsiteY904" fmla="*/ 21965 h 834466"/>
                <a:gd name="connsiteX905" fmla="*/ 559061 w 699392"/>
                <a:gd name="connsiteY905" fmla="*/ 22260 h 834466"/>
                <a:gd name="connsiteX906" fmla="*/ 560565 w 699392"/>
                <a:gd name="connsiteY906" fmla="*/ 23613 h 834466"/>
                <a:gd name="connsiteX907" fmla="*/ 560918 w 699392"/>
                <a:gd name="connsiteY907" fmla="*/ 26575 h 834466"/>
                <a:gd name="connsiteX908" fmla="*/ 557822 w 699392"/>
                <a:gd name="connsiteY908" fmla="*/ 29804 h 834466"/>
                <a:gd name="connsiteX909" fmla="*/ 552545 w 699392"/>
                <a:gd name="connsiteY909" fmla="*/ 38310 h 834466"/>
                <a:gd name="connsiteX910" fmla="*/ 547345 w 699392"/>
                <a:gd name="connsiteY910" fmla="*/ 47930 h 834466"/>
                <a:gd name="connsiteX911" fmla="*/ 545630 w 699392"/>
                <a:gd name="connsiteY911" fmla="*/ 52978 h 834466"/>
                <a:gd name="connsiteX912" fmla="*/ 543944 w 699392"/>
                <a:gd name="connsiteY912" fmla="*/ 66151 h 834466"/>
                <a:gd name="connsiteX913" fmla="*/ 539877 w 699392"/>
                <a:gd name="connsiteY913" fmla="*/ 74524 h 834466"/>
                <a:gd name="connsiteX914" fmla="*/ 539563 w 699392"/>
                <a:gd name="connsiteY914" fmla="*/ 80372 h 834466"/>
                <a:gd name="connsiteX915" fmla="*/ 541201 w 699392"/>
                <a:gd name="connsiteY915" fmla="*/ 83115 h 834466"/>
                <a:gd name="connsiteX916" fmla="*/ 545687 w 699392"/>
                <a:gd name="connsiteY916" fmla="*/ 80963 h 834466"/>
                <a:gd name="connsiteX917" fmla="*/ 551222 w 699392"/>
                <a:gd name="connsiteY917" fmla="*/ 73162 h 834466"/>
                <a:gd name="connsiteX918" fmla="*/ 552602 w 699392"/>
                <a:gd name="connsiteY918" fmla="*/ 64837 h 834466"/>
                <a:gd name="connsiteX919" fmla="*/ 566442 w 699392"/>
                <a:gd name="connsiteY919" fmla="*/ 42062 h 834466"/>
                <a:gd name="connsiteX920" fmla="*/ 572938 w 699392"/>
                <a:gd name="connsiteY920" fmla="*/ 29356 h 834466"/>
                <a:gd name="connsiteX921" fmla="*/ 580311 w 699392"/>
                <a:gd name="connsiteY921" fmla="*/ 18755 h 834466"/>
                <a:gd name="connsiteX922" fmla="*/ 584445 w 699392"/>
                <a:gd name="connsiteY922" fmla="*/ 16554 h 834466"/>
                <a:gd name="connsiteX923" fmla="*/ 586387 w 699392"/>
                <a:gd name="connsiteY923" fmla="*/ 23593 h 834466"/>
                <a:gd name="connsiteX924" fmla="*/ 584825 w 699392"/>
                <a:gd name="connsiteY924" fmla="*/ 32737 h 834466"/>
                <a:gd name="connsiteX925" fmla="*/ 581692 w 699392"/>
                <a:gd name="connsiteY925" fmla="*/ 38538 h 834466"/>
                <a:gd name="connsiteX926" fmla="*/ 584006 w 699392"/>
                <a:gd name="connsiteY926" fmla="*/ 41196 h 834466"/>
                <a:gd name="connsiteX927" fmla="*/ 583568 w 699392"/>
                <a:gd name="connsiteY927" fmla="*/ 48054 h 834466"/>
                <a:gd name="connsiteX928" fmla="*/ 582844 w 699392"/>
                <a:gd name="connsiteY928" fmla="*/ 51854 h 834466"/>
                <a:gd name="connsiteX929" fmla="*/ 582387 w 699392"/>
                <a:gd name="connsiteY929" fmla="*/ 55826 h 834466"/>
                <a:gd name="connsiteX930" fmla="*/ 582416 w 699392"/>
                <a:gd name="connsiteY930" fmla="*/ 59312 h 834466"/>
                <a:gd name="connsiteX931" fmla="*/ 584588 w 699392"/>
                <a:gd name="connsiteY931" fmla="*/ 58379 h 834466"/>
                <a:gd name="connsiteX932" fmla="*/ 593227 w 699392"/>
                <a:gd name="connsiteY932" fmla="*/ 51216 h 834466"/>
                <a:gd name="connsiteX933" fmla="*/ 595417 w 699392"/>
                <a:gd name="connsiteY933" fmla="*/ 43425 h 834466"/>
                <a:gd name="connsiteX934" fmla="*/ 597446 w 699392"/>
                <a:gd name="connsiteY934" fmla="*/ 37557 h 834466"/>
                <a:gd name="connsiteX935" fmla="*/ 598418 w 699392"/>
                <a:gd name="connsiteY935" fmla="*/ 32480 h 834466"/>
                <a:gd name="connsiteX936" fmla="*/ 601780 w 699392"/>
                <a:gd name="connsiteY936" fmla="*/ 27651 h 834466"/>
                <a:gd name="connsiteX937" fmla="*/ 608124 w 699392"/>
                <a:gd name="connsiteY937" fmla="*/ 27613 h 834466"/>
                <a:gd name="connsiteX938" fmla="*/ 608372 w 699392"/>
                <a:gd name="connsiteY938" fmla="*/ 25708 h 834466"/>
                <a:gd name="connsiteX939" fmla="*/ 600675 w 699392"/>
                <a:gd name="connsiteY939" fmla="*/ 19069 h 834466"/>
                <a:gd name="connsiteX940" fmla="*/ 599770 w 699392"/>
                <a:gd name="connsiteY940" fmla="*/ 16031 h 834466"/>
                <a:gd name="connsiteX941" fmla="*/ 602352 w 699392"/>
                <a:gd name="connsiteY941" fmla="*/ 11973 h 834466"/>
                <a:gd name="connsiteX942" fmla="*/ 609448 w 699392"/>
                <a:gd name="connsiteY942" fmla="*/ 4200 h 834466"/>
                <a:gd name="connsiteX943" fmla="*/ 613096 w 699392"/>
                <a:gd name="connsiteY943" fmla="*/ 5058 h 834466"/>
                <a:gd name="connsiteX944" fmla="*/ 615277 w 699392"/>
                <a:gd name="connsiteY944" fmla="*/ 6829 h 834466"/>
                <a:gd name="connsiteX945" fmla="*/ 624011 w 699392"/>
                <a:gd name="connsiteY945" fmla="*/ 8182 h 834466"/>
                <a:gd name="connsiteX946" fmla="*/ 630717 w 699392"/>
                <a:gd name="connsiteY946" fmla="*/ 13735 h 834466"/>
                <a:gd name="connsiteX947" fmla="*/ 630460 w 699392"/>
                <a:gd name="connsiteY947" fmla="*/ 22393 h 834466"/>
                <a:gd name="connsiteX948" fmla="*/ 628965 w 699392"/>
                <a:gd name="connsiteY948" fmla="*/ 25994 h 834466"/>
                <a:gd name="connsiteX949" fmla="*/ 627498 w 699392"/>
                <a:gd name="connsiteY949" fmla="*/ 28204 h 834466"/>
                <a:gd name="connsiteX950" fmla="*/ 618916 w 699392"/>
                <a:gd name="connsiteY950" fmla="*/ 34719 h 834466"/>
                <a:gd name="connsiteX951" fmla="*/ 617506 w 699392"/>
                <a:gd name="connsiteY951" fmla="*/ 37929 h 834466"/>
                <a:gd name="connsiteX952" fmla="*/ 620202 w 699392"/>
                <a:gd name="connsiteY952" fmla="*/ 39033 h 834466"/>
                <a:gd name="connsiteX953" fmla="*/ 625993 w 699392"/>
                <a:gd name="connsiteY953" fmla="*/ 35795 h 834466"/>
                <a:gd name="connsiteX954" fmla="*/ 627498 w 699392"/>
                <a:gd name="connsiteY954" fmla="*/ 38738 h 834466"/>
                <a:gd name="connsiteX955" fmla="*/ 625650 w 699392"/>
                <a:gd name="connsiteY955" fmla="*/ 46072 h 834466"/>
                <a:gd name="connsiteX956" fmla="*/ 625335 w 699392"/>
                <a:gd name="connsiteY956" fmla="*/ 57017 h 834466"/>
                <a:gd name="connsiteX957" fmla="*/ 624669 w 699392"/>
                <a:gd name="connsiteY957" fmla="*/ 63370 h 834466"/>
                <a:gd name="connsiteX958" fmla="*/ 624669 w 699392"/>
                <a:gd name="connsiteY958" fmla="*/ 69142 h 834466"/>
                <a:gd name="connsiteX959" fmla="*/ 625393 w 699392"/>
                <a:gd name="connsiteY959" fmla="*/ 72238 h 834466"/>
                <a:gd name="connsiteX960" fmla="*/ 627726 w 699392"/>
                <a:gd name="connsiteY960" fmla="*/ 59950 h 834466"/>
                <a:gd name="connsiteX961" fmla="*/ 628517 w 699392"/>
                <a:gd name="connsiteY961" fmla="*/ 56779 h 834466"/>
                <a:gd name="connsiteX962" fmla="*/ 631927 w 699392"/>
                <a:gd name="connsiteY962" fmla="*/ 52121 h 834466"/>
                <a:gd name="connsiteX963" fmla="*/ 633193 w 699392"/>
                <a:gd name="connsiteY963" fmla="*/ 42701 h 834466"/>
                <a:gd name="connsiteX964" fmla="*/ 636527 w 699392"/>
                <a:gd name="connsiteY964" fmla="*/ 31318 h 834466"/>
                <a:gd name="connsiteX965" fmla="*/ 640289 w 699392"/>
                <a:gd name="connsiteY965" fmla="*/ 24670 h 834466"/>
                <a:gd name="connsiteX966" fmla="*/ 642471 w 699392"/>
                <a:gd name="connsiteY966" fmla="*/ 22850 h 834466"/>
                <a:gd name="connsiteX967" fmla="*/ 649710 w 699392"/>
                <a:gd name="connsiteY967" fmla="*/ 23108 h 834466"/>
                <a:gd name="connsiteX968" fmla="*/ 652815 w 699392"/>
                <a:gd name="connsiteY968" fmla="*/ 25613 h 834466"/>
                <a:gd name="connsiteX969" fmla="*/ 655558 w 699392"/>
                <a:gd name="connsiteY969" fmla="*/ 31166 h 834466"/>
                <a:gd name="connsiteX970" fmla="*/ 657606 w 699392"/>
                <a:gd name="connsiteY970" fmla="*/ 33385 h 834466"/>
                <a:gd name="connsiteX971" fmla="*/ 664064 w 699392"/>
                <a:gd name="connsiteY971" fmla="*/ 35738 h 834466"/>
                <a:gd name="connsiteX972" fmla="*/ 666274 w 699392"/>
                <a:gd name="connsiteY972" fmla="*/ 38681 h 834466"/>
                <a:gd name="connsiteX973" fmla="*/ 666683 w 699392"/>
                <a:gd name="connsiteY973" fmla="*/ 40434 h 834466"/>
                <a:gd name="connsiteX974" fmla="*/ 668264 w 699392"/>
                <a:gd name="connsiteY974" fmla="*/ 40786 h 834466"/>
                <a:gd name="connsiteX975" fmla="*/ 672627 w 699392"/>
                <a:gd name="connsiteY975" fmla="*/ 36605 h 834466"/>
                <a:gd name="connsiteX976" fmla="*/ 675456 w 699392"/>
                <a:gd name="connsiteY976" fmla="*/ 35909 h 834466"/>
                <a:gd name="connsiteX977" fmla="*/ 680066 w 699392"/>
                <a:gd name="connsiteY977" fmla="*/ 42424 h 834466"/>
                <a:gd name="connsiteX978" fmla="*/ 679142 w 699392"/>
                <a:gd name="connsiteY978" fmla="*/ 47234 h 834466"/>
                <a:gd name="connsiteX979" fmla="*/ 679409 w 699392"/>
                <a:gd name="connsiteY979" fmla="*/ 48759 h 834466"/>
                <a:gd name="connsiteX980" fmla="*/ 684990 w 699392"/>
                <a:gd name="connsiteY980" fmla="*/ 48454 h 834466"/>
                <a:gd name="connsiteX981" fmla="*/ 689639 w 699392"/>
                <a:gd name="connsiteY981" fmla="*/ 50340 h 834466"/>
                <a:gd name="connsiteX982" fmla="*/ 698468 w 699392"/>
                <a:gd name="connsiteY982" fmla="*/ 60131 h 834466"/>
                <a:gd name="connsiteX983" fmla="*/ 699392 w 699392"/>
                <a:gd name="connsiteY983" fmla="*/ 64684 h 834466"/>
                <a:gd name="connsiteX984" fmla="*/ 698954 w 699392"/>
                <a:gd name="connsiteY984" fmla="*/ 70190 h 834466"/>
                <a:gd name="connsiteX985" fmla="*/ 686210 w 699392"/>
                <a:gd name="connsiteY985" fmla="*/ 76219 h 834466"/>
                <a:gd name="connsiteX986" fmla="*/ 680704 w 699392"/>
                <a:gd name="connsiteY986" fmla="*/ 81972 h 834466"/>
                <a:gd name="connsiteX987" fmla="*/ 671693 w 699392"/>
                <a:gd name="connsiteY987" fmla="*/ 84182 h 834466"/>
                <a:gd name="connsiteX988" fmla="*/ 641099 w 699392"/>
                <a:gd name="connsiteY988" fmla="*/ 80334 h 834466"/>
                <a:gd name="connsiteX989" fmla="*/ 641718 w 699392"/>
                <a:gd name="connsiteY989" fmla="*/ 84496 h 834466"/>
                <a:gd name="connsiteX990" fmla="*/ 663026 w 699392"/>
                <a:gd name="connsiteY990" fmla="*/ 93555 h 834466"/>
                <a:gd name="connsiteX991" fmla="*/ 664245 w 699392"/>
                <a:gd name="connsiteY991" fmla="*/ 96136 h 834466"/>
                <a:gd name="connsiteX992" fmla="*/ 663559 w 699392"/>
                <a:gd name="connsiteY992" fmla="*/ 101546 h 834466"/>
                <a:gd name="connsiteX993" fmla="*/ 663550 w 699392"/>
                <a:gd name="connsiteY993" fmla="*/ 105880 h 834466"/>
                <a:gd name="connsiteX994" fmla="*/ 663950 w 699392"/>
                <a:gd name="connsiteY994" fmla="*/ 108833 h 834466"/>
                <a:gd name="connsiteX995" fmla="*/ 665522 w 699392"/>
                <a:gd name="connsiteY995" fmla="*/ 111576 h 834466"/>
                <a:gd name="connsiteX996" fmla="*/ 668121 w 699392"/>
                <a:gd name="connsiteY996" fmla="*/ 112862 h 834466"/>
                <a:gd name="connsiteX997" fmla="*/ 673427 w 699392"/>
                <a:gd name="connsiteY997" fmla="*/ 112185 h 834466"/>
                <a:gd name="connsiteX998" fmla="*/ 676037 w 699392"/>
                <a:gd name="connsiteY998" fmla="*/ 113662 h 834466"/>
                <a:gd name="connsiteX999" fmla="*/ 677828 w 699392"/>
                <a:gd name="connsiteY999" fmla="*/ 111481 h 834466"/>
                <a:gd name="connsiteX1000" fmla="*/ 678495 w 699392"/>
                <a:gd name="connsiteY1000" fmla="*/ 104118 h 834466"/>
                <a:gd name="connsiteX1001" fmla="*/ 680038 w 699392"/>
                <a:gd name="connsiteY1001" fmla="*/ 102489 h 834466"/>
                <a:gd name="connsiteX1002" fmla="*/ 683010 w 699392"/>
                <a:gd name="connsiteY1002" fmla="*/ 104632 h 834466"/>
                <a:gd name="connsiteX1003" fmla="*/ 684305 w 699392"/>
                <a:gd name="connsiteY1003" fmla="*/ 112500 h 834466"/>
                <a:gd name="connsiteX1004" fmla="*/ 685133 w 699392"/>
                <a:gd name="connsiteY1004" fmla="*/ 113309 h 834466"/>
                <a:gd name="connsiteX1005" fmla="*/ 686629 w 699392"/>
                <a:gd name="connsiteY1005" fmla="*/ 107709 h 834466"/>
                <a:gd name="connsiteX1006" fmla="*/ 689572 w 699392"/>
                <a:gd name="connsiteY1006" fmla="*/ 108109 h 834466"/>
                <a:gd name="connsiteX1007" fmla="*/ 692782 w 699392"/>
                <a:gd name="connsiteY1007" fmla="*/ 107642 h 834466"/>
                <a:gd name="connsiteX1008" fmla="*/ 696926 w 699392"/>
                <a:gd name="connsiteY1008" fmla="*/ 108566 h 834466"/>
                <a:gd name="connsiteX1009" fmla="*/ 498329 w 699392"/>
                <a:gd name="connsiteY1009" fmla="*/ 26746 h 834466"/>
                <a:gd name="connsiteX1010" fmla="*/ 497805 w 699392"/>
                <a:gd name="connsiteY1010" fmla="*/ 29299 h 834466"/>
                <a:gd name="connsiteX1011" fmla="*/ 496900 w 699392"/>
                <a:gd name="connsiteY1011" fmla="*/ 31775 h 834466"/>
                <a:gd name="connsiteX1012" fmla="*/ 494709 w 699392"/>
                <a:gd name="connsiteY1012" fmla="*/ 34385 h 834466"/>
                <a:gd name="connsiteX1013" fmla="*/ 488366 w 699392"/>
                <a:gd name="connsiteY1013" fmla="*/ 44682 h 834466"/>
                <a:gd name="connsiteX1014" fmla="*/ 484641 w 699392"/>
                <a:gd name="connsiteY1014" fmla="*/ 46330 h 834466"/>
                <a:gd name="connsiteX1015" fmla="*/ 483461 w 699392"/>
                <a:gd name="connsiteY1015" fmla="*/ 47939 h 834466"/>
                <a:gd name="connsiteX1016" fmla="*/ 481975 w 699392"/>
                <a:gd name="connsiteY1016" fmla="*/ 48901 h 834466"/>
                <a:gd name="connsiteX1017" fmla="*/ 477345 w 699392"/>
                <a:gd name="connsiteY1017" fmla="*/ 47501 h 834466"/>
                <a:gd name="connsiteX1018" fmla="*/ 475993 w 699392"/>
                <a:gd name="connsiteY1018" fmla="*/ 49578 h 834466"/>
                <a:gd name="connsiteX1019" fmla="*/ 474716 w 699392"/>
                <a:gd name="connsiteY1019" fmla="*/ 50968 h 834466"/>
                <a:gd name="connsiteX1020" fmla="*/ 471364 w 699392"/>
                <a:gd name="connsiteY1020" fmla="*/ 51502 h 834466"/>
                <a:gd name="connsiteX1021" fmla="*/ 469392 w 699392"/>
                <a:gd name="connsiteY1021" fmla="*/ 51054 h 834466"/>
                <a:gd name="connsiteX1022" fmla="*/ 464315 w 699392"/>
                <a:gd name="connsiteY1022" fmla="*/ 47263 h 834466"/>
                <a:gd name="connsiteX1023" fmla="*/ 461296 w 699392"/>
                <a:gd name="connsiteY1023" fmla="*/ 43148 h 834466"/>
                <a:gd name="connsiteX1024" fmla="*/ 459657 w 699392"/>
                <a:gd name="connsiteY1024" fmla="*/ 39624 h 834466"/>
                <a:gd name="connsiteX1025" fmla="*/ 464354 w 699392"/>
                <a:gd name="connsiteY1025" fmla="*/ 39691 h 834466"/>
                <a:gd name="connsiteX1026" fmla="*/ 466020 w 699392"/>
                <a:gd name="connsiteY1026" fmla="*/ 38833 h 834466"/>
                <a:gd name="connsiteX1027" fmla="*/ 469173 w 699392"/>
                <a:gd name="connsiteY1027" fmla="*/ 39576 h 834466"/>
                <a:gd name="connsiteX1028" fmla="*/ 471068 w 699392"/>
                <a:gd name="connsiteY1028" fmla="*/ 35947 h 834466"/>
                <a:gd name="connsiteX1029" fmla="*/ 475069 w 699392"/>
                <a:gd name="connsiteY1029" fmla="*/ 36385 h 834466"/>
                <a:gd name="connsiteX1030" fmla="*/ 482755 w 699392"/>
                <a:gd name="connsiteY1030" fmla="*/ 33861 h 834466"/>
                <a:gd name="connsiteX1031" fmla="*/ 485575 w 699392"/>
                <a:gd name="connsiteY1031" fmla="*/ 35271 h 834466"/>
                <a:gd name="connsiteX1032" fmla="*/ 492023 w 699392"/>
                <a:gd name="connsiteY1032" fmla="*/ 26803 h 834466"/>
                <a:gd name="connsiteX1033" fmla="*/ 494043 w 699392"/>
                <a:gd name="connsiteY1033" fmla="*/ 27022 h 834466"/>
                <a:gd name="connsiteX1034" fmla="*/ 497129 w 699392"/>
                <a:gd name="connsiteY1034" fmla="*/ 24594 h 834466"/>
                <a:gd name="connsiteX1035" fmla="*/ 498329 w 699392"/>
                <a:gd name="connsiteY1035" fmla="*/ 26746 h 834466"/>
                <a:gd name="connsiteX1036" fmla="*/ 513750 w 699392"/>
                <a:gd name="connsiteY1036" fmla="*/ 46815 h 834466"/>
                <a:gd name="connsiteX1037" fmla="*/ 508654 w 699392"/>
                <a:gd name="connsiteY1037" fmla="*/ 50016 h 834466"/>
                <a:gd name="connsiteX1038" fmla="*/ 505701 w 699392"/>
                <a:gd name="connsiteY1038" fmla="*/ 47263 h 834466"/>
                <a:gd name="connsiteX1039" fmla="*/ 504463 w 699392"/>
                <a:gd name="connsiteY1039" fmla="*/ 44434 h 834466"/>
                <a:gd name="connsiteX1040" fmla="*/ 504282 w 699392"/>
                <a:gd name="connsiteY1040" fmla="*/ 38138 h 834466"/>
                <a:gd name="connsiteX1041" fmla="*/ 504968 w 699392"/>
                <a:gd name="connsiteY1041" fmla="*/ 34290 h 834466"/>
                <a:gd name="connsiteX1042" fmla="*/ 507359 w 699392"/>
                <a:gd name="connsiteY1042" fmla="*/ 32299 h 834466"/>
                <a:gd name="connsiteX1043" fmla="*/ 508911 w 699392"/>
                <a:gd name="connsiteY1043" fmla="*/ 33757 h 834466"/>
                <a:gd name="connsiteX1044" fmla="*/ 509321 w 699392"/>
                <a:gd name="connsiteY1044" fmla="*/ 34976 h 834466"/>
                <a:gd name="connsiteX1045" fmla="*/ 512102 w 699392"/>
                <a:gd name="connsiteY1045" fmla="*/ 36166 h 834466"/>
                <a:gd name="connsiteX1046" fmla="*/ 515369 w 699392"/>
                <a:gd name="connsiteY1046" fmla="*/ 40129 h 834466"/>
                <a:gd name="connsiteX1047" fmla="*/ 513750 w 699392"/>
                <a:gd name="connsiteY1047" fmla="*/ 46815 h 834466"/>
                <a:gd name="connsiteX1048" fmla="*/ 503006 w 699392"/>
                <a:gd name="connsiteY1048" fmla="*/ 48263 h 834466"/>
                <a:gd name="connsiteX1049" fmla="*/ 503501 w 699392"/>
                <a:gd name="connsiteY1049" fmla="*/ 52016 h 834466"/>
                <a:gd name="connsiteX1050" fmla="*/ 503691 w 699392"/>
                <a:gd name="connsiteY1050" fmla="*/ 55102 h 834466"/>
                <a:gd name="connsiteX1051" fmla="*/ 501196 w 699392"/>
                <a:gd name="connsiteY1051" fmla="*/ 59550 h 834466"/>
                <a:gd name="connsiteX1052" fmla="*/ 495443 w 699392"/>
                <a:gd name="connsiteY1052" fmla="*/ 65370 h 834466"/>
                <a:gd name="connsiteX1053" fmla="*/ 495776 w 699392"/>
                <a:gd name="connsiteY1053" fmla="*/ 66932 h 834466"/>
                <a:gd name="connsiteX1054" fmla="*/ 493786 w 699392"/>
                <a:gd name="connsiteY1054" fmla="*/ 68428 h 834466"/>
                <a:gd name="connsiteX1055" fmla="*/ 490804 w 699392"/>
                <a:gd name="connsiteY1055" fmla="*/ 69523 h 834466"/>
                <a:gd name="connsiteX1056" fmla="*/ 489233 w 699392"/>
                <a:gd name="connsiteY1056" fmla="*/ 68466 h 834466"/>
                <a:gd name="connsiteX1057" fmla="*/ 489442 w 699392"/>
                <a:gd name="connsiteY1057" fmla="*/ 63484 h 834466"/>
                <a:gd name="connsiteX1058" fmla="*/ 488966 w 699392"/>
                <a:gd name="connsiteY1058" fmla="*/ 61998 h 834466"/>
                <a:gd name="connsiteX1059" fmla="*/ 486709 w 699392"/>
                <a:gd name="connsiteY1059" fmla="*/ 63979 h 834466"/>
                <a:gd name="connsiteX1060" fmla="*/ 484356 w 699392"/>
                <a:gd name="connsiteY1060" fmla="*/ 61436 h 834466"/>
                <a:gd name="connsiteX1061" fmla="*/ 484356 w 699392"/>
                <a:gd name="connsiteY1061" fmla="*/ 58883 h 834466"/>
                <a:gd name="connsiteX1062" fmla="*/ 484975 w 699392"/>
                <a:gd name="connsiteY1062" fmla="*/ 56664 h 834466"/>
                <a:gd name="connsiteX1063" fmla="*/ 487156 w 699392"/>
                <a:gd name="connsiteY1063" fmla="*/ 53283 h 834466"/>
                <a:gd name="connsiteX1064" fmla="*/ 490785 w 699392"/>
                <a:gd name="connsiteY1064" fmla="*/ 50949 h 834466"/>
                <a:gd name="connsiteX1065" fmla="*/ 493176 w 699392"/>
                <a:gd name="connsiteY1065" fmla="*/ 51825 h 834466"/>
                <a:gd name="connsiteX1066" fmla="*/ 501158 w 699392"/>
                <a:gd name="connsiteY1066" fmla="*/ 42843 h 834466"/>
                <a:gd name="connsiteX1067" fmla="*/ 502015 w 699392"/>
                <a:gd name="connsiteY1067" fmla="*/ 44729 h 834466"/>
                <a:gd name="connsiteX1068" fmla="*/ 503006 w 699392"/>
                <a:gd name="connsiteY1068" fmla="*/ 48263 h 834466"/>
                <a:gd name="connsiteX1069" fmla="*/ 400145 w 699392"/>
                <a:gd name="connsiteY1069" fmla="*/ 74724 h 834466"/>
                <a:gd name="connsiteX1070" fmla="*/ 401507 w 699392"/>
                <a:gd name="connsiteY1070" fmla="*/ 75648 h 834466"/>
                <a:gd name="connsiteX1071" fmla="*/ 402860 w 699392"/>
                <a:gd name="connsiteY1071" fmla="*/ 75076 h 834466"/>
                <a:gd name="connsiteX1072" fmla="*/ 403974 w 699392"/>
                <a:gd name="connsiteY1072" fmla="*/ 75886 h 834466"/>
                <a:gd name="connsiteX1073" fmla="*/ 406213 w 699392"/>
                <a:gd name="connsiteY1073" fmla="*/ 80039 h 834466"/>
                <a:gd name="connsiteX1074" fmla="*/ 408623 w 699392"/>
                <a:gd name="connsiteY1074" fmla="*/ 81667 h 834466"/>
                <a:gd name="connsiteX1075" fmla="*/ 408737 w 699392"/>
                <a:gd name="connsiteY1075" fmla="*/ 83744 h 834466"/>
                <a:gd name="connsiteX1076" fmla="*/ 406537 w 699392"/>
                <a:gd name="connsiteY1076" fmla="*/ 85763 h 834466"/>
                <a:gd name="connsiteX1077" fmla="*/ 403632 w 699392"/>
                <a:gd name="connsiteY1077" fmla="*/ 86373 h 834466"/>
                <a:gd name="connsiteX1078" fmla="*/ 400517 w 699392"/>
                <a:gd name="connsiteY1078" fmla="*/ 85668 h 834466"/>
                <a:gd name="connsiteX1079" fmla="*/ 399602 w 699392"/>
                <a:gd name="connsiteY1079" fmla="*/ 83077 h 834466"/>
                <a:gd name="connsiteX1080" fmla="*/ 398640 w 699392"/>
                <a:gd name="connsiteY1080" fmla="*/ 78762 h 834466"/>
                <a:gd name="connsiteX1081" fmla="*/ 396040 w 699392"/>
                <a:gd name="connsiteY1081" fmla="*/ 74524 h 834466"/>
                <a:gd name="connsiteX1082" fmla="*/ 395650 w 699392"/>
                <a:gd name="connsiteY1082" fmla="*/ 70799 h 834466"/>
                <a:gd name="connsiteX1083" fmla="*/ 397916 w 699392"/>
                <a:gd name="connsiteY1083" fmla="*/ 70209 h 834466"/>
                <a:gd name="connsiteX1084" fmla="*/ 400145 w 699392"/>
                <a:gd name="connsiteY1084" fmla="*/ 74724 h 834466"/>
                <a:gd name="connsiteX1085" fmla="*/ 386449 w 699392"/>
                <a:gd name="connsiteY1085" fmla="*/ 86544 h 834466"/>
                <a:gd name="connsiteX1086" fmla="*/ 388820 w 699392"/>
                <a:gd name="connsiteY1086" fmla="*/ 90802 h 834466"/>
                <a:gd name="connsiteX1087" fmla="*/ 390925 w 699392"/>
                <a:gd name="connsiteY1087" fmla="*/ 90392 h 834466"/>
                <a:gd name="connsiteX1088" fmla="*/ 391554 w 699392"/>
                <a:gd name="connsiteY1088" fmla="*/ 88792 h 834466"/>
                <a:gd name="connsiteX1089" fmla="*/ 392982 w 699392"/>
                <a:gd name="connsiteY1089" fmla="*/ 87992 h 834466"/>
                <a:gd name="connsiteX1090" fmla="*/ 395878 w 699392"/>
                <a:gd name="connsiteY1090" fmla="*/ 90249 h 834466"/>
                <a:gd name="connsiteX1091" fmla="*/ 395468 w 699392"/>
                <a:gd name="connsiteY1091" fmla="*/ 94069 h 834466"/>
                <a:gd name="connsiteX1092" fmla="*/ 391459 w 699392"/>
                <a:gd name="connsiteY1092" fmla="*/ 98879 h 834466"/>
                <a:gd name="connsiteX1093" fmla="*/ 388582 w 699392"/>
                <a:gd name="connsiteY1093" fmla="*/ 105718 h 834466"/>
                <a:gd name="connsiteX1094" fmla="*/ 384906 w 699392"/>
                <a:gd name="connsiteY1094" fmla="*/ 107299 h 834466"/>
                <a:gd name="connsiteX1095" fmla="*/ 383134 w 699392"/>
                <a:gd name="connsiteY1095" fmla="*/ 106480 h 834466"/>
                <a:gd name="connsiteX1096" fmla="*/ 379838 w 699392"/>
                <a:gd name="connsiteY1096" fmla="*/ 110414 h 834466"/>
                <a:gd name="connsiteX1097" fmla="*/ 377209 w 699392"/>
                <a:gd name="connsiteY1097" fmla="*/ 114491 h 834466"/>
                <a:gd name="connsiteX1098" fmla="*/ 374475 w 699392"/>
                <a:gd name="connsiteY1098" fmla="*/ 119634 h 834466"/>
                <a:gd name="connsiteX1099" fmla="*/ 374304 w 699392"/>
                <a:gd name="connsiteY1099" fmla="*/ 122282 h 834466"/>
                <a:gd name="connsiteX1100" fmla="*/ 373875 w 699392"/>
                <a:gd name="connsiteY1100" fmla="*/ 124301 h 834466"/>
                <a:gd name="connsiteX1101" fmla="*/ 363864 w 699392"/>
                <a:gd name="connsiteY1101" fmla="*/ 126301 h 834466"/>
                <a:gd name="connsiteX1102" fmla="*/ 360226 w 699392"/>
                <a:gd name="connsiteY1102" fmla="*/ 127625 h 834466"/>
                <a:gd name="connsiteX1103" fmla="*/ 356368 w 699392"/>
                <a:gd name="connsiteY1103" fmla="*/ 125921 h 834466"/>
                <a:gd name="connsiteX1104" fmla="*/ 354539 w 699392"/>
                <a:gd name="connsiteY1104" fmla="*/ 122530 h 834466"/>
                <a:gd name="connsiteX1105" fmla="*/ 355130 w 699392"/>
                <a:gd name="connsiteY1105" fmla="*/ 120691 h 834466"/>
                <a:gd name="connsiteX1106" fmla="*/ 358978 w 699392"/>
                <a:gd name="connsiteY1106" fmla="*/ 119958 h 834466"/>
                <a:gd name="connsiteX1107" fmla="*/ 359102 w 699392"/>
                <a:gd name="connsiteY1107" fmla="*/ 116805 h 834466"/>
                <a:gd name="connsiteX1108" fmla="*/ 360083 w 699392"/>
                <a:gd name="connsiteY1108" fmla="*/ 114881 h 834466"/>
                <a:gd name="connsiteX1109" fmla="*/ 361331 w 699392"/>
                <a:gd name="connsiteY1109" fmla="*/ 113824 h 834466"/>
                <a:gd name="connsiteX1110" fmla="*/ 362245 w 699392"/>
                <a:gd name="connsiteY1110" fmla="*/ 109785 h 834466"/>
                <a:gd name="connsiteX1111" fmla="*/ 363769 w 699392"/>
                <a:gd name="connsiteY1111" fmla="*/ 108728 h 834466"/>
                <a:gd name="connsiteX1112" fmla="*/ 366608 w 699392"/>
                <a:gd name="connsiteY1112" fmla="*/ 109718 h 834466"/>
                <a:gd name="connsiteX1113" fmla="*/ 368522 w 699392"/>
                <a:gd name="connsiteY1113" fmla="*/ 106785 h 834466"/>
                <a:gd name="connsiteX1114" fmla="*/ 369598 w 699392"/>
                <a:gd name="connsiteY1114" fmla="*/ 106280 h 834466"/>
                <a:gd name="connsiteX1115" fmla="*/ 370923 w 699392"/>
                <a:gd name="connsiteY1115" fmla="*/ 108709 h 834466"/>
                <a:gd name="connsiteX1116" fmla="*/ 371561 w 699392"/>
                <a:gd name="connsiteY1116" fmla="*/ 105366 h 834466"/>
                <a:gd name="connsiteX1117" fmla="*/ 370923 w 699392"/>
                <a:gd name="connsiteY1117" fmla="*/ 102308 h 834466"/>
                <a:gd name="connsiteX1118" fmla="*/ 371256 w 699392"/>
                <a:gd name="connsiteY1118" fmla="*/ 100241 h 834466"/>
                <a:gd name="connsiteX1119" fmla="*/ 374923 w 699392"/>
                <a:gd name="connsiteY1119" fmla="*/ 94859 h 834466"/>
                <a:gd name="connsiteX1120" fmla="*/ 376514 w 699392"/>
                <a:gd name="connsiteY1120" fmla="*/ 90926 h 834466"/>
                <a:gd name="connsiteX1121" fmla="*/ 378800 w 699392"/>
                <a:gd name="connsiteY1121" fmla="*/ 88382 h 834466"/>
                <a:gd name="connsiteX1122" fmla="*/ 381000 w 699392"/>
                <a:gd name="connsiteY1122" fmla="*/ 88783 h 834466"/>
                <a:gd name="connsiteX1123" fmla="*/ 381638 w 699392"/>
                <a:gd name="connsiteY1123" fmla="*/ 85030 h 834466"/>
                <a:gd name="connsiteX1124" fmla="*/ 381000 w 699392"/>
                <a:gd name="connsiteY1124" fmla="*/ 81182 h 834466"/>
                <a:gd name="connsiteX1125" fmla="*/ 381238 w 699392"/>
                <a:gd name="connsiteY1125" fmla="*/ 78667 h 834466"/>
                <a:gd name="connsiteX1126" fmla="*/ 383181 w 699392"/>
                <a:gd name="connsiteY1126" fmla="*/ 72552 h 834466"/>
                <a:gd name="connsiteX1127" fmla="*/ 385315 w 699392"/>
                <a:gd name="connsiteY1127" fmla="*/ 72295 h 834466"/>
                <a:gd name="connsiteX1128" fmla="*/ 386296 w 699392"/>
                <a:gd name="connsiteY1128" fmla="*/ 77733 h 834466"/>
                <a:gd name="connsiteX1129" fmla="*/ 386449 w 699392"/>
                <a:gd name="connsiteY1129" fmla="*/ 86544 h 834466"/>
                <a:gd name="connsiteX1130" fmla="*/ 427187 w 699392"/>
                <a:gd name="connsiteY1130" fmla="*/ 84715 h 834466"/>
                <a:gd name="connsiteX1131" fmla="*/ 425748 w 699392"/>
                <a:gd name="connsiteY1131" fmla="*/ 86535 h 834466"/>
                <a:gd name="connsiteX1132" fmla="*/ 423539 w 699392"/>
                <a:gd name="connsiteY1132" fmla="*/ 87278 h 834466"/>
                <a:gd name="connsiteX1133" fmla="*/ 422348 w 699392"/>
                <a:gd name="connsiteY1133" fmla="*/ 86154 h 834466"/>
                <a:gd name="connsiteX1134" fmla="*/ 420653 w 699392"/>
                <a:gd name="connsiteY1134" fmla="*/ 85411 h 834466"/>
                <a:gd name="connsiteX1135" fmla="*/ 418767 w 699392"/>
                <a:gd name="connsiteY1135" fmla="*/ 85744 h 834466"/>
                <a:gd name="connsiteX1136" fmla="*/ 417186 w 699392"/>
                <a:gd name="connsiteY1136" fmla="*/ 82401 h 834466"/>
                <a:gd name="connsiteX1137" fmla="*/ 417366 w 699392"/>
                <a:gd name="connsiteY1137" fmla="*/ 79591 h 834466"/>
                <a:gd name="connsiteX1138" fmla="*/ 419528 w 699392"/>
                <a:gd name="connsiteY1138" fmla="*/ 75781 h 834466"/>
                <a:gd name="connsiteX1139" fmla="*/ 423863 w 699392"/>
                <a:gd name="connsiteY1139" fmla="*/ 73609 h 834466"/>
                <a:gd name="connsiteX1140" fmla="*/ 427368 w 699392"/>
                <a:gd name="connsiteY1140" fmla="*/ 74505 h 834466"/>
                <a:gd name="connsiteX1141" fmla="*/ 428263 w 699392"/>
                <a:gd name="connsiteY1141" fmla="*/ 75619 h 834466"/>
                <a:gd name="connsiteX1142" fmla="*/ 427187 w 699392"/>
                <a:gd name="connsiteY1142" fmla="*/ 84715 h 834466"/>
                <a:gd name="connsiteX1143" fmla="*/ 672503 w 699392"/>
                <a:gd name="connsiteY1143" fmla="*/ 107537 h 834466"/>
                <a:gd name="connsiteX1144" fmla="*/ 667426 w 699392"/>
                <a:gd name="connsiteY1144" fmla="*/ 109795 h 834466"/>
                <a:gd name="connsiteX1145" fmla="*/ 666836 w 699392"/>
                <a:gd name="connsiteY1145" fmla="*/ 107937 h 834466"/>
                <a:gd name="connsiteX1146" fmla="*/ 667951 w 699392"/>
                <a:gd name="connsiteY1146" fmla="*/ 105042 h 834466"/>
                <a:gd name="connsiteX1147" fmla="*/ 669284 w 699392"/>
                <a:gd name="connsiteY1147" fmla="*/ 99098 h 834466"/>
                <a:gd name="connsiteX1148" fmla="*/ 671370 w 699392"/>
                <a:gd name="connsiteY1148" fmla="*/ 99336 h 834466"/>
                <a:gd name="connsiteX1149" fmla="*/ 673485 w 699392"/>
                <a:gd name="connsiteY1149" fmla="*/ 101603 h 834466"/>
                <a:gd name="connsiteX1150" fmla="*/ 675141 w 699392"/>
                <a:gd name="connsiteY1150" fmla="*/ 104308 h 834466"/>
                <a:gd name="connsiteX1151" fmla="*/ 672503 w 699392"/>
                <a:gd name="connsiteY1151" fmla="*/ 107537 h 834466"/>
                <a:gd name="connsiteX1152" fmla="*/ 339614 w 699392"/>
                <a:gd name="connsiteY1152" fmla="*/ 122968 h 834466"/>
                <a:gd name="connsiteX1153" fmla="*/ 342824 w 699392"/>
                <a:gd name="connsiteY1153" fmla="*/ 127340 h 834466"/>
                <a:gd name="connsiteX1154" fmla="*/ 344262 w 699392"/>
                <a:gd name="connsiteY1154" fmla="*/ 126006 h 834466"/>
                <a:gd name="connsiteX1155" fmla="*/ 347110 w 699392"/>
                <a:gd name="connsiteY1155" fmla="*/ 125501 h 834466"/>
                <a:gd name="connsiteX1156" fmla="*/ 349225 w 699392"/>
                <a:gd name="connsiteY1156" fmla="*/ 127044 h 834466"/>
                <a:gd name="connsiteX1157" fmla="*/ 350958 w 699392"/>
                <a:gd name="connsiteY1157" fmla="*/ 129816 h 834466"/>
                <a:gd name="connsiteX1158" fmla="*/ 353006 w 699392"/>
                <a:gd name="connsiteY1158" fmla="*/ 129940 h 834466"/>
                <a:gd name="connsiteX1159" fmla="*/ 354292 w 699392"/>
                <a:gd name="connsiteY1159" fmla="*/ 133560 h 834466"/>
                <a:gd name="connsiteX1160" fmla="*/ 354949 w 699392"/>
                <a:gd name="connsiteY1160" fmla="*/ 138255 h 834466"/>
                <a:gd name="connsiteX1161" fmla="*/ 353463 w 699392"/>
                <a:gd name="connsiteY1161" fmla="*/ 141751 h 834466"/>
                <a:gd name="connsiteX1162" fmla="*/ 351349 w 699392"/>
                <a:gd name="connsiteY1162" fmla="*/ 143342 h 834466"/>
                <a:gd name="connsiteX1163" fmla="*/ 350777 w 699392"/>
                <a:gd name="connsiteY1163" fmla="*/ 147447 h 834466"/>
                <a:gd name="connsiteX1164" fmla="*/ 351577 w 699392"/>
                <a:gd name="connsiteY1164" fmla="*/ 153191 h 834466"/>
                <a:gd name="connsiteX1165" fmla="*/ 346834 w 699392"/>
                <a:gd name="connsiteY1165" fmla="*/ 155153 h 834466"/>
                <a:gd name="connsiteX1166" fmla="*/ 341348 w 699392"/>
                <a:gd name="connsiteY1166" fmla="*/ 156029 h 834466"/>
                <a:gd name="connsiteX1167" fmla="*/ 339195 w 699392"/>
                <a:gd name="connsiteY1167" fmla="*/ 153286 h 834466"/>
                <a:gd name="connsiteX1168" fmla="*/ 334813 w 699392"/>
                <a:gd name="connsiteY1168" fmla="*/ 158296 h 834466"/>
                <a:gd name="connsiteX1169" fmla="*/ 330461 w 699392"/>
                <a:gd name="connsiteY1169" fmla="*/ 166078 h 834466"/>
                <a:gd name="connsiteX1170" fmla="*/ 328365 w 699392"/>
                <a:gd name="connsiteY1170" fmla="*/ 166992 h 834466"/>
                <a:gd name="connsiteX1171" fmla="*/ 328213 w 699392"/>
                <a:gd name="connsiteY1171" fmla="*/ 164535 h 834466"/>
                <a:gd name="connsiteX1172" fmla="*/ 325088 w 699392"/>
                <a:gd name="connsiteY1172" fmla="*/ 162830 h 834466"/>
                <a:gd name="connsiteX1173" fmla="*/ 321088 w 699392"/>
                <a:gd name="connsiteY1173" fmla="*/ 162735 h 834466"/>
                <a:gd name="connsiteX1174" fmla="*/ 321221 w 699392"/>
                <a:gd name="connsiteY1174" fmla="*/ 160906 h 834466"/>
                <a:gd name="connsiteX1175" fmla="*/ 321955 w 699392"/>
                <a:gd name="connsiteY1175" fmla="*/ 159620 h 834466"/>
                <a:gd name="connsiteX1176" fmla="*/ 325403 w 699392"/>
                <a:gd name="connsiteY1176" fmla="*/ 157705 h 834466"/>
                <a:gd name="connsiteX1177" fmla="*/ 326088 w 699392"/>
                <a:gd name="connsiteY1177" fmla="*/ 153743 h 834466"/>
                <a:gd name="connsiteX1178" fmla="*/ 325460 w 699392"/>
                <a:gd name="connsiteY1178" fmla="*/ 146656 h 834466"/>
                <a:gd name="connsiteX1179" fmla="*/ 326070 w 699392"/>
                <a:gd name="connsiteY1179" fmla="*/ 143199 h 834466"/>
                <a:gd name="connsiteX1180" fmla="*/ 326203 w 699392"/>
                <a:gd name="connsiteY1180" fmla="*/ 140818 h 834466"/>
                <a:gd name="connsiteX1181" fmla="*/ 328375 w 699392"/>
                <a:gd name="connsiteY1181" fmla="*/ 138017 h 834466"/>
                <a:gd name="connsiteX1182" fmla="*/ 335804 w 699392"/>
                <a:gd name="connsiteY1182" fmla="*/ 139332 h 834466"/>
                <a:gd name="connsiteX1183" fmla="*/ 336709 w 699392"/>
                <a:gd name="connsiteY1183" fmla="*/ 136655 h 834466"/>
                <a:gd name="connsiteX1184" fmla="*/ 336147 w 699392"/>
                <a:gd name="connsiteY1184" fmla="*/ 134969 h 834466"/>
                <a:gd name="connsiteX1185" fmla="*/ 332308 w 699392"/>
                <a:gd name="connsiteY1185" fmla="*/ 132017 h 834466"/>
                <a:gd name="connsiteX1186" fmla="*/ 332899 w 699392"/>
                <a:gd name="connsiteY1186" fmla="*/ 130026 h 834466"/>
                <a:gd name="connsiteX1187" fmla="*/ 335671 w 699392"/>
                <a:gd name="connsiteY1187" fmla="*/ 128245 h 834466"/>
                <a:gd name="connsiteX1188" fmla="*/ 338290 w 699392"/>
                <a:gd name="connsiteY1188" fmla="*/ 128006 h 834466"/>
                <a:gd name="connsiteX1189" fmla="*/ 339080 w 699392"/>
                <a:gd name="connsiteY1189" fmla="*/ 124997 h 834466"/>
                <a:gd name="connsiteX1190" fmla="*/ 339214 w 699392"/>
                <a:gd name="connsiteY1190" fmla="*/ 123673 h 834466"/>
                <a:gd name="connsiteX1191" fmla="*/ 339614 w 699392"/>
                <a:gd name="connsiteY1191" fmla="*/ 122968 h 834466"/>
                <a:gd name="connsiteX1192" fmla="*/ 293027 w 699392"/>
                <a:gd name="connsiteY1192" fmla="*/ 200406 h 834466"/>
                <a:gd name="connsiteX1193" fmla="*/ 293351 w 699392"/>
                <a:gd name="connsiteY1193" fmla="*/ 200920 h 834466"/>
                <a:gd name="connsiteX1194" fmla="*/ 296989 w 699392"/>
                <a:gd name="connsiteY1194" fmla="*/ 193872 h 834466"/>
                <a:gd name="connsiteX1195" fmla="*/ 301028 w 699392"/>
                <a:gd name="connsiteY1195" fmla="*/ 191672 h 834466"/>
                <a:gd name="connsiteX1196" fmla="*/ 301276 w 699392"/>
                <a:gd name="connsiteY1196" fmla="*/ 189205 h 834466"/>
                <a:gd name="connsiteX1197" fmla="*/ 302838 w 699392"/>
                <a:gd name="connsiteY1197" fmla="*/ 186823 h 834466"/>
                <a:gd name="connsiteX1198" fmla="*/ 302657 w 699392"/>
                <a:gd name="connsiteY1198" fmla="*/ 182918 h 834466"/>
                <a:gd name="connsiteX1199" fmla="*/ 303448 w 699392"/>
                <a:gd name="connsiteY1199" fmla="*/ 179746 h 834466"/>
                <a:gd name="connsiteX1200" fmla="*/ 305505 w 699392"/>
                <a:gd name="connsiteY1200" fmla="*/ 178899 h 834466"/>
                <a:gd name="connsiteX1201" fmla="*/ 306791 w 699392"/>
                <a:gd name="connsiteY1201" fmla="*/ 177822 h 834466"/>
                <a:gd name="connsiteX1202" fmla="*/ 308210 w 699392"/>
                <a:gd name="connsiteY1202" fmla="*/ 177222 h 834466"/>
                <a:gd name="connsiteX1203" fmla="*/ 310792 w 699392"/>
                <a:gd name="connsiteY1203" fmla="*/ 179803 h 834466"/>
                <a:gd name="connsiteX1204" fmla="*/ 312239 w 699392"/>
                <a:gd name="connsiteY1204" fmla="*/ 182661 h 834466"/>
                <a:gd name="connsiteX1205" fmla="*/ 314049 w 699392"/>
                <a:gd name="connsiteY1205" fmla="*/ 189024 h 834466"/>
                <a:gd name="connsiteX1206" fmla="*/ 313297 w 699392"/>
                <a:gd name="connsiteY1206" fmla="*/ 195158 h 834466"/>
                <a:gd name="connsiteX1207" fmla="*/ 308448 w 699392"/>
                <a:gd name="connsiteY1207" fmla="*/ 199930 h 834466"/>
                <a:gd name="connsiteX1208" fmla="*/ 304600 w 699392"/>
                <a:gd name="connsiteY1208" fmla="*/ 202073 h 834466"/>
                <a:gd name="connsiteX1209" fmla="*/ 300704 w 699392"/>
                <a:gd name="connsiteY1209" fmla="*/ 207521 h 834466"/>
                <a:gd name="connsiteX1210" fmla="*/ 298752 w 699392"/>
                <a:gd name="connsiteY1210" fmla="*/ 211969 h 834466"/>
                <a:gd name="connsiteX1211" fmla="*/ 297066 w 699392"/>
                <a:gd name="connsiteY1211" fmla="*/ 212931 h 834466"/>
                <a:gd name="connsiteX1212" fmla="*/ 296009 w 699392"/>
                <a:gd name="connsiteY1212" fmla="*/ 212569 h 834466"/>
                <a:gd name="connsiteX1213" fmla="*/ 295066 w 699392"/>
                <a:gd name="connsiteY1213" fmla="*/ 211503 h 834466"/>
                <a:gd name="connsiteX1214" fmla="*/ 293094 w 699392"/>
                <a:gd name="connsiteY1214" fmla="*/ 211503 h 834466"/>
                <a:gd name="connsiteX1215" fmla="*/ 290922 w 699392"/>
                <a:gd name="connsiteY1215" fmla="*/ 215351 h 834466"/>
                <a:gd name="connsiteX1216" fmla="*/ 284369 w 699392"/>
                <a:gd name="connsiteY1216" fmla="*/ 218475 h 834466"/>
                <a:gd name="connsiteX1217" fmla="*/ 281797 w 699392"/>
                <a:gd name="connsiteY1217" fmla="*/ 217570 h 834466"/>
                <a:gd name="connsiteX1218" fmla="*/ 281683 w 699392"/>
                <a:gd name="connsiteY1218" fmla="*/ 213741 h 834466"/>
                <a:gd name="connsiteX1219" fmla="*/ 280149 w 699392"/>
                <a:gd name="connsiteY1219" fmla="*/ 214055 h 834466"/>
                <a:gd name="connsiteX1220" fmla="*/ 277692 w 699392"/>
                <a:gd name="connsiteY1220" fmla="*/ 218646 h 834466"/>
                <a:gd name="connsiteX1221" fmla="*/ 275291 w 699392"/>
                <a:gd name="connsiteY1221" fmla="*/ 220180 h 834466"/>
                <a:gd name="connsiteX1222" fmla="*/ 273682 w 699392"/>
                <a:gd name="connsiteY1222" fmla="*/ 220647 h 834466"/>
                <a:gd name="connsiteX1223" fmla="*/ 270720 w 699392"/>
                <a:gd name="connsiteY1223" fmla="*/ 218923 h 834466"/>
                <a:gd name="connsiteX1224" fmla="*/ 262757 w 699392"/>
                <a:gd name="connsiteY1224" fmla="*/ 226714 h 834466"/>
                <a:gd name="connsiteX1225" fmla="*/ 255289 w 699392"/>
                <a:gd name="connsiteY1225" fmla="*/ 228162 h 834466"/>
                <a:gd name="connsiteX1226" fmla="*/ 252832 w 699392"/>
                <a:gd name="connsiteY1226" fmla="*/ 227267 h 834466"/>
                <a:gd name="connsiteX1227" fmla="*/ 252822 w 699392"/>
                <a:gd name="connsiteY1227" fmla="*/ 222504 h 834466"/>
                <a:gd name="connsiteX1228" fmla="*/ 257651 w 699392"/>
                <a:gd name="connsiteY1228" fmla="*/ 216389 h 834466"/>
                <a:gd name="connsiteX1229" fmla="*/ 261604 w 699392"/>
                <a:gd name="connsiteY1229" fmla="*/ 212131 h 834466"/>
                <a:gd name="connsiteX1230" fmla="*/ 275225 w 699392"/>
                <a:gd name="connsiteY1230" fmla="*/ 209150 h 834466"/>
                <a:gd name="connsiteX1231" fmla="*/ 283712 w 699392"/>
                <a:gd name="connsiteY1231" fmla="*/ 196425 h 834466"/>
                <a:gd name="connsiteX1232" fmla="*/ 285760 w 699392"/>
                <a:gd name="connsiteY1232" fmla="*/ 182489 h 834466"/>
                <a:gd name="connsiteX1233" fmla="*/ 287760 w 699392"/>
                <a:gd name="connsiteY1233" fmla="*/ 177422 h 834466"/>
                <a:gd name="connsiteX1234" fmla="*/ 286817 w 699392"/>
                <a:gd name="connsiteY1234" fmla="*/ 174555 h 834466"/>
                <a:gd name="connsiteX1235" fmla="*/ 284540 w 699392"/>
                <a:gd name="connsiteY1235" fmla="*/ 174050 h 834466"/>
                <a:gd name="connsiteX1236" fmla="*/ 284398 w 699392"/>
                <a:gd name="connsiteY1236" fmla="*/ 169631 h 834466"/>
                <a:gd name="connsiteX1237" fmla="*/ 285588 w 699392"/>
                <a:gd name="connsiteY1237" fmla="*/ 164792 h 834466"/>
                <a:gd name="connsiteX1238" fmla="*/ 290036 w 699392"/>
                <a:gd name="connsiteY1238" fmla="*/ 158125 h 834466"/>
                <a:gd name="connsiteX1239" fmla="*/ 292513 w 699392"/>
                <a:gd name="connsiteY1239" fmla="*/ 155277 h 834466"/>
                <a:gd name="connsiteX1240" fmla="*/ 296542 w 699392"/>
                <a:gd name="connsiteY1240" fmla="*/ 147190 h 834466"/>
                <a:gd name="connsiteX1241" fmla="*/ 298485 w 699392"/>
                <a:gd name="connsiteY1241" fmla="*/ 145370 h 834466"/>
                <a:gd name="connsiteX1242" fmla="*/ 300695 w 699392"/>
                <a:gd name="connsiteY1242" fmla="*/ 145370 h 834466"/>
                <a:gd name="connsiteX1243" fmla="*/ 302876 w 699392"/>
                <a:gd name="connsiteY1243" fmla="*/ 147495 h 834466"/>
                <a:gd name="connsiteX1244" fmla="*/ 302486 w 699392"/>
                <a:gd name="connsiteY1244" fmla="*/ 151829 h 834466"/>
                <a:gd name="connsiteX1245" fmla="*/ 299218 w 699392"/>
                <a:gd name="connsiteY1245" fmla="*/ 159620 h 834466"/>
                <a:gd name="connsiteX1246" fmla="*/ 294380 w 699392"/>
                <a:gd name="connsiteY1246" fmla="*/ 166230 h 834466"/>
                <a:gd name="connsiteX1247" fmla="*/ 294970 w 699392"/>
                <a:gd name="connsiteY1247" fmla="*/ 170964 h 834466"/>
                <a:gd name="connsiteX1248" fmla="*/ 296894 w 699392"/>
                <a:gd name="connsiteY1248" fmla="*/ 174841 h 834466"/>
                <a:gd name="connsiteX1249" fmla="*/ 297371 w 699392"/>
                <a:gd name="connsiteY1249" fmla="*/ 181451 h 834466"/>
                <a:gd name="connsiteX1250" fmla="*/ 297495 w 699392"/>
                <a:gd name="connsiteY1250" fmla="*/ 187795 h 834466"/>
                <a:gd name="connsiteX1251" fmla="*/ 293827 w 699392"/>
                <a:gd name="connsiteY1251" fmla="*/ 196329 h 834466"/>
                <a:gd name="connsiteX1252" fmla="*/ 293027 w 699392"/>
                <a:gd name="connsiteY1252" fmla="*/ 200406 h 834466"/>
                <a:gd name="connsiteX1253" fmla="*/ 278235 w 699392"/>
                <a:gd name="connsiteY1253" fmla="*/ 172260 h 834466"/>
                <a:gd name="connsiteX1254" fmla="*/ 281711 w 699392"/>
                <a:gd name="connsiteY1254" fmla="*/ 179727 h 834466"/>
                <a:gd name="connsiteX1255" fmla="*/ 283302 w 699392"/>
                <a:gd name="connsiteY1255" fmla="*/ 184080 h 834466"/>
                <a:gd name="connsiteX1256" fmla="*/ 282017 w 699392"/>
                <a:gd name="connsiteY1256" fmla="*/ 192262 h 834466"/>
                <a:gd name="connsiteX1257" fmla="*/ 278635 w 699392"/>
                <a:gd name="connsiteY1257" fmla="*/ 196377 h 834466"/>
                <a:gd name="connsiteX1258" fmla="*/ 273425 w 699392"/>
                <a:gd name="connsiteY1258" fmla="*/ 197110 h 834466"/>
                <a:gd name="connsiteX1259" fmla="*/ 269767 w 699392"/>
                <a:gd name="connsiteY1259" fmla="*/ 196768 h 834466"/>
                <a:gd name="connsiteX1260" fmla="*/ 267462 w 699392"/>
                <a:gd name="connsiteY1260" fmla="*/ 194786 h 834466"/>
                <a:gd name="connsiteX1261" fmla="*/ 267176 w 699392"/>
                <a:gd name="connsiteY1261" fmla="*/ 192567 h 834466"/>
                <a:gd name="connsiteX1262" fmla="*/ 265843 w 699392"/>
                <a:gd name="connsiteY1262" fmla="*/ 191910 h 834466"/>
                <a:gd name="connsiteX1263" fmla="*/ 262328 w 699392"/>
                <a:gd name="connsiteY1263" fmla="*/ 194767 h 834466"/>
                <a:gd name="connsiteX1264" fmla="*/ 259890 w 699392"/>
                <a:gd name="connsiteY1264" fmla="*/ 195148 h 834466"/>
                <a:gd name="connsiteX1265" fmla="*/ 256784 w 699392"/>
                <a:gd name="connsiteY1265" fmla="*/ 192938 h 834466"/>
                <a:gd name="connsiteX1266" fmla="*/ 255947 w 699392"/>
                <a:gd name="connsiteY1266" fmla="*/ 189395 h 834466"/>
                <a:gd name="connsiteX1267" fmla="*/ 259242 w 699392"/>
                <a:gd name="connsiteY1267" fmla="*/ 184947 h 834466"/>
                <a:gd name="connsiteX1268" fmla="*/ 260766 w 699392"/>
                <a:gd name="connsiteY1268" fmla="*/ 181480 h 834466"/>
                <a:gd name="connsiteX1269" fmla="*/ 264414 w 699392"/>
                <a:gd name="connsiteY1269" fmla="*/ 181785 h 834466"/>
                <a:gd name="connsiteX1270" fmla="*/ 265329 w 699392"/>
                <a:gd name="connsiteY1270" fmla="*/ 182861 h 834466"/>
                <a:gd name="connsiteX1271" fmla="*/ 267395 w 699392"/>
                <a:gd name="connsiteY1271" fmla="*/ 183537 h 834466"/>
                <a:gd name="connsiteX1272" fmla="*/ 268653 w 699392"/>
                <a:gd name="connsiteY1272" fmla="*/ 179356 h 834466"/>
                <a:gd name="connsiteX1273" fmla="*/ 268367 w 699392"/>
                <a:gd name="connsiteY1273" fmla="*/ 176460 h 834466"/>
                <a:gd name="connsiteX1274" fmla="*/ 269291 w 699392"/>
                <a:gd name="connsiteY1274" fmla="*/ 174441 h 834466"/>
                <a:gd name="connsiteX1275" fmla="*/ 273701 w 699392"/>
                <a:gd name="connsiteY1275" fmla="*/ 175898 h 834466"/>
                <a:gd name="connsiteX1276" fmla="*/ 273711 w 699392"/>
                <a:gd name="connsiteY1276" fmla="*/ 167992 h 834466"/>
                <a:gd name="connsiteX1277" fmla="*/ 275425 w 699392"/>
                <a:gd name="connsiteY1277" fmla="*/ 167440 h 834466"/>
                <a:gd name="connsiteX1278" fmla="*/ 276130 w 699392"/>
                <a:gd name="connsiteY1278" fmla="*/ 167745 h 834466"/>
                <a:gd name="connsiteX1279" fmla="*/ 277396 w 699392"/>
                <a:gd name="connsiteY1279" fmla="*/ 169412 h 834466"/>
                <a:gd name="connsiteX1280" fmla="*/ 278235 w 699392"/>
                <a:gd name="connsiteY1280" fmla="*/ 172260 h 834466"/>
                <a:gd name="connsiteX1281" fmla="*/ 242573 w 699392"/>
                <a:gd name="connsiteY1281" fmla="*/ 221875 h 834466"/>
                <a:gd name="connsiteX1282" fmla="*/ 244164 w 699392"/>
                <a:gd name="connsiteY1282" fmla="*/ 223104 h 834466"/>
                <a:gd name="connsiteX1283" fmla="*/ 248317 w 699392"/>
                <a:gd name="connsiteY1283" fmla="*/ 222742 h 834466"/>
                <a:gd name="connsiteX1284" fmla="*/ 249155 w 699392"/>
                <a:gd name="connsiteY1284" fmla="*/ 223199 h 834466"/>
                <a:gd name="connsiteX1285" fmla="*/ 248555 w 699392"/>
                <a:gd name="connsiteY1285" fmla="*/ 225228 h 834466"/>
                <a:gd name="connsiteX1286" fmla="*/ 246755 w 699392"/>
                <a:gd name="connsiteY1286" fmla="*/ 227457 h 834466"/>
                <a:gd name="connsiteX1287" fmla="*/ 242974 w 699392"/>
                <a:gd name="connsiteY1287" fmla="*/ 228829 h 834466"/>
                <a:gd name="connsiteX1288" fmla="*/ 241268 w 699392"/>
                <a:gd name="connsiteY1288" fmla="*/ 232229 h 834466"/>
                <a:gd name="connsiteX1289" fmla="*/ 240049 w 699392"/>
                <a:gd name="connsiteY1289" fmla="*/ 233382 h 834466"/>
                <a:gd name="connsiteX1290" fmla="*/ 236782 w 699392"/>
                <a:gd name="connsiteY1290" fmla="*/ 233391 h 834466"/>
                <a:gd name="connsiteX1291" fmla="*/ 234848 w 699392"/>
                <a:gd name="connsiteY1291" fmla="*/ 234182 h 834466"/>
                <a:gd name="connsiteX1292" fmla="*/ 232477 w 699392"/>
                <a:gd name="connsiteY1292" fmla="*/ 237191 h 834466"/>
                <a:gd name="connsiteX1293" fmla="*/ 230581 w 699392"/>
                <a:gd name="connsiteY1293" fmla="*/ 234972 h 834466"/>
                <a:gd name="connsiteX1294" fmla="*/ 230048 w 699392"/>
                <a:gd name="connsiteY1294" fmla="*/ 236553 h 834466"/>
                <a:gd name="connsiteX1295" fmla="*/ 229705 w 699392"/>
                <a:gd name="connsiteY1295" fmla="*/ 239373 h 834466"/>
                <a:gd name="connsiteX1296" fmla="*/ 228648 w 699392"/>
                <a:gd name="connsiteY1296" fmla="*/ 240192 h 834466"/>
                <a:gd name="connsiteX1297" fmla="*/ 225371 w 699392"/>
                <a:gd name="connsiteY1297" fmla="*/ 241211 h 834466"/>
                <a:gd name="connsiteX1298" fmla="*/ 224580 w 699392"/>
                <a:gd name="connsiteY1298" fmla="*/ 234648 h 834466"/>
                <a:gd name="connsiteX1299" fmla="*/ 226086 w 699392"/>
                <a:gd name="connsiteY1299" fmla="*/ 232267 h 834466"/>
                <a:gd name="connsiteX1300" fmla="*/ 227266 w 699392"/>
                <a:gd name="connsiteY1300" fmla="*/ 229410 h 834466"/>
                <a:gd name="connsiteX1301" fmla="*/ 229076 w 699392"/>
                <a:gd name="connsiteY1301" fmla="*/ 228971 h 834466"/>
                <a:gd name="connsiteX1302" fmla="*/ 230696 w 699392"/>
                <a:gd name="connsiteY1302" fmla="*/ 229210 h 834466"/>
                <a:gd name="connsiteX1303" fmla="*/ 233619 w 699392"/>
                <a:gd name="connsiteY1303" fmla="*/ 223037 h 834466"/>
                <a:gd name="connsiteX1304" fmla="*/ 237620 w 699392"/>
                <a:gd name="connsiteY1304" fmla="*/ 221275 h 834466"/>
                <a:gd name="connsiteX1305" fmla="*/ 240202 w 699392"/>
                <a:gd name="connsiteY1305" fmla="*/ 221075 h 834466"/>
                <a:gd name="connsiteX1306" fmla="*/ 242573 w 699392"/>
                <a:gd name="connsiteY1306" fmla="*/ 221875 h 834466"/>
                <a:gd name="connsiteX1307" fmla="*/ 218475 w 699392"/>
                <a:gd name="connsiteY1307" fmla="*/ 249860 h 834466"/>
                <a:gd name="connsiteX1308" fmla="*/ 214522 w 699392"/>
                <a:gd name="connsiteY1308" fmla="*/ 253603 h 834466"/>
                <a:gd name="connsiteX1309" fmla="*/ 215960 w 699392"/>
                <a:gd name="connsiteY1309" fmla="*/ 246764 h 834466"/>
                <a:gd name="connsiteX1310" fmla="*/ 218094 w 699392"/>
                <a:gd name="connsiteY1310" fmla="*/ 239811 h 834466"/>
                <a:gd name="connsiteX1311" fmla="*/ 221047 w 699392"/>
                <a:gd name="connsiteY1311" fmla="*/ 235820 h 834466"/>
                <a:gd name="connsiteX1312" fmla="*/ 222514 w 699392"/>
                <a:gd name="connsiteY1312" fmla="*/ 237382 h 834466"/>
                <a:gd name="connsiteX1313" fmla="*/ 221837 w 699392"/>
                <a:gd name="connsiteY1313" fmla="*/ 240725 h 834466"/>
                <a:gd name="connsiteX1314" fmla="*/ 221847 w 699392"/>
                <a:gd name="connsiteY1314" fmla="*/ 244021 h 834466"/>
                <a:gd name="connsiteX1315" fmla="*/ 221218 w 699392"/>
                <a:gd name="connsiteY1315" fmla="*/ 245574 h 834466"/>
                <a:gd name="connsiteX1316" fmla="*/ 218475 w 699392"/>
                <a:gd name="connsiteY1316" fmla="*/ 249860 h 834466"/>
                <a:gd name="connsiteX1317" fmla="*/ 203730 w 699392"/>
                <a:gd name="connsiteY1317" fmla="*/ 374837 h 834466"/>
                <a:gd name="connsiteX1318" fmla="*/ 201254 w 699392"/>
                <a:gd name="connsiteY1318" fmla="*/ 375266 h 834466"/>
                <a:gd name="connsiteX1319" fmla="*/ 201663 w 699392"/>
                <a:gd name="connsiteY1319" fmla="*/ 372361 h 834466"/>
                <a:gd name="connsiteX1320" fmla="*/ 203664 w 699392"/>
                <a:gd name="connsiteY1320" fmla="*/ 369599 h 834466"/>
                <a:gd name="connsiteX1321" fmla="*/ 204435 w 699392"/>
                <a:gd name="connsiteY1321" fmla="*/ 367713 h 834466"/>
                <a:gd name="connsiteX1322" fmla="*/ 204835 w 699392"/>
                <a:gd name="connsiteY1322" fmla="*/ 365484 h 834466"/>
                <a:gd name="connsiteX1323" fmla="*/ 206607 w 699392"/>
                <a:gd name="connsiteY1323" fmla="*/ 363798 h 834466"/>
                <a:gd name="connsiteX1324" fmla="*/ 209102 w 699392"/>
                <a:gd name="connsiteY1324" fmla="*/ 365960 h 834466"/>
                <a:gd name="connsiteX1325" fmla="*/ 209150 w 699392"/>
                <a:gd name="connsiteY1325" fmla="*/ 369618 h 834466"/>
                <a:gd name="connsiteX1326" fmla="*/ 207912 w 699392"/>
                <a:gd name="connsiteY1326" fmla="*/ 372951 h 834466"/>
                <a:gd name="connsiteX1327" fmla="*/ 203730 w 699392"/>
                <a:gd name="connsiteY1327" fmla="*/ 374837 h 834466"/>
                <a:gd name="connsiteX1328" fmla="*/ 206131 w 699392"/>
                <a:gd name="connsiteY1328" fmla="*/ 384105 h 834466"/>
                <a:gd name="connsiteX1329" fmla="*/ 203988 w 699392"/>
                <a:gd name="connsiteY1329" fmla="*/ 384296 h 834466"/>
                <a:gd name="connsiteX1330" fmla="*/ 204006 w 699392"/>
                <a:gd name="connsiteY1330" fmla="*/ 381619 h 834466"/>
                <a:gd name="connsiteX1331" fmla="*/ 205235 w 699392"/>
                <a:gd name="connsiteY1331" fmla="*/ 379181 h 834466"/>
                <a:gd name="connsiteX1332" fmla="*/ 207178 w 699392"/>
                <a:gd name="connsiteY1332" fmla="*/ 377552 h 834466"/>
                <a:gd name="connsiteX1333" fmla="*/ 209683 w 699392"/>
                <a:gd name="connsiteY1333" fmla="*/ 377123 h 834466"/>
                <a:gd name="connsiteX1334" fmla="*/ 212484 w 699392"/>
                <a:gd name="connsiteY1334" fmla="*/ 376933 h 834466"/>
                <a:gd name="connsiteX1335" fmla="*/ 213331 w 699392"/>
                <a:gd name="connsiteY1335" fmla="*/ 378228 h 834466"/>
                <a:gd name="connsiteX1336" fmla="*/ 211722 w 699392"/>
                <a:gd name="connsiteY1336" fmla="*/ 380047 h 834466"/>
                <a:gd name="connsiteX1337" fmla="*/ 206131 w 699392"/>
                <a:gd name="connsiteY1337" fmla="*/ 384105 h 834466"/>
                <a:gd name="connsiteX1338" fmla="*/ 191653 w 699392"/>
                <a:gd name="connsiteY1338" fmla="*/ 402022 h 834466"/>
                <a:gd name="connsiteX1339" fmla="*/ 189881 w 699392"/>
                <a:gd name="connsiteY1339" fmla="*/ 404012 h 834466"/>
                <a:gd name="connsiteX1340" fmla="*/ 186576 w 699392"/>
                <a:gd name="connsiteY1340" fmla="*/ 403441 h 834466"/>
                <a:gd name="connsiteX1341" fmla="*/ 186223 w 699392"/>
                <a:gd name="connsiteY1341" fmla="*/ 401726 h 834466"/>
                <a:gd name="connsiteX1342" fmla="*/ 187166 w 699392"/>
                <a:gd name="connsiteY1342" fmla="*/ 398297 h 834466"/>
                <a:gd name="connsiteX1343" fmla="*/ 189176 w 699392"/>
                <a:gd name="connsiteY1343" fmla="*/ 396878 h 834466"/>
                <a:gd name="connsiteX1344" fmla="*/ 191767 w 699392"/>
                <a:gd name="connsiteY1344" fmla="*/ 397154 h 834466"/>
                <a:gd name="connsiteX1345" fmla="*/ 192596 w 699392"/>
                <a:gd name="connsiteY1345" fmla="*/ 398583 h 834466"/>
                <a:gd name="connsiteX1346" fmla="*/ 191653 w 699392"/>
                <a:gd name="connsiteY1346" fmla="*/ 402022 h 834466"/>
                <a:gd name="connsiteX1347" fmla="*/ 171965 w 699392"/>
                <a:gd name="connsiteY1347" fmla="*/ 450523 h 834466"/>
                <a:gd name="connsiteX1348" fmla="*/ 170564 w 699392"/>
                <a:gd name="connsiteY1348" fmla="*/ 452276 h 834466"/>
                <a:gd name="connsiteX1349" fmla="*/ 167450 w 699392"/>
                <a:gd name="connsiteY1349" fmla="*/ 450875 h 834466"/>
                <a:gd name="connsiteX1350" fmla="*/ 161306 w 699392"/>
                <a:gd name="connsiteY1350" fmla="*/ 451961 h 834466"/>
                <a:gd name="connsiteX1351" fmla="*/ 158830 w 699392"/>
                <a:gd name="connsiteY1351" fmla="*/ 450256 h 834466"/>
                <a:gd name="connsiteX1352" fmla="*/ 160801 w 699392"/>
                <a:gd name="connsiteY1352" fmla="*/ 446923 h 834466"/>
                <a:gd name="connsiteX1353" fmla="*/ 166354 w 699392"/>
                <a:gd name="connsiteY1353" fmla="*/ 443417 h 834466"/>
                <a:gd name="connsiteX1354" fmla="*/ 169336 w 699392"/>
                <a:gd name="connsiteY1354" fmla="*/ 443579 h 834466"/>
                <a:gd name="connsiteX1355" fmla="*/ 172374 w 699392"/>
                <a:gd name="connsiteY1355" fmla="*/ 447885 h 834466"/>
                <a:gd name="connsiteX1356" fmla="*/ 171965 w 699392"/>
                <a:gd name="connsiteY1356" fmla="*/ 450523 h 834466"/>
                <a:gd name="connsiteX1357" fmla="*/ 98165 w 699392"/>
                <a:gd name="connsiteY1357" fmla="*/ 524256 h 834466"/>
                <a:gd name="connsiteX1358" fmla="*/ 95098 w 699392"/>
                <a:gd name="connsiteY1358" fmla="*/ 524399 h 834466"/>
                <a:gd name="connsiteX1359" fmla="*/ 93250 w 699392"/>
                <a:gd name="connsiteY1359" fmla="*/ 523046 h 834466"/>
                <a:gd name="connsiteX1360" fmla="*/ 97641 w 699392"/>
                <a:gd name="connsiteY1360" fmla="*/ 520360 h 834466"/>
                <a:gd name="connsiteX1361" fmla="*/ 104527 w 699392"/>
                <a:gd name="connsiteY1361" fmla="*/ 517788 h 834466"/>
                <a:gd name="connsiteX1362" fmla="*/ 105185 w 699392"/>
                <a:gd name="connsiteY1362" fmla="*/ 516160 h 834466"/>
                <a:gd name="connsiteX1363" fmla="*/ 106013 w 699392"/>
                <a:gd name="connsiteY1363" fmla="*/ 515960 h 834466"/>
                <a:gd name="connsiteX1364" fmla="*/ 107204 w 699392"/>
                <a:gd name="connsiteY1364" fmla="*/ 517960 h 834466"/>
                <a:gd name="connsiteX1365" fmla="*/ 107356 w 699392"/>
                <a:gd name="connsiteY1365" fmla="*/ 520703 h 834466"/>
                <a:gd name="connsiteX1366" fmla="*/ 106594 w 699392"/>
                <a:gd name="connsiteY1366" fmla="*/ 522065 h 834466"/>
                <a:gd name="connsiteX1367" fmla="*/ 98165 w 699392"/>
                <a:gd name="connsiteY1367" fmla="*/ 524256 h 834466"/>
                <a:gd name="connsiteX1368" fmla="*/ 88316 w 699392"/>
                <a:gd name="connsiteY1368" fmla="*/ 543973 h 834466"/>
                <a:gd name="connsiteX1369" fmla="*/ 85697 w 699392"/>
                <a:gd name="connsiteY1369" fmla="*/ 544011 h 834466"/>
                <a:gd name="connsiteX1370" fmla="*/ 82582 w 699392"/>
                <a:gd name="connsiteY1370" fmla="*/ 543097 h 834466"/>
                <a:gd name="connsiteX1371" fmla="*/ 80629 w 699392"/>
                <a:gd name="connsiteY1371" fmla="*/ 541144 h 834466"/>
                <a:gd name="connsiteX1372" fmla="*/ 80324 w 699392"/>
                <a:gd name="connsiteY1372" fmla="*/ 539420 h 834466"/>
                <a:gd name="connsiteX1373" fmla="*/ 83915 w 699392"/>
                <a:gd name="connsiteY1373" fmla="*/ 537277 h 834466"/>
                <a:gd name="connsiteX1374" fmla="*/ 87525 w 699392"/>
                <a:gd name="connsiteY1374" fmla="*/ 536019 h 834466"/>
                <a:gd name="connsiteX1375" fmla="*/ 89202 w 699392"/>
                <a:gd name="connsiteY1375" fmla="*/ 538382 h 834466"/>
                <a:gd name="connsiteX1376" fmla="*/ 89326 w 699392"/>
                <a:gd name="connsiteY1376" fmla="*/ 542249 h 834466"/>
                <a:gd name="connsiteX1377" fmla="*/ 88316 w 699392"/>
                <a:gd name="connsiteY1377" fmla="*/ 543973 h 834466"/>
                <a:gd name="connsiteX1378" fmla="*/ 4277 w 699392"/>
                <a:gd name="connsiteY1378" fmla="*/ 673037 h 834466"/>
                <a:gd name="connsiteX1379" fmla="*/ 1905 w 699392"/>
                <a:gd name="connsiteY1379" fmla="*/ 673732 h 834466"/>
                <a:gd name="connsiteX1380" fmla="*/ 0 w 699392"/>
                <a:gd name="connsiteY1380" fmla="*/ 673132 h 834466"/>
                <a:gd name="connsiteX1381" fmla="*/ 676 w 699392"/>
                <a:gd name="connsiteY1381" fmla="*/ 667855 h 834466"/>
                <a:gd name="connsiteX1382" fmla="*/ 1667 w 699392"/>
                <a:gd name="connsiteY1382" fmla="*/ 666998 h 834466"/>
                <a:gd name="connsiteX1383" fmla="*/ 3105 w 699392"/>
                <a:gd name="connsiteY1383" fmla="*/ 666693 h 834466"/>
                <a:gd name="connsiteX1384" fmla="*/ 4658 w 699392"/>
                <a:gd name="connsiteY1384" fmla="*/ 669522 h 834466"/>
                <a:gd name="connsiteX1385" fmla="*/ 4277 w 699392"/>
                <a:gd name="connsiteY1385" fmla="*/ 673037 h 834466"/>
                <a:gd name="connsiteX1386" fmla="*/ 7677 w 699392"/>
                <a:gd name="connsiteY1386" fmla="*/ 715404 h 834466"/>
                <a:gd name="connsiteX1387" fmla="*/ 7763 w 699392"/>
                <a:gd name="connsiteY1387" fmla="*/ 721795 h 834466"/>
                <a:gd name="connsiteX1388" fmla="*/ 5305 w 699392"/>
                <a:gd name="connsiteY1388" fmla="*/ 721309 h 834466"/>
                <a:gd name="connsiteX1389" fmla="*/ 4201 w 699392"/>
                <a:gd name="connsiteY1389" fmla="*/ 718861 h 834466"/>
                <a:gd name="connsiteX1390" fmla="*/ 3877 w 699392"/>
                <a:gd name="connsiteY1390" fmla="*/ 717290 h 834466"/>
                <a:gd name="connsiteX1391" fmla="*/ 4077 w 699392"/>
                <a:gd name="connsiteY1391" fmla="*/ 713584 h 834466"/>
                <a:gd name="connsiteX1392" fmla="*/ 3524 w 699392"/>
                <a:gd name="connsiteY1392" fmla="*/ 709755 h 834466"/>
                <a:gd name="connsiteX1393" fmla="*/ 4248 w 699392"/>
                <a:gd name="connsiteY1393" fmla="*/ 707850 h 834466"/>
                <a:gd name="connsiteX1394" fmla="*/ 5144 w 699392"/>
                <a:gd name="connsiteY1394" fmla="*/ 707593 h 834466"/>
                <a:gd name="connsiteX1395" fmla="*/ 6734 w 699392"/>
                <a:gd name="connsiteY1395" fmla="*/ 711003 h 834466"/>
                <a:gd name="connsiteX1396" fmla="*/ 7677 w 699392"/>
                <a:gd name="connsiteY1396" fmla="*/ 715404 h 83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</a:cxnLst>
              <a:rect l="l" t="t" r="r" b="b"/>
              <a:pathLst>
                <a:path w="699392" h="834466">
                  <a:moveTo>
                    <a:pt x="555689" y="0"/>
                  </a:moveTo>
                  <a:lnTo>
                    <a:pt x="562833" y="3162"/>
                  </a:lnTo>
                  <a:lnTo>
                    <a:pt x="565271" y="3096"/>
                  </a:lnTo>
                  <a:lnTo>
                    <a:pt x="568823" y="8992"/>
                  </a:lnTo>
                  <a:lnTo>
                    <a:pt x="570672" y="8468"/>
                  </a:lnTo>
                  <a:lnTo>
                    <a:pt x="570319" y="12049"/>
                  </a:lnTo>
                  <a:lnTo>
                    <a:pt x="566738" y="13754"/>
                  </a:lnTo>
                  <a:lnTo>
                    <a:pt x="561165" y="14783"/>
                  </a:lnTo>
                  <a:lnTo>
                    <a:pt x="560337" y="15497"/>
                  </a:lnTo>
                  <a:lnTo>
                    <a:pt x="555574" y="14926"/>
                  </a:lnTo>
                  <a:lnTo>
                    <a:pt x="552898" y="10106"/>
                  </a:lnTo>
                  <a:lnTo>
                    <a:pt x="548431" y="8915"/>
                  </a:lnTo>
                  <a:lnTo>
                    <a:pt x="548440" y="7363"/>
                  </a:lnTo>
                  <a:lnTo>
                    <a:pt x="551336" y="3705"/>
                  </a:lnTo>
                  <a:lnTo>
                    <a:pt x="555689" y="0"/>
                  </a:lnTo>
                  <a:close/>
                  <a:moveTo>
                    <a:pt x="696926" y="108566"/>
                  </a:moveTo>
                  <a:lnTo>
                    <a:pt x="698382" y="118710"/>
                  </a:lnTo>
                  <a:lnTo>
                    <a:pt x="698335" y="122234"/>
                  </a:lnTo>
                  <a:lnTo>
                    <a:pt x="697649" y="125644"/>
                  </a:lnTo>
                  <a:lnTo>
                    <a:pt x="696687" y="127387"/>
                  </a:lnTo>
                  <a:lnTo>
                    <a:pt x="694773" y="128149"/>
                  </a:lnTo>
                  <a:lnTo>
                    <a:pt x="690134" y="127845"/>
                  </a:lnTo>
                  <a:lnTo>
                    <a:pt x="683838" y="123854"/>
                  </a:lnTo>
                  <a:lnTo>
                    <a:pt x="679771" y="120091"/>
                  </a:lnTo>
                  <a:lnTo>
                    <a:pt x="678504" y="119929"/>
                  </a:lnTo>
                  <a:lnTo>
                    <a:pt x="677952" y="120386"/>
                  </a:lnTo>
                  <a:lnTo>
                    <a:pt x="678942" y="124158"/>
                  </a:lnTo>
                  <a:lnTo>
                    <a:pt x="678675" y="127054"/>
                  </a:lnTo>
                  <a:lnTo>
                    <a:pt x="678066" y="130197"/>
                  </a:lnTo>
                  <a:lnTo>
                    <a:pt x="677209" y="133045"/>
                  </a:lnTo>
                  <a:lnTo>
                    <a:pt x="676018" y="135426"/>
                  </a:lnTo>
                  <a:lnTo>
                    <a:pt x="673522" y="138493"/>
                  </a:lnTo>
                  <a:lnTo>
                    <a:pt x="669207" y="140913"/>
                  </a:lnTo>
                  <a:lnTo>
                    <a:pt x="657330" y="145628"/>
                  </a:lnTo>
                  <a:lnTo>
                    <a:pt x="656387" y="147704"/>
                  </a:lnTo>
                  <a:lnTo>
                    <a:pt x="652558" y="160753"/>
                  </a:lnTo>
                  <a:lnTo>
                    <a:pt x="651520" y="162658"/>
                  </a:lnTo>
                  <a:lnTo>
                    <a:pt x="650120" y="164268"/>
                  </a:lnTo>
                  <a:lnTo>
                    <a:pt x="646033" y="166354"/>
                  </a:lnTo>
                  <a:lnTo>
                    <a:pt x="644052" y="163478"/>
                  </a:lnTo>
                  <a:lnTo>
                    <a:pt x="642471" y="159106"/>
                  </a:lnTo>
                  <a:lnTo>
                    <a:pt x="642833" y="154762"/>
                  </a:lnTo>
                  <a:lnTo>
                    <a:pt x="647605" y="146399"/>
                  </a:lnTo>
                  <a:lnTo>
                    <a:pt x="652072" y="140446"/>
                  </a:lnTo>
                  <a:lnTo>
                    <a:pt x="653329" y="138379"/>
                  </a:lnTo>
                  <a:lnTo>
                    <a:pt x="655863" y="132369"/>
                  </a:lnTo>
                  <a:lnTo>
                    <a:pt x="650739" y="117186"/>
                  </a:lnTo>
                  <a:lnTo>
                    <a:pt x="641614" y="112566"/>
                  </a:lnTo>
                  <a:lnTo>
                    <a:pt x="631222" y="105508"/>
                  </a:lnTo>
                  <a:lnTo>
                    <a:pt x="627412" y="101737"/>
                  </a:lnTo>
                  <a:lnTo>
                    <a:pt x="621478" y="93936"/>
                  </a:lnTo>
                  <a:lnTo>
                    <a:pt x="617277" y="86906"/>
                  </a:lnTo>
                  <a:lnTo>
                    <a:pt x="613486" y="86658"/>
                  </a:lnTo>
                  <a:lnTo>
                    <a:pt x="609315" y="88430"/>
                  </a:lnTo>
                  <a:lnTo>
                    <a:pt x="602799" y="94850"/>
                  </a:lnTo>
                  <a:lnTo>
                    <a:pt x="598999" y="98069"/>
                  </a:lnTo>
                  <a:lnTo>
                    <a:pt x="596903" y="99022"/>
                  </a:lnTo>
                  <a:lnTo>
                    <a:pt x="596399" y="99165"/>
                  </a:lnTo>
                  <a:lnTo>
                    <a:pt x="591731" y="97346"/>
                  </a:lnTo>
                  <a:lnTo>
                    <a:pt x="586550" y="96964"/>
                  </a:lnTo>
                  <a:lnTo>
                    <a:pt x="582378" y="97488"/>
                  </a:lnTo>
                  <a:lnTo>
                    <a:pt x="580806" y="98365"/>
                  </a:lnTo>
                  <a:lnTo>
                    <a:pt x="574996" y="108690"/>
                  </a:lnTo>
                  <a:lnTo>
                    <a:pt x="570929" y="113871"/>
                  </a:lnTo>
                  <a:lnTo>
                    <a:pt x="568690" y="115653"/>
                  </a:lnTo>
                  <a:lnTo>
                    <a:pt x="567061" y="118643"/>
                  </a:lnTo>
                  <a:lnTo>
                    <a:pt x="565728" y="123558"/>
                  </a:lnTo>
                  <a:lnTo>
                    <a:pt x="562746" y="140475"/>
                  </a:lnTo>
                  <a:lnTo>
                    <a:pt x="560527" y="146818"/>
                  </a:lnTo>
                  <a:lnTo>
                    <a:pt x="560032" y="150685"/>
                  </a:lnTo>
                  <a:lnTo>
                    <a:pt x="560556" y="162344"/>
                  </a:lnTo>
                  <a:lnTo>
                    <a:pt x="560022" y="168764"/>
                  </a:lnTo>
                  <a:lnTo>
                    <a:pt x="557308" y="174041"/>
                  </a:lnTo>
                  <a:lnTo>
                    <a:pt x="555393" y="176412"/>
                  </a:lnTo>
                  <a:lnTo>
                    <a:pt x="552869" y="176898"/>
                  </a:lnTo>
                  <a:lnTo>
                    <a:pt x="549564" y="178241"/>
                  </a:lnTo>
                  <a:lnTo>
                    <a:pt x="546678" y="181280"/>
                  </a:lnTo>
                  <a:lnTo>
                    <a:pt x="544639" y="185423"/>
                  </a:lnTo>
                  <a:lnTo>
                    <a:pt x="542344" y="194672"/>
                  </a:lnTo>
                  <a:lnTo>
                    <a:pt x="538458" y="198063"/>
                  </a:lnTo>
                  <a:lnTo>
                    <a:pt x="534743" y="197091"/>
                  </a:lnTo>
                  <a:lnTo>
                    <a:pt x="532095" y="193700"/>
                  </a:lnTo>
                  <a:lnTo>
                    <a:pt x="526409" y="191071"/>
                  </a:lnTo>
                  <a:lnTo>
                    <a:pt x="522170" y="189395"/>
                  </a:lnTo>
                  <a:lnTo>
                    <a:pt x="517417" y="185757"/>
                  </a:lnTo>
                  <a:lnTo>
                    <a:pt x="513226" y="182985"/>
                  </a:lnTo>
                  <a:lnTo>
                    <a:pt x="509397" y="182432"/>
                  </a:lnTo>
                  <a:lnTo>
                    <a:pt x="507216" y="185947"/>
                  </a:lnTo>
                  <a:lnTo>
                    <a:pt x="505463" y="189224"/>
                  </a:lnTo>
                  <a:lnTo>
                    <a:pt x="498929" y="191881"/>
                  </a:lnTo>
                  <a:lnTo>
                    <a:pt x="495224" y="193986"/>
                  </a:lnTo>
                  <a:lnTo>
                    <a:pt x="490424" y="194453"/>
                  </a:lnTo>
                  <a:lnTo>
                    <a:pt x="488480" y="192119"/>
                  </a:lnTo>
                  <a:lnTo>
                    <a:pt x="481508" y="190576"/>
                  </a:lnTo>
                  <a:lnTo>
                    <a:pt x="473212" y="188747"/>
                  </a:lnTo>
                  <a:lnTo>
                    <a:pt x="470811" y="188766"/>
                  </a:lnTo>
                  <a:lnTo>
                    <a:pt x="470059" y="184585"/>
                  </a:lnTo>
                  <a:lnTo>
                    <a:pt x="467849" y="178727"/>
                  </a:lnTo>
                  <a:lnTo>
                    <a:pt x="461953" y="168554"/>
                  </a:lnTo>
                  <a:lnTo>
                    <a:pt x="459543" y="164954"/>
                  </a:lnTo>
                  <a:lnTo>
                    <a:pt x="455000" y="156467"/>
                  </a:lnTo>
                  <a:lnTo>
                    <a:pt x="449713" y="147723"/>
                  </a:lnTo>
                  <a:lnTo>
                    <a:pt x="448961" y="147504"/>
                  </a:lnTo>
                  <a:lnTo>
                    <a:pt x="445418" y="147209"/>
                  </a:lnTo>
                  <a:lnTo>
                    <a:pt x="440227" y="147495"/>
                  </a:lnTo>
                  <a:lnTo>
                    <a:pt x="436931" y="149485"/>
                  </a:lnTo>
                  <a:lnTo>
                    <a:pt x="434854" y="151981"/>
                  </a:lnTo>
                  <a:lnTo>
                    <a:pt x="434493" y="154057"/>
                  </a:lnTo>
                  <a:lnTo>
                    <a:pt x="436502" y="161982"/>
                  </a:lnTo>
                  <a:lnTo>
                    <a:pt x="435883" y="163954"/>
                  </a:lnTo>
                  <a:lnTo>
                    <a:pt x="434845" y="164906"/>
                  </a:lnTo>
                  <a:lnTo>
                    <a:pt x="430130" y="162687"/>
                  </a:lnTo>
                  <a:lnTo>
                    <a:pt x="424425" y="162839"/>
                  </a:lnTo>
                  <a:lnTo>
                    <a:pt x="422986" y="165278"/>
                  </a:lnTo>
                  <a:lnTo>
                    <a:pt x="419510" y="165545"/>
                  </a:lnTo>
                  <a:lnTo>
                    <a:pt x="409480" y="166468"/>
                  </a:lnTo>
                  <a:lnTo>
                    <a:pt x="413909" y="172907"/>
                  </a:lnTo>
                  <a:lnTo>
                    <a:pt x="415376" y="175489"/>
                  </a:lnTo>
                  <a:lnTo>
                    <a:pt x="415671" y="179260"/>
                  </a:lnTo>
                  <a:lnTo>
                    <a:pt x="414900" y="186252"/>
                  </a:lnTo>
                  <a:lnTo>
                    <a:pt x="412775" y="192205"/>
                  </a:lnTo>
                  <a:lnTo>
                    <a:pt x="410299" y="197034"/>
                  </a:lnTo>
                  <a:lnTo>
                    <a:pt x="405527" y="201806"/>
                  </a:lnTo>
                  <a:lnTo>
                    <a:pt x="412775" y="206512"/>
                  </a:lnTo>
                  <a:lnTo>
                    <a:pt x="407851" y="212846"/>
                  </a:lnTo>
                  <a:lnTo>
                    <a:pt x="405546" y="215303"/>
                  </a:lnTo>
                  <a:lnTo>
                    <a:pt x="402879" y="214884"/>
                  </a:lnTo>
                  <a:lnTo>
                    <a:pt x="398107" y="212703"/>
                  </a:lnTo>
                  <a:lnTo>
                    <a:pt x="386553" y="207407"/>
                  </a:lnTo>
                  <a:lnTo>
                    <a:pt x="381038" y="205416"/>
                  </a:lnTo>
                  <a:lnTo>
                    <a:pt x="376104" y="204807"/>
                  </a:lnTo>
                  <a:lnTo>
                    <a:pt x="373475" y="204883"/>
                  </a:lnTo>
                  <a:lnTo>
                    <a:pt x="363017" y="200330"/>
                  </a:lnTo>
                  <a:lnTo>
                    <a:pt x="360998" y="200835"/>
                  </a:lnTo>
                  <a:lnTo>
                    <a:pt x="357244" y="202806"/>
                  </a:lnTo>
                  <a:lnTo>
                    <a:pt x="356826" y="207226"/>
                  </a:lnTo>
                  <a:lnTo>
                    <a:pt x="357064" y="218170"/>
                  </a:lnTo>
                  <a:lnTo>
                    <a:pt x="357616" y="226552"/>
                  </a:lnTo>
                  <a:lnTo>
                    <a:pt x="356235" y="231372"/>
                  </a:lnTo>
                  <a:lnTo>
                    <a:pt x="354854" y="234639"/>
                  </a:lnTo>
                  <a:lnTo>
                    <a:pt x="350672" y="243411"/>
                  </a:lnTo>
                  <a:lnTo>
                    <a:pt x="341262" y="237449"/>
                  </a:lnTo>
                  <a:lnTo>
                    <a:pt x="334842" y="233486"/>
                  </a:lnTo>
                  <a:lnTo>
                    <a:pt x="330718" y="238754"/>
                  </a:lnTo>
                  <a:lnTo>
                    <a:pt x="320383" y="248374"/>
                  </a:lnTo>
                  <a:lnTo>
                    <a:pt x="315087" y="267195"/>
                  </a:lnTo>
                  <a:lnTo>
                    <a:pt x="314783" y="267805"/>
                  </a:lnTo>
                  <a:lnTo>
                    <a:pt x="311648" y="272558"/>
                  </a:lnTo>
                  <a:lnTo>
                    <a:pt x="307639" y="274739"/>
                  </a:lnTo>
                  <a:lnTo>
                    <a:pt x="304600" y="275815"/>
                  </a:lnTo>
                  <a:lnTo>
                    <a:pt x="302829" y="281349"/>
                  </a:lnTo>
                  <a:lnTo>
                    <a:pt x="306953" y="289246"/>
                  </a:lnTo>
                  <a:lnTo>
                    <a:pt x="309067" y="293399"/>
                  </a:lnTo>
                  <a:lnTo>
                    <a:pt x="311039" y="300085"/>
                  </a:lnTo>
                  <a:lnTo>
                    <a:pt x="310677" y="304324"/>
                  </a:lnTo>
                  <a:lnTo>
                    <a:pt x="310220" y="306953"/>
                  </a:lnTo>
                  <a:lnTo>
                    <a:pt x="305791" y="312325"/>
                  </a:lnTo>
                  <a:lnTo>
                    <a:pt x="296342" y="326431"/>
                  </a:lnTo>
                  <a:lnTo>
                    <a:pt x="287598" y="341043"/>
                  </a:lnTo>
                  <a:lnTo>
                    <a:pt x="284016" y="345215"/>
                  </a:lnTo>
                  <a:lnTo>
                    <a:pt x="285636" y="357483"/>
                  </a:lnTo>
                  <a:lnTo>
                    <a:pt x="282730" y="361064"/>
                  </a:lnTo>
                  <a:lnTo>
                    <a:pt x="276806" y="365103"/>
                  </a:lnTo>
                  <a:lnTo>
                    <a:pt x="273777" y="366655"/>
                  </a:lnTo>
                  <a:lnTo>
                    <a:pt x="270520" y="367570"/>
                  </a:lnTo>
                  <a:lnTo>
                    <a:pt x="260499" y="369180"/>
                  </a:lnTo>
                  <a:lnTo>
                    <a:pt x="262281" y="382134"/>
                  </a:lnTo>
                  <a:lnTo>
                    <a:pt x="262957" y="387839"/>
                  </a:lnTo>
                  <a:lnTo>
                    <a:pt x="262947" y="391211"/>
                  </a:lnTo>
                  <a:lnTo>
                    <a:pt x="261909" y="394497"/>
                  </a:lnTo>
                  <a:lnTo>
                    <a:pt x="260671" y="400755"/>
                  </a:lnTo>
                  <a:lnTo>
                    <a:pt x="258804" y="422948"/>
                  </a:lnTo>
                  <a:lnTo>
                    <a:pt x="257375" y="425320"/>
                  </a:lnTo>
                  <a:lnTo>
                    <a:pt x="255404" y="431273"/>
                  </a:lnTo>
                  <a:lnTo>
                    <a:pt x="249060" y="445494"/>
                  </a:lnTo>
                  <a:lnTo>
                    <a:pt x="243973" y="454885"/>
                  </a:lnTo>
                  <a:lnTo>
                    <a:pt x="236630" y="468325"/>
                  </a:lnTo>
                  <a:lnTo>
                    <a:pt x="242602" y="472545"/>
                  </a:lnTo>
                  <a:lnTo>
                    <a:pt x="248050" y="475621"/>
                  </a:lnTo>
                  <a:lnTo>
                    <a:pt x="249184" y="480336"/>
                  </a:lnTo>
                  <a:lnTo>
                    <a:pt x="249936" y="488185"/>
                  </a:lnTo>
                  <a:lnTo>
                    <a:pt x="249755" y="493509"/>
                  </a:lnTo>
                  <a:lnTo>
                    <a:pt x="247669" y="498281"/>
                  </a:lnTo>
                  <a:lnTo>
                    <a:pt x="246050" y="501625"/>
                  </a:lnTo>
                  <a:lnTo>
                    <a:pt x="244916" y="503253"/>
                  </a:lnTo>
                  <a:lnTo>
                    <a:pt x="237173" y="501634"/>
                  </a:lnTo>
                  <a:lnTo>
                    <a:pt x="227248" y="499548"/>
                  </a:lnTo>
                  <a:lnTo>
                    <a:pt x="224676" y="499529"/>
                  </a:lnTo>
                  <a:lnTo>
                    <a:pt x="218904" y="501034"/>
                  </a:lnTo>
                  <a:lnTo>
                    <a:pt x="213693" y="504111"/>
                  </a:lnTo>
                  <a:lnTo>
                    <a:pt x="210950" y="506701"/>
                  </a:lnTo>
                  <a:lnTo>
                    <a:pt x="210217" y="507730"/>
                  </a:lnTo>
                  <a:lnTo>
                    <a:pt x="206750" y="513617"/>
                  </a:lnTo>
                  <a:lnTo>
                    <a:pt x="200578" y="524018"/>
                  </a:lnTo>
                  <a:lnTo>
                    <a:pt x="197196" y="528542"/>
                  </a:lnTo>
                  <a:lnTo>
                    <a:pt x="198187" y="534762"/>
                  </a:lnTo>
                  <a:lnTo>
                    <a:pt x="192510" y="546716"/>
                  </a:lnTo>
                  <a:lnTo>
                    <a:pt x="196225" y="558698"/>
                  </a:lnTo>
                  <a:lnTo>
                    <a:pt x="196387" y="559098"/>
                  </a:lnTo>
                  <a:lnTo>
                    <a:pt x="198358" y="563918"/>
                  </a:lnTo>
                  <a:lnTo>
                    <a:pt x="196301" y="567023"/>
                  </a:lnTo>
                  <a:lnTo>
                    <a:pt x="195434" y="568690"/>
                  </a:lnTo>
                  <a:lnTo>
                    <a:pt x="195729" y="574167"/>
                  </a:lnTo>
                  <a:lnTo>
                    <a:pt x="196272" y="580273"/>
                  </a:lnTo>
                  <a:lnTo>
                    <a:pt x="195796" y="583844"/>
                  </a:lnTo>
                  <a:lnTo>
                    <a:pt x="195596" y="587797"/>
                  </a:lnTo>
                  <a:lnTo>
                    <a:pt x="200644" y="605466"/>
                  </a:lnTo>
                  <a:lnTo>
                    <a:pt x="200587" y="609581"/>
                  </a:lnTo>
                  <a:lnTo>
                    <a:pt x="200340" y="612229"/>
                  </a:lnTo>
                  <a:lnTo>
                    <a:pt x="198777" y="623097"/>
                  </a:lnTo>
                  <a:lnTo>
                    <a:pt x="196682" y="637585"/>
                  </a:lnTo>
                  <a:lnTo>
                    <a:pt x="200340" y="641366"/>
                  </a:lnTo>
                  <a:lnTo>
                    <a:pt x="205540" y="645881"/>
                  </a:lnTo>
                  <a:lnTo>
                    <a:pt x="208464" y="647662"/>
                  </a:lnTo>
                  <a:lnTo>
                    <a:pt x="212779" y="653015"/>
                  </a:lnTo>
                  <a:lnTo>
                    <a:pt x="216075" y="658225"/>
                  </a:lnTo>
                  <a:lnTo>
                    <a:pt x="215617" y="661673"/>
                  </a:lnTo>
                  <a:lnTo>
                    <a:pt x="214665" y="665474"/>
                  </a:lnTo>
                  <a:lnTo>
                    <a:pt x="213284" y="668122"/>
                  </a:lnTo>
                  <a:lnTo>
                    <a:pt x="211979" y="671751"/>
                  </a:lnTo>
                  <a:lnTo>
                    <a:pt x="211398" y="674427"/>
                  </a:lnTo>
                  <a:lnTo>
                    <a:pt x="210788" y="675142"/>
                  </a:lnTo>
                  <a:lnTo>
                    <a:pt x="205026" y="675437"/>
                  </a:lnTo>
                  <a:lnTo>
                    <a:pt x="201987" y="676447"/>
                  </a:lnTo>
                  <a:lnTo>
                    <a:pt x="200396" y="677580"/>
                  </a:lnTo>
                  <a:lnTo>
                    <a:pt x="200939" y="683657"/>
                  </a:lnTo>
                  <a:lnTo>
                    <a:pt x="204435" y="694735"/>
                  </a:lnTo>
                  <a:lnTo>
                    <a:pt x="207340" y="702564"/>
                  </a:lnTo>
                  <a:lnTo>
                    <a:pt x="208274" y="707708"/>
                  </a:lnTo>
                  <a:lnTo>
                    <a:pt x="207321" y="712908"/>
                  </a:lnTo>
                  <a:lnTo>
                    <a:pt x="206331" y="715566"/>
                  </a:lnTo>
                  <a:lnTo>
                    <a:pt x="206302" y="719138"/>
                  </a:lnTo>
                  <a:lnTo>
                    <a:pt x="205540" y="726224"/>
                  </a:lnTo>
                  <a:lnTo>
                    <a:pt x="203292" y="729796"/>
                  </a:lnTo>
                  <a:lnTo>
                    <a:pt x="200349" y="733682"/>
                  </a:lnTo>
                  <a:lnTo>
                    <a:pt x="197072" y="736578"/>
                  </a:lnTo>
                  <a:lnTo>
                    <a:pt x="194472" y="737387"/>
                  </a:lnTo>
                  <a:lnTo>
                    <a:pt x="192243" y="737721"/>
                  </a:lnTo>
                  <a:lnTo>
                    <a:pt x="190738" y="739188"/>
                  </a:lnTo>
                  <a:lnTo>
                    <a:pt x="189376" y="743502"/>
                  </a:lnTo>
                  <a:lnTo>
                    <a:pt x="188119" y="748017"/>
                  </a:lnTo>
                  <a:lnTo>
                    <a:pt x="184013" y="753561"/>
                  </a:lnTo>
                  <a:lnTo>
                    <a:pt x="184128" y="755485"/>
                  </a:lnTo>
                  <a:lnTo>
                    <a:pt x="185690" y="762019"/>
                  </a:lnTo>
                  <a:lnTo>
                    <a:pt x="187157" y="769430"/>
                  </a:lnTo>
                  <a:lnTo>
                    <a:pt x="185919" y="776335"/>
                  </a:lnTo>
                  <a:lnTo>
                    <a:pt x="184861" y="783546"/>
                  </a:lnTo>
                  <a:lnTo>
                    <a:pt x="183004" y="788337"/>
                  </a:lnTo>
                  <a:lnTo>
                    <a:pt x="180356" y="790051"/>
                  </a:lnTo>
                  <a:lnTo>
                    <a:pt x="178413" y="789194"/>
                  </a:lnTo>
                  <a:lnTo>
                    <a:pt x="176213" y="782622"/>
                  </a:lnTo>
                  <a:lnTo>
                    <a:pt x="176098" y="781069"/>
                  </a:lnTo>
                  <a:lnTo>
                    <a:pt x="175555" y="779050"/>
                  </a:lnTo>
                  <a:lnTo>
                    <a:pt x="169307" y="777040"/>
                  </a:lnTo>
                  <a:lnTo>
                    <a:pt x="168202" y="777107"/>
                  </a:lnTo>
                  <a:lnTo>
                    <a:pt x="165745" y="775925"/>
                  </a:lnTo>
                  <a:lnTo>
                    <a:pt x="164306" y="775592"/>
                  </a:lnTo>
                  <a:lnTo>
                    <a:pt x="161354" y="774916"/>
                  </a:lnTo>
                  <a:lnTo>
                    <a:pt x="158896" y="769068"/>
                  </a:lnTo>
                  <a:lnTo>
                    <a:pt x="156296" y="764191"/>
                  </a:lnTo>
                  <a:lnTo>
                    <a:pt x="155915" y="762152"/>
                  </a:lnTo>
                  <a:lnTo>
                    <a:pt x="156010" y="752980"/>
                  </a:lnTo>
                  <a:lnTo>
                    <a:pt x="155210" y="748884"/>
                  </a:lnTo>
                  <a:lnTo>
                    <a:pt x="154962" y="744407"/>
                  </a:lnTo>
                  <a:lnTo>
                    <a:pt x="153324" y="748046"/>
                  </a:lnTo>
                  <a:lnTo>
                    <a:pt x="154277" y="753789"/>
                  </a:lnTo>
                  <a:lnTo>
                    <a:pt x="152257" y="756190"/>
                  </a:lnTo>
                  <a:lnTo>
                    <a:pt x="149695" y="757361"/>
                  </a:lnTo>
                  <a:lnTo>
                    <a:pt x="149933" y="760705"/>
                  </a:lnTo>
                  <a:lnTo>
                    <a:pt x="150981" y="761343"/>
                  </a:lnTo>
                  <a:lnTo>
                    <a:pt x="151200" y="764800"/>
                  </a:lnTo>
                  <a:lnTo>
                    <a:pt x="150581" y="769925"/>
                  </a:lnTo>
                  <a:lnTo>
                    <a:pt x="145552" y="781250"/>
                  </a:lnTo>
                  <a:lnTo>
                    <a:pt x="144542" y="782460"/>
                  </a:lnTo>
                  <a:lnTo>
                    <a:pt x="143847" y="783984"/>
                  </a:lnTo>
                  <a:lnTo>
                    <a:pt x="141275" y="782974"/>
                  </a:lnTo>
                  <a:lnTo>
                    <a:pt x="137970" y="786117"/>
                  </a:lnTo>
                  <a:lnTo>
                    <a:pt x="134836" y="786622"/>
                  </a:lnTo>
                  <a:lnTo>
                    <a:pt x="133703" y="783069"/>
                  </a:lnTo>
                  <a:lnTo>
                    <a:pt x="129292" y="778354"/>
                  </a:lnTo>
                  <a:lnTo>
                    <a:pt x="127216" y="778621"/>
                  </a:lnTo>
                  <a:lnTo>
                    <a:pt x="129083" y="780945"/>
                  </a:lnTo>
                  <a:lnTo>
                    <a:pt x="130931" y="783965"/>
                  </a:lnTo>
                  <a:lnTo>
                    <a:pt x="129883" y="785955"/>
                  </a:lnTo>
                  <a:lnTo>
                    <a:pt x="128854" y="787260"/>
                  </a:lnTo>
                  <a:lnTo>
                    <a:pt x="127054" y="787937"/>
                  </a:lnTo>
                  <a:lnTo>
                    <a:pt x="120606" y="791870"/>
                  </a:lnTo>
                  <a:lnTo>
                    <a:pt x="122901" y="794509"/>
                  </a:lnTo>
                  <a:lnTo>
                    <a:pt x="120948" y="797500"/>
                  </a:lnTo>
                  <a:lnTo>
                    <a:pt x="118701" y="797938"/>
                  </a:lnTo>
                  <a:lnTo>
                    <a:pt x="117500" y="799328"/>
                  </a:lnTo>
                  <a:lnTo>
                    <a:pt x="117082" y="801214"/>
                  </a:lnTo>
                  <a:lnTo>
                    <a:pt x="110404" y="806596"/>
                  </a:lnTo>
                  <a:lnTo>
                    <a:pt x="99527" y="820322"/>
                  </a:lnTo>
                  <a:lnTo>
                    <a:pt x="93936" y="824189"/>
                  </a:lnTo>
                  <a:lnTo>
                    <a:pt x="90030" y="828189"/>
                  </a:lnTo>
                  <a:lnTo>
                    <a:pt x="86592" y="828094"/>
                  </a:lnTo>
                  <a:lnTo>
                    <a:pt x="82267" y="831494"/>
                  </a:lnTo>
                  <a:lnTo>
                    <a:pt x="71314" y="834466"/>
                  </a:lnTo>
                  <a:lnTo>
                    <a:pt x="64046" y="833123"/>
                  </a:lnTo>
                  <a:lnTo>
                    <a:pt x="58988" y="834304"/>
                  </a:lnTo>
                  <a:lnTo>
                    <a:pt x="56274" y="831971"/>
                  </a:lnTo>
                  <a:lnTo>
                    <a:pt x="55921" y="830370"/>
                  </a:lnTo>
                  <a:lnTo>
                    <a:pt x="56055" y="829437"/>
                  </a:lnTo>
                  <a:lnTo>
                    <a:pt x="56502" y="828313"/>
                  </a:lnTo>
                  <a:lnTo>
                    <a:pt x="55559" y="827942"/>
                  </a:lnTo>
                  <a:lnTo>
                    <a:pt x="53578" y="827751"/>
                  </a:lnTo>
                  <a:lnTo>
                    <a:pt x="52731" y="828875"/>
                  </a:lnTo>
                  <a:lnTo>
                    <a:pt x="52616" y="831437"/>
                  </a:lnTo>
                  <a:lnTo>
                    <a:pt x="51673" y="832104"/>
                  </a:lnTo>
                  <a:lnTo>
                    <a:pt x="47901" y="830637"/>
                  </a:lnTo>
                  <a:lnTo>
                    <a:pt x="46949" y="829323"/>
                  </a:lnTo>
                  <a:lnTo>
                    <a:pt x="48301" y="826646"/>
                  </a:lnTo>
                  <a:lnTo>
                    <a:pt x="50625" y="824236"/>
                  </a:lnTo>
                  <a:lnTo>
                    <a:pt x="50206" y="823741"/>
                  </a:lnTo>
                  <a:lnTo>
                    <a:pt x="49759" y="822274"/>
                  </a:lnTo>
                  <a:lnTo>
                    <a:pt x="48625" y="822084"/>
                  </a:lnTo>
                  <a:lnTo>
                    <a:pt x="45253" y="822446"/>
                  </a:lnTo>
                  <a:lnTo>
                    <a:pt x="42510" y="822008"/>
                  </a:lnTo>
                  <a:lnTo>
                    <a:pt x="33576" y="816569"/>
                  </a:lnTo>
                  <a:lnTo>
                    <a:pt x="31490" y="813654"/>
                  </a:lnTo>
                  <a:lnTo>
                    <a:pt x="24279" y="808996"/>
                  </a:lnTo>
                  <a:lnTo>
                    <a:pt x="21050" y="804043"/>
                  </a:lnTo>
                  <a:lnTo>
                    <a:pt x="19212" y="798595"/>
                  </a:lnTo>
                  <a:lnTo>
                    <a:pt x="19355" y="793642"/>
                  </a:lnTo>
                  <a:lnTo>
                    <a:pt x="20241" y="785765"/>
                  </a:lnTo>
                  <a:lnTo>
                    <a:pt x="21755" y="783812"/>
                  </a:lnTo>
                  <a:lnTo>
                    <a:pt x="28223" y="786584"/>
                  </a:lnTo>
                  <a:lnTo>
                    <a:pt x="34766" y="791194"/>
                  </a:lnTo>
                  <a:lnTo>
                    <a:pt x="35786" y="790966"/>
                  </a:lnTo>
                  <a:lnTo>
                    <a:pt x="37843" y="787346"/>
                  </a:lnTo>
                  <a:lnTo>
                    <a:pt x="41824" y="784431"/>
                  </a:lnTo>
                  <a:lnTo>
                    <a:pt x="40691" y="783631"/>
                  </a:lnTo>
                  <a:lnTo>
                    <a:pt x="34766" y="786975"/>
                  </a:lnTo>
                  <a:lnTo>
                    <a:pt x="32566" y="785127"/>
                  </a:lnTo>
                  <a:lnTo>
                    <a:pt x="29146" y="781355"/>
                  </a:lnTo>
                  <a:lnTo>
                    <a:pt x="29146" y="779402"/>
                  </a:lnTo>
                  <a:lnTo>
                    <a:pt x="30737" y="777450"/>
                  </a:lnTo>
                  <a:lnTo>
                    <a:pt x="31271" y="774811"/>
                  </a:lnTo>
                  <a:lnTo>
                    <a:pt x="30442" y="772316"/>
                  </a:lnTo>
                  <a:lnTo>
                    <a:pt x="30832" y="768915"/>
                  </a:lnTo>
                  <a:lnTo>
                    <a:pt x="33471" y="765305"/>
                  </a:lnTo>
                  <a:lnTo>
                    <a:pt x="37433" y="761638"/>
                  </a:lnTo>
                  <a:lnTo>
                    <a:pt x="40291" y="758085"/>
                  </a:lnTo>
                  <a:lnTo>
                    <a:pt x="43224" y="755904"/>
                  </a:lnTo>
                  <a:lnTo>
                    <a:pt x="42920" y="755171"/>
                  </a:lnTo>
                  <a:lnTo>
                    <a:pt x="39567" y="756561"/>
                  </a:lnTo>
                  <a:lnTo>
                    <a:pt x="36357" y="758923"/>
                  </a:lnTo>
                  <a:lnTo>
                    <a:pt x="32585" y="762876"/>
                  </a:lnTo>
                  <a:lnTo>
                    <a:pt x="27985" y="766067"/>
                  </a:lnTo>
                  <a:lnTo>
                    <a:pt x="24584" y="767305"/>
                  </a:lnTo>
                  <a:lnTo>
                    <a:pt x="22965" y="768334"/>
                  </a:lnTo>
                  <a:lnTo>
                    <a:pt x="20469" y="769325"/>
                  </a:lnTo>
                  <a:lnTo>
                    <a:pt x="17888" y="773887"/>
                  </a:lnTo>
                  <a:lnTo>
                    <a:pt x="15069" y="775840"/>
                  </a:lnTo>
                  <a:lnTo>
                    <a:pt x="10020" y="776040"/>
                  </a:lnTo>
                  <a:lnTo>
                    <a:pt x="8906" y="772706"/>
                  </a:lnTo>
                  <a:lnTo>
                    <a:pt x="10335" y="760819"/>
                  </a:lnTo>
                  <a:lnTo>
                    <a:pt x="11859" y="754999"/>
                  </a:lnTo>
                  <a:lnTo>
                    <a:pt x="13535" y="750875"/>
                  </a:lnTo>
                  <a:lnTo>
                    <a:pt x="16164" y="750180"/>
                  </a:lnTo>
                  <a:lnTo>
                    <a:pt x="18012" y="747151"/>
                  </a:lnTo>
                  <a:lnTo>
                    <a:pt x="19545" y="747151"/>
                  </a:lnTo>
                  <a:lnTo>
                    <a:pt x="20879" y="748551"/>
                  </a:lnTo>
                  <a:lnTo>
                    <a:pt x="26032" y="749903"/>
                  </a:lnTo>
                  <a:lnTo>
                    <a:pt x="28575" y="746046"/>
                  </a:lnTo>
                  <a:lnTo>
                    <a:pt x="31880" y="745474"/>
                  </a:lnTo>
                  <a:lnTo>
                    <a:pt x="37910" y="741569"/>
                  </a:lnTo>
                  <a:lnTo>
                    <a:pt x="37786" y="740855"/>
                  </a:lnTo>
                  <a:lnTo>
                    <a:pt x="33709" y="741712"/>
                  </a:lnTo>
                  <a:lnTo>
                    <a:pt x="31233" y="741836"/>
                  </a:lnTo>
                  <a:lnTo>
                    <a:pt x="27689" y="742817"/>
                  </a:lnTo>
                  <a:lnTo>
                    <a:pt x="25803" y="742112"/>
                  </a:lnTo>
                  <a:lnTo>
                    <a:pt x="24917" y="739188"/>
                  </a:lnTo>
                  <a:lnTo>
                    <a:pt x="26337" y="736540"/>
                  </a:lnTo>
                  <a:lnTo>
                    <a:pt x="32023" y="730206"/>
                  </a:lnTo>
                  <a:lnTo>
                    <a:pt x="33995" y="727424"/>
                  </a:lnTo>
                  <a:lnTo>
                    <a:pt x="35109" y="724824"/>
                  </a:lnTo>
                  <a:lnTo>
                    <a:pt x="34928" y="723052"/>
                  </a:lnTo>
                  <a:lnTo>
                    <a:pt x="35881" y="719376"/>
                  </a:lnTo>
                  <a:lnTo>
                    <a:pt x="41443" y="712946"/>
                  </a:lnTo>
                  <a:lnTo>
                    <a:pt x="45977" y="709993"/>
                  </a:lnTo>
                  <a:lnTo>
                    <a:pt x="47463" y="712527"/>
                  </a:lnTo>
                  <a:lnTo>
                    <a:pt x="46196" y="720442"/>
                  </a:lnTo>
                  <a:lnTo>
                    <a:pt x="46206" y="723700"/>
                  </a:lnTo>
                  <a:lnTo>
                    <a:pt x="49787" y="712175"/>
                  </a:lnTo>
                  <a:lnTo>
                    <a:pt x="51368" y="709422"/>
                  </a:lnTo>
                  <a:lnTo>
                    <a:pt x="53159" y="707479"/>
                  </a:lnTo>
                  <a:lnTo>
                    <a:pt x="57503" y="706174"/>
                  </a:lnTo>
                  <a:lnTo>
                    <a:pt x="58731" y="704345"/>
                  </a:lnTo>
                  <a:lnTo>
                    <a:pt x="53664" y="704945"/>
                  </a:lnTo>
                  <a:lnTo>
                    <a:pt x="41386" y="709365"/>
                  </a:lnTo>
                  <a:lnTo>
                    <a:pt x="36214" y="713299"/>
                  </a:lnTo>
                  <a:lnTo>
                    <a:pt x="34833" y="716318"/>
                  </a:lnTo>
                  <a:lnTo>
                    <a:pt x="31242" y="720871"/>
                  </a:lnTo>
                  <a:lnTo>
                    <a:pt x="29556" y="723814"/>
                  </a:lnTo>
                  <a:lnTo>
                    <a:pt x="28813" y="728139"/>
                  </a:lnTo>
                  <a:lnTo>
                    <a:pt x="26794" y="730482"/>
                  </a:lnTo>
                  <a:lnTo>
                    <a:pt x="24060" y="731349"/>
                  </a:lnTo>
                  <a:lnTo>
                    <a:pt x="20269" y="736797"/>
                  </a:lnTo>
                  <a:lnTo>
                    <a:pt x="18593" y="741169"/>
                  </a:lnTo>
                  <a:lnTo>
                    <a:pt x="14821" y="744636"/>
                  </a:lnTo>
                  <a:lnTo>
                    <a:pt x="12430" y="747303"/>
                  </a:lnTo>
                  <a:lnTo>
                    <a:pt x="11640" y="748255"/>
                  </a:lnTo>
                  <a:lnTo>
                    <a:pt x="10344" y="750865"/>
                  </a:lnTo>
                  <a:lnTo>
                    <a:pt x="9268" y="751056"/>
                  </a:lnTo>
                  <a:lnTo>
                    <a:pt x="8334" y="749522"/>
                  </a:lnTo>
                  <a:lnTo>
                    <a:pt x="8172" y="746150"/>
                  </a:lnTo>
                  <a:lnTo>
                    <a:pt x="8554" y="740740"/>
                  </a:lnTo>
                  <a:lnTo>
                    <a:pt x="10373" y="736835"/>
                  </a:lnTo>
                  <a:lnTo>
                    <a:pt x="11239" y="733015"/>
                  </a:lnTo>
                  <a:lnTo>
                    <a:pt x="10040" y="729444"/>
                  </a:lnTo>
                  <a:lnTo>
                    <a:pt x="10878" y="727177"/>
                  </a:lnTo>
                  <a:lnTo>
                    <a:pt x="12468" y="727262"/>
                  </a:lnTo>
                  <a:lnTo>
                    <a:pt x="15440" y="728291"/>
                  </a:lnTo>
                  <a:lnTo>
                    <a:pt x="18593" y="728129"/>
                  </a:lnTo>
                  <a:lnTo>
                    <a:pt x="23784" y="725300"/>
                  </a:lnTo>
                  <a:lnTo>
                    <a:pt x="22955" y="723643"/>
                  </a:lnTo>
                  <a:lnTo>
                    <a:pt x="20717" y="723405"/>
                  </a:lnTo>
                  <a:lnTo>
                    <a:pt x="16536" y="723643"/>
                  </a:lnTo>
                  <a:lnTo>
                    <a:pt x="13021" y="720871"/>
                  </a:lnTo>
                  <a:lnTo>
                    <a:pt x="10287" y="715347"/>
                  </a:lnTo>
                  <a:lnTo>
                    <a:pt x="9049" y="707936"/>
                  </a:lnTo>
                  <a:lnTo>
                    <a:pt x="9878" y="705812"/>
                  </a:lnTo>
                  <a:lnTo>
                    <a:pt x="19993" y="698230"/>
                  </a:lnTo>
                  <a:lnTo>
                    <a:pt x="22717" y="694773"/>
                  </a:lnTo>
                  <a:lnTo>
                    <a:pt x="21136" y="694430"/>
                  </a:lnTo>
                  <a:lnTo>
                    <a:pt x="17336" y="698621"/>
                  </a:lnTo>
                  <a:lnTo>
                    <a:pt x="11906" y="701211"/>
                  </a:lnTo>
                  <a:lnTo>
                    <a:pt x="8477" y="697601"/>
                  </a:lnTo>
                  <a:lnTo>
                    <a:pt x="6696" y="693706"/>
                  </a:lnTo>
                  <a:lnTo>
                    <a:pt x="5667" y="685448"/>
                  </a:lnTo>
                  <a:lnTo>
                    <a:pt x="6039" y="681190"/>
                  </a:lnTo>
                  <a:lnTo>
                    <a:pt x="5610" y="675580"/>
                  </a:lnTo>
                  <a:lnTo>
                    <a:pt x="7934" y="673751"/>
                  </a:lnTo>
                  <a:lnTo>
                    <a:pt x="10525" y="674723"/>
                  </a:lnTo>
                  <a:lnTo>
                    <a:pt x="13087" y="675084"/>
                  </a:lnTo>
                  <a:lnTo>
                    <a:pt x="18888" y="674589"/>
                  </a:lnTo>
                  <a:lnTo>
                    <a:pt x="31690" y="671208"/>
                  </a:lnTo>
                  <a:lnTo>
                    <a:pt x="39938" y="673218"/>
                  </a:lnTo>
                  <a:lnTo>
                    <a:pt x="43291" y="673037"/>
                  </a:lnTo>
                  <a:lnTo>
                    <a:pt x="48425" y="670122"/>
                  </a:lnTo>
                  <a:lnTo>
                    <a:pt x="52911" y="669827"/>
                  </a:lnTo>
                  <a:lnTo>
                    <a:pt x="56274" y="672046"/>
                  </a:lnTo>
                  <a:lnTo>
                    <a:pt x="58112" y="674599"/>
                  </a:lnTo>
                  <a:lnTo>
                    <a:pt x="58341" y="677999"/>
                  </a:lnTo>
                  <a:lnTo>
                    <a:pt x="59893" y="680266"/>
                  </a:lnTo>
                  <a:lnTo>
                    <a:pt x="60941" y="679523"/>
                  </a:lnTo>
                  <a:lnTo>
                    <a:pt x="60103" y="676827"/>
                  </a:lnTo>
                  <a:lnTo>
                    <a:pt x="59932" y="672646"/>
                  </a:lnTo>
                  <a:lnTo>
                    <a:pt x="73428" y="667893"/>
                  </a:lnTo>
                  <a:lnTo>
                    <a:pt x="75019" y="666045"/>
                  </a:lnTo>
                  <a:lnTo>
                    <a:pt x="69657" y="665397"/>
                  </a:lnTo>
                  <a:lnTo>
                    <a:pt x="68123" y="661045"/>
                  </a:lnTo>
                  <a:lnTo>
                    <a:pt x="70952" y="654434"/>
                  </a:lnTo>
                  <a:lnTo>
                    <a:pt x="70685" y="653577"/>
                  </a:lnTo>
                  <a:lnTo>
                    <a:pt x="67704" y="657073"/>
                  </a:lnTo>
                  <a:lnTo>
                    <a:pt x="66237" y="661968"/>
                  </a:lnTo>
                  <a:lnTo>
                    <a:pt x="66828" y="665874"/>
                  </a:lnTo>
                  <a:lnTo>
                    <a:pt x="66237" y="667683"/>
                  </a:lnTo>
                  <a:lnTo>
                    <a:pt x="63494" y="668512"/>
                  </a:lnTo>
                  <a:lnTo>
                    <a:pt x="57322" y="668817"/>
                  </a:lnTo>
                  <a:lnTo>
                    <a:pt x="53359" y="667160"/>
                  </a:lnTo>
                  <a:lnTo>
                    <a:pt x="49692" y="666264"/>
                  </a:lnTo>
                  <a:lnTo>
                    <a:pt x="48444" y="665016"/>
                  </a:lnTo>
                  <a:lnTo>
                    <a:pt x="48863" y="662226"/>
                  </a:lnTo>
                  <a:lnTo>
                    <a:pt x="48168" y="661645"/>
                  </a:lnTo>
                  <a:lnTo>
                    <a:pt x="46644" y="664150"/>
                  </a:lnTo>
                  <a:lnTo>
                    <a:pt x="45291" y="669131"/>
                  </a:lnTo>
                  <a:lnTo>
                    <a:pt x="42377" y="670284"/>
                  </a:lnTo>
                  <a:lnTo>
                    <a:pt x="34328" y="668436"/>
                  </a:lnTo>
                  <a:lnTo>
                    <a:pt x="22679" y="669522"/>
                  </a:lnTo>
                  <a:lnTo>
                    <a:pt x="17450" y="672017"/>
                  </a:lnTo>
                  <a:lnTo>
                    <a:pt x="14069" y="671693"/>
                  </a:lnTo>
                  <a:lnTo>
                    <a:pt x="8239" y="667312"/>
                  </a:lnTo>
                  <a:lnTo>
                    <a:pt x="5972" y="663816"/>
                  </a:lnTo>
                  <a:lnTo>
                    <a:pt x="5124" y="656749"/>
                  </a:lnTo>
                  <a:lnTo>
                    <a:pt x="5467" y="653634"/>
                  </a:lnTo>
                  <a:lnTo>
                    <a:pt x="10001" y="652320"/>
                  </a:lnTo>
                  <a:lnTo>
                    <a:pt x="12297" y="652405"/>
                  </a:lnTo>
                  <a:lnTo>
                    <a:pt x="14449" y="650729"/>
                  </a:lnTo>
                  <a:lnTo>
                    <a:pt x="12545" y="649634"/>
                  </a:lnTo>
                  <a:lnTo>
                    <a:pt x="9868" y="647481"/>
                  </a:lnTo>
                  <a:lnTo>
                    <a:pt x="8049" y="643176"/>
                  </a:lnTo>
                  <a:lnTo>
                    <a:pt x="5296" y="641766"/>
                  </a:lnTo>
                  <a:lnTo>
                    <a:pt x="3458" y="638080"/>
                  </a:lnTo>
                  <a:lnTo>
                    <a:pt x="2991" y="632508"/>
                  </a:lnTo>
                  <a:lnTo>
                    <a:pt x="3515" y="628621"/>
                  </a:lnTo>
                  <a:lnTo>
                    <a:pt x="4982" y="627374"/>
                  </a:lnTo>
                  <a:lnTo>
                    <a:pt x="8515" y="628221"/>
                  </a:lnTo>
                  <a:lnTo>
                    <a:pt x="17831" y="627564"/>
                  </a:lnTo>
                  <a:lnTo>
                    <a:pt x="26594" y="631527"/>
                  </a:lnTo>
                  <a:lnTo>
                    <a:pt x="32547" y="633755"/>
                  </a:lnTo>
                  <a:lnTo>
                    <a:pt x="44596" y="632631"/>
                  </a:lnTo>
                  <a:lnTo>
                    <a:pt x="51654" y="629098"/>
                  </a:lnTo>
                  <a:lnTo>
                    <a:pt x="50359" y="628126"/>
                  </a:lnTo>
                  <a:lnTo>
                    <a:pt x="42701" y="630164"/>
                  </a:lnTo>
                  <a:lnTo>
                    <a:pt x="35624" y="630079"/>
                  </a:lnTo>
                  <a:lnTo>
                    <a:pt x="23146" y="626088"/>
                  </a:lnTo>
                  <a:lnTo>
                    <a:pt x="18031" y="624802"/>
                  </a:lnTo>
                  <a:lnTo>
                    <a:pt x="12516" y="625373"/>
                  </a:lnTo>
                  <a:lnTo>
                    <a:pt x="9649" y="624164"/>
                  </a:lnTo>
                  <a:lnTo>
                    <a:pt x="7963" y="620201"/>
                  </a:lnTo>
                  <a:lnTo>
                    <a:pt x="9211" y="612600"/>
                  </a:lnTo>
                  <a:lnTo>
                    <a:pt x="11820" y="610962"/>
                  </a:lnTo>
                  <a:lnTo>
                    <a:pt x="13230" y="612943"/>
                  </a:lnTo>
                  <a:lnTo>
                    <a:pt x="14935" y="613067"/>
                  </a:lnTo>
                  <a:lnTo>
                    <a:pt x="16669" y="609886"/>
                  </a:lnTo>
                  <a:lnTo>
                    <a:pt x="18317" y="608067"/>
                  </a:lnTo>
                  <a:lnTo>
                    <a:pt x="19631" y="603952"/>
                  </a:lnTo>
                  <a:lnTo>
                    <a:pt x="24575" y="600037"/>
                  </a:lnTo>
                  <a:lnTo>
                    <a:pt x="26661" y="599704"/>
                  </a:lnTo>
                  <a:lnTo>
                    <a:pt x="29651" y="597903"/>
                  </a:lnTo>
                  <a:lnTo>
                    <a:pt x="31566" y="598418"/>
                  </a:lnTo>
                  <a:lnTo>
                    <a:pt x="32785" y="600227"/>
                  </a:lnTo>
                  <a:lnTo>
                    <a:pt x="34338" y="601723"/>
                  </a:lnTo>
                  <a:lnTo>
                    <a:pt x="37690" y="601542"/>
                  </a:lnTo>
                  <a:lnTo>
                    <a:pt x="47615" y="598399"/>
                  </a:lnTo>
                  <a:lnTo>
                    <a:pt x="48682" y="597475"/>
                  </a:lnTo>
                  <a:lnTo>
                    <a:pt x="50616" y="594893"/>
                  </a:lnTo>
                  <a:lnTo>
                    <a:pt x="44330" y="596046"/>
                  </a:lnTo>
                  <a:lnTo>
                    <a:pt x="39110" y="597875"/>
                  </a:lnTo>
                  <a:lnTo>
                    <a:pt x="35748" y="598389"/>
                  </a:lnTo>
                  <a:lnTo>
                    <a:pt x="35271" y="596094"/>
                  </a:lnTo>
                  <a:lnTo>
                    <a:pt x="36509" y="594065"/>
                  </a:lnTo>
                  <a:lnTo>
                    <a:pt x="38453" y="591893"/>
                  </a:lnTo>
                  <a:lnTo>
                    <a:pt x="39396" y="588188"/>
                  </a:lnTo>
                  <a:lnTo>
                    <a:pt x="41539" y="586607"/>
                  </a:lnTo>
                  <a:lnTo>
                    <a:pt x="43853" y="586692"/>
                  </a:lnTo>
                  <a:lnTo>
                    <a:pt x="48635" y="586016"/>
                  </a:lnTo>
                  <a:lnTo>
                    <a:pt x="52007" y="585054"/>
                  </a:lnTo>
                  <a:lnTo>
                    <a:pt x="57788" y="585692"/>
                  </a:lnTo>
                  <a:lnTo>
                    <a:pt x="66418" y="587111"/>
                  </a:lnTo>
                  <a:lnTo>
                    <a:pt x="71971" y="590559"/>
                  </a:lnTo>
                  <a:lnTo>
                    <a:pt x="74066" y="590245"/>
                  </a:lnTo>
                  <a:lnTo>
                    <a:pt x="76286" y="589331"/>
                  </a:lnTo>
                  <a:lnTo>
                    <a:pt x="77296" y="588083"/>
                  </a:lnTo>
                  <a:lnTo>
                    <a:pt x="72933" y="586654"/>
                  </a:lnTo>
                  <a:lnTo>
                    <a:pt x="72685" y="584606"/>
                  </a:lnTo>
                  <a:lnTo>
                    <a:pt x="73228" y="583063"/>
                  </a:lnTo>
                  <a:lnTo>
                    <a:pt x="80353" y="580215"/>
                  </a:lnTo>
                  <a:lnTo>
                    <a:pt x="88125" y="579587"/>
                  </a:lnTo>
                  <a:lnTo>
                    <a:pt x="86792" y="577291"/>
                  </a:lnTo>
                  <a:lnTo>
                    <a:pt x="69761" y="580758"/>
                  </a:lnTo>
                  <a:lnTo>
                    <a:pt x="65313" y="578387"/>
                  </a:lnTo>
                  <a:lnTo>
                    <a:pt x="61798" y="578406"/>
                  </a:lnTo>
                  <a:lnTo>
                    <a:pt x="59503" y="579758"/>
                  </a:lnTo>
                  <a:lnTo>
                    <a:pt x="52950" y="581397"/>
                  </a:lnTo>
                  <a:lnTo>
                    <a:pt x="51749" y="580234"/>
                  </a:lnTo>
                  <a:lnTo>
                    <a:pt x="52997" y="576215"/>
                  </a:lnTo>
                  <a:lnTo>
                    <a:pt x="56922" y="569605"/>
                  </a:lnTo>
                  <a:lnTo>
                    <a:pt x="57245" y="567985"/>
                  </a:lnTo>
                  <a:lnTo>
                    <a:pt x="59065" y="566385"/>
                  </a:lnTo>
                  <a:lnTo>
                    <a:pt x="69237" y="562527"/>
                  </a:lnTo>
                  <a:lnTo>
                    <a:pt x="74124" y="558032"/>
                  </a:lnTo>
                  <a:lnTo>
                    <a:pt x="76324" y="557460"/>
                  </a:lnTo>
                  <a:lnTo>
                    <a:pt x="78505" y="557775"/>
                  </a:lnTo>
                  <a:lnTo>
                    <a:pt x="81829" y="557251"/>
                  </a:lnTo>
                  <a:lnTo>
                    <a:pt x="88249" y="558536"/>
                  </a:lnTo>
                  <a:lnTo>
                    <a:pt x="91212" y="564156"/>
                  </a:lnTo>
                  <a:lnTo>
                    <a:pt x="93869" y="565918"/>
                  </a:lnTo>
                  <a:lnTo>
                    <a:pt x="102222" y="572910"/>
                  </a:lnTo>
                  <a:lnTo>
                    <a:pt x="101851" y="570910"/>
                  </a:lnTo>
                  <a:lnTo>
                    <a:pt x="94612" y="561413"/>
                  </a:lnTo>
                  <a:lnTo>
                    <a:pt x="91850" y="559051"/>
                  </a:lnTo>
                  <a:lnTo>
                    <a:pt x="89783" y="554365"/>
                  </a:lnTo>
                  <a:lnTo>
                    <a:pt x="90488" y="549926"/>
                  </a:lnTo>
                  <a:lnTo>
                    <a:pt x="92812" y="546954"/>
                  </a:lnTo>
                  <a:lnTo>
                    <a:pt x="101070" y="545363"/>
                  </a:lnTo>
                  <a:lnTo>
                    <a:pt x="102546" y="543639"/>
                  </a:lnTo>
                  <a:lnTo>
                    <a:pt x="102699" y="540677"/>
                  </a:lnTo>
                  <a:lnTo>
                    <a:pt x="101432" y="538648"/>
                  </a:lnTo>
                  <a:lnTo>
                    <a:pt x="98393" y="538763"/>
                  </a:lnTo>
                  <a:lnTo>
                    <a:pt x="95888" y="537505"/>
                  </a:lnTo>
                  <a:lnTo>
                    <a:pt x="95202" y="534305"/>
                  </a:lnTo>
                  <a:lnTo>
                    <a:pt x="96203" y="532133"/>
                  </a:lnTo>
                  <a:lnTo>
                    <a:pt x="100965" y="528161"/>
                  </a:lnTo>
                  <a:lnTo>
                    <a:pt x="103565" y="526875"/>
                  </a:lnTo>
                  <a:lnTo>
                    <a:pt x="108080" y="525485"/>
                  </a:lnTo>
                  <a:lnTo>
                    <a:pt x="115919" y="528628"/>
                  </a:lnTo>
                  <a:lnTo>
                    <a:pt x="116519" y="530266"/>
                  </a:lnTo>
                  <a:lnTo>
                    <a:pt x="114319" y="534210"/>
                  </a:lnTo>
                  <a:lnTo>
                    <a:pt x="114538" y="536419"/>
                  </a:lnTo>
                  <a:lnTo>
                    <a:pt x="116462" y="536658"/>
                  </a:lnTo>
                  <a:lnTo>
                    <a:pt x="120939" y="530009"/>
                  </a:lnTo>
                  <a:lnTo>
                    <a:pt x="126206" y="529085"/>
                  </a:lnTo>
                  <a:lnTo>
                    <a:pt x="128388" y="527656"/>
                  </a:lnTo>
                  <a:lnTo>
                    <a:pt x="130921" y="526752"/>
                  </a:lnTo>
                  <a:lnTo>
                    <a:pt x="134531" y="532771"/>
                  </a:lnTo>
                  <a:lnTo>
                    <a:pt x="136122" y="534695"/>
                  </a:lnTo>
                  <a:lnTo>
                    <a:pt x="137313" y="535486"/>
                  </a:lnTo>
                  <a:lnTo>
                    <a:pt x="138465" y="540477"/>
                  </a:lnTo>
                  <a:lnTo>
                    <a:pt x="139580" y="540744"/>
                  </a:lnTo>
                  <a:lnTo>
                    <a:pt x="141170" y="538248"/>
                  </a:lnTo>
                  <a:lnTo>
                    <a:pt x="144056" y="536924"/>
                  </a:lnTo>
                  <a:lnTo>
                    <a:pt x="148104" y="536057"/>
                  </a:lnTo>
                  <a:lnTo>
                    <a:pt x="154810" y="537381"/>
                  </a:lnTo>
                  <a:lnTo>
                    <a:pt x="157849" y="536400"/>
                  </a:lnTo>
                  <a:lnTo>
                    <a:pt x="159334" y="536543"/>
                  </a:lnTo>
                  <a:lnTo>
                    <a:pt x="157905" y="532057"/>
                  </a:lnTo>
                  <a:lnTo>
                    <a:pt x="157020" y="530752"/>
                  </a:lnTo>
                  <a:lnTo>
                    <a:pt x="158401" y="526733"/>
                  </a:lnTo>
                  <a:lnTo>
                    <a:pt x="159839" y="525161"/>
                  </a:lnTo>
                  <a:lnTo>
                    <a:pt x="164468" y="522332"/>
                  </a:lnTo>
                  <a:lnTo>
                    <a:pt x="168888" y="521065"/>
                  </a:lnTo>
                  <a:lnTo>
                    <a:pt x="171774" y="518379"/>
                  </a:lnTo>
                  <a:lnTo>
                    <a:pt x="175651" y="515893"/>
                  </a:lnTo>
                  <a:lnTo>
                    <a:pt x="175041" y="513912"/>
                  </a:lnTo>
                  <a:lnTo>
                    <a:pt x="173965" y="511607"/>
                  </a:lnTo>
                  <a:lnTo>
                    <a:pt x="171450" y="511464"/>
                  </a:lnTo>
                  <a:lnTo>
                    <a:pt x="170431" y="510207"/>
                  </a:lnTo>
                  <a:lnTo>
                    <a:pt x="173612" y="507216"/>
                  </a:lnTo>
                  <a:lnTo>
                    <a:pt x="177975" y="503882"/>
                  </a:lnTo>
                  <a:lnTo>
                    <a:pt x="177213" y="502568"/>
                  </a:lnTo>
                  <a:lnTo>
                    <a:pt x="173936" y="501082"/>
                  </a:lnTo>
                  <a:lnTo>
                    <a:pt x="171450" y="502196"/>
                  </a:lnTo>
                  <a:lnTo>
                    <a:pt x="167754" y="504777"/>
                  </a:lnTo>
                  <a:lnTo>
                    <a:pt x="163449" y="508854"/>
                  </a:lnTo>
                  <a:lnTo>
                    <a:pt x="164849" y="510045"/>
                  </a:lnTo>
                  <a:lnTo>
                    <a:pt x="167002" y="513464"/>
                  </a:lnTo>
                  <a:lnTo>
                    <a:pt x="164002" y="517998"/>
                  </a:lnTo>
                  <a:lnTo>
                    <a:pt x="148076" y="529990"/>
                  </a:lnTo>
                  <a:lnTo>
                    <a:pt x="140484" y="533486"/>
                  </a:lnTo>
                  <a:lnTo>
                    <a:pt x="136979" y="532943"/>
                  </a:lnTo>
                  <a:lnTo>
                    <a:pt x="136141" y="529676"/>
                  </a:lnTo>
                  <a:lnTo>
                    <a:pt x="134531" y="527266"/>
                  </a:lnTo>
                  <a:lnTo>
                    <a:pt x="132798" y="522265"/>
                  </a:lnTo>
                  <a:lnTo>
                    <a:pt x="129845" y="522399"/>
                  </a:lnTo>
                  <a:lnTo>
                    <a:pt x="128168" y="523504"/>
                  </a:lnTo>
                  <a:lnTo>
                    <a:pt x="127445" y="521865"/>
                  </a:lnTo>
                  <a:lnTo>
                    <a:pt x="128711" y="516512"/>
                  </a:lnTo>
                  <a:lnTo>
                    <a:pt x="131207" y="512274"/>
                  </a:lnTo>
                  <a:lnTo>
                    <a:pt x="135389" y="509064"/>
                  </a:lnTo>
                  <a:lnTo>
                    <a:pt x="137398" y="505177"/>
                  </a:lnTo>
                  <a:lnTo>
                    <a:pt x="139284" y="498996"/>
                  </a:lnTo>
                  <a:lnTo>
                    <a:pt x="145332" y="493090"/>
                  </a:lnTo>
                  <a:lnTo>
                    <a:pt x="154134" y="478403"/>
                  </a:lnTo>
                  <a:lnTo>
                    <a:pt x="161306" y="473688"/>
                  </a:lnTo>
                  <a:lnTo>
                    <a:pt x="163935" y="468516"/>
                  </a:lnTo>
                  <a:lnTo>
                    <a:pt x="168164" y="466230"/>
                  </a:lnTo>
                  <a:lnTo>
                    <a:pt x="171774" y="462182"/>
                  </a:lnTo>
                  <a:lnTo>
                    <a:pt x="174603" y="461782"/>
                  </a:lnTo>
                  <a:lnTo>
                    <a:pt x="179746" y="458124"/>
                  </a:lnTo>
                  <a:lnTo>
                    <a:pt x="182661" y="453761"/>
                  </a:lnTo>
                  <a:lnTo>
                    <a:pt x="180756" y="453495"/>
                  </a:lnTo>
                  <a:lnTo>
                    <a:pt x="176232" y="456324"/>
                  </a:lnTo>
                  <a:lnTo>
                    <a:pt x="173669" y="457467"/>
                  </a:lnTo>
                  <a:lnTo>
                    <a:pt x="173850" y="452790"/>
                  </a:lnTo>
                  <a:lnTo>
                    <a:pt x="175089" y="447980"/>
                  </a:lnTo>
                  <a:lnTo>
                    <a:pt x="178813" y="443570"/>
                  </a:lnTo>
                  <a:lnTo>
                    <a:pt x="196730" y="430701"/>
                  </a:lnTo>
                  <a:lnTo>
                    <a:pt x="198520" y="432835"/>
                  </a:lnTo>
                  <a:lnTo>
                    <a:pt x="200663" y="436607"/>
                  </a:lnTo>
                  <a:lnTo>
                    <a:pt x="206054" y="435759"/>
                  </a:lnTo>
                  <a:lnTo>
                    <a:pt x="212208" y="428454"/>
                  </a:lnTo>
                  <a:lnTo>
                    <a:pt x="216941" y="420481"/>
                  </a:lnTo>
                  <a:lnTo>
                    <a:pt x="214379" y="421872"/>
                  </a:lnTo>
                  <a:lnTo>
                    <a:pt x="211589" y="425139"/>
                  </a:lnTo>
                  <a:lnTo>
                    <a:pt x="206150" y="429663"/>
                  </a:lnTo>
                  <a:lnTo>
                    <a:pt x="203635" y="430378"/>
                  </a:lnTo>
                  <a:lnTo>
                    <a:pt x="202197" y="429787"/>
                  </a:lnTo>
                  <a:lnTo>
                    <a:pt x="201397" y="426768"/>
                  </a:lnTo>
                  <a:lnTo>
                    <a:pt x="199511" y="425787"/>
                  </a:lnTo>
                  <a:lnTo>
                    <a:pt x="197806" y="426463"/>
                  </a:lnTo>
                  <a:lnTo>
                    <a:pt x="196044" y="424310"/>
                  </a:lnTo>
                  <a:lnTo>
                    <a:pt x="195729" y="418986"/>
                  </a:lnTo>
                  <a:lnTo>
                    <a:pt x="197977" y="411032"/>
                  </a:lnTo>
                  <a:lnTo>
                    <a:pt x="199758" y="405755"/>
                  </a:lnTo>
                  <a:lnTo>
                    <a:pt x="201682" y="401745"/>
                  </a:lnTo>
                  <a:lnTo>
                    <a:pt x="209245" y="390315"/>
                  </a:lnTo>
                  <a:lnTo>
                    <a:pt x="210874" y="384048"/>
                  </a:lnTo>
                  <a:lnTo>
                    <a:pt x="214294" y="380733"/>
                  </a:lnTo>
                  <a:lnTo>
                    <a:pt x="218732" y="381467"/>
                  </a:lnTo>
                  <a:lnTo>
                    <a:pt x="220075" y="380505"/>
                  </a:lnTo>
                  <a:lnTo>
                    <a:pt x="218551" y="376371"/>
                  </a:lnTo>
                  <a:lnTo>
                    <a:pt x="213713" y="373094"/>
                  </a:lnTo>
                  <a:lnTo>
                    <a:pt x="213417" y="371027"/>
                  </a:lnTo>
                  <a:lnTo>
                    <a:pt x="229543" y="365589"/>
                  </a:lnTo>
                  <a:lnTo>
                    <a:pt x="237220" y="365770"/>
                  </a:lnTo>
                  <a:lnTo>
                    <a:pt x="239496" y="363055"/>
                  </a:lnTo>
                  <a:lnTo>
                    <a:pt x="243669" y="361302"/>
                  </a:lnTo>
                  <a:lnTo>
                    <a:pt x="246831" y="357969"/>
                  </a:lnTo>
                  <a:lnTo>
                    <a:pt x="245202" y="356492"/>
                  </a:lnTo>
                  <a:lnTo>
                    <a:pt x="237401" y="359559"/>
                  </a:lnTo>
                  <a:lnTo>
                    <a:pt x="232524" y="360997"/>
                  </a:lnTo>
                  <a:lnTo>
                    <a:pt x="230324" y="360950"/>
                  </a:lnTo>
                  <a:lnTo>
                    <a:pt x="228600" y="361998"/>
                  </a:lnTo>
                  <a:lnTo>
                    <a:pt x="222371" y="362398"/>
                  </a:lnTo>
                  <a:lnTo>
                    <a:pt x="221009" y="349091"/>
                  </a:lnTo>
                  <a:lnTo>
                    <a:pt x="221990" y="341824"/>
                  </a:lnTo>
                  <a:lnTo>
                    <a:pt x="224314" y="341976"/>
                  </a:lnTo>
                  <a:lnTo>
                    <a:pt x="224847" y="335013"/>
                  </a:lnTo>
                  <a:lnTo>
                    <a:pt x="227533" y="330889"/>
                  </a:lnTo>
                  <a:lnTo>
                    <a:pt x="231238" y="329965"/>
                  </a:lnTo>
                  <a:lnTo>
                    <a:pt x="233106" y="328203"/>
                  </a:lnTo>
                  <a:lnTo>
                    <a:pt x="235801" y="324602"/>
                  </a:lnTo>
                  <a:lnTo>
                    <a:pt x="240259" y="325431"/>
                  </a:lnTo>
                  <a:lnTo>
                    <a:pt x="244840" y="324631"/>
                  </a:lnTo>
                  <a:lnTo>
                    <a:pt x="243697" y="322926"/>
                  </a:lnTo>
                  <a:lnTo>
                    <a:pt x="238011" y="320735"/>
                  </a:lnTo>
                  <a:lnTo>
                    <a:pt x="236611" y="316963"/>
                  </a:lnTo>
                  <a:lnTo>
                    <a:pt x="238611" y="314849"/>
                  </a:lnTo>
                  <a:lnTo>
                    <a:pt x="240792" y="313296"/>
                  </a:lnTo>
                  <a:lnTo>
                    <a:pt x="242716" y="313020"/>
                  </a:lnTo>
                  <a:lnTo>
                    <a:pt x="246516" y="305619"/>
                  </a:lnTo>
                  <a:lnTo>
                    <a:pt x="248831" y="302447"/>
                  </a:lnTo>
                  <a:lnTo>
                    <a:pt x="251413" y="303000"/>
                  </a:lnTo>
                  <a:lnTo>
                    <a:pt x="255013" y="299723"/>
                  </a:lnTo>
                  <a:lnTo>
                    <a:pt x="258556" y="300838"/>
                  </a:lnTo>
                  <a:lnTo>
                    <a:pt x="261976" y="298694"/>
                  </a:lnTo>
                  <a:lnTo>
                    <a:pt x="266652" y="297275"/>
                  </a:lnTo>
                  <a:lnTo>
                    <a:pt x="283769" y="296732"/>
                  </a:lnTo>
                  <a:lnTo>
                    <a:pt x="284274" y="293675"/>
                  </a:lnTo>
                  <a:lnTo>
                    <a:pt x="280673" y="292970"/>
                  </a:lnTo>
                  <a:lnTo>
                    <a:pt x="267957" y="292179"/>
                  </a:lnTo>
                  <a:lnTo>
                    <a:pt x="261461" y="292246"/>
                  </a:lnTo>
                  <a:lnTo>
                    <a:pt x="258728" y="293037"/>
                  </a:lnTo>
                  <a:lnTo>
                    <a:pt x="257727" y="291970"/>
                  </a:lnTo>
                  <a:lnTo>
                    <a:pt x="257909" y="290141"/>
                  </a:lnTo>
                  <a:lnTo>
                    <a:pt x="260271" y="287236"/>
                  </a:lnTo>
                  <a:lnTo>
                    <a:pt x="261385" y="284026"/>
                  </a:lnTo>
                  <a:lnTo>
                    <a:pt x="266109" y="276158"/>
                  </a:lnTo>
                  <a:lnTo>
                    <a:pt x="271643" y="270900"/>
                  </a:lnTo>
                  <a:lnTo>
                    <a:pt x="275882" y="272244"/>
                  </a:lnTo>
                  <a:lnTo>
                    <a:pt x="280388" y="277263"/>
                  </a:lnTo>
                  <a:lnTo>
                    <a:pt x="283597" y="277892"/>
                  </a:lnTo>
                  <a:lnTo>
                    <a:pt x="285093" y="279511"/>
                  </a:lnTo>
                  <a:lnTo>
                    <a:pt x="287436" y="286407"/>
                  </a:lnTo>
                  <a:lnTo>
                    <a:pt x="288550" y="286626"/>
                  </a:lnTo>
                  <a:lnTo>
                    <a:pt x="288046" y="280006"/>
                  </a:lnTo>
                  <a:lnTo>
                    <a:pt x="291141" y="274596"/>
                  </a:lnTo>
                  <a:lnTo>
                    <a:pt x="290341" y="273101"/>
                  </a:lnTo>
                  <a:lnTo>
                    <a:pt x="285693" y="275063"/>
                  </a:lnTo>
                  <a:lnTo>
                    <a:pt x="282130" y="273025"/>
                  </a:lnTo>
                  <a:lnTo>
                    <a:pt x="279321" y="268948"/>
                  </a:lnTo>
                  <a:lnTo>
                    <a:pt x="278521" y="265214"/>
                  </a:lnTo>
                  <a:lnTo>
                    <a:pt x="280273" y="261518"/>
                  </a:lnTo>
                  <a:lnTo>
                    <a:pt x="281921" y="259651"/>
                  </a:lnTo>
                  <a:lnTo>
                    <a:pt x="280807" y="257470"/>
                  </a:lnTo>
                  <a:lnTo>
                    <a:pt x="273777" y="263290"/>
                  </a:lnTo>
                  <a:lnTo>
                    <a:pt x="268805" y="264652"/>
                  </a:lnTo>
                  <a:lnTo>
                    <a:pt x="266843" y="263842"/>
                  </a:lnTo>
                  <a:lnTo>
                    <a:pt x="267901" y="258566"/>
                  </a:lnTo>
                  <a:lnTo>
                    <a:pt x="267310" y="254365"/>
                  </a:lnTo>
                  <a:lnTo>
                    <a:pt x="273977" y="243983"/>
                  </a:lnTo>
                  <a:lnTo>
                    <a:pt x="276273" y="242783"/>
                  </a:lnTo>
                  <a:lnTo>
                    <a:pt x="280016" y="243621"/>
                  </a:lnTo>
                  <a:lnTo>
                    <a:pt x="283397" y="246555"/>
                  </a:lnTo>
                  <a:lnTo>
                    <a:pt x="286226" y="246088"/>
                  </a:lnTo>
                  <a:lnTo>
                    <a:pt x="289293" y="244516"/>
                  </a:lnTo>
                  <a:lnTo>
                    <a:pt x="288874" y="241697"/>
                  </a:lnTo>
                  <a:lnTo>
                    <a:pt x="282226" y="240573"/>
                  </a:lnTo>
                  <a:lnTo>
                    <a:pt x="280511" y="238230"/>
                  </a:lnTo>
                  <a:lnTo>
                    <a:pt x="281131" y="235915"/>
                  </a:lnTo>
                  <a:lnTo>
                    <a:pt x="285693" y="233477"/>
                  </a:lnTo>
                  <a:lnTo>
                    <a:pt x="290236" y="229067"/>
                  </a:lnTo>
                  <a:lnTo>
                    <a:pt x="295437" y="227781"/>
                  </a:lnTo>
                  <a:lnTo>
                    <a:pt x="299618" y="224438"/>
                  </a:lnTo>
                  <a:lnTo>
                    <a:pt x="300428" y="225200"/>
                  </a:lnTo>
                  <a:lnTo>
                    <a:pt x="301133" y="226514"/>
                  </a:lnTo>
                  <a:lnTo>
                    <a:pt x="302638" y="238877"/>
                  </a:lnTo>
                  <a:lnTo>
                    <a:pt x="306381" y="248898"/>
                  </a:lnTo>
                  <a:lnTo>
                    <a:pt x="307763" y="249260"/>
                  </a:lnTo>
                  <a:lnTo>
                    <a:pt x="306324" y="240744"/>
                  </a:lnTo>
                  <a:lnTo>
                    <a:pt x="307667" y="238287"/>
                  </a:lnTo>
                  <a:lnTo>
                    <a:pt x="309363" y="236420"/>
                  </a:lnTo>
                  <a:lnTo>
                    <a:pt x="309896" y="234286"/>
                  </a:lnTo>
                  <a:lnTo>
                    <a:pt x="307953" y="233562"/>
                  </a:lnTo>
                  <a:lnTo>
                    <a:pt x="306362" y="230496"/>
                  </a:lnTo>
                  <a:lnTo>
                    <a:pt x="304095" y="220656"/>
                  </a:lnTo>
                  <a:lnTo>
                    <a:pt x="304876" y="218084"/>
                  </a:lnTo>
                  <a:lnTo>
                    <a:pt x="309801" y="212808"/>
                  </a:lnTo>
                  <a:lnTo>
                    <a:pt x="315973" y="211598"/>
                  </a:lnTo>
                  <a:lnTo>
                    <a:pt x="322545" y="215294"/>
                  </a:lnTo>
                  <a:lnTo>
                    <a:pt x="324860" y="215332"/>
                  </a:lnTo>
                  <a:lnTo>
                    <a:pt x="328669" y="214341"/>
                  </a:lnTo>
                  <a:lnTo>
                    <a:pt x="335137" y="211293"/>
                  </a:lnTo>
                  <a:lnTo>
                    <a:pt x="338947" y="210131"/>
                  </a:lnTo>
                  <a:lnTo>
                    <a:pt x="340929" y="210131"/>
                  </a:lnTo>
                  <a:lnTo>
                    <a:pt x="341414" y="208588"/>
                  </a:lnTo>
                  <a:lnTo>
                    <a:pt x="339576" y="207597"/>
                  </a:lnTo>
                  <a:lnTo>
                    <a:pt x="338985" y="206635"/>
                  </a:lnTo>
                  <a:lnTo>
                    <a:pt x="337547" y="206083"/>
                  </a:lnTo>
                  <a:lnTo>
                    <a:pt x="331565" y="207731"/>
                  </a:lnTo>
                  <a:lnTo>
                    <a:pt x="315059" y="207207"/>
                  </a:lnTo>
                  <a:lnTo>
                    <a:pt x="313468" y="205445"/>
                  </a:lnTo>
                  <a:lnTo>
                    <a:pt x="313173" y="202387"/>
                  </a:lnTo>
                  <a:lnTo>
                    <a:pt x="314925" y="198006"/>
                  </a:lnTo>
                  <a:lnTo>
                    <a:pt x="316849" y="195577"/>
                  </a:lnTo>
                  <a:lnTo>
                    <a:pt x="323079" y="191205"/>
                  </a:lnTo>
                  <a:lnTo>
                    <a:pt x="329660" y="190614"/>
                  </a:lnTo>
                  <a:lnTo>
                    <a:pt x="336604" y="182813"/>
                  </a:lnTo>
                  <a:lnTo>
                    <a:pt x="339252" y="176946"/>
                  </a:lnTo>
                  <a:lnTo>
                    <a:pt x="340757" y="167850"/>
                  </a:lnTo>
                  <a:lnTo>
                    <a:pt x="344986" y="160458"/>
                  </a:lnTo>
                  <a:lnTo>
                    <a:pt x="355597" y="156239"/>
                  </a:lnTo>
                  <a:lnTo>
                    <a:pt x="356025" y="154372"/>
                  </a:lnTo>
                  <a:lnTo>
                    <a:pt x="354902" y="150495"/>
                  </a:lnTo>
                  <a:lnTo>
                    <a:pt x="354997" y="143504"/>
                  </a:lnTo>
                  <a:lnTo>
                    <a:pt x="357902" y="135322"/>
                  </a:lnTo>
                  <a:lnTo>
                    <a:pt x="359836" y="132474"/>
                  </a:lnTo>
                  <a:lnTo>
                    <a:pt x="360731" y="132131"/>
                  </a:lnTo>
                  <a:lnTo>
                    <a:pt x="363017" y="134817"/>
                  </a:lnTo>
                  <a:lnTo>
                    <a:pt x="365798" y="140513"/>
                  </a:lnTo>
                  <a:lnTo>
                    <a:pt x="370151" y="143770"/>
                  </a:lnTo>
                  <a:lnTo>
                    <a:pt x="375857" y="144332"/>
                  </a:lnTo>
                  <a:lnTo>
                    <a:pt x="377380" y="142732"/>
                  </a:lnTo>
                  <a:lnTo>
                    <a:pt x="372952" y="139494"/>
                  </a:lnTo>
                  <a:lnTo>
                    <a:pt x="369589" y="135246"/>
                  </a:lnTo>
                  <a:lnTo>
                    <a:pt x="369322" y="130969"/>
                  </a:lnTo>
                  <a:lnTo>
                    <a:pt x="370913" y="128702"/>
                  </a:lnTo>
                  <a:lnTo>
                    <a:pt x="373389" y="128949"/>
                  </a:lnTo>
                  <a:lnTo>
                    <a:pt x="376494" y="128473"/>
                  </a:lnTo>
                  <a:lnTo>
                    <a:pt x="379390" y="125587"/>
                  </a:lnTo>
                  <a:lnTo>
                    <a:pt x="379809" y="123558"/>
                  </a:lnTo>
                  <a:lnTo>
                    <a:pt x="379933" y="120796"/>
                  </a:lnTo>
                  <a:lnTo>
                    <a:pt x="380657" y="117986"/>
                  </a:lnTo>
                  <a:lnTo>
                    <a:pt x="384906" y="111252"/>
                  </a:lnTo>
                  <a:lnTo>
                    <a:pt x="397993" y="106861"/>
                  </a:lnTo>
                  <a:lnTo>
                    <a:pt x="398945" y="108652"/>
                  </a:lnTo>
                  <a:lnTo>
                    <a:pt x="398240" y="121634"/>
                  </a:lnTo>
                  <a:lnTo>
                    <a:pt x="396735" y="129978"/>
                  </a:lnTo>
                  <a:lnTo>
                    <a:pt x="396783" y="136055"/>
                  </a:lnTo>
                  <a:lnTo>
                    <a:pt x="399336" y="129978"/>
                  </a:lnTo>
                  <a:lnTo>
                    <a:pt x="402746" y="113243"/>
                  </a:lnTo>
                  <a:lnTo>
                    <a:pt x="405317" y="105318"/>
                  </a:lnTo>
                  <a:lnTo>
                    <a:pt x="408213" y="100755"/>
                  </a:lnTo>
                  <a:lnTo>
                    <a:pt x="410280" y="99727"/>
                  </a:lnTo>
                  <a:lnTo>
                    <a:pt x="412328" y="97355"/>
                  </a:lnTo>
                  <a:lnTo>
                    <a:pt x="415033" y="95945"/>
                  </a:lnTo>
                  <a:lnTo>
                    <a:pt x="415862" y="97765"/>
                  </a:lnTo>
                  <a:lnTo>
                    <a:pt x="416719" y="101984"/>
                  </a:lnTo>
                  <a:lnTo>
                    <a:pt x="415261" y="116710"/>
                  </a:lnTo>
                  <a:lnTo>
                    <a:pt x="415404" y="121339"/>
                  </a:lnTo>
                  <a:lnTo>
                    <a:pt x="413775" y="127521"/>
                  </a:lnTo>
                  <a:lnTo>
                    <a:pt x="407537" y="141227"/>
                  </a:lnTo>
                  <a:lnTo>
                    <a:pt x="407822" y="142970"/>
                  </a:lnTo>
                  <a:lnTo>
                    <a:pt x="409232" y="142323"/>
                  </a:lnTo>
                  <a:lnTo>
                    <a:pt x="411642" y="140075"/>
                  </a:lnTo>
                  <a:lnTo>
                    <a:pt x="419376" y="127044"/>
                  </a:lnTo>
                  <a:lnTo>
                    <a:pt x="426130" y="128692"/>
                  </a:lnTo>
                  <a:lnTo>
                    <a:pt x="426215" y="127625"/>
                  </a:lnTo>
                  <a:lnTo>
                    <a:pt x="424043" y="123787"/>
                  </a:lnTo>
                  <a:lnTo>
                    <a:pt x="421405" y="120101"/>
                  </a:lnTo>
                  <a:lnTo>
                    <a:pt x="420605" y="115529"/>
                  </a:lnTo>
                  <a:lnTo>
                    <a:pt x="420957" y="103261"/>
                  </a:lnTo>
                  <a:lnTo>
                    <a:pt x="422996" y="98374"/>
                  </a:lnTo>
                  <a:lnTo>
                    <a:pt x="428825" y="98889"/>
                  </a:lnTo>
                  <a:lnTo>
                    <a:pt x="432321" y="98212"/>
                  </a:lnTo>
                  <a:lnTo>
                    <a:pt x="433950" y="100432"/>
                  </a:lnTo>
                  <a:lnTo>
                    <a:pt x="437445" y="100270"/>
                  </a:lnTo>
                  <a:lnTo>
                    <a:pt x="439864" y="91411"/>
                  </a:lnTo>
                  <a:lnTo>
                    <a:pt x="444655" y="90630"/>
                  </a:lnTo>
                  <a:lnTo>
                    <a:pt x="448866" y="96498"/>
                  </a:lnTo>
                  <a:lnTo>
                    <a:pt x="453923" y="100432"/>
                  </a:lnTo>
                  <a:lnTo>
                    <a:pt x="457991" y="106070"/>
                  </a:lnTo>
                  <a:lnTo>
                    <a:pt x="459143" y="104527"/>
                  </a:lnTo>
                  <a:lnTo>
                    <a:pt x="456952" y="91326"/>
                  </a:lnTo>
                  <a:lnTo>
                    <a:pt x="454552" y="86487"/>
                  </a:lnTo>
                  <a:lnTo>
                    <a:pt x="449342" y="83963"/>
                  </a:lnTo>
                  <a:lnTo>
                    <a:pt x="443789" y="77972"/>
                  </a:lnTo>
                  <a:lnTo>
                    <a:pt x="442350" y="75305"/>
                  </a:lnTo>
                  <a:lnTo>
                    <a:pt x="442598" y="73323"/>
                  </a:lnTo>
                  <a:lnTo>
                    <a:pt x="447494" y="71409"/>
                  </a:lnTo>
                  <a:lnTo>
                    <a:pt x="453952" y="73609"/>
                  </a:lnTo>
                  <a:lnTo>
                    <a:pt x="459705" y="68590"/>
                  </a:lnTo>
                  <a:lnTo>
                    <a:pt x="461277" y="69971"/>
                  </a:lnTo>
                  <a:lnTo>
                    <a:pt x="465687" y="67342"/>
                  </a:lnTo>
                  <a:lnTo>
                    <a:pt x="468430" y="70885"/>
                  </a:lnTo>
                  <a:lnTo>
                    <a:pt x="470116" y="69837"/>
                  </a:lnTo>
                  <a:lnTo>
                    <a:pt x="471088" y="65084"/>
                  </a:lnTo>
                  <a:lnTo>
                    <a:pt x="478127" y="62132"/>
                  </a:lnTo>
                  <a:lnTo>
                    <a:pt x="482594" y="64865"/>
                  </a:lnTo>
                  <a:lnTo>
                    <a:pt x="484984" y="67675"/>
                  </a:lnTo>
                  <a:lnTo>
                    <a:pt x="486099" y="73076"/>
                  </a:lnTo>
                  <a:lnTo>
                    <a:pt x="487804" y="83696"/>
                  </a:lnTo>
                  <a:lnTo>
                    <a:pt x="491290" y="89402"/>
                  </a:lnTo>
                  <a:lnTo>
                    <a:pt x="493462" y="92192"/>
                  </a:lnTo>
                  <a:lnTo>
                    <a:pt x="496024" y="92964"/>
                  </a:lnTo>
                  <a:lnTo>
                    <a:pt x="497262" y="90126"/>
                  </a:lnTo>
                  <a:lnTo>
                    <a:pt x="494862" y="86697"/>
                  </a:lnTo>
                  <a:lnTo>
                    <a:pt x="494214" y="83458"/>
                  </a:lnTo>
                  <a:lnTo>
                    <a:pt x="495367" y="75400"/>
                  </a:lnTo>
                  <a:lnTo>
                    <a:pt x="496710" y="72228"/>
                  </a:lnTo>
                  <a:lnTo>
                    <a:pt x="504244" y="60141"/>
                  </a:lnTo>
                  <a:lnTo>
                    <a:pt x="510550" y="53835"/>
                  </a:lnTo>
                  <a:lnTo>
                    <a:pt x="514322" y="53302"/>
                  </a:lnTo>
                  <a:lnTo>
                    <a:pt x="520932" y="39081"/>
                  </a:lnTo>
                  <a:lnTo>
                    <a:pt x="522799" y="36481"/>
                  </a:lnTo>
                  <a:lnTo>
                    <a:pt x="524523" y="35881"/>
                  </a:lnTo>
                  <a:lnTo>
                    <a:pt x="524085" y="32375"/>
                  </a:lnTo>
                  <a:lnTo>
                    <a:pt x="520475" y="30156"/>
                  </a:lnTo>
                  <a:lnTo>
                    <a:pt x="520351" y="25794"/>
                  </a:lnTo>
                  <a:lnTo>
                    <a:pt x="525113" y="20479"/>
                  </a:lnTo>
                  <a:lnTo>
                    <a:pt x="530895" y="11516"/>
                  </a:lnTo>
                  <a:lnTo>
                    <a:pt x="533743" y="10916"/>
                  </a:lnTo>
                  <a:lnTo>
                    <a:pt x="535534" y="13411"/>
                  </a:lnTo>
                  <a:lnTo>
                    <a:pt x="541163" y="17459"/>
                  </a:lnTo>
                  <a:lnTo>
                    <a:pt x="544611" y="22079"/>
                  </a:lnTo>
                  <a:lnTo>
                    <a:pt x="547107" y="24403"/>
                  </a:lnTo>
                  <a:lnTo>
                    <a:pt x="548726" y="23917"/>
                  </a:lnTo>
                  <a:lnTo>
                    <a:pt x="550069" y="20450"/>
                  </a:lnTo>
                  <a:lnTo>
                    <a:pt x="551688" y="18821"/>
                  </a:lnTo>
                  <a:lnTo>
                    <a:pt x="555260" y="19736"/>
                  </a:lnTo>
                  <a:lnTo>
                    <a:pt x="557393" y="21965"/>
                  </a:lnTo>
                  <a:lnTo>
                    <a:pt x="559061" y="22260"/>
                  </a:lnTo>
                  <a:lnTo>
                    <a:pt x="560565" y="23613"/>
                  </a:lnTo>
                  <a:lnTo>
                    <a:pt x="560918" y="26575"/>
                  </a:lnTo>
                  <a:lnTo>
                    <a:pt x="557822" y="29804"/>
                  </a:lnTo>
                  <a:lnTo>
                    <a:pt x="552545" y="38310"/>
                  </a:lnTo>
                  <a:lnTo>
                    <a:pt x="547345" y="47930"/>
                  </a:lnTo>
                  <a:lnTo>
                    <a:pt x="545630" y="52978"/>
                  </a:lnTo>
                  <a:lnTo>
                    <a:pt x="543944" y="66151"/>
                  </a:lnTo>
                  <a:lnTo>
                    <a:pt x="539877" y="74524"/>
                  </a:lnTo>
                  <a:lnTo>
                    <a:pt x="539563" y="80372"/>
                  </a:lnTo>
                  <a:lnTo>
                    <a:pt x="541201" y="83115"/>
                  </a:lnTo>
                  <a:lnTo>
                    <a:pt x="545687" y="80963"/>
                  </a:lnTo>
                  <a:lnTo>
                    <a:pt x="551222" y="73162"/>
                  </a:lnTo>
                  <a:lnTo>
                    <a:pt x="552602" y="64837"/>
                  </a:lnTo>
                  <a:lnTo>
                    <a:pt x="566442" y="42062"/>
                  </a:lnTo>
                  <a:lnTo>
                    <a:pt x="572938" y="29356"/>
                  </a:lnTo>
                  <a:lnTo>
                    <a:pt x="580311" y="18755"/>
                  </a:lnTo>
                  <a:lnTo>
                    <a:pt x="584445" y="16554"/>
                  </a:lnTo>
                  <a:lnTo>
                    <a:pt x="586387" y="23593"/>
                  </a:lnTo>
                  <a:lnTo>
                    <a:pt x="584825" y="32737"/>
                  </a:lnTo>
                  <a:lnTo>
                    <a:pt x="581692" y="38538"/>
                  </a:lnTo>
                  <a:lnTo>
                    <a:pt x="584006" y="41196"/>
                  </a:lnTo>
                  <a:lnTo>
                    <a:pt x="583568" y="48054"/>
                  </a:lnTo>
                  <a:lnTo>
                    <a:pt x="582844" y="51854"/>
                  </a:lnTo>
                  <a:lnTo>
                    <a:pt x="582387" y="55826"/>
                  </a:lnTo>
                  <a:lnTo>
                    <a:pt x="582416" y="59312"/>
                  </a:lnTo>
                  <a:lnTo>
                    <a:pt x="584588" y="58379"/>
                  </a:lnTo>
                  <a:lnTo>
                    <a:pt x="593227" y="51216"/>
                  </a:lnTo>
                  <a:lnTo>
                    <a:pt x="595417" y="43425"/>
                  </a:lnTo>
                  <a:lnTo>
                    <a:pt x="597446" y="37557"/>
                  </a:lnTo>
                  <a:lnTo>
                    <a:pt x="598418" y="32480"/>
                  </a:lnTo>
                  <a:lnTo>
                    <a:pt x="601780" y="27651"/>
                  </a:lnTo>
                  <a:lnTo>
                    <a:pt x="608124" y="27613"/>
                  </a:lnTo>
                  <a:lnTo>
                    <a:pt x="608372" y="25708"/>
                  </a:lnTo>
                  <a:lnTo>
                    <a:pt x="600675" y="19069"/>
                  </a:lnTo>
                  <a:lnTo>
                    <a:pt x="599770" y="16031"/>
                  </a:lnTo>
                  <a:lnTo>
                    <a:pt x="602352" y="11973"/>
                  </a:lnTo>
                  <a:lnTo>
                    <a:pt x="609448" y="4200"/>
                  </a:lnTo>
                  <a:lnTo>
                    <a:pt x="613096" y="5058"/>
                  </a:lnTo>
                  <a:lnTo>
                    <a:pt x="615277" y="6829"/>
                  </a:lnTo>
                  <a:lnTo>
                    <a:pt x="624011" y="8182"/>
                  </a:lnTo>
                  <a:lnTo>
                    <a:pt x="630717" y="13735"/>
                  </a:lnTo>
                  <a:lnTo>
                    <a:pt x="630460" y="22393"/>
                  </a:lnTo>
                  <a:lnTo>
                    <a:pt x="628965" y="25994"/>
                  </a:lnTo>
                  <a:lnTo>
                    <a:pt x="627498" y="28204"/>
                  </a:lnTo>
                  <a:lnTo>
                    <a:pt x="618916" y="34719"/>
                  </a:lnTo>
                  <a:lnTo>
                    <a:pt x="617506" y="37929"/>
                  </a:lnTo>
                  <a:lnTo>
                    <a:pt x="620202" y="39033"/>
                  </a:lnTo>
                  <a:lnTo>
                    <a:pt x="625993" y="35795"/>
                  </a:lnTo>
                  <a:lnTo>
                    <a:pt x="627498" y="38738"/>
                  </a:lnTo>
                  <a:lnTo>
                    <a:pt x="625650" y="46072"/>
                  </a:lnTo>
                  <a:lnTo>
                    <a:pt x="625335" y="57017"/>
                  </a:lnTo>
                  <a:lnTo>
                    <a:pt x="624669" y="63370"/>
                  </a:lnTo>
                  <a:lnTo>
                    <a:pt x="624669" y="69142"/>
                  </a:lnTo>
                  <a:lnTo>
                    <a:pt x="625393" y="72238"/>
                  </a:lnTo>
                  <a:lnTo>
                    <a:pt x="627726" y="59950"/>
                  </a:lnTo>
                  <a:lnTo>
                    <a:pt x="628517" y="56779"/>
                  </a:lnTo>
                  <a:lnTo>
                    <a:pt x="631927" y="52121"/>
                  </a:lnTo>
                  <a:lnTo>
                    <a:pt x="633193" y="42701"/>
                  </a:lnTo>
                  <a:lnTo>
                    <a:pt x="636527" y="31318"/>
                  </a:lnTo>
                  <a:lnTo>
                    <a:pt x="640289" y="24670"/>
                  </a:lnTo>
                  <a:lnTo>
                    <a:pt x="642471" y="22850"/>
                  </a:lnTo>
                  <a:lnTo>
                    <a:pt x="649710" y="23108"/>
                  </a:lnTo>
                  <a:lnTo>
                    <a:pt x="652815" y="25613"/>
                  </a:lnTo>
                  <a:lnTo>
                    <a:pt x="655558" y="31166"/>
                  </a:lnTo>
                  <a:lnTo>
                    <a:pt x="657606" y="33385"/>
                  </a:lnTo>
                  <a:lnTo>
                    <a:pt x="664064" y="35738"/>
                  </a:lnTo>
                  <a:lnTo>
                    <a:pt x="666274" y="38681"/>
                  </a:lnTo>
                  <a:lnTo>
                    <a:pt x="666683" y="40434"/>
                  </a:lnTo>
                  <a:lnTo>
                    <a:pt x="668264" y="40786"/>
                  </a:lnTo>
                  <a:lnTo>
                    <a:pt x="672627" y="36605"/>
                  </a:lnTo>
                  <a:lnTo>
                    <a:pt x="675456" y="35909"/>
                  </a:lnTo>
                  <a:lnTo>
                    <a:pt x="680066" y="42424"/>
                  </a:lnTo>
                  <a:lnTo>
                    <a:pt x="679142" y="47234"/>
                  </a:lnTo>
                  <a:lnTo>
                    <a:pt x="679409" y="48759"/>
                  </a:lnTo>
                  <a:lnTo>
                    <a:pt x="684990" y="48454"/>
                  </a:lnTo>
                  <a:lnTo>
                    <a:pt x="689639" y="50340"/>
                  </a:lnTo>
                  <a:lnTo>
                    <a:pt x="698468" y="60131"/>
                  </a:lnTo>
                  <a:lnTo>
                    <a:pt x="699392" y="64684"/>
                  </a:lnTo>
                  <a:lnTo>
                    <a:pt x="698954" y="70190"/>
                  </a:lnTo>
                  <a:lnTo>
                    <a:pt x="686210" y="76219"/>
                  </a:lnTo>
                  <a:lnTo>
                    <a:pt x="680704" y="81972"/>
                  </a:lnTo>
                  <a:lnTo>
                    <a:pt x="671693" y="84182"/>
                  </a:lnTo>
                  <a:lnTo>
                    <a:pt x="641099" y="80334"/>
                  </a:lnTo>
                  <a:lnTo>
                    <a:pt x="641718" y="84496"/>
                  </a:lnTo>
                  <a:lnTo>
                    <a:pt x="663026" y="93555"/>
                  </a:lnTo>
                  <a:lnTo>
                    <a:pt x="664245" y="96136"/>
                  </a:lnTo>
                  <a:lnTo>
                    <a:pt x="663559" y="101546"/>
                  </a:lnTo>
                  <a:lnTo>
                    <a:pt x="663550" y="105880"/>
                  </a:lnTo>
                  <a:lnTo>
                    <a:pt x="663950" y="108833"/>
                  </a:lnTo>
                  <a:lnTo>
                    <a:pt x="665522" y="111576"/>
                  </a:lnTo>
                  <a:lnTo>
                    <a:pt x="668121" y="112862"/>
                  </a:lnTo>
                  <a:lnTo>
                    <a:pt x="673427" y="112185"/>
                  </a:lnTo>
                  <a:lnTo>
                    <a:pt x="676037" y="113662"/>
                  </a:lnTo>
                  <a:lnTo>
                    <a:pt x="677828" y="111481"/>
                  </a:lnTo>
                  <a:lnTo>
                    <a:pt x="678495" y="104118"/>
                  </a:lnTo>
                  <a:lnTo>
                    <a:pt x="680038" y="102489"/>
                  </a:lnTo>
                  <a:lnTo>
                    <a:pt x="683010" y="104632"/>
                  </a:lnTo>
                  <a:lnTo>
                    <a:pt x="684305" y="112500"/>
                  </a:lnTo>
                  <a:lnTo>
                    <a:pt x="685133" y="113309"/>
                  </a:lnTo>
                  <a:lnTo>
                    <a:pt x="686629" y="107709"/>
                  </a:lnTo>
                  <a:lnTo>
                    <a:pt x="689572" y="108109"/>
                  </a:lnTo>
                  <a:lnTo>
                    <a:pt x="692782" y="107642"/>
                  </a:lnTo>
                  <a:lnTo>
                    <a:pt x="696926" y="108566"/>
                  </a:lnTo>
                  <a:close/>
                  <a:moveTo>
                    <a:pt x="498329" y="26746"/>
                  </a:moveTo>
                  <a:lnTo>
                    <a:pt x="497805" y="29299"/>
                  </a:lnTo>
                  <a:lnTo>
                    <a:pt x="496900" y="31775"/>
                  </a:lnTo>
                  <a:lnTo>
                    <a:pt x="494709" y="34385"/>
                  </a:lnTo>
                  <a:lnTo>
                    <a:pt x="488366" y="44682"/>
                  </a:lnTo>
                  <a:lnTo>
                    <a:pt x="484641" y="46330"/>
                  </a:lnTo>
                  <a:lnTo>
                    <a:pt x="483461" y="47939"/>
                  </a:lnTo>
                  <a:lnTo>
                    <a:pt x="481975" y="48901"/>
                  </a:lnTo>
                  <a:lnTo>
                    <a:pt x="477345" y="47501"/>
                  </a:lnTo>
                  <a:lnTo>
                    <a:pt x="475993" y="49578"/>
                  </a:lnTo>
                  <a:lnTo>
                    <a:pt x="474716" y="50968"/>
                  </a:lnTo>
                  <a:lnTo>
                    <a:pt x="471364" y="51502"/>
                  </a:lnTo>
                  <a:lnTo>
                    <a:pt x="469392" y="51054"/>
                  </a:lnTo>
                  <a:lnTo>
                    <a:pt x="464315" y="47263"/>
                  </a:lnTo>
                  <a:lnTo>
                    <a:pt x="461296" y="43148"/>
                  </a:lnTo>
                  <a:lnTo>
                    <a:pt x="459657" y="39624"/>
                  </a:lnTo>
                  <a:lnTo>
                    <a:pt x="464354" y="39691"/>
                  </a:lnTo>
                  <a:lnTo>
                    <a:pt x="466020" y="38833"/>
                  </a:lnTo>
                  <a:lnTo>
                    <a:pt x="469173" y="39576"/>
                  </a:lnTo>
                  <a:lnTo>
                    <a:pt x="471068" y="35947"/>
                  </a:lnTo>
                  <a:lnTo>
                    <a:pt x="475069" y="36385"/>
                  </a:lnTo>
                  <a:lnTo>
                    <a:pt x="482755" y="33861"/>
                  </a:lnTo>
                  <a:lnTo>
                    <a:pt x="485575" y="35271"/>
                  </a:lnTo>
                  <a:lnTo>
                    <a:pt x="492023" y="26803"/>
                  </a:lnTo>
                  <a:lnTo>
                    <a:pt x="494043" y="27022"/>
                  </a:lnTo>
                  <a:lnTo>
                    <a:pt x="497129" y="24594"/>
                  </a:lnTo>
                  <a:lnTo>
                    <a:pt x="498329" y="26746"/>
                  </a:lnTo>
                  <a:close/>
                  <a:moveTo>
                    <a:pt x="513750" y="46815"/>
                  </a:moveTo>
                  <a:lnTo>
                    <a:pt x="508654" y="50016"/>
                  </a:lnTo>
                  <a:lnTo>
                    <a:pt x="505701" y="47263"/>
                  </a:lnTo>
                  <a:lnTo>
                    <a:pt x="504463" y="44434"/>
                  </a:lnTo>
                  <a:lnTo>
                    <a:pt x="504282" y="38138"/>
                  </a:lnTo>
                  <a:lnTo>
                    <a:pt x="504968" y="34290"/>
                  </a:lnTo>
                  <a:lnTo>
                    <a:pt x="507359" y="32299"/>
                  </a:lnTo>
                  <a:lnTo>
                    <a:pt x="508911" y="33757"/>
                  </a:lnTo>
                  <a:lnTo>
                    <a:pt x="509321" y="34976"/>
                  </a:lnTo>
                  <a:lnTo>
                    <a:pt x="512102" y="36166"/>
                  </a:lnTo>
                  <a:lnTo>
                    <a:pt x="515369" y="40129"/>
                  </a:lnTo>
                  <a:lnTo>
                    <a:pt x="513750" y="46815"/>
                  </a:lnTo>
                  <a:close/>
                  <a:moveTo>
                    <a:pt x="503006" y="48263"/>
                  </a:moveTo>
                  <a:lnTo>
                    <a:pt x="503501" y="52016"/>
                  </a:lnTo>
                  <a:lnTo>
                    <a:pt x="503691" y="55102"/>
                  </a:lnTo>
                  <a:lnTo>
                    <a:pt x="501196" y="59550"/>
                  </a:lnTo>
                  <a:lnTo>
                    <a:pt x="495443" y="65370"/>
                  </a:lnTo>
                  <a:lnTo>
                    <a:pt x="495776" y="66932"/>
                  </a:lnTo>
                  <a:lnTo>
                    <a:pt x="493786" y="68428"/>
                  </a:lnTo>
                  <a:lnTo>
                    <a:pt x="490804" y="69523"/>
                  </a:lnTo>
                  <a:lnTo>
                    <a:pt x="489233" y="68466"/>
                  </a:lnTo>
                  <a:lnTo>
                    <a:pt x="489442" y="63484"/>
                  </a:lnTo>
                  <a:lnTo>
                    <a:pt x="488966" y="61998"/>
                  </a:lnTo>
                  <a:lnTo>
                    <a:pt x="486709" y="63979"/>
                  </a:lnTo>
                  <a:lnTo>
                    <a:pt x="484356" y="61436"/>
                  </a:lnTo>
                  <a:lnTo>
                    <a:pt x="484356" y="58883"/>
                  </a:lnTo>
                  <a:lnTo>
                    <a:pt x="484975" y="56664"/>
                  </a:lnTo>
                  <a:lnTo>
                    <a:pt x="487156" y="53283"/>
                  </a:lnTo>
                  <a:lnTo>
                    <a:pt x="490785" y="50949"/>
                  </a:lnTo>
                  <a:lnTo>
                    <a:pt x="493176" y="51825"/>
                  </a:lnTo>
                  <a:lnTo>
                    <a:pt x="501158" y="42843"/>
                  </a:lnTo>
                  <a:lnTo>
                    <a:pt x="502015" y="44729"/>
                  </a:lnTo>
                  <a:lnTo>
                    <a:pt x="503006" y="48263"/>
                  </a:lnTo>
                  <a:close/>
                  <a:moveTo>
                    <a:pt x="400145" y="74724"/>
                  </a:moveTo>
                  <a:lnTo>
                    <a:pt x="401507" y="75648"/>
                  </a:lnTo>
                  <a:lnTo>
                    <a:pt x="402860" y="75076"/>
                  </a:lnTo>
                  <a:lnTo>
                    <a:pt x="403974" y="75886"/>
                  </a:lnTo>
                  <a:lnTo>
                    <a:pt x="406213" y="80039"/>
                  </a:lnTo>
                  <a:lnTo>
                    <a:pt x="408623" y="81667"/>
                  </a:lnTo>
                  <a:lnTo>
                    <a:pt x="408737" y="83744"/>
                  </a:lnTo>
                  <a:lnTo>
                    <a:pt x="406537" y="85763"/>
                  </a:lnTo>
                  <a:lnTo>
                    <a:pt x="403632" y="86373"/>
                  </a:lnTo>
                  <a:lnTo>
                    <a:pt x="400517" y="85668"/>
                  </a:lnTo>
                  <a:lnTo>
                    <a:pt x="399602" y="83077"/>
                  </a:lnTo>
                  <a:lnTo>
                    <a:pt x="398640" y="78762"/>
                  </a:lnTo>
                  <a:lnTo>
                    <a:pt x="396040" y="74524"/>
                  </a:lnTo>
                  <a:lnTo>
                    <a:pt x="395650" y="70799"/>
                  </a:lnTo>
                  <a:lnTo>
                    <a:pt x="397916" y="70209"/>
                  </a:lnTo>
                  <a:lnTo>
                    <a:pt x="400145" y="74724"/>
                  </a:lnTo>
                  <a:close/>
                  <a:moveTo>
                    <a:pt x="386449" y="86544"/>
                  </a:moveTo>
                  <a:lnTo>
                    <a:pt x="388820" y="90802"/>
                  </a:lnTo>
                  <a:lnTo>
                    <a:pt x="390925" y="90392"/>
                  </a:lnTo>
                  <a:lnTo>
                    <a:pt x="391554" y="88792"/>
                  </a:lnTo>
                  <a:lnTo>
                    <a:pt x="392982" y="87992"/>
                  </a:lnTo>
                  <a:lnTo>
                    <a:pt x="395878" y="90249"/>
                  </a:lnTo>
                  <a:lnTo>
                    <a:pt x="395468" y="94069"/>
                  </a:lnTo>
                  <a:lnTo>
                    <a:pt x="391459" y="98879"/>
                  </a:lnTo>
                  <a:lnTo>
                    <a:pt x="388582" y="105718"/>
                  </a:lnTo>
                  <a:lnTo>
                    <a:pt x="384906" y="107299"/>
                  </a:lnTo>
                  <a:lnTo>
                    <a:pt x="383134" y="106480"/>
                  </a:lnTo>
                  <a:lnTo>
                    <a:pt x="379838" y="110414"/>
                  </a:lnTo>
                  <a:lnTo>
                    <a:pt x="377209" y="114491"/>
                  </a:lnTo>
                  <a:lnTo>
                    <a:pt x="374475" y="119634"/>
                  </a:lnTo>
                  <a:lnTo>
                    <a:pt x="374304" y="122282"/>
                  </a:lnTo>
                  <a:lnTo>
                    <a:pt x="373875" y="124301"/>
                  </a:lnTo>
                  <a:lnTo>
                    <a:pt x="363864" y="126301"/>
                  </a:lnTo>
                  <a:lnTo>
                    <a:pt x="360226" y="127625"/>
                  </a:lnTo>
                  <a:lnTo>
                    <a:pt x="356368" y="125921"/>
                  </a:lnTo>
                  <a:lnTo>
                    <a:pt x="354539" y="122530"/>
                  </a:lnTo>
                  <a:lnTo>
                    <a:pt x="355130" y="120691"/>
                  </a:lnTo>
                  <a:lnTo>
                    <a:pt x="358978" y="119958"/>
                  </a:lnTo>
                  <a:lnTo>
                    <a:pt x="359102" y="116805"/>
                  </a:lnTo>
                  <a:lnTo>
                    <a:pt x="360083" y="114881"/>
                  </a:lnTo>
                  <a:lnTo>
                    <a:pt x="361331" y="113824"/>
                  </a:lnTo>
                  <a:lnTo>
                    <a:pt x="362245" y="109785"/>
                  </a:lnTo>
                  <a:lnTo>
                    <a:pt x="363769" y="108728"/>
                  </a:lnTo>
                  <a:lnTo>
                    <a:pt x="366608" y="109718"/>
                  </a:lnTo>
                  <a:lnTo>
                    <a:pt x="368522" y="106785"/>
                  </a:lnTo>
                  <a:lnTo>
                    <a:pt x="369598" y="106280"/>
                  </a:lnTo>
                  <a:lnTo>
                    <a:pt x="370923" y="108709"/>
                  </a:lnTo>
                  <a:lnTo>
                    <a:pt x="371561" y="105366"/>
                  </a:lnTo>
                  <a:lnTo>
                    <a:pt x="370923" y="102308"/>
                  </a:lnTo>
                  <a:lnTo>
                    <a:pt x="371256" y="100241"/>
                  </a:lnTo>
                  <a:lnTo>
                    <a:pt x="374923" y="94859"/>
                  </a:lnTo>
                  <a:lnTo>
                    <a:pt x="376514" y="90926"/>
                  </a:lnTo>
                  <a:lnTo>
                    <a:pt x="378800" y="88382"/>
                  </a:lnTo>
                  <a:lnTo>
                    <a:pt x="381000" y="88783"/>
                  </a:lnTo>
                  <a:lnTo>
                    <a:pt x="381638" y="85030"/>
                  </a:lnTo>
                  <a:lnTo>
                    <a:pt x="381000" y="81182"/>
                  </a:lnTo>
                  <a:lnTo>
                    <a:pt x="381238" y="78667"/>
                  </a:lnTo>
                  <a:lnTo>
                    <a:pt x="383181" y="72552"/>
                  </a:lnTo>
                  <a:lnTo>
                    <a:pt x="385315" y="72295"/>
                  </a:lnTo>
                  <a:lnTo>
                    <a:pt x="386296" y="77733"/>
                  </a:lnTo>
                  <a:lnTo>
                    <a:pt x="386449" y="86544"/>
                  </a:lnTo>
                  <a:close/>
                  <a:moveTo>
                    <a:pt x="427187" y="84715"/>
                  </a:moveTo>
                  <a:lnTo>
                    <a:pt x="425748" y="86535"/>
                  </a:lnTo>
                  <a:lnTo>
                    <a:pt x="423539" y="87278"/>
                  </a:lnTo>
                  <a:lnTo>
                    <a:pt x="422348" y="86154"/>
                  </a:lnTo>
                  <a:lnTo>
                    <a:pt x="420653" y="85411"/>
                  </a:lnTo>
                  <a:lnTo>
                    <a:pt x="418767" y="85744"/>
                  </a:lnTo>
                  <a:lnTo>
                    <a:pt x="417186" y="82401"/>
                  </a:lnTo>
                  <a:lnTo>
                    <a:pt x="417366" y="79591"/>
                  </a:lnTo>
                  <a:lnTo>
                    <a:pt x="419528" y="75781"/>
                  </a:lnTo>
                  <a:lnTo>
                    <a:pt x="423863" y="73609"/>
                  </a:lnTo>
                  <a:lnTo>
                    <a:pt x="427368" y="74505"/>
                  </a:lnTo>
                  <a:lnTo>
                    <a:pt x="428263" y="75619"/>
                  </a:lnTo>
                  <a:lnTo>
                    <a:pt x="427187" y="84715"/>
                  </a:lnTo>
                  <a:close/>
                  <a:moveTo>
                    <a:pt x="672503" y="107537"/>
                  </a:moveTo>
                  <a:lnTo>
                    <a:pt x="667426" y="109795"/>
                  </a:lnTo>
                  <a:lnTo>
                    <a:pt x="666836" y="107937"/>
                  </a:lnTo>
                  <a:lnTo>
                    <a:pt x="667951" y="105042"/>
                  </a:lnTo>
                  <a:lnTo>
                    <a:pt x="669284" y="99098"/>
                  </a:lnTo>
                  <a:lnTo>
                    <a:pt x="671370" y="99336"/>
                  </a:lnTo>
                  <a:lnTo>
                    <a:pt x="673485" y="101603"/>
                  </a:lnTo>
                  <a:lnTo>
                    <a:pt x="675141" y="104308"/>
                  </a:lnTo>
                  <a:lnTo>
                    <a:pt x="672503" y="107537"/>
                  </a:lnTo>
                  <a:close/>
                  <a:moveTo>
                    <a:pt x="339614" y="122968"/>
                  </a:moveTo>
                  <a:lnTo>
                    <a:pt x="342824" y="127340"/>
                  </a:lnTo>
                  <a:lnTo>
                    <a:pt x="344262" y="126006"/>
                  </a:lnTo>
                  <a:lnTo>
                    <a:pt x="347110" y="125501"/>
                  </a:lnTo>
                  <a:lnTo>
                    <a:pt x="349225" y="127044"/>
                  </a:lnTo>
                  <a:lnTo>
                    <a:pt x="350958" y="129816"/>
                  </a:lnTo>
                  <a:lnTo>
                    <a:pt x="353006" y="129940"/>
                  </a:lnTo>
                  <a:lnTo>
                    <a:pt x="354292" y="133560"/>
                  </a:lnTo>
                  <a:lnTo>
                    <a:pt x="354949" y="138255"/>
                  </a:lnTo>
                  <a:lnTo>
                    <a:pt x="353463" y="141751"/>
                  </a:lnTo>
                  <a:lnTo>
                    <a:pt x="351349" y="143342"/>
                  </a:lnTo>
                  <a:lnTo>
                    <a:pt x="350777" y="147447"/>
                  </a:lnTo>
                  <a:lnTo>
                    <a:pt x="351577" y="153191"/>
                  </a:lnTo>
                  <a:lnTo>
                    <a:pt x="346834" y="155153"/>
                  </a:lnTo>
                  <a:lnTo>
                    <a:pt x="341348" y="156029"/>
                  </a:lnTo>
                  <a:lnTo>
                    <a:pt x="339195" y="153286"/>
                  </a:lnTo>
                  <a:lnTo>
                    <a:pt x="334813" y="158296"/>
                  </a:lnTo>
                  <a:lnTo>
                    <a:pt x="330461" y="166078"/>
                  </a:lnTo>
                  <a:lnTo>
                    <a:pt x="328365" y="166992"/>
                  </a:lnTo>
                  <a:lnTo>
                    <a:pt x="328213" y="164535"/>
                  </a:lnTo>
                  <a:lnTo>
                    <a:pt x="325088" y="162830"/>
                  </a:lnTo>
                  <a:lnTo>
                    <a:pt x="321088" y="162735"/>
                  </a:lnTo>
                  <a:lnTo>
                    <a:pt x="321221" y="160906"/>
                  </a:lnTo>
                  <a:lnTo>
                    <a:pt x="321955" y="159620"/>
                  </a:lnTo>
                  <a:lnTo>
                    <a:pt x="325403" y="157705"/>
                  </a:lnTo>
                  <a:lnTo>
                    <a:pt x="326088" y="153743"/>
                  </a:lnTo>
                  <a:lnTo>
                    <a:pt x="325460" y="146656"/>
                  </a:lnTo>
                  <a:lnTo>
                    <a:pt x="326070" y="143199"/>
                  </a:lnTo>
                  <a:lnTo>
                    <a:pt x="326203" y="140818"/>
                  </a:lnTo>
                  <a:lnTo>
                    <a:pt x="328375" y="138017"/>
                  </a:lnTo>
                  <a:lnTo>
                    <a:pt x="335804" y="139332"/>
                  </a:lnTo>
                  <a:lnTo>
                    <a:pt x="336709" y="136655"/>
                  </a:lnTo>
                  <a:lnTo>
                    <a:pt x="336147" y="134969"/>
                  </a:lnTo>
                  <a:lnTo>
                    <a:pt x="332308" y="132017"/>
                  </a:lnTo>
                  <a:lnTo>
                    <a:pt x="332899" y="130026"/>
                  </a:lnTo>
                  <a:lnTo>
                    <a:pt x="335671" y="128245"/>
                  </a:lnTo>
                  <a:lnTo>
                    <a:pt x="338290" y="128006"/>
                  </a:lnTo>
                  <a:lnTo>
                    <a:pt x="339080" y="124997"/>
                  </a:lnTo>
                  <a:lnTo>
                    <a:pt x="339214" y="123673"/>
                  </a:lnTo>
                  <a:lnTo>
                    <a:pt x="339614" y="122968"/>
                  </a:lnTo>
                  <a:close/>
                  <a:moveTo>
                    <a:pt x="293027" y="200406"/>
                  </a:moveTo>
                  <a:lnTo>
                    <a:pt x="293351" y="200920"/>
                  </a:lnTo>
                  <a:lnTo>
                    <a:pt x="296989" y="193872"/>
                  </a:lnTo>
                  <a:lnTo>
                    <a:pt x="301028" y="191672"/>
                  </a:lnTo>
                  <a:lnTo>
                    <a:pt x="301276" y="189205"/>
                  </a:lnTo>
                  <a:lnTo>
                    <a:pt x="302838" y="186823"/>
                  </a:lnTo>
                  <a:lnTo>
                    <a:pt x="302657" y="182918"/>
                  </a:lnTo>
                  <a:lnTo>
                    <a:pt x="303448" y="179746"/>
                  </a:lnTo>
                  <a:lnTo>
                    <a:pt x="305505" y="178899"/>
                  </a:lnTo>
                  <a:lnTo>
                    <a:pt x="306791" y="177822"/>
                  </a:lnTo>
                  <a:lnTo>
                    <a:pt x="308210" y="177222"/>
                  </a:lnTo>
                  <a:lnTo>
                    <a:pt x="310792" y="179803"/>
                  </a:lnTo>
                  <a:lnTo>
                    <a:pt x="312239" y="182661"/>
                  </a:lnTo>
                  <a:lnTo>
                    <a:pt x="314049" y="189024"/>
                  </a:lnTo>
                  <a:lnTo>
                    <a:pt x="313297" y="195158"/>
                  </a:lnTo>
                  <a:lnTo>
                    <a:pt x="308448" y="199930"/>
                  </a:lnTo>
                  <a:lnTo>
                    <a:pt x="304600" y="202073"/>
                  </a:lnTo>
                  <a:lnTo>
                    <a:pt x="300704" y="207521"/>
                  </a:lnTo>
                  <a:lnTo>
                    <a:pt x="298752" y="211969"/>
                  </a:lnTo>
                  <a:lnTo>
                    <a:pt x="297066" y="212931"/>
                  </a:lnTo>
                  <a:lnTo>
                    <a:pt x="296009" y="212569"/>
                  </a:lnTo>
                  <a:lnTo>
                    <a:pt x="295066" y="211503"/>
                  </a:lnTo>
                  <a:lnTo>
                    <a:pt x="293094" y="211503"/>
                  </a:lnTo>
                  <a:lnTo>
                    <a:pt x="290922" y="215351"/>
                  </a:lnTo>
                  <a:lnTo>
                    <a:pt x="284369" y="218475"/>
                  </a:lnTo>
                  <a:lnTo>
                    <a:pt x="281797" y="217570"/>
                  </a:lnTo>
                  <a:lnTo>
                    <a:pt x="281683" y="213741"/>
                  </a:lnTo>
                  <a:lnTo>
                    <a:pt x="280149" y="214055"/>
                  </a:lnTo>
                  <a:lnTo>
                    <a:pt x="277692" y="218646"/>
                  </a:lnTo>
                  <a:lnTo>
                    <a:pt x="275291" y="220180"/>
                  </a:lnTo>
                  <a:lnTo>
                    <a:pt x="273682" y="220647"/>
                  </a:lnTo>
                  <a:lnTo>
                    <a:pt x="270720" y="218923"/>
                  </a:lnTo>
                  <a:lnTo>
                    <a:pt x="262757" y="226714"/>
                  </a:lnTo>
                  <a:lnTo>
                    <a:pt x="255289" y="228162"/>
                  </a:lnTo>
                  <a:lnTo>
                    <a:pt x="252832" y="227267"/>
                  </a:lnTo>
                  <a:lnTo>
                    <a:pt x="252822" y="222504"/>
                  </a:lnTo>
                  <a:lnTo>
                    <a:pt x="257651" y="216389"/>
                  </a:lnTo>
                  <a:lnTo>
                    <a:pt x="261604" y="212131"/>
                  </a:lnTo>
                  <a:lnTo>
                    <a:pt x="275225" y="209150"/>
                  </a:lnTo>
                  <a:lnTo>
                    <a:pt x="283712" y="196425"/>
                  </a:lnTo>
                  <a:lnTo>
                    <a:pt x="285760" y="182489"/>
                  </a:lnTo>
                  <a:lnTo>
                    <a:pt x="287760" y="177422"/>
                  </a:lnTo>
                  <a:lnTo>
                    <a:pt x="286817" y="174555"/>
                  </a:lnTo>
                  <a:lnTo>
                    <a:pt x="284540" y="174050"/>
                  </a:lnTo>
                  <a:lnTo>
                    <a:pt x="284398" y="169631"/>
                  </a:lnTo>
                  <a:lnTo>
                    <a:pt x="285588" y="164792"/>
                  </a:lnTo>
                  <a:lnTo>
                    <a:pt x="290036" y="158125"/>
                  </a:lnTo>
                  <a:lnTo>
                    <a:pt x="292513" y="155277"/>
                  </a:lnTo>
                  <a:lnTo>
                    <a:pt x="296542" y="147190"/>
                  </a:lnTo>
                  <a:lnTo>
                    <a:pt x="298485" y="145370"/>
                  </a:lnTo>
                  <a:lnTo>
                    <a:pt x="300695" y="145370"/>
                  </a:lnTo>
                  <a:lnTo>
                    <a:pt x="302876" y="147495"/>
                  </a:lnTo>
                  <a:lnTo>
                    <a:pt x="302486" y="151829"/>
                  </a:lnTo>
                  <a:lnTo>
                    <a:pt x="299218" y="159620"/>
                  </a:lnTo>
                  <a:lnTo>
                    <a:pt x="294380" y="166230"/>
                  </a:lnTo>
                  <a:lnTo>
                    <a:pt x="294970" y="170964"/>
                  </a:lnTo>
                  <a:lnTo>
                    <a:pt x="296894" y="174841"/>
                  </a:lnTo>
                  <a:lnTo>
                    <a:pt x="297371" y="181451"/>
                  </a:lnTo>
                  <a:lnTo>
                    <a:pt x="297495" y="187795"/>
                  </a:lnTo>
                  <a:lnTo>
                    <a:pt x="293827" y="196329"/>
                  </a:lnTo>
                  <a:lnTo>
                    <a:pt x="293027" y="200406"/>
                  </a:lnTo>
                  <a:close/>
                  <a:moveTo>
                    <a:pt x="278235" y="172260"/>
                  </a:moveTo>
                  <a:lnTo>
                    <a:pt x="281711" y="179727"/>
                  </a:lnTo>
                  <a:lnTo>
                    <a:pt x="283302" y="184080"/>
                  </a:lnTo>
                  <a:lnTo>
                    <a:pt x="282017" y="192262"/>
                  </a:lnTo>
                  <a:lnTo>
                    <a:pt x="278635" y="196377"/>
                  </a:lnTo>
                  <a:lnTo>
                    <a:pt x="273425" y="197110"/>
                  </a:lnTo>
                  <a:lnTo>
                    <a:pt x="269767" y="196768"/>
                  </a:lnTo>
                  <a:lnTo>
                    <a:pt x="267462" y="194786"/>
                  </a:lnTo>
                  <a:lnTo>
                    <a:pt x="267176" y="192567"/>
                  </a:lnTo>
                  <a:lnTo>
                    <a:pt x="265843" y="191910"/>
                  </a:lnTo>
                  <a:lnTo>
                    <a:pt x="262328" y="194767"/>
                  </a:lnTo>
                  <a:lnTo>
                    <a:pt x="259890" y="195148"/>
                  </a:lnTo>
                  <a:lnTo>
                    <a:pt x="256784" y="192938"/>
                  </a:lnTo>
                  <a:lnTo>
                    <a:pt x="255947" y="189395"/>
                  </a:lnTo>
                  <a:lnTo>
                    <a:pt x="259242" y="184947"/>
                  </a:lnTo>
                  <a:lnTo>
                    <a:pt x="260766" y="181480"/>
                  </a:lnTo>
                  <a:lnTo>
                    <a:pt x="264414" y="181785"/>
                  </a:lnTo>
                  <a:lnTo>
                    <a:pt x="265329" y="182861"/>
                  </a:lnTo>
                  <a:lnTo>
                    <a:pt x="267395" y="183537"/>
                  </a:lnTo>
                  <a:lnTo>
                    <a:pt x="268653" y="179356"/>
                  </a:lnTo>
                  <a:lnTo>
                    <a:pt x="268367" y="176460"/>
                  </a:lnTo>
                  <a:lnTo>
                    <a:pt x="269291" y="174441"/>
                  </a:lnTo>
                  <a:lnTo>
                    <a:pt x="273701" y="175898"/>
                  </a:lnTo>
                  <a:lnTo>
                    <a:pt x="273711" y="167992"/>
                  </a:lnTo>
                  <a:lnTo>
                    <a:pt x="275425" y="167440"/>
                  </a:lnTo>
                  <a:lnTo>
                    <a:pt x="276130" y="167745"/>
                  </a:lnTo>
                  <a:lnTo>
                    <a:pt x="277396" y="169412"/>
                  </a:lnTo>
                  <a:lnTo>
                    <a:pt x="278235" y="172260"/>
                  </a:lnTo>
                  <a:close/>
                  <a:moveTo>
                    <a:pt x="242573" y="221875"/>
                  </a:moveTo>
                  <a:lnTo>
                    <a:pt x="244164" y="223104"/>
                  </a:lnTo>
                  <a:lnTo>
                    <a:pt x="248317" y="222742"/>
                  </a:lnTo>
                  <a:lnTo>
                    <a:pt x="249155" y="223199"/>
                  </a:lnTo>
                  <a:lnTo>
                    <a:pt x="248555" y="225228"/>
                  </a:lnTo>
                  <a:lnTo>
                    <a:pt x="246755" y="227457"/>
                  </a:lnTo>
                  <a:lnTo>
                    <a:pt x="242974" y="228829"/>
                  </a:lnTo>
                  <a:lnTo>
                    <a:pt x="241268" y="232229"/>
                  </a:lnTo>
                  <a:lnTo>
                    <a:pt x="240049" y="233382"/>
                  </a:lnTo>
                  <a:lnTo>
                    <a:pt x="236782" y="233391"/>
                  </a:lnTo>
                  <a:lnTo>
                    <a:pt x="234848" y="234182"/>
                  </a:lnTo>
                  <a:lnTo>
                    <a:pt x="232477" y="237191"/>
                  </a:lnTo>
                  <a:lnTo>
                    <a:pt x="230581" y="234972"/>
                  </a:lnTo>
                  <a:lnTo>
                    <a:pt x="230048" y="236553"/>
                  </a:lnTo>
                  <a:lnTo>
                    <a:pt x="229705" y="239373"/>
                  </a:lnTo>
                  <a:lnTo>
                    <a:pt x="228648" y="240192"/>
                  </a:lnTo>
                  <a:lnTo>
                    <a:pt x="225371" y="241211"/>
                  </a:lnTo>
                  <a:lnTo>
                    <a:pt x="224580" y="234648"/>
                  </a:lnTo>
                  <a:lnTo>
                    <a:pt x="226086" y="232267"/>
                  </a:lnTo>
                  <a:lnTo>
                    <a:pt x="227266" y="229410"/>
                  </a:lnTo>
                  <a:lnTo>
                    <a:pt x="229076" y="228971"/>
                  </a:lnTo>
                  <a:lnTo>
                    <a:pt x="230696" y="229210"/>
                  </a:lnTo>
                  <a:lnTo>
                    <a:pt x="233619" y="223037"/>
                  </a:lnTo>
                  <a:lnTo>
                    <a:pt x="237620" y="221275"/>
                  </a:lnTo>
                  <a:lnTo>
                    <a:pt x="240202" y="221075"/>
                  </a:lnTo>
                  <a:lnTo>
                    <a:pt x="242573" y="221875"/>
                  </a:lnTo>
                  <a:close/>
                  <a:moveTo>
                    <a:pt x="218475" y="249860"/>
                  </a:moveTo>
                  <a:lnTo>
                    <a:pt x="214522" y="253603"/>
                  </a:lnTo>
                  <a:lnTo>
                    <a:pt x="215960" y="246764"/>
                  </a:lnTo>
                  <a:lnTo>
                    <a:pt x="218094" y="239811"/>
                  </a:lnTo>
                  <a:lnTo>
                    <a:pt x="221047" y="235820"/>
                  </a:lnTo>
                  <a:lnTo>
                    <a:pt x="222514" y="237382"/>
                  </a:lnTo>
                  <a:lnTo>
                    <a:pt x="221837" y="240725"/>
                  </a:lnTo>
                  <a:lnTo>
                    <a:pt x="221847" y="244021"/>
                  </a:lnTo>
                  <a:lnTo>
                    <a:pt x="221218" y="245574"/>
                  </a:lnTo>
                  <a:lnTo>
                    <a:pt x="218475" y="249860"/>
                  </a:lnTo>
                  <a:close/>
                  <a:moveTo>
                    <a:pt x="203730" y="374837"/>
                  </a:moveTo>
                  <a:lnTo>
                    <a:pt x="201254" y="375266"/>
                  </a:lnTo>
                  <a:lnTo>
                    <a:pt x="201663" y="372361"/>
                  </a:lnTo>
                  <a:lnTo>
                    <a:pt x="203664" y="369599"/>
                  </a:lnTo>
                  <a:lnTo>
                    <a:pt x="204435" y="367713"/>
                  </a:lnTo>
                  <a:lnTo>
                    <a:pt x="204835" y="365484"/>
                  </a:lnTo>
                  <a:lnTo>
                    <a:pt x="206607" y="363798"/>
                  </a:lnTo>
                  <a:lnTo>
                    <a:pt x="209102" y="365960"/>
                  </a:lnTo>
                  <a:lnTo>
                    <a:pt x="209150" y="369618"/>
                  </a:lnTo>
                  <a:lnTo>
                    <a:pt x="207912" y="372951"/>
                  </a:lnTo>
                  <a:lnTo>
                    <a:pt x="203730" y="374837"/>
                  </a:lnTo>
                  <a:close/>
                  <a:moveTo>
                    <a:pt x="206131" y="384105"/>
                  </a:moveTo>
                  <a:lnTo>
                    <a:pt x="203988" y="384296"/>
                  </a:lnTo>
                  <a:lnTo>
                    <a:pt x="204006" y="381619"/>
                  </a:lnTo>
                  <a:lnTo>
                    <a:pt x="205235" y="379181"/>
                  </a:lnTo>
                  <a:lnTo>
                    <a:pt x="207178" y="377552"/>
                  </a:lnTo>
                  <a:lnTo>
                    <a:pt x="209683" y="377123"/>
                  </a:lnTo>
                  <a:lnTo>
                    <a:pt x="212484" y="376933"/>
                  </a:lnTo>
                  <a:lnTo>
                    <a:pt x="213331" y="378228"/>
                  </a:lnTo>
                  <a:lnTo>
                    <a:pt x="211722" y="380047"/>
                  </a:lnTo>
                  <a:lnTo>
                    <a:pt x="206131" y="384105"/>
                  </a:lnTo>
                  <a:close/>
                  <a:moveTo>
                    <a:pt x="191653" y="402022"/>
                  </a:moveTo>
                  <a:lnTo>
                    <a:pt x="189881" y="404012"/>
                  </a:lnTo>
                  <a:lnTo>
                    <a:pt x="186576" y="403441"/>
                  </a:lnTo>
                  <a:lnTo>
                    <a:pt x="186223" y="401726"/>
                  </a:lnTo>
                  <a:lnTo>
                    <a:pt x="187166" y="398297"/>
                  </a:lnTo>
                  <a:lnTo>
                    <a:pt x="189176" y="396878"/>
                  </a:lnTo>
                  <a:lnTo>
                    <a:pt x="191767" y="397154"/>
                  </a:lnTo>
                  <a:lnTo>
                    <a:pt x="192596" y="398583"/>
                  </a:lnTo>
                  <a:lnTo>
                    <a:pt x="191653" y="402022"/>
                  </a:lnTo>
                  <a:close/>
                  <a:moveTo>
                    <a:pt x="171965" y="450523"/>
                  </a:moveTo>
                  <a:lnTo>
                    <a:pt x="170564" y="452276"/>
                  </a:lnTo>
                  <a:lnTo>
                    <a:pt x="167450" y="450875"/>
                  </a:lnTo>
                  <a:lnTo>
                    <a:pt x="161306" y="451961"/>
                  </a:lnTo>
                  <a:lnTo>
                    <a:pt x="158830" y="450256"/>
                  </a:lnTo>
                  <a:lnTo>
                    <a:pt x="160801" y="446923"/>
                  </a:lnTo>
                  <a:lnTo>
                    <a:pt x="166354" y="443417"/>
                  </a:lnTo>
                  <a:lnTo>
                    <a:pt x="169336" y="443579"/>
                  </a:lnTo>
                  <a:lnTo>
                    <a:pt x="172374" y="447885"/>
                  </a:lnTo>
                  <a:lnTo>
                    <a:pt x="171965" y="450523"/>
                  </a:lnTo>
                  <a:close/>
                  <a:moveTo>
                    <a:pt x="98165" y="524256"/>
                  </a:moveTo>
                  <a:lnTo>
                    <a:pt x="95098" y="524399"/>
                  </a:lnTo>
                  <a:lnTo>
                    <a:pt x="93250" y="523046"/>
                  </a:lnTo>
                  <a:lnTo>
                    <a:pt x="97641" y="520360"/>
                  </a:lnTo>
                  <a:lnTo>
                    <a:pt x="104527" y="517788"/>
                  </a:lnTo>
                  <a:lnTo>
                    <a:pt x="105185" y="516160"/>
                  </a:lnTo>
                  <a:lnTo>
                    <a:pt x="106013" y="515960"/>
                  </a:lnTo>
                  <a:lnTo>
                    <a:pt x="107204" y="517960"/>
                  </a:lnTo>
                  <a:lnTo>
                    <a:pt x="107356" y="520703"/>
                  </a:lnTo>
                  <a:lnTo>
                    <a:pt x="106594" y="522065"/>
                  </a:lnTo>
                  <a:lnTo>
                    <a:pt x="98165" y="524256"/>
                  </a:lnTo>
                  <a:close/>
                  <a:moveTo>
                    <a:pt x="88316" y="543973"/>
                  </a:moveTo>
                  <a:lnTo>
                    <a:pt x="85697" y="544011"/>
                  </a:lnTo>
                  <a:lnTo>
                    <a:pt x="82582" y="543097"/>
                  </a:lnTo>
                  <a:lnTo>
                    <a:pt x="80629" y="541144"/>
                  </a:lnTo>
                  <a:lnTo>
                    <a:pt x="80324" y="539420"/>
                  </a:lnTo>
                  <a:lnTo>
                    <a:pt x="83915" y="537277"/>
                  </a:lnTo>
                  <a:lnTo>
                    <a:pt x="87525" y="536019"/>
                  </a:lnTo>
                  <a:lnTo>
                    <a:pt x="89202" y="538382"/>
                  </a:lnTo>
                  <a:lnTo>
                    <a:pt x="89326" y="542249"/>
                  </a:lnTo>
                  <a:lnTo>
                    <a:pt x="88316" y="543973"/>
                  </a:lnTo>
                  <a:close/>
                  <a:moveTo>
                    <a:pt x="4277" y="673037"/>
                  </a:moveTo>
                  <a:lnTo>
                    <a:pt x="1905" y="673732"/>
                  </a:lnTo>
                  <a:lnTo>
                    <a:pt x="0" y="673132"/>
                  </a:lnTo>
                  <a:lnTo>
                    <a:pt x="676" y="667855"/>
                  </a:lnTo>
                  <a:lnTo>
                    <a:pt x="1667" y="666998"/>
                  </a:lnTo>
                  <a:lnTo>
                    <a:pt x="3105" y="666693"/>
                  </a:lnTo>
                  <a:lnTo>
                    <a:pt x="4658" y="669522"/>
                  </a:lnTo>
                  <a:lnTo>
                    <a:pt x="4277" y="673037"/>
                  </a:lnTo>
                  <a:close/>
                  <a:moveTo>
                    <a:pt x="7677" y="715404"/>
                  </a:moveTo>
                  <a:lnTo>
                    <a:pt x="7763" y="721795"/>
                  </a:lnTo>
                  <a:lnTo>
                    <a:pt x="5305" y="721309"/>
                  </a:lnTo>
                  <a:lnTo>
                    <a:pt x="4201" y="718861"/>
                  </a:lnTo>
                  <a:lnTo>
                    <a:pt x="3877" y="717290"/>
                  </a:lnTo>
                  <a:lnTo>
                    <a:pt x="4077" y="713584"/>
                  </a:lnTo>
                  <a:lnTo>
                    <a:pt x="3524" y="709755"/>
                  </a:lnTo>
                  <a:lnTo>
                    <a:pt x="4248" y="707850"/>
                  </a:lnTo>
                  <a:lnTo>
                    <a:pt x="5144" y="707593"/>
                  </a:lnTo>
                  <a:lnTo>
                    <a:pt x="6734" y="711003"/>
                  </a:lnTo>
                  <a:lnTo>
                    <a:pt x="7677" y="715404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8" name="Forme libre : forme 44">
              <a:extLst>
                <a:ext uri="{FF2B5EF4-FFF2-40B4-BE49-F238E27FC236}">
                  <a16:creationId xmlns:a16="http://schemas.microsoft.com/office/drawing/2014/main" id="{5C0D585C-C7D3-2139-E66F-9B83F11374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293766" y="3430682"/>
              <a:ext cx="923591" cy="872725"/>
            </a:xfrm>
            <a:custGeom>
              <a:avLst/>
              <a:gdLst>
                <a:gd name="connsiteX0" fmla="*/ 146371 w 266700"/>
                <a:gd name="connsiteY0" fmla="*/ 17478 h 252012"/>
                <a:gd name="connsiteX1" fmla="*/ 147438 w 266700"/>
                <a:gd name="connsiteY1" fmla="*/ 18031 h 252012"/>
                <a:gd name="connsiteX2" fmla="*/ 154924 w 266700"/>
                <a:gd name="connsiteY2" fmla="*/ 18631 h 252012"/>
                <a:gd name="connsiteX3" fmla="*/ 162516 w 266700"/>
                <a:gd name="connsiteY3" fmla="*/ 19231 h 252012"/>
                <a:gd name="connsiteX4" fmla="*/ 174717 w 266700"/>
                <a:gd name="connsiteY4" fmla="*/ 19888 h 252012"/>
                <a:gd name="connsiteX5" fmla="*/ 187433 w 266700"/>
                <a:gd name="connsiteY5" fmla="*/ 20555 h 252012"/>
                <a:gd name="connsiteX6" fmla="*/ 200635 w 266700"/>
                <a:gd name="connsiteY6" fmla="*/ 21269 h 252012"/>
                <a:gd name="connsiteX7" fmla="*/ 214912 w 266700"/>
                <a:gd name="connsiteY7" fmla="*/ 22022 h 252012"/>
                <a:gd name="connsiteX8" fmla="*/ 229971 w 266700"/>
                <a:gd name="connsiteY8" fmla="*/ 22470 h 252012"/>
                <a:gd name="connsiteX9" fmla="*/ 230896 w 266700"/>
                <a:gd name="connsiteY9" fmla="*/ 22165 h 252012"/>
                <a:gd name="connsiteX10" fmla="*/ 232429 w 266700"/>
                <a:gd name="connsiteY10" fmla="*/ 20384 h 252012"/>
                <a:gd name="connsiteX11" fmla="*/ 234305 w 266700"/>
                <a:gd name="connsiteY11" fmla="*/ 20622 h 252012"/>
                <a:gd name="connsiteX12" fmla="*/ 236525 w 266700"/>
                <a:gd name="connsiteY12" fmla="*/ 21727 h 252012"/>
                <a:gd name="connsiteX13" fmla="*/ 237554 w 266700"/>
                <a:gd name="connsiteY13" fmla="*/ 22546 h 252012"/>
                <a:gd name="connsiteX14" fmla="*/ 237992 w 266700"/>
                <a:gd name="connsiteY14" fmla="*/ 23489 h 252012"/>
                <a:gd name="connsiteX15" fmla="*/ 238268 w 266700"/>
                <a:gd name="connsiteY15" fmla="*/ 24575 h 252012"/>
                <a:gd name="connsiteX16" fmla="*/ 239478 w 266700"/>
                <a:gd name="connsiteY16" fmla="*/ 24784 h 252012"/>
                <a:gd name="connsiteX17" fmla="*/ 241697 w 266700"/>
                <a:gd name="connsiteY17" fmla="*/ 25613 h 252012"/>
                <a:gd name="connsiteX18" fmla="*/ 244688 w 266700"/>
                <a:gd name="connsiteY18" fmla="*/ 27489 h 252012"/>
                <a:gd name="connsiteX19" fmla="*/ 247031 w 266700"/>
                <a:gd name="connsiteY19" fmla="*/ 29308 h 252012"/>
                <a:gd name="connsiteX20" fmla="*/ 249269 w 266700"/>
                <a:gd name="connsiteY20" fmla="*/ 31899 h 252012"/>
                <a:gd name="connsiteX21" fmla="*/ 250012 w 266700"/>
                <a:gd name="connsiteY21" fmla="*/ 34833 h 252012"/>
                <a:gd name="connsiteX22" fmla="*/ 250050 w 266700"/>
                <a:gd name="connsiteY22" fmla="*/ 38157 h 252012"/>
                <a:gd name="connsiteX23" fmla="*/ 249907 w 266700"/>
                <a:gd name="connsiteY23" fmla="*/ 40291 h 252012"/>
                <a:gd name="connsiteX24" fmla="*/ 250098 w 266700"/>
                <a:gd name="connsiteY24" fmla="*/ 41158 h 252012"/>
                <a:gd name="connsiteX25" fmla="*/ 253155 w 266700"/>
                <a:gd name="connsiteY25" fmla="*/ 56521 h 252012"/>
                <a:gd name="connsiteX26" fmla="*/ 258242 w 266700"/>
                <a:gd name="connsiteY26" fmla="*/ 71218 h 252012"/>
                <a:gd name="connsiteX27" fmla="*/ 260109 w 266700"/>
                <a:gd name="connsiteY27" fmla="*/ 78286 h 252012"/>
                <a:gd name="connsiteX28" fmla="*/ 260852 w 266700"/>
                <a:gd name="connsiteY28" fmla="*/ 82039 h 252012"/>
                <a:gd name="connsiteX29" fmla="*/ 261452 w 266700"/>
                <a:gd name="connsiteY29" fmla="*/ 87468 h 252012"/>
                <a:gd name="connsiteX30" fmla="*/ 261633 w 266700"/>
                <a:gd name="connsiteY30" fmla="*/ 91278 h 252012"/>
                <a:gd name="connsiteX31" fmla="*/ 261614 w 266700"/>
                <a:gd name="connsiteY31" fmla="*/ 93412 h 252012"/>
                <a:gd name="connsiteX32" fmla="*/ 261233 w 266700"/>
                <a:gd name="connsiteY32" fmla="*/ 96345 h 252012"/>
                <a:gd name="connsiteX33" fmla="*/ 259728 w 266700"/>
                <a:gd name="connsiteY33" fmla="*/ 98079 h 252012"/>
                <a:gd name="connsiteX34" fmla="*/ 249964 w 266700"/>
                <a:gd name="connsiteY34" fmla="*/ 103032 h 252012"/>
                <a:gd name="connsiteX35" fmla="*/ 248126 w 266700"/>
                <a:gd name="connsiteY35" fmla="*/ 104575 h 252012"/>
                <a:gd name="connsiteX36" fmla="*/ 245250 w 266700"/>
                <a:gd name="connsiteY36" fmla="*/ 108423 h 252012"/>
                <a:gd name="connsiteX37" fmla="*/ 242592 w 266700"/>
                <a:gd name="connsiteY37" fmla="*/ 112376 h 252012"/>
                <a:gd name="connsiteX38" fmla="*/ 241983 w 266700"/>
                <a:gd name="connsiteY38" fmla="*/ 113729 h 252012"/>
                <a:gd name="connsiteX39" fmla="*/ 241821 w 266700"/>
                <a:gd name="connsiteY39" fmla="*/ 114614 h 252012"/>
                <a:gd name="connsiteX40" fmla="*/ 242411 w 266700"/>
                <a:gd name="connsiteY40" fmla="*/ 115910 h 252012"/>
                <a:gd name="connsiteX41" fmla="*/ 245888 w 266700"/>
                <a:gd name="connsiteY41" fmla="*/ 118015 h 252012"/>
                <a:gd name="connsiteX42" fmla="*/ 249393 w 266700"/>
                <a:gd name="connsiteY42" fmla="*/ 119710 h 252012"/>
                <a:gd name="connsiteX43" fmla="*/ 250536 w 266700"/>
                <a:gd name="connsiteY43" fmla="*/ 120977 h 252012"/>
                <a:gd name="connsiteX44" fmla="*/ 253127 w 266700"/>
                <a:gd name="connsiteY44" fmla="*/ 122596 h 252012"/>
                <a:gd name="connsiteX45" fmla="*/ 254070 w 266700"/>
                <a:gd name="connsiteY45" fmla="*/ 124054 h 252012"/>
                <a:gd name="connsiteX46" fmla="*/ 254584 w 266700"/>
                <a:gd name="connsiteY46" fmla="*/ 125311 h 252012"/>
                <a:gd name="connsiteX47" fmla="*/ 254546 w 266700"/>
                <a:gd name="connsiteY47" fmla="*/ 128235 h 252012"/>
                <a:gd name="connsiteX48" fmla="*/ 253384 w 266700"/>
                <a:gd name="connsiteY48" fmla="*/ 132264 h 252012"/>
                <a:gd name="connsiteX49" fmla="*/ 253870 w 266700"/>
                <a:gd name="connsiteY49" fmla="*/ 135303 h 252012"/>
                <a:gd name="connsiteX50" fmla="*/ 252679 w 266700"/>
                <a:gd name="connsiteY50" fmla="*/ 137331 h 252012"/>
                <a:gd name="connsiteX51" fmla="*/ 251708 w 266700"/>
                <a:gd name="connsiteY51" fmla="*/ 139579 h 252012"/>
                <a:gd name="connsiteX52" fmla="*/ 251565 w 266700"/>
                <a:gd name="connsiteY52" fmla="*/ 143504 h 252012"/>
                <a:gd name="connsiteX53" fmla="*/ 253318 w 266700"/>
                <a:gd name="connsiteY53" fmla="*/ 147828 h 252012"/>
                <a:gd name="connsiteX54" fmla="*/ 254756 w 266700"/>
                <a:gd name="connsiteY54" fmla="*/ 150781 h 252012"/>
                <a:gd name="connsiteX55" fmla="*/ 255308 w 266700"/>
                <a:gd name="connsiteY55" fmla="*/ 153095 h 252012"/>
                <a:gd name="connsiteX56" fmla="*/ 254727 w 266700"/>
                <a:gd name="connsiteY56" fmla="*/ 154905 h 252012"/>
                <a:gd name="connsiteX57" fmla="*/ 254898 w 266700"/>
                <a:gd name="connsiteY57" fmla="*/ 156715 h 252012"/>
                <a:gd name="connsiteX58" fmla="*/ 256184 w 266700"/>
                <a:gd name="connsiteY58" fmla="*/ 158639 h 252012"/>
                <a:gd name="connsiteX59" fmla="*/ 260223 w 266700"/>
                <a:gd name="connsiteY59" fmla="*/ 164544 h 252012"/>
                <a:gd name="connsiteX60" fmla="*/ 262214 w 266700"/>
                <a:gd name="connsiteY60" fmla="*/ 170212 h 252012"/>
                <a:gd name="connsiteX61" fmla="*/ 263490 w 266700"/>
                <a:gd name="connsiteY61" fmla="*/ 172421 h 252012"/>
                <a:gd name="connsiteX62" fmla="*/ 266433 w 266700"/>
                <a:gd name="connsiteY62" fmla="*/ 175279 h 252012"/>
                <a:gd name="connsiteX63" fmla="*/ 266700 w 266700"/>
                <a:gd name="connsiteY63" fmla="*/ 176451 h 252012"/>
                <a:gd name="connsiteX64" fmla="*/ 265519 w 266700"/>
                <a:gd name="connsiteY64" fmla="*/ 177527 h 252012"/>
                <a:gd name="connsiteX65" fmla="*/ 264566 w 266700"/>
                <a:gd name="connsiteY65" fmla="*/ 177670 h 252012"/>
                <a:gd name="connsiteX66" fmla="*/ 263795 w 266700"/>
                <a:gd name="connsiteY66" fmla="*/ 177956 h 252012"/>
                <a:gd name="connsiteX67" fmla="*/ 263300 w 266700"/>
                <a:gd name="connsiteY67" fmla="*/ 178956 h 252012"/>
                <a:gd name="connsiteX68" fmla="*/ 264071 w 266700"/>
                <a:gd name="connsiteY68" fmla="*/ 180032 h 252012"/>
                <a:gd name="connsiteX69" fmla="*/ 265109 w 266700"/>
                <a:gd name="connsiteY69" fmla="*/ 181604 h 252012"/>
                <a:gd name="connsiteX70" fmla="*/ 266405 w 266700"/>
                <a:gd name="connsiteY70" fmla="*/ 186052 h 252012"/>
                <a:gd name="connsiteX71" fmla="*/ 266281 w 266700"/>
                <a:gd name="connsiteY71" fmla="*/ 189690 h 252012"/>
                <a:gd name="connsiteX72" fmla="*/ 265281 w 266700"/>
                <a:gd name="connsiteY72" fmla="*/ 190614 h 252012"/>
                <a:gd name="connsiteX73" fmla="*/ 264004 w 266700"/>
                <a:gd name="connsiteY73" fmla="*/ 192767 h 252012"/>
                <a:gd name="connsiteX74" fmla="*/ 263147 w 266700"/>
                <a:gd name="connsiteY74" fmla="*/ 194739 h 252012"/>
                <a:gd name="connsiteX75" fmla="*/ 256165 w 266700"/>
                <a:gd name="connsiteY75" fmla="*/ 196101 h 252012"/>
                <a:gd name="connsiteX76" fmla="*/ 254489 w 266700"/>
                <a:gd name="connsiteY76" fmla="*/ 198206 h 252012"/>
                <a:gd name="connsiteX77" fmla="*/ 250670 w 266700"/>
                <a:gd name="connsiteY77" fmla="*/ 202254 h 252012"/>
                <a:gd name="connsiteX78" fmla="*/ 248069 w 266700"/>
                <a:gd name="connsiteY78" fmla="*/ 204588 h 252012"/>
                <a:gd name="connsiteX79" fmla="*/ 244212 w 266700"/>
                <a:gd name="connsiteY79" fmla="*/ 208788 h 252012"/>
                <a:gd name="connsiteX80" fmla="*/ 238116 w 266700"/>
                <a:gd name="connsiteY80" fmla="*/ 215989 h 252012"/>
                <a:gd name="connsiteX81" fmla="*/ 235868 w 266700"/>
                <a:gd name="connsiteY81" fmla="*/ 218999 h 252012"/>
                <a:gd name="connsiteX82" fmla="*/ 234220 w 266700"/>
                <a:gd name="connsiteY82" fmla="*/ 221485 h 252012"/>
                <a:gd name="connsiteX83" fmla="*/ 229286 w 266700"/>
                <a:gd name="connsiteY83" fmla="*/ 228076 h 252012"/>
                <a:gd name="connsiteX84" fmla="*/ 227772 w 266700"/>
                <a:gd name="connsiteY84" fmla="*/ 230839 h 252012"/>
                <a:gd name="connsiteX85" fmla="*/ 228067 w 266700"/>
                <a:gd name="connsiteY85" fmla="*/ 233105 h 252012"/>
                <a:gd name="connsiteX86" fmla="*/ 229658 w 266700"/>
                <a:gd name="connsiteY86" fmla="*/ 238430 h 252012"/>
                <a:gd name="connsiteX87" fmla="*/ 229991 w 266700"/>
                <a:gd name="connsiteY87" fmla="*/ 240830 h 252012"/>
                <a:gd name="connsiteX88" fmla="*/ 229705 w 266700"/>
                <a:gd name="connsiteY88" fmla="*/ 243040 h 252012"/>
                <a:gd name="connsiteX89" fmla="*/ 229181 w 266700"/>
                <a:gd name="connsiteY89" fmla="*/ 245012 h 252012"/>
                <a:gd name="connsiteX90" fmla="*/ 229276 w 266700"/>
                <a:gd name="connsiteY90" fmla="*/ 245888 h 252012"/>
                <a:gd name="connsiteX91" fmla="*/ 230734 w 266700"/>
                <a:gd name="connsiteY91" fmla="*/ 247317 h 252012"/>
                <a:gd name="connsiteX92" fmla="*/ 233048 w 266700"/>
                <a:gd name="connsiteY92" fmla="*/ 249555 h 252012"/>
                <a:gd name="connsiteX93" fmla="*/ 233182 w 266700"/>
                <a:gd name="connsiteY93" fmla="*/ 250307 h 252012"/>
                <a:gd name="connsiteX94" fmla="*/ 232858 w 266700"/>
                <a:gd name="connsiteY94" fmla="*/ 251279 h 252012"/>
                <a:gd name="connsiteX95" fmla="*/ 232058 w 266700"/>
                <a:gd name="connsiteY95" fmla="*/ 252013 h 252012"/>
                <a:gd name="connsiteX96" fmla="*/ 229152 w 266700"/>
                <a:gd name="connsiteY96" fmla="*/ 251231 h 252012"/>
                <a:gd name="connsiteX97" fmla="*/ 225914 w 266700"/>
                <a:gd name="connsiteY97" fmla="*/ 249717 h 252012"/>
                <a:gd name="connsiteX98" fmla="*/ 224809 w 266700"/>
                <a:gd name="connsiteY98" fmla="*/ 249907 h 252012"/>
                <a:gd name="connsiteX99" fmla="*/ 223057 w 266700"/>
                <a:gd name="connsiteY99" fmla="*/ 249546 h 252012"/>
                <a:gd name="connsiteX100" fmla="*/ 215827 w 266700"/>
                <a:gd name="connsiteY100" fmla="*/ 246621 h 252012"/>
                <a:gd name="connsiteX101" fmla="*/ 210951 w 266700"/>
                <a:gd name="connsiteY101" fmla="*/ 244326 h 252012"/>
                <a:gd name="connsiteX102" fmla="*/ 210464 w 266700"/>
                <a:gd name="connsiteY102" fmla="*/ 242830 h 252012"/>
                <a:gd name="connsiteX103" fmla="*/ 209550 w 266700"/>
                <a:gd name="connsiteY103" fmla="*/ 240668 h 252012"/>
                <a:gd name="connsiteX104" fmla="*/ 207473 w 266700"/>
                <a:gd name="connsiteY104" fmla="*/ 238849 h 252012"/>
                <a:gd name="connsiteX105" fmla="*/ 202711 w 266700"/>
                <a:gd name="connsiteY105" fmla="*/ 237277 h 252012"/>
                <a:gd name="connsiteX106" fmla="*/ 200778 w 266700"/>
                <a:gd name="connsiteY106" fmla="*/ 236049 h 252012"/>
                <a:gd name="connsiteX107" fmla="*/ 193043 w 266700"/>
                <a:gd name="connsiteY107" fmla="*/ 235363 h 252012"/>
                <a:gd name="connsiteX108" fmla="*/ 189691 w 266700"/>
                <a:gd name="connsiteY108" fmla="*/ 235334 h 252012"/>
                <a:gd name="connsiteX109" fmla="*/ 187319 w 266700"/>
                <a:gd name="connsiteY109" fmla="*/ 235839 h 252012"/>
                <a:gd name="connsiteX110" fmla="*/ 185794 w 266700"/>
                <a:gd name="connsiteY110" fmla="*/ 235791 h 252012"/>
                <a:gd name="connsiteX111" fmla="*/ 183709 w 266700"/>
                <a:gd name="connsiteY111" fmla="*/ 239001 h 252012"/>
                <a:gd name="connsiteX112" fmla="*/ 182270 w 266700"/>
                <a:gd name="connsiteY112" fmla="*/ 239935 h 252012"/>
                <a:gd name="connsiteX113" fmla="*/ 180166 w 266700"/>
                <a:gd name="connsiteY113" fmla="*/ 240030 h 252012"/>
                <a:gd name="connsiteX114" fmla="*/ 178318 w 266700"/>
                <a:gd name="connsiteY114" fmla="*/ 239459 h 252012"/>
                <a:gd name="connsiteX115" fmla="*/ 176432 w 266700"/>
                <a:gd name="connsiteY115" fmla="*/ 237773 h 252012"/>
                <a:gd name="connsiteX116" fmla="*/ 173422 w 266700"/>
                <a:gd name="connsiteY116" fmla="*/ 236877 h 252012"/>
                <a:gd name="connsiteX117" fmla="*/ 171241 w 266700"/>
                <a:gd name="connsiteY117" fmla="*/ 237306 h 252012"/>
                <a:gd name="connsiteX118" fmla="*/ 169631 w 266700"/>
                <a:gd name="connsiteY118" fmla="*/ 236944 h 252012"/>
                <a:gd name="connsiteX119" fmla="*/ 168250 w 266700"/>
                <a:gd name="connsiteY119" fmla="*/ 236849 h 252012"/>
                <a:gd name="connsiteX120" fmla="*/ 167764 w 266700"/>
                <a:gd name="connsiteY120" fmla="*/ 237192 h 252012"/>
                <a:gd name="connsiteX121" fmla="*/ 166650 w 266700"/>
                <a:gd name="connsiteY121" fmla="*/ 237144 h 252012"/>
                <a:gd name="connsiteX122" fmla="*/ 165040 w 266700"/>
                <a:gd name="connsiteY122" fmla="*/ 237954 h 252012"/>
                <a:gd name="connsiteX123" fmla="*/ 163268 w 266700"/>
                <a:gd name="connsiteY123" fmla="*/ 239087 h 252012"/>
                <a:gd name="connsiteX124" fmla="*/ 161325 w 266700"/>
                <a:gd name="connsiteY124" fmla="*/ 239963 h 252012"/>
                <a:gd name="connsiteX125" fmla="*/ 159820 w 266700"/>
                <a:gd name="connsiteY125" fmla="*/ 241830 h 252012"/>
                <a:gd name="connsiteX126" fmla="*/ 158487 w 266700"/>
                <a:gd name="connsiteY126" fmla="*/ 245478 h 252012"/>
                <a:gd name="connsiteX127" fmla="*/ 154705 w 266700"/>
                <a:gd name="connsiteY127" fmla="*/ 243840 h 252012"/>
                <a:gd name="connsiteX128" fmla="*/ 153448 w 266700"/>
                <a:gd name="connsiteY128" fmla="*/ 244554 h 252012"/>
                <a:gd name="connsiteX129" fmla="*/ 151657 w 266700"/>
                <a:gd name="connsiteY129" fmla="*/ 245031 h 252012"/>
                <a:gd name="connsiteX130" fmla="*/ 150438 w 266700"/>
                <a:gd name="connsiteY130" fmla="*/ 244535 h 252012"/>
                <a:gd name="connsiteX131" fmla="*/ 150724 w 266700"/>
                <a:gd name="connsiteY131" fmla="*/ 243278 h 252012"/>
                <a:gd name="connsiteX132" fmla="*/ 151276 w 266700"/>
                <a:gd name="connsiteY132" fmla="*/ 241859 h 252012"/>
                <a:gd name="connsiteX133" fmla="*/ 151248 w 266700"/>
                <a:gd name="connsiteY133" fmla="*/ 239878 h 252012"/>
                <a:gd name="connsiteX134" fmla="*/ 150905 w 266700"/>
                <a:gd name="connsiteY134" fmla="*/ 237677 h 252012"/>
                <a:gd name="connsiteX135" fmla="*/ 149733 w 266700"/>
                <a:gd name="connsiteY135" fmla="*/ 236963 h 252012"/>
                <a:gd name="connsiteX136" fmla="*/ 147971 w 266700"/>
                <a:gd name="connsiteY136" fmla="*/ 236706 h 252012"/>
                <a:gd name="connsiteX137" fmla="*/ 147066 w 266700"/>
                <a:gd name="connsiteY137" fmla="*/ 236268 h 252012"/>
                <a:gd name="connsiteX138" fmla="*/ 146971 w 266700"/>
                <a:gd name="connsiteY138" fmla="*/ 235544 h 252012"/>
                <a:gd name="connsiteX139" fmla="*/ 146066 w 266700"/>
                <a:gd name="connsiteY139" fmla="*/ 234610 h 252012"/>
                <a:gd name="connsiteX140" fmla="*/ 144504 w 266700"/>
                <a:gd name="connsiteY140" fmla="*/ 232248 h 252012"/>
                <a:gd name="connsiteX141" fmla="*/ 143037 w 266700"/>
                <a:gd name="connsiteY141" fmla="*/ 229295 h 252012"/>
                <a:gd name="connsiteX142" fmla="*/ 142018 w 266700"/>
                <a:gd name="connsiteY142" fmla="*/ 228429 h 252012"/>
                <a:gd name="connsiteX143" fmla="*/ 140541 w 266700"/>
                <a:gd name="connsiteY143" fmla="*/ 229829 h 252012"/>
                <a:gd name="connsiteX144" fmla="*/ 138303 w 266700"/>
                <a:gd name="connsiteY144" fmla="*/ 231419 h 252012"/>
                <a:gd name="connsiteX145" fmla="*/ 136903 w 266700"/>
                <a:gd name="connsiteY145" fmla="*/ 231972 h 252012"/>
                <a:gd name="connsiteX146" fmla="*/ 134208 w 266700"/>
                <a:gd name="connsiteY146" fmla="*/ 236544 h 252012"/>
                <a:gd name="connsiteX147" fmla="*/ 129369 w 266700"/>
                <a:gd name="connsiteY147" fmla="*/ 236696 h 252012"/>
                <a:gd name="connsiteX148" fmla="*/ 129074 w 266700"/>
                <a:gd name="connsiteY148" fmla="*/ 234563 h 252012"/>
                <a:gd name="connsiteX149" fmla="*/ 128559 w 266700"/>
                <a:gd name="connsiteY149" fmla="*/ 232505 h 252012"/>
                <a:gd name="connsiteX150" fmla="*/ 125730 w 266700"/>
                <a:gd name="connsiteY150" fmla="*/ 232000 h 252012"/>
                <a:gd name="connsiteX151" fmla="*/ 125645 w 266700"/>
                <a:gd name="connsiteY151" fmla="*/ 230791 h 252012"/>
                <a:gd name="connsiteX152" fmla="*/ 125054 w 266700"/>
                <a:gd name="connsiteY152" fmla="*/ 227762 h 252012"/>
                <a:gd name="connsiteX153" fmla="*/ 119377 w 266700"/>
                <a:gd name="connsiteY153" fmla="*/ 221828 h 252012"/>
                <a:gd name="connsiteX154" fmla="*/ 118691 w 266700"/>
                <a:gd name="connsiteY154" fmla="*/ 219351 h 252012"/>
                <a:gd name="connsiteX155" fmla="*/ 118910 w 266700"/>
                <a:gd name="connsiteY155" fmla="*/ 218389 h 252012"/>
                <a:gd name="connsiteX156" fmla="*/ 118520 w 266700"/>
                <a:gd name="connsiteY156" fmla="*/ 216808 h 252012"/>
                <a:gd name="connsiteX157" fmla="*/ 117281 w 266700"/>
                <a:gd name="connsiteY157" fmla="*/ 215856 h 252012"/>
                <a:gd name="connsiteX158" fmla="*/ 112795 w 266700"/>
                <a:gd name="connsiteY158" fmla="*/ 214722 h 252012"/>
                <a:gd name="connsiteX159" fmla="*/ 111643 w 266700"/>
                <a:gd name="connsiteY159" fmla="*/ 215370 h 252012"/>
                <a:gd name="connsiteX160" fmla="*/ 110604 w 266700"/>
                <a:gd name="connsiteY160" fmla="*/ 214703 h 252012"/>
                <a:gd name="connsiteX161" fmla="*/ 108966 w 266700"/>
                <a:gd name="connsiteY161" fmla="*/ 213274 h 252012"/>
                <a:gd name="connsiteX162" fmla="*/ 106137 w 266700"/>
                <a:gd name="connsiteY162" fmla="*/ 212112 h 252012"/>
                <a:gd name="connsiteX163" fmla="*/ 105823 w 266700"/>
                <a:gd name="connsiteY163" fmla="*/ 211512 h 252012"/>
                <a:gd name="connsiteX164" fmla="*/ 104803 w 266700"/>
                <a:gd name="connsiteY164" fmla="*/ 210483 h 252012"/>
                <a:gd name="connsiteX165" fmla="*/ 104242 w 266700"/>
                <a:gd name="connsiteY165" fmla="*/ 210350 h 252012"/>
                <a:gd name="connsiteX166" fmla="*/ 103870 w 266700"/>
                <a:gd name="connsiteY166" fmla="*/ 210969 h 252012"/>
                <a:gd name="connsiteX167" fmla="*/ 103051 w 266700"/>
                <a:gd name="connsiteY167" fmla="*/ 211846 h 252012"/>
                <a:gd name="connsiteX168" fmla="*/ 100136 w 266700"/>
                <a:gd name="connsiteY168" fmla="*/ 212960 h 252012"/>
                <a:gd name="connsiteX169" fmla="*/ 98974 w 266700"/>
                <a:gd name="connsiteY169" fmla="*/ 212503 h 252012"/>
                <a:gd name="connsiteX170" fmla="*/ 97917 w 266700"/>
                <a:gd name="connsiteY170" fmla="*/ 211541 h 252012"/>
                <a:gd name="connsiteX171" fmla="*/ 96707 w 266700"/>
                <a:gd name="connsiteY171" fmla="*/ 209455 h 252012"/>
                <a:gd name="connsiteX172" fmla="*/ 94955 w 266700"/>
                <a:gd name="connsiteY172" fmla="*/ 207626 h 252012"/>
                <a:gd name="connsiteX173" fmla="*/ 93516 w 266700"/>
                <a:gd name="connsiteY173" fmla="*/ 206978 h 252012"/>
                <a:gd name="connsiteX174" fmla="*/ 92688 w 266700"/>
                <a:gd name="connsiteY174" fmla="*/ 206016 h 252012"/>
                <a:gd name="connsiteX175" fmla="*/ 92507 w 266700"/>
                <a:gd name="connsiteY175" fmla="*/ 205273 h 252012"/>
                <a:gd name="connsiteX176" fmla="*/ 95708 w 266700"/>
                <a:gd name="connsiteY176" fmla="*/ 203768 h 252012"/>
                <a:gd name="connsiteX177" fmla="*/ 96412 w 266700"/>
                <a:gd name="connsiteY177" fmla="*/ 202216 h 252012"/>
                <a:gd name="connsiteX178" fmla="*/ 96003 w 266700"/>
                <a:gd name="connsiteY178" fmla="*/ 199387 h 252012"/>
                <a:gd name="connsiteX179" fmla="*/ 95526 w 266700"/>
                <a:gd name="connsiteY179" fmla="*/ 199034 h 252012"/>
                <a:gd name="connsiteX180" fmla="*/ 94250 w 266700"/>
                <a:gd name="connsiteY180" fmla="*/ 199987 h 252012"/>
                <a:gd name="connsiteX181" fmla="*/ 91573 w 266700"/>
                <a:gd name="connsiteY181" fmla="*/ 200825 h 252012"/>
                <a:gd name="connsiteX182" fmla="*/ 89116 w 266700"/>
                <a:gd name="connsiteY182" fmla="*/ 201216 h 252012"/>
                <a:gd name="connsiteX183" fmla="*/ 87849 w 266700"/>
                <a:gd name="connsiteY183" fmla="*/ 201216 h 252012"/>
                <a:gd name="connsiteX184" fmla="*/ 80810 w 266700"/>
                <a:gd name="connsiteY184" fmla="*/ 196063 h 252012"/>
                <a:gd name="connsiteX185" fmla="*/ 76238 w 266700"/>
                <a:gd name="connsiteY185" fmla="*/ 194481 h 252012"/>
                <a:gd name="connsiteX186" fmla="*/ 73543 w 266700"/>
                <a:gd name="connsiteY186" fmla="*/ 194024 h 252012"/>
                <a:gd name="connsiteX187" fmla="*/ 73257 w 266700"/>
                <a:gd name="connsiteY187" fmla="*/ 194548 h 252012"/>
                <a:gd name="connsiteX188" fmla="*/ 74466 w 266700"/>
                <a:gd name="connsiteY188" fmla="*/ 197444 h 252012"/>
                <a:gd name="connsiteX189" fmla="*/ 76581 w 266700"/>
                <a:gd name="connsiteY189" fmla="*/ 201016 h 252012"/>
                <a:gd name="connsiteX190" fmla="*/ 76476 w 266700"/>
                <a:gd name="connsiteY190" fmla="*/ 201959 h 252012"/>
                <a:gd name="connsiteX191" fmla="*/ 73952 w 266700"/>
                <a:gd name="connsiteY191" fmla="*/ 203416 h 252012"/>
                <a:gd name="connsiteX192" fmla="*/ 72523 w 266700"/>
                <a:gd name="connsiteY192" fmla="*/ 204054 h 252012"/>
                <a:gd name="connsiteX193" fmla="*/ 70838 w 266700"/>
                <a:gd name="connsiteY193" fmla="*/ 205283 h 252012"/>
                <a:gd name="connsiteX194" fmla="*/ 69409 w 266700"/>
                <a:gd name="connsiteY194" fmla="*/ 206997 h 252012"/>
                <a:gd name="connsiteX195" fmla="*/ 68170 w 266700"/>
                <a:gd name="connsiteY195" fmla="*/ 207769 h 252012"/>
                <a:gd name="connsiteX196" fmla="*/ 67103 w 266700"/>
                <a:gd name="connsiteY196" fmla="*/ 207569 h 252012"/>
                <a:gd name="connsiteX197" fmla="*/ 65970 w 266700"/>
                <a:gd name="connsiteY197" fmla="*/ 206750 h 252012"/>
                <a:gd name="connsiteX198" fmla="*/ 63055 w 266700"/>
                <a:gd name="connsiteY198" fmla="*/ 201482 h 252012"/>
                <a:gd name="connsiteX199" fmla="*/ 59388 w 266700"/>
                <a:gd name="connsiteY199" fmla="*/ 197444 h 252012"/>
                <a:gd name="connsiteX200" fmla="*/ 58950 w 266700"/>
                <a:gd name="connsiteY200" fmla="*/ 196539 h 252012"/>
                <a:gd name="connsiteX201" fmla="*/ 57808 w 266700"/>
                <a:gd name="connsiteY201" fmla="*/ 196329 h 252012"/>
                <a:gd name="connsiteX202" fmla="*/ 56188 w 266700"/>
                <a:gd name="connsiteY202" fmla="*/ 195396 h 252012"/>
                <a:gd name="connsiteX203" fmla="*/ 55636 w 266700"/>
                <a:gd name="connsiteY203" fmla="*/ 194158 h 252012"/>
                <a:gd name="connsiteX204" fmla="*/ 56455 w 266700"/>
                <a:gd name="connsiteY204" fmla="*/ 192862 h 252012"/>
                <a:gd name="connsiteX205" fmla="*/ 57569 w 266700"/>
                <a:gd name="connsiteY205" fmla="*/ 191681 h 252012"/>
                <a:gd name="connsiteX206" fmla="*/ 59550 w 266700"/>
                <a:gd name="connsiteY206" fmla="*/ 190948 h 252012"/>
                <a:gd name="connsiteX207" fmla="*/ 60150 w 266700"/>
                <a:gd name="connsiteY207" fmla="*/ 190252 h 252012"/>
                <a:gd name="connsiteX208" fmla="*/ 60503 w 266700"/>
                <a:gd name="connsiteY208" fmla="*/ 189214 h 252012"/>
                <a:gd name="connsiteX209" fmla="*/ 61236 w 266700"/>
                <a:gd name="connsiteY209" fmla="*/ 187871 h 252012"/>
                <a:gd name="connsiteX210" fmla="*/ 61046 w 266700"/>
                <a:gd name="connsiteY210" fmla="*/ 187395 h 252012"/>
                <a:gd name="connsiteX211" fmla="*/ 59646 w 266700"/>
                <a:gd name="connsiteY211" fmla="*/ 185871 h 252012"/>
                <a:gd name="connsiteX212" fmla="*/ 57569 w 266700"/>
                <a:gd name="connsiteY212" fmla="*/ 184433 h 252012"/>
                <a:gd name="connsiteX213" fmla="*/ 51797 w 266700"/>
                <a:gd name="connsiteY213" fmla="*/ 185509 h 252012"/>
                <a:gd name="connsiteX214" fmla="*/ 50216 w 266700"/>
                <a:gd name="connsiteY214" fmla="*/ 186280 h 252012"/>
                <a:gd name="connsiteX215" fmla="*/ 49321 w 266700"/>
                <a:gd name="connsiteY215" fmla="*/ 185280 h 252012"/>
                <a:gd name="connsiteX216" fmla="*/ 48644 w 266700"/>
                <a:gd name="connsiteY216" fmla="*/ 183823 h 252012"/>
                <a:gd name="connsiteX217" fmla="*/ 47187 w 266700"/>
                <a:gd name="connsiteY217" fmla="*/ 183537 h 252012"/>
                <a:gd name="connsiteX218" fmla="*/ 45187 w 266700"/>
                <a:gd name="connsiteY218" fmla="*/ 182204 h 252012"/>
                <a:gd name="connsiteX219" fmla="*/ 42815 w 266700"/>
                <a:gd name="connsiteY219" fmla="*/ 180889 h 252012"/>
                <a:gd name="connsiteX220" fmla="*/ 40500 w 266700"/>
                <a:gd name="connsiteY220" fmla="*/ 180508 h 252012"/>
                <a:gd name="connsiteX221" fmla="*/ 35690 w 266700"/>
                <a:gd name="connsiteY221" fmla="*/ 178613 h 252012"/>
                <a:gd name="connsiteX222" fmla="*/ 33833 w 266700"/>
                <a:gd name="connsiteY222" fmla="*/ 178508 h 252012"/>
                <a:gd name="connsiteX223" fmla="*/ 32766 w 266700"/>
                <a:gd name="connsiteY223" fmla="*/ 177860 h 252012"/>
                <a:gd name="connsiteX224" fmla="*/ 31642 w 266700"/>
                <a:gd name="connsiteY224" fmla="*/ 176422 h 252012"/>
                <a:gd name="connsiteX225" fmla="*/ 30689 w 266700"/>
                <a:gd name="connsiteY225" fmla="*/ 174850 h 252012"/>
                <a:gd name="connsiteX226" fmla="*/ 30194 w 266700"/>
                <a:gd name="connsiteY226" fmla="*/ 171650 h 252012"/>
                <a:gd name="connsiteX227" fmla="*/ 26651 w 266700"/>
                <a:gd name="connsiteY227" fmla="*/ 170202 h 252012"/>
                <a:gd name="connsiteX228" fmla="*/ 23117 w 266700"/>
                <a:gd name="connsiteY228" fmla="*/ 169288 h 252012"/>
                <a:gd name="connsiteX229" fmla="*/ 22870 w 266700"/>
                <a:gd name="connsiteY229" fmla="*/ 169754 h 252012"/>
                <a:gd name="connsiteX230" fmla="*/ 23022 w 266700"/>
                <a:gd name="connsiteY230" fmla="*/ 172974 h 252012"/>
                <a:gd name="connsiteX231" fmla="*/ 22832 w 266700"/>
                <a:gd name="connsiteY231" fmla="*/ 174698 h 252012"/>
                <a:gd name="connsiteX232" fmla="*/ 20498 w 266700"/>
                <a:gd name="connsiteY232" fmla="*/ 175755 h 252012"/>
                <a:gd name="connsiteX233" fmla="*/ 18193 w 266700"/>
                <a:gd name="connsiteY233" fmla="*/ 175860 h 252012"/>
                <a:gd name="connsiteX234" fmla="*/ 18317 w 266700"/>
                <a:gd name="connsiteY234" fmla="*/ 175327 h 252012"/>
                <a:gd name="connsiteX235" fmla="*/ 21079 w 266700"/>
                <a:gd name="connsiteY235" fmla="*/ 169526 h 252012"/>
                <a:gd name="connsiteX236" fmla="*/ 22317 w 266700"/>
                <a:gd name="connsiteY236" fmla="*/ 165859 h 252012"/>
                <a:gd name="connsiteX237" fmla="*/ 23736 w 266700"/>
                <a:gd name="connsiteY237" fmla="*/ 159163 h 252012"/>
                <a:gd name="connsiteX238" fmla="*/ 22031 w 266700"/>
                <a:gd name="connsiteY238" fmla="*/ 153857 h 252012"/>
                <a:gd name="connsiteX239" fmla="*/ 21565 w 266700"/>
                <a:gd name="connsiteY239" fmla="*/ 151362 h 252012"/>
                <a:gd name="connsiteX240" fmla="*/ 20774 w 266700"/>
                <a:gd name="connsiteY240" fmla="*/ 150171 h 252012"/>
                <a:gd name="connsiteX241" fmla="*/ 15926 w 266700"/>
                <a:gd name="connsiteY241" fmla="*/ 147571 h 252012"/>
                <a:gd name="connsiteX242" fmla="*/ 15554 w 266700"/>
                <a:gd name="connsiteY242" fmla="*/ 146676 h 252012"/>
                <a:gd name="connsiteX243" fmla="*/ 16297 w 266700"/>
                <a:gd name="connsiteY243" fmla="*/ 143151 h 252012"/>
                <a:gd name="connsiteX244" fmla="*/ 15936 w 266700"/>
                <a:gd name="connsiteY244" fmla="*/ 141665 h 252012"/>
                <a:gd name="connsiteX245" fmla="*/ 14764 w 266700"/>
                <a:gd name="connsiteY245" fmla="*/ 140094 h 252012"/>
                <a:gd name="connsiteX246" fmla="*/ 13231 w 266700"/>
                <a:gd name="connsiteY246" fmla="*/ 136970 h 252012"/>
                <a:gd name="connsiteX247" fmla="*/ 12640 w 266700"/>
                <a:gd name="connsiteY247" fmla="*/ 134312 h 252012"/>
                <a:gd name="connsiteX248" fmla="*/ 14592 w 266700"/>
                <a:gd name="connsiteY248" fmla="*/ 131188 h 252012"/>
                <a:gd name="connsiteX249" fmla="*/ 15078 w 266700"/>
                <a:gd name="connsiteY249" fmla="*/ 128883 h 252012"/>
                <a:gd name="connsiteX250" fmla="*/ 15926 w 266700"/>
                <a:gd name="connsiteY250" fmla="*/ 125730 h 252012"/>
                <a:gd name="connsiteX251" fmla="*/ 16555 w 266700"/>
                <a:gd name="connsiteY251" fmla="*/ 123997 h 252012"/>
                <a:gd name="connsiteX252" fmla="*/ 16679 w 266700"/>
                <a:gd name="connsiteY252" fmla="*/ 123520 h 252012"/>
                <a:gd name="connsiteX253" fmla="*/ 15393 w 266700"/>
                <a:gd name="connsiteY253" fmla="*/ 122291 h 252012"/>
                <a:gd name="connsiteX254" fmla="*/ 15069 w 266700"/>
                <a:gd name="connsiteY254" fmla="*/ 120558 h 252012"/>
                <a:gd name="connsiteX255" fmla="*/ 15411 w 266700"/>
                <a:gd name="connsiteY255" fmla="*/ 118062 h 252012"/>
                <a:gd name="connsiteX256" fmla="*/ 14726 w 266700"/>
                <a:gd name="connsiteY256" fmla="*/ 116205 h 252012"/>
                <a:gd name="connsiteX257" fmla="*/ 13011 w 266700"/>
                <a:gd name="connsiteY257" fmla="*/ 115005 h 252012"/>
                <a:gd name="connsiteX258" fmla="*/ 11897 w 266700"/>
                <a:gd name="connsiteY258" fmla="*/ 113405 h 252012"/>
                <a:gd name="connsiteX259" fmla="*/ 11382 w 266700"/>
                <a:gd name="connsiteY259" fmla="*/ 111423 h 252012"/>
                <a:gd name="connsiteX260" fmla="*/ 11782 w 266700"/>
                <a:gd name="connsiteY260" fmla="*/ 108299 h 252012"/>
                <a:gd name="connsiteX261" fmla="*/ 13116 w 266700"/>
                <a:gd name="connsiteY261" fmla="*/ 104042 h 252012"/>
                <a:gd name="connsiteX262" fmla="*/ 10296 w 266700"/>
                <a:gd name="connsiteY262" fmla="*/ 98898 h 252012"/>
                <a:gd name="connsiteX263" fmla="*/ 3334 w 266700"/>
                <a:gd name="connsiteY263" fmla="*/ 92869 h 252012"/>
                <a:gd name="connsiteX264" fmla="*/ 0 w 266700"/>
                <a:gd name="connsiteY264" fmla="*/ 88649 h 252012"/>
                <a:gd name="connsiteX265" fmla="*/ 267 w 266700"/>
                <a:gd name="connsiteY265" fmla="*/ 86230 h 252012"/>
                <a:gd name="connsiteX266" fmla="*/ 1734 w 266700"/>
                <a:gd name="connsiteY266" fmla="*/ 84039 h 252012"/>
                <a:gd name="connsiteX267" fmla="*/ 4391 w 266700"/>
                <a:gd name="connsiteY267" fmla="*/ 82077 h 252012"/>
                <a:gd name="connsiteX268" fmla="*/ 6411 w 266700"/>
                <a:gd name="connsiteY268" fmla="*/ 78581 h 252012"/>
                <a:gd name="connsiteX269" fmla="*/ 7544 w 266700"/>
                <a:gd name="connsiteY269" fmla="*/ 74419 h 252012"/>
                <a:gd name="connsiteX270" fmla="*/ 7572 w 266700"/>
                <a:gd name="connsiteY270" fmla="*/ 73628 h 252012"/>
                <a:gd name="connsiteX271" fmla="*/ 7639 w 266700"/>
                <a:gd name="connsiteY271" fmla="*/ 70656 h 252012"/>
                <a:gd name="connsiteX272" fmla="*/ 4543 w 266700"/>
                <a:gd name="connsiteY272" fmla="*/ 58446 h 252012"/>
                <a:gd name="connsiteX273" fmla="*/ 4039 w 266700"/>
                <a:gd name="connsiteY273" fmla="*/ 55378 h 252012"/>
                <a:gd name="connsiteX274" fmla="*/ 3667 w 266700"/>
                <a:gd name="connsiteY274" fmla="*/ 51664 h 252012"/>
                <a:gd name="connsiteX275" fmla="*/ 3477 w 266700"/>
                <a:gd name="connsiteY275" fmla="*/ 50654 h 252012"/>
                <a:gd name="connsiteX276" fmla="*/ 9592 w 266700"/>
                <a:gd name="connsiteY276" fmla="*/ 53254 h 252012"/>
                <a:gd name="connsiteX277" fmla="*/ 12154 w 266700"/>
                <a:gd name="connsiteY277" fmla="*/ 54721 h 252012"/>
                <a:gd name="connsiteX278" fmla="*/ 11830 w 266700"/>
                <a:gd name="connsiteY278" fmla="*/ 53073 h 252012"/>
                <a:gd name="connsiteX279" fmla="*/ 11316 w 266700"/>
                <a:gd name="connsiteY279" fmla="*/ 51654 h 252012"/>
                <a:gd name="connsiteX280" fmla="*/ 11659 w 266700"/>
                <a:gd name="connsiteY280" fmla="*/ 49578 h 252012"/>
                <a:gd name="connsiteX281" fmla="*/ 11487 w 266700"/>
                <a:gd name="connsiteY281" fmla="*/ 46434 h 252012"/>
                <a:gd name="connsiteX282" fmla="*/ 5934 w 266700"/>
                <a:gd name="connsiteY282" fmla="*/ 44825 h 252012"/>
                <a:gd name="connsiteX283" fmla="*/ 2267 w 266700"/>
                <a:gd name="connsiteY283" fmla="*/ 44282 h 252012"/>
                <a:gd name="connsiteX284" fmla="*/ 1857 w 266700"/>
                <a:gd name="connsiteY284" fmla="*/ 42091 h 252012"/>
                <a:gd name="connsiteX285" fmla="*/ 2200 w 266700"/>
                <a:gd name="connsiteY285" fmla="*/ 40672 h 252012"/>
                <a:gd name="connsiteX286" fmla="*/ 3220 w 266700"/>
                <a:gd name="connsiteY286" fmla="*/ 41510 h 252012"/>
                <a:gd name="connsiteX287" fmla="*/ 6820 w 266700"/>
                <a:gd name="connsiteY287" fmla="*/ 41834 h 252012"/>
                <a:gd name="connsiteX288" fmla="*/ 15688 w 266700"/>
                <a:gd name="connsiteY288" fmla="*/ 37595 h 252012"/>
                <a:gd name="connsiteX289" fmla="*/ 30995 w 266700"/>
                <a:gd name="connsiteY289" fmla="*/ 32061 h 252012"/>
                <a:gd name="connsiteX290" fmla="*/ 47349 w 266700"/>
                <a:gd name="connsiteY290" fmla="*/ 26870 h 252012"/>
                <a:gd name="connsiteX291" fmla="*/ 51168 w 266700"/>
                <a:gd name="connsiteY291" fmla="*/ 26299 h 252012"/>
                <a:gd name="connsiteX292" fmla="*/ 54997 w 266700"/>
                <a:gd name="connsiteY292" fmla="*/ 25203 h 252012"/>
                <a:gd name="connsiteX293" fmla="*/ 56417 w 266700"/>
                <a:gd name="connsiteY293" fmla="*/ 23251 h 252012"/>
                <a:gd name="connsiteX294" fmla="*/ 57836 w 266700"/>
                <a:gd name="connsiteY294" fmla="*/ 21946 h 252012"/>
                <a:gd name="connsiteX295" fmla="*/ 60055 w 266700"/>
                <a:gd name="connsiteY295" fmla="*/ 18498 h 252012"/>
                <a:gd name="connsiteX296" fmla="*/ 64980 w 266700"/>
                <a:gd name="connsiteY296" fmla="*/ 13125 h 252012"/>
                <a:gd name="connsiteX297" fmla="*/ 73686 w 266700"/>
                <a:gd name="connsiteY297" fmla="*/ 11163 h 252012"/>
                <a:gd name="connsiteX298" fmla="*/ 76943 w 266700"/>
                <a:gd name="connsiteY298" fmla="*/ 8611 h 252012"/>
                <a:gd name="connsiteX299" fmla="*/ 83754 w 266700"/>
                <a:gd name="connsiteY299" fmla="*/ 5029 h 252012"/>
                <a:gd name="connsiteX300" fmla="*/ 99279 w 266700"/>
                <a:gd name="connsiteY300" fmla="*/ 1000 h 252012"/>
                <a:gd name="connsiteX301" fmla="*/ 105775 w 266700"/>
                <a:gd name="connsiteY301" fmla="*/ 105 h 252012"/>
                <a:gd name="connsiteX302" fmla="*/ 112129 w 266700"/>
                <a:gd name="connsiteY302" fmla="*/ 0 h 252012"/>
                <a:gd name="connsiteX303" fmla="*/ 117786 w 266700"/>
                <a:gd name="connsiteY303" fmla="*/ 3181 h 252012"/>
                <a:gd name="connsiteX304" fmla="*/ 123777 w 266700"/>
                <a:gd name="connsiteY304" fmla="*/ 7106 h 252012"/>
                <a:gd name="connsiteX305" fmla="*/ 124854 w 266700"/>
                <a:gd name="connsiteY305" fmla="*/ 9458 h 252012"/>
                <a:gd name="connsiteX306" fmla="*/ 121615 w 266700"/>
                <a:gd name="connsiteY306" fmla="*/ 7991 h 252012"/>
                <a:gd name="connsiteX307" fmla="*/ 116891 w 266700"/>
                <a:gd name="connsiteY307" fmla="*/ 4477 h 252012"/>
                <a:gd name="connsiteX308" fmla="*/ 115138 w 266700"/>
                <a:gd name="connsiteY308" fmla="*/ 4324 h 252012"/>
                <a:gd name="connsiteX309" fmla="*/ 119177 w 266700"/>
                <a:gd name="connsiteY309" fmla="*/ 15002 h 252012"/>
                <a:gd name="connsiteX310" fmla="*/ 121387 w 266700"/>
                <a:gd name="connsiteY310" fmla="*/ 18774 h 252012"/>
                <a:gd name="connsiteX311" fmla="*/ 125835 w 266700"/>
                <a:gd name="connsiteY311" fmla="*/ 21574 h 252012"/>
                <a:gd name="connsiteX312" fmla="*/ 129578 w 266700"/>
                <a:gd name="connsiteY312" fmla="*/ 22527 h 252012"/>
                <a:gd name="connsiteX313" fmla="*/ 141104 w 266700"/>
                <a:gd name="connsiteY313" fmla="*/ 20822 h 252012"/>
                <a:gd name="connsiteX314" fmla="*/ 145189 w 266700"/>
                <a:gd name="connsiteY314" fmla="*/ 18593 h 252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</a:cxnLst>
              <a:rect l="l" t="t" r="r" b="b"/>
              <a:pathLst>
                <a:path w="266700" h="252012">
                  <a:moveTo>
                    <a:pt x="146371" y="17478"/>
                  </a:moveTo>
                  <a:lnTo>
                    <a:pt x="147438" y="18031"/>
                  </a:lnTo>
                  <a:lnTo>
                    <a:pt x="154924" y="18631"/>
                  </a:lnTo>
                  <a:lnTo>
                    <a:pt x="162516" y="19231"/>
                  </a:lnTo>
                  <a:lnTo>
                    <a:pt x="174717" y="19888"/>
                  </a:lnTo>
                  <a:lnTo>
                    <a:pt x="187433" y="20555"/>
                  </a:lnTo>
                  <a:lnTo>
                    <a:pt x="200635" y="21269"/>
                  </a:lnTo>
                  <a:lnTo>
                    <a:pt x="214912" y="22022"/>
                  </a:lnTo>
                  <a:lnTo>
                    <a:pt x="229971" y="22470"/>
                  </a:lnTo>
                  <a:lnTo>
                    <a:pt x="230896" y="22165"/>
                  </a:lnTo>
                  <a:lnTo>
                    <a:pt x="232429" y="20384"/>
                  </a:lnTo>
                  <a:lnTo>
                    <a:pt x="234305" y="20622"/>
                  </a:lnTo>
                  <a:lnTo>
                    <a:pt x="236525" y="21727"/>
                  </a:lnTo>
                  <a:lnTo>
                    <a:pt x="237554" y="22546"/>
                  </a:lnTo>
                  <a:lnTo>
                    <a:pt x="237992" y="23489"/>
                  </a:lnTo>
                  <a:lnTo>
                    <a:pt x="238268" y="24575"/>
                  </a:lnTo>
                  <a:lnTo>
                    <a:pt x="239478" y="24784"/>
                  </a:lnTo>
                  <a:lnTo>
                    <a:pt x="241697" y="25613"/>
                  </a:lnTo>
                  <a:lnTo>
                    <a:pt x="244688" y="27489"/>
                  </a:lnTo>
                  <a:lnTo>
                    <a:pt x="247031" y="29308"/>
                  </a:lnTo>
                  <a:lnTo>
                    <a:pt x="249269" y="31899"/>
                  </a:lnTo>
                  <a:lnTo>
                    <a:pt x="250012" y="34833"/>
                  </a:lnTo>
                  <a:lnTo>
                    <a:pt x="250050" y="38157"/>
                  </a:lnTo>
                  <a:lnTo>
                    <a:pt x="249907" y="40291"/>
                  </a:lnTo>
                  <a:lnTo>
                    <a:pt x="250098" y="41158"/>
                  </a:lnTo>
                  <a:lnTo>
                    <a:pt x="253155" y="56521"/>
                  </a:lnTo>
                  <a:lnTo>
                    <a:pt x="258242" y="71218"/>
                  </a:lnTo>
                  <a:lnTo>
                    <a:pt x="260109" y="78286"/>
                  </a:lnTo>
                  <a:lnTo>
                    <a:pt x="260852" y="82039"/>
                  </a:lnTo>
                  <a:lnTo>
                    <a:pt x="261452" y="87468"/>
                  </a:lnTo>
                  <a:lnTo>
                    <a:pt x="261633" y="91278"/>
                  </a:lnTo>
                  <a:lnTo>
                    <a:pt x="261614" y="93412"/>
                  </a:lnTo>
                  <a:lnTo>
                    <a:pt x="261233" y="96345"/>
                  </a:lnTo>
                  <a:lnTo>
                    <a:pt x="259728" y="98079"/>
                  </a:lnTo>
                  <a:lnTo>
                    <a:pt x="249964" y="103032"/>
                  </a:lnTo>
                  <a:lnTo>
                    <a:pt x="248126" y="104575"/>
                  </a:lnTo>
                  <a:lnTo>
                    <a:pt x="245250" y="108423"/>
                  </a:lnTo>
                  <a:lnTo>
                    <a:pt x="242592" y="112376"/>
                  </a:lnTo>
                  <a:lnTo>
                    <a:pt x="241983" y="113729"/>
                  </a:lnTo>
                  <a:lnTo>
                    <a:pt x="241821" y="114614"/>
                  </a:lnTo>
                  <a:lnTo>
                    <a:pt x="242411" y="115910"/>
                  </a:lnTo>
                  <a:lnTo>
                    <a:pt x="245888" y="118015"/>
                  </a:lnTo>
                  <a:lnTo>
                    <a:pt x="249393" y="119710"/>
                  </a:lnTo>
                  <a:lnTo>
                    <a:pt x="250536" y="120977"/>
                  </a:lnTo>
                  <a:lnTo>
                    <a:pt x="253127" y="122596"/>
                  </a:lnTo>
                  <a:lnTo>
                    <a:pt x="254070" y="124054"/>
                  </a:lnTo>
                  <a:lnTo>
                    <a:pt x="254584" y="125311"/>
                  </a:lnTo>
                  <a:lnTo>
                    <a:pt x="254546" y="128235"/>
                  </a:lnTo>
                  <a:lnTo>
                    <a:pt x="253384" y="132264"/>
                  </a:lnTo>
                  <a:lnTo>
                    <a:pt x="253870" y="135303"/>
                  </a:lnTo>
                  <a:lnTo>
                    <a:pt x="252679" y="137331"/>
                  </a:lnTo>
                  <a:lnTo>
                    <a:pt x="251708" y="139579"/>
                  </a:lnTo>
                  <a:lnTo>
                    <a:pt x="251565" y="143504"/>
                  </a:lnTo>
                  <a:lnTo>
                    <a:pt x="253318" y="147828"/>
                  </a:lnTo>
                  <a:lnTo>
                    <a:pt x="254756" y="150781"/>
                  </a:lnTo>
                  <a:lnTo>
                    <a:pt x="255308" y="153095"/>
                  </a:lnTo>
                  <a:lnTo>
                    <a:pt x="254727" y="154905"/>
                  </a:lnTo>
                  <a:lnTo>
                    <a:pt x="254898" y="156715"/>
                  </a:lnTo>
                  <a:lnTo>
                    <a:pt x="256184" y="158639"/>
                  </a:lnTo>
                  <a:lnTo>
                    <a:pt x="260223" y="164544"/>
                  </a:lnTo>
                  <a:lnTo>
                    <a:pt x="262214" y="170212"/>
                  </a:lnTo>
                  <a:lnTo>
                    <a:pt x="263490" y="172421"/>
                  </a:lnTo>
                  <a:lnTo>
                    <a:pt x="266433" y="175279"/>
                  </a:lnTo>
                  <a:lnTo>
                    <a:pt x="266700" y="176451"/>
                  </a:lnTo>
                  <a:lnTo>
                    <a:pt x="265519" y="177527"/>
                  </a:lnTo>
                  <a:lnTo>
                    <a:pt x="264566" y="177670"/>
                  </a:lnTo>
                  <a:lnTo>
                    <a:pt x="263795" y="177956"/>
                  </a:lnTo>
                  <a:lnTo>
                    <a:pt x="263300" y="178956"/>
                  </a:lnTo>
                  <a:lnTo>
                    <a:pt x="264071" y="180032"/>
                  </a:lnTo>
                  <a:lnTo>
                    <a:pt x="265109" y="181604"/>
                  </a:lnTo>
                  <a:lnTo>
                    <a:pt x="266405" y="186052"/>
                  </a:lnTo>
                  <a:lnTo>
                    <a:pt x="266281" y="189690"/>
                  </a:lnTo>
                  <a:lnTo>
                    <a:pt x="265281" y="190614"/>
                  </a:lnTo>
                  <a:lnTo>
                    <a:pt x="264004" y="192767"/>
                  </a:lnTo>
                  <a:lnTo>
                    <a:pt x="263147" y="194739"/>
                  </a:lnTo>
                  <a:lnTo>
                    <a:pt x="256165" y="196101"/>
                  </a:lnTo>
                  <a:lnTo>
                    <a:pt x="254489" y="198206"/>
                  </a:lnTo>
                  <a:lnTo>
                    <a:pt x="250670" y="202254"/>
                  </a:lnTo>
                  <a:lnTo>
                    <a:pt x="248069" y="204588"/>
                  </a:lnTo>
                  <a:lnTo>
                    <a:pt x="244212" y="208788"/>
                  </a:lnTo>
                  <a:lnTo>
                    <a:pt x="238116" y="215989"/>
                  </a:lnTo>
                  <a:lnTo>
                    <a:pt x="235868" y="218999"/>
                  </a:lnTo>
                  <a:lnTo>
                    <a:pt x="234220" y="221485"/>
                  </a:lnTo>
                  <a:lnTo>
                    <a:pt x="229286" y="228076"/>
                  </a:lnTo>
                  <a:lnTo>
                    <a:pt x="227772" y="230839"/>
                  </a:lnTo>
                  <a:lnTo>
                    <a:pt x="228067" y="233105"/>
                  </a:lnTo>
                  <a:lnTo>
                    <a:pt x="229658" y="238430"/>
                  </a:lnTo>
                  <a:lnTo>
                    <a:pt x="229991" y="240830"/>
                  </a:lnTo>
                  <a:lnTo>
                    <a:pt x="229705" y="243040"/>
                  </a:lnTo>
                  <a:lnTo>
                    <a:pt x="229181" y="245012"/>
                  </a:lnTo>
                  <a:lnTo>
                    <a:pt x="229276" y="245888"/>
                  </a:lnTo>
                  <a:lnTo>
                    <a:pt x="230734" y="247317"/>
                  </a:lnTo>
                  <a:lnTo>
                    <a:pt x="233048" y="249555"/>
                  </a:lnTo>
                  <a:lnTo>
                    <a:pt x="233182" y="250307"/>
                  </a:lnTo>
                  <a:lnTo>
                    <a:pt x="232858" y="251279"/>
                  </a:lnTo>
                  <a:lnTo>
                    <a:pt x="232058" y="252013"/>
                  </a:lnTo>
                  <a:lnTo>
                    <a:pt x="229152" y="251231"/>
                  </a:lnTo>
                  <a:lnTo>
                    <a:pt x="225914" y="249717"/>
                  </a:lnTo>
                  <a:lnTo>
                    <a:pt x="224809" y="249907"/>
                  </a:lnTo>
                  <a:lnTo>
                    <a:pt x="223057" y="249546"/>
                  </a:lnTo>
                  <a:lnTo>
                    <a:pt x="215827" y="246621"/>
                  </a:lnTo>
                  <a:lnTo>
                    <a:pt x="210951" y="244326"/>
                  </a:lnTo>
                  <a:lnTo>
                    <a:pt x="210464" y="242830"/>
                  </a:lnTo>
                  <a:lnTo>
                    <a:pt x="209550" y="240668"/>
                  </a:lnTo>
                  <a:lnTo>
                    <a:pt x="207473" y="238849"/>
                  </a:lnTo>
                  <a:lnTo>
                    <a:pt x="202711" y="237277"/>
                  </a:lnTo>
                  <a:lnTo>
                    <a:pt x="200778" y="236049"/>
                  </a:lnTo>
                  <a:lnTo>
                    <a:pt x="193043" y="235363"/>
                  </a:lnTo>
                  <a:lnTo>
                    <a:pt x="189691" y="235334"/>
                  </a:lnTo>
                  <a:lnTo>
                    <a:pt x="187319" y="235839"/>
                  </a:lnTo>
                  <a:lnTo>
                    <a:pt x="185794" y="235791"/>
                  </a:lnTo>
                  <a:lnTo>
                    <a:pt x="183709" y="239001"/>
                  </a:lnTo>
                  <a:lnTo>
                    <a:pt x="182270" y="239935"/>
                  </a:lnTo>
                  <a:lnTo>
                    <a:pt x="180166" y="240030"/>
                  </a:lnTo>
                  <a:lnTo>
                    <a:pt x="178318" y="239459"/>
                  </a:lnTo>
                  <a:lnTo>
                    <a:pt x="176432" y="237773"/>
                  </a:lnTo>
                  <a:lnTo>
                    <a:pt x="173422" y="236877"/>
                  </a:lnTo>
                  <a:lnTo>
                    <a:pt x="171241" y="237306"/>
                  </a:lnTo>
                  <a:lnTo>
                    <a:pt x="169631" y="236944"/>
                  </a:lnTo>
                  <a:lnTo>
                    <a:pt x="168250" y="236849"/>
                  </a:lnTo>
                  <a:lnTo>
                    <a:pt x="167764" y="237192"/>
                  </a:lnTo>
                  <a:lnTo>
                    <a:pt x="166650" y="237144"/>
                  </a:lnTo>
                  <a:lnTo>
                    <a:pt x="165040" y="237954"/>
                  </a:lnTo>
                  <a:lnTo>
                    <a:pt x="163268" y="239087"/>
                  </a:lnTo>
                  <a:lnTo>
                    <a:pt x="161325" y="239963"/>
                  </a:lnTo>
                  <a:lnTo>
                    <a:pt x="159820" y="241830"/>
                  </a:lnTo>
                  <a:lnTo>
                    <a:pt x="158487" y="245478"/>
                  </a:lnTo>
                  <a:lnTo>
                    <a:pt x="154705" y="243840"/>
                  </a:lnTo>
                  <a:lnTo>
                    <a:pt x="153448" y="244554"/>
                  </a:lnTo>
                  <a:lnTo>
                    <a:pt x="151657" y="245031"/>
                  </a:lnTo>
                  <a:lnTo>
                    <a:pt x="150438" y="244535"/>
                  </a:lnTo>
                  <a:lnTo>
                    <a:pt x="150724" y="243278"/>
                  </a:lnTo>
                  <a:lnTo>
                    <a:pt x="151276" y="241859"/>
                  </a:lnTo>
                  <a:lnTo>
                    <a:pt x="151248" y="239878"/>
                  </a:lnTo>
                  <a:lnTo>
                    <a:pt x="150905" y="237677"/>
                  </a:lnTo>
                  <a:lnTo>
                    <a:pt x="149733" y="236963"/>
                  </a:lnTo>
                  <a:lnTo>
                    <a:pt x="147971" y="236706"/>
                  </a:lnTo>
                  <a:lnTo>
                    <a:pt x="147066" y="236268"/>
                  </a:lnTo>
                  <a:lnTo>
                    <a:pt x="146971" y="235544"/>
                  </a:lnTo>
                  <a:lnTo>
                    <a:pt x="146066" y="234610"/>
                  </a:lnTo>
                  <a:lnTo>
                    <a:pt x="144504" y="232248"/>
                  </a:lnTo>
                  <a:lnTo>
                    <a:pt x="143037" y="229295"/>
                  </a:lnTo>
                  <a:lnTo>
                    <a:pt x="142018" y="228429"/>
                  </a:lnTo>
                  <a:lnTo>
                    <a:pt x="140541" y="229829"/>
                  </a:lnTo>
                  <a:lnTo>
                    <a:pt x="138303" y="231419"/>
                  </a:lnTo>
                  <a:lnTo>
                    <a:pt x="136903" y="231972"/>
                  </a:lnTo>
                  <a:lnTo>
                    <a:pt x="134208" y="236544"/>
                  </a:lnTo>
                  <a:lnTo>
                    <a:pt x="129369" y="236696"/>
                  </a:lnTo>
                  <a:lnTo>
                    <a:pt x="129074" y="234563"/>
                  </a:lnTo>
                  <a:lnTo>
                    <a:pt x="128559" y="232505"/>
                  </a:lnTo>
                  <a:lnTo>
                    <a:pt x="125730" y="232000"/>
                  </a:lnTo>
                  <a:lnTo>
                    <a:pt x="125645" y="230791"/>
                  </a:lnTo>
                  <a:lnTo>
                    <a:pt x="125054" y="227762"/>
                  </a:lnTo>
                  <a:lnTo>
                    <a:pt x="119377" y="221828"/>
                  </a:lnTo>
                  <a:lnTo>
                    <a:pt x="118691" y="219351"/>
                  </a:lnTo>
                  <a:lnTo>
                    <a:pt x="118910" y="218389"/>
                  </a:lnTo>
                  <a:lnTo>
                    <a:pt x="118520" y="216808"/>
                  </a:lnTo>
                  <a:lnTo>
                    <a:pt x="117281" y="215856"/>
                  </a:lnTo>
                  <a:lnTo>
                    <a:pt x="112795" y="214722"/>
                  </a:lnTo>
                  <a:lnTo>
                    <a:pt x="111643" y="215370"/>
                  </a:lnTo>
                  <a:lnTo>
                    <a:pt x="110604" y="214703"/>
                  </a:lnTo>
                  <a:lnTo>
                    <a:pt x="108966" y="213274"/>
                  </a:lnTo>
                  <a:lnTo>
                    <a:pt x="106137" y="212112"/>
                  </a:lnTo>
                  <a:lnTo>
                    <a:pt x="105823" y="211512"/>
                  </a:lnTo>
                  <a:lnTo>
                    <a:pt x="104803" y="210483"/>
                  </a:lnTo>
                  <a:lnTo>
                    <a:pt x="104242" y="210350"/>
                  </a:lnTo>
                  <a:lnTo>
                    <a:pt x="103870" y="210969"/>
                  </a:lnTo>
                  <a:lnTo>
                    <a:pt x="103051" y="211846"/>
                  </a:lnTo>
                  <a:lnTo>
                    <a:pt x="100136" y="212960"/>
                  </a:lnTo>
                  <a:lnTo>
                    <a:pt x="98974" y="212503"/>
                  </a:lnTo>
                  <a:lnTo>
                    <a:pt x="97917" y="211541"/>
                  </a:lnTo>
                  <a:lnTo>
                    <a:pt x="96707" y="209455"/>
                  </a:lnTo>
                  <a:lnTo>
                    <a:pt x="94955" y="207626"/>
                  </a:lnTo>
                  <a:lnTo>
                    <a:pt x="93516" y="206978"/>
                  </a:lnTo>
                  <a:lnTo>
                    <a:pt x="92688" y="206016"/>
                  </a:lnTo>
                  <a:lnTo>
                    <a:pt x="92507" y="205273"/>
                  </a:lnTo>
                  <a:lnTo>
                    <a:pt x="95708" y="203768"/>
                  </a:lnTo>
                  <a:lnTo>
                    <a:pt x="96412" y="202216"/>
                  </a:lnTo>
                  <a:lnTo>
                    <a:pt x="96003" y="199387"/>
                  </a:lnTo>
                  <a:lnTo>
                    <a:pt x="95526" y="199034"/>
                  </a:lnTo>
                  <a:lnTo>
                    <a:pt x="94250" y="199987"/>
                  </a:lnTo>
                  <a:lnTo>
                    <a:pt x="91573" y="200825"/>
                  </a:lnTo>
                  <a:lnTo>
                    <a:pt x="89116" y="201216"/>
                  </a:lnTo>
                  <a:lnTo>
                    <a:pt x="87849" y="201216"/>
                  </a:lnTo>
                  <a:lnTo>
                    <a:pt x="80810" y="196063"/>
                  </a:lnTo>
                  <a:lnTo>
                    <a:pt x="76238" y="194481"/>
                  </a:lnTo>
                  <a:lnTo>
                    <a:pt x="73543" y="194024"/>
                  </a:lnTo>
                  <a:lnTo>
                    <a:pt x="73257" y="194548"/>
                  </a:lnTo>
                  <a:lnTo>
                    <a:pt x="74466" y="197444"/>
                  </a:lnTo>
                  <a:lnTo>
                    <a:pt x="76581" y="201016"/>
                  </a:lnTo>
                  <a:lnTo>
                    <a:pt x="76476" y="201959"/>
                  </a:lnTo>
                  <a:lnTo>
                    <a:pt x="73952" y="203416"/>
                  </a:lnTo>
                  <a:lnTo>
                    <a:pt x="72523" y="204054"/>
                  </a:lnTo>
                  <a:lnTo>
                    <a:pt x="70838" y="205283"/>
                  </a:lnTo>
                  <a:lnTo>
                    <a:pt x="69409" y="206997"/>
                  </a:lnTo>
                  <a:lnTo>
                    <a:pt x="68170" y="207769"/>
                  </a:lnTo>
                  <a:lnTo>
                    <a:pt x="67103" y="207569"/>
                  </a:lnTo>
                  <a:lnTo>
                    <a:pt x="65970" y="206750"/>
                  </a:lnTo>
                  <a:lnTo>
                    <a:pt x="63055" y="201482"/>
                  </a:lnTo>
                  <a:lnTo>
                    <a:pt x="59388" y="197444"/>
                  </a:lnTo>
                  <a:lnTo>
                    <a:pt x="58950" y="196539"/>
                  </a:lnTo>
                  <a:lnTo>
                    <a:pt x="57808" y="196329"/>
                  </a:lnTo>
                  <a:lnTo>
                    <a:pt x="56188" y="195396"/>
                  </a:lnTo>
                  <a:lnTo>
                    <a:pt x="55636" y="194158"/>
                  </a:lnTo>
                  <a:lnTo>
                    <a:pt x="56455" y="192862"/>
                  </a:lnTo>
                  <a:lnTo>
                    <a:pt x="57569" y="191681"/>
                  </a:lnTo>
                  <a:lnTo>
                    <a:pt x="59550" y="190948"/>
                  </a:lnTo>
                  <a:lnTo>
                    <a:pt x="60150" y="190252"/>
                  </a:lnTo>
                  <a:lnTo>
                    <a:pt x="60503" y="189214"/>
                  </a:lnTo>
                  <a:lnTo>
                    <a:pt x="61236" y="187871"/>
                  </a:lnTo>
                  <a:lnTo>
                    <a:pt x="61046" y="187395"/>
                  </a:lnTo>
                  <a:lnTo>
                    <a:pt x="59646" y="185871"/>
                  </a:lnTo>
                  <a:lnTo>
                    <a:pt x="57569" y="184433"/>
                  </a:lnTo>
                  <a:lnTo>
                    <a:pt x="51797" y="185509"/>
                  </a:lnTo>
                  <a:lnTo>
                    <a:pt x="50216" y="186280"/>
                  </a:lnTo>
                  <a:lnTo>
                    <a:pt x="49321" y="185280"/>
                  </a:lnTo>
                  <a:lnTo>
                    <a:pt x="48644" y="183823"/>
                  </a:lnTo>
                  <a:lnTo>
                    <a:pt x="47187" y="183537"/>
                  </a:lnTo>
                  <a:lnTo>
                    <a:pt x="45187" y="182204"/>
                  </a:lnTo>
                  <a:lnTo>
                    <a:pt x="42815" y="180889"/>
                  </a:lnTo>
                  <a:lnTo>
                    <a:pt x="40500" y="180508"/>
                  </a:lnTo>
                  <a:lnTo>
                    <a:pt x="35690" y="178613"/>
                  </a:lnTo>
                  <a:lnTo>
                    <a:pt x="33833" y="178508"/>
                  </a:lnTo>
                  <a:lnTo>
                    <a:pt x="32766" y="177860"/>
                  </a:lnTo>
                  <a:lnTo>
                    <a:pt x="31642" y="176422"/>
                  </a:lnTo>
                  <a:lnTo>
                    <a:pt x="30689" y="174850"/>
                  </a:lnTo>
                  <a:lnTo>
                    <a:pt x="30194" y="171650"/>
                  </a:lnTo>
                  <a:lnTo>
                    <a:pt x="26651" y="170202"/>
                  </a:lnTo>
                  <a:lnTo>
                    <a:pt x="23117" y="169288"/>
                  </a:lnTo>
                  <a:lnTo>
                    <a:pt x="22870" y="169754"/>
                  </a:lnTo>
                  <a:lnTo>
                    <a:pt x="23022" y="172974"/>
                  </a:lnTo>
                  <a:lnTo>
                    <a:pt x="22832" y="174698"/>
                  </a:lnTo>
                  <a:lnTo>
                    <a:pt x="20498" y="175755"/>
                  </a:lnTo>
                  <a:lnTo>
                    <a:pt x="18193" y="175860"/>
                  </a:lnTo>
                  <a:lnTo>
                    <a:pt x="18317" y="175327"/>
                  </a:lnTo>
                  <a:lnTo>
                    <a:pt x="21079" y="169526"/>
                  </a:lnTo>
                  <a:lnTo>
                    <a:pt x="22317" y="165859"/>
                  </a:lnTo>
                  <a:lnTo>
                    <a:pt x="23736" y="159163"/>
                  </a:lnTo>
                  <a:lnTo>
                    <a:pt x="22031" y="153857"/>
                  </a:lnTo>
                  <a:lnTo>
                    <a:pt x="21565" y="151362"/>
                  </a:lnTo>
                  <a:lnTo>
                    <a:pt x="20774" y="150171"/>
                  </a:lnTo>
                  <a:lnTo>
                    <a:pt x="15926" y="147571"/>
                  </a:lnTo>
                  <a:lnTo>
                    <a:pt x="15554" y="146676"/>
                  </a:lnTo>
                  <a:lnTo>
                    <a:pt x="16297" y="143151"/>
                  </a:lnTo>
                  <a:lnTo>
                    <a:pt x="15936" y="141665"/>
                  </a:lnTo>
                  <a:lnTo>
                    <a:pt x="14764" y="140094"/>
                  </a:lnTo>
                  <a:lnTo>
                    <a:pt x="13231" y="136970"/>
                  </a:lnTo>
                  <a:lnTo>
                    <a:pt x="12640" y="134312"/>
                  </a:lnTo>
                  <a:lnTo>
                    <a:pt x="14592" y="131188"/>
                  </a:lnTo>
                  <a:lnTo>
                    <a:pt x="15078" y="128883"/>
                  </a:lnTo>
                  <a:lnTo>
                    <a:pt x="15926" y="125730"/>
                  </a:lnTo>
                  <a:lnTo>
                    <a:pt x="16555" y="123997"/>
                  </a:lnTo>
                  <a:lnTo>
                    <a:pt x="16679" y="123520"/>
                  </a:lnTo>
                  <a:lnTo>
                    <a:pt x="15393" y="122291"/>
                  </a:lnTo>
                  <a:lnTo>
                    <a:pt x="15069" y="120558"/>
                  </a:lnTo>
                  <a:lnTo>
                    <a:pt x="15411" y="118062"/>
                  </a:lnTo>
                  <a:lnTo>
                    <a:pt x="14726" y="116205"/>
                  </a:lnTo>
                  <a:lnTo>
                    <a:pt x="13011" y="115005"/>
                  </a:lnTo>
                  <a:lnTo>
                    <a:pt x="11897" y="113405"/>
                  </a:lnTo>
                  <a:lnTo>
                    <a:pt x="11382" y="111423"/>
                  </a:lnTo>
                  <a:lnTo>
                    <a:pt x="11782" y="108299"/>
                  </a:lnTo>
                  <a:lnTo>
                    <a:pt x="13116" y="104042"/>
                  </a:lnTo>
                  <a:lnTo>
                    <a:pt x="10296" y="98898"/>
                  </a:lnTo>
                  <a:lnTo>
                    <a:pt x="3334" y="92869"/>
                  </a:lnTo>
                  <a:lnTo>
                    <a:pt x="0" y="88649"/>
                  </a:lnTo>
                  <a:lnTo>
                    <a:pt x="267" y="86230"/>
                  </a:lnTo>
                  <a:lnTo>
                    <a:pt x="1734" y="84039"/>
                  </a:lnTo>
                  <a:lnTo>
                    <a:pt x="4391" y="82077"/>
                  </a:lnTo>
                  <a:lnTo>
                    <a:pt x="6411" y="78581"/>
                  </a:lnTo>
                  <a:lnTo>
                    <a:pt x="7544" y="74419"/>
                  </a:lnTo>
                  <a:lnTo>
                    <a:pt x="7572" y="73628"/>
                  </a:lnTo>
                  <a:lnTo>
                    <a:pt x="7639" y="70656"/>
                  </a:lnTo>
                  <a:lnTo>
                    <a:pt x="4543" y="58446"/>
                  </a:lnTo>
                  <a:lnTo>
                    <a:pt x="4039" y="55378"/>
                  </a:lnTo>
                  <a:lnTo>
                    <a:pt x="3667" y="51664"/>
                  </a:lnTo>
                  <a:lnTo>
                    <a:pt x="3477" y="50654"/>
                  </a:lnTo>
                  <a:lnTo>
                    <a:pt x="9592" y="53254"/>
                  </a:lnTo>
                  <a:lnTo>
                    <a:pt x="12154" y="54721"/>
                  </a:lnTo>
                  <a:lnTo>
                    <a:pt x="11830" y="53073"/>
                  </a:lnTo>
                  <a:lnTo>
                    <a:pt x="11316" y="51654"/>
                  </a:lnTo>
                  <a:lnTo>
                    <a:pt x="11659" y="49578"/>
                  </a:lnTo>
                  <a:lnTo>
                    <a:pt x="11487" y="46434"/>
                  </a:lnTo>
                  <a:lnTo>
                    <a:pt x="5934" y="44825"/>
                  </a:lnTo>
                  <a:lnTo>
                    <a:pt x="2267" y="44282"/>
                  </a:lnTo>
                  <a:lnTo>
                    <a:pt x="1857" y="42091"/>
                  </a:lnTo>
                  <a:lnTo>
                    <a:pt x="2200" y="40672"/>
                  </a:lnTo>
                  <a:lnTo>
                    <a:pt x="3220" y="41510"/>
                  </a:lnTo>
                  <a:lnTo>
                    <a:pt x="6820" y="41834"/>
                  </a:lnTo>
                  <a:lnTo>
                    <a:pt x="15688" y="37595"/>
                  </a:lnTo>
                  <a:lnTo>
                    <a:pt x="30995" y="32061"/>
                  </a:lnTo>
                  <a:lnTo>
                    <a:pt x="47349" y="26870"/>
                  </a:lnTo>
                  <a:lnTo>
                    <a:pt x="51168" y="26299"/>
                  </a:lnTo>
                  <a:lnTo>
                    <a:pt x="54997" y="25203"/>
                  </a:lnTo>
                  <a:lnTo>
                    <a:pt x="56417" y="23251"/>
                  </a:lnTo>
                  <a:lnTo>
                    <a:pt x="57836" y="21946"/>
                  </a:lnTo>
                  <a:lnTo>
                    <a:pt x="60055" y="18498"/>
                  </a:lnTo>
                  <a:lnTo>
                    <a:pt x="64980" y="13125"/>
                  </a:lnTo>
                  <a:lnTo>
                    <a:pt x="73686" y="11163"/>
                  </a:lnTo>
                  <a:lnTo>
                    <a:pt x="76943" y="8611"/>
                  </a:lnTo>
                  <a:lnTo>
                    <a:pt x="83754" y="5029"/>
                  </a:lnTo>
                  <a:lnTo>
                    <a:pt x="99279" y="1000"/>
                  </a:lnTo>
                  <a:lnTo>
                    <a:pt x="105775" y="105"/>
                  </a:lnTo>
                  <a:lnTo>
                    <a:pt x="112129" y="0"/>
                  </a:lnTo>
                  <a:lnTo>
                    <a:pt x="117786" y="3181"/>
                  </a:lnTo>
                  <a:lnTo>
                    <a:pt x="123777" y="7106"/>
                  </a:lnTo>
                  <a:lnTo>
                    <a:pt x="124854" y="9458"/>
                  </a:lnTo>
                  <a:lnTo>
                    <a:pt x="121615" y="7991"/>
                  </a:lnTo>
                  <a:lnTo>
                    <a:pt x="116891" y="4477"/>
                  </a:lnTo>
                  <a:lnTo>
                    <a:pt x="115138" y="4324"/>
                  </a:lnTo>
                  <a:lnTo>
                    <a:pt x="119177" y="15002"/>
                  </a:lnTo>
                  <a:lnTo>
                    <a:pt x="121387" y="18774"/>
                  </a:lnTo>
                  <a:lnTo>
                    <a:pt x="125835" y="21574"/>
                  </a:lnTo>
                  <a:lnTo>
                    <a:pt x="129578" y="22527"/>
                  </a:lnTo>
                  <a:lnTo>
                    <a:pt x="141104" y="20822"/>
                  </a:lnTo>
                  <a:lnTo>
                    <a:pt x="145189" y="18593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9" name="Forme libre : forme 45">
              <a:extLst>
                <a:ext uri="{FF2B5EF4-FFF2-40B4-BE49-F238E27FC236}">
                  <a16:creationId xmlns:a16="http://schemas.microsoft.com/office/drawing/2014/main" id="{39AF76AF-1BE3-7C69-42C1-DC50F819954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108318" y="5212291"/>
              <a:ext cx="302478" cy="614387"/>
            </a:xfrm>
            <a:custGeom>
              <a:avLst/>
              <a:gdLst>
                <a:gd name="connsiteX0" fmla="*/ 112417 w 302478"/>
                <a:gd name="connsiteY0" fmla="*/ 0 h 614387"/>
                <a:gd name="connsiteX1" fmla="*/ 117331 w 302478"/>
                <a:gd name="connsiteY1" fmla="*/ 461 h 614387"/>
                <a:gd name="connsiteX2" fmla="*/ 118155 w 302478"/>
                <a:gd name="connsiteY2" fmla="*/ 3200 h 614387"/>
                <a:gd name="connsiteX3" fmla="*/ 120991 w 302478"/>
                <a:gd name="connsiteY3" fmla="*/ 8478 h 614387"/>
                <a:gd name="connsiteX4" fmla="*/ 124157 w 302478"/>
                <a:gd name="connsiteY4" fmla="*/ 12138 h 614387"/>
                <a:gd name="connsiteX5" fmla="*/ 125015 w 302478"/>
                <a:gd name="connsiteY5" fmla="*/ 14843 h 614387"/>
                <a:gd name="connsiteX6" fmla="*/ 117296 w 302478"/>
                <a:gd name="connsiteY6" fmla="*/ 26157 h 614387"/>
                <a:gd name="connsiteX7" fmla="*/ 116244 w 302478"/>
                <a:gd name="connsiteY7" fmla="*/ 30018 h 614387"/>
                <a:gd name="connsiteX8" fmla="*/ 120268 w 302478"/>
                <a:gd name="connsiteY8" fmla="*/ 37307 h 614387"/>
                <a:gd name="connsiteX9" fmla="*/ 120860 w 302478"/>
                <a:gd name="connsiteY9" fmla="*/ 39617 h 614387"/>
                <a:gd name="connsiteX10" fmla="*/ 122806 w 302478"/>
                <a:gd name="connsiteY10" fmla="*/ 40604 h 614387"/>
                <a:gd name="connsiteX11" fmla="*/ 128184 w 302478"/>
                <a:gd name="connsiteY11" fmla="*/ 40341 h 614387"/>
                <a:gd name="connsiteX12" fmla="*/ 137749 w 302478"/>
                <a:gd name="connsiteY12" fmla="*/ 35659 h 614387"/>
                <a:gd name="connsiteX13" fmla="*/ 144246 w 302478"/>
                <a:gd name="connsiteY13" fmla="*/ 31732 h 614387"/>
                <a:gd name="connsiteX14" fmla="*/ 146521 w 302478"/>
                <a:gd name="connsiteY14" fmla="*/ 33349 h 614387"/>
                <a:gd name="connsiteX15" fmla="*/ 165356 w 302478"/>
                <a:gd name="connsiteY15" fmla="*/ 31140 h 614387"/>
                <a:gd name="connsiteX16" fmla="*/ 169810 w 302478"/>
                <a:gd name="connsiteY16" fmla="*/ 32920 h 614387"/>
                <a:gd name="connsiteX17" fmla="*/ 172778 w 302478"/>
                <a:gd name="connsiteY17" fmla="*/ 34932 h 614387"/>
                <a:gd name="connsiteX18" fmla="*/ 182048 w 302478"/>
                <a:gd name="connsiteY18" fmla="*/ 37636 h 614387"/>
                <a:gd name="connsiteX19" fmla="*/ 192143 w 302478"/>
                <a:gd name="connsiteY19" fmla="*/ 37934 h 614387"/>
                <a:gd name="connsiteX20" fmla="*/ 204641 w 302478"/>
                <a:gd name="connsiteY20" fmla="*/ 34139 h 614387"/>
                <a:gd name="connsiteX21" fmla="*/ 210119 w 302478"/>
                <a:gd name="connsiteY21" fmla="*/ 30316 h 614387"/>
                <a:gd name="connsiteX22" fmla="*/ 211172 w 302478"/>
                <a:gd name="connsiteY22" fmla="*/ 26091 h 614387"/>
                <a:gd name="connsiteX23" fmla="*/ 211439 w 302478"/>
                <a:gd name="connsiteY23" fmla="*/ 22891 h 614387"/>
                <a:gd name="connsiteX24" fmla="*/ 213053 w 302478"/>
                <a:gd name="connsiteY24" fmla="*/ 20848 h 614387"/>
                <a:gd name="connsiteX25" fmla="*/ 215892 w 302478"/>
                <a:gd name="connsiteY25" fmla="*/ 19694 h 614387"/>
                <a:gd name="connsiteX26" fmla="*/ 220346 w 302478"/>
                <a:gd name="connsiteY26" fmla="*/ 21772 h 614387"/>
                <a:gd name="connsiteX27" fmla="*/ 226711 w 302478"/>
                <a:gd name="connsiteY27" fmla="*/ 23452 h 614387"/>
                <a:gd name="connsiteX28" fmla="*/ 241983 w 302478"/>
                <a:gd name="connsiteY28" fmla="*/ 24144 h 614387"/>
                <a:gd name="connsiteX29" fmla="*/ 244982 w 302478"/>
                <a:gd name="connsiteY29" fmla="*/ 21803 h 614387"/>
                <a:gd name="connsiteX30" fmla="*/ 250163 w 302478"/>
                <a:gd name="connsiteY30" fmla="*/ 22496 h 614387"/>
                <a:gd name="connsiteX31" fmla="*/ 256992 w 302478"/>
                <a:gd name="connsiteY31" fmla="*/ 25464 h 614387"/>
                <a:gd name="connsiteX32" fmla="*/ 264874 w 302478"/>
                <a:gd name="connsiteY32" fmla="*/ 24508 h 614387"/>
                <a:gd name="connsiteX33" fmla="*/ 268866 w 302478"/>
                <a:gd name="connsiteY33" fmla="*/ 28137 h 614387"/>
                <a:gd name="connsiteX34" fmla="*/ 270515 w 302478"/>
                <a:gd name="connsiteY34" fmla="*/ 32954 h 614387"/>
                <a:gd name="connsiteX35" fmla="*/ 270975 w 302478"/>
                <a:gd name="connsiteY35" fmla="*/ 43409 h 614387"/>
                <a:gd name="connsiteX36" fmla="*/ 270383 w 302478"/>
                <a:gd name="connsiteY36" fmla="*/ 53965 h 614387"/>
                <a:gd name="connsiteX37" fmla="*/ 271935 w 302478"/>
                <a:gd name="connsiteY37" fmla="*/ 57857 h 614387"/>
                <a:gd name="connsiteX38" fmla="*/ 277275 w 302478"/>
                <a:gd name="connsiteY38" fmla="*/ 58879 h 614387"/>
                <a:gd name="connsiteX39" fmla="*/ 285887 w 302478"/>
                <a:gd name="connsiteY39" fmla="*/ 58747 h 614387"/>
                <a:gd name="connsiteX40" fmla="*/ 293637 w 302478"/>
                <a:gd name="connsiteY40" fmla="*/ 61583 h 614387"/>
                <a:gd name="connsiteX41" fmla="*/ 299642 w 302478"/>
                <a:gd name="connsiteY41" fmla="*/ 66567 h 614387"/>
                <a:gd name="connsiteX42" fmla="*/ 301620 w 302478"/>
                <a:gd name="connsiteY42" fmla="*/ 71643 h 614387"/>
                <a:gd name="connsiteX43" fmla="*/ 302478 w 302478"/>
                <a:gd name="connsiteY43" fmla="*/ 75141 h 614387"/>
                <a:gd name="connsiteX44" fmla="*/ 299542 w 302478"/>
                <a:gd name="connsiteY44" fmla="*/ 77122 h 614387"/>
                <a:gd name="connsiteX45" fmla="*/ 295386 w 302478"/>
                <a:gd name="connsiteY45" fmla="*/ 84640 h 614387"/>
                <a:gd name="connsiteX46" fmla="*/ 284831 w 302478"/>
                <a:gd name="connsiteY46" fmla="*/ 94437 h 614387"/>
                <a:gd name="connsiteX47" fmla="*/ 269756 w 302478"/>
                <a:gd name="connsiteY47" fmla="*/ 103244 h 614387"/>
                <a:gd name="connsiteX48" fmla="*/ 258245 w 302478"/>
                <a:gd name="connsiteY48" fmla="*/ 114197 h 614387"/>
                <a:gd name="connsiteX49" fmla="*/ 250329 w 302478"/>
                <a:gd name="connsiteY49" fmla="*/ 127256 h 614387"/>
                <a:gd name="connsiteX50" fmla="*/ 240400 w 302478"/>
                <a:gd name="connsiteY50" fmla="*/ 132800 h 614387"/>
                <a:gd name="connsiteX51" fmla="*/ 237363 w 302478"/>
                <a:gd name="connsiteY51" fmla="*/ 135768 h 614387"/>
                <a:gd name="connsiteX52" fmla="*/ 236175 w 302478"/>
                <a:gd name="connsiteY52" fmla="*/ 139297 h 614387"/>
                <a:gd name="connsiteX53" fmla="*/ 242741 w 302478"/>
                <a:gd name="connsiteY53" fmla="*/ 155262 h 614387"/>
                <a:gd name="connsiteX54" fmla="*/ 244753 w 302478"/>
                <a:gd name="connsiteY54" fmla="*/ 167566 h 614387"/>
                <a:gd name="connsiteX55" fmla="*/ 246371 w 302478"/>
                <a:gd name="connsiteY55" fmla="*/ 182609 h 614387"/>
                <a:gd name="connsiteX56" fmla="*/ 245314 w 302478"/>
                <a:gd name="connsiteY56" fmla="*/ 186831 h 614387"/>
                <a:gd name="connsiteX57" fmla="*/ 244753 w 302478"/>
                <a:gd name="connsiteY57" fmla="*/ 203322 h 614387"/>
                <a:gd name="connsiteX58" fmla="*/ 243236 w 302478"/>
                <a:gd name="connsiteY58" fmla="*/ 208139 h 614387"/>
                <a:gd name="connsiteX59" fmla="*/ 243631 w 302478"/>
                <a:gd name="connsiteY59" fmla="*/ 212062 h 614387"/>
                <a:gd name="connsiteX60" fmla="*/ 246038 w 302478"/>
                <a:gd name="connsiteY60" fmla="*/ 216253 h 614387"/>
                <a:gd name="connsiteX61" fmla="*/ 247129 w 302478"/>
                <a:gd name="connsiteY61" fmla="*/ 220277 h 614387"/>
                <a:gd name="connsiteX62" fmla="*/ 242610 w 302478"/>
                <a:gd name="connsiteY62" fmla="*/ 225388 h 614387"/>
                <a:gd name="connsiteX63" fmla="*/ 234330 w 302478"/>
                <a:gd name="connsiteY63" fmla="*/ 231327 h 614387"/>
                <a:gd name="connsiteX64" fmla="*/ 228197 w 302478"/>
                <a:gd name="connsiteY64" fmla="*/ 236539 h 614387"/>
                <a:gd name="connsiteX65" fmla="*/ 226545 w 302478"/>
                <a:gd name="connsiteY65" fmla="*/ 241418 h 614387"/>
                <a:gd name="connsiteX66" fmla="*/ 227009 w 302478"/>
                <a:gd name="connsiteY66" fmla="*/ 244455 h 614387"/>
                <a:gd name="connsiteX67" fmla="*/ 237332 w 302478"/>
                <a:gd name="connsiteY67" fmla="*/ 254779 h 614387"/>
                <a:gd name="connsiteX68" fmla="*/ 239212 w 302478"/>
                <a:gd name="connsiteY68" fmla="*/ 259000 h 614387"/>
                <a:gd name="connsiteX69" fmla="*/ 237827 w 302478"/>
                <a:gd name="connsiteY69" fmla="*/ 269195 h 614387"/>
                <a:gd name="connsiteX70" fmla="*/ 231888 w 302478"/>
                <a:gd name="connsiteY70" fmla="*/ 285853 h 614387"/>
                <a:gd name="connsiteX71" fmla="*/ 226216 w 302478"/>
                <a:gd name="connsiteY71" fmla="*/ 295978 h 614387"/>
                <a:gd name="connsiteX72" fmla="*/ 225225 w 302478"/>
                <a:gd name="connsiteY72" fmla="*/ 296969 h 614387"/>
                <a:gd name="connsiteX73" fmla="*/ 218729 w 302478"/>
                <a:gd name="connsiteY73" fmla="*/ 299836 h 614387"/>
                <a:gd name="connsiteX74" fmla="*/ 187589 w 302478"/>
                <a:gd name="connsiteY74" fmla="*/ 299937 h 614387"/>
                <a:gd name="connsiteX75" fmla="*/ 180036 w 302478"/>
                <a:gd name="connsiteY75" fmla="*/ 302212 h 614387"/>
                <a:gd name="connsiteX76" fmla="*/ 181092 w 302478"/>
                <a:gd name="connsiteY76" fmla="*/ 304259 h 614387"/>
                <a:gd name="connsiteX77" fmla="*/ 188413 w 302478"/>
                <a:gd name="connsiteY77" fmla="*/ 317255 h 614387"/>
                <a:gd name="connsiteX78" fmla="*/ 196035 w 302478"/>
                <a:gd name="connsiteY78" fmla="*/ 324147 h 614387"/>
                <a:gd name="connsiteX79" fmla="*/ 198574 w 302478"/>
                <a:gd name="connsiteY79" fmla="*/ 325729 h 614387"/>
                <a:gd name="connsiteX80" fmla="*/ 201313 w 302478"/>
                <a:gd name="connsiteY80" fmla="*/ 340870 h 614387"/>
                <a:gd name="connsiteX81" fmla="*/ 213683 w 302478"/>
                <a:gd name="connsiteY81" fmla="*/ 365017 h 614387"/>
                <a:gd name="connsiteX82" fmla="*/ 225655 w 302478"/>
                <a:gd name="connsiteY82" fmla="*/ 368349 h 614387"/>
                <a:gd name="connsiteX83" fmla="*/ 229810 w 302478"/>
                <a:gd name="connsiteY83" fmla="*/ 374385 h 614387"/>
                <a:gd name="connsiteX84" fmla="*/ 229052 w 302478"/>
                <a:gd name="connsiteY84" fmla="*/ 382828 h 614387"/>
                <a:gd name="connsiteX85" fmla="*/ 225357 w 302478"/>
                <a:gd name="connsiteY85" fmla="*/ 392098 h 614387"/>
                <a:gd name="connsiteX86" fmla="*/ 218001 w 302478"/>
                <a:gd name="connsiteY86" fmla="*/ 401597 h 614387"/>
                <a:gd name="connsiteX87" fmla="*/ 209261 w 302478"/>
                <a:gd name="connsiteY87" fmla="*/ 408260 h 614387"/>
                <a:gd name="connsiteX88" fmla="*/ 203554 w 302478"/>
                <a:gd name="connsiteY88" fmla="*/ 414888 h 614387"/>
                <a:gd name="connsiteX89" fmla="*/ 203093 w 302478"/>
                <a:gd name="connsiteY89" fmla="*/ 422576 h 614387"/>
                <a:gd name="connsiteX90" fmla="*/ 201278 w 302478"/>
                <a:gd name="connsiteY90" fmla="*/ 432307 h 614387"/>
                <a:gd name="connsiteX91" fmla="*/ 198539 w 302478"/>
                <a:gd name="connsiteY91" fmla="*/ 439992 h 614387"/>
                <a:gd name="connsiteX92" fmla="*/ 197847 w 302478"/>
                <a:gd name="connsiteY92" fmla="*/ 445169 h 614387"/>
                <a:gd name="connsiteX93" fmla="*/ 219750 w 302478"/>
                <a:gd name="connsiteY93" fmla="*/ 477663 h 614387"/>
                <a:gd name="connsiteX94" fmla="*/ 231954 w 302478"/>
                <a:gd name="connsiteY94" fmla="*/ 476077 h 614387"/>
                <a:gd name="connsiteX95" fmla="*/ 233537 w 302478"/>
                <a:gd name="connsiteY95" fmla="*/ 476839 h 614387"/>
                <a:gd name="connsiteX96" fmla="*/ 231362 w 302478"/>
                <a:gd name="connsiteY96" fmla="*/ 484554 h 614387"/>
                <a:gd name="connsiteX97" fmla="*/ 227500 w 302478"/>
                <a:gd name="connsiteY97" fmla="*/ 493593 h 614387"/>
                <a:gd name="connsiteX98" fmla="*/ 222884 w 302478"/>
                <a:gd name="connsiteY98" fmla="*/ 495310 h 614387"/>
                <a:gd name="connsiteX99" fmla="*/ 212426 w 302478"/>
                <a:gd name="connsiteY99" fmla="*/ 498081 h 614387"/>
                <a:gd name="connsiteX100" fmla="*/ 202532 w 302478"/>
                <a:gd name="connsiteY100" fmla="*/ 509755 h 614387"/>
                <a:gd name="connsiteX101" fmla="*/ 194515 w 302478"/>
                <a:gd name="connsiteY101" fmla="*/ 523773 h 614387"/>
                <a:gd name="connsiteX102" fmla="*/ 188479 w 302478"/>
                <a:gd name="connsiteY102" fmla="*/ 530571 h 614387"/>
                <a:gd name="connsiteX103" fmla="*/ 182973 w 302478"/>
                <a:gd name="connsiteY103" fmla="*/ 547193 h 614387"/>
                <a:gd name="connsiteX104" fmla="*/ 183665 w 302478"/>
                <a:gd name="connsiteY104" fmla="*/ 554386 h 614387"/>
                <a:gd name="connsiteX105" fmla="*/ 186335 w 302478"/>
                <a:gd name="connsiteY105" fmla="*/ 565468 h 614387"/>
                <a:gd name="connsiteX106" fmla="*/ 191977 w 302478"/>
                <a:gd name="connsiteY106" fmla="*/ 594298 h 614387"/>
                <a:gd name="connsiteX107" fmla="*/ 183863 w 302478"/>
                <a:gd name="connsiteY107" fmla="*/ 595582 h 614387"/>
                <a:gd name="connsiteX108" fmla="*/ 152328 w 302478"/>
                <a:gd name="connsiteY108" fmla="*/ 614352 h 614387"/>
                <a:gd name="connsiteX109" fmla="*/ 142566 w 302478"/>
                <a:gd name="connsiteY109" fmla="*/ 614387 h 614387"/>
                <a:gd name="connsiteX110" fmla="*/ 124323 w 302478"/>
                <a:gd name="connsiteY110" fmla="*/ 606138 h 614387"/>
                <a:gd name="connsiteX111" fmla="*/ 92130 w 302478"/>
                <a:gd name="connsiteY111" fmla="*/ 603468 h 614387"/>
                <a:gd name="connsiteX112" fmla="*/ 81641 w 302478"/>
                <a:gd name="connsiteY112" fmla="*/ 600995 h 614387"/>
                <a:gd name="connsiteX113" fmla="*/ 68544 w 302478"/>
                <a:gd name="connsiteY113" fmla="*/ 606404 h 614387"/>
                <a:gd name="connsiteX114" fmla="*/ 58418 w 302478"/>
                <a:gd name="connsiteY114" fmla="*/ 606273 h 614387"/>
                <a:gd name="connsiteX115" fmla="*/ 50370 w 302478"/>
                <a:gd name="connsiteY115" fmla="*/ 613164 h 614387"/>
                <a:gd name="connsiteX116" fmla="*/ 44597 w 302478"/>
                <a:gd name="connsiteY116" fmla="*/ 611284 h 614387"/>
                <a:gd name="connsiteX117" fmla="*/ 51229 w 302478"/>
                <a:gd name="connsiteY117" fmla="*/ 595814 h 614387"/>
                <a:gd name="connsiteX118" fmla="*/ 61618 w 302478"/>
                <a:gd name="connsiteY118" fmla="*/ 565139 h 614387"/>
                <a:gd name="connsiteX119" fmla="*/ 61188 w 302478"/>
                <a:gd name="connsiteY119" fmla="*/ 546369 h 614387"/>
                <a:gd name="connsiteX120" fmla="*/ 63664 w 302478"/>
                <a:gd name="connsiteY120" fmla="*/ 530010 h 614387"/>
                <a:gd name="connsiteX121" fmla="*/ 60828 w 302478"/>
                <a:gd name="connsiteY121" fmla="*/ 513782 h 614387"/>
                <a:gd name="connsiteX122" fmla="*/ 55613 w 302478"/>
                <a:gd name="connsiteY122" fmla="*/ 503622 h 614387"/>
                <a:gd name="connsiteX123" fmla="*/ 62705 w 302478"/>
                <a:gd name="connsiteY123" fmla="*/ 477265 h 614387"/>
                <a:gd name="connsiteX124" fmla="*/ 61916 w 302478"/>
                <a:gd name="connsiteY124" fmla="*/ 463641 h 614387"/>
                <a:gd name="connsiteX125" fmla="*/ 55419 w 302478"/>
                <a:gd name="connsiteY125" fmla="*/ 446357 h 614387"/>
                <a:gd name="connsiteX126" fmla="*/ 75110 w 302478"/>
                <a:gd name="connsiteY126" fmla="*/ 448996 h 614387"/>
                <a:gd name="connsiteX127" fmla="*/ 69008 w 302478"/>
                <a:gd name="connsiteY127" fmla="*/ 442136 h 614387"/>
                <a:gd name="connsiteX128" fmla="*/ 63003 w 302478"/>
                <a:gd name="connsiteY128" fmla="*/ 437949 h 614387"/>
                <a:gd name="connsiteX129" fmla="*/ 57199 w 302478"/>
                <a:gd name="connsiteY129" fmla="*/ 438905 h 614387"/>
                <a:gd name="connsiteX130" fmla="*/ 52285 w 302478"/>
                <a:gd name="connsiteY130" fmla="*/ 438638 h 614387"/>
                <a:gd name="connsiteX131" fmla="*/ 35527 w 302478"/>
                <a:gd name="connsiteY131" fmla="*/ 445335 h 614387"/>
                <a:gd name="connsiteX132" fmla="*/ 27116 w 302478"/>
                <a:gd name="connsiteY132" fmla="*/ 447347 h 614387"/>
                <a:gd name="connsiteX133" fmla="*/ 24674 w 302478"/>
                <a:gd name="connsiteY133" fmla="*/ 446160 h 614387"/>
                <a:gd name="connsiteX134" fmla="*/ 25599 w 302478"/>
                <a:gd name="connsiteY134" fmla="*/ 435473 h 614387"/>
                <a:gd name="connsiteX135" fmla="*/ 21246 w 302478"/>
                <a:gd name="connsiteY135" fmla="*/ 421586 h 614387"/>
                <a:gd name="connsiteX136" fmla="*/ 27974 w 302478"/>
                <a:gd name="connsiteY136" fmla="*/ 417926 h 614387"/>
                <a:gd name="connsiteX137" fmla="*/ 35790 w 302478"/>
                <a:gd name="connsiteY137" fmla="*/ 416869 h 614387"/>
                <a:gd name="connsiteX138" fmla="*/ 42453 w 302478"/>
                <a:gd name="connsiteY138" fmla="*/ 410934 h 614387"/>
                <a:gd name="connsiteX139" fmla="*/ 46578 w 302478"/>
                <a:gd name="connsiteY139" fmla="*/ 404302 h 614387"/>
                <a:gd name="connsiteX140" fmla="*/ 44400 w 302478"/>
                <a:gd name="connsiteY140" fmla="*/ 392462 h 614387"/>
                <a:gd name="connsiteX141" fmla="*/ 50172 w 302478"/>
                <a:gd name="connsiteY141" fmla="*/ 381210 h 614387"/>
                <a:gd name="connsiteX142" fmla="*/ 63730 w 302478"/>
                <a:gd name="connsiteY142" fmla="*/ 371680 h 614387"/>
                <a:gd name="connsiteX143" fmla="*/ 56704 w 302478"/>
                <a:gd name="connsiteY143" fmla="*/ 373131 h 614387"/>
                <a:gd name="connsiteX144" fmla="*/ 48656 w 302478"/>
                <a:gd name="connsiteY144" fmla="*/ 379067 h 614387"/>
                <a:gd name="connsiteX145" fmla="*/ 35988 w 302478"/>
                <a:gd name="connsiteY145" fmla="*/ 400576 h 614387"/>
                <a:gd name="connsiteX146" fmla="*/ 31863 w 302478"/>
                <a:gd name="connsiteY146" fmla="*/ 411460 h 614387"/>
                <a:gd name="connsiteX147" fmla="*/ 21080 w 302478"/>
                <a:gd name="connsiteY147" fmla="*/ 414989 h 614387"/>
                <a:gd name="connsiteX148" fmla="*/ 11414 w 302478"/>
                <a:gd name="connsiteY148" fmla="*/ 416738 h 614387"/>
                <a:gd name="connsiteX149" fmla="*/ 6466 w 302478"/>
                <a:gd name="connsiteY149" fmla="*/ 415581 h 614387"/>
                <a:gd name="connsiteX150" fmla="*/ 530 w 302478"/>
                <a:gd name="connsiteY150" fmla="*/ 412845 h 614387"/>
                <a:gd name="connsiteX151" fmla="*/ 0 w 302478"/>
                <a:gd name="connsiteY151" fmla="*/ 404828 h 614387"/>
                <a:gd name="connsiteX152" fmla="*/ 464 w 302478"/>
                <a:gd name="connsiteY152" fmla="*/ 398432 h 614387"/>
                <a:gd name="connsiteX153" fmla="*/ 4488 w 302478"/>
                <a:gd name="connsiteY153" fmla="*/ 385699 h 614387"/>
                <a:gd name="connsiteX154" fmla="*/ 6071 w 302478"/>
                <a:gd name="connsiteY154" fmla="*/ 367687 h 614387"/>
                <a:gd name="connsiteX155" fmla="*/ 11778 w 302478"/>
                <a:gd name="connsiteY155" fmla="*/ 351525 h 614387"/>
                <a:gd name="connsiteX156" fmla="*/ 11348 w 302478"/>
                <a:gd name="connsiteY156" fmla="*/ 347204 h 614387"/>
                <a:gd name="connsiteX157" fmla="*/ 9731 w 302478"/>
                <a:gd name="connsiteY157" fmla="*/ 340773 h 614387"/>
                <a:gd name="connsiteX158" fmla="*/ 14811 w 302478"/>
                <a:gd name="connsiteY158" fmla="*/ 334473 h 614387"/>
                <a:gd name="connsiteX159" fmla="*/ 21111 w 302478"/>
                <a:gd name="connsiteY159" fmla="*/ 330314 h 614387"/>
                <a:gd name="connsiteX160" fmla="*/ 30679 w 302478"/>
                <a:gd name="connsiteY160" fmla="*/ 316396 h 614387"/>
                <a:gd name="connsiteX161" fmla="*/ 44036 w 302478"/>
                <a:gd name="connsiteY161" fmla="*/ 283113 h 614387"/>
                <a:gd name="connsiteX162" fmla="*/ 59440 w 302478"/>
                <a:gd name="connsiteY162" fmla="*/ 247590 h 614387"/>
                <a:gd name="connsiteX163" fmla="*/ 58186 w 302478"/>
                <a:gd name="connsiteY163" fmla="*/ 243236 h 614387"/>
                <a:gd name="connsiteX164" fmla="*/ 54920 w 302478"/>
                <a:gd name="connsiteY164" fmla="*/ 239870 h 614387"/>
                <a:gd name="connsiteX165" fmla="*/ 56243 w 302478"/>
                <a:gd name="connsiteY165" fmla="*/ 230240 h 614387"/>
                <a:gd name="connsiteX166" fmla="*/ 65510 w 302478"/>
                <a:gd name="connsiteY166" fmla="*/ 188247 h 614387"/>
                <a:gd name="connsiteX167" fmla="*/ 69271 w 302478"/>
                <a:gd name="connsiteY167" fmla="*/ 182741 h 614387"/>
                <a:gd name="connsiteX168" fmla="*/ 73624 w 302478"/>
                <a:gd name="connsiteY168" fmla="*/ 170371 h 614387"/>
                <a:gd name="connsiteX169" fmla="*/ 74615 w 302478"/>
                <a:gd name="connsiteY169" fmla="*/ 150382 h 614387"/>
                <a:gd name="connsiteX170" fmla="*/ 76329 w 302478"/>
                <a:gd name="connsiteY170" fmla="*/ 136593 h 614387"/>
                <a:gd name="connsiteX171" fmla="*/ 75934 w 302478"/>
                <a:gd name="connsiteY171" fmla="*/ 129666 h 614387"/>
                <a:gd name="connsiteX172" fmla="*/ 74549 w 302478"/>
                <a:gd name="connsiteY172" fmla="*/ 121321 h 614387"/>
                <a:gd name="connsiteX173" fmla="*/ 68644 w 302478"/>
                <a:gd name="connsiteY173" fmla="*/ 105356 h 614387"/>
                <a:gd name="connsiteX174" fmla="*/ 62442 w 302478"/>
                <a:gd name="connsiteY174" fmla="*/ 71512 h 614387"/>
                <a:gd name="connsiteX175" fmla="*/ 61947 w 302478"/>
                <a:gd name="connsiteY175" fmla="*/ 60167 h 614387"/>
                <a:gd name="connsiteX176" fmla="*/ 67062 w 302478"/>
                <a:gd name="connsiteY176" fmla="*/ 54425 h 614387"/>
                <a:gd name="connsiteX177" fmla="*/ 58650 w 302478"/>
                <a:gd name="connsiteY177" fmla="*/ 53601 h 614387"/>
                <a:gd name="connsiteX178" fmla="*/ 54823 w 302478"/>
                <a:gd name="connsiteY178" fmla="*/ 46246 h 614387"/>
                <a:gd name="connsiteX179" fmla="*/ 55682 w 302478"/>
                <a:gd name="connsiteY179" fmla="*/ 37900 h 614387"/>
                <a:gd name="connsiteX180" fmla="*/ 65050 w 302478"/>
                <a:gd name="connsiteY180" fmla="*/ 24411 h 614387"/>
                <a:gd name="connsiteX181" fmla="*/ 73790 w 302478"/>
                <a:gd name="connsiteY181" fmla="*/ 16031 h 614387"/>
                <a:gd name="connsiteX182" fmla="*/ 82431 w 302478"/>
                <a:gd name="connsiteY182" fmla="*/ 10556 h 614387"/>
                <a:gd name="connsiteX183" fmla="*/ 87216 w 302478"/>
                <a:gd name="connsiteY183" fmla="*/ 8478 h 614387"/>
                <a:gd name="connsiteX184" fmla="*/ 107170 w 302478"/>
                <a:gd name="connsiteY184" fmla="*/ 2771 h 614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302478" h="614387">
                  <a:moveTo>
                    <a:pt x="112417" y="0"/>
                  </a:moveTo>
                  <a:lnTo>
                    <a:pt x="117331" y="461"/>
                  </a:lnTo>
                  <a:lnTo>
                    <a:pt x="118155" y="3200"/>
                  </a:lnTo>
                  <a:lnTo>
                    <a:pt x="120991" y="8478"/>
                  </a:lnTo>
                  <a:lnTo>
                    <a:pt x="124157" y="12138"/>
                  </a:lnTo>
                  <a:lnTo>
                    <a:pt x="125015" y="14843"/>
                  </a:lnTo>
                  <a:lnTo>
                    <a:pt x="117296" y="26157"/>
                  </a:lnTo>
                  <a:lnTo>
                    <a:pt x="116244" y="30018"/>
                  </a:lnTo>
                  <a:lnTo>
                    <a:pt x="120268" y="37307"/>
                  </a:lnTo>
                  <a:lnTo>
                    <a:pt x="120860" y="39617"/>
                  </a:lnTo>
                  <a:lnTo>
                    <a:pt x="122806" y="40604"/>
                  </a:lnTo>
                  <a:lnTo>
                    <a:pt x="128184" y="40341"/>
                  </a:lnTo>
                  <a:lnTo>
                    <a:pt x="137749" y="35659"/>
                  </a:lnTo>
                  <a:lnTo>
                    <a:pt x="144246" y="31732"/>
                  </a:lnTo>
                  <a:lnTo>
                    <a:pt x="146521" y="33349"/>
                  </a:lnTo>
                  <a:lnTo>
                    <a:pt x="165356" y="31140"/>
                  </a:lnTo>
                  <a:lnTo>
                    <a:pt x="169810" y="32920"/>
                  </a:lnTo>
                  <a:lnTo>
                    <a:pt x="172778" y="34932"/>
                  </a:lnTo>
                  <a:lnTo>
                    <a:pt x="182048" y="37636"/>
                  </a:lnTo>
                  <a:lnTo>
                    <a:pt x="192143" y="37934"/>
                  </a:lnTo>
                  <a:lnTo>
                    <a:pt x="204641" y="34139"/>
                  </a:lnTo>
                  <a:lnTo>
                    <a:pt x="210119" y="30316"/>
                  </a:lnTo>
                  <a:lnTo>
                    <a:pt x="211172" y="26091"/>
                  </a:lnTo>
                  <a:lnTo>
                    <a:pt x="211439" y="22891"/>
                  </a:lnTo>
                  <a:lnTo>
                    <a:pt x="213053" y="20848"/>
                  </a:lnTo>
                  <a:lnTo>
                    <a:pt x="215892" y="19694"/>
                  </a:lnTo>
                  <a:lnTo>
                    <a:pt x="220346" y="21772"/>
                  </a:lnTo>
                  <a:lnTo>
                    <a:pt x="226711" y="23452"/>
                  </a:lnTo>
                  <a:lnTo>
                    <a:pt x="241983" y="24144"/>
                  </a:lnTo>
                  <a:lnTo>
                    <a:pt x="244982" y="21803"/>
                  </a:lnTo>
                  <a:lnTo>
                    <a:pt x="250163" y="22496"/>
                  </a:lnTo>
                  <a:lnTo>
                    <a:pt x="256992" y="25464"/>
                  </a:lnTo>
                  <a:lnTo>
                    <a:pt x="264874" y="24508"/>
                  </a:lnTo>
                  <a:lnTo>
                    <a:pt x="268866" y="28137"/>
                  </a:lnTo>
                  <a:lnTo>
                    <a:pt x="270515" y="32954"/>
                  </a:lnTo>
                  <a:lnTo>
                    <a:pt x="270975" y="43409"/>
                  </a:lnTo>
                  <a:lnTo>
                    <a:pt x="270383" y="53965"/>
                  </a:lnTo>
                  <a:lnTo>
                    <a:pt x="271935" y="57857"/>
                  </a:lnTo>
                  <a:lnTo>
                    <a:pt x="277275" y="58879"/>
                  </a:lnTo>
                  <a:lnTo>
                    <a:pt x="285887" y="58747"/>
                  </a:lnTo>
                  <a:lnTo>
                    <a:pt x="293637" y="61583"/>
                  </a:lnTo>
                  <a:lnTo>
                    <a:pt x="299642" y="66567"/>
                  </a:lnTo>
                  <a:lnTo>
                    <a:pt x="301620" y="71643"/>
                  </a:lnTo>
                  <a:lnTo>
                    <a:pt x="302478" y="75141"/>
                  </a:lnTo>
                  <a:lnTo>
                    <a:pt x="299542" y="77122"/>
                  </a:lnTo>
                  <a:lnTo>
                    <a:pt x="295386" y="84640"/>
                  </a:lnTo>
                  <a:lnTo>
                    <a:pt x="284831" y="94437"/>
                  </a:lnTo>
                  <a:lnTo>
                    <a:pt x="269756" y="103244"/>
                  </a:lnTo>
                  <a:lnTo>
                    <a:pt x="258245" y="114197"/>
                  </a:lnTo>
                  <a:lnTo>
                    <a:pt x="250329" y="127256"/>
                  </a:lnTo>
                  <a:lnTo>
                    <a:pt x="240400" y="132800"/>
                  </a:lnTo>
                  <a:lnTo>
                    <a:pt x="237363" y="135768"/>
                  </a:lnTo>
                  <a:lnTo>
                    <a:pt x="236175" y="139297"/>
                  </a:lnTo>
                  <a:lnTo>
                    <a:pt x="242741" y="155262"/>
                  </a:lnTo>
                  <a:lnTo>
                    <a:pt x="244753" y="167566"/>
                  </a:lnTo>
                  <a:lnTo>
                    <a:pt x="246371" y="182609"/>
                  </a:lnTo>
                  <a:lnTo>
                    <a:pt x="245314" y="186831"/>
                  </a:lnTo>
                  <a:lnTo>
                    <a:pt x="244753" y="203322"/>
                  </a:lnTo>
                  <a:lnTo>
                    <a:pt x="243236" y="208139"/>
                  </a:lnTo>
                  <a:lnTo>
                    <a:pt x="243631" y="212062"/>
                  </a:lnTo>
                  <a:lnTo>
                    <a:pt x="246038" y="216253"/>
                  </a:lnTo>
                  <a:lnTo>
                    <a:pt x="247129" y="220277"/>
                  </a:lnTo>
                  <a:lnTo>
                    <a:pt x="242610" y="225388"/>
                  </a:lnTo>
                  <a:lnTo>
                    <a:pt x="234330" y="231327"/>
                  </a:lnTo>
                  <a:lnTo>
                    <a:pt x="228197" y="236539"/>
                  </a:lnTo>
                  <a:lnTo>
                    <a:pt x="226545" y="241418"/>
                  </a:lnTo>
                  <a:lnTo>
                    <a:pt x="227009" y="244455"/>
                  </a:lnTo>
                  <a:lnTo>
                    <a:pt x="237332" y="254779"/>
                  </a:lnTo>
                  <a:lnTo>
                    <a:pt x="239212" y="259000"/>
                  </a:lnTo>
                  <a:lnTo>
                    <a:pt x="237827" y="269195"/>
                  </a:lnTo>
                  <a:lnTo>
                    <a:pt x="231888" y="285853"/>
                  </a:lnTo>
                  <a:lnTo>
                    <a:pt x="226216" y="295978"/>
                  </a:lnTo>
                  <a:lnTo>
                    <a:pt x="225225" y="296969"/>
                  </a:lnTo>
                  <a:lnTo>
                    <a:pt x="218729" y="299836"/>
                  </a:lnTo>
                  <a:lnTo>
                    <a:pt x="187589" y="299937"/>
                  </a:lnTo>
                  <a:lnTo>
                    <a:pt x="180036" y="302212"/>
                  </a:lnTo>
                  <a:lnTo>
                    <a:pt x="181092" y="304259"/>
                  </a:lnTo>
                  <a:lnTo>
                    <a:pt x="188413" y="317255"/>
                  </a:lnTo>
                  <a:lnTo>
                    <a:pt x="196035" y="324147"/>
                  </a:lnTo>
                  <a:lnTo>
                    <a:pt x="198574" y="325729"/>
                  </a:lnTo>
                  <a:lnTo>
                    <a:pt x="201313" y="340870"/>
                  </a:lnTo>
                  <a:lnTo>
                    <a:pt x="213683" y="365017"/>
                  </a:lnTo>
                  <a:lnTo>
                    <a:pt x="225655" y="368349"/>
                  </a:lnTo>
                  <a:lnTo>
                    <a:pt x="229810" y="374385"/>
                  </a:lnTo>
                  <a:lnTo>
                    <a:pt x="229052" y="382828"/>
                  </a:lnTo>
                  <a:lnTo>
                    <a:pt x="225357" y="392098"/>
                  </a:lnTo>
                  <a:lnTo>
                    <a:pt x="218001" y="401597"/>
                  </a:lnTo>
                  <a:lnTo>
                    <a:pt x="209261" y="408260"/>
                  </a:lnTo>
                  <a:lnTo>
                    <a:pt x="203554" y="414888"/>
                  </a:lnTo>
                  <a:lnTo>
                    <a:pt x="203093" y="422576"/>
                  </a:lnTo>
                  <a:lnTo>
                    <a:pt x="201278" y="432307"/>
                  </a:lnTo>
                  <a:lnTo>
                    <a:pt x="198539" y="439992"/>
                  </a:lnTo>
                  <a:lnTo>
                    <a:pt x="197847" y="445169"/>
                  </a:lnTo>
                  <a:lnTo>
                    <a:pt x="219750" y="477663"/>
                  </a:lnTo>
                  <a:lnTo>
                    <a:pt x="231954" y="476077"/>
                  </a:lnTo>
                  <a:lnTo>
                    <a:pt x="233537" y="476839"/>
                  </a:lnTo>
                  <a:lnTo>
                    <a:pt x="231362" y="484554"/>
                  </a:lnTo>
                  <a:lnTo>
                    <a:pt x="227500" y="493593"/>
                  </a:lnTo>
                  <a:lnTo>
                    <a:pt x="222884" y="495310"/>
                  </a:lnTo>
                  <a:lnTo>
                    <a:pt x="212426" y="498081"/>
                  </a:lnTo>
                  <a:lnTo>
                    <a:pt x="202532" y="509755"/>
                  </a:lnTo>
                  <a:lnTo>
                    <a:pt x="194515" y="523773"/>
                  </a:lnTo>
                  <a:lnTo>
                    <a:pt x="188479" y="530571"/>
                  </a:lnTo>
                  <a:lnTo>
                    <a:pt x="182973" y="547193"/>
                  </a:lnTo>
                  <a:lnTo>
                    <a:pt x="183665" y="554386"/>
                  </a:lnTo>
                  <a:lnTo>
                    <a:pt x="186335" y="565468"/>
                  </a:lnTo>
                  <a:lnTo>
                    <a:pt x="191977" y="594298"/>
                  </a:lnTo>
                  <a:lnTo>
                    <a:pt x="183863" y="595582"/>
                  </a:lnTo>
                  <a:lnTo>
                    <a:pt x="152328" y="614352"/>
                  </a:lnTo>
                  <a:lnTo>
                    <a:pt x="142566" y="614387"/>
                  </a:lnTo>
                  <a:lnTo>
                    <a:pt x="124323" y="606138"/>
                  </a:lnTo>
                  <a:lnTo>
                    <a:pt x="92130" y="603468"/>
                  </a:lnTo>
                  <a:lnTo>
                    <a:pt x="81641" y="600995"/>
                  </a:lnTo>
                  <a:lnTo>
                    <a:pt x="68544" y="606404"/>
                  </a:lnTo>
                  <a:lnTo>
                    <a:pt x="58418" y="606273"/>
                  </a:lnTo>
                  <a:lnTo>
                    <a:pt x="50370" y="613164"/>
                  </a:lnTo>
                  <a:lnTo>
                    <a:pt x="44597" y="611284"/>
                  </a:lnTo>
                  <a:lnTo>
                    <a:pt x="51229" y="595814"/>
                  </a:lnTo>
                  <a:lnTo>
                    <a:pt x="61618" y="565139"/>
                  </a:lnTo>
                  <a:lnTo>
                    <a:pt x="61188" y="546369"/>
                  </a:lnTo>
                  <a:lnTo>
                    <a:pt x="63664" y="530010"/>
                  </a:lnTo>
                  <a:lnTo>
                    <a:pt x="60828" y="513782"/>
                  </a:lnTo>
                  <a:lnTo>
                    <a:pt x="55613" y="503622"/>
                  </a:lnTo>
                  <a:lnTo>
                    <a:pt x="62705" y="477265"/>
                  </a:lnTo>
                  <a:lnTo>
                    <a:pt x="61916" y="463641"/>
                  </a:lnTo>
                  <a:lnTo>
                    <a:pt x="55419" y="446357"/>
                  </a:lnTo>
                  <a:lnTo>
                    <a:pt x="75110" y="448996"/>
                  </a:lnTo>
                  <a:lnTo>
                    <a:pt x="69008" y="442136"/>
                  </a:lnTo>
                  <a:lnTo>
                    <a:pt x="63003" y="437949"/>
                  </a:lnTo>
                  <a:lnTo>
                    <a:pt x="57199" y="438905"/>
                  </a:lnTo>
                  <a:lnTo>
                    <a:pt x="52285" y="438638"/>
                  </a:lnTo>
                  <a:lnTo>
                    <a:pt x="35527" y="445335"/>
                  </a:lnTo>
                  <a:lnTo>
                    <a:pt x="27116" y="447347"/>
                  </a:lnTo>
                  <a:lnTo>
                    <a:pt x="24674" y="446160"/>
                  </a:lnTo>
                  <a:lnTo>
                    <a:pt x="25599" y="435473"/>
                  </a:lnTo>
                  <a:lnTo>
                    <a:pt x="21246" y="421586"/>
                  </a:lnTo>
                  <a:lnTo>
                    <a:pt x="27974" y="417926"/>
                  </a:lnTo>
                  <a:lnTo>
                    <a:pt x="35790" y="416869"/>
                  </a:lnTo>
                  <a:lnTo>
                    <a:pt x="42453" y="410934"/>
                  </a:lnTo>
                  <a:lnTo>
                    <a:pt x="46578" y="404302"/>
                  </a:lnTo>
                  <a:lnTo>
                    <a:pt x="44400" y="392462"/>
                  </a:lnTo>
                  <a:lnTo>
                    <a:pt x="50172" y="381210"/>
                  </a:lnTo>
                  <a:lnTo>
                    <a:pt x="63730" y="371680"/>
                  </a:lnTo>
                  <a:lnTo>
                    <a:pt x="56704" y="373131"/>
                  </a:lnTo>
                  <a:lnTo>
                    <a:pt x="48656" y="379067"/>
                  </a:lnTo>
                  <a:lnTo>
                    <a:pt x="35988" y="400576"/>
                  </a:lnTo>
                  <a:lnTo>
                    <a:pt x="31863" y="411460"/>
                  </a:lnTo>
                  <a:lnTo>
                    <a:pt x="21080" y="414989"/>
                  </a:lnTo>
                  <a:lnTo>
                    <a:pt x="11414" y="416738"/>
                  </a:lnTo>
                  <a:lnTo>
                    <a:pt x="6466" y="415581"/>
                  </a:lnTo>
                  <a:lnTo>
                    <a:pt x="530" y="412845"/>
                  </a:lnTo>
                  <a:lnTo>
                    <a:pt x="0" y="404828"/>
                  </a:lnTo>
                  <a:lnTo>
                    <a:pt x="464" y="398432"/>
                  </a:lnTo>
                  <a:lnTo>
                    <a:pt x="4488" y="385699"/>
                  </a:lnTo>
                  <a:lnTo>
                    <a:pt x="6071" y="367687"/>
                  </a:lnTo>
                  <a:lnTo>
                    <a:pt x="11778" y="351525"/>
                  </a:lnTo>
                  <a:lnTo>
                    <a:pt x="11348" y="347204"/>
                  </a:lnTo>
                  <a:lnTo>
                    <a:pt x="9731" y="340773"/>
                  </a:lnTo>
                  <a:lnTo>
                    <a:pt x="14811" y="334473"/>
                  </a:lnTo>
                  <a:lnTo>
                    <a:pt x="21111" y="330314"/>
                  </a:lnTo>
                  <a:lnTo>
                    <a:pt x="30679" y="316396"/>
                  </a:lnTo>
                  <a:lnTo>
                    <a:pt x="44036" y="283113"/>
                  </a:lnTo>
                  <a:lnTo>
                    <a:pt x="59440" y="247590"/>
                  </a:lnTo>
                  <a:lnTo>
                    <a:pt x="58186" y="243236"/>
                  </a:lnTo>
                  <a:lnTo>
                    <a:pt x="54920" y="239870"/>
                  </a:lnTo>
                  <a:lnTo>
                    <a:pt x="56243" y="230240"/>
                  </a:lnTo>
                  <a:lnTo>
                    <a:pt x="65510" y="188247"/>
                  </a:lnTo>
                  <a:lnTo>
                    <a:pt x="69271" y="182741"/>
                  </a:lnTo>
                  <a:lnTo>
                    <a:pt x="73624" y="170371"/>
                  </a:lnTo>
                  <a:lnTo>
                    <a:pt x="74615" y="150382"/>
                  </a:lnTo>
                  <a:lnTo>
                    <a:pt x="76329" y="136593"/>
                  </a:lnTo>
                  <a:lnTo>
                    <a:pt x="75934" y="129666"/>
                  </a:lnTo>
                  <a:lnTo>
                    <a:pt x="74549" y="121321"/>
                  </a:lnTo>
                  <a:lnTo>
                    <a:pt x="68644" y="105356"/>
                  </a:lnTo>
                  <a:lnTo>
                    <a:pt x="62442" y="71512"/>
                  </a:lnTo>
                  <a:lnTo>
                    <a:pt x="61947" y="60167"/>
                  </a:lnTo>
                  <a:lnTo>
                    <a:pt x="67062" y="54425"/>
                  </a:lnTo>
                  <a:lnTo>
                    <a:pt x="58650" y="53601"/>
                  </a:lnTo>
                  <a:lnTo>
                    <a:pt x="54823" y="46246"/>
                  </a:lnTo>
                  <a:lnTo>
                    <a:pt x="55682" y="37900"/>
                  </a:lnTo>
                  <a:lnTo>
                    <a:pt x="65050" y="24411"/>
                  </a:lnTo>
                  <a:lnTo>
                    <a:pt x="73790" y="16031"/>
                  </a:lnTo>
                  <a:lnTo>
                    <a:pt x="82431" y="10556"/>
                  </a:lnTo>
                  <a:lnTo>
                    <a:pt x="87216" y="8478"/>
                  </a:lnTo>
                  <a:lnTo>
                    <a:pt x="107170" y="2771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0" name="Forme libre : forme 46">
              <a:extLst>
                <a:ext uri="{FF2B5EF4-FFF2-40B4-BE49-F238E27FC236}">
                  <a16:creationId xmlns:a16="http://schemas.microsoft.com/office/drawing/2014/main" id="{35C0F910-2CD7-FFBF-960B-D7DB6A9752A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859664" y="4409196"/>
              <a:ext cx="876123" cy="610193"/>
            </a:xfrm>
            <a:custGeom>
              <a:avLst/>
              <a:gdLst>
                <a:gd name="connsiteX0" fmla="*/ 213065 w 252993"/>
                <a:gd name="connsiteY0" fmla="*/ 109661 h 176202"/>
                <a:gd name="connsiteX1" fmla="*/ 215884 w 252993"/>
                <a:gd name="connsiteY1" fmla="*/ 113576 h 176202"/>
                <a:gd name="connsiteX2" fmla="*/ 219456 w 252993"/>
                <a:gd name="connsiteY2" fmla="*/ 115662 h 176202"/>
                <a:gd name="connsiteX3" fmla="*/ 227724 w 252993"/>
                <a:gd name="connsiteY3" fmla="*/ 117862 h 176202"/>
                <a:gd name="connsiteX4" fmla="*/ 228467 w 252993"/>
                <a:gd name="connsiteY4" fmla="*/ 117596 h 176202"/>
                <a:gd name="connsiteX5" fmla="*/ 228543 w 252993"/>
                <a:gd name="connsiteY5" fmla="*/ 117186 h 176202"/>
                <a:gd name="connsiteX6" fmla="*/ 227972 w 252993"/>
                <a:gd name="connsiteY6" fmla="*/ 116614 h 176202"/>
                <a:gd name="connsiteX7" fmla="*/ 227886 w 252993"/>
                <a:gd name="connsiteY7" fmla="*/ 115891 h 176202"/>
                <a:gd name="connsiteX8" fmla="*/ 228285 w 252993"/>
                <a:gd name="connsiteY8" fmla="*/ 114995 h 176202"/>
                <a:gd name="connsiteX9" fmla="*/ 229428 w 252993"/>
                <a:gd name="connsiteY9" fmla="*/ 114948 h 176202"/>
                <a:gd name="connsiteX10" fmla="*/ 231296 w 252993"/>
                <a:gd name="connsiteY10" fmla="*/ 115748 h 176202"/>
                <a:gd name="connsiteX11" fmla="*/ 234858 w 252993"/>
                <a:gd name="connsiteY11" fmla="*/ 114586 h 176202"/>
                <a:gd name="connsiteX12" fmla="*/ 240097 w 252993"/>
                <a:gd name="connsiteY12" fmla="*/ 111462 h 176202"/>
                <a:gd name="connsiteX13" fmla="*/ 244916 w 252993"/>
                <a:gd name="connsiteY13" fmla="*/ 110833 h 176202"/>
                <a:gd name="connsiteX14" fmla="*/ 249298 w 252993"/>
                <a:gd name="connsiteY14" fmla="*/ 112681 h 176202"/>
                <a:gd name="connsiteX15" fmla="*/ 251546 w 252993"/>
                <a:gd name="connsiteY15" fmla="*/ 114833 h 176202"/>
                <a:gd name="connsiteX16" fmla="*/ 252993 w 252993"/>
                <a:gd name="connsiteY16" fmla="*/ 116881 h 176202"/>
                <a:gd name="connsiteX17" fmla="*/ 252536 w 252993"/>
                <a:gd name="connsiteY17" fmla="*/ 119405 h 176202"/>
                <a:gd name="connsiteX18" fmla="*/ 252260 w 252993"/>
                <a:gd name="connsiteY18" fmla="*/ 120977 h 176202"/>
                <a:gd name="connsiteX19" fmla="*/ 251107 w 252993"/>
                <a:gd name="connsiteY19" fmla="*/ 127463 h 176202"/>
                <a:gd name="connsiteX20" fmla="*/ 250307 w 252993"/>
                <a:gd name="connsiteY20" fmla="*/ 129883 h 176202"/>
                <a:gd name="connsiteX21" fmla="*/ 249021 w 252993"/>
                <a:gd name="connsiteY21" fmla="*/ 132588 h 176202"/>
                <a:gd name="connsiteX22" fmla="*/ 235411 w 252993"/>
                <a:gd name="connsiteY22" fmla="*/ 135817 h 176202"/>
                <a:gd name="connsiteX23" fmla="*/ 236287 w 252993"/>
                <a:gd name="connsiteY23" fmla="*/ 134264 h 176202"/>
                <a:gd name="connsiteX24" fmla="*/ 235972 w 252993"/>
                <a:gd name="connsiteY24" fmla="*/ 131550 h 176202"/>
                <a:gd name="connsiteX25" fmla="*/ 235401 w 252993"/>
                <a:gd name="connsiteY25" fmla="*/ 129492 h 176202"/>
                <a:gd name="connsiteX26" fmla="*/ 236668 w 252993"/>
                <a:gd name="connsiteY26" fmla="*/ 127645 h 176202"/>
                <a:gd name="connsiteX27" fmla="*/ 233610 w 252993"/>
                <a:gd name="connsiteY27" fmla="*/ 126968 h 176202"/>
                <a:gd name="connsiteX28" fmla="*/ 232267 w 252993"/>
                <a:gd name="connsiteY28" fmla="*/ 127987 h 176202"/>
                <a:gd name="connsiteX29" fmla="*/ 231220 w 252993"/>
                <a:gd name="connsiteY29" fmla="*/ 129759 h 176202"/>
                <a:gd name="connsiteX30" fmla="*/ 232143 w 252993"/>
                <a:gd name="connsiteY30" fmla="*/ 133845 h 176202"/>
                <a:gd name="connsiteX31" fmla="*/ 230657 w 252993"/>
                <a:gd name="connsiteY31" fmla="*/ 136103 h 176202"/>
                <a:gd name="connsiteX32" fmla="*/ 230086 w 252993"/>
                <a:gd name="connsiteY32" fmla="*/ 137360 h 176202"/>
                <a:gd name="connsiteX33" fmla="*/ 230019 w 252993"/>
                <a:gd name="connsiteY33" fmla="*/ 140341 h 176202"/>
                <a:gd name="connsiteX34" fmla="*/ 229134 w 252993"/>
                <a:gd name="connsiteY34" fmla="*/ 141618 h 176202"/>
                <a:gd name="connsiteX35" fmla="*/ 228962 w 252993"/>
                <a:gd name="connsiteY35" fmla="*/ 143027 h 176202"/>
                <a:gd name="connsiteX36" fmla="*/ 231134 w 252993"/>
                <a:gd name="connsiteY36" fmla="*/ 142665 h 176202"/>
                <a:gd name="connsiteX37" fmla="*/ 230153 w 252993"/>
                <a:gd name="connsiteY37" fmla="*/ 145228 h 176202"/>
                <a:gd name="connsiteX38" fmla="*/ 226076 w 252993"/>
                <a:gd name="connsiteY38" fmla="*/ 150143 h 176202"/>
                <a:gd name="connsiteX39" fmla="*/ 224647 w 252993"/>
                <a:gd name="connsiteY39" fmla="*/ 153076 h 176202"/>
                <a:gd name="connsiteX40" fmla="*/ 225000 w 252993"/>
                <a:gd name="connsiteY40" fmla="*/ 164649 h 176202"/>
                <a:gd name="connsiteX41" fmla="*/ 223181 w 252993"/>
                <a:gd name="connsiteY41" fmla="*/ 171545 h 176202"/>
                <a:gd name="connsiteX42" fmla="*/ 223038 w 252993"/>
                <a:gd name="connsiteY42" fmla="*/ 173574 h 176202"/>
                <a:gd name="connsiteX43" fmla="*/ 218713 w 252993"/>
                <a:gd name="connsiteY43" fmla="*/ 173641 h 176202"/>
                <a:gd name="connsiteX44" fmla="*/ 217418 w 252993"/>
                <a:gd name="connsiteY44" fmla="*/ 173479 h 176202"/>
                <a:gd name="connsiteX45" fmla="*/ 213322 w 252993"/>
                <a:gd name="connsiteY45" fmla="*/ 172450 h 176202"/>
                <a:gd name="connsiteX46" fmla="*/ 208722 w 252993"/>
                <a:gd name="connsiteY46" fmla="*/ 170621 h 176202"/>
                <a:gd name="connsiteX47" fmla="*/ 206026 w 252993"/>
                <a:gd name="connsiteY47" fmla="*/ 167059 h 176202"/>
                <a:gd name="connsiteX48" fmla="*/ 204301 w 252993"/>
                <a:gd name="connsiteY48" fmla="*/ 164516 h 176202"/>
                <a:gd name="connsiteX49" fmla="*/ 200396 w 252993"/>
                <a:gd name="connsiteY49" fmla="*/ 165668 h 176202"/>
                <a:gd name="connsiteX50" fmla="*/ 199663 w 252993"/>
                <a:gd name="connsiteY50" fmla="*/ 165363 h 176202"/>
                <a:gd name="connsiteX51" fmla="*/ 198587 w 252993"/>
                <a:gd name="connsiteY51" fmla="*/ 164135 h 176202"/>
                <a:gd name="connsiteX52" fmla="*/ 195653 w 252993"/>
                <a:gd name="connsiteY52" fmla="*/ 163306 h 176202"/>
                <a:gd name="connsiteX53" fmla="*/ 192024 w 252993"/>
                <a:gd name="connsiteY53" fmla="*/ 163287 h 176202"/>
                <a:gd name="connsiteX54" fmla="*/ 183880 w 252993"/>
                <a:gd name="connsiteY54" fmla="*/ 158629 h 176202"/>
                <a:gd name="connsiteX55" fmla="*/ 182985 w 252993"/>
                <a:gd name="connsiteY55" fmla="*/ 157848 h 176202"/>
                <a:gd name="connsiteX56" fmla="*/ 176584 w 252993"/>
                <a:gd name="connsiteY56" fmla="*/ 158629 h 176202"/>
                <a:gd name="connsiteX57" fmla="*/ 167002 w 252993"/>
                <a:gd name="connsiteY57" fmla="*/ 160934 h 176202"/>
                <a:gd name="connsiteX58" fmla="*/ 159696 w 252993"/>
                <a:gd name="connsiteY58" fmla="*/ 163782 h 176202"/>
                <a:gd name="connsiteX59" fmla="*/ 152143 w 252993"/>
                <a:gd name="connsiteY59" fmla="*/ 168840 h 176202"/>
                <a:gd name="connsiteX60" fmla="*/ 149085 w 252993"/>
                <a:gd name="connsiteY60" fmla="*/ 172669 h 176202"/>
                <a:gd name="connsiteX61" fmla="*/ 145532 w 252993"/>
                <a:gd name="connsiteY61" fmla="*/ 174698 h 176202"/>
                <a:gd name="connsiteX62" fmla="*/ 140484 w 252993"/>
                <a:gd name="connsiteY62" fmla="*/ 176203 h 176202"/>
                <a:gd name="connsiteX63" fmla="*/ 131464 w 252993"/>
                <a:gd name="connsiteY63" fmla="*/ 175641 h 176202"/>
                <a:gd name="connsiteX64" fmla="*/ 122063 w 252993"/>
                <a:gd name="connsiteY64" fmla="*/ 173717 h 176202"/>
                <a:gd name="connsiteX65" fmla="*/ 111976 w 252993"/>
                <a:gd name="connsiteY65" fmla="*/ 171650 h 176202"/>
                <a:gd name="connsiteX66" fmla="*/ 106518 w 252993"/>
                <a:gd name="connsiteY66" fmla="*/ 172793 h 176202"/>
                <a:gd name="connsiteX67" fmla="*/ 99146 w 252993"/>
                <a:gd name="connsiteY67" fmla="*/ 171936 h 176202"/>
                <a:gd name="connsiteX68" fmla="*/ 88021 w 252993"/>
                <a:gd name="connsiteY68" fmla="*/ 169469 h 176202"/>
                <a:gd name="connsiteX69" fmla="*/ 79734 w 252993"/>
                <a:gd name="connsiteY69" fmla="*/ 168716 h 176202"/>
                <a:gd name="connsiteX70" fmla="*/ 71561 w 252993"/>
                <a:gd name="connsiteY70" fmla="*/ 170174 h 176202"/>
                <a:gd name="connsiteX71" fmla="*/ 70190 w 252993"/>
                <a:gd name="connsiteY71" fmla="*/ 169059 h 176202"/>
                <a:gd name="connsiteX72" fmla="*/ 69895 w 252993"/>
                <a:gd name="connsiteY72" fmla="*/ 167783 h 176202"/>
                <a:gd name="connsiteX73" fmla="*/ 70209 w 252993"/>
                <a:gd name="connsiteY73" fmla="*/ 165983 h 176202"/>
                <a:gd name="connsiteX74" fmla="*/ 71361 w 252993"/>
                <a:gd name="connsiteY74" fmla="*/ 164525 h 176202"/>
                <a:gd name="connsiteX75" fmla="*/ 73343 w 252993"/>
                <a:gd name="connsiteY75" fmla="*/ 163420 h 176202"/>
                <a:gd name="connsiteX76" fmla="*/ 74381 w 252993"/>
                <a:gd name="connsiteY76" fmla="*/ 162296 h 176202"/>
                <a:gd name="connsiteX77" fmla="*/ 74495 w 252993"/>
                <a:gd name="connsiteY77" fmla="*/ 161163 h 176202"/>
                <a:gd name="connsiteX78" fmla="*/ 72276 w 252993"/>
                <a:gd name="connsiteY78" fmla="*/ 159334 h 176202"/>
                <a:gd name="connsiteX79" fmla="*/ 67723 w 252993"/>
                <a:gd name="connsiteY79" fmla="*/ 156810 h 176202"/>
                <a:gd name="connsiteX80" fmla="*/ 65847 w 252993"/>
                <a:gd name="connsiteY80" fmla="*/ 155229 h 176202"/>
                <a:gd name="connsiteX81" fmla="*/ 65389 w 252993"/>
                <a:gd name="connsiteY81" fmla="*/ 154838 h 176202"/>
                <a:gd name="connsiteX82" fmla="*/ 65265 w 252993"/>
                <a:gd name="connsiteY82" fmla="*/ 153419 h 176202"/>
                <a:gd name="connsiteX83" fmla="*/ 64322 w 252993"/>
                <a:gd name="connsiteY83" fmla="*/ 152305 h 176202"/>
                <a:gd name="connsiteX84" fmla="*/ 62551 w 252993"/>
                <a:gd name="connsiteY84" fmla="*/ 151486 h 176202"/>
                <a:gd name="connsiteX85" fmla="*/ 61189 w 252993"/>
                <a:gd name="connsiteY85" fmla="*/ 150009 h 176202"/>
                <a:gd name="connsiteX86" fmla="*/ 60217 w 252993"/>
                <a:gd name="connsiteY86" fmla="*/ 147866 h 176202"/>
                <a:gd name="connsiteX87" fmla="*/ 60427 w 252993"/>
                <a:gd name="connsiteY87" fmla="*/ 145847 h 176202"/>
                <a:gd name="connsiteX88" fmla="*/ 61808 w 252993"/>
                <a:gd name="connsiteY88" fmla="*/ 143951 h 176202"/>
                <a:gd name="connsiteX89" fmla="*/ 63579 w 252993"/>
                <a:gd name="connsiteY89" fmla="*/ 143123 h 176202"/>
                <a:gd name="connsiteX90" fmla="*/ 65732 w 252993"/>
                <a:gd name="connsiteY90" fmla="*/ 143380 h 176202"/>
                <a:gd name="connsiteX91" fmla="*/ 66627 w 252993"/>
                <a:gd name="connsiteY91" fmla="*/ 142837 h 176202"/>
                <a:gd name="connsiteX92" fmla="*/ 66266 w 252993"/>
                <a:gd name="connsiteY92" fmla="*/ 141513 h 176202"/>
                <a:gd name="connsiteX93" fmla="*/ 64161 w 252993"/>
                <a:gd name="connsiteY93" fmla="*/ 139808 h 176202"/>
                <a:gd name="connsiteX94" fmla="*/ 60303 w 252993"/>
                <a:gd name="connsiteY94" fmla="*/ 137741 h 176202"/>
                <a:gd name="connsiteX95" fmla="*/ 56379 w 252993"/>
                <a:gd name="connsiteY95" fmla="*/ 138865 h 176202"/>
                <a:gd name="connsiteX96" fmla="*/ 52368 w 252993"/>
                <a:gd name="connsiteY96" fmla="*/ 143189 h 176202"/>
                <a:gd name="connsiteX97" fmla="*/ 49492 w 252993"/>
                <a:gd name="connsiteY97" fmla="*/ 143885 h 176202"/>
                <a:gd name="connsiteX98" fmla="*/ 47720 w 252993"/>
                <a:gd name="connsiteY98" fmla="*/ 140979 h 176202"/>
                <a:gd name="connsiteX99" fmla="*/ 44577 w 252993"/>
                <a:gd name="connsiteY99" fmla="*/ 139236 h 176202"/>
                <a:gd name="connsiteX100" fmla="*/ 40053 w 252993"/>
                <a:gd name="connsiteY100" fmla="*/ 138694 h 176202"/>
                <a:gd name="connsiteX101" fmla="*/ 37272 w 252993"/>
                <a:gd name="connsiteY101" fmla="*/ 137579 h 176202"/>
                <a:gd name="connsiteX102" fmla="*/ 36233 w 252993"/>
                <a:gd name="connsiteY102" fmla="*/ 135893 h 176202"/>
                <a:gd name="connsiteX103" fmla="*/ 34252 w 252993"/>
                <a:gd name="connsiteY103" fmla="*/ 134598 h 176202"/>
                <a:gd name="connsiteX104" fmla="*/ 29889 w 252993"/>
                <a:gd name="connsiteY104" fmla="*/ 133217 h 176202"/>
                <a:gd name="connsiteX105" fmla="*/ 29832 w 252993"/>
                <a:gd name="connsiteY105" fmla="*/ 131902 h 176202"/>
                <a:gd name="connsiteX106" fmla="*/ 30537 w 252993"/>
                <a:gd name="connsiteY106" fmla="*/ 131588 h 176202"/>
                <a:gd name="connsiteX107" fmla="*/ 32090 w 252993"/>
                <a:gd name="connsiteY107" fmla="*/ 131464 h 176202"/>
                <a:gd name="connsiteX108" fmla="*/ 34166 w 252993"/>
                <a:gd name="connsiteY108" fmla="*/ 131188 h 176202"/>
                <a:gd name="connsiteX109" fmla="*/ 34500 w 252993"/>
                <a:gd name="connsiteY109" fmla="*/ 130435 h 176202"/>
                <a:gd name="connsiteX110" fmla="*/ 34519 w 252993"/>
                <a:gd name="connsiteY110" fmla="*/ 129750 h 176202"/>
                <a:gd name="connsiteX111" fmla="*/ 32881 w 252993"/>
                <a:gd name="connsiteY111" fmla="*/ 128883 h 176202"/>
                <a:gd name="connsiteX112" fmla="*/ 31232 w 252993"/>
                <a:gd name="connsiteY112" fmla="*/ 128292 h 176202"/>
                <a:gd name="connsiteX113" fmla="*/ 30366 w 252993"/>
                <a:gd name="connsiteY113" fmla="*/ 127702 h 176202"/>
                <a:gd name="connsiteX114" fmla="*/ 29813 w 252993"/>
                <a:gd name="connsiteY114" fmla="*/ 127044 h 176202"/>
                <a:gd name="connsiteX115" fmla="*/ 29699 w 252993"/>
                <a:gd name="connsiteY115" fmla="*/ 126359 h 176202"/>
                <a:gd name="connsiteX116" fmla="*/ 30185 w 252993"/>
                <a:gd name="connsiteY116" fmla="*/ 125892 h 176202"/>
                <a:gd name="connsiteX117" fmla="*/ 30852 w 252993"/>
                <a:gd name="connsiteY117" fmla="*/ 125863 h 176202"/>
                <a:gd name="connsiteX118" fmla="*/ 31509 w 252993"/>
                <a:gd name="connsiteY118" fmla="*/ 125454 h 176202"/>
                <a:gd name="connsiteX119" fmla="*/ 31880 w 252993"/>
                <a:gd name="connsiteY119" fmla="*/ 123863 h 176202"/>
                <a:gd name="connsiteX120" fmla="*/ 32775 w 252993"/>
                <a:gd name="connsiteY120" fmla="*/ 122549 h 176202"/>
                <a:gd name="connsiteX121" fmla="*/ 33414 w 252993"/>
                <a:gd name="connsiteY121" fmla="*/ 122091 h 176202"/>
                <a:gd name="connsiteX122" fmla="*/ 33376 w 252993"/>
                <a:gd name="connsiteY122" fmla="*/ 121120 h 176202"/>
                <a:gd name="connsiteX123" fmla="*/ 32709 w 252993"/>
                <a:gd name="connsiteY123" fmla="*/ 120215 h 176202"/>
                <a:gd name="connsiteX124" fmla="*/ 31804 w 252993"/>
                <a:gd name="connsiteY124" fmla="*/ 119434 h 176202"/>
                <a:gd name="connsiteX125" fmla="*/ 30470 w 252993"/>
                <a:gd name="connsiteY125" fmla="*/ 118958 h 176202"/>
                <a:gd name="connsiteX126" fmla="*/ 26318 w 252993"/>
                <a:gd name="connsiteY126" fmla="*/ 117586 h 176202"/>
                <a:gd name="connsiteX127" fmla="*/ 24222 w 252993"/>
                <a:gd name="connsiteY127" fmla="*/ 115681 h 176202"/>
                <a:gd name="connsiteX128" fmla="*/ 22936 w 252993"/>
                <a:gd name="connsiteY128" fmla="*/ 115605 h 176202"/>
                <a:gd name="connsiteX129" fmla="*/ 20907 w 252993"/>
                <a:gd name="connsiteY129" fmla="*/ 114548 h 176202"/>
                <a:gd name="connsiteX130" fmla="*/ 18717 w 252993"/>
                <a:gd name="connsiteY130" fmla="*/ 112890 h 176202"/>
                <a:gd name="connsiteX131" fmla="*/ 16812 w 252993"/>
                <a:gd name="connsiteY131" fmla="*/ 110528 h 176202"/>
                <a:gd name="connsiteX132" fmla="*/ 14764 w 252993"/>
                <a:gd name="connsiteY132" fmla="*/ 108995 h 176202"/>
                <a:gd name="connsiteX133" fmla="*/ 14231 w 252993"/>
                <a:gd name="connsiteY133" fmla="*/ 108366 h 176202"/>
                <a:gd name="connsiteX134" fmla="*/ 14183 w 252993"/>
                <a:gd name="connsiteY134" fmla="*/ 107775 h 176202"/>
                <a:gd name="connsiteX135" fmla="*/ 14564 w 252993"/>
                <a:gd name="connsiteY135" fmla="*/ 107109 h 176202"/>
                <a:gd name="connsiteX136" fmla="*/ 14544 w 252993"/>
                <a:gd name="connsiteY136" fmla="*/ 106385 h 176202"/>
                <a:gd name="connsiteX137" fmla="*/ 14011 w 252993"/>
                <a:gd name="connsiteY137" fmla="*/ 104070 h 176202"/>
                <a:gd name="connsiteX138" fmla="*/ 14374 w 252993"/>
                <a:gd name="connsiteY138" fmla="*/ 101613 h 176202"/>
                <a:gd name="connsiteX139" fmla="*/ 14278 w 252993"/>
                <a:gd name="connsiteY139" fmla="*/ 99298 h 176202"/>
                <a:gd name="connsiteX140" fmla="*/ 14250 w 252993"/>
                <a:gd name="connsiteY140" fmla="*/ 98260 h 176202"/>
                <a:gd name="connsiteX141" fmla="*/ 13849 w 252993"/>
                <a:gd name="connsiteY141" fmla="*/ 97936 h 176202"/>
                <a:gd name="connsiteX142" fmla="*/ 13497 w 252993"/>
                <a:gd name="connsiteY142" fmla="*/ 98288 h 176202"/>
                <a:gd name="connsiteX143" fmla="*/ 12992 w 252993"/>
                <a:gd name="connsiteY143" fmla="*/ 98727 h 176202"/>
                <a:gd name="connsiteX144" fmla="*/ 12497 w 252993"/>
                <a:gd name="connsiteY144" fmla="*/ 98812 h 176202"/>
                <a:gd name="connsiteX145" fmla="*/ 10982 w 252993"/>
                <a:gd name="connsiteY145" fmla="*/ 97126 h 176202"/>
                <a:gd name="connsiteX146" fmla="*/ 9068 w 252993"/>
                <a:gd name="connsiteY146" fmla="*/ 93688 h 176202"/>
                <a:gd name="connsiteX147" fmla="*/ 7772 w 252993"/>
                <a:gd name="connsiteY147" fmla="*/ 92535 h 176202"/>
                <a:gd name="connsiteX148" fmla="*/ 5249 w 252993"/>
                <a:gd name="connsiteY148" fmla="*/ 90954 h 176202"/>
                <a:gd name="connsiteX149" fmla="*/ 3115 w 252993"/>
                <a:gd name="connsiteY149" fmla="*/ 89621 h 176202"/>
                <a:gd name="connsiteX150" fmla="*/ 1591 w 252993"/>
                <a:gd name="connsiteY150" fmla="*/ 86744 h 176202"/>
                <a:gd name="connsiteX151" fmla="*/ 0 w 252993"/>
                <a:gd name="connsiteY151" fmla="*/ 84515 h 176202"/>
                <a:gd name="connsiteX152" fmla="*/ 1048 w 252993"/>
                <a:gd name="connsiteY152" fmla="*/ 83582 h 176202"/>
                <a:gd name="connsiteX153" fmla="*/ 7115 w 252993"/>
                <a:gd name="connsiteY153" fmla="*/ 82267 h 176202"/>
                <a:gd name="connsiteX154" fmla="*/ 9944 w 252993"/>
                <a:gd name="connsiteY154" fmla="*/ 83553 h 176202"/>
                <a:gd name="connsiteX155" fmla="*/ 11211 w 252993"/>
                <a:gd name="connsiteY155" fmla="*/ 83087 h 176202"/>
                <a:gd name="connsiteX156" fmla="*/ 12440 w 252993"/>
                <a:gd name="connsiteY156" fmla="*/ 82048 h 176202"/>
                <a:gd name="connsiteX157" fmla="*/ 13125 w 252993"/>
                <a:gd name="connsiteY157" fmla="*/ 81210 h 176202"/>
                <a:gd name="connsiteX158" fmla="*/ 13249 w 252993"/>
                <a:gd name="connsiteY158" fmla="*/ 80324 h 176202"/>
                <a:gd name="connsiteX159" fmla="*/ 13859 w 252993"/>
                <a:gd name="connsiteY159" fmla="*/ 79219 h 176202"/>
                <a:gd name="connsiteX160" fmla="*/ 15907 w 252993"/>
                <a:gd name="connsiteY160" fmla="*/ 78695 h 176202"/>
                <a:gd name="connsiteX161" fmla="*/ 21336 w 252993"/>
                <a:gd name="connsiteY161" fmla="*/ 79372 h 176202"/>
                <a:gd name="connsiteX162" fmla="*/ 23517 w 252993"/>
                <a:gd name="connsiteY162" fmla="*/ 77819 h 176202"/>
                <a:gd name="connsiteX163" fmla="*/ 24327 w 252993"/>
                <a:gd name="connsiteY163" fmla="*/ 76981 h 176202"/>
                <a:gd name="connsiteX164" fmla="*/ 24822 w 252993"/>
                <a:gd name="connsiteY164" fmla="*/ 75114 h 176202"/>
                <a:gd name="connsiteX165" fmla="*/ 25394 w 252993"/>
                <a:gd name="connsiteY165" fmla="*/ 73609 h 176202"/>
                <a:gd name="connsiteX166" fmla="*/ 27337 w 252993"/>
                <a:gd name="connsiteY166" fmla="*/ 72809 h 176202"/>
                <a:gd name="connsiteX167" fmla="*/ 27308 w 252993"/>
                <a:gd name="connsiteY167" fmla="*/ 71438 h 176202"/>
                <a:gd name="connsiteX168" fmla="*/ 27013 w 252993"/>
                <a:gd name="connsiteY168" fmla="*/ 69952 h 176202"/>
                <a:gd name="connsiteX169" fmla="*/ 28137 w 252993"/>
                <a:gd name="connsiteY169" fmla="*/ 66608 h 176202"/>
                <a:gd name="connsiteX170" fmla="*/ 28823 w 252993"/>
                <a:gd name="connsiteY170" fmla="*/ 65237 h 176202"/>
                <a:gd name="connsiteX171" fmla="*/ 29928 w 252993"/>
                <a:gd name="connsiteY171" fmla="*/ 64741 h 176202"/>
                <a:gd name="connsiteX172" fmla="*/ 31252 w 252993"/>
                <a:gd name="connsiteY172" fmla="*/ 63684 h 176202"/>
                <a:gd name="connsiteX173" fmla="*/ 33557 w 252993"/>
                <a:gd name="connsiteY173" fmla="*/ 61493 h 176202"/>
                <a:gd name="connsiteX174" fmla="*/ 33023 w 252993"/>
                <a:gd name="connsiteY174" fmla="*/ 59588 h 176202"/>
                <a:gd name="connsiteX175" fmla="*/ 33481 w 252993"/>
                <a:gd name="connsiteY175" fmla="*/ 58169 h 176202"/>
                <a:gd name="connsiteX176" fmla="*/ 35881 w 252993"/>
                <a:gd name="connsiteY176" fmla="*/ 54721 h 176202"/>
                <a:gd name="connsiteX177" fmla="*/ 37709 w 252993"/>
                <a:gd name="connsiteY177" fmla="*/ 51387 h 176202"/>
                <a:gd name="connsiteX178" fmla="*/ 37681 w 252993"/>
                <a:gd name="connsiteY178" fmla="*/ 49711 h 176202"/>
                <a:gd name="connsiteX179" fmla="*/ 37948 w 252993"/>
                <a:gd name="connsiteY179" fmla="*/ 48253 h 176202"/>
                <a:gd name="connsiteX180" fmla="*/ 39567 w 252993"/>
                <a:gd name="connsiteY180" fmla="*/ 46653 h 176202"/>
                <a:gd name="connsiteX181" fmla="*/ 41263 w 252993"/>
                <a:gd name="connsiteY181" fmla="*/ 44567 h 176202"/>
                <a:gd name="connsiteX182" fmla="*/ 43501 w 252993"/>
                <a:gd name="connsiteY182" fmla="*/ 38033 h 176202"/>
                <a:gd name="connsiteX183" fmla="*/ 44310 w 252993"/>
                <a:gd name="connsiteY183" fmla="*/ 36938 h 176202"/>
                <a:gd name="connsiteX184" fmla="*/ 45777 w 252993"/>
                <a:gd name="connsiteY184" fmla="*/ 35690 h 176202"/>
                <a:gd name="connsiteX185" fmla="*/ 46873 w 252993"/>
                <a:gd name="connsiteY185" fmla="*/ 34452 h 176202"/>
                <a:gd name="connsiteX186" fmla="*/ 46987 w 252993"/>
                <a:gd name="connsiteY186" fmla="*/ 30147 h 176202"/>
                <a:gd name="connsiteX187" fmla="*/ 48016 w 252993"/>
                <a:gd name="connsiteY187" fmla="*/ 28899 h 176202"/>
                <a:gd name="connsiteX188" fmla="*/ 49987 w 252993"/>
                <a:gd name="connsiteY188" fmla="*/ 27499 h 176202"/>
                <a:gd name="connsiteX189" fmla="*/ 51949 w 252993"/>
                <a:gd name="connsiteY189" fmla="*/ 25251 h 176202"/>
                <a:gd name="connsiteX190" fmla="*/ 53540 w 252993"/>
                <a:gd name="connsiteY190" fmla="*/ 22584 h 176202"/>
                <a:gd name="connsiteX191" fmla="*/ 54769 w 252993"/>
                <a:gd name="connsiteY191" fmla="*/ 21336 h 176202"/>
                <a:gd name="connsiteX192" fmla="*/ 56398 w 252993"/>
                <a:gd name="connsiteY192" fmla="*/ 21002 h 176202"/>
                <a:gd name="connsiteX193" fmla="*/ 58160 w 252993"/>
                <a:gd name="connsiteY193" fmla="*/ 19955 h 176202"/>
                <a:gd name="connsiteX194" fmla="*/ 60131 w 252993"/>
                <a:gd name="connsiteY194" fmla="*/ 19564 h 176202"/>
                <a:gd name="connsiteX195" fmla="*/ 62046 w 252993"/>
                <a:gd name="connsiteY195" fmla="*/ 20079 h 176202"/>
                <a:gd name="connsiteX196" fmla="*/ 63255 w 252993"/>
                <a:gd name="connsiteY196" fmla="*/ 19812 h 176202"/>
                <a:gd name="connsiteX197" fmla="*/ 65094 w 252993"/>
                <a:gd name="connsiteY197" fmla="*/ 18517 h 176202"/>
                <a:gd name="connsiteX198" fmla="*/ 69771 w 252993"/>
                <a:gd name="connsiteY198" fmla="*/ 13602 h 176202"/>
                <a:gd name="connsiteX199" fmla="*/ 70428 w 252993"/>
                <a:gd name="connsiteY199" fmla="*/ 12620 h 176202"/>
                <a:gd name="connsiteX200" fmla="*/ 71400 w 252993"/>
                <a:gd name="connsiteY200" fmla="*/ 11944 h 176202"/>
                <a:gd name="connsiteX201" fmla="*/ 75190 w 252993"/>
                <a:gd name="connsiteY201" fmla="*/ 10258 h 176202"/>
                <a:gd name="connsiteX202" fmla="*/ 76152 w 252993"/>
                <a:gd name="connsiteY202" fmla="*/ 8563 h 176202"/>
                <a:gd name="connsiteX203" fmla="*/ 77457 w 252993"/>
                <a:gd name="connsiteY203" fmla="*/ 7039 h 176202"/>
                <a:gd name="connsiteX204" fmla="*/ 79143 w 252993"/>
                <a:gd name="connsiteY204" fmla="*/ 7153 h 176202"/>
                <a:gd name="connsiteX205" fmla="*/ 84649 w 252993"/>
                <a:gd name="connsiteY205" fmla="*/ 10925 h 176202"/>
                <a:gd name="connsiteX206" fmla="*/ 90535 w 252993"/>
                <a:gd name="connsiteY206" fmla="*/ 10687 h 176202"/>
                <a:gd name="connsiteX207" fmla="*/ 91611 w 252993"/>
                <a:gd name="connsiteY207" fmla="*/ 10830 h 176202"/>
                <a:gd name="connsiteX208" fmla="*/ 91964 w 252993"/>
                <a:gd name="connsiteY208" fmla="*/ 10906 h 176202"/>
                <a:gd name="connsiteX209" fmla="*/ 92688 w 252993"/>
                <a:gd name="connsiteY209" fmla="*/ 11211 h 176202"/>
                <a:gd name="connsiteX210" fmla="*/ 100517 w 252993"/>
                <a:gd name="connsiteY210" fmla="*/ 13078 h 176202"/>
                <a:gd name="connsiteX211" fmla="*/ 101727 w 252993"/>
                <a:gd name="connsiteY211" fmla="*/ 12868 h 176202"/>
                <a:gd name="connsiteX212" fmla="*/ 102061 w 252993"/>
                <a:gd name="connsiteY212" fmla="*/ 12725 h 176202"/>
                <a:gd name="connsiteX213" fmla="*/ 105213 w 252993"/>
                <a:gd name="connsiteY213" fmla="*/ 14259 h 176202"/>
                <a:gd name="connsiteX214" fmla="*/ 108004 w 252993"/>
                <a:gd name="connsiteY214" fmla="*/ 14059 h 176202"/>
                <a:gd name="connsiteX215" fmla="*/ 110652 w 252993"/>
                <a:gd name="connsiteY215" fmla="*/ 12992 h 176202"/>
                <a:gd name="connsiteX216" fmla="*/ 113405 w 252993"/>
                <a:gd name="connsiteY216" fmla="*/ 12630 h 176202"/>
                <a:gd name="connsiteX217" fmla="*/ 115938 w 252993"/>
                <a:gd name="connsiteY217" fmla="*/ 13268 h 176202"/>
                <a:gd name="connsiteX218" fmla="*/ 117863 w 252993"/>
                <a:gd name="connsiteY218" fmla="*/ 15430 h 176202"/>
                <a:gd name="connsiteX219" fmla="*/ 122863 w 252993"/>
                <a:gd name="connsiteY219" fmla="*/ 20021 h 176202"/>
                <a:gd name="connsiteX220" fmla="*/ 124349 w 252993"/>
                <a:gd name="connsiteY220" fmla="*/ 21736 h 176202"/>
                <a:gd name="connsiteX221" fmla="*/ 126635 w 252993"/>
                <a:gd name="connsiteY221" fmla="*/ 21479 h 176202"/>
                <a:gd name="connsiteX222" fmla="*/ 129168 w 252993"/>
                <a:gd name="connsiteY222" fmla="*/ 20622 h 176202"/>
                <a:gd name="connsiteX223" fmla="*/ 131731 w 252993"/>
                <a:gd name="connsiteY223" fmla="*/ 17564 h 176202"/>
                <a:gd name="connsiteX224" fmla="*/ 139608 w 252993"/>
                <a:gd name="connsiteY224" fmla="*/ 14078 h 176202"/>
                <a:gd name="connsiteX225" fmla="*/ 145618 w 252993"/>
                <a:gd name="connsiteY225" fmla="*/ 13211 h 176202"/>
                <a:gd name="connsiteX226" fmla="*/ 151486 w 252993"/>
                <a:gd name="connsiteY226" fmla="*/ 11811 h 176202"/>
                <a:gd name="connsiteX227" fmla="*/ 158277 w 252993"/>
                <a:gd name="connsiteY227" fmla="*/ 10820 h 176202"/>
                <a:gd name="connsiteX228" fmla="*/ 160239 w 252993"/>
                <a:gd name="connsiteY228" fmla="*/ 7963 h 176202"/>
                <a:gd name="connsiteX229" fmla="*/ 161325 w 252993"/>
                <a:gd name="connsiteY229" fmla="*/ 6010 h 176202"/>
                <a:gd name="connsiteX230" fmla="*/ 162097 w 252993"/>
                <a:gd name="connsiteY230" fmla="*/ 2391 h 176202"/>
                <a:gd name="connsiteX231" fmla="*/ 165754 w 252993"/>
                <a:gd name="connsiteY231" fmla="*/ 1343 h 176202"/>
                <a:gd name="connsiteX232" fmla="*/ 169231 w 252993"/>
                <a:gd name="connsiteY232" fmla="*/ 600 h 176202"/>
                <a:gd name="connsiteX233" fmla="*/ 170469 w 252993"/>
                <a:gd name="connsiteY233" fmla="*/ 143 h 176202"/>
                <a:gd name="connsiteX234" fmla="*/ 173003 w 252993"/>
                <a:gd name="connsiteY234" fmla="*/ 0 h 176202"/>
                <a:gd name="connsiteX235" fmla="*/ 174974 w 252993"/>
                <a:gd name="connsiteY235" fmla="*/ 305 h 176202"/>
                <a:gd name="connsiteX236" fmla="*/ 178013 w 252993"/>
                <a:gd name="connsiteY236" fmla="*/ 2096 h 176202"/>
                <a:gd name="connsiteX237" fmla="*/ 180147 w 252993"/>
                <a:gd name="connsiteY237" fmla="*/ 4334 h 176202"/>
                <a:gd name="connsiteX238" fmla="*/ 180984 w 252993"/>
                <a:gd name="connsiteY238" fmla="*/ 6115 h 176202"/>
                <a:gd name="connsiteX239" fmla="*/ 182804 w 252993"/>
                <a:gd name="connsiteY239" fmla="*/ 8630 h 176202"/>
                <a:gd name="connsiteX240" fmla="*/ 184718 w 252993"/>
                <a:gd name="connsiteY240" fmla="*/ 12144 h 176202"/>
                <a:gd name="connsiteX241" fmla="*/ 186833 w 252993"/>
                <a:gd name="connsiteY241" fmla="*/ 16821 h 176202"/>
                <a:gd name="connsiteX242" fmla="*/ 187290 w 252993"/>
                <a:gd name="connsiteY242" fmla="*/ 19174 h 176202"/>
                <a:gd name="connsiteX243" fmla="*/ 188090 w 252993"/>
                <a:gd name="connsiteY243" fmla="*/ 21727 h 176202"/>
                <a:gd name="connsiteX244" fmla="*/ 189662 w 252993"/>
                <a:gd name="connsiteY244" fmla="*/ 24822 h 176202"/>
                <a:gd name="connsiteX245" fmla="*/ 192662 w 252993"/>
                <a:gd name="connsiteY245" fmla="*/ 28251 h 176202"/>
                <a:gd name="connsiteX246" fmla="*/ 193081 w 252993"/>
                <a:gd name="connsiteY246" fmla="*/ 28889 h 176202"/>
                <a:gd name="connsiteX247" fmla="*/ 194443 w 252993"/>
                <a:gd name="connsiteY247" fmla="*/ 31299 h 176202"/>
                <a:gd name="connsiteX248" fmla="*/ 197072 w 252993"/>
                <a:gd name="connsiteY248" fmla="*/ 36624 h 176202"/>
                <a:gd name="connsiteX249" fmla="*/ 199273 w 252993"/>
                <a:gd name="connsiteY249" fmla="*/ 38748 h 176202"/>
                <a:gd name="connsiteX250" fmla="*/ 201187 w 252993"/>
                <a:gd name="connsiteY250" fmla="*/ 41062 h 176202"/>
                <a:gd name="connsiteX251" fmla="*/ 202111 w 252993"/>
                <a:gd name="connsiteY251" fmla="*/ 43386 h 176202"/>
                <a:gd name="connsiteX252" fmla="*/ 203482 w 252993"/>
                <a:gd name="connsiteY252" fmla="*/ 45491 h 176202"/>
                <a:gd name="connsiteX253" fmla="*/ 206702 w 252993"/>
                <a:gd name="connsiteY253" fmla="*/ 48282 h 176202"/>
                <a:gd name="connsiteX254" fmla="*/ 209312 w 252993"/>
                <a:gd name="connsiteY254" fmla="*/ 50816 h 176202"/>
                <a:gd name="connsiteX255" fmla="*/ 211398 w 252993"/>
                <a:gd name="connsiteY255" fmla="*/ 58083 h 176202"/>
                <a:gd name="connsiteX256" fmla="*/ 212855 w 252993"/>
                <a:gd name="connsiteY256" fmla="*/ 61417 h 176202"/>
                <a:gd name="connsiteX257" fmla="*/ 213789 w 252993"/>
                <a:gd name="connsiteY257" fmla="*/ 63960 h 176202"/>
                <a:gd name="connsiteX258" fmla="*/ 213341 w 252993"/>
                <a:gd name="connsiteY258" fmla="*/ 69104 h 176202"/>
                <a:gd name="connsiteX259" fmla="*/ 213922 w 252993"/>
                <a:gd name="connsiteY259" fmla="*/ 71304 h 176202"/>
                <a:gd name="connsiteX260" fmla="*/ 212731 w 252993"/>
                <a:gd name="connsiteY260" fmla="*/ 75314 h 176202"/>
                <a:gd name="connsiteX261" fmla="*/ 210579 w 252993"/>
                <a:gd name="connsiteY261" fmla="*/ 83353 h 176202"/>
                <a:gd name="connsiteX262" fmla="*/ 210055 w 252993"/>
                <a:gd name="connsiteY262" fmla="*/ 89735 h 176202"/>
                <a:gd name="connsiteX263" fmla="*/ 210426 w 252993"/>
                <a:gd name="connsiteY263" fmla="*/ 93164 h 176202"/>
                <a:gd name="connsiteX264" fmla="*/ 210474 w 252993"/>
                <a:gd name="connsiteY264" fmla="*/ 95364 h 176202"/>
                <a:gd name="connsiteX265" fmla="*/ 210998 w 252993"/>
                <a:gd name="connsiteY265" fmla="*/ 96764 h 176202"/>
                <a:gd name="connsiteX266" fmla="*/ 211569 w 252993"/>
                <a:gd name="connsiteY266" fmla="*/ 99660 h 176202"/>
                <a:gd name="connsiteX267" fmla="*/ 211655 w 252993"/>
                <a:gd name="connsiteY267" fmla="*/ 102175 h 176202"/>
                <a:gd name="connsiteX268" fmla="*/ 210884 w 252993"/>
                <a:gd name="connsiteY268" fmla="*/ 102889 h 176202"/>
                <a:gd name="connsiteX269" fmla="*/ 209807 w 252993"/>
                <a:gd name="connsiteY269" fmla="*/ 103489 h 176202"/>
                <a:gd name="connsiteX270" fmla="*/ 209388 w 252993"/>
                <a:gd name="connsiteY270" fmla="*/ 104013 h 176202"/>
                <a:gd name="connsiteX271" fmla="*/ 210378 w 252993"/>
                <a:gd name="connsiteY271" fmla="*/ 105146 h 176202"/>
                <a:gd name="connsiteX272" fmla="*/ 211731 w 252993"/>
                <a:gd name="connsiteY272" fmla="*/ 107251 h 176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252993" h="176202">
                  <a:moveTo>
                    <a:pt x="213065" y="109661"/>
                  </a:moveTo>
                  <a:lnTo>
                    <a:pt x="215884" y="113576"/>
                  </a:lnTo>
                  <a:lnTo>
                    <a:pt x="219456" y="115662"/>
                  </a:lnTo>
                  <a:lnTo>
                    <a:pt x="227724" y="117862"/>
                  </a:lnTo>
                  <a:lnTo>
                    <a:pt x="228467" y="117596"/>
                  </a:lnTo>
                  <a:lnTo>
                    <a:pt x="228543" y="117186"/>
                  </a:lnTo>
                  <a:lnTo>
                    <a:pt x="227972" y="116614"/>
                  </a:lnTo>
                  <a:lnTo>
                    <a:pt x="227886" y="115891"/>
                  </a:lnTo>
                  <a:lnTo>
                    <a:pt x="228285" y="114995"/>
                  </a:lnTo>
                  <a:lnTo>
                    <a:pt x="229428" y="114948"/>
                  </a:lnTo>
                  <a:lnTo>
                    <a:pt x="231296" y="115748"/>
                  </a:lnTo>
                  <a:lnTo>
                    <a:pt x="234858" y="114586"/>
                  </a:lnTo>
                  <a:lnTo>
                    <a:pt x="240097" y="111462"/>
                  </a:lnTo>
                  <a:lnTo>
                    <a:pt x="244916" y="110833"/>
                  </a:lnTo>
                  <a:lnTo>
                    <a:pt x="249298" y="112681"/>
                  </a:lnTo>
                  <a:lnTo>
                    <a:pt x="251546" y="114833"/>
                  </a:lnTo>
                  <a:lnTo>
                    <a:pt x="252993" y="116881"/>
                  </a:lnTo>
                  <a:lnTo>
                    <a:pt x="252536" y="119405"/>
                  </a:lnTo>
                  <a:lnTo>
                    <a:pt x="252260" y="120977"/>
                  </a:lnTo>
                  <a:lnTo>
                    <a:pt x="251107" y="127463"/>
                  </a:lnTo>
                  <a:lnTo>
                    <a:pt x="250307" y="129883"/>
                  </a:lnTo>
                  <a:lnTo>
                    <a:pt x="249021" y="132588"/>
                  </a:lnTo>
                  <a:lnTo>
                    <a:pt x="235411" y="135817"/>
                  </a:lnTo>
                  <a:lnTo>
                    <a:pt x="236287" y="134264"/>
                  </a:lnTo>
                  <a:lnTo>
                    <a:pt x="235972" y="131550"/>
                  </a:lnTo>
                  <a:lnTo>
                    <a:pt x="235401" y="129492"/>
                  </a:lnTo>
                  <a:lnTo>
                    <a:pt x="236668" y="127645"/>
                  </a:lnTo>
                  <a:lnTo>
                    <a:pt x="233610" y="126968"/>
                  </a:lnTo>
                  <a:lnTo>
                    <a:pt x="232267" y="127987"/>
                  </a:lnTo>
                  <a:lnTo>
                    <a:pt x="231220" y="129759"/>
                  </a:lnTo>
                  <a:lnTo>
                    <a:pt x="232143" y="133845"/>
                  </a:lnTo>
                  <a:lnTo>
                    <a:pt x="230657" y="136103"/>
                  </a:lnTo>
                  <a:lnTo>
                    <a:pt x="230086" y="137360"/>
                  </a:lnTo>
                  <a:lnTo>
                    <a:pt x="230019" y="140341"/>
                  </a:lnTo>
                  <a:lnTo>
                    <a:pt x="229134" y="141618"/>
                  </a:lnTo>
                  <a:lnTo>
                    <a:pt x="228962" y="143027"/>
                  </a:lnTo>
                  <a:lnTo>
                    <a:pt x="231134" y="142665"/>
                  </a:lnTo>
                  <a:lnTo>
                    <a:pt x="230153" y="145228"/>
                  </a:lnTo>
                  <a:lnTo>
                    <a:pt x="226076" y="150143"/>
                  </a:lnTo>
                  <a:lnTo>
                    <a:pt x="224647" y="153076"/>
                  </a:lnTo>
                  <a:lnTo>
                    <a:pt x="225000" y="164649"/>
                  </a:lnTo>
                  <a:lnTo>
                    <a:pt x="223181" y="171545"/>
                  </a:lnTo>
                  <a:lnTo>
                    <a:pt x="223038" y="173574"/>
                  </a:lnTo>
                  <a:lnTo>
                    <a:pt x="218713" y="173641"/>
                  </a:lnTo>
                  <a:lnTo>
                    <a:pt x="217418" y="173479"/>
                  </a:lnTo>
                  <a:lnTo>
                    <a:pt x="213322" y="172450"/>
                  </a:lnTo>
                  <a:lnTo>
                    <a:pt x="208722" y="170621"/>
                  </a:lnTo>
                  <a:lnTo>
                    <a:pt x="206026" y="167059"/>
                  </a:lnTo>
                  <a:lnTo>
                    <a:pt x="204301" y="164516"/>
                  </a:lnTo>
                  <a:lnTo>
                    <a:pt x="200396" y="165668"/>
                  </a:lnTo>
                  <a:lnTo>
                    <a:pt x="199663" y="165363"/>
                  </a:lnTo>
                  <a:lnTo>
                    <a:pt x="198587" y="164135"/>
                  </a:lnTo>
                  <a:lnTo>
                    <a:pt x="195653" y="163306"/>
                  </a:lnTo>
                  <a:lnTo>
                    <a:pt x="192024" y="163287"/>
                  </a:lnTo>
                  <a:lnTo>
                    <a:pt x="183880" y="158629"/>
                  </a:lnTo>
                  <a:lnTo>
                    <a:pt x="182985" y="157848"/>
                  </a:lnTo>
                  <a:lnTo>
                    <a:pt x="176584" y="158629"/>
                  </a:lnTo>
                  <a:lnTo>
                    <a:pt x="167002" y="160934"/>
                  </a:lnTo>
                  <a:lnTo>
                    <a:pt x="159696" y="163782"/>
                  </a:lnTo>
                  <a:lnTo>
                    <a:pt x="152143" y="168840"/>
                  </a:lnTo>
                  <a:lnTo>
                    <a:pt x="149085" y="172669"/>
                  </a:lnTo>
                  <a:lnTo>
                    <a:pt x="145532" y="174698"/>
                  </a:lnTo>
                  <a:lnTo>
                    <a:pt x="140484" y="176203"/>
                  </a:lnTo>
                  <a:lnTo>
                    <a:pt x="131464" y="175641"/>
                  </a:lnTo>
                  <a:lnTo>
                    <a:pt x="122063" y="173717"/>
                  </a:lnTo>
                  <a:lnTo>
                    <a:pt x="111976" y="171650"/>
                  </a:lnTo>
                  <a:lnTo>
                    <a:pt x="106518" y="172793"/>
                  </a:lnTo>
                  <a:lnTo>
                    <a:pt x="99146" y="171936"/>
                  </a:lnTo>
                  <a:lnTo>
                    <a:pt x="88021" y="169469"/>
                  </a:lnTo>
                  <a:lnTo>
                    <a:pt x="79734" y="168716"/>
                  </a:lnTo>
                  <a:lnTo>
                    <a:pt x="71561" y="170174"/>
                  </a:lnTo>
                  <a:lnTo>
                    <a:pt x="70190" y="169059"/>
                  </a:lnTo>
                  <a:lnTo>
                    <a:pt x="69895" y="167783"/>
                  </a:lnTo>
                  <a:lnTo>
                    <a:pt x="70209" y="165983"/>
                  </a:lnTo>
                  <a:lnTo>
                    <a:pt x="71361" y="164525"/>
                  </a:lnTo>
                  <a:lnTo>
                    <a:pt x="73343" y="163420"/>
                  </a:lnTo>
                  <a:lnTo>
                    <a:pt x="74381" y="162296"/>
                  </a:lnTo>
                  <a:lnTo>
                    <a:pt x="74495" y="161163"/>
                  </a:lnTo>
                  <a:lnTo>
                    <a:pt x="72276" y="159334"/>
                  </a:lnTo>
                  <a:lnTo>
                    <a:pt x="67723" y="156810"/>
                  </a:lnTo>
                  <a:lnTo>
                    <a:pt x="65847" y="155229"/>
                  </a:lnTo>
                  <a:lnTo>
                    <a:pt x="65389" y="154838"/>
                  </a:lnTo>
                  <a:lnTo>
                    <a:pt x="65265" y="153419"/>
                  </a:lnTo>
                  <a:lnTo>
                    <a:pt x="64322" y="152305"/>
                  </a:lnTo>
                  <a:lnTo>
                    <a:pt x="62551" y="151486"/>
                  </a:lnTo>
                  <a:lnTo>
                    <a:pt x="61189" y="150009"/>
                  </a:lnTo>
                  <a:lnTo>
                    <a:pt x="60217" y="147866"/>
                  </a:lnTo>
                  <a:lnTo>
                    <a:pt x="60427" y="145847"/>
                  </a:lnTo>
                  <a:lnTo>
                    <a:pt x="61808" y="143951"/>
                  </a:lnTo>
                  <a:lnTo>
                    <a:pt x="63579" y="143123"/>
                  </a:lnTo>
                  <a:lnTo>
                    <a:pt x="65732" y="143380"/>
                  </a:lnTo>
                  <a:lnTo>
                    <a:pt x="66627" y="142837"/>
                  </a:lnTo>
                  <a:lnTo>
                    <a:pt x="66266" y="141513"/>
                  </a:lnTo>
                  <a:lnTo>
                    <a:pt x="64161" y="139808"/>
                  </a:lnTo>
                  <a:lnTo>
                    <a:pt x="60303" y="137741"/>
                  </a:lnTo>
                  <a:lnTo>
                    <a:pt x="56379" y="138865"/>
                  </a:lnTo>
                  <a:lnTo>
                    <a:pt x="52368" y="143189"/>
                  </a:lnTo>
                  <a:lnTo>
                    <a:pt x="49492" y="143885"/>
                  </a:lnTo>
                  <a:lnTo>
                    <a:pt x="47720" y="140979"/>
                  </a:lnTo>
                  <a:lnTo>
                    <a:pt x="44577" y="139236"/>
                  </a:lnTo>
                  <a:lnTo>
                    <a:pt x="40053" y="138694"/>
                  </a:lnTo>
                  <a:lnTo>
                    <a:pt x="37272" y="137579"/>
                  </a:lnTo>
                  <a:lnTo>
                    <a:pt x="36233" y="135893"/>
                  </a:lnTo>
                  <a:lnTo>
                    <a:pt x="34252" y="134598"/>
                  </a:lnTo>
                  <a:lnTo>
                    <a:pt x="29889" y="133217"/>
                  </a:lnTo>
                  <a:lnTo>
                    <a:pt x="29832" y="131902"/>
                  </a:lnTo>
                  <a:lnTo>
                    <a:pt x="30537" y="131588"/>
                  </a:lnTo>
                  <a:lnTo>
                    <a:pt x="32090" y="131464"/>
                  </a:lnTo>
                  <a:lnTo>
                    <a:pt x="34166" y="131188"/>
                  </a:lnTo>
                  <a:lnTo>
                    <a:pt x="34500" y="130435"/>
                  </a:lnTo>
                  <a:lnTo>
                    <a:pt x="34519" y="129750"/>
                  </a:lnTo>
                  <a:lnTo>
                    <a:pt x="32881" y="128883"/>
                  </a:lnTo>
                  <a:lnTo>
                    <a:pt x="31232" y="128292"/>
                  </a:lnTo>
                  <a:lnTo>
                    <a:pt x="30366" y="127702"/>
                  </a:lnTo>
                  <a:lnTo>
                    <a:pt x="29813" y="127044"/>
                  </a:lnTo>
                  <a:lnTo>
                    <a:pt x="29699" y="126359"/>
                  </a:lnTo>
                  <a:lnTo>
                    <a:pt x="30185" y="125892"/>
                  </a:lnTo>
                  <a:lnTo>
                    <a:pt x="30852" y="125863"/>
                  </a:lnTo>
                  <a:lnTo>
                    <a:pt x="31509" y="125454"/>
                  </a:lnTo>
                  <a:lnTo>
                    <a:pt x="31880" y="123863"/>
                  </a:lnTo>
                  <a:lnTo>
                    <a:pt x="32775" y="122549"/>
                  </a:lnTo>
                  <a:lnTo>
                    <a:pt x="33414" y="122091"/>
                  </a:lnTo>
                  <a:lnTo>
                    <a:pt x="33376" y="121120"/>
                  </a:lnTo>
                  <a:lnTo>
                    <a:pt x="32709" y="120215"/>
                  </a:lnTo>
                  <a:lnTo>
                    <a:pt x="31804" y="119434"/>
                  </a:lnTo>
                  <a:lnTo>
                    <a:pt x="30470" y="118958"/>
                  </a:lnTo>
                  <a:lnTo>
                    <a:pt x="26318" y="117586"/>
                  </a:lnTo>
                  <a:lnTo>
                    <a:pt x="24222" y="115681"/>
                  </a:lnTo>
                  <a:lnTo>
                    <a:pt x="22936" y="115605"/>
                  </a:lnTo>
                  <a:lnTo>
                    <a:pt x="20907" y="114548"/>
                  </a:lnTo>
                  <a:lnTo>
                    <a:pt x="18717" y="112890"/>
                  </a:lnTo>
                  <a:lnTo>
                    <a:pt x="16812" y="110528"/>
                  </a:lnTo>
                  <a:lnTo>
                    <a:pt x="14764" y="108995"/>
                  </a:lnTo>
                  <a:lnTo>
                    <a:pt x="14231" y="108366"/>
                  </a:lnTo>
                  <a:lnTo>
                    <a:pt x="14183" y="107775"/>
                  </a:lnTo>
                  <a:lnTo>
                    <a:pt x="14564" y="107109"/>
                  </a:lnTo>
                  <a:lnTo>
                    <a:pt x="14544" y="106385"/>
                  </a:lnTo>
                  <a:lnTo>
                    <a:pt x="14011" y="104070"/>
                  </a:lnTo>
                  <a:lnTo>
                    <a:pt x="14374" y="101613"/>
                  </a:lnTo>
                  <a:lnTo>
                    <a:pt x="14278" y="99298"/>
                  </a:lnTo>
                  <a:lnTo>
                    <a:pt x="14250" y="98260"/>
                  </a:lnTo>
                  <a:lnTo>
                    <a:pt x="13849" y="97936"/>
                  </a:lnTo>
                  <a:lnTo>
                    <a:pt x="13497" y="98288"/>
                  </a:lnTo>
                  <a:lnTo>
                    <a:pt x="12992" y="98727"/>
                  </a:lnTo>
                  <a:lnTo>
                    <a:pt x="12497" y="98812"/>
                  </a:lnTo>
                  <a:lnTo>
                    <a:pt x="10982" y="97126"/>
                  </a:lnTo>
                  <a:lnTo>
                    <a:pt x="9068" y="93688"/>
                  </a:lnTo>
                  <a:lnTo>
                    <a:pt x="7772" y="92535"/>
                  </a:lnTo>
                  <a:lnTo>
                    <a:pt x="5249" y="90954"/>
                  </a:lnTo>
                  <a:lnTo>
                    <a:pt x="3115" y="89621"/>
                  </a:lnTo>
                  <a:lnTo>
                    <a:pt x="1591" y="86744"/>
                  </a:lnTo>
                  <a:lnTo>
                    <a:pt x="0" y="84515"/>
                  </a:lnTo>
                  <a:lnTo>
                    <a:pt x="1048" y="83582"/>
                  </a:lnTo>
                  <a:lnTo>
                    <a:pt x="7115" y="82267"/>
                  </a:lnTo>
                  <a:lnTo>
                    <a:pt x="9944" y="83553"/>
                  </a:lnTo>
                  <a:lnTo>
                    <a:pt x="11211" y="83087"/>
                  </a:lnTo>
                  <a:lnTo>
                    <a:pt x="12440" y="82048"/>
                  </a:lnTo>
                  <a:lnTo>
                    <a:pt x="13125" y="81210"/>
                  </a:lnTo>
                  <a:lnTo>
                    <a:pt x="13249" y="80324"/>
                  </a:lnTo>
                  <a:lnTo>
                    <a:pt x="13859" y="79219"/>
                  </a:lnTo>
                  <a:lnTo>
                    <a:pt x="15907" y="78695"/>
                  </a:lnTo>
                  <a:lnTo>
                    <a:pt x="21336" y="79372"/>
                  </a:lnTo>
                  <a:lnTo>
                    <a:pt x="23517" y="77819"/>
                  </a:lnTo>
                  <a:lnTo>
                    <a:pt x="24327" y="76981"/>
                  </a:lnTo>
                  <a:lnTo>
                    <a:pt x="24822" y="75114"/>
                  </a:lnTo>
                  <a:lnTo>
                    <a:pt x="25394" y="73609"/>
                  </a:lnTo>
                  <a:lnTo>
                    <a:pt x="27337" y="72809"/>
                  </a:lnTo>
                  <a:lnTo>
                    <a:pt x="27308" y="71438"/>
                  </a:lnTo>
                  <a:lnTo>
                    <a:pt x="27013" y="69952"/>
                  </a:lnTo>
                  <a:lnTo>
                    <a:pt x="28137" y="66608"/>
                  </a:lnTo>
                  <a:lnTo>
                    <a:pt x="28823" y="65237"/>
                  </a:lnTo>
                  <a:lnTo>
                    <a:pt x="29928" y="64741"/>
                  </a:lnTo>
                  <a:lnTo>
                    <a:pt x="31252" y="63684"/>
                  </a:lnTo>
                  <a:lnTo>
                    <a:pt x="33557" y="61493"/>
                  </a:lnTo>
                  <a:lnTo>
                    <a:pt x="33023" y="59588"/>
                  </a:lnTo>
                  <a:lnTo>
                    <a:pt x="33481" y="58169"/>
                  </a:lnTo>
                  <a:lnTo>
                    <a:pt x="35881" y="54721"/>
                  </a:lnTo>
                  <a:lnTo>
                    <a:pt x="37709" y="51387"/>
                  </a:lnTo>
                  <a:lnTo>
                    <a:pt x="37681" y="49711"/>
                  </a:lnTo>
                  <a:lnTo>
                    <a:pt x="37948" y="48253"/>
                  </a:lnTo>
                  <a:lnTo>
                    <a:pt x="39567" y="46653"/>
                  </a:lnTo>
                  <a:lnTo>
                    <a:pt x="41263" y="44567"/>
                  </a:lnTo>
                  <a:lnTo>
                    <a:pt x="43501" y="38033"/>
                  </a:lnTo>
                  <a:lnTo>
                    <a:pt x="44310" y="36938"/>
                  </a:lnTo>
                  <a:lnTo>
                    <a:pt x="45777" y="35690"/>
                  </a:lnTo>
                  <a:lnTo>
                    <a:pt x="46873" y="34452"/>
                  </a:lnTo>
                  <a:lnTo>
                    <a:pt x="46987" y="30147"/>
                  </a:lnTo>
                  <a:lnTo>
                    <a:pt x="48016" y="28899"/>
                  </a:lnTo>
                  <a:lnTo>
                    <a:pt x="49987" y="27499"/>
                  </a:lnTo>
                  <a:lnTo>
                    <a:pt x="51949" y="25251"/>
                  </a:lnTo>
                  <a:lnTo>
                    <a:pt x="53540" y="22584"/>
                  </a:lnTo>
                  <a:lnTo>
                    <a:pt x="54769" y="21336"/>
                  </a:lnTo>
                  <a:lnTo>
                    <a:pt x="56398" y="21002"/>
                  </a:lnTo>
                  <a:lnTo>
                    <a:pt x="58160" y="19955"/>
                  </a:lnTo>
                  <a:lnTo>
                    <a:pt x="60131" y="19564"/>
                  </a:lnTo>
                  <a:lnTo>
                    <a:pt x="62046" y="20079"/>
                  </a:lnTo>
                  <a:lnTo>
                    <a:pt x="63255" y="19812"/>
                  </a:lnTo>
                  <a:lnTo>
                    <a:pt x="65094" y="18517"/>
                  </a:lnTo>
                  <a:lnTo>
                    <a:pt x="69771" y="13602"/>
                  </a:lnTo>
                  <a:lnTo>
                    <a:pt x="70428" y="12620"/>
                  </a:lnTo>
                  <a:lnTo>
                    <a:pt x="71400" y="11944"/>
                  </a:lnTo>
                  <a:lnTo>
                    <a:pt x="75190" y="10258"/>
                  </a:lnTo>
                  <a:lnTo>
                    <a:pt x="76152" y="8563"/>
                  </a:lnTo>
                  <a:lnTo>
                    <a:pt x="77457" y="7039"/>
                  </a:lnTo>
                  <a:lnTo>
                    <a:pt x="79143" y="7153"/>
                  </a:lnTo>
                  <a:lnTo>
                    <a:pt x="84649" y="10925"/>
                  </a:lnTo>
                  <a:lnTo>
                    <a:pt x="90535" y="10687"/>
                  </a:lnTo>
                  <a:lnTo>
                    <a:pt x="91611" y="10830"/>
                  </a:lnTo>
                  <a:lnTo>
                    <a:pt x="91964" y="10906"/>
                  </a:lnTo>
                  <a:lnTo>
                    <a:pt x="92688" y="11211"/>
                  </a:lnTo>
                  <a:lnTo>
                    <a:pt x="100517" y="13078"/>
                  </a:lnTo>
                  <a:lnTo>
                    <a:pt x="101727" y="12868"/>
                  </a:lnTo>
                  <a:lnTo>
                    <a:pt x="102061" y="12725"/>
                  </a:lnTo>
                  <a:lnTo>
                    <a:pt x="105213" y="14259"/>
                  </a:lnTo>
                  <a:lnTo>
                    <a:pt x="108004" y="14059"/>
                  </a:lnTo>
                  <a:lnTo>
                    <a:pt x="110652" y="12992"/>
                  </a:lnTo>
                  <a:lnTo>
                    <a:pt x="113405" y="12630"/>
                  </a:lnTo>
                  <a:lnTo>
                    <a:pt x="115938" y="13268"/>
                  </a:lnTo>
                  <a:lnTo>
                    <a:pt x="117863" y="15430"/>
                  </a:lnTo>
                  <a:lnTo>
                    <a:pt x="122863" y="20021"/>
                  </a:lnTo>
                  <a:lnTo>
                    <a:pt x="124349" y="21736"/>
                  </a:lnTo>
                  <a:lnTo>
                    <a:pt x="126635" y="21479"/>
                  </a:lnTo>
                  <a:lnTo>
                    <a:pt x="129168" y="20622"/>
                  </a:lnTo>
                  <a:lnTo>
                    <a:pt x="131731" y="17564"/>
                  </a:lnTo>
                  <a:lnTo>
                    <a:pt x="139608" y="14078"/>
                  </a:lnTo>
                  <a:lnTo>
                    <a:pt x="145618" y="13211"/>
                  </a:lnTo>
                  <a:lnTo>
                    <a:pt x="151486" y="11811"/>
                  </a:lnTo>
                  <a:lnTo>
                    <a:pt x="158277" y="10820"/>
                  </a:lnTo>
                  <a:lnTo>
                    <a:pt x="160239" y="7963"/>
                  </a:lnTo>
                  <a:lnTo>
                    <a:pt x="161325" y="6010"/>
                  </a:lnTo>
                  <a:lnTo>
                    <a:pt x="162097" y="2391"/>
                  </a:lnTo>
                  <a:lnTo>
                    <a:pt x="165754" y="1343"/>
                  </a:lnTo>
                  <a:lnTo>
                    <a:pt x="169231" y="600"/>
                  </a:lnTo>
                  <a:lnTo>
                    <a:pt x="170469" y="143"/>
                  </a:lnTo>
                  <a:lnTo>
                    <a:pt x="173003" y="0"/>
                  </a:lnTo>
                  <a:lnTo>
                    <a:pt x="174974" y="305"/>
                  </a:lnTo>
                  <a:lnTo>
                    <a:pt x="178013" y="2096"/>
                  </a:lnTo>
                  <a:lnTo>
                    <a:pt x="180147" y="4334"/>
                  </a:lnTo>
                  <a:lnTo>
                    <a:pt x="180984" y="6115"/>
                  </a:lnTo>
                  <a:lnTo>
                    <a:pt x="182804" y="8630"/>
                  </a:lnTo>
                  <a:lnTo>
                    <a:pt x="184718" y="12144"/>
                  </a:lnTo>
                  <a:lnTo>
                    <a:pt x="186833" y="16821"/>
                  </a:lnTo>
                  <a:lnTo>
                    <a:pt x="187290" y="19174"/>
                  </a:lnTo>
                  <a:lnTo>
                    <a:pt x="188090" y="21727"/>
                  </a:lnTo>
                  <a:lnTo>
                    <a:pt x="189662" y="24822"/>
                  </a:lnTo>
                  <a:lnTo>
                    <a:pt x="192662" y="28251"/>
                  </a:lnTo>
                  <a:lnTo>
                    <a:pt x="193081" y="28889"/>
                  </a:lnTo>
                  <a:lnTo>
                    <a:pt x="194443" y="31299"/>
                  </a:lnTo>
                  <a:lnTo>
                    <a:pt x="197072" y="36624"/>
                  </a:lnTo>
                  <a:lnTo>
                    <a:pt x="199273" y="38748"/>
                  </a:lnTo>
                  <a:lnTo>
                    <a:pt x="201187" y="41062"/>
                  </a:lnTo>
                  <a:lnTo>
                    <a:pt x="202111" y="43386"/>
                  </a:lnTo>
                  <a:lnTo>
                    <a:pt x="203482" y="45491"/>
                  </a:lnTo>
                  <a:lnTo>
                    <a:pt x="206702" y="48282"/>
                  </a:lnTo>
                  <a:lnTo>
                    <a:pt x="209312" y="50816"/>
                  </a:lnTo>
                  <a:lnTo>
                    <a:pt x="211398" y="58083"/>
                  </a:lnTo>
                  <a:lnTo>
                    <a:pt x="212855" y="61417"/>
                  </a:lnTo>
                  <a:lnTo>
                    <a:pt x="213789" y="63960"/>
                  </a:lnTo>
                  <a:lnTo>
                    <a:pt x="213341" y="69104"/>
                  </a:lnTo>
                  <a:lnTo>
                    <a:pt x="213922" y="71304"/>
                  </a:lnTo>
                  <a:lnTo>
                    <a:pt x="212731" y="75314"/>
                  </a:lnTo>
                  <a:lnTo>
                    <a:pt x="210579" y="83353"/>
                  </a:lnTo>
                  <a:lnTo>
                    <a:pt x="210055" y="89735"/>
                  </a:lnTo>
                  <a:lnTo>
                    <a:pt x="210426" y="93164"/>
                  </a:lnTo>
                  <a:lnTo>
                    <a:pt x="210474" y="95364"/>
                  </a:lnTo>
                  <a:lnTo>
                    <a:pt x="210998" y="96764"/>
                  </a:lnTo>
                  <a:lnTo>
                    <a:pt x="211569" y="99660"/>
                  </a:lnTo>
                  <a:lnTo>
                    <a:pt x="211655" y="102175"/>
                  </a:lnTo>
                  <a:lnTo>
                    <a:pt x="210884" y="102889"/>
                  </a:lnTo>
                  <a:lnTo>
                    <a:pt x="209807" y="103489"/>
                  </a:lnTo>
                  <a:lnTo>
                    <a:pt x="209388" y="104013"/>
                  </a:lnTo>
                  <a:lnTo>
                    <a:pt x="210378" y="105146"/>
                  </a:lnTo>
                  <a:lnTo>
                    <a:pt x="211731" y="107251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1" name="Forme libre : forme 47">
              <a:extLst>
                <a:ext uri="{FF2B5EF4-FFF2-40B4-BE49-F238E27FC236}">
                  <a16:creationId xmlns:a16="http://schemas.microsoft.com/office/drawing/2014/main" id="{8A467548-4BEB-5F57-E5E8-605AA7360A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729800" y="4693791"/>
              <a:ext cx="383060" cy="505696"/>
            </a:xfrm>
            <a:custGeom>
              <a:avLst/>
              <a:gdLst>
                <a:gd name="connsiteX0" fmla="*/ 23670 w 110614"/>
                <a:gd name="connsiteY0" fmla="*/ 667 h 146027"/>
                <a:gd name="connsiteX1" fmla="*/ 26880 w 110614"/>
                <a:gd name="connsiteY1" fmla="*/ 895 h 146027"/>
                <a:gd name="connsiteX2" fmla="*/ 29280 w 110614"/>
                <a:gd name="connsiteY2" fmla="*/ 295 h 146027"/>
                <a:gd name="connsiteX3" fmla="*/ 35347 w 110614"/>
                <a:gd name="connsiteY3" fmla="*/ 1057 h 146027"/>
                <a:gd name="connsiteX4" fmla="*/ 36652 w 110614"/>
                <a:gd name="connsiteY4" fmla="*/ 1657 h 146027"/>
                <a:gd name="connsiteX5" fmla="*/ 37500 w 110614"/>
                <a:gd name="connsiteY5" fmla="*/ 2334 h 146027"/>
                <a:gd name="connsiteX6" fmla="*/ 39091 w 110614"/>
                <a:gd name="connsiteY6" fmla="*/ 4563 h 146027"/>
                <a:gd name="connsiteX7" fmla="*/ 40615 w 110614"/>
                <a:gd name="connsiteY7" fmla="*/ 7439 h 146027"/>
                <a:gd name="connsiteX8" fmla="*/ 42749 w 110614"/>
                <a:gd name="connsiteY8" fmla="*/ 8772 h 146027"/>
                <a:gd name="connsiteX9" fmla="*/ 45272 w 110614"/>
                <a:gd name="connsiteY9" fmla="*/ 10354 h 146027"/>
                <a:gd name="connsiteX10" fmla="*/ 46568 w 110614"/>
                <a:gd name="connsiteY10" fmla="*/ 11506 h 146027"/>
                <a:gd name="connsiteX11" fmla="*/ 48483 w 110614"/>
                <a:gd name="connsiteY11" fmla="*/ 14945 h 146027"/>
                <a:gd name="connsiteX12" fmla="*/ 49997 w 110614"/>
                <a:gd name="connsiteY12" fmla="*/ 16631 h 146027"/>
                <a:gd name="connsiteX13" fmla="*/ 50492 w 110614"/>
                <a:gd name="connsiteY13" fmla="*/ 16545 h 146027"/>
                <a:gd name="connsiteX14" fmla="*/ 50997 w 110614"/>
                <a:gd name="connsiteY14" fmla="*/ 16107 h 146027"/>
                <a:gd name="connsiteX15" fmla="*/ 51349 w 110614"/>
                <a:gd name="connsiteY15" fmla="*/ 15754 h 146027"/>
                <a:gd name="connsiteX16" fmla="*/ 51750 w 110614"/>
                <a:gd name="connsiteY16" fmla="*/ 16078 h 146027"/>
                <a:gd name="connsiteX17" fmla="*/ 51778 w 110614"/>
                <a:gd name="connsiteY17" fmla="*/ 17116 h 146027"/>
                <a:gd name="connsiteX18" fmla="*/ 51874 w 110614"/>
                <a:gd name="connsiteY18" fmla="*/ 19431 h 146027"/>
                <a:gd name="connsiteX19" fmla="*/ 51511 w 110614"/>
                <a:gd name="connsiteY19" fmla="*/ 21888 h 146027"/>
                <a:gd name="connsiteX20" fmla="*/ 52044 w 110614"/>
                <a:gd name="connsiteY20" fmla="*/ 24203 h 146027"/>
                <a:gd name="connsiteX21" fmla="*/ 52064 w 110614"/>
                <a:gd name="connsiteY21" fmla="*/ 24927 h 146027"/>
                <a:gd name="connsiteX22" fmla="*/ 51683 w 110614"/>
                <a:gd name="connsiteY22" fmla="*/ 25594 h 146027"/>
                <a:gd name="connsiteX23" fmla="*/ 51731 w 110614"/>
                <a:gd name="connsiteY23" fmla="*/ 26184 h 146027"/>
                <a:gd name="connsiteX24" fmla="*/ 52264 w 110614"/>
                <a:gd name="connsiteY24" fmla="*/ 26813 h 146027"/>
                <a:gd name="connsiteX25" fmla="*/ 54312 w 110614"/>
                <a:gd name="connsiteY25" fmla="*/ 28347 h 146027"/>
                <a:gd name="connsiteX26" fmla="*/ 56217 w 110614"/>
                <a:gd name="connsiteY26" fmla="*/ 30709 h 146027"/>
                <a:gd name="connsiteX27" fmla="*/ 58407 w 110614"/>
                <a:gd name="connsiteY27" fmla="*/ 32366 h 146027"/>
                <a:gd name="connsiteX28" fmla="*/ 60436 w 110614"/>
                <a:gd name="connsiteY28" fmla="*/ 33423 h 146027"/>
                <a:gd name="connsiteX29" fmla="*/ 61722 w 110614"/>
                <a:gd name="connsiteY29" fmla="*/ 33499 h 146027"/>
                <a:gd name="connsiteX30" fmla="*/ 63818 w 110614"/>
                <a:gd name="connsiteY30" fmla="*/ 35405 h 146027"/>
                <a:gd name="connsiteX31" fmla="*/ 67970 w 110614"/>
                <a:gd name="connsiteY31" fmla="*/ 36776 h 146027"/>
                <a:gd name="connsiteX32" fmla="*/ 69304 w 110614"/>
                <a:gd name="connsiteY32" fmla="*/ 37252 h 146027"/>
                <a:gd name="connsiteX33" fmla="*/ 70209 w 110614"/>
                <a:gd name="connsiteY33" fmla="*/ 38033 h 146027"/>
                <a:gd name="connsiteX34" fmla="*/ 70876 w 110614"/>
                <a:gd name="connsiteY34" fmla="*/ 38938 h 146027"/>
                <a:gd name="connsiteX35" fmla="*/ 70914 w 110614"/>
                <a:gd name="connsiteY35" fmla="*/ 39910 h 146027"/>
                <a:gd name="connsiteX36" fmla="*/ 70275 w 110614"/>
                <a:gd name="connsiteY36" fmla="*/ 40367 h 146027"/>
                <a:gd name="connsiteX37" fmla="*/ 69380 w 110614"/>
                <a:gd name="connsiteY37" fmla="*/ 41681 h 146027"/>
                <a:gd name="connsiteX38" fmla="*/ 69009 w 110614"/>
                <a:gd name="connsiteY38" fmla="*/ 43272 h 146027"/>
                <a:gd name="connsiteX39" fmla="*/ 68352 w 110614"/>
                <a:gd name="connsiteY39" fmla="*/ 43682 h 146027"/>
                <a:gd name="connsiteX40" fmla="*/ 67685 w 110614"/>
                <a:gd name="connsiteY40" fmla="*/ 43710 h 146027"/>
                <a:gd name="connsiteX41" fmla="*/ 67199 w 110614"/>
                <a:gd name="connsiteY41" fmla="*/ 44177 h 146027"/>
                <a:gd name="connsiteX42" fmla="*/ 67313 w 110614"/>
                <a:gd name="connsiteY42" fmla="*/ 44863 h 146027"/>
                <a:gd name="connsiteX43" fmla="*/ 67866 w 110614"/>
                <a:gd name="connsiteY43" fmla="*/ 45520 h 146027"/>
                <a:gd name="connsiteX44" fmla="*/ 68732 w 110614"/>
                <a:gd name="connsiteY44" fmla="*/ 46111 h 146027"/>
                <a:gd name="connsiteX45" fmla="*/ 70381 w 110614"/>
                <a:gd name="connsiteY45" fmla="*/ 46701 h 146027"/>
                <a:gd name="connsiteX46" fmla="*/ 72019 w 110614"/>
                <a:gd name="connsiteY46" fmla="*/ 47568 h 146027"/>
                <a:gd name="connsiteX47" fmla="*/ 72000 w 110614"/>
                <a:gd name="connsiteY47" fmla="*/ 48254 h 146027"/>
                <a:gd name="connsiteX48" fmla="*/ 71666 w 110614"/>
                <a:gd name="connsiteY48" fmla="*/ 49006 h 146027"/>
                <a:gd name="connsiteX49" fmla="*/ 69590 w 110614"/>
                <a:gd name="connsiteY49" fmla="*/ 49282 h 146027"/>
                <a:gd name="connsiteX50" fmla="*/ 68037 w 110614"/>
                <a:gd name="connsiteY50" fmla="*/ 49406 h 146027"/>
                <a:gd name="connsiteX51" fmla="*/ 67333 w 110614"/>
                <a:gd name="connsiteY51" fmla="*/ 49721 h 146027"/>
                <a:gd name="connsiteX52" fmla="*/ 67389 w 110614"/>
                <a:gd name="connsiteY52" fmla="*/ 51035 h 146027"/>
                <a:gd name="connsiteX53" fmla="*/ 71752 w 110614"/>
                <a:gd name="connsiteY53" fmla="*/ 52416 h 146027"/>
                <a:gd name="connsiteX54" fmla="*/ 73733 w 110614"/>
                <a:gd name="connsiteY54" fmla="*/ 53712 h 146027"/>
                <a:gd name="connsiteX55" fmla="*/ 74772 w 110614"/>
                <a:gd name="connsiteY55" fmla="*/ 55397 h 146027"/>
                <a:gd name="connsiteX56" fmla="*/ 77553 w 110614"/>
                <a:gd name="connsiteY56" fmla="*/ 56512 h 146027"/>
                <a:gd name="connsiteX57" fmla="*/ 82077 w 110614"/>
                <a:gd name="connsiteY57" fmla="*/ 57055 h 146027"/>
                <a:gd name="connsiteX58" fmla="*/ 85220 w 110614"/>
                <a:gd name="connsiteY58" fmla="*/ 58798 h 146027"/>
                <a:gd name="connsiteX59" fmla="*/ 86992 w 110614"/>
                <a:gd name="connsiteY59" fmla="*/ 61703 h 146027"/>
                <a:gd name="connsiteX60" fmla="*/ 89868 w 110614"/>
                <a:gd name="connsiteY60" fmla="*/ 61008 h 146027"/>
                <a:gd name="connsiteX61" fmla="*/ 93879 w 110614"/>
                <a:gd name="connsiteY61" fmla="*/ 56683 h 146027"/>
                <a:gd name="connsiteX62" fmla="*/ 97803 w 110614"/>
                <a:gd name="connsiteY62" fmla="*/ 55559 h 146027"/>
                <a:gd name="connsiteX63" fmla="*/ 101661 w 110614"/>
                <a:gd name="connsiteY63" fmla="*/ 57626 h 146027"/>
                <a:gd name="connsiteX64" fmla="*/ 103766 w 110614"/>
                <a:gd name="connsiteY64" fmla="*/ 59331 h 146027"/>
                <a:gd name="connsiteX65" fmla="*/ 104127 w 110614"/>
                <a:gd name="connsiteY65" fmla="*/ 60655 h 146027"/>
                <a:gd name="connsiteX66" fmla="*/ 103232 w 110614"/>
                <a:gd name="connsiteY66" fmla="*/ 61198 h 146027"/>
                <a:gd name="connsiteX67" fmla="*/ 101079 w 110614"/>
                <a:gd name="connsiteY67" fmla="*/ 60941 h 146027"/>
                <a:gd name="connsiteX68" fmla="*/ 99308 w 110614"/>
                <a:gd name="connsiteY68" fmla="*/ 61770 h 146027"/>
                <a:gd name="connsiteX69" fmla="*/ 97927 w 110614"/>
                <a:gd name="connsiteY69" fmla="*/ 63665 h 146027"/>
                <a:gd name="connsiteX70" fmla="*/ 97717 w 110614"/>
                <a:gd name="connsiteY70" fmla="*/ 65684 h 146027"/>
                <a:gd name="connsiteX71" fmla="*/ 98689 w 110614"/>
                <a:gd name="connsiteY71" fmla="*/ 67828 h 146027"/>
                <a:gd name="connsiteX72" fmla="*/ 100051 w 110614"/>
                <a:gd name="connsiteY72" fmla="*/ 69304 h 146027"/>
                <a:gd name="connsiteX73" fmla="*/ 101822 w 110614"/>
                <a:gd name="connsiteY73" fmla="*/ 70123 h 146027"/>
                <a:gd name="connsiteX74" fmla="*/ 102765 w 110614"/>
                <a:gd name="connsiteY74" fmla="*/ 71238 h 146027"/>
                <a:gd name="connsiteX75" fmla="*/ 102889 w 110614"/>
                <a:gd name="connsiteY75" fmla="*/ 72657 h 146027"/>
                <a:gd name="connsiteX76" fmla="*/ 103347 w 110614"/>
                <a:gd name="connsiteY76" fmla="*/ 73047 h 146027"/>
                <a:gd name="connsiteX77" fmla="*/ 102337 w 110614"/>
                <a:gd name="connsiteY77" fmla="*/ 73695 h 146027"/>
                <a:gd name="connsiteX78" fmla="*/ 101251 w 110614"/>
                <a:gd name="connsiteY78" fmla="*/ 74666 h 146027"/>
                <a:gd name="connsiteX79" fmla="*/ 100632 w 110614"/>
                <a:gd name="connsiteY79" fmla="*/ 76362 h 146027"/>
                <a:gd name="connsiteX80" fmla="*/ 100470 w 110614"/>
                <a:gd name="connsiteY80" fmla="*/ 79077 h 146027"/>
                <a:gd name="connsiteX81" fmla="*/ 97041 w 110614"/>
                <a:gd name="connsiteY81" fmla="*/ 81201 h 146027"/>
                <a:gd name="connsiteX82" fmla="*/ 95755 w 110614"/>
                <a:gd name="connsiteY82" fmla="*/ 81591 h 146027"/>
                <a:gd name="connsiteX83" fmla="*/ 95174 w 110614"/>
                <a:gd name="connsiteY83" fmla="*/ 83001 h 146027"/>
                <a:gd name="connsiteX84" fmla="*/ 94269 w 110614"/>
                <a:gd name="connsiteY84" fmla="*/ 86973 h 146027"/>
                <a:gd name="connsiteX85" fmla="*/ 94374 w 110614"/>
                <a:gd name="connsiteY85" fmla="*/ 89954 h 146027"/>
                <a:gd name="connsiteX86" fmla="*/ 94841 w 110614"/>
                <a:gd name="connsiteY86" fmla="*/ 91469 h 146027"/>
                <a:gd name="connsiteX87" fmla="*/ 95050 w 110614"/>
                <a:gd name="connsiteY87" fmla="*/ 92707 h 146027"/>
                <a:gd name="connsiteX88" fmla="*/ 96164 w 110614"/>
                <a:gd name="connsiteY88" fmla="*/ 94221 h 146027"/>
                <a:gd name="connsiteX89" fmla="*/ 97174 w 110614"/>
                <a:gd name="connsiteY89" fmla="*/ 96546 h 146027"/>
                <a:gd name="connsiteX90" fmla="*/ 97841 w 110614"/>
                <a:gd name="connsiteY90" fmla="*/ 99613 h 146027"/>
                <a:gd name="connsiteX91" fmla="*/ 99327 w 110614"/>
                <a:gd name="connsiteY91" fmla="*/ 101975 h 146027"/>
                <a:gd name="connsiteX92" fmla="*/ 103127 w 110614"/>
                <a:gd name="connsiteY92" fmla="*/ 104299 h 146027"/>
                <a:gd name="connsiteX93" fmla="*/ 105013 w 110614"/>
                <a:gd name="connsiteY93" fmla="*/ 105651 h 146027"/>
                <a:gd name="connsiteX94" fmla="*/ 106413 w 110614"/>
                <a:gd name="connsiteY94" fmla="*/ 107613 h 146027"/>
                <a:gd name="connsiteX95" fmla="*/ 107480 w 110614"/>
                <a:gd name="connsiteY95" fmla="*/ 109385 h 146027"/>
                <a:gd name="connsiteX96" fmla="*/ 110614 w 110614"/>
                <a:gd name="connsiteY96" fmla="*/ 111738 h 146027"/>
                <a:gd name="connsiteX97" fmla="*/ 110376 w 110614"/>
                <a:gd name="connsiteY97" fmla="*/ 113414 h 146027"/>
                <a:gd name="connsiteX98" fmla="*/ 109690 w 110614"/>
                <a:gd name="connsiteY98" fmla="*/ 115053 h 146027"/>
                <a:gd name="connsiteX99" fmla="*/ 108966 w 110614"/>
                <a:gd name="connsiteY99" fmla="*/ 115824 h 146027"/>
                <a:gd name="connsiteX100" fmla="*/ 107404 w 110614"/>
                <a:gd name="connsiteY100" fmla="*/ 117929 h 146027"/>
                <a:gd name="connsiteX101" fmla="*/ 105880 w 110614"/>
                <a:gd name="connsiteY101" fmla="*/ 119110 h 146027"/>
                <a:gd name="connsiteX102" fmla="*/ 103375 w 110614"/>
                <a:gd name="connsiteY102" fmla="*/ 122815 h 146027"/>
                <a:gd name="connsiteX103" fmla="*/ 99422 w 110614"/>
                <a:gd name="connsiteY103" fmla="*/ 123015 h 146027"/>
                <a:gd name="connsiteX104" fmla="*/ 98479 w 110614"/>
                <a:gd name="connsiteY104" fmla="*/ 123311 h 146027"/>
                <a:gd name="connsiteX105" fmla="*/ 96974 w 110614"/>
                <a:gd name="connsiteY105" fmla="*/ 124320 h 146027"/>
                <a:gd name="connsiteX106" fmla="*/ 96241 w 110614"/>
                <a:gd name="connsiteY106" fmla="*/ 126168 h 146027"/>
                <a:gd name="connsiteX107" fmla="*/ 96946 w 110614"/>
                <a:gd name="connsiteY107" fmla="*/ 127654 h 146027"/>
                <a:gd name="connsiteX108" fmla="*/ 96879 w 110614"/>
                <a:gd name="connsiteY108" fmla="*/ 129149 h 146027"/>
                <a:gd name="connsiteX109" fmla="*/ 96164 w 110614"/>
                <a:gd name="connsiteY109" fmla="*/ 132055 h 146027"/>
                <a:gd name="connsiteX110" fmla="*/ 97117 w 110614"/>
                <a:gd name="connsiteY110" fmla="*/ 135169 h 146027"/>
                <a:gd name="connsiteX111" fmla="*/ 98517 w 110614"/>
                <a:gd name="connsiteY111" fmla="*/ 136588 h 146027"/>
                <a:gd name="connsiteX112" fmla="*/ 98736 w 110614"/>
                <a:gd name="connsiteY112" fmla="*/ 137408 h 146027"/>
                <a:gd name="connsiteX113" fmla="*/ 98498 w 110614"/>
                <a:gd name="connsiteY113" fmla="*/ 138855 h 146027"/>
                <a:gd name="connsiteX114" fmla="*/ 96412 w 110614"/>
                <a:gd name="connsiteY114" fmla="*/ 141808 h 146027"/>
                <a:gd name="connsiteX115" fmla="*/ 95784 w 110614"/>
                <a:gd name="connsiteY115" fmla="*/ 142903 h 146027"/>
                <a:gd name="connsiteX116" fmla="*/ 93698 w 110614"/>
                <a:gd name="connsiteY116" fmla="*/ 143437 h 146027"/>
                <a:gd name="connsiteX117" fmla="*/ 92983 w 110614"/>
                <a:gd name="connsiteY117" fmla="*/ 143161 h 146027"/>
                <a:gd name="connsiteX118" fmla="*/ 91907 w 110614"/>
                <a:gd name="connsiteY118" fmla="*/ 142151 h 146027"/>
                <a:gd name="connsiteX119" fmla="*/ 90907 w 110614"/>
                <a:gd name="connsiteY119" fmla="*/ 141846 h 146027"/>
                <a:gd name="connsiteX120" fmla="*/ 88421 w 110614"/>
                <a:gd name="connsiteY120" fmla="*/ 143037 h 146027"/>
                <a:gd name="connsiteX121" fmla="*/ 85887 w 110614"/>
                <a:gd name="connsiteY121" fmla="*/ 143770 h 146027"/>
                <a:gd name="connsiteX122" fmla="*/ 83897 w 110614"/>
                <a:gd name="connsiteY122" fmla="*/ 143218 h 146027"/>
                <a:gd name="connsiteX123" fmla="*/ 81934 w 110614"/>
                <a:gd name="connsiteY123" fmla="*/ 143151 h 146027"/>
                <a:gd name="connsiteX124" fmla="*/ 80572 w 110614"/>
                <a:gd name="connsiteY124" fmla="*/ 143637 h 146027"/>
                <a:gd name="connsiteX125" fmla="*/ 79543 w 110614"/>
                <a:gd name="connsiteY125" fmla="*/ 143828 h 146027"/>
                <a:gd name="connsiteX126" fmla="*/ 77524 w 110614"/>
                <a:gd name="connsiteY126" fmla="*/ 145104 h 146027"/>
                <a:gd name="connsiteX127" fmla="*/ 74295 w 110614"/>
                <a:gd name="connsiteY127" fmla="*/ 146028 h 146027"/>
                <a:gd name="connsiteX128" fmla="*/ 72800 w 110614"/>
                <a:gd name="connsiteY128" fmla="*/ 145828 h 146027"/>
                <a:gd name="connsiteX129" fmla="*/ 72247 w 110614"/>
                <a:gd name="connsiteY129" fmla="*/ 144628 h 146027"/>
                <a:gd name="connsiteX130" fmla="*/ 71637 w 110614"/>
                <a:gd name="connsiteY130" fmla="*/ 142923 h 146027"/>
                <a:gd name="connsiteX131" fmla="*/ 71933 w 110614"/>
                <a:gd name="connsiteY131" fmla="*/ 142142 h 146027"/>
                <a:gd name="connsiteX132" fmla="*/ 74076 w 110614"/>
                <a:gd name="connsiteY132" fmla="*/ 140789 h 146027"/>
                <a:gd name="connsiteX133" fmla="*/ 74314 w 110614"/>
                <a:gd name="connsiteY133" fmla="*/ 139503 h 146027"/>
                <a:gd name="connsiteX134" fmla="*/ 77305 w 110614"/>
                <a:gd name="connsiteY134" fmla="*/ 133274 h 146027"/>
                <a:gd name="connsiteX135" fmla="*/ 77877 w 110614"/>
                <a:gd name="connsiteY135" fmla="*/ 131245 h 146027"/>
                <a:gd name="connsiteX136" fmla="*/ 77896 w 110614"/>
                <a:gd name="connsiteY136" fmla="*/ 130588 h 146027"/>
                <a:gd name="connsiteX137" fmla="*/ 77114 w 110614"/>
                <a:gd name="connsiteY137" fmla="*/ 130140 h 146027"/>
                <a:gd name="connsiteX138" fmla="*/ 75476 w 110614"/>
                <a:gd name="connsiteY138" fmla="*/ 130159 h 146027"/>
                <a:gd name="connsiteX139" fmla="*/ 68209 w 110614"/>
                <a:gd name="connsiteY139" fmla="*/ 127626 h 146027"/>
                <a:gd name="connsiteX140" fmla="*/ 68542 w 110614"/>
                <a:gd name="connsiteY140" fmla="*/ 124720 h 146027"/>
                <a:gd name="connsiteX141" fmla="*/ 66409 w 110614"/>
                <a:gd name="connsiteY141" fmla="*/ 123149 h 146027"/>
                <a:gd name="connsiteX142" fmla="*/ 64104 w 110614"/>
                <a:gd name="connsiteY142" fmla="*/ 121749 h 146027"/>
                <a:gd name="connsiteX143" fmla="*/ 63722 w 110614"/>
                <a:gd name="connsiteY143" fmla="*/ 120187 h 146027"/>
                <a:gd name="connsiteX144" fmla="*/ 61160 w 110614"/>
                <a:gd name="connsiteY144" fmla="*/ 117024 h 146027"/>
                <a:gd name="connsiteX145" fmla="*/ 59293 w 110614"/>
                <a:gd name="connsiteY145" fmla="*/ 115253 h 146027"/>
                <a:gd name="connsiteX146" fmla="*/ 56902 w 110614"/>
                <a:gd name="connsiteY146" fmla="*/ 114367 h 146027"/>
                <a:gd name="connsiteX147" fmla="*/ 54845 w 110614"/>
                <a:gd name="connsiteY147" fmla="*/ 113062 h 146027"/>
                <a:gd name="connsiteX148" fmla="*/ 53607 w 110614"/>
                <a:gd name="connsiteY148" fmla="*/ 112262 h 146027"/>
                <a:gd name="connsiteX149" fmla="*/ 53054 w 110614"/>
                <a:gd name="connsiteY149" fmla="*/ 110785 h 146027"/>
                <a:gd name="connsiteX150" fmla="*/ 53054 w 110614"/>
                <a:gd name="connsiteY150" fmla="*/ 109909 h 146027"/>
                <a:gd name="connsiteX151" fmla="*/ 52435 w 110614"/>
                <a:gd name="connsiteY151" fmla="*/ 109061 h 146027"/>
                <a:gd name="connsiteX152" fmla="*/ 51445 w 110614"/>
                <a:gd name="connsiteY152" fmla="*/ 109156 h 146027"/>
                <a:gd name="connsiteX153" fmla="*/ 49759 w 110614"/>
                <a:gd name="connsiteY153" fmla="*/ 110338 h 146027"/>
                <a:gd name="connsiteX154" fmla="*/ 47692 w 110614"/>
                <a:gd name="connsiteY154" fmla="*/ 111347 h 146027"/>
                <a:gd name="connsiteX155" fmla="*/ 47330 w 110614"/>
                <a:gd name="connsiteY155" fmla="*/ 112090 h 146027"/>
                <a:gd name="connsiteX156" fmla="*/ 48083 w 110614"/>
                <a:gd name="connsiteY156" fmla="*/ 113833 h 146027"/>
                <a:gd name="connsiteX157" fmla="*/ 48616 w 110614"/>
                <a:gd name="connsiteY157" fmla="*/ 114957 h 146027"/>
                <a:gd name="connsiteX158" fmla="*/ 48368 w 110614"/>
                <a:gd name="connsiteY158" fmla="*/ 116005 h 146027"/>
                <a:gd name="connsiteX159" fmla="*/ 47720 w 110614"/>
                <a:gd name="connsiteY159" fmla="*/ 117348 h 146027"/>
                <a:gd name="connsiteX160" fmla="*/ 43739 w 110614"/>
                <a:gd name="connsiteY160" fmla="*/ 120301 h 146027"/>
                <a:gd name="connsiteX161" fmla="*/ 43292 w 110614"/>
                <a:gd name="connsiteY161" fmla="*/ 121339 h 146027"/>
                <a:gd name="connsiteX162" fmla="*/ 44053 w 110614"/>
                <a:gd name="connsiteY162" fmla="*/ 122996 h 146027"/>
                <a:gd name="connsiteX163" fmla="*/ 43568 w 110614"/>
                <a:gd name="connsiteY163" fmla="*/ 123758 h 146027"/>
                <a:gd name="connsiteX164" fmla="*/ 40243 w 110614"/>
                <a:gd name="connsiteY164" fmla="*/ 124854 h 146027"/>
                <a:gd name="connsiteX165" fmla="*/ 40329 w 110614"/>
                <a:gd name="connsiteY165" fmla="*/ 123949 h 146027"/>
                <a:gd name="connsiteX166" fmla="*/ 40120 w 110614"/>
                <a:gd name="connsiteY166" fmla="*/ 122492 h 146027"/>
                <a:gd name="connsiteX167" fmla="*/ 38215 w 110614"/>
                <a:gd name="connsiteY167" fmla="*/ 120939 h 146027"/>
                <a:gd name="connsiteX168" fmla="*/ 35519 w 110614"/>
                <a:gd name="connsiteY168" fmla="*/ 119739 h 146027"/>
                <a:gd name="connsiteX169" fmla="*/ 29537 w 110614"/>
                <a:gd name="connsiteY169" fmla="*/ 115614 h 146027"/>
                <a:gd name="connsiteX170" fmla="*/ 27242 w 110614"/>
                <a:gd name="connsiteY170" fmla="*/ 115071 h 146027"/>
                <a:gd name="connsiteX171" fmla="*/ 25185 w 110614"/>
                <a:gd name="connsiteY171" fmla="*/ 114586 h 146027"/>
                <a:gd name="connsiteX172" fmla="*/ 22241 w 110614"/>
                <a:gd name="connsiteY172" fmla="*/ 112614 h 146027"/>
                <a:gd name="connsiteX173" fmla="*/ 20727 w 110614"/>
                <a:gd name="connsiteY173" fmla="*/ 112262 h 146027"/>
                <a:gd name="connsiteX174" fmla="*/ 19050 w 110614"/>
                <a:gd name="connsiteY174" fmla="*/ 110852 h 146027"/>
                <a:gd name="connsiteX175" fmla="*/ 15393 w 110614"/>
                <a:gd name="connsiteY175" fmla="*/ 106071 h 146027"/>
                <a:gd name="connsiteX176" fmla="*/ 12278 w 110614"/>
                <a:gd name="connsiteY176" fmla="*/ 103461 h 146027"/>
                <a:gd name="connsiteX177" fmla="*/ 10154 w 110614"/>
                <a:gd name="connsiteY177" fmla="*/ 102146 h 146027"/>
                <a:gd name="connsiteX178" fmla="*/ 9553 w 110614"/>
                <a:gd name="connsiteY178" fmla="*/ 100860 h 146027"/>
                <a:gd name="connsiteX179" fmla="*/ 9430 w 110614"/>
                <a:gd name="connsiteY179" fmla="*/ 99536 h 146027"/>
                <a:gd name="connsiteX180" fmla="*/ 9497 w 110614"/>
                <a:gd name="connsiteY180" fmla="*/ 99089 h 146027"/>
                <a:gd name="connsiteX181" fmla="*/ 11106 w 110614"/>
                <a:gd name="connsiteY181" fmla="*/ 97203 h 146027"/>
                <a:gd name="connsiteX182" fmla="*/ 12345 w 110614"/>
                <a:gd name="connsiteY182" fmla="*/ 96936 h 146027"/>
                <a:gd name="connsiteX183" fmla="*/ 13935 w 110614"/>
                <a:gd name="connsiteY183" fmla="*/ 96869 h 146027"/>
                <a:gd name="connsiteX184" fmla="*/ 14993 w 110614"/>
                <a:gd name="connsiteY184" fmla="*/ 97822 h 146027"/>
                <a:gd name="connsiteX185" fmla="*/ 16364 w 110614"/>
                <a:gd name="connsiteY185" fmla="*/ 98031 h 146027"/>
                <a:gd name="connsiteX186" fmla="*/ 17136 w 110614"/>
                <a:gd name="connsiteY186" fmla="*/ 96812 h 146027"/>
                <a:gd name="connsiteX187" fmla="*/ 17536 w 110614"/>
                <a:gd name="connsiteY187" fmla="*/ 95060 h 146027"/>
                <a:gd name="connsiteX188" fmla="*/ 17355 w 110614"/>
                <a:gd name="connsiteY188" fmla="*/ 92821 h 146027"/>
                <a:gd name="connsiteX189" fmla="*/ 14031 w 110614"/>
                <a:gd name="connsiteY189" fmla="*/ 87611 h 146027"/>
                <a:gd name="connsiteX190" fmla="*/ 11182 w 110614"/>
                <a:gd name="connsiteY190" fmla="*/ 83972 h 146027"/>
                <a:gd name="connsiteX191" fmla="*/ 10849 w 110614"/>
                <a:gd name="connsiteY191" fmla="*/ 83163 h 146027"/>
                <a:gd name="connsiteX192" fmla="*/ 11468 w 110614"/>
                <a:gd name="connsiteY192" fmla="*/ 82477 h 146027"/>
                <a:gd name="connsiteX193" fmla="*/ 12468 w 110614"/>
                <a:gd name="connsiteY193" fmla="*/ 82115 h 146027"/>
                <a:gd name="connsiteX194" fmla="*/ 13535 w 110614"/>
                <a:gd name="connsiteY194" fmla="*/ 82420 h 146027"/>
                <a:gd name="connsiteX195" fmla="*/ 16316 w 110614"/>
                <a:gd name="connsiteY195" fmla="*/ 82687 h 146027"/>
                <a:gd name="connsiteX196" fmla="*/ 18993 w 110614"/>
                <a:gd name="connsiteY196" fmla="*/ 82344 h 146027"/>
                <a:gd name="connsiteX197" fmla="*/ 19908 w 110614"/>
                <a:gd name="connsiteY197" fmla="*/ 81458 h 146027"/>
                <a:gd name="connsiteX198" fmla="*/ 19908 w 110614"/>
                <a:gd name="connsiteY198" fmla="*/ 80258 h 146027"/>
                <a:gd name="connsiteX199" fmla="*/ 18936 w 110614"/>
                <a:gd name="connsiteY199" fmla="*/ 79143 h 146027"/>
                <a:gd name="connsiteX200" fmla="*/ 15802 w 110614"/>
                <a:gd name="connsiteY200" fmla="*/ 76143 h 146027"/>
                <a:gd name="connsiteX201" fmla="*/ 13364 w 110614"/>
                <a:gd name="connsiteY201" fmla="*/ 73495 h 146027"/>
                <a:gd name="connsiteX202" fmla="*/ 10487 w 110614"/>
                <a:gd name="connsiteY202" fmla="*/ 71457 h 146027"/>
                <a:gd name="connsiteX203" fmla="*/ 8363 w 110614"/>
                <a:gd name="connsiteY203" fmla="*/ 70638 h 146027"/>
                <a:gd name="connsiteX204" fmla="*/ 7734 w 110614"/>
                <a:gd name="connsiteY204" fmla="*/ 69599 h 146027"/>
                <a:gd name="connsiteX205" fmla="*/ 7468 w 110614"/>
                <a:gd name="connsiteY205" fmla="*/ 68494 h 146027"/>
                <a:gd name="connsiteX206" fmla="*/ 7706 w 110614"/>
                <a:gd name="connsiteY206" fmla="*/ 66465 h 146027"/>
                <a:gd name="connsiteX207" fmla="*/ 7849 w 110614"/>
                <a:gd name="connsiteY207" fmla="*/ 63875 h 146027"/>
                <a:gd name="connsiteX208" fmla="*/ 8344 w 110614"/>
                <a:gd name="connsiteY208" fmla="*/ 62256 h 146027"/>
                <a:gd name="connsiteX209" fmla="*/ 10268 w 110614"/>
                <a:gd name="connsiteY209" fmla="*/ 59179 h 146027"/>
                <a:gd name="connsiteX210" fmla="*/ 12106 w 110614"/>
                <a:gd name="connsiteY210" fmla="*/ 55912 h 146027"/>
                <a:gd name="connsiteX211" fmla="*/ 13240 w 110614"/>
                <a:gd name="connsiteY211" fmla="*/ 52769 h 146027"/>
                <a:gd name="connsiteX212" fmla="*/ 13840 w 110614"/>
                <a:gd name="connsiteY212" fmla="*/ 49844 h 146027"/>
                <a:gd name="connsiteX213" fmla="*/ 13621 w 110614"/>
                <a:gd name="connsiteY213" fmla="*/ 48997 h 146027"/>
                <a:gd name="connsiteX214" fmla="*/ 12659 w 110614"/>
                <a:gd name="connsiteY214" fmla="*/ 48378 h 146027"/>
                <a:gd name="connsiteX215" fmla="*/ 10639 w 110614"/>
                <a:gd name="connsiteY215" fmla="*/ 47739 h 146027"/>
                <a:gd name="connsiteX216" fmla="*/ 7820 w 110614"/>
                <a:gd name="connsiteY216" fmla="*/ 48292 h 146027"/>
                <a:gd name="connsiteX217" fmla="*/ 5429 w 110614"/>
                <a:gd name="connsiteY217" fmla="*/ 49359 h 146027"/>
                <a:gd name="connsiteX218" fmla="*/ 4496 w 110614"/>
                <a:gd name="connsiteY218" fmla="*/ 49444 h 146027"/>
                <a:gd name="connsiteX219" fmla="*/ 4182 w 110614"/>
                <a:gd name="connsiteY219" fmla="*/ 48130 h 146027"/>
                <a:gd name="connsiteX220" fmla="*/ 4553 w 110614"/>
                <a:gd name="connsiteY220" fmla="*/ 47549 h 146027"/>
                <a:gd name="connsiteX221" fmla="*/ 5305 w 110614"/>
                <a:gd name="connsiteY221" fmla="*/ 47625 h 146027"/>
                <a:gd name="connsiteX222" fmla="*/ 5925 w 110614"/>
                <a:gd name="connsiteY222" fmla="*/ 47873 h 146027"/>
                <a:gd name="connsiteX223" fmla="*/ 6582 w 110614"/>
                <a:gd name="connsiteY223" fmla="*/ 47273 h 146027"/>
                <a:gd name="connsiteX224" fmla="*/ 6982 w 110614"/>
                <a:gd name="connsiteY224" fmla="*/ 45511 h 146027"/>
                <a:gd name="connsiteX225" fmla="*/ 5982 w 110614"/>
                <a:gd name="connsiteY225" fmla="*/ 39338 h 146027"/>
                <a:gd name="connsiteX226" fmla="*/ 7773 w 110614"/>
                <a:gd name="connsiteY226" fmla="*/ 38795 h 146027"/>
                <a:gd name="connsiteX227" fmla="*/ 7801 w 110614"/>
                <a:gd name="connsiteY227" fmla="*/ 37900 h 146027"/>
                <a:gd name="connsiteX228" fmla="*/ 7963 w 110614"/>
                <a:gd name="connsiteY228" fmla="*/ 37109 h 146027"/>
                <a:gd name="connsiteX229" fmla="*/ 9811 w 110614"/>
                <a:gd name="connsiteY229" fmla="*/ 38186 h 146027"/>
                <a:gd name="connsiteX230" fmla="*/ 12402 w 110614"/>
                <a:gd name="connsiteY230" fmla="*/ 38205 h 146027"/>
                <a:gd name="connsiteX231" fmla="*/ 14678 w 110614"/>
                <a:gd name="connsiteY231" fmla="*/ 37986 h 146027"/>
                <a:gd name="connsiteX232" fmla="*/ 15021 w 110614"/>
                <a:gd name="connsiteY232" fmla="*/ 37376 h 146027"/>
                <a:gd name="connsiteX233" fmla="*/ 15002 w 110614"/>
                <a:gd name="connsiteY233" fmla="*/ 36500 h 146027"/>
                <a:gd name="connsiteX234" fmla="*/ 14526 w 110614"/>
                <a:gd name="connsiteY234" fmla="*/ 35805 h 146027"/>
                <a:gd name="connsiteX235" fmla="*/ 13716 w 110614"/>
                <a:gd name="connsiteY235" fmla="*/ 35252 h 146027"/>
                <a:gd name="connsiteX236" fmla="*/ 13135 w 110614"/>
                <a:gd name="connsiteY236" fmla="*/ 34395 h 146027"/>
                <a:gd name="connsiteX237" fmla="*/ 11602 w 110614"/>
                <a:gd name="connsiteY237" fmla="*/ 34014 h 146027"/>
                <a:gd name="connsiteX238" fmla="*/ 6791 w 110614"/>
                <a:gd name="connsiteY238" fmla="*/ 31785 h 146027"/>
                <a:gd name="connsiteX239" fmla="*/ 4429 w 110614"/>
                <a:gd name="connsiteY239" fmla="*/ 29413 h 146027"/>
                <a:gd name="connsiteX240" fmla="*/ 4506 w 110614"/>
                <a:gd name="connsiteY240" fmla="*/ 26889 h 146027"/>
                <a:gd name="connsiteX241" fmla="*/ 5192 w 110614"/>
                <a:gd name="connsiteY241" fmla="*/ 25508 h 146027"/>
                <a:gd name="connsiteX242" fmla="*/ 6020 w 110614"/>
                <a:gd name="connsiteY242" fmla="*/ 25022 h 146027"/>
                <a:gd name="connsiteX243" fmla="*/ 5772 w 110614"/>
                <a:gd name="connsiteY243" fmla="*/ 24555 h 146027"/>
                <a:gd name="connsiteX244" fmla="*/ 3067 w 110614"/>
                <a:gd name="connsiteY244" fmla="*/ 23384 h 146027"/>
                <a:gd name="connsiteX245" fmla="*/ 2105 w 110614"/>
                <a:gd name="connsiteY245" fmla="*/ 21755 h 146027"/>
                <a:gd name="connsiteX246" fmla="*/ 2896 w 110614"/>
                <a:gd name="connsiteY246" fmla="*/ 19669 h 146027"/>
                <a:gd name="connsiteX247" fmla="*/ 1486 w 110614"/>
                <a:gd name="connsiteY247" fmla="*/ 15412 h 146027"/>
                <a:gd name="connsiteX248" fmla="*/ 0 w 110614"/>
                <a:gd name="connsiteY248" fmla="*/ 12792 h 146027"/>
                <a:gd name="connsiteX249" fmla="*/ 1457 w 110614"/>
                <a:gd name="connsiteY249" fmla="*/ 11659 h 146027"/>
                <a:gd name="connsiteX250" fmla="*/ 1657 w 110614"/>
                <a:gd name="connsiteY250" fmla="*/ 10040 h 146027"/>
                <a:gd name="connsiteX251" fmla="*/ 1772 w 110614"/>
                <a:gd name="connsiteY251" fmla="*/ 9115 h 146027"/>
                <a:gd name="connsiteX252" fmla="*/ 2372 w 110614"/>
                <a:gd name="connsiteY252" fmla="*/ 9135 h 146027"/>
                <a:gd name="connsiteX253" fmla="*/ 4725 w 110614"/>
                <a:gd name="connsiteY253" fmla="*/ 8049 h 146027"/>
                <a:gd name="connsiteX254" fmla="*/ 5582 w 110614"/>
                <a:gd name="connsiteY254" fmla="*/ 7172 h 146027"/>
                <a:gd name="connsiteX255" fmla="*/ 6077 w 110614"/>
                <a:gd name="connsiteY255" fmla="*/ 6134 h 146027"/>
                <a:gd name="connsiteX256" fmla="*/ 6639 w 110614"/>
                <a:gd name="connsiteY256" fmla="*/ 5877 h 146027"/>
                <a:gd name="connsiteX257" fmla="*/ 8211 w 110614"/>
                <a:gd name="connsiteY257" fmla="*/ 7001 h 146027"/>
                <a:gd name="connsiteX258" fmla="*/ 9877 w 110614"/>
                <a:gd name="connsiteY258" fmla="*/ 7096 h 146027"/>
                <a:gd name="connsiteX259" fmla="*/ 11735 w 110614"/>
                <a:gd name="connsiteY259" fmla="*/ 6391 h 146027"/>
                <a:gd name="connsiteX260" fmla="*/ 13135 w 110614"/>
                <a:gd name="connsiteY260" fmla="*/ 5410 h 146027"/>
                <a:gd name="connsiteX261" fmla="*/ 14802 w 110614"/>
                <a:gd name="connsiteY261" fmla="*/ 4591 h 146027"/>
                <a:gd name="connsiteX262" fmla="*/ 15564 w 110614"/>
                <a:gd name="connsiteY262" fmla="*/ 4029 h 146027"/>
                <a:gd name="connsiteX263" fmla="*/ 16536 w 110614"/>
                <a:gd name="connsiteY263" fmla="*/ 3153 h 146027"/>
                <a:gd name="connsiteX264" fmla="*/ 18488 w 110614"/>
                <a:gd name="connsiteY264" fmla="*/ 543 h 146027"/>
                <a:gd name="connsiteX265" fmla="*/ 20707 w 110614"/>
                <a:gd name="connsiteY265" fmla="*/ 0 h 14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</a:cxnLst>
              <a:rect l="l" t="t" r="r" b="b"/>
              <a:pathLst>
                <a:path w="110614" h="146027">
                  <a:moveTo>
                    <a:pt x="23670" y="667"/>
                  </a:moveTo>
                  <a:lnTo>
                    <a:pt x="26880" y="895"/>
                  </a:lnTo>
                  <a:lnTo>
                    <a:pt x="29280" y="295"/>
                  </a:lnTo>
                  <a:lnTo>
                    <a:pt x="35347" y="1057"/>
                  </a:lnTo>
                  <a:lnTo>
                    <a:pt x="36652" y="1657"/>
                  </a:lnTo>
                  <a:lnTo>
                    <a:pt x="37500" y="2334"/>
                  </a:lnTo>
                  <a:lnTo>
                    <a:pt x="39091" y="4563"/>
                  </a:lnTo>
                  <a:lnTo>
                    <a:pt x="40615" y="7439"/>
                  </a:lnTo>
                  <a:lnTo>
                    <a:pt x="42749" y="8772"/>
                  </a:lnTo>
                  <a:lnTo>
                    <a:pt x="45272" y="10354"/>
                  </a:lnTo>
                  <a:lnTo>
                    <a:pt x="46568" y="11506"/>
                  </a:lnTo>
                  <a:lnTo>
                    <a:pt x="48483" y="14945"/>
                  </a:lnTo>
                  <a:lnTo>
                    <a:pt x="49997" y="16631"/>
                  </a:lnTo>
                  <a:lnTo>
                    <a:pt x="50492" y="16545"/>
                  </a:lnTo>
                  <a:lnTo>
                    <a:pt x="50997" y="16107"/>
                  </a:lnTo>
                  <a:lnTo>
                    <a:pt x="51349" y="15754"/>
                  </a:lnTo>
                  <a:lnTo>
                    <a:pt x="51750" y="16078"/>
                  </a:lnTo>
                  <a:lnTo>
                    <a:pt x="51778" y="17116"/>
                  </a:lnTo>
                  <a:lnTo>
                    <a:pt x="51874" y="19431"/>
                  </a:lnTo>
                  <a:lnTo>
                    <a:pt x="51511" y="21888"/>
                  </a:lnTo>
                  <a:lnTo>
                    <a:pt x="52044" y="24203"/>
                  </a:lnTo>
                  <a:lnTo>
                    <a:pt x="52064" y="24927"/>
                  </a:lnTo>
                  <a:lnTo>
                    <a:pt x="51683" y="25594"/>
                  </a:lnTo>
                  <a:lnTo>
                    <a:pt x="51731" y="26184"/>
                  </a:lnTo>
                  <a:lnTo>
                    <a:pt x="52264" y="26813"/>
                  </a:lnTo>
                  <a:lnTo>
                    <a:pt x="54312" y="28347"/>
                  </a:lnTo>
                  <a:lnTo>
                    <a:pt x="56217" y="30709"/>
                  </a:lnTo>
                  <a:lnTo>
                    <a:pt x="58407" y="32366"/>
                  </a:lnTo>
                  <a:lnTo>
                    <a:pt x="60436" y="33423"/>
                  </a:lnTo>
                  <a:lnTo>
                    <a:pt x="61722" y="33499"/>
                  </a:lnTo>
                  <a:lnTo>
                    <a:pt x="63818" y="35405"/>
                  </a:lnTo>
                  <a:lnTo>
                    <a:pt x="67970" y="36776"/>
                  </a:lnTo>
                  <a:lnTo>
                    <a:pt x="69304" y="37252"/>
                  </a:lnTo>
                  <a:lnTo>
                    <a:pt x="70209" y="38033"/>
                  </a:lnTo>
                  <a:lnTo>
                    <a:pt x="70876" y="38938"/>
                  </a:lnTo>
                  <a:lnTo>
                    <a:pt x="70914" y="39910"/>
                  </a:lnTo>
                  <a:lnTo>
                    <a:pt x="70275" y="40367"/>
                  </a:lnTo>
                  <a:lnTo>
                    <a:pt x="69380" y="41681"/>
                  </a:lnTo>
                  <a:lnTo>
                    <a:pt x="69009" y="43272"/>
                  </a:lnTo>
                  <a:lnTo>
                    <a:pt x="68352" y="43682"/>
                  </a:lnTo>
                  <a:lnTo>
                    <a:pt x="67685" y="43710"/>
                  </a:lnTo>
                  <a:lnTo>
                    <a:pt x="67199" y="44177"/>
                  </a:lnTo>
                  <a:lnTo>
                    <a:pt x="67313" y="44863"/>
                  </a:lnTo>
                  <a:lnTo>
                    <a:pt x="67866" y="45520"/>
                  </a:lnTo>
                  <a:lnTo>
                    <a:pt x="68732" y="46111"/>
                  </a:lnTo>
                  <a:lnTo>
                    <a:pt x="70381" y="46701"/>
                  </a:lnTo>
                  <a:lnTo>
                    <a:pt x="72019" y="47568"/>
                  </a:lnTo>
                  <a:lnTo>
                    <a:pt x="72000" y="48254"/>
                  </a:lnTo>
                  <a:lnTo>
                    <a:pt x="71666" y="49006"/>
                  </a:lnTo>
                  <a:lnTo>
                    <a:pt x="69590" y="49282"/>
                  </a:lnTo>
                  <a:lnTo>
                    <a:pt x="68037" y="49406"/>
                  </a:lnTo>
                  <a:lnTo>
                    <a:pt x="67333" y="49721"/>
                  </a:lnTo>
                  <a:lnTo>
                    <a:pt x="67389" y="51035"/>
                  </a:lnTo>
                  <a:lnTo>
                    <a:pt x="71752" y="52416"/>
                  </a:lnTo>
                  <a:lnTo>
                    <a:pt x="73733" y="53712"/>
                  </a:lnTo>
                  <a:lnTo>
                    <a:pt x="74772" y="55397"/>
                  </a:lnTo>
                  <a:lnTo>
                    <a:pt x="77553" y="56512"/>
                  </a:lnTo>
                  <a:lnTo>
                    <a:pt x="82077" y="57055"/>
                  </a:lnTo>
                  <a:lnTo>
                    <a:pt x="85220" y="58798"/>
                  </a:lnTo>
                  <a:lnTo>
                    <a:pt x="86992" y="61703"/>
                  </a:lnTo>
                  <a:lnTo>
                    <a:pt x="89868" y="61008"/>
                  </a:lnTo>
                  <a:lnTo>
                    <a:pt x="93879" y="56683"/>
                  </a:lnTo>
                  <a:lnTo>
                    <a:pt x="97803" y="55559"/>
                  </a:lnTo>
                  <a:lnTo>
                    <a:pt x="101661" y="57626"/>
                  </a:lnTo>
                  <a:lnTo>
                    <a:pt x="103766" y="59331"/>
                  </a:lnTo>
                  <a:lnTo>
                    <a:pt x="104127" y="60655"/>
                  </a:lnTo>
                  <a:lnTo>
                    <a:pt x="103232" y="61198"/>
                  </a:lnTo>
                  <a:lnTo>
                    <a:pt x="101079" y="60941"/>
                  </a:lnTo>
                  <a:lnTo>
                    <a:pt x="99308" y="61770"/>
                  </a:lnTo>
                  <a:lnTo>
                    <a:pt x="97927" y="63665"/>
                  </a:lnTo>
                  <a:lnTo>
                    <a:pt x="97717" y="65684"/>
                  </a:lnTo>
                  <a:lnTo>
                    <a:pt x="98689" y="67828"/>
                  </a:lnTo>
                  <a:lnTo>
                    <a:pt x="100051" y="69304"/>
                  </a:lnTo>
                  <a:lnTo>
                    <a:pt x="101822" y="70123"/>
                  </a:lnTo>
                  <a:lnTo>
                    <a:pt x="102765" y="71238"/>
                  </a:lnTo>
                  <a:lnTo>
                    <a:pt x="102889" y="72657"/>
                  </a:lnTo>
                  <a:lnTo>
                    <a:pt x="103347" y="73047"/>
                  </a:lnTo>
                  <a:lnTo>
                    <a:pt x="102337" y="73695"/>
                  </a:lnTo>
                  <a:lnTo>
                    <a:pt x="101251" y="74666"/>
                  </a:lnTo>
                  <a:lnTo>
                    <a:pt x="100632" y="76362"/>
                  </a:lnTo>
                  <a:lnTo>
                    <a:pt x="100470" y="79077"/>
                  </a:lnTo>
                  <a:lnTo>
                    <a:pt x="97041" y="81201"/>
                  </a:lnTo>
                  <a:lnTo>
                    <a:pt x="95755" y="81591"/>
                  </a:lnTo>
                  <a:lnTo>
                    <a:pt x="95174" y="83001"/>
                  </a:lnTo>
                  <a:lnTo>
                    <a:pt x="94269" y="86973"/>
                  </a:lnTo>
                  <a:lnTo>
                    <a:pt x="94374" y="89954"/>
                  </a:lnTo>
                  <a:lnTo>
                    <a:pt x="94841" y="91469"/>
                  </a:lnTo>
                  <a:lnTo>
                    <a:pt x="95050" y="92707"/>
                  </a:lnTo>
                  <a:lnTo>
                    <a:pt x="96164" y="94221"/>
                  </a:lnTo>
                  <a:lnTo>
                    <a:pt x="97174" y="96546"/>
                  </a:lnTo>
                  <a:lnTo>
                    <a:pt x="97841" y="99613"/>
                  </a:lnTo>
                  <a:lnTo>
                    <a:pt x="99327" y="101975"/>
                  </a:lnTo>
                  <a:lnTo>
                    <a:pt x="103127" y="104299"/>
                  </a:lnTo>
                  <a:lnTo>
                    <a:pt x="105013" y="105651"/>
                  </a:lnTo>
                  <a:lnTo>
                    <a:pt x="106413" y="107613"/>
                  </a:lnTo>
                  <a:lnTo>
                    <a:pt x="107480" y="109385"/>
                  </a:lnTo>
                  <a:lnTo>
                    <a:pt x="110614" y="111738"/>
                  </a:lnTo>
                  <a:lnTo>
                    <a:pt x="110376" y="113414"/>
                  </a:lnTo>
                  <a:lnTo>
                    <a:pt x="109690" y="115053"/>
                  </a:lnTo>
                  <a:lnTo>
                    <a:pt x="108966" y="115824"/>
                  </a:lnTo>
                  <a:lnTo>
                    <a:pt x="107404" y="117929"/>
                  </a:lnTo>
                  <a:lnTo>
                    <a:pt x="105880" y="119110"/>
                  </a:lnTo>
                  <a:lnTo>
                    <a:pt x="103375" y="122815"/>
                  </a:lnTo>
                  <a:lnTo>
                    <a:pt x="99422" y="123015"/>
                  </a:lnTo>
                  <a:lnTo>
                    <a:pt x="98479" y="123311"/>
                  </a:lnTo>
                  <a:lnTo>
                    <a:pt x="96974" y="124320"/>
                  </a:lnTo>
                  <a:lnTo>
                    <a:pt x="96241" y="126168"/>
                  </a:lnTo>
                  <a:lnTo>
                    <a:pt x="96946" y="127654"/>
                  </a:lnTo>
                  <a:lnTo>
                    <a:pt x="96879" y="129149"/>
                  </a:lnTo>
                  <a:lnTo>
                    <a:pt x="96164" y="132055"/>
                  </a:lnTo>
                  <a:lnTo>
                    <a:pt x="97117" y="135169"/>
                  </a:lnTo>
                  <a:lnTo>
                    <a:pt x="98517" y="136588"/>
                  </a:lnTo>
                  <a:lnTo>
                    <a:pt x="98736" y="137408"/>
                  </a:lnTo>
                  <a:lnTo>
                    <a:pt x="98498" y="138855"/>
                  </a:lnTo>
                  <a:lnTo>
                    <a:pt x="96412" y="141808"/>
                  </a:lnTo>
                  <a:lnTo>
                    <a:pt x="95784" y="142903"/>
                  </a:lnTo>
                  <a:lnTo>
                    <a:pt x="93698" y="143437"/>
                  </a:lnTo>
                  <a:lnTo>
                    <a:pt x="92983" y="143161"/>
                  </a:lnTo>
                  <a:lnTo>
                    <a:pt x="91907" y="142151"/>
                  </a:lnTo>
                  <a:lnTo>
                    <a:pt x="90907" y="141846"/>
                  </a:lnTo>
                  <a:lnTo>
                    <a:pt x="88421" y="143037"/>
                  </a:lnTo>
                  <a:lnTo>
                    <a:pt x="85887" y="143770"/>
                  </a:lnTo>
                  <a:lnTo>
                    <a:pt x="83897" y="143218"/>
                  </a:lnTo>
                  <a:lnTo>
                    <a:pt x="81934" y="143151"/>
                  </a:lnTo>
                  <a:lnTo>
                    <a:pt x="80572" y="143637"/>
                  </a:lnTo>
                  <a:lnTo>
                    <a:pt x="79543" y="143828"/>
                  </a:lnTo>
                  <a:lnTo>
                    <a:pt x="77524" y="145104"/>
                  </a:lnTo>
                  <a:lnTo>
                    <a:pt x="74295" y="146028"/>
                  </a:lnTo>
                  <a:lnTo>
                    <a:pt x="72800" y="145828"/>
                  </a:lnTo>
                  <a:lnTo>
                    <a:pt x="72247" y="144628"/>
                  </a:lnTo>
                  <a:lnTo>
                    <a:pt x="71637" y="142923"/>
                  </a:lnTo>
                  <a:lnTo>
                    <a:pt x="71933" y="142142"/>
                  </a:lnTo>
                  <a:lnTo>
                    <a:pt x="74076" y="140789"/>
                  </a:lnTo>
                  <a:lnTo>
                    <a:pt x="74314" y="139503"/>
                  </a:lnTo>
                  <a:lnTo>
                    <a:pt x="77305" y="133274"/>
                  </a:lnTo>
                  <a:lnTo>
                    <a:pt x="77877" y="131245"/>
                  </a:lnTo>
                  <a:lnTo>
                    <a:pt x="77896" y="130588"/>
                  </a:lnTo>
                  <a:lnTo>
                    <a:pt x="77114" y="130140"/>
                  </a:lnTo>
                  <a:lnTo>
                    <a:pt x="75476" y="130159"/>
                  </a:lnTo>
                  <a:lnTo>
                    <a:pt x="68209" y="127626"/>
                  </a:lnTo>
                  <a:lnTo>
                    <a:pt x="68542" y="124720"/>
                  </a:lnTo>
                  <a:lnTo>
                    <a:pt x="66409" y="123149"/>
                  </a:lnTo>
                  <a:lnTo>
                    <a:pt x="64104" y="121749"/>
                  </a:lnTo>
                  <a:lnTo>
                    <a:pt x="63722" y="120187"/>
                  </a:lnTo>
                  <a:lnTo>
                    <a:pt x="61160" y="117024"/>
                  </a:lnTo>
                  <a:lnTo>
                    <a:pt x="59293" y="115253"/>
                  </a:lnTo>
                  <a:lnTo>
                    <a:pt x="56902" y="114367"/>
                  </a:lnTo>
                  <a:lnTo>
                    <a:pt x="54845" y="113062"/>
                  </a:lnTo>
                  <a:lnTo>
                    <a:pt x="53607" y="112262"/>
                  </a:lnTo>
                  <a:lnTo>
                    <a:pt x="53054" y="110785"/>
                  </a:lnTo>
                  <a:lnTo>
                    <a:pt x="53054" y="109909"/>
                  </a:lnTo>
                  <a:lnTo>
                    <a:pt x="52435" y="109061"/>
                  </a:lnTo>
                  <a:lnTo>
                    <a:pt x="51445" y="109156"/>
                  </a:lnTo>
                  <a:lnTo>
                    <a:pt x="49759" y="110338"/>
                  </a:lnTo>
                  <a:lnTo>
                    <a:pt x="47692" y="111347"/>
                  </a:lnTo>
                  <a:lnTo>
                    <a:pt x="47330" y="112090"/>
                  </a:lnTo>
                  <a:lnTo>
                    <a:pt x="48083" y="113833"/>
                  </a:lnTo>
                  <a:lnTo>
                    <a:pt x="48616" y="114957"/>
                  </a:lnTo>
                  <a:lnTo>
                    <a:pt x="48368" y="116005"/>
                  </a:lnTo>
                  <a:lnTo>
                    <a:pt x="47720" y="117348"/>
                  </a:lnTo>
                  <a:lnTo>
                    <a:pt x="43739" y="120301"/>
                  </a:lnTo>
                  <a:lnTo>
                    <a:pt x="43292" y="121339"/>
                  </a:lnTo>
                  <a:lnTo>
                    <a:pt x="44053" y="122996"/>
                  </a:lnTo>
                  <a:lnTo>
                    <a:pt x="43568" y="123758"/>
                  </a:lnTo>
                  <a:lnTo>
                    <a:pt x="40243" y="124854"/>
                  </a:lnTo>
                  <a:lnTo>
                    <a:pt x="40329" y="123949"/>
                  </a:lnTo>
                  <a:lnTo>
                    <a:pt x="40120" y="122492"/>
                  </a:lnTo>
                  <a:lnTo>
                    <a:pt x="38215" y="120939"/>
                  </a:lnTo>
                  <a:lnTo>
                    <a:pt x="35519" y="119739"/>
                  </a:lnTo>
                  <a:lnTo>
                    <a:pt x="29537" y="115614"/>
                  </a:lnTo>
                  <a:lnTo>
                    <a:pt x="27242" y="115071"/>
                  </a:lnTo>
                  <a:lnTo>
                    <a:pt x="25185" y="114586"/>
                  </a:lnTo>
                  <a:lnTo>
                    <a:pt x="22241" y="112614"/>
                  </a:lnTo>
                  <a:lnTo>
                    <a:pt x="20727" y="112262"/>
                  </a:lnTo>
                  <a:lnTo>
                    <a:pt x="19050" y="110852"/>
                  </a:lnTo>
                  <a:lnTo>
                    <a:pt x="15393" y="106071"/>
                  </a:lnTo>
                  <a:lnTo>
                    <a:pt x="12278" y="103461"/>
                  </a:lnTo>
                  <a:lnTo>
                    <a:pt x="10154" y="102146"/>
                  </a:lnTo>
                  <a:lnTo>
                    <a:pt x="9553" y="100860"/>
                  </a:lnTo>
                  <a:lnTo>
                    <a:pt x="9430" y="99536"/>
                  </a:lnTo>
                  <a:lnTo>
                    <a:pt x="9497" y="99089"/>
                  </a:lnTo>
                  <a:lnTo>
                    <a:pt x="11106" y="97203"/>
                  </a:lnTo>
                  <a:lnTo>
                    <a:pt x="12345" y="96936"/>
                  </a:lnTo>
                  <a:lnTo>
                    <a:pt x="13935" y="96869"/>
                  </a:lnTo>
                  <a:lnTo>
                    <a:pt x="14993" y="97822"/>
                  </a:lnTo>
                  <a:lnTo>
                    <a:pt x="16364" y="98031"/>
                  </a:lnTo>
                  <a:lnTo>
                    <a:pt x="17136" y="96812"/>
                  </a:lnTo>
                  <a:lnTo>
                    <a:pt x="17536" y="95060"/>
                  </a:lnTo>
                  <a:lnTo>
                    <a:pt x="17355" y="92821"/>
                  </a:lnTo>
                  <a:lnTo>
                    <a:pt x="14031" y="87611"/>
                  </a:lnTo>
                  <a:lnTo>
                    <a:pt x="11182" y="83972"/>
                  </a:lnTo>
                  <a:lnTo>
                    <a:pt x="10849" y="83163"/>
                  </a:lnTo>
                  <a:lnTo>
                    <a:pt x="11468" y="82477"/>
                  </a:lnTo>
                  <a:lnTo>
                    <a:pt x="12468" y="82115"/>
                  </a:lnTo>
                  <a:lnTo>
                    <a:pt x="13535" y="82420"/>
                  </a:lnTo>
                  <a:lnTo>
                    <a:pt x="16316" y="82687"/>
                  </a:lnTo>
                  <a:lnTo>
                    <a:pt x="18993" y="82344"/>
                  </a:lnTo>
                  <a:lnTo>
                    <a:pt x="19908" y="81458"/>
                  </a:lnTo>
                  <a:lnTo>
                    <a:pt x="19908" y="80258"/>
                  </a:lnTo>
                  <a:lnTo>
                    <a:pt x="18936" y="79143"/>
                  </a:lnTo>
                  <a:lnTo>
                    <a:pt x="15802" y="76143"/>
                  </a:lnTo>
                  <a:lnTo>
                    <a:pt x="13364" y="73495"/>
                  </a:lnTo>
                  <a:lnTo>
                    <a:pt x="10487" y="71457"/>
                  </a:lnTo>
                  <a:lnTo>
                    <a:pt x="8363" y="70638"/>
                  </a:lnTo>
                  <a:lnTo>
                    <a:pt x="7734" y="69599"/>
                  </a:lnTo>
                  <a:lnTo>
                    <a:pt x="7468" y="68494"/>
                  </a:lnTo>
                  <a:lnTo>
                    <a:pt x="7706" y="66465"/>
                  </a:lnTo>
                  <a:lnTo>
                    <a:pt x="7849" y="63875"/>
                  </a:lnTo>
                  <a:lnTo>
                    <a:pt x="8344" y="62256"/>
                  </a:lnTo>
                  <a:lnTo>
                    <a:pt x="10268" y="59179"/>
                  </a:lnTo>
                  <a:lnTo>
                    <a:pt x="12106" y="55912"/>
                  </a:lnTo>
                  <a:lnTo>
                    <a:pt x="13240" y="52769"/>
                  </a:lnTo>
                  <a:lnTo>
                    <a:pt x="13840" y="49844"/>
                  </a:lnTo>
                  <a:lnTo>
                    <a:pt x="13621" y="48997"/>
                  </a:lnTo>
                  <a:lnTo>
                    <a:pt x="12659" y="48378"/>
                  </a:lnTo>
                  <a:lnTo>
                    <a:pt x="10639" y="47739"/>
                  </a:lnTo>
                  <a:lnTo>
                    <a:pt x="7820" y="48292"/>
                  </a:lnTo>
                  <a:lnTo>
                    <a:pt x="5429" y="49359"/>
                  </a:lnTo>
                  <a:lnTo>
                    <a:pt x="4496" y="49444"/>
                  </a:lnTo>
                  <a:lnTo>
                    <a:pt x="4182" y="48130"/>
                  </a:lnTo>
                  <a:lnTo>
                    <a:pt x="4553" y="47549"/>
                  </a:lnTo>
                  <a:lnTo>
                    <a:pt x="5305" y="47625"/>
                  </a:lnTo>
                  <a:lnTo>
                    <a:pt x="5925" y="47873"/>
                  </a:lnTo>
                  <a:lnTo>
                    <a:pt x="6582" y="47273"/>
                  </a:lnTo>
                  <a:lnTo>
                    <a:pt x="6982" y="45511"/>
                  </a:lnTo>
                  <a:lnTo>
                    <a:pt x="5982" y="39338"/>
                  </a:lnTo>
                  <a:lnTo>
                    <a:pt x="7773" y="38795"/>
                  </a:lnTo>
                  <a:lnTo>
                    <a:pt x="7801" y="37900"/>
                  </a:lnTo>
                  <a:lnTo>
                    <a:pt x="7963" y="37109"/>
                  </a:lnTo>
                  <a:lnTo>
                    <a:pt x="9811" y="38186"/>
                  </a:lnTo>
                  <a:lnTo>
                    <a:pt x="12402" y="38205"/>
                  </a:lnTo>
                  <a:lnTo>
                    <a:pt x="14678" y="37986"/>
                  </a:lnTo>
                  <a:lnTo>
                    <a:pt x="15021" y="37376"/>
                  </a:lnTo>
                  <a:lnTo>
                    <a:pt x="15002" y="36500"/>
                  </a:lnTo>
                  <a:lnTo>
                    <a:pt x="14526" y="35805"/>
                  </a:lnTo>
                  <a:lnTo>
                    <a:pt x="13716" y="35252"/>
                  </a:lnTo>
                  <a:lnTo>
                    <a:pt x="13135" y="34395"/>
                  </a:lnTo>
                  <a:lnTo>
                    <a:pt x="11602" y="34014"/>
                  </a:lnTo>
                  <a:lnTo>
                    <a:pt x="6791" y="31785"/>
                  </a:lnTo>
                  <a:lnTo>
                    <a:pt x="4429" y="29413"/>
                  </a:lnTo>
                  <a:lnTo>
                    <a:pt x="4506" y="26889"/>
                  </a:lnTo>
                  <a:lnTo>
                    <a:pt x="5192" y="25508"/>
                  </a:lnTo>
                  <a:lnTo>
                    <a:pt x="6020" y="25022"/>
                  </a:lnTo>
                  <a:lnTo>
                    <a:pt x="5772" y="24555"/>
                  </a:lnTo>
                  <a:lnTo>
                    <a:pt x="3067" y="23384"/>
                  </a:lnTo>
                  <a:lnTo>
                    <a:pt x="2105" y="21755"/>
                  </a:lnTo>
                  <a:lnTo>
                    <a:pt x="2896" y="19669"/>
                  </a:lnTo>
                  <a:lnTo>
                    <a:pt x="1486" y="15412"/>
                  </a:lnTo>
                  <a:lnTo>
                    <a:pt x="0" y="12792"/>
                  </a:lnTo>
                  <a:lnTo>
                    <a:pt x="1457" y="11659"/>
                  </a:lnTo>
                  <a:lnTo>
                    <a:pt x="1657" y="10040"/>
                  </a:lnTo>
                  <a:lnTo>
                    <a:pt x="1772" y="9115"/>
                  </a:lnTo>
                  <a:lnTo>
                    <a:pt x="2372" y="9135"/>
                  </a:lnTo>
                  <a:lnTo>
                    <a:pt x="4725" y="8049"/>
                  </a:lnTo>
                  <a:lnTo>
                    <a:pt x="5582" y="7172"/>
                  </a:lnTo>
                  <a:lnTo>
                    <a:pt x="6077" y="6134"/>
                  </a:lnTo>
                  <a:lnTo>
                    <a:pt x="6639" y="5877"/>
                  </a:lnTo>
                  <a:lnTo>
                    <a:pt x="8211" y="7001"/>
                  </a:lnTo>
                  <a:lnTo>
                    <a:pt x="9877" y="7096"/>
                  </a:lnTo>
                  <a:lnTo>
                    <a:pt x="11735" y="6391"/>
                  </a:lnTo>
                  <a:lnTo>
                    <a:pt x="13135" y="5410"/>
                  </a:lnTo>
                  <a:lnTo>
                    <a:pt x="14802" y="4591"/>
                  </a:lnTo>
                  <a:lnTo>
                    <a:pt x="15564" y="4029"/>
                  </a:lnTo>
                  <a:lnTo>
                    <a:pt x="16536" y="3153"/>
                  </a:lnTo>
                  <a:lnTo>
                    <a:pt x="18488" y="543"/>
                  </a:lnTo>
                  <a:lnTo>
                    <a:pt x="20707" y="0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2" name="Forme libre : forme 48">
              <a:extLst>
                <a:ext uri="{FF2B5EF4-FFF2-40B4-BE49-F238E27FC236}">
                  <a16:creationId xmlns:a16="http://schemas.microsoft.com/office/drawing/2014/main" id="{D7469756-4AD6-371A-EEDD-473061FA255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017482" y="581176"/>
              <a:ext cx="1204492" cy="2767668"/>
            </a:xfrm>
            <a:custGeom>
              <a:avLst/>
              <a:gdLst>
                <a:gd name="connsiteX0" fmla="*/ 347815 w 347814"/>
                <a:gd name="connsiteY0" fmla="*/ 225095 h 799204"/>
                <a:gd name="connsiteX1" fmla="*/ 340728 w 347814"/>
                <a:gd name="connsiteY1" fmla="*/ 226600 h 799204"/>
                <a:gd name="connsiteX2" fmla="*/ 335404 w 347814"/>
                <a:gd name="connsiteY2" fmla="*/ 223580 h 799204"/>
                <a:gd name="connsiteX3" fmla="*/ 332746 w 347814"/>
                <a:gd name="connsiteY3" fmla="*/ 225095 h 799204"/>
                <a:gd name="connsiteX4" fmla="*/ 328107 w 347814"/>
                <a:gd name="connsiteY4" fmla="*/ 225161 h 799204"/>
                <a:gd name="connsiteX5" fmla="*/ 322831 w 347814"/>
                <a:gd name="connsiteY5" fmla="*/ 226352 h 799204"/>
                <a:gd name="connsiteX6" fmla="*/ 321050 w 347814"/>
                <a:gd name="connsiteY6" fmla="*/ 228705 h 799204"/>
                <a:gd name="connsiteX7" fmla="*/ 319649 w 347814"/>
                <a:gd name="connsiteY7" fmla="*/ 229648 h 799204"/>
                <a:gd name="connsiteX8" fmla="*/ 314763 w 347814"/>
                <a:gd name="connsiteY8" fmla="*/ 226324 h 799204"/>
                <a:gd name="connsiteX9" fmla="*/ 310143 w 347814"/>
                <a:gd name="connsiteY9" fmla="*/ 220808 h 799204"/>
                <a:gd name="connsiteX10" fmla="*/ 306771 w 347814"/>
                <a:gd name="connsiteY10" fmla="*/ 225009 h 799204"/>
                <a:gd name="connsiteX11" fmla="*/ 304590 w 347814"/>
                <a:gd name="connsiteY11" fmla="*/ 225800 h 799204"/>
                <a:gd name="connsiteX12" fmla="*/ 302619 w 347814"/>
                <a:gd name="connsiteY12" fmla="*/ 221999 h 799204"/>
                <a:gd name="connsiteX13" fmla="*/ 300904 w 347814"/>
                <a:gd name="connsiteY13" fmla="*/ 221380 h 799204"/>
                <a:gd name="connsiteX14" fmla="*/ 299980 w 347814"/>
                <a:gd name="connsiteY14" fmla="*/ 222647 h 799204"/>
                <a:gd name="connsiteX15" fmla="*/ 299171 w 347814"/>
                <a:gd name="connsiteY15" fmla="*/ 226009 h 799204"/>
                <a:gd name="connsiteX16" fmla="*/ 297875 w 347814"/>
                <a:gd name="connsiteY16" fmla="*/ 228648 h 799204"/>
                <a:gd name="connsiteX17" fmla="*/ 297532 w 347814"/>
                <a:gd name="connsiteY17" fmla="*/ 230314 h 799204"/>
                <a:gd name="connsiteX18" fmla="*/ 297313 w 347814"/>
                <a:gd name="connsiteY18" fmla="*/ 237020 h 799204"/>
                <a:gd name="connsiteX19" fmla="*/ 296980 w 347814"/>
                <a:gd name="connsiteY19" fmla="*/ 238573 h 799204"/>
                <a:gd name="connsiteX20" fmla="*/ 292494 w 347814"/>
                <a:gd name="connsiteY20" fmla="*/ 237706 h 799204"/>
                <a:gd name="connsiteX21" fmla="*/ 292760 w 347814"/>
                <a:gd name="connsiteY21" fmla="*/ 239468 h 799204"/>
                <a:gd name="connsiteX22" fmla="*/ 293741 w 347814"/>
                <a:gd name="connsiteY22" fmla="*/ 240354 h 799204"/>
                <a:gd name="connsiteX23" fmla="*/ 294141 w 347814"/>
                <a:gd name="connsiteY23" fmla="*/ 241468 h 799204"/>
                <a:gd name="connsiteX24" fmla="*/ 292512 w 347814"/>
                <a:gd name="connsiteY24" fmla="*/ 242926 h 799204"/>
                <a:gd name="connsiteX25" fmla="*/ 288064 w 347814"/>
                <a:gd name="connsiteY25" fmla="*/ 242783 h 799204"/>
                <a:gd name="connsiteX26" fmla="*/ 287607 w 347814"/>
                <a:gd name="connsiteY26" fmla="*/ 244335 h 799204"/>
                <a:gd name="connsiteX27" fmla="*/ 288855 w 347814"/>
                <a:gd name="connsiteY27" fmla="*/ 246774 h 799204"/>
                <a:gd name="connsiteX28" fmla="*/ 287874 w 347814"/>
                <a:gd name="connsiteY28" fmla="*/ 248917 h 799204"/>
                <a:gd name="connsiteX29" fmla="*/ 286969 w 347814"/>
                <a:gd name="connsiteY29" fmla="*/ 249755 h 799204"/>
                <a:gd name="connsiteX30" fmla="*/ 281644 w 347814"/>
                <a:gd name="connsiteY30" fmla="*/ 251079 h 799204"/>
                <a:gd name="connsiteX31" fmla="*/ 278568 w 347814"/>
                <a:gd name="connsiteY31" fmla="*/ 250774 h 799204"/>
                <a:gd name="connsiteX32" fmla="*/ 277682 w 347814"/>
                <a:gd name="connsiteY32" fmla="*/ 252155 h 799204"/>
                <a:gd name="connsiteX33" fmla="*/ 277444 w 347814"/>
                <a:gd name="connsiteY33" fmla="*/ 253946 h 799204"/>
                <a:gd name="connsiteX34" fmla="*/ 278025 w 347814"/>
                <a:gd name="connsiteY34" fmla="*/ 255708 h 799204"/>
                <a:gd name="connsiteX35" fmla="*/ 279387 w 347814"/>
                <a:gd name="connsiteY35" fmla="*/ 256642 h 799204"/>
                <a:gd name="connsiteX36" fmla="*/ 279835 w 347814"/>
                <a:gd name="connsiteY36" fmla="*/ 257756 h 799204"/>
                <a:gd name="connsiteX37" fmla="*/ 279739 w 347814"/>
                <a:gd name="connsiteY37" fmla="*/ 260166 h 799204"/>
                <a:gd name="connsiteX38" fmla="*/ 278606 w 347814"/>
                <a:gd name="connsiteY38" fmla="*/ 260604 h 799204"/>
                <a:gd name="connsiteX39" fmla="*/ 275406 w 347814"/>
                <a:gd name="connsiteY39" fmla="*/ 256365 h 799204"/>
                <a:gd name="connsiteX40" fmla="*/ 274425 w 347814"/>
                <a:gd name="connsiteY40" fmla="*/ 256584 h 799204"/>
                <a:gd name="connsiteX41" fmla="*/ 275158 w 347814"/>
                <a:gd name="connsiteY41" fmla="*/ 258785 h 799204"/>
                <a:gd name="connsiteX42" fmla="*/ 276987 w 347814"/>
                <a:gd name="connsiteY42" fmla="*/ 261185 h 799204"/>
                <a:gd name="connsiteX43" fmla="*/ 278044 w 347814"/>
                <a:gd name="connsiteY43" fmla="*/ 263633 h 799204"/>
                <a:gd name="connsiteX44" fmla="*/ 278968 w 347814"/>
                <a:gd name="connsiteY44" fmla="*/ 266567 h 799204"/>
                <a:gd name="connsiteX45" fmla="*/ 278787 w 347814"/>
                <a:gd name="connsiteY45" fmla="*/ 268796 h 799204"/>
                <a:gd name="connsiteX46" fmla="*/ 274806 w 347814"/>
                <a:gd name="connsiteY46" fmla="*/ 275958 h 799204"/>
                <a:gd name="connsiteX47" fmla="*/ 271300 w 347814"/>
                <a:gd name="connsiteY47" fmla="*/ 280464 h 799204"/>
                <a:gd name="connsiteX48" fmla="*/ 268691 w 347814"/>
                <a:gd name="connsiteY48" fmla="*/ 284512 h 799204"/>
                <a:gd name="connsiteX49" fmla="*/ 267148 w 347814"/>
                <a:gd name="connsiteY49" fmla="*/ 288798 h 799204"/>
                <a:gd name="connsiteX50" fmla="*/ 268938 w 347814"/>
                <a:gd name="connsiteY50" fmla="*/ 290951 h 799204"/>
                <a:gd name="connsiteX51" fmla="*/ 270920 w 347814"/>
                <a:gd name="connsiteY51" fmla="*/ 294056 h 799204"/>
                <a:gd name="connsiteX52" fmla="*/ 272319 w 347814"/>
                <a:gd name="connsiteY52" fmla="*/ 300009 h 799204"/>
                <a:gd name="connsiteX53" fmla="*/ 273987 w 347814"/>
                <a:gd name="connsiteY53" fmla="*/ 305305 h 799204"/>
                <a:gd name="connsiteX54" fmla="*/ 277349 w 347814"/>
                <a:gd name="connsiteY54" fmla="*/ 310344 h 799204"/>
                <a:gd name="connsiteX55" fmla="*/ 276673 w 347814"/>
                <a:gd name="connsiteY55" fmla="*/ 313249 h 799204"/>
                <a:gd name="connsiteX56" fmla="*/ 275891 w 347814"/>
                <a:gd name="connsiteY56" fmla="*/ 315506 h 799204"/>
                <a:gd name="connsiteX57" fmla="*/ 270300 w 347814"/>
                <a:gd name="connsiteY57" fmla="*/ 320469 h 799204"/>
                <a:gd name="connsiteX58" fmla="*/ 263957 w 347814"/>
                <a:gd name="connsiteY58" fmla="*/ 327917 h 799204"/>
                <a:gd name="connsiteX59" fmla="*/ 257117 w 347814"/>
                <a:gd name="connsiteY59" fmla="*/ 346815 h 799204"/>
                <a:gd name="connsiteX60" fmla="*/ 254841 w 347814"/>
                <a:gd name="connsiteY60" fmla="*/ 349339 h 799204"/>
                <a:gd name="connsiteX61" fmla="*/ 248860 w 347814"/>
                <a:gd name="connsiteY61" fmla="*/ 352511 h 799204"/>
                <a:gd name="connsiteX62" fmla="*/ 246659 w 347814"/>
                <a:gd name="connsiteY62" fmla="*/ 355578 h 799204"/>
                <a:gd name="connsiteX63" fmla="*/ 242202 w 347814"/>
                <a:gd name="connsiteY63" fmla="*/ 359216 h 799204"/>
                <a:gd name="connsiteX64" fmla="*/ 234419 w 347814"/>
                <a:gd name="connsiteY64" fmla="*/ 362341 h 799204"/>
                <a:gd name="connsiteX65" fmla="*/ 230895 w 347814"/>
                <a:gd name="connsiteY65" fmla="*/ 366684 h 799204"/>
                <a:gd name="connsiteX66" fmla="*/ 229305 w 347814"/>
                <a:gd name="connsiteY66" fmla="*/ 371161 h 799204"/>
                <a:gd name="connsiteX67" fmla="*/ 227533 w 347814"/>
                <a:gd name="connsiteY67" fmla="*/ 371484 h 799204"/>
                <a:gd name="connsiteX68" fmla="*/ 225771 w 347814"/>
                <a:gd name="connsiteY68" fmla="*/ 369732 h 799204"/>
                <a:gd name="connsiteX69" fmla="*/ 223428 w 347814"/>
                <a:gd name="connsiteY69" fmla="*/ 368427 h 799204"/>
                <a:gd name="connsiteX70" fmla="*/ 223123 w 347814"/>
                <a:gd name="connsiteY70" fmla="*/ 371351 h 799204"/>
                <a:gd name="connsiteX71" fmla="*/ 223228 w 347814"/>
                <a:gd name="connsiteY71" fmla="*/ 373494 h 799204"/>
                <a:gd name="connsiteX72" fmla="*/ 219475 w 347814"/>
                <a:gd name="connsiteY72" fmla="*/ 370322 h 799204"/>
                <a:gd name="connsiteX73" fmla="*/ 217703 w 347814"/>
                <a:gd name="connsiteY73" fmla="*/ 373237 h 799204"/>
                <a:gd name="connsiteX74" fmla="*/ 216322 w 347814"/>
                <a:gd name="connsiteY74" fmla="*/ 378085 h 799204"/>
                <a:gd name="connsiteX75" fmla="*/ 210921 w 347814"/>
                <a:gd name="connsiteY75" fmla="*/ 384600 h 799204"/>
                <a:gd name="connsiteX76" fmla="*/ 205101 w 347814"/>
                <a:gd name="connsiteY76" fmla="*/ 383429 h 799204"/>
                <a:gd name="connsiteX77" fmla="*/ 204454 w 347814"/>
                <a:gd name="connsiteY77" fmla="*/ 384572 h 799204"/>
                <a:gd name="connsiteX78" fmla="*/ 205997 w 347814"/>
                <a:gd name="connsiteY78" fmla="*/ 385400 h 799204"/>
                <a:gd name="connsiteX79" fmla="*/ 206235 w 347814"/>
                <a:gd name="connsiteY79" fmla="*/ 386439 h 799204"/>
                <a:gd name="connsiteX80" fmla="*/ 205178 w 347814"/>
                <a:gd name="connsiteY80" fmla="*/ 386991 h 799204"/>
                <a:gd name="connsiteX81" fmla="*/ 203578 w 347814"/>
                <a:gd name="connsiteY81" fmla="*/ 386934 h 799204"/>
                <a:gd name="connsiteX82" fmla="*/ 201111 w 347814"/>
                <a:gd name="connsiteY82" fmla="*/ 388220 h 799204"/>
                <a:gd name="connsiteX83" fmla="*/ 199491 w 347814"/>
                <a:gd name="connsiteY83" fmla="*/ 388125 h 799204"/>
                <a:gd name="connsiteX84" fmla="*/ 198720 w 347814"/>
                <a:gd name="connsiteY84" fmla="*/ 391192 h 799204"/>
                <a:gd name="connsiteX85" fmla="*/ 197462 w 347814"/>
                <a:gd name="connsiteY85" fmla="*/ 394897 h 799204"/>
                <a:gd name="connsiteX86" fmla="*/ 194177 w 347814"/>
                <a:gd name="connsiteY86" fmla="*/ 396430 h 799204"/>
                <a:gd name="connsiteX87" fmla="*/ 192481 w 347814"/>
                <a:gd name="connsiteY87" fmla="*/ 396745 h 799204"/>
                <a:gd name="connsiteX88" fmla="*/ 191643 w 347814"/>
                <a:gd name="connsiteY88" fmla="*/ 398850 h 799204"/>
                <a:gd name="connsiteX89" fmla="*/ 196701 w 347814"/>
                <a:gd name="connsiteY89" fmla="*/ 399288 h 799204"/>
                <a:gd name="connsiteX90" fmla="*/ 196301 w 347814"/>
                <a:gd name="connsiteY90" fmla="*/ 401069 h 799204"/>
                <a:gd name="connsiteX91" fmla="*/ 196186 w 347814"/>
                <a:gd name="connsiteY91" fmla="*/ 402850 h 799204"/>
                <a:gd name="connsiteX92" fmla="*/ 195662 w 347814"/>
                <a:gd name="connsiteY92" fmla="*/ 404755 h 799204"/>
                <a:gd name="connsiteX93" fmla="*/ 189909 w 347814"/>
                <a:gd name="connsiteY93" fmla="*/ 407499 h 799204"/>
                <a:gd name="connsiteX94" fmla="*/ 189023 w 347814"/>
                <a:gd name="connsiteY94" fmla="*/ 409651 h 799204"/>
                <a:gd name="connsiteX95" fmla="*/ 187823 w 347814"/>
                <a:gd name="connsiteY95" fmla="*/ 410985 h 799204"/>
                <a:gd name="connsiteX96" fmla="*/ 185261 w 347814"/>
                <a:gd name="connsiteY96" fmla="*/ 410909 h 799204"/>
                <a:gd name="connsiteX97" fmla="*/ 185356 w 347814"/>
                <a:gd name="connsiteY97" fmla="*/ 409670 h 799204"/>
                <a:gd name="connsiteX98" fmla="*/ 185775 w 347814"/>
                <a:gd name="connsiteY98" fmla="*/ 408270 h 799204"/>
                <a:gd name="connsiteX99" fmla="*/ 181966 w 347814"/>
                <a:gd name="connsiteY99" fmla="*/ 408394 h 799204"/>
                <a:gd name="connsiteX100" fmla="*/ 180775 w 347814"/>
                <a:gd name="connsiteY100" fmla="*/ 405298 h 799204"/>
                <a:gd name="connsiteX101" fmla="*/ 180051 w 347814"/>
                <a:gd name="connsiteY101" fmla="*/ 406089 h 799204"/>
                <a:gd name="connsiteX102" fmla="*/ 180480 w 347814"/>
                <a:gd name="connsiteY102" fmla="*/ 408584 h 799204"/>
                <a:gd name="connsiteX103" fmla="*/ 181470 w 347814"/>
                <a:gd name="connsiteY103" fmla="*/ 411175 h 799204"/>
                <a:gd name="connsiteX104" fmla="*/ 182585 w 347814"/>
                <a:gd name="connsiteY104" fmla="*/ 414976 h 799204"/>
                <a:gd name="connsiteX105" fmla="*/ 181680 w 347814"/>
                <a:gd name="connsiteY105" fmla="*/ 417366 h 799204"/>
                <a:gd name="connsiteX106" fmla="*/ 180680 w 347814"/>
                <a:gd name="connsiteY106" fmla="*/ 418557 h 799204"/>
                <a:gd name="connsiteX107" fmla="*/ 181413 w 347814"/>
                <a:gd name="connsiteY107" fmla="*/ 419652 h 799204"/>
                <a:gd name="connsiteX108" fmla="*/ 183442 w 347814"/>
                <a:gd name="connsiteY108" fmla="*/ 420491 h 799204"/>
                <a:gd name="connsiteX109" fmla="*/ 184261 w 347814"/>
                <a:gd name="connsiteY109" fmla="*/ 421986 h 799204"/>
                <a:gd name="connsiteX110" fmla="*/ 181851 w 347814"/>
                <a:gd name="connsiteY110" fmla="*/ 423262 h 799204"/>
                <a:gd name="connsiteX111" fmla="*/ 178841 w 347814"/>
                <a:gd name="connsiteY111" fmla="*/ 427644 h 799204"/>
                <a:gd name="connsiteX112" fmla="*/ 175717 w 347814"/>
                <a:gd name="connsiteY112" fmla="*/ 427749 h 799204"/>
                <a:gd name="connsiteX113" fmla="*/ 173812 w 347814"/>
                <a:gd name="connsiteY113" fmla="*/ 430644 h 799204"/>
                <a:gd name="connsiteX114" fmla="*/ 171783 w 347814"/>
                <a:gd name="connsiteY114" fmla="*/ 430635 h 799204"/>
                <a:gd name="connsiteX115" fmla="*/ 170136 w 347814"/>
                <a:gd name="connsiteY115" fmla="*/ 428815 h 799204"/>
                <a:gd name="connsiteX116" fmla="*/ 167497 w 347814"/>
                <a:gd name="connsiteY116" fmla="*/ 427320 h 799204"/>
                <a:gd name="connsiteX117" fmla="*/ 166649 w 347814"/>
                <a:gd name="connsiteY117" fmla="*/ 429949 h 799204"/>
                <a:gd name="connsiteX118" fmla="*/ 166516 w 347814"/>
                <a:gd name="connsiteY118" fmla="*/ 432044 h 799204"/>
                <a:gd name="connsiteX119" fmla="*/ 168002 w 347814"/>
                <a:gd name="connsiteY119" fmla="*/ 437331 h 799204"/>
                <a:gd name="connsiteX120" fmla="*/ 170840 w 347814"/>
                <a:gd name="connsiteY120" fmla="*/ 441408 h 799204"/>
                <a:gd name="connsiteX121" fmla="*/ 173469 w 347814"/>
                <a:gd name="connsiteY121" fmla="*/ 443170 h 799204"/>
                <a:gd name="connsiteX122" fmla="*/ 171574 w 347814"/>
                <a:gd name="connsiteY122" fmla="*/ 444360 h 799204"/>
                <a:gd name="connsiteX123" fmla="*/ 170164 w 347814"/>
                <a:gd name="connsiteY123" fmla="*/ 446989 h 799204"/>
                <a:gd name="connsiteX124" fmla="*/ 168459 w 347814"/>
                <a:gd name="connsiteY124" fmla="*/ 455181 h 799204"/>
                <a:gd name="connsiteX125" fmla="*/ 167535 w 347814"/>
                <a:gd name="connsiteY125" fmla="*/ 458400 h 799204"/>
                <a:gd name="connsiteX126" fmla="*/ 166535 w 347814"/>
                <a:gd name="connsiteY126" fmla="*/ 464058 h 799204"/>
                <a:gd name="connsiteX127" fmla="*/ 167164 w 347814"/>
                <a:gd name="connsiteY127" fmla="*/ 468821 h 799204"/>
                <a:gd name="connsiteX128" fmla="*/ 167678 w 347814"/>
                <a:gd name="connsiteY128" fmla="*/ 471154 h 799204"/>
                <a:gd name="connsiteX129" fmla="*/ 168964 w 347814"/>
                <a:gd name="connsiteY129" fmla="*/ 474326 h 799204"/>
                <a:gd name="connsiteX130" fmla="*/ 165468 w 347814"/>
                <a:gd name="connsiteY130" fmla="*/ 473916 h 799204"/>
                <a:gd name="connsiteX131" fmla="*/ 161773 w 347814"/>
                <a:gd name="connsiteY131" fmla="*/ 472068 h 799204"/>
                <a:gd name="connsiteX132" fmla="*/ 162287 w 347814"/>
                <a:gd name="connsiteY132" fmla="*/ 475907 h 799204"/>
                <a:gd name="connsiteX133" fmla="*/ 160020 w 347814"/>
                <a:gd name="connsiteY133" fmla="*/ 480441 h 799204"/>
                <a:gd name="connsiteX134" fmla="*/ 160439 w 347814"/>
                <a:gd name="connsiteY134" fmla="*/ 484422 h 799204"/>
                <a:gd name="connsiteX135" fmla="*/ 160915 w 347814"/>
                <a:gd name="connsiteY135" fmla="*/ 487004 h 799204"/>
                <a:gd name="connsiteX136" fmla="*/ 160211 w 347814"/>
                <a:gd name="connsiteY136" fmla="*/ 491280 h 799204"/>
                <a:gd name="connsiteX137" fmla="*/ 161277 w 347814"/>
                <a:gd name="connsiteY137" fmla="*/ 492623 h 799204"/>
                <a:gd name="connsiteX138" fmla="*/ 161858 w 347814"/>
                <a:gd name="connsiteY138" fmla="*/ 495167 h 799204"/>
                <a:gd name="connsiteX139" fmla="*/ 160896 w 347814"/>
                <a:gd name="connsiteY139" fmla="*/ 497043 h 799204"/>
                <a:gd name="connsiteX140" fmla="*/ 161315 w 347814"/>
                <a:gd name="connsiteY140" fmla="*/ 498653 h 799204"/>
                <a:gd name="connsiteX141" fmla="*/ 161477 w 347814"/>
                <a:gd name="connsiteY141" fmla="*/ 504339 h 799204"/>
                <a:gd name="connsiteX142" fmla="*/ 162201 w 347814"/>
                <a:gd name="connsiteY142" fmla="*/ 513207 h 799204"/>
                <a:gd name="connsiteX143" fmla="*/ 161934 w 347814"/>
                <a:gd name="connsiteY143" fmla="*/ 515074 h 799204"/>
                <a:gd name="connsiteX144" fmla="*/ 163963 w 347814"/>
                <a:gd name="connsiteY144" fmla="*/ 522732 h 799204"/>
                <a:gd name="connsiteX145" fmla="*/ 163496 w 347814"/>
                <a:gd name="connsiteY145" fmla="*/ 525409 h 799204"/>
                <a:gd name="connsiteX146" fmla="*/ 163220 w 347814"/>
                <a:gd name="connsiteY146" fmla="*/ 528809 h 799204"/>
                <a:gd name="connsiteX147" fmla="*/ 166135 w 347814"/>
                <a:gd name="connsiteY147" fmla="*/ 532076 h 799204"/>
                <a:gd name="connsiteX148" fmla="*/ 168726 w 347814"/>
                <a:gd name="connsiteY148" fmla="*/ 532028 h 799204"/>
                <a:gd name="connsiteX149" fmla="*/ 171355 w 347814"/>
                <a:gd name="connsiteY149" fmla="*/ 531981 h 799204"/>
                <a:gd name="connsiteX150" fmla="*/ 172355 w 347814"/>
                <a:gd name="connsiteY150" fmla="*/ 532790 h 799204"/>
                <a:gd name="connsiteX151" fmla="*/ 173364 w 347814"/>
                <a:gd name="connsiteY151" fmla="*/ 535095 h 799204"/>
                <a:gd name="connsiteX152" fmla="*/ 174174 w 347814"/>
                <a:gd name="connsiteY152" fmla="*/ 537820 h 799204"/>
                <a:gd name="connsiteX153" fmla="*/ 176336 w 347814"/>
                <a:gd name="connsiteY153" fmla="*/ 537601 h 799204"/>
                <a:gd name="connsiteX154" fmla="*/ 179794 w 347814"/>
                <a:gd name="connsiteY154" fmla="*/ 535391 h 799204"/>
                <a:gd name="connsiteX155" fmla="*/ 182042 w 347814"/>
                <a:gd name="connsiteY155" fmla="*/ 534867 h 799204"/>
                <a:gd name="connsiteX156" fmla="*/ 183528 w 347814"/>
                <a:gd name="connsiteY156" fmla="*/ 539115 h 799204"/>
                <a:gd name="connsiteX157" fmla="*/ 187566 w 347814"/>
                <a:gd name="connsiteY157" fmla="*/ 544716 h 799204"/>
                <a:gd name="connsiteX158" fmla="*/ 189919 w 347814"/>
                <a:gd name="connsiteY158" fmla="*/ 547221 h 799204"/>
                <a:gd name="connsiteX159" fmla="*/ 193910 w 347814"/>
                <a:gd name="connsiteY159" fmla="*/ 548545 h 799204"/>
                <a:gd name="connsiteX160" fmla="*/ 198120 w 347814"/>
                <a:gd name="connsiteY160" fmla="*/ 553041 h 799204"/>
                <a:gd name="connsiteX161" fmla="*/ 197529 w 347814"/>
                <a:gd name="connsiteY161" fmla="*/ 558451 h 799204"/>
                <a:gd name="connsiteX162" fmla="*/ 199282 w 347814"/>
                <a:gd name="connsiteY162" fmla="*/ 560251 h 799204"/>
                <a:gd name="connsiteX163" fmla="*/ 204245 w 347814"/>
                <a:gd name="connsiteY163" fmla="*/ 562375 h 799204"/>
                <a:gd name="connsiteX164" fmla="*/ 206007 w 347814"/>
                <a:gd name="connsiteY164" fmla="*/ 565242 h 799204"/>
                <a:gd name="connsiteX165" fmla="*/ 206854 w 347814"/>
                <a:gd name="connsiteY165" fmla="*/ 567680 h 799204"/>
                <a:gd name="connsiteX166" fmla="*/ 208159 w 347814"/>
                <a:gd name="connsiteY166" fmla="*/ 569700 h 799204"/>
                <a:gd name="connsiteX167" fmla="*/ 209693 w 347814"/>
                <a:gd name="connsiteY167" fmla="*/ 575786 h 799204"/>
                <a:gd name="connsiteX168" fmla="*/ 209159 w 347814"/>
                <a:gd name="connsiteY168" fmla="*/ 579530 h 799204"/>
                <a:gd name="connsiteX169" fmla="*/ 207159 w 347814"/>
                <a:gd name="connsiteY169" fmla="*/ 580815 h 799204"/>
                <a:gd name="connsiteX170" fmla="*/ 202425 w 347814"/>
                <a:gd name="connsiteY170" fmla="*/ 584816 h 799204"/>
                <a:gd name="connsiteX171" fmla="*/ 200320 w 347814"/>
                <a:gd name="connsiteY171" fmla="*/ 587797 h 799204"/>
                <a:gd name="connsiteX172" fmla="*/ 198672 w 347814"/>
                <a:gd name="connsiteY172" fmla="*/ 589645 h 799204"/>
                <a:gd name="connsiteX173" fmla="*/ 193977 w 347814"/>
                <a:gd name="connsiteY173" fmla="*/ 593617 h 799204"/>
                <a:gd name="connsiteX174" fmla="*/ 192252 w 347814"/>
                <a:gd name="connsiteY174" fmla="*/ 594331 h 799204"/>
                <a:gd name="connsiteX175" fmla="*/ 190605 w 347814"/>
                <a:gd name="connsiteY175" fmla="*/ 596389 h 799204"/>
                <a:gd name="connsiteX176" fmla="*/ 189014 w 347814"/>
                <a:gd name="connsiteY176" fmla="*/ 597294 h 799204"/>
                <a:gd name="connsiteX177" fmla="*/ 187585 w 347814"/>
                <a:gd name="connsiteY177" fmla="*/ 596779 h 799204"/>
                <a:gd name="connsiteX178" fmla="*/ 182251 w 347814"/>
                <a:gd name="connsiteY178" fmla="*/ 600504 h 799204"/>
                <a:gd name="connsiteX179" fmla="*/ 178651 w 347814"/>
                <a:gd name="connsiteY179" fmla="*/ 599475 h 799204"/>
                <a:gd name="connsiteX180" fmla="*/ 177136 w 347814"/>
                <a:gd name="connsiteY180" fmla="*/ 597637 h 799204"/>
                <a:gd name="connsiteX181" fmla="*/ 178098 w 347814"/>
                <a:gd name="connsiteY181" fmla="*/ 590321 h 799204"/>
                <a:gd name="connsiteX182" fmla="*/ 177498 w 347814"/>
                <a:gd name="connsiteY182" fmla="*/ 587959 h 799204"/>
                <a:gd name="connsiteX183" fmla="*/ 176803 w 347814"/>
                <a:gd name="connsiteY183" fmla="*/ 586769 h 799204"/>
                <a:gd name="connsiteX184" fmla="*/ 174441 w 347814"/>
                <a:gd name="connsiteY184" fmla="*/ 588131 h 799204"/>
                <a:gd name="connsiteX185" fmla="*/ 174860 w 347814"/>
                <a:gd name="connsiteY185" fmla="*/ 590931 h 799204"/>
                <a:gd name="connsiteX186" fmla="*/ 170774 w 347814"/>
                <a:gd name="connsiteY186" fmla="*/ 591045 h 799204"/>
                <a:gd name="connsiteX187" fmla="*/ 166925 w 347814"/>
                <a:gd name="connsiteY187" fmla="*/ 588674 h 799204"/>
                <a:gd name="connsiteX188" fmla="*/ 166430 w 347814"/>
                <a:gd name="connsiteY188" fmla="*/ 593341 h 799204"/>
                <a:gd name="connsiteX189" fmla="*/ 158162 w 347814"/>
                <a:gd name="connsiteY189" fmla="*/ 589474 h 799204"/>
                <a:gd name="connsiteX190" fmla="*/ 155886 w 347814"/>
                <a:gd name="connsiteY190" fmla="*/ 590455 h 799204"/>
                <a:gd name="connsiteX191" fmla="*/ 152238 w 347814"/>
                <a:gd name="connsiteY191" fmla="*/ 588512 h 799204"/>
                <a:gd name="connsiteX192" fmla="*/ 149866 w 347814"/>
                <a:gd name="connsiteY192" fmla="*/ 590836 h 799204"/>
                <a:gd name="connsiteX193" fmla="*/ 147047 w 347814"/>
                <a:gd name="connsiteY193" fmla="*/ 589998 h 799204"/>
                <a:gd name="connsiteX194" fmla="*/ 145094 w 347814"/>
                <a:gd name="connsiteY194" fmla="*/ 587235 h 799204"/>
                <a:gd name="connsiteX195" fmla="*/ 142389 w 347814"/>
                <a:gd name="connsiteY195" fmla="*/ 592093 h 799204"/>
                <a:gd name="connsiteX196" fmla="*/ 136484 w 347814"/>
                <a:gd name="connsiteY196" fmla="*/ 593474 h 799204"/>
                <a:gd name="connsiteX197" fmla="*/ 130930 w 347814"/>
                <a:gd name="connsiteY197" fmla="*/ 594246 h 799204"/>
                <a:gd name="connsiteX198" fmla="*/ 133607 w 347814"/>
                <a:gd name="connsiteY198" fmla="*/ 595865 h 799204"/>
                <a:gd name="connsiteX199" fmla="*/ 146066 w 347814"/>
                <a:gd name="connsiteY199" fmla="*/ 595560 h 799204"/>
                <a:gd name="connsiteX200" fmla="*/ 149590 w 347814"/>
                <a:gd name="connsiteY200" fmla="*/ 596760 h 799204"/>
                <a:gd name="connsiteX201" fmla="*/ 154171 w 347814"/>
                <a:gd name="connsiteY201" fmla="*/ 595960 h 799204"/>
                <a:gd name="connsiteX202" fmla="*/ 158229 w 347814"/>
                <a:gd name="connsiteY202" fmla="*/ 599770 h 799204"/>
                <a:gd name="connsiteX203" fmla="*/ 161154 w 347814"/>
                <a:gd name="connsiteY203" fmla="*/ 600685 h 799204"/>
                <a:gd name="connsiteX204" fmla="*/ 164611 w 347814"/>
                <a:gd name="connsiteY204" fmla="*/ 605057 h 799204"/>
                <a:gd name="connsiteX205" fmla="*/ 166382 w 347814"/>
                <a:gd name="connsiteY205" fmla="*/ 603866 h 799204"/>
                <a:gd name="connsiteX206" fmla="*/ 169164 w 347814"/>
                <a:gd name="connsiteY206" fmla="*/ 604047 h 799204"/>
                <a:gd name="connsiteX207" fmla="*/ 171735 w 347814"/>
                <a:gd name="connsiteY207" fmla="*/ 605295 h 799204"/>
                <a:gd name="connsiteX208" fmla="*/ 179898 w 347814"/>
                <a:gd name="connsiteY208" fmla="*/ 605133 h 799204"/>
                <a:gd name="connsiteX209" fmla="*/ 182670 w 347814"/>
                <a:gd name="connsiteY209" fmla="*/ 602085 h 799204"/>
                <a:gd name="connsiteX210" fmla="*/ 186757 w 347814"/>
                <a:gd name="connsiteY210" fmla="*/ 602751 h 799204"/>
                <a:gd name="connsiteX211" fmla="*/ 188843 w 347814"/>
                <a:gd name="connsiteY211" fmla="*/ 601961 h 799204"/>
                <a:gd name="connsiteX212" fmla="*/ 190442 w 347814"/>
                <a:gd name="connsiteY212" fmla="*/ 600094 h 799204"/>
                <a:gd name="connsiteX213" fmla="*/ 192195 w 347814"/>
                <a:gd name="connsiteY213" fmla="*/ 599665 h 799204"/>
                <a:gd name="connsiteX214" fmla="*/ 193786 w 347814"/>
                <a:gd name="connsiteY214" fmla="*/ 600018 h 799204"/>
                <a:gd name="connsiteX215" fmla="*/ 195482 w 347814"/>
                <a:gd name="connsiteY215" fmla="*/ 598541 h 799204"/>
                <a:gd name="connsiteX216" fmla="*/ 196815 w 347814"/>
                <a:gd name="connsiteY216" fmla="*/ 597951 h 799204"/>
                <a:gd name="connsiteX217" fmla="*/ 198187 w 347814"/>
                <a:gd name="connsiteY217" fmla="*/ 598665 h 799204"/>
                <a:gd name="connsiteX218" fmla="*/ 199720 w 347814"/>
                <a:gd name="connsiteY218" fmla="*/ 602199 h 799204"/>
                <a:gd name="connsiteX219" fmla="*/ 196539 w 347814"/>
                <a:gd name="connsiteY219" fmla="*/ 604028 h 799204"/>
                <a:gd name="connsiteX220" fmla="*/ 194281 w 347814"/>
                <a:gd name="connsiteY220" fmla="*/ 604114 h 799204"/>
                <a:gd name="connsiteX221" fmla="*/ 193177 w 347814"/>
                <a:gd name="connsiteY221" fmla="*/ 609886 h 799204"/>
                <a:gd name="connsiteX222" fmla="*/ 191814 w 347814"/>
                <a:gd name="connsiteY222" fmla="*/ 612362 h 799204"/>
                <a:gd name="connsiteX223" fmla="*/ 190833 w 347814"/>
                <a:gd name="connsiteY223" fmla="*/ 613553 h 799204"/>
                <a:gd name="connsiteX224" fmla="*/ 185833 w 347814"/>
                <a:gd name="connsiteY224" fmla="*/ 616001 h 799204"/>
                <a:gd name="connsiteX225" fmla="*/ 182527 w 347814"/>
                <a:gd name="connsiteY225" fmla="*/ 619097 h 799204"/>
                <a:gd name="connsiteX226" fmla="*/ 178632 w 347814"/>
                <a:gd name="connsiteY226" fmla="*/ 621582 h 799204"/>
                <a:gd name="connsiteX227" fmla="*/ 176936 w 347814"/>
                <a:gd name="connsiteY227" fmla="*/ 621039 h 799204"/>
                <a:gd name="connsiteX228" fmla="*/ 174374 w 347814"/>
                <a:gd name="connsiteY228" fmla="*/ 623564 h 799204"/>
                <a:gd name="connsiteX229" fmla="*/ 168687 w 347814"/>
                <a:gd name="connsiteY229" fmla="*/ 626545 h 799204"/>
                <a:gd name="connsiteX230" fmla="*/ 165764 w 347814"/>
                <a:gd name="connsiteY230" fmla="*/ 630564 h 799204"/>
                <a:gd name="connsiteX231" fmla="*/ 159220 w 347814"/>
                <a:gd name="connsiteY231" fmla="*/ 634146 h 799204"/>
                <a:gd name="connsiteX232" fmla="*/ 155886 w 347814"/>
                <a:gd name="connsiteY232" fmla="*/ 637061 h 799204"/>
                <a:gd name="connsiteX233" fmla="*/ 146828 w 347814"/>
                <a:gd name="connsiteY233" fmla="*/ 637213 h 799204"/>
                <a:gd name="connsiteX234" fmla="*/ 138179 w 347814"/>
                <a:gd name="connsiteY234" fmla="*/ 636575 h 799204"/>
                <a:gd name="connsiteX235" fmla="*/ 135464 w 347814"/>
                <a:gd name="connsiteY235" fmla="*/ 637956 h 799204"/>
                <a:gd name="connsiteX236" fmla="*/ 138246 w 347814"/>
                <a:gd name="connsiteY236" fmla="*/ 638385 h 799204"/>
                <a:gd name="connsiteX237" fmla="*/ 140189 w 347814"/>
                <a:gd name="connsiteY237" fmla="*/ 639737 h 799204"/>
                <a:gd name="connsiteX238" fmla="*/ 142523 w 347814"/>
                <a:gd name="connsiteY238" fmla="*/ 639166 h 799204"/>
                <a:gd name="connsiteX239" fmla="*/ 148009 w 347814"/>
                <a:gd name="connsiteY239" fmla="*/ 639842 h 799204"/>
                <a:gd name="connsiteX240" fmla="*/ 150828 w 347814"/>
                <a:gd name="connsiteY240" fmla="*/ 640585 h 799204"/>
                <a:gd name="connsiteX241" fmla="*/ 154448 w 347814"/>
                <a:gd name="connsiteY241" fmla="*/ 645328 h 799204"/>
                <a:gd name="connsiteX242" fmla="*/ 151790 w 347814"/>
                <a:gd name="connsiteY242" fmla="*/ 647005 h 799204"/>
                <a:gd name="connsiteX243" fmla="*/ 147180 w 347814"/>
                <a:gd name="connsiteY243" fmla="*/ 648300 h 799204"/>
                <a:gd name="connsiteX244" fmla="*/ 148914 w 347814"/>
                <a:gd name="connsiteY244" fmla="*/ 654987 h 799204"/>
                <a:gd name="connsiteX245" fmla="*/ 150333 w 347814"/>
                <a:gd name="connsiteY245" fmla="*/ 659482 h 799204"/>
                <a:gd name="connsiteX246" fmla="*/ 148466 w 347814"/>
                <a:gd name="connsiteY246" fmla="*/ 662188 h 799204"/>
                <a:gd name="connsiteX247" fmla="*/ 148323 w 347814"/>
                <a:gd name="connsiteY247" fmla="*/ 674446 h 799204"/>
                <a:gd name="connsiteX248" fmla="*/ 145704 w 347814"/>
                <a:gd name="connsiteY248" fmla="*/ 674675 h 799204"/>
                <a:gd name="connsiteX249" fmla="*/ 144589 w 347814"/>
                <a:gd name="connsiteY249" fmla="*/ 679723 h 799204"/>
                <a:gd name="connsiteX250" fmla="*/ 145409 w 347814"/>
                <a:gd name="connsiteY250" fmla="*/ 682295 h 799204"/>
                <a:gd name="connsiteX251" fmla="*/ 145342 w 347814"/>
                <a:gd name="connsiteY251" fmla="*/ 688248 h 799204"/>
                <a:gd name="connsiteX252" fmla="*/ 145885 w 347814"/>
                <a:gd name="connsiteY252" fmla="*/ 691905 h 799204"/>
                <a:gd name="connsiteX253" fmla="*/ 147171 w 347814"/>
                <a:gd name="connsiteY253" fmla="*/ 695268 h 799204"/>
                <a:gd name="connsiteX254" fmla="*/ 146599 w 347814"/>
                <a:gd name="connsiteY254" fmla="*/ 698763 h 799204"/>
                <a:gd name="connsiteX255" fmla="*/ 142456 w 347814"/>
                <a:gd name="connsiteY255" fmla="*/ 706926 h 799204"/>
                <a:gd name="connsiteX256" fmla="*/ 142541 w 347814"/>
                <a:gd name="connsiteY256" fmla="*/ 710746 h 799204"/>
                <a:gd name="connsiteX257" fmla="*/ 143294 w 347814"/>
                <a:gd name="connsiteY257" fmla="*/ 713013 h 799204"/>
                <a:gd name="connsiteX258" fmla="*/ 143846 w 347814"/>
                <a:gd name="connsiteY258" fmla="*/ 716623 h 799204"/>
                <a:gd name="connsiteX259" fmla="*/ 141961 w 347814"/>
                <a:gd name="connsiteY259" fmla="*/ 723547 h 799204"/>
                <a:gd name="connsiteX260" fmla="*/ 140637 w 347814"/>
                <a:gd name="connsiteY260" fmla="*/ 729310 h 799204"/>
                <a:gd name="connsiteX261" fmla="*/ 139055 w 347814"/>
                <a:gd name="connsiteY261" fmla="*/ 734149 h 799204"/>
                <a:gd name="connsiteX262" fmla="*/ 135521 w 347814"/>
                <a:gd name="connsiteY262" fmla="*/ 739930 h 799204"/>
                <a:gd name="connsiteX263" fmla="*/ 133759 w 347814"/>
                <a:gd name="connsiteY263" fmla="*/ 744245 h 799204"/>
                <a:gd name="connsiteX264" fmla="*/ 129644 w 347814"/>
                <a:gd name="connsiteY264" fmla="*/ 757647 h 799204"/>
                <a:gd name="connsiteX265" fmla="*/ 127606 w 347814"/>
                <a:gd name="connsiteY265" fmla="*/ 760295 h 799204"/>
                <a:gd name="connsiteX266" fmla="*/ 125101 w 347814"/>
                <a:gd name="connsiteY266" fmla="*/ 762324 h 799204"/>
                <a:gd name="connsiteX267" fmla="*/ 122311 w 347814"/>
                <a:gd name="connsiteY267" fmla="*/ 760448 h 799204"/>
                <a:gd name="connsiteX268" fmla="*/ 119748 w 347814"/>
                <a:gd name="connsiteY268" fmla="*/ 759428 h 799204"/>
                <a:gd name="connsiteX269" fmla="*/ 116624 w 347814"/>
                <a:gd name="connsiteY269" fmla="*/ 759552 h 799204"/>
                <a:gd name="connsiteX270" fmla="*/ 111728 w 347814"/>
                <a:gd name="connsiteY270" fmla="*/ 761095 h 799204"/>
                <a:gd name="connsiteX271" fmla="*/ 104365 w 347814"/>
                <a:gd name="connsiteY271" fmla="*/ 760066 h 799204"/>
                <a:gd name="connsiteX272" fmla="*/ 97174 w 347814"/>
                <a:gd name="connsiteY272" fmla="*/ 760562 h 799204"/>
                <a:gd name="connsiteX273" fmla="*/ 95355 w 347814"/>
                <a:gd name="connsiteY273" fmla="*/ 761886 h 799204"/>
                <a:gd name="connsiteX274" fmla="*/ 96450 w 347814"/>
                <a:gd name="connsiteY274" fmla="*/ 766715 h 799204"/>
                <a:gd name="connsiteX275" fmla="*/ 93793 w 347814"/>
                <a:gd name="connsiteY275" fmla="*/ 767344 h 799204"/>
                <a:gd name="connsiteX276" fmla="*/ 91202 w 347814"/>
                <a:gd name="connsiteY276" fmla="*/ 765972 h 799204"/>
                <a:gd name="connsiteX277" fmla="*/ 88916 w 347814"/>
                <a:gd name="connsiteY277" fmla="*/ 767610 h 799204"/>
                <a:gd name="connsiteX278" fmla="*/ 87011 w 347814"/>
                <a:gd name="connsiteY278" fmla="*/ 769401 h 799204"/>
                <a:gd name="connsiteX279" fmla="*/ 83268 w 347814"/>
                <a:gd name="connsiteY279" fmla="*/ 773649 h 799204"/>
                <a:gd name="connsiteX280" fmla="*/ 82010 w 347814"/>
                <a:gd name="connsiteY280" fmla="*/ 776259 h 799204"/>
                <a:gd name="connsiteX281" fmla="*/ 81686 w 347814"/>
                <a:gd name="connsiteY281" fmla="*/ 781164 h 799204"/>
                <a:gd name="connsiteX282" fmla="*/ 83658 w 347814"/>
                <a:gd name="connsiteY282" fmla="*/ 785555 h 799204"/>
                <a:gd name="connsiteX283" fmla="*/ 85401 w 347814"/>
                <a:gd name="connsiteY283" fmla="*/ 790689 h 799204"/>
                <a:gd name="connsiteX284" fmla="*/ 80915 w 347814"/>
                <a:gd name="connsiteY284" fmla="*/ 796852 h 799204"/>
                <a:gd name="connsiteX285" fmla="*/ 78410 w 347814"/>
                <a:gd name="connsiteY285" fmla="*/ 797062 h 799204"/>
                <a:gd name="connsiteX286" fmla="*/ 71095 w 347814"/>
                <a:gd name="connsiteY286" fmla="*/ 795347 h 799204"/>
                <a:gd name="connsiteX287" fmla="*/ 58131 w 347814"/>
                <a:gd name="connsiteY287" fmla="*/ 799205 h 799204"/>
                <a:gd name="connsiteX288" fmla="*/ 46491 w 347814"/>
                <a:gd name="connsiteY288" fmla="*/ 796157 h 799204"/>
                <a:gd name="connsiteX289" fmla="*/ 47949 w 347814"/>
                <a:gd name="connsiteY289" fmla="*/ 792851 h 799204"/>
                <a:gd name="connsiteX290" fmla="*/ 47901 w 347814"/>
                <a:gd name="connsiteY290" fmla="*/ 790423 h 799204"/>
                <a:gd name="connsiteX291" fmla="*/ 48558 w 347814"/>
                <a:gd name="connsiteY291" fmla="*/ 786679 h 799204"/>
                <a:gd name="connsiteX292" fmla="*/ 48949 w 347814"/>
                <a:gd name="connsiteY292" fmla="*/ 782841 h 799204"/>
                <a:gd name="connsiteX293" fmla="*/ 48844 w 347814"/>
                <a:gd name="connsiteY293" fmla="*/ 780269 h 799204"/>
                <a:gd name="connsiteX294" fmla="*/ 47987 w 347814"/>
                <a:gd name="connsiteY294" fmla="*/ 777516 h 799204"/>
                <a:gd name="connsiteX295" fmla="*/ 45120 w 347814"/>
                <a:gd name="connsiteY295" fmla="*/ 773916 h 799204"/>
                <a:gd name="connsiteX296" fmla="*/ 38652 w 347814"/>
                <a:gd name="connsiteY296" fmla="*/ 761714 h 799204"/>
                <a:gd name="connsiteX297" fmla="*/ 36738 w 347814"/>
                <a:gd name="connsiteY297" fmla="*/ 756542 h 799204"/>
                <a:gd name="connsiteX298" fmla="*/ 35404 w 347814"/>
                <a:gd name="connsiteY298" fmla="*/ 754380 h 799204"/>
                <a:gd name="connsiteX299" fmla="*/ 36366 w 347814"/>
                <a:gd name="connsiteY299" fmla="*/ 754266 h 799204"/>
                <a:gd name="connsiteX300" fmla="*/ 41700 w 347814"/>
                <a:gd name="connsiteY300" fmla="*/ 757047 h 799204"/>
                <a:gd name="connsiteX301" fmla="*/ 42939 w 347814"/>
                <a:gd name="connsiteY301" fmla="*/ 756704 h 799204"/>
                <a:gd name="connsiteX302" fmla="*/ 44244 w 347814"/>
                <a:gd name="connsiteY302" fmla="*/ 755666 h 799204"/>
                <a:gd name="connsiteX303" fmla="*/ 42653 w 347814"/>
                <a:gd name="connsiteY303" fmla="*/ 751675 h 799204"/>
                <a:gd name="connsiteX304" fmla="*/ 41281 w 347814"/>
                <a:gd name="connsiteY304" fmla="*/ 749875 h 799204"/>
                <a:gd name="connsiteX305" fmla="*/ 40357 w 347814"/>
                <a:gd name="connsiteY305" fmla="*/ 747170 h 799204"/>
                <a:gd name="connsiteX306" fmla="*/ 43472 w 347814"/>
                <a:gd name="connsiteY306" fmla="*/ 746436 h 799204"/>
                <a:gd name="connsiteX307" fmla="*/ 45729 w 347814"/>
                <a:gd name="connsiteY307" fmla="*/ 746598 h 799204"/>
                <a:gd name="connsiteX308" fmla="*/ 47387 w 347814"/>
                <a:gd name="connsiteY308" fmla="*/ 743550 h 799204"/>
                <a:gd name="connsiteX309" fmla="*/ 46425 w 347814"/>
                <a:gd name="connsiteY309" fmla="*/ 738607 h 799204"/>
                <a:gd name="connsiteX310" fmla="*/ 44005 w 347814"/>
                <a:gd name="connsiteY310" fmla="*/ 737083 h 799204"/>
                <a:gd name="connsiteX311" fmla="*/ 41986 w 347814"/>
                <a:gd name="connsiteY311" fmla="*/ 736416 h 799204"/>
                <a:gd name="connsiteX312" fmla="*/ 38109 w 347814"/>
                <a:gd name="connsiteY312" fmla="*/ 728605 h 799204"/>
                <a:gd name="connsiteX313" fmla="*/ 34071 w 347814"/>
                <a:gd name="connsiteY313" fmla="*/ 724548 h 799204"/>
                <a:gd name="connsiteX314" fmla="*/ 26860 w 347814"/>
                <a:gd name="connsiteY314" fmla="*/ 708822 h 799204"/>
                <a:gd name="connsiteX315" fmla="*/ 24222 w 347814"/>
                <a:gd name="connsiteY315" fmla="*/ 697944 h 799204"/>
                <a:gd name="connsiteX316" fmla="*/ 21774 w 347814"/>
                <a:gd name="connsiteY316" fmla="*/ 698983 h 799204"/>
                <a:gd name="connsiteX317" fmla="*/ 20583 w 347814"/>
                <a:gd name="connsiteY317" fmla="*/ 694230 h 799204"/>
                <a:gd name="connsiteX318" fmla="*/ 19726 w 347814"/>
                <a:gd name="connsiteY318" fmla="*/ 689705 h 799204"/>
                <a:gd name="connsiteX319" fmla="*/ 19555 w 347814"/>
                <a:gd name="connsiteY319" fmla="*/ 686381 h 799204"/>
                <a:gd name="connsiteX320" fmla="*/ 15707 w 347814"/>
                <a:gd name="connsiteY320" fmla="*/ 684476 h 799204"/>
                <a:gd name="connsiteX321" fmla="*/ 15554 w 347814"/>
                <a:gd name="connsiteY321" fmla="*/ 682133 h 799204"/>
                <a:gd name="connsiteX322" fmla="*/ 14859 w 347814"/>
                <a:gd name="connsiteY322" fmla="*/ 671655 h 799204"/>
                <a:gd name="connsiteX323" fmla="*/ 10735 w 347814"/>
                <a:gd name="connsiteY323" fmla="*/ 670246 h 799204"/>
                <a:gd name="connsiteX324" fmla="*/ 8068 w 347814"/>
                <a:gd name="connsiteY324" fmla="*/ 664340 h 799204"/>
                <a:gd name="connsiteX325" fmla="*/ 7591 w 347814"/>
                <a:gd name="connsiteY325" fmla="*/ 653110 h 799204"/>
                <a:gd name="connsiteX326" fmla="*/ 4877 w 347814"/>
                <a:gd name="connsiteY326" fmla="*/ 651062 h 799204"/>
                <a:gd name="connsiteX327" fmla="*/ 2695 w 347814"/>
                <a:gd name="connsiteY327" fmla="*/ 651634 h 799204"/>
                <a:gd name="connsiteX328" fmla="*/ 2800 w 347814"/>
                <a:gd name="connsiteY328" fmla="*/ 648843 h 799204"/>
                <a:gd name="connsiteX329" fmla="*/ 3324 w 347814"/>
                <a:gd name="connsiteY329" fmla="*/ 646214 h 799204"/>
                <a:gd name="connsiteX330" fmla="*/ 2048 w 347814"/>
                <a:gd name="connsiteY330" fmla="*/ 635756 h 799204"/>
                <a:gd name="connsiteX331" fmla="*/ 1619 w 347814"/>
                <a:gd name="connsiteY331" fmla="*/ 626164 h 799204"/>
                <a:gd name="connsiteX332" fmla="*/ 590 w 347814"/>
                <a:gd name="connsiteY332" fmla="*/ 623249 h 799204"/>
                <a:gd name="connsiteX333" fmla="*/ 0 w 347814"/>
                <a:gd name="connsiteY333" fmla="*/ 619839 h 799204"/>
                <a:gd name="connsiteX334" fmla="*/ 524 w 347814"/>
                <a:gd name="connsiteY334" fmla="*/ 616887 h 799204"/>
                <a:gd name="connsiteX335" fmla="*/ 1305 w 347814"/>
                <a:gd name="connsiteY335" fmla="*/ 615182 h 799204"/>
                <a:gd name="connsiteX336" fmla="*/ 3962 w 347814"/>
                <a:gd name="connsiteY336" fmla="*/ 614734 h 799204"/>
                <a:gd name="connsiteX337" fmla="*/ 6448 w 347814"/>
                <a:gd name="connsiteY337" fmla="*/ 617344 h 799204"/>
                <a:gd name="connsiteX338" fmla="*/ 8649 w 347814"/>
                <a:gd name="connsiteY338" fmla="*/ 623916 h 799204"/>
                <a:gd name="connsiteX339" fmla="*/ 10592 w 347814"/>
                <a:gd name="connsiteY339" fmla="*/ 624773 h 799204"/>
                <a:gd name="connsiteX340" fmla="*/ 13240 w 347814"/>
                <a:gd name="connsiteY340" fmla="*/ 623059 h 799204"/>
                <a:gd name="connsiteX341" fmla="*/ 15097 w 347814"/>
                <a:gd name="connsiteY341" fmla="*/ 618268 h 799204"/>
                <a:gd name="connsiteX342" fmla="*/ 16154 w 347814"/>
                <a:gd name="connsiteY342" fmla="*/ 611057 h 799204"/>
                <a:gd name="connsiteX343" fmla="*/ 17393 w 347814"/>
                <a:gd name="connsiteY343" fmla="*/ 604152 h 799204"/>
                <a:gd name="connsiteX344" fmla="*/ 15926 w 347814"/>
                <a:gd name="connsiteY344" fmla="*/ 596741 h 799204"/>
                <a:gd name="connsiteX345" fmla="*/ 14364 w 347814"/>
                <a:gd name="connsiteY345" fmla="*/ 590207 h 799204"/>
                <a:gd name="connsiteX346" fmla="*/ 14249 w 347814"/>
                <a:gd name="connsiteY346" fmla="*/ 588283 h 799204"/>
                <a:gd name="connsiteX347" fmla="*/ 18355 w 347814"/>
                <a:gd name="connsiteY347" fmla="*/ 582739 h 799204"/>
                <a:gd name="connsiteX348" fmla="*/ 19612 w 347814"/>
                <a:gd name="connsiteY348" fmla="*/ 578225 h 799204"/>
                <a:gd name="connsiteX349" fmla="*/ 20974 w 347814"/>
                <a:gd name="connsiteY349" fmla="*/ 573910 h 799204"/>
                <a:gd name="connsiteX350" fmla="*/ 22479 w 347814"/>
                <a:gd name="connsiteY350" fmla="*/ 572443 h 799204"/>
                <a:gd name="connsiteX351" fmla="*/ 24708 w 347814"/>
                <a:gd name="connsiteY351" fmla="*/ 572110 h 799204"/>
                <a:gd name="connsiteX352" fmla="*/ 27308 w 347814"/>
                <a:gd name="connsiteY352" fmla="*/ 571300 h 799204"/>
                <a:gd name="connsiteX353" fmla="*/ 30585 w 347814"/>
                <a:gd name="connsiteY353" fmla="*/ 568404 h 799204"/>
                <a:gd name="connsiteX354" fmla="*/ 33528 w 347814"/>
                <a:gd name="connsiteY354" fmla="*/ 564518 h 799204"/>
                <a:gd name="connsiteX355" fmla="*/ 35776 w 347814"/>
                <a:gd name="connsiteY355" fmla="*/ 560946 h 799204"/>
                <a:gd name="connsiteX356" fmla="*/ 36538 w 347814"/>
                <a:gd name="connsiteY356" fmla="*/ 553860 h 799204"/>
                <a:gd name="connsiteX357" fmla="*/ 36566 w 347814"/>
                <a:gd name="connsiteY357" fmla="*/ 550288 h 799204"/>
                <a:gd name="connsiteX358" fmla="*/ 37557 w 347814"/>
                <a:gd name="connsiteY358" fmla="*/ 547630 h 799204"/>
                <a:gd name="connsiteX359" fmla="*/ 38510 w 347814"/>
                <a:gd name="connsiteY359" fmla="*/ 542430 h 799204"/>
                <a:gd name="connsiteX360" fmla="*/ 37576 w 347814"/>
                <a:gd name="connsiteY360" fmla="*/ 537286 h 799204"/>
                <a:gd name="connsiteX361" fmla="*/ 34671 w 347814"/>
                <a:gd name="connsiteY361" fmla="*/ 529457 h 799204"/>
                <a:gd name="connsiteX362" fmla="*/ 31175 w 347814"/>
                <a:gd name="connsiteY362" fmla="*/ 518379 h 799204"/>
                <a:gd name="connsiteX363" fmla="*/ 30632 w 347814"/>
                <a:gd name="connsiteY363" fmla="*/ 512302 h 799204"/>
                <a:gd name="connsiteX364" fmla="*/ 32223 w 347814"/>
                <a:gd name="connsiteY364" fmla="*/ 511169 h 799204"/>
                <a:gd name="connsiteX365" fmla="*/ 35262 w 347814"/>
                <a:gd name="connsiteY365" fmla="*/ 510159 h 799204"/>
                <a:gd name="connsiteX366" fmla="*/ 41024 w 347814"/>
                <a:gd name="connsiteY366" fmla="*/ 509864 h 799204"/>
                <a:gd name="connsiteX367" fmla="*/ 41634 w 347814"/>
                <a:gd name="connsiteY367" fmla="*/ 509149 h 799204"/>
                <a:gd name="connsiteX368" fmla="*/ 42215 w 347814"/>
                <a:gd name="connsiteY368" fmla="*/ 506473 h 799204"/>
                <a:gd name="connsiteX369" fmla="*/ 43520 w 347814"/>
                <a:gd name="connsiteY369" fmla="*/ 502844 h 799204"/>
                <a:gd name="connsiteX370" fmla="*/ 44901 w 347814"/>
                <a:gd name="connsiteY370" fmla="*/ 500196 h 799204"/>
                <a:gd name="connsiteX371" fmla="*/ 45853 w 347814"/>
                <a:gd name="connsiteY371" fmla="*/ 496395 h 799204"/>
                <a:gd name="connsiteX372" fmla="*/ 46311 w 347814"/>
                <a:gd name="connsiteY372" fmla="*/ 492947 h 799204"/>
                <a:gd name="connsiteX373" fmla="*/ 43015 w 347814"/>
                <a:gd name="connsiteY373" fmla="*/ 487737 h 799204"/>
                <a:gd name="connsiteX374" fmla="*/ 38700 w 347814"/>
                <a:gd name="connsiteY374" fmla="*/ 482384 h 799204"/>
                <a:gd name="connsiteX375" fmla="*/ 35776 w 347814"/>
                <a:gd name="connsiteY375" fmla="*/ 480603 h 799204"/>
                <a:gd name="connsiteX376" fmla="*/ 30575 w 347814"/>
                <a:gd name="connsiteY376" fmla="*/ 476088 h 799204"/>
                <a:gd name="connsiteX377" fmla="*/ 26918 w 347814"/>
                <a:gd name="connsiteY377" fmla="*/ 472307 h 799204"/>
                <a:gd name="connsiteX378" fmla="*/ 29013 w 347814"/>
                <a:gd name="connsiteY378" fmla="*/ 457819 h 799204"/>
                <a:gd name="connsiteX379" fmla="*/ 30575 w 347814"/>
                <a:gd name="connsiteY379" fmla="*/ 446951 h 799204"/>
                <a:gd name="connsiteX380" fmla="*/ 30823 w 347814"/>
                <a:gd name="connsiteY380" fmla="*/ 444303 h 799204"/>
                <a:gd name="connsiteX381" fmla="*/ 30880 w 347814"/>
                <a:gd name="connsiteY381" fmla="*/ 440188 h 799204"/>
                <a:gd name="connsiteX382" fmla="*/ 25832 w 347814"/>
                <a:gd name="connsiteY382" fmla="*/ 422519 h 799204"/>
                <a:gd name="connsiteX383" fmla="*/ 26032 w 347814"/>
                <a:gd name="connsiteY383" fmla="*/ 418567 h 799204"/>
                <a:gd name="connsiteX384" fmla="*/ 26508 w 347814"/>
                <a:gd name="connsiteY384" fmla="*/ 414995 h 799204"/>
                <a:gd name="connsiteX385" fmla="*/ 25965 w 347814"/>
                <a:gd name="connsiteY385" fmla="*/ 408889 h 799204"/>
                <a:gd name="connsiteX386" fmla="*/ 25670 w 347814"/>
                <a:gd name="connsiteY386" fmla="*/ 403412 h 799204"/>
                <a:gd name="connsiteX387" fmla="*/ 26536 w 347814"/>
                <a:gd name="connsiteY387" fmla="*/ 401745 h 799204"/>
                <a:gd name="connsiteX388" fmla="*/ 28594 w 347814"/>
                <a:gd name="connsiteY388" fmla="*/ 398640 h 799204"/>
                <a:gd name="connsiteX389" fmla="*/ 26622 w 347814"/>
                <a:gd name="connsiteY389" fmla="*/ 393821 h 799204"/>
                <a:gd name="connsiteX390" fmla="*/ 26460 w 347814"/>
                <a:gd name="connsiteY390" fmla="*/ 393421 h 799204"/>
                <a:gd name="connsiteX391" fmla="*/ 22746 w 347814"/>
                <a:gd name="connsiteY391" fmla="*/ 381438 h 799204"/>
                <a:gd name="connsiteX392" fmla="*/ 28422 w 347814"/>
                <a:gd name="connsiteY392" fmla="*/ 369484 h 799204"/>
                <a:gd name="connsiteX393" fmla="*/ 27432 w 347814"/>
                <a:gd name="connsiteY393" fmla="*/ 363264 h 799204"/>
                <a:gd name="connsiteX394" fmla="*/ 30813 w 347814"/>
                <a:gd name="connsiteY394" fmla="*/ 358740 h 799204"/>
                <a:gd name="connsiteX395" fmla="*/ 36986 w 347814"/>
                <a:gd name="connsiteY395" fmla="*/ 348339 h 799204"/>
                <a:gd name="connsiteX396" fmla="*/ 40452 w 347814"/>
                <a:gd name="connsiteY396" fmla="*/ 342452 h 799204"/>
                <a:gd name="connsiteX397" fmla="*/ 41186 w 347814"/>
                <a:gd name="connsiteY397" fmla="*/ 341424 h 799204"/>
                <a:gd name="connsiteX398" fmla="*/ 43929 w 347814"/>
                <a:gd name="connsiteY398" fmla="*/ 338833 h 799204"/>
                <a:gd name="connsiteX399" fmla="*/ 49139 w 347814"/>
                <a:gd name="connsiteY399" fmla="*/ 335756 h 799204"/>
                <a:gd name="connsiteX400" fmla="*/ 54912 w 347814"/>
                <a:gd name="connsiteY400" fmla="*/ 334251 h 799204"/>
                <a:gd name="connsiteX401" fmla="*/ 57483 w 347814"/>
                <a:gd name="connsiteY401" fmla="*/ 334270 h 799204"/>
                <a:gd name="connsiteX402" fmla="*/ 67408 w 347814"/>
                <a:gd name="connsiteY402" fmla="*/ 336356 h 799204"/>
                <a:gd name="connsiteX403" fmla="*/ 75152 w 347814"/>
                <a:gd name="connsiteY403" fmla="*/ 337976 h 799204"/>
                <a:gd name="connsiteX404" fmla="*/ 76285 w 347814"/>
                <a:gd name="connsiteY404" fmla="*/ 336347 h 799204"/>
                <a:gd name="connsiteX405" fmla="*/ 77905 w 347814"/>
                <a:gd name="connsiteY405" fmla="*/ 333004 h 799204"/>
                <a:gd name="connsiteX406" fmla="*/ 79991 w 347814"/>
                <a:gd name="connsiteY406" fmla="*/ 328231 h 799204"/>
                <a:gd name="connsiteX407" fmla="*/ 80172 w 347814"/>
                <a:gd name="connsiteY407" fmla="*/ 322907 h 799204"/>
                <a:gd name="connsiteX408" fmla="*/ 79420 w 347814"/>
                <a:gd name="connsiteY408" fmla="*/ 315058 h 799204"/>
                <a:gd name="connsiteX409" fmla="*/ 78286 w 347814"/>
                <a:gd name="connsiteY409" fmla="*/ 310344 h 799204"/>
                <a:gd name="connsiteX410" fmla="*/ 72837 w 347814"/>
                <a:gd name="connsiteY410" fmla="*/ 307267 h 799204"/>
                <a:gd name="connsiteX411" fmla="*/ 66865 w 347814"/>
                <a:gd name="connsiteY411" fmla="*/ 303047 h 799204"/>
                <a:gd name="connsiteX412" fmla="*/ 74209 w 347814"/>
                <a:gd name="connsiteY412" fmla="*/ 289608 h 799204"/>
                <a:gd name="connsiteX413" fmla="*/ 79296 w 347814"/>
                <a:gd name="connsiteY413" fmla="*/ 280216 h 799204"/>
                <a:gd name="connsiteX414" fmla="*/ 85639 w 347814"/>
                <a:gd name="connsiteY414" fmla="*/ 265995 h 799204"/>
                <a:gd name="connsiteX415" fmla="*/ 87611 w 347814"/>
                <a:gd name="connsiteY415" fmla="*/ 260042 h 799204"/>
                <a:gd name="connsiteX416" fmla="*/ 89039 w 347814"/>
                <a:gd name="connsiteY416" fmla="*/ 257670 h 799204"/>
                <a:gd name="connsiteX417" fmla="*/ 90907 w 347814"/>
                <a:gd name="connsiteY417" fmla="*/ 235477 h 799204"/>
                <a:gd name="connsiteX418" fmla="*/ 92145 w 347814"/>
                <a:gd name="connsiteY418" fmla="*/ 229219 h 799204"/>
                <a:gd name="connsiteX419" fmla="*/ 93183 w 347814"/>
                <a:gd name="connsiteY419" fmla="*/ 225933 h 799204"/>
                <a:gd name="connsiteX420" fmla="*/ 93193 w 347814"/>
                <a:gd name="connsiteY420" fmla="*/ 222561 h 799204"/>
                <a:gd name="connsiteX421" fmla="*/ 92516 w 347814"/>
                <a:gd name="connsiteY421" fmla="*/ 216856 h 799204"/>
                <a:gd name="connsiteX422" fmla="*/ 90735 w 347814"/>
                <a:gd name="connsiteY422" fmla="*/ 203902 h 799204"/>
                <a:gd name="connsiteX423" fmla="*/ 100755 w 347814"/>
                <a:gd name="connsiteY423" fmla="*/ 202292 h 799204"/>
                <a:gd name="connsiteX424" fmla="*/ 104013 w 347814"/>
                <a:gd name="connsiteY424" fmla="*/ 201378 h 799204"/>
                <a:gd name="connsiteX425" fmla="*/ 107042 w 347814"/>
                <a:gd name="connsiteY425" fmla="*/ 199825 h 799204"/>
                <a:gd name="connsiteX426" fmla="*/ 112966 w 347814"/>
                <a:gd name="connsiteY426" fmla="*/ 195786 h 799204"/>
                <a:gd name="connsiteX427" fmla="*/ 115871 w 347814"/>
                <a:gd name="connsiteY427" fmla="*/ 192205 h 799204"/>
                <a:gd name="connsiteX428" fmla="*/ 114252 w 347814"/>
                <a:gd name="connsiteY428" fmla="*/ 179937 h 799204"/>
                <a:gd name="connsiteX429" fmla="*/ 117834 w 347814"/>
                <a:gd name="connsiteY429" fmla="*/ 175765 h 799204"/>
                <a:gd name="connsiteX430" fmla="*/ 126578 w 347814"/>
                <a:gd name="connsiteY430" fmla="*/ 161153 h 799204"/>
                <a:gd name="connsiteX431" fmla="*/ 136027 w 347814"/>
                <a:gd name="connsiteY431" fmla="*/ 147047 h 799204"/>
                <a:gd name="connsiteX432" fmla="*/ 140455 w 347814"/>
                <a:gd name="connsiteY432" fmla="*/ 141675 h 799204"/>
                <a:gd name="connsiteX433" fmla="*/ 140913 w 347814"/>
                <a:gd name="connsiteY433" fmla="*/ 139046 h 799204"/>
                <a:gd name="connsiteX434" fmla="*/ 141275 w 347814"/>
                <a:gd name="connsiteY434" fmla="*/ 134807 h 799204"/>
                <a:gd name="connsiteX435" fmla="*/ 139303 w 347814"/>
                <a:gd name="connsiteY435" fmla="*/ 128121 h 799204"/>
                <a:gd name="connsiteX436" fmla="*/ 137189 w 347814"/>
                <a:gd name="connsiteY436" fmla="*/ 123968 h 799204"/>
                <a:gd name="connsiteX437" fmla="*/ 133064 w 347814"/>
                <a:gd name="connsiteY437" fmla="*/ 116072 h 799204"/>
                <a:gd name="connsiteX438" fmla="*/ 134836 w 347814"/>
                <a:gd name="connsiteY438" fmla="*/ 110538 h 799204"/>
                <a:gd name="connsiteX439" fmla="*/ 137874 w 347814"/>
                <a:gd name="connsiteY439" fmla="*/ 109461 h 799204"/>
                <a:gd name="connsiteX440" fmla="*/ 141884 w 347814"/>
                <a:gd name="connsiteY440" fmla="*/ 107280 h 799204"/>
                <a:gd name="connsiteX441" fmla="*/ 145018 w 347814"/>
                <a:gd name="connsiteY441" fmla="*/ 102527 h 799204"/>
                <a:gd name="connsiteX442" fmla="*/ 145323 w 347814"/>
                <a:gd name="connsiteY442" fmla="*/ 101917 h 799204"/>
                <a:gd name="connsiteX443" fmla="*/ 150619 w 347814"/>
                <a:gd name="connsiteY443" fmla="*/ 83096 h 799204"/>
                <a:gd name="connsiteX444" fmla="*/ 160954 w 347814"/>
                <a:gd name="connsiteY444" fmla="*/ 73476 h 799204"/>
                <a:gd name="connsiteX445" fmla="*/ 165078 w 347814"/>
                <a:gd name="connsiteY445" fmla="*/ 68208 h 799204"/>
                <a:gd name="connsiteX446" fmla="*/ 171498 w 347814"/>
                <a:gd name="connsiteY446" fmla="*/ 72171 h 799204"/>
                <a:gd name="connsiteX447" fmla="*/ 180908 w 347814"/>
                <a:gd name="connsiteY447" fmla="*/ 78134 h 799204"/>
                <a:gd name="connsiteX448" fmla="*/ 185090 w 347814"/>
                <a:gd name="connsiteY448" fmla="*/ 69361 h 799204"/>
                <a:gd name="connsiteX449" fmla="*/ 186471 w 347814"/>
                <a:gd name="connsiteY449" fmla="*/ 66094 h 799204"/>
                <a:gd name="connsiteX450" fmla="*/ 187852 w 347814"/>
                <a:gd name="connsiteY450" fmla="*/ 61274 h 799204"/>
                <a:gd name="connsiteX451" fmla="*/ 187300 w 347814"/>
                <a:gd name="connsiteY451" fmla="*/ 52892 h 799204"/>
                <a:gd name="connsiteX452" fmla="*/ 187061 w 347814"/>
                <a:gd name="connsiteY452" fmla="*/ 41948 h 799204"/>
                <a:gd name="connsiteX453" fmla="*/ 187480 w 347814"/>
                <a:gd name="connsiteY453" fmla="*/ 37529 h 799204"/>
                <a:gd name="connsiteX454" fmla="*/ 191233 w 347814"/>
                <a:gd name="connsiteY454" fmla="*/ 35557 h 799204"/>
                <a:gd name="connsiteX455" fmla="*/ 193253 w 347814"/>
                <a:gd name="connsiteY455" fmla="*/ 35052 h 799204"/>
                <a:gd name="connsiteX456" fmla="*/ 203711 w 347814"/>
                <a:gd name="connsiteY456" fmla="*/ 39605 h 799204"/>
                <a:gd name="connsiteX457" fmla="*/ 206340 w 347814"/>
                <a:gd name="connsiteY457" fmla="*/ 39529 h 799204"/>
                <a:gd name="connsiteX458" fmla="*/ 211274 w 347814"/>
                <a:gd name="connsiteY458" fmla="*/ 40138 h 799204"/>
                <a:gd name="connsiteX459" fmla="*/ 216789 w 347814"/>
                <a:gd name="connsiteY459" fmla="*/ 42129 h 799204"/>
                <a:gd name="connsiteX460" fmla="*/ 228342 w 347814"/>
                <a:gd name="connsiteY460" fmla="*/ 47425 h 799204"/>
                <a:gd name="connsiteX461" fmla="*/ 233115 w 347814"/>
                <a:gd name="connsiteY461" fmla="*/ 49606 h 799204"/>
                <a:gd name="connsiteX462" fmla="*/ 235782 w 347814"/>
                <a:gd name="connsiteY462" fmla="*/ 50025 h 799204"/>
                <a:gd name="connsiteX463" fmla="*/ 238087 w 347814"/>
                <a:gd name="connsiteY463" fmla="*/ 47568 h 799204"/>
                <a:gd name="connsiteX464" fmla="*/ 243011 w 347814"/>
                <a:gd name="connsiteY464" fmla="*/ 41234 h 799204"/>
                <a:gd name="connsiteX465" fmla="*/ 235763 w 347814"/>
                <a:gd name="connsiteY465" fmla="*/ 36528 h 799204"/>
                <a:gd name="connsiteX466" fmla="*/ 240535 w 347814"/>
                <a:gd name="connsiteY466" fmla="*/ 31756 h 799204"/>
                <a:gd name="connsiteX467" fmla="*/ 243011 w 347814"/>
                <a:gd name="connsiteY467" fmla="*/ 26927 h 799204"/>
                <a:gd name="connsiteX468" fmla="*/ 245135 w 347814"/>
                <a:gd name="connsiteY468" fmla="*/ 20974 h 799204"/>
                <a:gd name="connsiteX469" fmla="*/ 245907 w 347814"/>
                <a:gd name="connsiteY469" fmla="*/ 13983 h 799204"/>
                <a:gd name="connsiteX470" fmla="*/ 245612 w 347814"/>
                <a:gd name="connsiteY470" fmla="*/ 10211 h 799204"/>
                <a:gd name="connsiteX471" fmla="*/ 244144 w 347814"/>
                <a:gd name="connsiteY471" fmla="*/ 7629 h 799204"/>
                <a:gd name="connsiteX472" fmla="*/ 239716 w 347814"/>
                <a:gd name="connsiteY472" fmla="*/ 1191 h 799204"/>
                <a:gd name="connsiteX473" fmla="*/ 249745 w 347814"/>
                <a:gd name="connsiteY473" fmla="*/ 267 h 799204"/>
                <a:gd name="connsiteX474" fmla="*/ 253222 w 347814"/>
                <a:gd name="connsiteY474" fmla="*/ 0 h 799204"/>
                <a:gd name="connsiteX475" fmla="*/ 260518 w 347814"/>
                <a:gd name="connsiteY475" fmla="*/ 4248 h 799204"/>
                <a:gd name="connsiteX476" fmla="*/ 260842 w 347814"/>
                <a:gd name="connsiteY476" fmla="*/ 5172 h 799204"/>
                <a:gd name="connsiteX477" fmla="*/ 260890 w 347814"/>
                <a:gd name="connsiteY477" fmla="*/ 7382 h 799204"/>
                <a:gd name="connsiteX478" fmla="*/ 261147 w 347814"/>
                <a:gd name="connsiteY478" fmla="*/ 9668 h 799204"/>
                <a:gd name="connsiteX479" fmla="*/ 268224 w 347814"/>
                <a:gd name="connsiteY479" fmla="*/ 15449 h 799204"/>
                <a:gd name="connsiteX480" fmla="*/ 270262 w 347814"/>
                <a:gd name="connsiteY480" fmla="*/ 18507 h 799204"/>
                <a:gd name="connsiteX481" fmla="*/ 274615 w 347814"/>
                <a:gd name="connsiteY481" fmla="*/ 23136 h 799204"/>
                <a:gd name="connsiteX482" fmla="*/ 275767 w 347814"/>
                <a:gd name="connsiteY482" fmla="*/ 25632 h 799204"/>
                <a:gd name="connsiteX483" fmla="*/ 279797 w 347814"/>
                <a:gd name="connsiteY483" fmla="*/ 28546 h 799204"/>
                <a:gd name="connsiteX484" fmla="*/ 282683 w 347814"/>
                <a:gd name="connsiteY484" fmla="*/ 31661 h 799204"/>
                <a:gd name="connsiteX485" fmla="*/ 286055 w 347814"/>
                <a:gd name="connsiteY485" fmla="*/ 34176 h 799204"/>
                <a:gd name="connsiteX486" fmla="*/ 289989 w 347814"/>
                <a:gd name="connsiteY486" fmla="*/ 38081 h 799204"/>
                <a:gd name="connsiteX487" fmla="*/ 295275 w 347814"/>
                <a:gd name="connsiteY487" fmla="*/ 41186 h 799204"/>
                <a:gd name="connsiteX488" fmla="*/ 299732 w 347814"/>
                <a:gd name="connsiteY488" fmla="*/ 42196 h 799204"/>
                <a:gd name="connsiteX489" fmla="*/ 310972 w 347814"/>
                <a:gd name="connsiteY489" fmla="*/ 47501 h 799204"/>
                <a:gd name="connsiteX490" fmla="*/ 312887 w 347814"/>
                <a:gd name="connsiteY490" fmla="*/ 49216 h 799204"/>
                <a:gd name="connsiteX491" fmla="*/ 316125 w 347814"/>
                <a:gd name="connsiteY491" fmla="*/ 52902 h 799204"/>
                <a:gd name="connsiteX492" fmla="*/ 319401 w 347814"/>
                <a:gd name="connsiteY492" fmla="*/ 57150 h 799204"/>
                <a:gd name="connsiteX493" fmla="*/ 321669 w 347814"/>
                <a:gd name="connsiteY493" fmla="*/ 65856 h 799204"/>
                <a:gd name="connsiteX494" fmla="*/ 325298 w 347814"/>
                <a:gd name="connsiteY494" fmla="*/ 66304 h 799204"/>
                <a:gd name="connsiteX495" fmla="*/ 326288 w 347814"/>
                <a:gd name="connsiteY495" fmla="*/ 69285 h 799204"/>
                <a:gd name="connsiteX496" fmla="*/ 329460 w 347814"/>
                <a:gd name="connsiteY496" fmla="*/ 74381 h 799204"/>
                <a:gd name="connsiteX497" fmla="*/ 333860 w 347814"/>
                <a:gd name="connsiteY497" fmla="*/ 78867 h 799204"/>
                <a:gd name="connsiteX498" fmla="*/ 333699 w 347814"/>
                <a:gd name="connsiteY498" fmla="*/ 80372 h 799204"/>
                <a:gd name="connsiteX499" fmla="*/ 330194 w 347814"/>
                <a:gd name="connsiteY499" fmla="*/ 84487 h 799204"/>
                <a:gd name="connsiteX500" fmla="*/ 329812 w 347814"/>
                <a:gd name="connsiteY500" fmla="*/ 90049 h 799204"/>
                <a:gd name="connsiteX501" fmla="*/ 330146 w 347814"/>
                <a:gd name="connsiteY501" fmla="*/ 97126 h 799204"/>
                <a:gd name="connsiteX502" fmla="*/ 331251 w 347814"/>
                <a:gd name="connsiteY502" fmla="*/ 102879 h 799204"/>
                <a:gd name="connsiteX503" fmla="*/ 331137 w 347814"/>
                <a:gd name="connsiteY503" fmla="*/ 104556 h 799204"/>
                <a:gd name="connsiteX504" fmla="*/ 330270 w 347814"/>
                <a:gd name="connsiteY504" fmla="*/ 106537 h 799204"/>
                <a:gd name="connsiteX505" fmla="*/ 329232 w 347814"/>
                <a:gd name="connsiteY505" fmla="*/ 109633 h 799204"/>
                <a:gd name="connsiteX506" fmla="*/ 328850 w 347814"/>
                <a:gd name="connsiteY506" fmla="*/ 112328 h 799204"/>
                <a:gd name="connsiteX507" fmla="*/ 328946 w 347814"/>
                <a:gd name="connsiteY507" fmla="*/ 113643 h 799204"/>
                <a:gd name="connsiteX508" fmla="*/ 329298 w 347814"/>
                <a:gd name="connsiteY508" fmla="*/ 114367 h 799204"/>
                <a:gd name="connsiteX509" fmla="*/ 331146 w 347814"/>
                <a:gd name="connsiteY509" fmla="*/ 114424 h 799204"/>
                <a:gd name="connsiteX510" fmla="*/ 334451 w 347814"/>
                <a:gd name="connsiteY510" fmla="*/ 115062 h 799204"/>
                <a:gd name="connsiteX511" fmla="*/ 336395 w 347814"/>
                <a:gd name="connsiteY511" fmla="*/ 116253 h 799204"/>
                <a:gd name="connsiteX512" fmla="*/ 337499 w 347814"/>
                <a:gd name="connsiteY512" fmla="*/ 122796 h 799204"/>
                <a:gd name="connsiteX513" fmla="*/ 337128 w 347814"/>
                <a:gd name="connsiteY513" fmla="*/ 124054 h 799204"/>
                <a:gd name="connsiteX514" fmla="*/ 334346 w 347814"/>
                <a:gd name="connsiteY514" fmla="*/ 127006 h 799204"/>
                <a:gd name="connsiteX515" fmla="*/ 333527 w 347814"/>
                <a:gd name="connsiteY515" fmla="*/ 129350 h 799204"/>
                <a:gd name="connsiteX516" fmla="*/ 333451 w 347814"/>
                <a:gd name="connsiteY516" fmla="*/ 132779 h 799204"/>
                <a:gd name="connsiteX517" fmla="*/ 333946 w 347814"/>
                <a:gd name="connsiteY517" fmla="*/ 136550 h 799204"/>
                <a:gd name="connsiteX518" fmla="*/ 334909 w 347814"/>
                <a:gd name="connsiteY518" fmla="*/ 140751 h 799204"/>
                <a:gd name="connsiteX519" fmla="*/ 337090 w 347814"/>
                <a:gd name="connsiteY519" fmla="*/ 145237 h 799204"/>
                <a:gd name="connsiteX520" fmla="*/ 340043 w 347814"/>
                <a:gd name="connsiteY520" fmla="*/ 149914 h 799204"/>
                <a:gd name="connsiteX521" fmla="*/ 341986 w 347814"/>
                <a:gd name="connsiteY521" fmla="*/ 153743 h 799204"/>
                <a:gd name="connsiteX522" fmla="*/ 342900 w 347814"/>
                <a:gd name="connsiteY522" fmla="*/ 156429 h 799204"/>
                <a:gd name="connsiteX523" fmla="*/ 343233 w 347814"/>
                <a:gd name="connsiteY523" fmla="*/ 158315 h 799204"/>
                <a:gd name="connsiteX524" fmla="*/ 341909 w 347814"/>
                <a:gd name="connsiteY524" fmla="*/ 160677 h 799204"/>
                <a:gd name="connsiteX525" fmla="*/ 340719 w 347814"/>
                <a:gd name="connsiteY525" fmla="*/ 165335 h 799204"/>
                <a:gd name="connsiteX526" fmla="*/ 340500 w 347814"/>
                <a:gd name="connsiteY526" fmla="*/ 170650 h 799204"/>
                <a:gd name="connsiteX527" fmla="*/ 339957 w 347814"/>
                <a:gd name="connsiteY527" fmla="*/ 174107 h 799204"/>
                <a:gd name="connsiteX528" fmla="*/ 337366 w 347814"/>
                <a:gd name="connsiteY528" fmla="*/ 178860 h 799204"/>
                <a:gd name="connsiteX529" fmla="*/ 335566 w 347814"/>
                <a:gd name="connsiteY529" fmla="*/ 180537 h 799204"/>
                <a:gd name="connsiteX530" fmla="*/ 335051 w 347814"/>
                <a:gd name="connsiteY530" fmla="*/ 183032 h 799204"/>
                <a:gd name="connsiteX531" fmla="*/ 334832 w 347814"/>
                <a:gd name="connsiteY531" fmla="*/ 187214 h 799204"/>
                <a:gd name="connsiteX532" fmla="*/ 335366 w 347814"/>
                <a:gd name="connsiteY532" fmla="*/ 192300 h 799204"/>
                <a:gd name="connsiteX533" fmla="*/ 335546 w 347814"/>
                <a:gd name="connsiteY533" fmla="*/ 195729 h 799204"/>
                <a:gd name="connsiteX534" fmla="*/ 336099 w 347814"/>
                <a:gd name="connsiteY534" fmla="*/ 198196 h 799204"/>
                <a:gd name="connsiteX535" fmla="*/ 336918 w 347814"/>
                <a:gd name="connsiteY535" fmla="*/ 199806 h 799204"/>
                <a:gd name="connsiteX536" fmla="*/ 341080 w 347814"/>
                <a:gd name="connsiteY536" fmla="*/ 202635 h 799204"/>
                <a:gd name="connsiteX537" fmla="*/ 343415 w 347814"/>
                <a:gd name="connsiteY537" fmla="*/ 208426 h 799204"/>
                <a:gd name="connsiteX538" fmla="*/ 344871 w 347814"/>
                <a:gd name="connsiteY538" fmla="*/ 213065 h 799204"/>
                <a:gd name="connsiteX539" fmla="*/ 347815 w 347814"/>
                <a:gd name="connsiteY539" fmla="*/ 225095 h 799204"/>
                <a:gd name="connsiteX540" fmla="*/ 199177 w 347814"/>
                <a:gd name="connsiteY540" fmla="*/ 594627 h 799204"/>
                <a:gd name="connsiteX541" fmla="*/ 198511 w 347814"/>
                <a:gd name="connsiteY541" fmla="*/ 596370 h 799204"/>
                <a:gd name="connsiteX542" fmla="*/ 197834 w 347814"/>
                <a:gd name="connsiteY542" fmla="*/ 594236 h 799204"/>
                <a:gd name="connsiteX543" fmla="*/ 198101 w 347814"/>
                <a:gd name="connsiteY543" fmla="*/ 593817 h 799204"/>
                <a:gd name="connsiteX544" fmla="*/ 198558 w 347814"/>
                <a:gd name="connsiteY544" fmla="*/ 591712 h 799204"/>
                <a:gd name="connsiteX545" fmla="*/ 199854 w 347814"/>
                <a:gd name="connsiteY545" fmla="*/ 590559 h 799204"/>
                <a:gd name="connsiteX546" fmla="*/ 201920 w 347814"/>
                <a:gd name="connsiteY546" fmla="*/ 591255 h 799204"/>
                <a:gd name="connsiteX547" fmla="*/ 201911 w 347814"/>
                <a:gd name="connsiteY547" fmla="*/ 591779 h 799204"/>
                <a:gd name="connsiteX548" fmla="*/ 199930 w 347814"/>
                <a:gd name="connsiteY548" fmla="*/ 593484 h 799204"/>
                <a:gd name="connsiteX549" fmla="*/ 199177 w 347814"/>
                <a:gd name="connsiteY549" fmla="*/ 594627 h 799204"/>
                <a:gd name="connsiteX550" fmla="*/ 194386 w 347814"/>
                <a:gd name="connsiteY550" fmla="*/ 617658 h 799204"/>
                <a:gd name="connsiteX551" fmla="*/ 193195 w 347814"/>
                <a:gd name="connsiteY551" fmla="*/ 618154 h 799204"/>
                <a:gd name="connsiteX552" fmla="*/ 192605 w 347814"/>
                <a:gd name="connsiteY552" fmla="*/ 618001 h 799204"/>
                <a:gd name="connsiteX553" fmla="*/ 193338 w 347814"/>
                <a:gd name="connsiteY553" fmla="*/ 615591 h 799204"/>
                <a:gd name="connsiteX554" fmla="*/ 193881 w 347814"/>
                <a:gd name="connsiteY554" fmla="*/ 614553 h 799204"/>
                <a:gd name="connsiteX555" fmla="*/ 195682 w 347814"/>
                <a:gd name="connsiteY555" fmla="*/ 613581 h 799204"/>
                <a:gd name="connsiteX556" fmla="*/ 196234 w 347814"/>
                <a:gd name="connsiteY556" fmla="*/ 613753 h 799204"/>
                <a:gd name="connsiteX557" fmla="*/ 194386 w 347814"/>
                <a:gd name="connsiteY557" fmla="*/ 617658 h 799204"/>
                <a:gd name="connsiteX558" fmla="*/ 214179 w 347814"/>
                <a:gd name="connsiteY558" fmla="*/ 674122 h 799204"/>
                <a:gd name="connsiteX559" fmla="*/ 213693 w 347814"/>
                <a:gd name="connsiteY559" fmla="*/ 677256 h 799204"/>
                <a:gd name="connsiteX560" fmla="*/ 212303 w 347814"/>
                <a:gd name="connsiteY560" fmla="*/ 677018 h 799204"/>
                <a:gd name="connsiteX561" fmla="*/ 211036 w 347814"/>
                <a:gd name="connsiteY561" fmla="*/ 674703 h 799204"/>
                <a:gd name="connsiteX562" fmla="*/ 213598 w 347814"/>
                <a:gd name="connsiteY562" fmla="*/ 671170 h 799204"/>
                <a:gd name="connsiteX563" fmla="*/ 217513 w 347814"/>
                <a:gd name="connsiteY563" fmla="*/ 671360 h 799204"/>
                <a:gd name="connsiteX564" fmla="*/ 218856 w 347814"/>
                <a:gd name="connsiteY564" fmla="*/ 672103 h 799204"/>
                <a:gd name="connsiteX565" fmla="*/ 214179 w 347814"/>
                <a:gd name="connsiteY565" fmla="*/ 674122 h 799204"/>
                <a:gd name="connsiteX566" fmla="*/ 212036 w 347814"/>
                <a:gd name="connsiteY566" fmla="*/ 678475 h 799204"/>
                <a:gd name="connsiteX567" fmla="*/ 209826 w 347814"/>
                <a:gd name="connsiteY567" fmla="*/ 679666 h 799204"/>
                <a:gd name="connsiteX568" fmla="*/ 208531 w 347814"/>
                <a:gd name="connsiteY568" fmla="*/ 683200 h 799204"/>
                <a:gd name="connsiteX569" fmla="*/ 206740 w 347814"/>
                <a:gd name="connsiteY569" fmla="*/ 683800 h 799204"/>
                <a:gd name="connsiteX570" fmla="*/ 205025 w 347814"/>
                <a:gd name="connsiteY570" fmla="*/ 684971 h 799204"/>
                <a:gd name="connsiteX571" fmla="*/ 204416 w 347814"/>
                <a:gd name="connsiteY571" fmla="*/ 696078 h 799204"/>
                <a:gd name="connsiteX572" fmla="*/ 207550 w 347814"/>
                <a:gd name="connsiteY572" fmla="*/ 700278 h 799204"/>
                <a:gd name="connsiteX573" fmla="*/ 205826 w 347814"/>
                <a:gd name="connsiteY573" fmla="*/ 700869 h 799204"/>
                <a:gd name="connsiteX574" fmla="*/ 204254 w 347814"/>
                <a:gd name="connsiteY574" fmla="*/ 702126 h 799204"/>
                <a:gd name="connsiteX575" fmla="*/ 203130 w 347814"/>
                <a:gd name="connsiteY575" fmla="*/ 703983 h 799204"/>
                <a:gd name="connsiteX576" fmla="*/ 201978 w 347814"/>
                <a:gd name="connsiteY576" fmla="*/ 707974 h 799204"/>
                <a:gd name="connsiteX577" fmla="*/ 197663 w 347814"/>
                <a:gd name="connsiteY577" fmla="*/ 710232 h 799204"/>
                <a:gd name="connsiteX578" fmla="*/ 196034 w 347814"/>
                <a:gd name="connsiteY578" fmla="*/ 711898 h 799204"/>
                <a:gd name="connsiteX579" fmla="*/ 193624 w 347814"/>
                <a:gd name="connsiteY579" fmla="*/ 715604 h 799204"/>
                <a:gd name="connsiteX580" fmla="*/ 192367 w 347814"/>
                <a:gd name="connsiteY580" fmla="*/ 720966 h 799204"/>
                <a:gd name="connsiteX581" fmla="*/ 189929 w 347814"/>
                <a:gd name="connsiteY581" fmla="*/ 723252 h 799204"/>
                <a:gd name="connsiteX582" fmla="*/ 187185 w 347814"/>
                <a:gd name="connsiteY582" fmla="*/ 723795 h 799204"/>
                <a:gd name="connsiteX583" fmla="*/ 188786 w 347814"/>
                <a:gd name="connsiteY583" fmla="*/ 719414 h 799204"/>
                <a:gd name="connsiteX584" fmla="*/ 190891 w 347814"/>
                <a:gd name="connsiteY584" fmla="*/ 715832 h 799204"/>
                <a:gd name="connsiteX585" fmla="*/ 188871 w 347814"/>
                <a:gd name="connsiteY585" fmla="*/ 713365 h 799204"/>
                <a:gd name="connsiteX586" fmla="*/ 187652 w 347814"/>
                <a:gd name="connsiteY586" fmla="*/ 709508 h 799204"/>
                <a:gd name="connsiteX587" fmla="*/ 186071 w 347814"/>
                <a:gd name="connsiteY587" fmla="*/ 706536 h 799204"/>
                <a:gd name="connsiteX588" fmla="*/ 187328 w 347814"/>
                <a:gd name="connsiteY588" fmla="*/ 703212 h 799204"/>
                <a:gd name="connsiteX589" fmla="*/ 186709 w 347814"/>
                <a:gd name="connsiteY589" fmla="*/ 697763 h 799204"/>
                <a:gd name="connsiteX590" fmla="*/ 186909 w 347814"/>
                <a:gd name="connsiteY590" fmla="*/ 692420 h 799204"/>
                <a:gd name="connsiteX591" fmla="*/ 188738 w 347814"/>
                <a:gd name="connsiteY591" fmla="*/ 689724 h 799204"/>
                <a:gd name="connsiteX592" fmla="*/ 190833 w 347814"/>
                <a:gd name="connsiteY592" fmla="*/ 687524 h 799204"/>
                <a:gd name="connsiteX593" fmla="*/ 194091 w 347814"/>
                <a:gd name="connsiteY593" fmla="*/ 682447 h 799204"/>
                <a:gd name="connsiteX594" fmla="*/ 197625 w 347814"/>
                <a:gd name="connsiteY594" fmla="*/ 678752 h 799204"/>
                <a:gd name="connsiteX595" fmla="*/ 202559 w 347814"/>
                <a:gd name="connsiteY595" fmla="*/ 677094 h 799204"/>
                <a:gd name="connsiteX596" fmla="*/ 204788 w 347814"/>
                <a:gd name="connsiteY596" fmla="*/ 678628 h 799204"/>
                <a:gd name="connsiteX597" fmla="*/ 205750 w 347814"/>
                <a:gd name="connsiteY597" fmla="*/ 675265 h 799204"/>
                <a:gd name="connsiteX598" fmla="*/ 207340 w 347814"/>
                <a:gd name="connsiteY598" fmla="*/ 674494 h 799204"/>
                <a:gd name="connsiteX599" fmla="*/ 208836 w 347814"/>
                <a:gd name="connsiteY599" fmla="*/ 675275 h 799204"/>
                <a:gd name="connsiteX600" fmla="*/ 212036 w 347814"/>
                <a:gd name="connsiteY600" fmla="*/ 678475 h 799204"/>
                <a:gd name="connsiteX601" fmla="*/ 143932 w 347814"/>
                <a:gd name="connsiteY601" fmla="*/ 754323 h 799204"/>
                <a:gd name="connsiteX602" fmla="*/ 142551 w 347814"/>
                <a:gd name="connsiteY602" fmla="*/ 756742 h 799204"/>
                <a:gd name="connsiteX603" fmla="*/ 141332 w 347814"/>
                <a:gd name="connsiteY603" fmla="*/ 756571 h 799204"/>
                <a:gd name="connsiteX604" fmla="*/ 140522 w 347814"/>
                <a:gd name="connsiteY604" fmla="*/ 753342 h 799204"/>
                <a:gd name="connsiteX605" fmla="*/ 140332 w 347814"/>
                <a:gd name="connsiteY605" fmla="*/ 745017 h 799204"/>
                <a:gd name="connsiteX606" fmla="*/ 140818 w 347814"/>
                <a:gd name="connsiteY606" fmla="*/ 740883 h 799204"/>
                <a:gd name="connsiteX607" fmla="*/ 146647 w 347814"/>
                <a:gd name="connsiteY607" fmla="*/ 725910 h 799204"/>
                <a:gd name="connsiteX608" fmla="*/ 149247 w 347814"/>
                <a:gd name="connsiteY608" fmla="*/ 724681 h 799204"/>
                <a:gd name="connsiteX609" fmla="*/ 152905 w 347814"/>
                <a:gd name="connsiteY609" fmla="*/ 715442 h 799204"/>
                <a:gd name="connsiteX610" fmla="*/ 153895 w 347814"/>
                <a:gd name="connsiteY610" fmla="*/ 711308 h 799204"/>
                <a:gd name="connsiteX611" fmla="*/ 155486 w 347814"/>
                <a:gd name="connsiteY611" fmla="*/ 707584 h 799204"/>
                <a:gd name="connsiteX612" fmla="*/ 156420 w 347814"/>
                <a:gd name="connsiteY612" fmla="*/ 704240 h 799204"/>
                <a:gd name="connsiteX613" fmla="*/ 157210 w 347814"/>
                <a:gd name="connsiteY613" fmla="*/ 702888 h 799204"/>
                <a:gd name="connsiteX614" fmla="*/ 158915 w 347814"/>
                <a:gd name="connsiteY614" fmla="*/ 703516 h 799204"/>
                <a:gd name="connsiteX615" fmla="*/ 159677 w 347814"/>
                <a:gd name="connsiteY615" fmla="*/ 704136 h 799204"/>
                <a:gd name="connsiteX616" fmla="*/ 157877 w 347814"/>
                <a:gd name="connsiteY616" fmla="*/ 706079 h 799204"/>
                <a:gd name="connsiteX617" fmla="*/ 158086 w 347814"/>
                <a:gd name="connsiteY617" fmla="*/ 708603 h 799204"/>
                <a:gd name="connsiteX618" fmla="*/ 157962 w 347814"/>
                <a:gd name="connsiteY618" fmla="*/ 709641 h 799204"/>
                <a:gd name="connsiteX619" fmla="*/ 153419 w 347814"/>
                <a:gd name="connsiteY619" fmla="*/ 720585 h 799204"/>
                <a:gd name="connsiteX620" fmla="*/ 152209 w 347814"/>
                <a:gd name="connsiteY620" fmla="*/ 727653 h 799204"/>
                <a:gd name="connsiteX621" fmla="*/ 150600 w 347814"/>
                <a:gd name="connsiteY621" fmla="*/ 729377 h 799204"/>
                <a:gd name="connsiteX622" fmla="*/ 143932 w 347814"/>
                <a:gd name="connsiteY622" fmla="*/ 754323 h 799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</a:cxnLst>
              <a:rect l="l" t="t" r="r" b="b"/>
              <a:pathLst>
                <a:path w="347814" h="799204">
                  <a:moveTo>
                    <a:pt x="347815" y="225095"/>
                  </a:moveTo>
                  <a:lnTo>
                    <a:pt x="340728" y="226600"/>
                  </a:lnTo>
                  <a:lnTo>
                    <a:pt x="335404" y="223580"/>
                  </a:lnTo>
                  <a:lnTo>
                    <a:pt x="332746" y="225095"/>
                  </a:lnTo>
                  <a:lnTo>
                    <a:pt x="328107" y="225161"/>
                  </a:lnTo>
                  <a:lnTo>
                    <a:pt x="322831" y="226352"/>
                  </a:lnTo>
                  <a:lnTo>
                    <a:pt x="321050" y="228705"/>
                  </a:lnTo>
                  <a:lnTo>
                    <a:pt x="319649" y="229648"/>
                  </a:lnTo>
                  <a:lnTo>
                    <a:pt x="314763" y="226324"/>
                  </a:lnTo>
                  <a:lnTo>
                    <a:pt x="310143" y="220808"/>
                  </a:lnTo>
                  <a:lnTo>
                    <a:pt x="306771" y="225009"/>
                  </a:lnTo>
                  <a:lnTo>
                    <a:pt x="304590" y="225800"/>
                  </a:lnTo>
                  <a:lnTo>
                    <a:pt x="302619" y="221999"/>
                  </a:lnTo>
                  <a:lnTo>
                    <a:pt x="300904" y="221380"/>
                  </a:lnTo>
                  <a:lnTo>
                    <a:pt x="299980" y="222647"/>
                  </a:lnTo>
                  <a:lnTo>
                    <a:pt x="299171" y="226009"/>
                  </a:lnTo>
                  <a:lnTo>
                    <a:pt x="297875" y="228648"/>
                  </a:lnTo>
                  <a:lnTo>
                    <a:pt x="297532" y="230314"/>
                  </a:lnTo>
                  <a:lnTo>
                    <a:pt x="297313" y="237020"/>
                  </a:lnTo>
                  <a:lnTo>
                    <a:pt x="296980" y="238573"/>
                  </a:lnTo>
                  <a:lnTo>
                    <a:pt x="292494" y="237706"/>
                  </a:lnTo>
                  <a:lnTo>
                    <a:pt x="292760" y="239468"/>
                  </a:lnTo>
                  <a:lnTo>
                    <a:pt x="293741" y="240354"/>
                  </a:lnTo>
                  <a:lnTo>
                    <a:pt x="294141" y="241468"/>
                  </a:lnTo>
                  <a:lnTo>
                    <a:pt x="292512" y="242926"/>
                  </a:lnTo>
                  <a:lnTo>
                    <a:pt x="288064" y="242783"/>
                  </a:lnTo>
                  <a:lnTo>
                    <a:pt x="287607" y="244335"/>
                  </a:lnTo>
                  <a:lnTo>
                    <a:pt x="288855" y="246774"/>
                  </a:lnTo>
                  <a:lnTo>
                    <a:pt x="287874" y="248917"/>
                  </a:lnTo>
                  <a:lnTo>
                    <a:pt x="286969" y="249755"/>
                  </a:lnTo>
                  <a:lnTo>
                    <a:pt x="281644" y="251079"/>
                  </a:lnTo>
                  <a:lnTo>
                    <a:pt x="278568" y="250774"/>
                  </a:lnTo>
                  <a:lnTo>
                    <a:pt x="277682" y="252155"/>
                  </a:lnTo>
                  <a:lnTo>
                    <a:pt x="277444" y="253946"/>
                  </a:lnTo>
                  <a:lnTo>
                    <a:pt x="278025" y="255708"/>
                  </a:lnTo>
                  <a:lnTo>
                    <a:pt x="279387" y="256642"/>
                  </a:lnTo>
                  <a:lnTo>
                    <a:pt x="279835" y="257756"/>
                  </a:lnTo>
                  <a:lnTo>
                    <a:pt x="279739" y="260166"/>
                  </a:lnTo>
                  <a:lnTo>
                    <a:pt x="278606" y="260604"/>
                  </a:lnTo>
                  <a:lnTo>
                    <a:pt x="275406" y="256365"/>
                  </a:lnTo>
                  <a:lnTo>
                    <a:pt x="274425" y="256584"/>
                  </a:lnTo>
                  <a:lnTo>
                    <a:pt x="275158" y="258785"/>
                  </a:lnTo>
                  <a:lnTo>
                    <a:pt x="276987" y="261185"/>
                  </a:lnTo>
                  <a:lnTo>
                    <a:pt x="278044" y="263633"/>
                  </a:lnTo>
                  <a:lnTo>
                    <a:pt x="278968" y="266567"/>
                  </a:lnTo>
                  <a:lnTo>
                    <a:pt x="278787" y="268796"/>
                  </a:lnTo>
                  <a:lnTo>
                    <a:pt x="274806" y="275958"/>
                  </a:lnTo>
                  <a:lnTo>
                    <a:pt x="271300" y="280464"/>
                  </a:lnTo>
                  <a:lnTo>
                    <a:pt x="268691" y="284512"/>
                  </a:lnTo>
                  <a:lnTo>
                    <a:pt x="267148" y="288798"/>
                  </a:lnTo>
                  <a:lnTo>
                    <a:pt x="268938" y="290951"/>
                  </a:lnTo>
                  <a:lnTo>
                    <a:pt x="270920" y="294056"/>
                  </a:lnTo>
                  <a:lnTo>
                    <a:pt x="272319" y="300009"/>
                  </a:lnTo>
                  <a:lnTo>
                    <a:pt x="273987" y="305305"/>
                  </a:lnTo>
                  <a:lnTo>
                    <a:pt x="277349" y="310344"/>
                  </a:lnTo>
                  <a:lnTo>
                    <a:pt x="276673" y="313249"/>
                  </a:lnTo>
                  <a:lnTo>
                    <a:pt x="275891" y="315506"/>
                  </a:lnTo>
                  <a:lnTo>
                    <a:pt x="270300" y="320469"/>
                  </a:lnTo>
                  <a:lnTo>
                    <a:pt x="263957" y="327917"/>
                  </a:lnTo>
                  <a:lnTo>
                    <a:pt x="257117" y="346815"/>
                  </a:lnTo>
                  <a:lnTo>
                    <a:pt x="254841" y="349339"/>
                  </a:lnTo>
                  <a:lnTo>
                    <a:pt x="248860" y="352511"/>
                  </a:lnTo>
                  <a:lnTo>
                    <a:pt x="246659" y="355578"/>
                  </a:lnTo>
                  <a:lnTo>
                    <a:pt x="242202" y="359216"/>
                  </a:lnTo>
                  <a:lnTo>
                    <a:pt x="234419" y="362341"/>
                  </a:lnTo>
                  <a:lnTo>
                    <a:pt x="230895" y="366684"/>
                  </a:lnTo>
                  <a:lnTo>
                    <a:pt x="229305" y="371161"/>
                  </a:lnTo>
                  <a:lnTo>
                    <a:pt x="227533" y="371484"/>
                  </a:lnTo>
                  <a:lnTo>
                    <a:pt x="225771" y="369732"/>
                  </a:lnTo>
                  <a:lnTo>
                    <a:pt x="223428" y="368427"/>
                  </a:lnTo>
                  <a:lnTo>
                    <a:pt x="223123" y="371351"/>
                  </a:lnTo>
                  <a:lnTo>
                    <a:pt x="223228" y="373494"/>
                  </a:lnTo>
                  <a:lnTo>
                    <a:pt x="219475" y="370322"/>
                  </a:lnTo>
                  <a:lnTo>
                    <a:pt x="217703" y="373237"/>
                  </a:lnTo>
                  <a:lnTo>
                    <a:pt x="216322" y="378085"/>
                  </a:lnTo>
                  <a:lnTo>
                    <a:pt x="210921" y="384600"/>
                  </a:lnTo>
                  <a:lnTo>
                    <a:pt x="205101" y="383429"/>
                  </a:lnTo>
                  <a:lnTo>
                    <a:pt x="204454" y="384572"/>
                  </a:lnTo>
                  <a:lnTo>
                    <a:pt x="205997" y="385400"/>
                  </a:lnTo>
                  <a:lnTo>
                    <a:pt x="206235" y="386439"/>
                  </a:lnTo>
                  <a:lnTo>
                    <a:pt x="205178" y="386991"/>
                  </a:lnTo>
                  <a:lnTo>
                    <a:pt x="203578" y="386934"/>
                  </a:lnTo>
                  <a:lnTo>
                    <a:pt x="201111" y="388220"/>
                  </a:lnTo>
                  <a:lnTo>
                    <a:pt x="199491" y="388125"/>
                  </a:lnTo>
                  <a:lnTo>
                    <a:pt x="198720" y="391192"/>
                  </a:lnTo>
                  <a:lnTo>
                    <a:pt x="197462" y="394897"/>
                  </a:lnTo>
                  <a:lnTo>
                    <a:pt x="194177" y="396430"/>
                  </a:lnTo>
                  <a:lnTo>
                    <a:pt x="192481" y="396745"/>
                  </a:lnTo>
                  <a:lnTo>
                    <a:pt x="191643" y="398850"/>
                  </a:lnTo>
                  <a:lnTo>
                    <a:pt x="196701" y="399288"/>
                  </a:lnTo>
                  <a:lnTo>
                    <a:pt x="196301" y="401069"/>
                  </a:lnTo>
                  <a:lnTo>
                    <a:pt x="196186" y="402850"/>
                  </a:lnTo>
                  <a:lnTo>
                    <a:pt x="195662" y="404755"/>
                  </a:lnTo>
                  <a:lnTo>
                    <a:pt x="189909" y="407499"/>
                  </a:lnTo>
                  <a:lnTo>
                    <a:pt x="189023" y="409651"/>
                  </a:lnTo>
                  <a:lnTo>
                    <a:pt x="187823" y="410985"/>
                  </a:lnTo>
                  <a:lnTo>
                    <a:pt x="185261" y="410909"/>
                  </a:lnTo>
                  <a:lnTo>
                    <a:pt x="185356" y="409670"/>
                  </a:lnTo>
                  <a:lnTo>
                    <a:pt x="185775" y="408270"/>
                  </a:lnTo>
                  <a:lnTo>
                    <a:pt x="181966" y="408394"/>
                  </a:lnTo>
                  <a:lnTo>
                    <a:pt x="180775" y="405298"/>
                  </a:lnTo>
                  <a:lnTo>
                    <a:pt x="180051" y="406089"/>
                  </a:lnTo>
                  <a:lnTo>
                    <a:pt x="180480" y="408584"/>
                  </a:lnTo>
                  <a:lnTo>
                    <a:pt x="181470" y="411175"/>
                  </a:lnTo>
                  <a:lnTo>
                    <a:pt x="182585" y="414976"/>
                  </a:lnTo>
                  <a:lnTo>
                    <a:pt x="181680" y="417366"/>
                  </a:lnTo>
                  <a:lnTo>
                    <a:pt x="180680" y="418557"/>
                  </a:lnTo>
                  <a:lnTo>
                    <a:pt x="181413" y="419652"/>
                  </a:lnTo>
                  <a:lnTo>
                    <a:pt x="183442" y="420491"/>
                  </a:lnTo>
                  <a:lnTo>
                    <a:pt x="184261" y="421986"/>
                  </a:lnTo>
                  <a:lnTo>
                    <a:pt x="181851" y="423262"/>
                  </a:lnTo>
                  <a:lnTo>
                    <a:pt x="178841" y="427644"/>
                  </a:lnTo>
                  <a:lnTo>
                    <a:pt x="175717" y="427749"/>
                  </a:lnTo>
                  <a:lnTo>
                    <a:pt x="173812" y="430644"/>
                  </a:lnTo>
                  <a:lnTo>
                    <a:pt x="171783" y="430635"/>
                  </a:lnTo>
                  <a:lnTo>
                    <a:pt x="170136" y="428815"/>
                  </a:lnTo>
                  <a:lnTo>
                    <a:pt x="167497" y="427320"/>
                  </a:lnTo>
                  <a:lnTo>
                    <a:pt x="166649" y="429949"/>
                  </a:lnTo>
                  <a:lnTo>
                    <a:pt x="166516" y="432044"/>
                  </a:lnTo>
                  <a:lnTo>
                    <a:pt x="168002" y="437331"/>
                  </a:lnTo>
                  <a:lnTo>
                    <a:pt x="170840" y="441408"/>
                  </a:lnTo>
                  <a:lnTo>
                    <a:pt x="173469" y="443170"/>
                  </a:lnTo>
                  <a:lnTo>
                    <a:pt x="171574" y="444360"/>
                  </a:lnTo>
                  <a:lnTo>
                    <a:pt x="170164" y="446989"/>
                  </a:lnTo>
                  <a:lnTo>
                    <a:pt x="168459" y="455181"/>
                  </a:lnTo>
                  <a:lnTo>
                    <a:pt x="167535" y="458400"/>
                  </a:lnTo>
                  <a:lnTo>
                    <a:pt x="166535" y="464058"/>
                  </a:lnTo>
                  <a:lnTo>
                    <a:pt x="167164" y="468821"/>
                  </a:lnTo>
                  <a:lnTo>
                    <a:pt x="167678" y="471154"/>
                  </a:lnTo>
                  <a:lnTo>
                    <a:pt x="168964" y="474326"/>
                  </a:lnTo>
                  <a:lnTo>
                    <a:pt x="165468" y="473916"/>
                  </a:lnTo>
                  <a:lnTo>
                    <a:pt x="161773" y="472068"/>
                  </a:lnTo>
                  <a:lnTo>
                    <a:pt x="162287" y="475907"/>
                  </a:lnTo>
                  <a:lnTo>
                    <a:pt x="160020" y="480441"/>
                  </a:lnTo>
                  <a:lnTo>
                    <a:pt x="160439" y="484422"/>
                  </a:lnTo>
                  <a:lnTo>
                    <a:pt x="160915" y="487004"/>
                  </a:lnTo>
                  <a:lnTo>
                    <a:pt x="160211" y="491280"/>
                  </a:lnTo>
                  <a:lnTo>
                    <a:pt x="161277" y="492623"/>
                  </a:lnTo>
                  <a:lnTo>
                    <a:pt x="161858" y="495167"/>
                  </a:lnTo>
                  <a:lnTo>
                    <a:pt x="160896" y="497043"/>
                  </a:lnTo>
                  <a:lnTo>
                    <a:pt x="161315" y="498653"/>
                  </a:lnTo>
                  <a:lnTo>
                    <a:pt x="161477" y="504339"/>
                  </a:lnTo>
                  <a:lnTo>
                    <a:pt x="162201" y="513207"/>
                  </a:lnTo>
                  <a:lnTo>
                    <a:pt x="161934" y="515074"/>
                  </a:lnTo>
                  <a:lnTo>
                    <a:pt x="163963" y="522732"/>
                  </a:lnTo>
                  <a:lnTo>
                    <a:pt x="163496" y="525409"/>
                  </a:lnTo>
                  <a:lnTo>
                    <a:pt x="163220" y="528809"/>
                  </a:lnTo>
                  <a:lnTo>
                    <a:pt x="166135" y="532076"/>
                  </a:lnTo>
                  <a:lnTo>
                    <a:pt x="168726" y="532028"/>
                  </a:lnTo>
                  <a:lnTo>
                    <a:pt x="171355" y="531981"/>
                  </a:lnTo>
                  <a:lnTo>
                    <a:pt x="172355" y="532790"/>
                  </a:lnTo>
                  <a:lnTo>
                    <a:pt x="173364" y="535095"/>
                  </a:lnTo>
                  <a:lnTo>
                    <a:pt x="174174" y="537820"/>
                  </a:lnTo>
                  <a:lnTo>
                    <a:pt x="176336" y="537601"/>
                  </a:lnTo>
                  <a:lnTo>
                    <a:pt x="179794" y="535391"/>
                  </a:lnTo>
                  <a:lnTo>
                    <a:pt x="182042" y="534867"/>
                  </a:lnTo>
                  <a:lnTo>
                    <a:pt x="183528" y="539115"/>
                  </a:lnTo>
                  <a:lnTo>
                    <a:pt x="187566" y="544716"/>
                  </a:lnTo>
                  <a:lnTo>
                    <a:pt x="189919" y="547221"/>
                  </a:lnTo>
                  <a:lnTo>
                    <a:pt x="193910" y="548545"/>
                  </a:lnTo>
                  <a:lnTo>
                    <a:pt x="198120" y="553041"/>
                  </a:lnTo>
                  <a:lnTo>
                    <a:pt x="197529" y="558451"/>
                  </a:lnTo>
                  <a:lnTo>
                    <a:pt x="199282" y="560251"/>
                  </a:lnTo>
                  <a:lnTo>
                    <a:pt x="204245" y="562375"/>
                  </a:lnTo>
                  <a:lnTo>
                    <a:pt x="206007" y="565242"/>
                  </a:lnTo>
                  <a:lnTo>
                    <a:pt x="206854" y="567680"/>
                  </a:lnTo>
                  <a:lnTo>
                    <a:pt x="208159" y="569700"/>
                  </a:lnTo>
                  <a:lnTo>
                    <a:pt x="209693" y="575786"/>
                  </a:lnTo>
                  <a:lnTo>
                    <a:pt x="209159" y="579530"/>
                  </a:lnTo>
                  <a:lnTo>
                    <a:pt x="207159" y="580815"/>
                  </a:lnTo>
                  <a:lnTo>
                    <a:pt x="202425" y="584816"/>
                  </a:lnTo>
                  <a:lnTo>
                    <a:pt x="200320" y="587797"/>
                  </a:lnTo>
                  <a:lnTo>
                    <a:pt x="198672" y="589645"/>
                  </a:lnTo>
                  <a:lnTo>
                    <a:pt x="193977" y="593617"/>
                  </a:lnTo>
                  <a:lnTo>
                    <a:pt x="192252" y="594331"/>
                  </a:lnTo>
                  <a:lnTo>
                    <a:pt x="190605" y="596389"/>
                  </a:lnTo>
                  <a:lnTo>
                    <a:pt x="189014" y="597294"/>
                  </a:lnTo>
                  <a:lnTo>
                    <a:pt x="187585" y="596779"/>
                  </a:lnTo>
                  <a:lnTo>
                    <a:pt x="182251" y="600504"/>
                  </a:lnTo>
                  <a:lnTo>
                    <a:pt x="178651" y="599475"/>
                  </a:lnTo>
                  <a:lnTo>
                    <a:pt x="177136" y="597637"/>
                  </a:lnTo>
                  <a:lnTo>
                    <a:pt x="178098" y="590321"/>
                  </a:lnTo>
                  <a:lnTo>
                    <a:pt x="177498" y="587959"/>
                  </a:lnTo>
                  <a:lnTo>
                    <a:pt x="176803" y="586769"/>
                  </a:lnTo>
                  <a:lnTo>
                    <a:pt x="174441" y="588131"/>
                  </a:lnTo>
                  <a:lnTo>
                    <a:pt x="174860" y="590931"/>
                  </a:lnTo>
                  <a:lnTo>
                    <a:pt x="170774" y="591045"/>
                  </a:lnTo>
                  <a:lnTo>
                    <a:pt x="166925" y="588674"/>
                  </a:lnTo>
                  <a:lnTo>
                    <a:pt x="166430" y="593341"/>
                  </a:lnTo>
                  <a:lnTo>
                    <a:pt x="158162" y="589474"/>
                  </a:lnTo>
                  <a:lnTo>
                    <a:pt x="155886" y="590455"/>
                  </a:lnTo>
                  <a:lnTo>
                    <a:pt x="152238" y="588512"/>
                  </a:lnTo>
                  <a:lnTo>
                    <a:pt x="149866" y="590836"/>
                  </a:lnTo>
                  <a:lnTo>
                    <a:pt x="147047" y="589998"/>
                  </a:lnTo>
                  <a:lnTo>
                    <a:pt x="145094" y="587235"/>
                  </a:lnTo>
                  <a:lnTo>
                    <a:pt x="142389" y="592093"/>
                  </a:lnTo>
                  <a:lnTo>
                    <a:pt x="136484" y="593474"/>
                  </a:lnTo>
                  <a:lnTo>
                    <a:pt x="130930" y="594246"/>
                  </a:lnTo>
                  <a:lnTo>
                    <a:pt x="133607" y="595865"/>
                  </a:lnTo>
                  <a:lnTo>
                    <a:pt x="146066" y="595560"/>
                  </a:lnTo>
                  <a:lnTo>
                    <a:pt x="149590" y="596760"/>
                  </a:lnTo>
                  <a:lnTo>
                    <a:pt x="154171" y="595960"/>
                  </a:lnTo>
                  <a:lnTo>
                    <a:pt x="158229" y="599770"/>
                  </a:lnTo>
                  <a:lnTo>
                    <a:pt x="161154" y="600685"/>
                  </a:lnTo>
                  <a:lnTo>
                    <a:pt x="164611" y="605057"/>
                  </a:lnTo>
                  <a:lnTo>
                    <a:pt x="166382" y="603866"/>
                  </a:lnTo>
                  <a:lnTo>
                    <a:pt x="169164" y="604047"/>
                  </a:lnTo>
                  <a:lnTo>
                    <a:pt x="171735" y="605295"/>
                  </a:lnTo>
                  <a:lnTo>
                    <a:pt x="179898" y="605133"/>
                  </a:lnTo>
                  <a:lnTo>
                    <a:pt x="182670" y="602085"/>
                  </a:lnTo>
                  <a:lnTo>
                    <a:pt x="186757" y="602751"/>
                  </a:lnTo>
                  <a:lnTo>
                    <a:pt x="188843" y="601961"/>
                  </a:lnTo>
                  <a:lnTo>
                    <a:pt x="190442" y="600094"/>
                  </a:lnTo>
                  <a:lnTo>
                    <a:pt x="192195" y="599665"/>
                  </a:lnTo>
                  <a:lnTo>
                    <a:pt x="193786" y="600018"/>
                  </a:lnTo>
                  <a:lnTo>
                    <a:pt x="195482" y="598541"/>
                  </a:lnTo>
                  <a:lnTo>
                    <a:pt x="196815" y="597951"/>
                  </a:lnTo>
                  <a:lnTo>
                    <a:pt x="198187" y="598665"/>
                  </a:lnTo>
                  <a:lnTo>
                    <a:pt x="199720" y="602199"/>
                  </a:lnTo>
                  <a:lnTo>
                    <a:pt x="196539" y="604028"/>
                  </a:lnTo>
                  <a:lnTo>
                    <a:pt x="194281" y="604114"/>
                  </a:lnTo>
                  <a:lnTo>
                    <a:pt x="193177" y="609886"/>
                  </a:lnTo>
                  <a:lnTo>
                    <a:pt x="191814" y="612362"/>
                  </a:lnTo>
                  <a:lnTo>
                    <a:pt x="190833" y="613553"/>
                  </a:lnTo>
                  <a:lnTo>
                    <a:pt x="185833" y="616001"/>
                  </a:lnTo>
                  <a:lnTo>
                    <a:pt x="182527" y="619097"/>
                  </a:lnTo>
                  <a:lnTo>
                    <a:pt x="178632" y="621582"/>
                  </a:lnTo>
                  <a:lnTo>
                    <a:pt x="176936" y="621039"/>
                  </a:lnTo>
                  <a:lnTo>
                    <a:pt x="174374" y="623564"/>
                  </a:lnTo>
                  <a:lnTo>
                    <a:pt x="168687" y="626545"/>
                  </a:lnTo>
                  <a:lnTo>
                    <a:pt x="165764" y="630564"/>
                  </a:lnTo>
                  <a:lnTo>
                    <a:pt x="159220" y="634146"/>
                  </a:lnTo>
                  <a:lnTo>
                    <a:pt x="155886" y="637061"/>
                  </a:lnTo>
                  <a:lnTo>
                    <a:pt x="146828" y="637213"/>
                  </a:lnTo>
                  <a:lnTo>
                    <a:pt x="138179" y="636575"/>
                  </a:lnTo>
                  <a:lnTo>
                    <a:pt x="135464" y="637956"/>
                  </a:lnTo>
                  <a:lnTo>
                    <a:pt x="138246" y="638385"/>
                  </a:lnTo>
                  <a:lnTo>
                    <a:pt x="140189" y="639737"/>
                  </a:lnTo>
                  <a:lnTo>
                    <a:pt x="142523" y="639166"/>
                  </a:lnTo>
                  <a:lnTo>
                    <a:pt x="148009" y="639842"/>
                  </a:lnTo>
                  <a:lnTo>
                    <a:pt x="150828" y="640585"/>
                  </a:lnTo>
                  <a:lnTo>
                    <a:pt x="154448" y="645328"/>
                  </a:lnTo>
                  <a:lnTo>
                    <a:pt x="151790" y="647005"/>
                  </a:lnTo>
                  <a:lnTo>
                    <a:pt x="147180" y="648300"/>
                  </a:lnTo>
                  <a:lnTo>
                    <a:pt x="148914" y="654987"/>
                  </a:lnTo>
                  <a:lnTo>
                    <a:pt x="150333" y="659482"/>
                  </a:lnTo>
                  <a:lnTo>
                    <a:pt x="148466" y="662188"/>
                  </a:lnTo>
                  <a:lnTo>
                    <a:pt x="148323" y="674446"/>
                  </a:lnTo>
                  <a:lnTo>
                    <a:pt x="145704" y="674675"/>
                  </a:lnTo>
                  <a:lnTo>
                    <a:pt x="144589" y="679723"/>
                  </a:lnTo>
                  <a:lnTo>
                    <a:pt x="145409" y="682295"/>
                  </a:lnTo>
                  <a:lnTo>
                    <a:pt x="145342" y="688248"/>
                  </a:lnTo>
                  <a:lnTo>
                    <a:pt x="145885" y="691905"/>
                  </a:lnTo>
                  <a:lnTo>
                    <a:pt x="147171" y="695268"/>
                  </a:lnTo>
                  <a:lnTo>
                    <a:pt x="146599" y="698763"/>
                  </a:lnTo>
                  <a:lnTo>
                    <a:pt x="142456" y="706926"/>
                  </a:lnTo>
                  <a:lnTo>
                    <a:pt x="142541" y="710746"/>
                  </a:lnTo>
                  <a:lnTo>
                    <a:pt x="143294" y="713013"/>
                  </a:lnTo>
                  <a:lnTo>
                    <a:pt x="143846" y="716623"/>
                  </a:lnTo>
                  <a:lnTo>
                    <a:pt x="141961" y="723547"/>
                  </a:lnTo>
                  <a:lnTo>
                    <a:pt x="140637" y="729310"/>
                  </a:lnTo>
                  <a:lnTo>
                    <a:pt x="139055" y="734149"/>
                  </a:lnTo>
                  <a:lnTo>
                    <a:pt x="135521" y="739930"/>
                  </a:lnTo>
                  <a:lnTo>
                    <a:pt x="133759" y="744245"/>
                  </a:lnTo>
                  <a:lnTo>
                    <a:pt x="129644" y="757647"/>
                  </a:lnTo>
                  <a:lnTo>
                    <a:pt x="127606" y="760295"/>
                  </a:lnTo>
                  <a:lnTo>
                    <a:pt x="125101" y="762324"/>
                  </a:lnTo>
                  <a:lnTo>
                    <a:pt x="122311" y="760448"/>
                  </a:lnTo>
                  <a:lnTo>
                    <a:pt x="119748" y="759428"/>
                  </a:lnTo>
                  <a:lnTo>
                    <a:pt x="116624" y="759552"/>
                  </a:lnTo>
                  <a:lnTo>
                    <a:pt x="111728" y="761095"/>
                  </a:lnTo>
                  <a:lnTo>
                    <a:pt x="104365" y="760066"/>
                  </a:lnTo>
                  <a:lnTo>
                    <a:pt x="97174" y="760562"/>
                  </a:lnTo>
                  <a:lnTo>
                    <a:pt x="95355" y="761886"/>
                  </a:lnTo>
                  <a:lnTo>
                    <a:pt x="96450" y="766715"/>
                  </a:lnTo>
                  <a:lnTo>
                    <a:pt x="93793" y="767344"/>
                  </a:lnTo>
                  <a:lnTo>
                    <a:pt x="91202" y="765972"/>
                  </a:lnTo>
                  <a:lnTo>
                    <a:pt x="88916" y="767610"/>
                  </a:lnTo>
                  <a:lnTo>
                    <a:pt x="87011" y="769401"/>
                  </a:lnTo>
                  <a:lnTo>
                    <a:pt x="83268" y="773649"/>
                  </a:lnTo>
                  <a:lnTo>
                    <a:pt x="82010" y="776259"/>
                  </a:lnTo>
                  <a:lnTo>
                    <a:pt x="81686" y="781164"/>
                  </a:lnTo>
                  <a:lnTo>
                    <a:pt x="83658" y="785555"/>
                  </a:lnTo>
                  <a:lnTo>
                    <a:pt x="85401" y="790689"/>
                  </a:lnTo>
                  <a:lnTo>
                    <a:pt x="80915" y="796852"/>
                  </a:lnTo>
                  <a:lnTo>
                    <a:pt x="78410" y="797062"/>
                  </a:lnTo>
                  <a:lnTo>
                    <a:pt x="71095" y="795347"/>
                  </a:lnTo>
                  <a:lnTo>
                    <a:pt x="58131" y="799205"/>
                  </a:lnTo>
                  <a:lnTo>
                    <a:pt x="46491" y="796157"/>
                  </a:lnTo>
                  <a:lnTo>
                    <a:pt x="47949" y="792851"/>
                  </a:lnTo>
                  <a:lnTo>
                    <a:pt x="47901" y="790423"/>
                  </a:lnTo>
                  <a:lnTo>
                    <a:pt x="48558" y="786679"/>
                  </a:lnTo>
                  <a:lnTo>
                    <a:pt x="48949" y="782841"/>
                  </a:lnTo>
                  <a:lnTo>
                    <a:pt x="48844" y="780269"/>
                  </a:lnTo>
                  <a:lnTo>
                    <a:pt x="47987" y="777516"/>
                  </a:lnTo>
                  <a:lnTo>
                    <a:pt x="45120" y="773916"/>
                  </a:lnTo>
                  <a:lnTo>
                    <a:pt x="38652" y="761714"/>
                  </a:lnTo>
                  <a:lnTo>
                    <a:pt x="36738" y="756542"/>
                  </a:lnTo>
                  <a:lnTo>
                    <a:pt x="35404" y="754380"/>
                  </a:lnTo>
                  <a:lnTo>
                    <a:pt x="36366" y="754266"/>
                  </a:lnTo>
                  <a:lnTo>
                    <a:pt x="41700" y="757047"/>
                  </a:lnTo>
                  <a:lnTo>
                    <a:pt x="42939" y="756704"/>
                  </a:lnTo>
                  <a:lnTo>
                    <a:pt x="44244" y="755666"/>
                  </a:lnTo>
                  <a:lnTo>
                    <a:pt x="42653" y="751675"/>
                  </a:lnTo>
                  <a:lnTo>
                    <a:pt x="41281" y="749875"/>
                  </a:lnTo>
                  <a:lnTo>
                    <a:pt x="40357" y="747170"/>
                  </a:lnTo>
                  <a:lnTo>
                    <a:pt x="43472" y="746436"/>
                  </a:lnTo>
                  <a:lnTo>
                    <a:pt x="45729" y="746598"/>
                  </a:lnTo>
                  <a:lnTo>
                    <a:pt x="47387" y="743550"/>
                  </a:lnTo>
                  <a:lnTo>
                    <a:pt x="46425" y="738607"/>
                  </a:lnTo>
                  <a:lnTo>
                    <a:pt x="44005" y="737083"/>
                  </a:lnTo>
                  <a:lnTo>
                    <a:pt x="41986" y="736416"/>
                  </a:lnTo>
                  <a:lnTo>
                    <a:pt x="38109" y="728605"/>
                  </a:lnTo>
                  <a:lnTo>
                    <a:pt x="34071" y="724548"/>
                  </a:lnTo>
                  <a:lnTo>
                    <a:pt x="26860" y="708822"/>
                  </a:lnTo>
                  <a:lnTo>
                    <a:pt x="24222" y="697944"/>
                  </a:lnTo>
                  <a:lnTo>
                    <a:pt x="21774" y="698983"/>
                  </a:lnTo>
                  <a:lnTo>
                    <a:pt x="20583" y="694230"/>
                  </a:lnTo>
                  <a:lnTo>
                    <a:pt x="19726" y="689705"/>
                  </a:lnTo>
                  <a:lnTo>
                    <a:pt x="19555" y="686381"/>
                  </a:lnTo>
                  <a:lnTo>
                    <a:pt x="15707" y="684476"/>
                  </a:lnTo>
                  <a:lnTo>
                    <a:pt x="15554" y="682133"/>
                  </a:lnTo>
                  <a:lnTo>
                    <a:pt x="14859" y="671655"/>
                  </a:lnTo>
                  <a:lnTo>
                    <a:pt x="10735" y="670246"/>
                  </a:lnTo>
                  <a:lnTo>
                    <a:pt x="8068" y="664340"/>
                  </a:lnTo>
                  <a:lnTo>
                    <a:pt x="7591" y="653110"/>
                  </a:lnTo>
                  <a:lnTo>
                    <a:pt x="4877" y="651062"/>
                  </a:lnTo>
                  <a:lnTo>
                    <a:pt x="2695" y="651634"/>
                  </a:lnTo>
                  <a:lnTo>
                    <a:pt x="2800" y="648843"/>
                  </a:lnTo>
                  <a:lnTo>
                    <a:pt x="3324" y="646214"/>
                  </a:lnTo>
                  <a:lnTo>
                    <a:pt x="2048" y="635756"/>
                  </a:lnTo>
                  <a:lnTo>
                    <a:pt x="1619" y="626164"/>
                  </a:lnTo>
                  <a:lnTo>
                    <a:pt x="590" y="623249"/>
                  </a:lnTo>
                  <a:lnTo>
                    <a:pt x="0" y="619839"/>
                  </a:lnTo>
                  <a:lnTo>
                    <a:pt x="524" y="616887"/>
                  </a:lnTo>
                  <a:lnTo>
                    <a:pt x="1305" y="615182"/>
                  </a:lnTo>
                  <a:lnTo>
                    <a:pt x="3962" y="614734"/>
                  </a:lnTo>
                  <a:lnTo>
                    <a:pt x="6448" y="617344"/>
                  </a:lnTo>
                  <a:lnTo>
                    <a:pt x="8649" y="623916"/>
                  </a:lnTo>
                  <a:lnTo>
                    <a:pt x="10592" y="624773"/>
                  </a:lnTo>
                  <a:lnTo>
                    <a:pt x="13240" y="623059"/>
                  </a:lnTo>
                  <a:lnTo>
                    <a:pt x="15097" y="618268"/>
                  </a:lnTo>
                  <a:lnTo>
                    <a:pt x="16154" y="611057"/>
                  </a:lnTo>
                  <a:lnTo>
                    <a:pt x="17393" y="604152"/>
                  </a:lnTo>
                  <a:lnTo>
                    <a:pt x="15926" y="596741"/>
                  </a:lnTo>
                  <a:lnTo>
                    <a:pt x="14364" y="590207"/>
                  </a:lnTo>
                  <a:lnTo>
                    <a:pt x="14249" y="588283"/>
                  </a:lnTo>
                  <a:lnTo>
                    <a:pt x="18355" y="582739"/>
                  </a:lnTo>
                  <a:lnTo>
                    <a:pt x="19612" y="578225"/>
                  </a:lnTo>
                  <a:lnTo>
                    <a:pt x="20974" y="573910"/>
                  </a:lnTo>
                  <a:lnTo>
                    <a:pt x="22479" y="572443"/>
                  </a:lnTo>
                  <a:lnTo>
                    <a:pt x="24708" y="572110"/>
                  </a:lnTo>
                  <a:lnTo>
                    <a:pt x="27308" y="571300"/>
                  </a:lnTo>
                  <a:lnTo>
                    <a:pt x="30585" y="568404"/>
                  </a:lnTo>
                  <a:lnTo>
                    <a:pt x="33528" y="564518"/>
                  </a:lnTo>
                  <a:lnTo>
                    <a:pt x="35776" y="560946"/>
                  </a:lnTo>
                  <a:lnTo>
                    <a:pt x="36538" y="553860"/>
                  </a:lnTo>
                  <a:lnTo>
                    <a:pt x="36566" y="550288"/>
                  </a:lnTo>
                  <a:lnTo>
                    <a:pt x="37557" y="547630"/>
                  </a:lnTo>
                  <a:lnTo>
                    <a:pt x="38510" y="542430"/>
                  </a:lnTo>
                  <a:lnTo>
                    <a:pt x="37576" y="537286"/>
                  </a:lnTo>
                  <a:lnTo>
                    <a:pt x="34671" y="529457"/>
                  </a:lnTo>
                  <a:lnTo>
                    <a:pt x="31175" y="518379"/>
                  </a:lnTo>
                  <a:lnTo>
                    <a:pt x="30632" y="512302"/>
                  </a:lnTo>
                  <a:lnTo>
                    <a:pt x="32223" y="511169"/>
                  </a:lnTo>
                  <a:lnTo>
                    <a:pt x="35262" y="510159"/>
                  </a:lnTo>
                  <a:lnTo>
                    <a:pt x="41024" y="509864"/>
                  </a:lnTo>
                  <a:lnTo>
                    <a:pt x="41634" y="509149"/>
                  </a:lnTo>
                  <a:lnTo>
                    <a:pt x="42215" y="506473"/>
                  </a:lnTo>
                  <a:lnTo>
                    <a:pt x="43520" y="502844"/>
                  </a:lnTo>
                  <a:lnTo>
                    <a:pt x="44901" y="500196"/>
                  </a:lnTo>
                  <a:lnTo>
                    <a:pt x="45853" y="496395"/>
                  </a:lnTo>
                  <a:lnTo>
                    <a:pt x="46311" y="492947"/>
                  </a:lnTo>
                  <a:lnTo>
                    <a:pt x="43015" y="487737"/>
                  </a:lnTo>
                  <a:lnTo>
                    <a:pt x="38700" y="482384"/>
                  </a:lnTo>
                  <a:lnTo>
                    <a:pt x="35776" y="480603"/>
                  </a:lnTo>
                  <a:lnTo>
                    <a:pt x="30575" y="476088"/>
                  </a:lnTo>
                  <a:lnTo>
                    <a:pt x="26918" y="472307"/>
                  </a:lnTo>
                  <a:lnTo>
                    <a:pt x="29013" y="457819"/>
                  </a:lnTo>
                  <a:lnTo>
                    <a:pt x="30575" y="446951"/>
                  </a:lnTo>
                  <a:lnTo>
                    <a:pt x="30823" y="444303"/>
                  </a:lnTo>
                  <a:lnTo>
                    <a:pt x="30880" y="440188"/>
                  </a:lnTo>
                  <a:lnTo>
                    <a:pt x="25832" y="422519"/>
                  </a:lnTo>
                  <a:lnTo>
                    <a:pt x="26032" y="418567"/>
                  </a:lnTo>
                  <a:lnTo>
                    <a:pt x="26508" y="414995"/>
                  </a:lnTo>
                  <a:lnTo>
                    <a:pt x="25965" y="408889"/>
                  </a:lnTo>
                  <a:lnTo>
                    <a:pt x="25670" y="403412"/>
                  </a:lnTo>
                  <a:lnTo>
                    <a:pt x="26536" y="401745"/>
                  </a:lnTo>
                  <a:lnTo>
                    <a:pt x="28594" y="398640"/>
                  </a:lnTo>
                  <a:lnTo>
                    <a:pt x="26622" y="393821"/>
                  </a:lnTo>
                  <a:lnTo>
                    <a:pt x="26460" y="393421"/>
                  </a:lnTo>
                  <a:lnTo>
                    <a:pt x="22746" y="381438"/>
                  </a:lnTo>
                  <a:lnTo>
                    <a:pt x="28422" y="369484"/>
                  </a:lnTo>
                  <a:lnTo>
                    <a:pt x="27432" y="363264"/>
                  </a:lnTo>
                  <a:lnTo>
                    <a:pt x="30813" y="358740"/>
                  </a:lnTo>
                  <a:lnTo>
                    <a:pt x="36986" y="348339"/>
                  </a:lnTo>
                  <a:lnTo>
                    <a:pt x="40452" y="342452"/>
                  </a:lnTo>
                  <a:lnTo>
                    <a:pt x="41186" y="341424"/>
                  </a:lnTo>
                  <a:lnTo>
                    <a:pt x="43929" y="338833"/>
                  </a:lnTo>
                  <a:lnTo>
                    <a:pt x="49139" y="335756"/>
                  </a:lnTo>
                  <a:lnTo>
                    <a:pt x="54912" y="334251"/>
                  </a:lnTo>
                  <a:lnTo>
                    <a:pt x="57483" y="334270"/>
                  </a:lnTo>
                  <a:lnTo>
                    <a:pt x="67408" y="336356"/>
                  </a:lnTo>
                  <a:lnTo>
                    <a:pt x="75152" y="337976"/>
                  </a:lnTo>
                  <a:lnTo>
                    <a:pt x="76285" y="336347"/>
                  </a:lnTo>
                  <a:lnTo>
                    <a:pt x="77905" y="333004"/>
                  </a:lnTo>
                  <a:lnTo>
                    <a:pt x="79991" y="328231"/>
                  </a:lnTo>
                  <a:lnTo>
                    <a:pt x="80172" y="322907"/>
                  </a:lnTo>
                  <a:lnTo>
                    <a:pt x="79420" y="315058"/>
                  </a:lnTo>
                  <a:lnTo>
                    <a:pt x="78286" y="310344"/>
                  </a:lnTo>
                  <a:lnTo>
                    <a:pt x="72837" y="307267"/>
                  </a:lnTo>
                  <a:lnTo>
                    <a:pt x="66865" y="303047"/>
                  </a:lnTo>
                  <a:lnTo>
                    <a:pt x="74209" y="289608"/>
                  </a:lnTo>
                  <a:lnTo>
                    <a:pt x="79296" y="280216"/>
                  </a:lnTo>
                  <a:lnTo>
                    <a:pt x="85639" y="265995"/>
                  </a:lnTo>
                  <a:lnTo>
                    <a:pt x="87611" y="260042"/>
                  </a:lnTo>
                  <a:lnTo>
                    <a:pt x="89039" y="257670"/>
                  </a:lnTo>
                  <a:lnTo>
                    <a:pt x="90907" y="235477"/>
                  </a:lnTo>
                  <a:lnTo>
                    <a:pt x="92145" y="229219"/>
                  </a:lnTo>
                  <a:lnTo>
                    <a:pt x="93183" y="225933"/>
                  </a:lnTo>
                  <a:lnTo>
                    <a:pt x="93193" y="222561"/>
                  </a:lnTo>
                  <a:lnTo>
                    <a:pt x="92516" y="216856"/>
                  </a:lnTo>
                  <a:lnTo>
                    <a:pt x="90735" y="203902"/>
                  </a:lnTo>
                  <a:lnTo>
                    <a:pt x="100755" y="202292"/>
                  </a:lnTo>
                  <a:lnTo>
                    <a:pt x="104013" y="201378"/>
                  </a:lnTo>
                  <a:lnTo>
                    <a:pt x="107042" y="199825"/>
                  </a:lnTo>
                  <a:lnTo>
                    <a:pt x="112966" y="195786"/>
                  </a:lnTo>
                  <a:lnTo>
                    <a:pt x="115871" y="192205"/>
                  </a:lnTo>
                  <a:lnTo>
                    <a:pt x="114252" y="179937"/>
                  </a:lnTo>
                  <a:lnTo>
                    <a:pt x="117834" y="175765"/>
                  </a:lnTo>
                  <a:lnTo>
                    <a:pt x="126578" y="161153"/>
                  </a:lnTo>
                  <a:lnTo>
                    <a:pt x="136027" y="147047"/>
                  </a:lnTo>
                  <a:lnTo>
                    <a:pt x="140455" y="141675"/>
                  </a:lnTo>
                  <a:lnTo>
                    <a:pt x="140913" y="139046"/>
                  </a:lnTo>
                  <a:lnTo>
                    <a:pt x="141275" y="134807"/>
                  </a:lnTo>
                  <a:lnTo>
                    <a:pt x="139303" y="128121"/>
                  </a:lnTo>
                  <a:lnTo>
                    <a:pt x="137189" y="123968"/>
                  </a:lnTo>
                  <a:lnTo>
                    <a:pt x="133064" y="116072"/>
                  </a:lnTo>
                  <a:lnTo>
                    <a:pt x="134836" y="110538"/>
                  </a:lnTo>
                  <a:lnTo>
                    <a:pt x="137874" y="109461"/>
                  </a:lnTo>
                  <a:lnTo>
                    <a:pt x="141884" y="107280"/>
                  </a:lnTo>
                  <a:lnTo>
                    <a:pt x="145018" y="102527"/>
                  </a:lnTo>
                  <a:lnTo>
                    <a:pt x="145323" y="101917"/>
                  </a:lnTo>
                  <a:lnTo>
                    <a:pt x="150619" y="83096"/>
                  </a:lnTo>
                  <a:lnTo>
                    <a:pt x="160954" y="73476"/>
                  </a:lnTo>
                  <a:lnTo>
                    <a:pt x="165078" y="68208"/>
                  </a:lnTo>
                  <a:lnTo>
                    <a:pt x="171498" y="72171"/>
                  </a:lnTo>
                  <a:lnTo>
                    <a:pt x="180908" y="78134"/>
                  </a:lnTo>
                  <a:lnTo>
                    <a:pt x="185090" y="69361"/>
                  </a:lnTo>
                  <a:lnTo>
                    <a:pt x="186471" y="66094"/>
                  </a:lnTo>
                  <a:lnTo>
                    <a:pt x="187852" y="61274"/>
                  </a:lnTo>
                  <a:lnTo>
                    <a:pt x="187300" y="52892"/>
                  </a:lnTo>
                  <a:lnTo>
                    <a:pt x="187061" y="41948"/>
                  </a:lnTo>
                  <a:lnTo>
                    <a:pt x="187480" y="37529"/>
                  </a:lnTo>
                  <a:lnTo>
                    <a:pt x="191233" y="35557"/>
                  </a:lnTo>
                  <a:lnTo>
                    <a:pt x="193253" y="35052"/>
                  </a:lnTo>
                  <a:lnTo>
                    <a:pt x="203711" y="39605"/>
                  </a:lnTo>
                  <a:lnTo>
                    <a:pt x="206340" y="39529"/>
                  </a:lnTo>
                  <a:lnTo>
                    <a:pt x="211274" y="40138"/>
                  </a:lnTo>
                  <a:lnTo>
                    <a:pt x="216789" y="42129"/>
                  </a:lnTo>
                  <a:lnTo>
                    <a:pt x="228342" y="47425"/>
                  </a:lnTo>
                  <a:lnTo>
                    <a:pt x="233115" y="49606"/>
                  </a:lnTo>
                  <a:lnTo>
                    <a:pt x="235782" y="50025"/>
                  </a:lnTo>
                  <a:lnTo>
                    <a:pt x="238087" y="47568"/>
                  </a:lnTo>
                  <a:lnTo>
                    <a:pt x="243011" y="41234"/>
                  </a:lnTo>
                  <a:lnTo>
                    <a:pt x="235763" y="36528"/>
                  </a:lnTo>
                  <a:lnTo>
                    <a:pt x="240535" y="31756"/>
                  </a:lnTo>
                  <a:lnTo>
                    <a:pt x="243011" y="26927"/>
                  </a:lnTo>
                  <a:lnTo>
                    <a:pt x="245135" y="20974"/>
                  </a:lnTo>
                  <a:lnTo>
                    <a:pt x="245907" y="13983"/>
                  </a:lnTo>
                  <a:lnTo>
                    <a:pt x="245612" y="10211"/>
                  </a:lnTo>
                  <a:lnTo>
                    <a:pt x="244144" y="7629"/>
                  </a:lnTo>
                  <a:lnTo>
                    <a:pt x="239716" y="1191"/>
                  </a:lnTo>
                  <a:lnTo>
                    <a:pt x="249745" y="267"/>
                  </a:lnTo>
                  <a:lnTo>
                    <a:pt x="253222" y="0"/>
                  </a:lnTo>
                  <a:lnTo>
                    <a:pt x="260518" y="4248"/>
                  </a:lnTo>
                  <a:lnTo>
                    <a:pt x="260842" y="5172"/>
                  </a:lnTo>
                  <a:lnTo>
                    <a:pt x="260890" y="7382"/>
                  </a:lnTo>
                  <a:lnTo>
                    <a:pt x="261147" y="9668"/>
                  </a:lnTo>
                  <a:lnTo>
                    <a:pt x="268224" y="15449"/>
                  </a:lnTo>
                  <a:lnTo>
                    <a:pt x="270262" y="18507"/>
                  </a:lnTo>
                  <a:lnTo>
                    <a:pt x="274615" y="23136"/>
                  </a:lnTo>
                  <a:lnTo>
                    <a:pt x="275767" y="25632"/>
                  </a:lnTo>
                  <a:lnTo>
                    <a:pt x="279797" y="28546"/>
                  </a:lnTo>
                  <a:lnTo>
                    <a:pt x="282683" y="31661"/>
                  </a:lnTo>
                  <a:lnTo>
                    <a:pt x="286055" y="34176"/>
                  </a:lnTo>
                  <a:lnTo>
                    <a:pt x="289989" y="38081"/>
                  </a:lnTo>
                  <a:lnTo>
                    <a:pt x="295275" y="41186"/>
                  </a:lnTo>
                  <a:lnTo>
                    <a:pt x="299732" y="42196"/>
                  </a:lnTo>
                  <a:lnTo>
                    <a:pt x="310972" y="47501"/>
                  </a:lnTo>
                  <a:lnTo>
                    <a:pt x="312887" y="49216"/>
                  </a:lnTo>
                  <a:lnTo>
                    <a:pt x="316125" y="52902"/>
                  </a:lnTo>
                  <a:lnTo>
                    <a:pt x="319401" y="57150"/>
                  </a:lnTo>
                  <a:lnTo>
                    <a:pt x="321669" y="65856"/>
                  </a:lnTo>
                  <a:lnTo>
                    <a:pt x="325298" y="66304"/>
                  </a:lnTo>
                  <a:lnTo>
                    <a:pt x="326288" y="69285"/>
                  </a:lnTo>
                  <a:lnTo>
                    <a:pt x="329460" y="74381"/>
                  </a:lnTo>
                  <a:lnTo>
                    <a:pt x="333860" y="78867"/>
                  </a:lnTo>
                  <a:lnTo>
                    <a:pt x="333699" y="80372"/>
                  </a:lnTo>
                  <a:lnTo>
                    <a:pt x="330194" y="84487"/>
                  </a:lnTo>
                  <a:lnTo>
                    <a:pt x="329812" y="90049"/>
                  </a:lnTo>
                  <a:lnTo>
                    <a:pt x="330146" y="97126"/>
                  </a:lnTo>
                  <a:lnTo>
                    <a:pt x="331251" y="102879"/>
                  </a:lnTo>
                  <a:lnTo>
                    <a:pt x="331137" y="104556"/>
                  </a:lnTo>
                  <a:lnTo>
                    <a:pt x="330270" y="106537"/>
                  </a:lnTo>
                  <a:lnTo>
                    <a:pt x="329232" y="109633"/>
                  </a:lnTo>
                  <a:lnTo>
                    <a:pt x="328850" y="112328"/>
                  </a:lnTo>
                  <a:lnTo>
                    <a:pt x="328946" y="113643"/>
                  </a:lnTo>
                  <a:lnTo>
                    <a:pt x="329298" y="114367"/>
                  </a:lnTo>
                  <a:lnTo>
                    <a:pt x="331146" y="114424"/>
                  </a:lnTo>
                  <a:lnTo>
                    <a:pt x="334451" y="115062"/>
                  </a:lnTo>
                  <a:lnTo>
                    <a:pt x="336395" y="116253"/>
                  </a:lnTo>
                  <a:lnTo>
                    <a:pt x="337499" y="122796"/>
                  </a:lnTo>
                  <a:lnTo>
                    <a:pt x="337128" y="124054"/>
                  </a:lnTo>
                  <a:lnTo>
                    <a:pt x="334346" y="127006"/>
                  </a:lnTo>
                  <a:lnTo>
                    <a:pt x="333527" y="129350"/>
                  </a:lnTo>
                  <a:lnTo>
                    <a:pt x="333451" y="132779"/>
                  </a:lnTo>
                  <a:lnTo>
                    <a:pt x="333946" y="136550"/>
                  </a:lnTo>
                  <a:lnTo>
                    <a:pt x="334909" y="140751"/>
                  </a:lnTo>
                  <a:lnTo>
                    <a:pt x="337090" y="145237"/>
                  </a:lnTo>
                  <a:lnTo>
                    <a:pt x="340043" y="149914"/>
                  </a:lnTo>
                  <a:lnTo>
                    <a:pt x="341986" y="153743"/>
                  </a:lnTo>
                  <a:lnTo>
                    <a:pt x="342900" y="156429"/>
                  </a:lnTo>
                  <a:lnTo>
                    <a:pt x="343233" y="158315"/>
                  </a:lnTo>
                  <a:lnTo>
                    <a:pt x="341909" y="160677"/>
                  </a:lnTo>
                  <a:lnTo>
                    <a:pt x="340719" y="165335"/>
                  </a:lnTo>
                  <a:lnTo>
                    <a:pt x="340500" y="170650"/>
                  </a:lnTo>
                  <a:lnTo>
                    <a:pt x="339957" y="174107"/>
                  </a:lnTo>
                  <a:lnTo>
                    <a:pt x="337366" y="178860"/>
                  </a:lnTo>
                  <a:lnTo>
                    <a:pt x="335566" y="180537"/>
                  </a:lnTo>
                  <a:lnTo>
                    <a:pt x="335051" y="183032"/>
                  </a:lnTo>
                  <a:lnTo>
                    <a:pt x="334832" y="187214"/>
                  </a:lnTo>
                  <a:lnTo>
                    <a:pt x="335366" y="192300"/>
                  </a:lnTo>
                  <a:lnTo>
                    <a:pt x="335546" y="195729"/>
                  </a:lnTo>
                  <a:lnTo>
                    <a:pt x="336099" y="198196"/>
                  </a:lnTo>
                  <a:lnTo>
                    <a:pt x="336918" y="199806"/>
                  </a:lnTo>
                  <a:lnTo>
                    <a:pt x="341080" y="202635"/>
                  </a:lnTo>
                  <a:lnTo>
                    <a:pt x="343415" y="208426"/>
                  </a:lnTo>
                  <a:lnTo>
                    <a:pt x="344871" y="213065"/>
                  </a:lnTo>
                  <a:lnTo>
                    <a:pt x="347815" y="225095"/>
                  </a:lnTo>
                  <a:close/>
                  <a:moveTo>
                    <a:pt x="199177" y="594627"/>
                  </a:moveTo>
                  <a:lnTo>
                    <a:pt x="198511" y="596370"/>
                  </a:lnTo>
                  <a:lnTo>
                    <a:pt x="197834" y="594236"/>
                  </a:lnTo>
                  <a:lnTo>
                    <a:pt x="198101" y="593817"/>
                  </a:lnTo>
                  <a:lnTo>
                    <a:pt x="198558" y="591712"/>
                  </a:lnTo>
                  <a:lnTo>
                    <a:pt x="199854" y="590559"/>
                  </a:lnTo>
                  <a:lnTo>
                    <a:pt x="201920" y="591255"/>
                  </a:lnTo>
                  <a:lnTo>
                    <a:pt x="201911" y="591779"/>
                  </a:lnTo>
                  <a:lnTo>
                    <a:pt x="199930" y="593484"/>
                  </a:lnTo>
                  <a:lnTo>
                    <a:pt x="199177" y="594627"/>
                  </a:lnTo>
                  <a:close/>
                  <a:moveTo>
                    <a:pt x="194386" y="617658"/>
                  </a:moveTo>
                  <a:lnTo>
                    <a:pt x="193195" y="618154"/>
                  </a:lnTo>
                  <a:lnTo>
                    <a:pt x="192605" y="618001"/>
                  </a:lnTo>
                  <a:lnTo>
                    <a:pt x="193338" y="615591"/>
                  </a:lnTo>
                  <a:lnTo>
                    <a:pt x="193881" y="614553"/>
                  </a:lnTo>
                  <a:lnTo>
                    <a:pt x="195682" y="613581"/>
                  </a:lnTo>
                  <a:lnTo>
                    <a:pt x="196234" y="613753"/>
                  </a:lnTo>
                  <a:lnTo>
                    <a:pt x="194386" y="617658"/>
                  </a:lnTo>
                  <a:close/>
                  <a:moveTo>
                    <a:pt x="214179" y="674122"/>
                  </a:moveTo>
                  <a:lnTo>
                    <a:pt x="213693" y="677256"/>
                  </a:lnTo>
                  <a:lnTo>
                    <a:pt x="212303" y="677018"/>
                  </a:lnTo>
                  <a:lnTo>
                    <a:pt x="211036" y="674703"/>
                  </a:lnTo>
                  <a:lnTo>
                    <a:pt x="213598" y="671170"/>
                  </a:lnTo>
                  <a:lnTo>
                    <a:pt x="217513" y="671360"/>
                  </a:lnTo>
                  <a:lnTo>
                    <a:pt x="218856" y="672103"/>
                  </a:lnTo>
                  <a:lnTo>
                    <a:pt x="214179" y="674122"/>
                  </a:lnTo>
                  <a:close/>
                  <a:moveTo>
                    <a:pt x="212036" y="678475"/>
                  </a:moveTo>
                  <a:lnTo>
                    <a:pt x="209826" y="679666"/>
                  </a:lnTo>
                  <a:lnTo>
                    <a:pt x="208531" y="683200"/>
                  </a:lnTo>
                  <a:lnTo>
                    <a:pt x="206740" y="683800"/>
                  </a:lnTo>
                  <a:lnTo>
                    <a:pt x="205025" y="684971"/>
                  </a:lnTo>
                  <a:lnTo>
                    <a:pt x="204416" y="696078"/>
                  </a:lnTo>
                  <a:lnTo>
                    <a:pt x="207550" y="700278"/>
                  </a:lnTo>
                  <a:lnTo>
                    <a:pt x="205826" y="700869"/>
                  </a:lnTo>
                  <a:lnTo>
                    <a:pt x="204254" y="702126"/>
                  </a:lnTo>
                  <a:lnTo>
                    <a:pt x="203130" y="703983"/>
                  </a:lnTo>
                  <a:lnTo>
                    <a:pt x="201978" y="707974"/>
                  </a:lnTo>
                  <a:lnTo>
                    <a:pt x="197663" y="710232"/>
                  </a:lnTo>
                  <a:lnTo>
                    <a:pt x="196034" y="711898"/>
                  </a:lnTo>
                  <a:lnTo>
                    <a:pt x="193624" y="715604"/>
                  </a:lnTo>
                  <a:lnTo>
                    <a:pt x="192367" y="720966"/>
                  </a:lnTo>
                  <a:lnTo>
                    <a:pt x="189929" y="723252"/>
                  </a:lnTo>
                  <a:lnTo>
                    <a:pt x="187185" y="723795"/>
                  </a:lnTo>
                  <a:lnTo>
                    <a:pt x="188786" y="719414"/>
                  </a:lnTo>
                  <a:lnTo>
                    <a:pt x="190891" y="715832"/>
                  </a:lnTo>
                  <a:lnTo>
                    <a:pt x="188871" y="713365"/>
                  </a:lnTo>
                  <a:lnTo>
                    <a:pt x="187652" y="709508"/>
                  </a:lnTo>
                  <a:lnTo>
                    <a:pt x="186071" y="706536"/>
                  </a:lnTo>
                  <a:lnTo>
                    <a:pt x="187328" y="703212"/>
                  </a:lnTo>
                  <a:lnTo>
                    <a:pt x="186709" y="697763"/>
                  </a:lnTo>
                  <a:lnTo>
                    <a:pt x="186909" y="692420"/>
                  </a:lnTo>
                  <a:lnTo>
                    <a:pt x="188738" y="689724"/>
                  </a:lnTo>
                  <a:lnTo>
                    <a:pt x="190833" y="687524"/>
                  </a:lnTo>
                  <a:lnTo>
                    <a:pt x="194091" y="682447"/>
                  </a:lnTo>
                  <a:lnTo>
                    <a:pt x="197625" y="678752"/>
                  </a:lnTo>
                  <a:lnTo>
                    <a:pt x="202559" y="677094"/>
                  </a:lnTo>
                  <a:lnTo>
                    <a:pt x="204788" y="678628"/>
                  </a:lnTo>
                  <a:lnTo>
                    <a:pt x="205750" y="675265"/>
                  </a:lnTo>
                  <a:lnTo>
                    <a:pt x="207340" y="674494"/>
                  </a:lnTo>
                  <a:lnTo>
                    <a:pt x="208836" y="675275"/>
                  </a:lnTo>
                  <a:lnTo>
                    <a:pt x="212036" y="678475"/>
                  </a:lnTo>
                  <a:close/>
                  <a:moveTo>
                    <a:pt x="143932" y="754323"/>
                  </a:moveTo>
                  <a:lnTo>
                    <a:pt x="142551" y="756742"/>
                  </a:lnTo>
                  <a:lnTo>
                    <a:pt x="141332" y="756571"/>
                  </a:lnTo>
                  <a:lnTo>
                    <a:pt x="140522" y="753342"/>
                  </a:lnTo>
                  <a:lnTo>
                    <a:pt x="140332" y="745017"/>
                  </a:lnTo>
                  <a:lnTo>
                    <a:pt x="140818" y="740883"/>
                  </a:lnTo>
                  <a:lnTo>
                    <a:pt x="146647" y="725910"/>
                  </a:lnTo>
                  <a:lnTo>
                    <a:pt x="149247" y="724681"/>
                  </a:lnTo>
                  <a:lnTo>
                    <a:pt x="152905" y="715442"/>
                  </a:lnTo>
                  <a:lnTo>
                    <a:pt x="153895" y="711308"/>
                  </a:lnTo>
                  <a:lnTo>
                    <a:pt x="155486" y="707584"/>
                  </a:lnTo>
                  <a:lnTo>
                    <a:pt x="156420" y="704240"/>
                  </a:lnTo>
                  <a:lnTo>
                    <a:pt x="157210" y="702888"/>
                  </a:lnTo>
                  <a:lnTo>
                    <a:pt x="158915" y="703516"/>
                  </a:lnTo>
                  <a:lnTo>
                    <a:pt x="159677" y="704136"/>
                  </a:lnTo>
                  <a:lnTo>
                    <a:pt x="157877" y="706079"/>
                  </a:lnTo>
                  <a:lnTo>
                    <a:pt x="158086" y="708603"/>
                  </a:lnTo>
                  <a:lnTo>
                    <a:pt x="157962" y="709641"/>
                  </a:lnTo>
                  <a:lnTo>
                    <a:pt x="153419" y="720585"/>
                  </a:lnTo>
                  <a:lnTo>
                    <a:pt x="152209" y="727653"/>
                  </a:lnTo>
                  <a:lnTo>
                    <a:pt x="150600" y="729377"/>
                  </a:lnTo>
                  <a:lnTo>
                    <a:pt x="143932" y="754323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3" name="Forme libre : forme 49">
              <a:extLst>
                <a:ext uri="{FF2B5EF4-FFF2-40B4-BE49-F238E27FC236}">
                  <a16:creationId xmlns:a16="http://schemas.microsoft.com/office/drawing/2014/main" id="{2E2FC612-9679-FA46-5890-560B974D40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224266" y="4600709"/>
              <a:ext cx="290500" cy="191149"/>
            </a:xfrm>
            <a:custGeom>
              <a:avLst/>
              <a:gdLst>
                <a:gd name="connsiteX0" fmla="*/ 83887 w 83886"/>
                <a:gd name="connsiteY0" fmla="*/ 14116 h 55197"/>
                <a:gd name="connsiteX1" fmla="*/ 81525 w 83886"/>
                <a:gd name="connsiteY1" fmla="*/ 13173 h 55197"/>
                <a:gd name="connsiteX2" fmla="*/ 78677 w 83886"/>
                <a:gd name="connsiteY2" fmla="*/ 12773 h 55197"/>
                <a:gd name="connsiteX3" fmla="*/ 78143 w 83886"/>
                <a:gd name="connsiteY3" fmla="*/ 13287 h 55197"/>
                <a:gd name="connsiteX4" fmla="*/ 77000 w 83886"/>
                <a:gd name="connsiteY4" fmla="*/ 13811 h 55197"/>
                <a:gd name="connsiteX5" fmla="*/ 76419 w 83886"/>
                <a:gd name="connsiteY5" fmla="*/ 14745 h 55197"/>
                <a:gd name="connsiteX6" fmla="*/ 76858 w 83886"/>
                <a:gd name="connsiteY6" fmla="*/ 18402 h 55197"/>
                <a:gd name="connsiteX7" fmla="*/ 76172 w 83886"/>
                <a:gd name="connsiteY7" fmla="*/ 19031 h 55197"/>
                <a:gd name="connsiteX8" fmla="*/ 72933 w 83886"/>
                <a:gd name="connsiteY8" fmla="*/ 18669 h 55197"/>
                <a:gd name="connsiteX9" fmla="*/ 71866 w 83886"/>
                <a:gd name="connsiteY9" fmla="*/ 19088 h 55197"/>
                <a:gd name="connsiteX10" fmla="*/ 70104 w 83886"/>
                <a:gd name="connsiteY10" fmla="*/ 21631 h 55197"/>
                <a:gd name="connsiteX11" fmla="*/ 68304 w 83886"/>
                <a:gd name="connsiteY11" fmla="*/ 22708 h 55197"/>
                <a:gd name="connsiteX12" fmla="*/ 66018 w 83886"/>
                <a:gd name="connsiteY12" fmla="*/ 23469 h 55197"/>
                <a:gd name="connsiteX13" fmla="*/ 64322 w 83886"/>
                <a:gd name="connsiteY13" fmla="*/ 24384 h 55197"/>
                <a:gd name="connsiteX14" fmla="*/ 62179 w 83886"/>
                <a:gd name="connsiteY14" fmla="*/ 25184 h 55197"/>
                <a:gd name="connsiteX15" fmla="*/ 60360 w 83886"/>
                <a:gd name="connsiteY15" fmla="*/ 25670 h 55197"/>
                <a:gd name="connsiteX16" fmla="*/ 59636 w 83886"/>
                <a:gd name="connsiteY16" fmla="*/ 26775 h 55197"/>
                <a:gd name="connsiteX17" fmla="*/ 59198 w 83886"/>
                <a:gd name="connsiteY17" fmla="*/ 28004 h 55197"/>
                <a:gd name="connsiteX18" fmla="*/ 59312 w 83886"/>
                <a:gd name="connsiteY18" fmla="*/ 29185 h 55197"/>
                <a:gd name="connsiteX19" fmla="*/ 61170 w 83886"/>
                <a:gd name="connsiteY19" fmla="*/ 31518 h 55197"/>
                <a:gd name="connsiteX20" fmla="*/ 61417 w 83886"/>
                <a:gd name="connsiteY20" fmla="*/ 34004 h 55197"/>
                <a:gd name="connsiteX21" fmla="*/ 61217 w 83886"/>
                <a:gd name="connsiteY21" fmla="*/ 37043 h 55197"/>
                <a:gd name="connsiteX22" fmla="*/ 60789 w 83886"/>
                <a:gd name="connsiteY22" fmla="*/ 38662 h 55197"/>
                <a:gd name="connsiteX23" fmla="*/ 60055 w 83886"/>
                <a:gd name="connsiteY23" fmla="*/ 39738 h 55197"/>
                <a:gd name="connsiteX24" fmla="*/ 55493 w 83886"/>
                <a:gd name="connsiteY24" fmla="*/ 41129 h 55197"/>
                <a:gd name="connsiteX25" fmla="*/ 50759 w 83886"/>
                <a:gd name="connsiteY25" fmla="*/ 43615 h 55197"/>
                <a:gd name="connsiteX26" fmla="*/ 50654 w 83886"/>
                <a:gd name="connsiteY26" fmla="*/ 44187 h 55197"/>
                <a:gd name="connsiteX27" fmla="*/ 52816 w 83886"/>
                <a:gd name="connsiteY27" fmla="*/ 46387 h 55197"/>
                <a:gd name="connsiteX28" fmla="*/ 52902 w 83886"/>
                <a:gd name="connsiteY28" fmla="*/ 46939 h 55197"/>
                <a:gd name="connsiteX29" fmla="*/ 51111 w 83886"/>
                <a:gd name="connsiteY29" fmla="*/ 48187 h 55197"/>
                <a:gd name="connsiteX30" fmla="*/ 50940 w 83886"/>
                <a:gd name="connsiteY30" fmla="*/ 49444 h 55197"/>
                <a:gd name="connsiteX31" fmla="*/ 51140 w 83886"/>
                <a:gd name="connsiteY31" fmla="*/ 50892 h 55197"/>
                <a:gd name="connsiteX32" fmla="*/ 52092 w 83886"/>
                <a:gd name="connsiteY32" fmla="*/ 52388 h 55197"/>
                <a:gd name="connsiteX33" fmla="*/ 52435 w 83886"/>
                <a:gd name="connsiteY33" fmla="*/ 53730 h 55197"/>
                <a:gd name="connsiteX34" fmla="*/ 49835 w 83886"/>
                <a:gd name="connsiteY34" fmla="*/ 54702 h 55197"/>
                <a:gd name="connsiteX35" fmla="*/ 46311 w 83886"/>
                <a:gd name="connsiteY35" fmla="*/ 54340 h 55197"/>
                <a:gd name="connsiteX36" fmla="*/ 42139 w 83886"/>
                <a:gd name="connsiteY36" fmla="*/ 52483 h 55197"/>
                <a:gd name="connsiteX37" fmla="*/ 40681 w 83886"/>
                <a:gd name="connsiteY37" fmla="*/ 52749 h 55197"/>
                <a:gd name="connsiteX38" fmla="*/ 39271 w 83886"/>
                <a:gd name="connsiteY38" fmla="*/ 53721 h 55197"/>
                <a:gd name="connsiteX39" fmla="*/ 37824 w 83886"/>
                <a:gd name="connsiteY39" fmla="*/ 53302 h 55197"/>
                <a:gd name="connsiteX40" fmla="*/ 36233 w 83886"/>
                <a:gd name="connsiteY40" fmla="*/ 52149 h 55197"/>
                <a:gd name="connsiteX41" fmla="*/ 33985 w 83886"/>
                <a:gd name="connsiteY41" fmla="*/ 49759 h 55197"/>
                <a:gd name="connsiteX42" fmla="*/ 32890 w 83886"/>
                <a:gd name="connsiteY42" fmla="*/ 48282 h 55197"/>
                <a:gd name="connsiteX43" fmla="*/ 32442 w 83886"/>
                <a:gd name="connsiteY43" fmla="*/ 46720 h 55197"/>
                <a:gd name="connsiteX44" fmla="*/ 31832 w 83886"/>
                <a:gd name="connsiteY44" fmla="*/ 46491 h 55197"/>
                <a:gd name="connsiteX45" fmla="*/ 30899 w 83886"/>
                <a:gd name="connsiteY45" fmla="*/ 46949 h 55197"/>
                <a:gd name="connsiteX46" fmla="*/ 30128 w 83886"/>
                <a:gd name="connsiteY46" fmla="*/ 48854 h 55197"/>
                <a:gd name="connsiteX47" fmla="*/ 28051 w 83886"/>
                <a:gd name="connsiteY47" fmla="*/ 52254 h 55197"/>
                <a:gd name="connsiteX48" fmla="*/ 26508 w 83886"/>
                <a:gd name="connsiteY48" fmla="*/ 53178 h 55197"/>
                <a:gd name="connsiteX49" fmla="*/ 24193 w 83886"/>
                <a:gd name="connsiteY49" fmla="*/ 52978 h 55197"/>
                <a:gd name="connsiteX50" fmla="*/ 20936 w 83886"/>
                <a:gd name="connsiteY50" fmla="*/ 53035 h 55197"/>
                <a:gd name="connsiteX51" fmla="*/ 18907 w 83886"/>
                <a:gd name="connsiteY51" fmla="*/ 53321 h 55197"/>
                <a:gd name="connsiteX52" fmla="*/ 16430 w 83886"/>
                <a:gd name="connsiteY52" fmla="*/ 52121 h 55197"/>
                <a:gd name="connsiteX53" fmla="*/ 15830 w 83886"/>
                <a:gd name="connsiteY53" fmla="*/ 52349 h 55197"/>
                <a:gd name="connsiteX54" fmla="*/ 15830 w 83886"/>
                <a:gd name="connsiteY54" fmla="*/ 53140 h 55197"/>
                <a:gd name="connsiteX55" fmla="*/ 14907 w 83886"/>
                <a:gd name="connsiteY55" fmla="*/ 54378 h 55197"/>
                <a:gd name="connsiteX56" fmla="*/ 13383 w 83886"/>
                <a:gd name="connsiteY56" fmla="*/ 55197 h 55197"/>
                <a:gd name="connsiteX57" fmla="*/ 6344 w 83886"/>
                <a:gd name="connsiteY57" fmla="*/ 53359 h 55197"/>
                <a:gd name="connsiteX58" fmla="*/ 5344 w 83886"/>
                <a:gd name="connsiteY58" fmla="*/ 51835 h 55197"/>
                <a:gd name="connsiteX59" fmla="*/ 6934 w 83886"/>
                <a:gd name="connsiteY59" fmla="*/ 51111 h 55197"/>
                <a:gd name="connsiteX60" fmla="*/ 9134 w 83886"/>
                <a:gd name="connsiteY60" fmla="*/ 49139 h 55197"/>
                <a:gd name="connsiteX61" fmla="*/ 10630 w 83886"/>
                <a:gd name="connsiteY61" fmla="*/ 49359 h 55197"/>
                <a:gd name="connsiteX62" fmla="*/ 12478 w 83886"/>
                <a:gd name="connsiteY62" fmla="*/ 48939 h 55197"/>
                <a:gd name="connsiteX63" fmla="*/ 13278 w 83886"/>
                <a:gd name="connsiteY63" fmla="*/ 48101 h 55197"/>
                <a:gd name="connsiteX64" fmla="*/ 12116 w 83886"/>
                <a:gd name="connsiteY64" fmla="*/ 45606 h 55197"/>
                <a:gd name="connsiteX65" fmla="*/ 9182 w 83886"/>
                <a:gd name="connsiteY65" fmla="*/ 42519 h 55197"/>
                <a:gd name="connsiteX66" fmla="*/ 7630 w 83886"/>
                <a:gd name="connsiteY66" fmla="*/ 41348 h 55197"/>
                <a:gd name="connsiteX67" fmla="*/ 5486 w 83886"/>
                <a:gd name="connsiteY67" fmla="*/ 40567 h 55197"/>
                <a:gd name="connsiteX68" fmla="*/ 5125 w 83886"/>
                <a:gd name="connsiteY68" fmla="*/ 39738 h 55197"/>
                <a:gd name="connsiteX69" fmla="*/ 6305 w 83886"/>
                <a:gd name="connsiteY69" fmla="*/ 34852 h 55197"/>
                <a:gd name="connsiteX70" fmla="*/ 5944 w 83886"/>
                <a:gd name="connsiteY70" fmla="*/ 34157 h 55197"/>
                <a:gd name="connsiteX71" fmla="*/ 3505 w 83886"/>
                <a:gd name="connsiteY71" fmla="*/ 34385 h 55197"/>
                <a:gd name="connsiteX72" fmla="*/ 2934 w 83886"/>
                <a:gd name="connsiteY72" fmla="*/ 33880 h 55197"/>
                <a:gd name="connsiteX73" fmla="*/ 2734 w 83886"/>
                <a:gd name="connsiteY73" fmla="*/ 33033 h 55197"/>
                <a:gd name="connsiteX74" fmla="*/ 2896 w 83886"/>
                <a:gd name="connsiteY74" fmla="*/ 31871 h 55197"/>
                <a:gd name="connsiteX75" fmla="*/ 4543 w 83886"/>
                <a:gd name="connsiteY75" fmla="*/ 29956 h 55197"/>
                <a:gd name="connsiteX76" fmla="*/ 6372 w 83886"/>
                <a:gd name="connsiteY76" fmla="*/ 28270 h 55197"/>
                <a:gd name="connsiteX77" fmla="*/ 6868 w 83886"/>
                <a:gd name="connsiteY77" fmla="*/ 27327 h 55197"/>
                <a:gd name="connsiteX78" fmla="*/ 6801 w 83886"/>
                <a:gd name="connsiteY78" fmla="*/ 26575 h 55197"/>
                <a:gd name="connsiteX79" fmla="*/ 4448 w 83886"/>
                <a:gd name="connsiteY79" fmla="*/ 25832 h 55197"/>
                <a:gd name="connsiteX80" fmla="*/ 3039 w 83886"/>
                <a:gd name="connsiteY80" fmla="*/ 25060 h 55197"/>
                <a:gd name="connsiteX81" fmla="*/ 1914 w 83886"/>
                <a:gd name="connsiteY81" fmla="*/ 24794 h 55197"/>
                <a:gd name="connsiteX82" fmla="*/ 1143 w 83886"/>
                <a:gd name="connsiteY82" fmla="*/ 25222 h 55197"/>
                <a:gd name="connsiteX83" fmla="*/ 581 w 83886"/>
                <a:gd name="connsiteY83" fmla="*/ 24736 h 55197"/>
                <a:gd name="connsiteX84" fmla="*/ 0 w 83886"/>
                <a:gd name="connsiteY84" fmla="*/ 23327 h 55197"/>
                <a:gd name="connsiteX85" fmla="*/ 571 w 83886"/>
                <a:gd name="connsiteY85" fmla="*/ 21164 h 55197"/>
                <a:gd name="connsiteX86" fmla="*/ 2686 w 83886"/>
                <a:gd name="connsiteY86" fmla="*/ 19174 h 55197"/>
                <a:gd name="connsiteX87" fmla="*/ 4953 w 83886"/>
                <a:gd name="connsiteY87" fmla="*/ 17402 h 55197"/>
                <a:gd name="connsiteX88" fmla="*/ 6925 w 83886"/>
                <a:gd name="connsiteY88" fmla="*/ 16107 h 55197"/>
                <a:gd name="connsiteX89" fmla="*/ 8058 w 83886"/>
                <a:gd name="connsiteY89" fmla="*/ 15554 h 55197"/>
                <a:gd name="connsiteX90" fmla="*/ 8601 w 83886"/>
                <a:gd name="connsiteY90" fmla="*/ 13325 h 55197"/>
                <a:gd name="connsiteX91" fmla="*/ 9782 w 83886"/>
                <a:gd name="connsiteY91" fmla="*/ 13563 h 55197"/>
                <a:gd name="connsiteX92" fmla="*/ 12116 w 83886"/>
                <a:gd name="connsiteY92" fmla="*/ 13678 h 55197"/>
                <a:gd name="connsiteX93" fmla="*/ 14726 w 83886"/>
                <a:gd name="connsiteY93" fmla="*/ 14183 h 55197"/>
                <a:gd name="connsiteX94" fmla="*/ 17145 w 83886"/>
                <a:gd name="connsiteY94" fmla="*/ 14811 h 55197"/>
                <a:gd name="connsiteX95" fmla="*/ 19288 w 83886"/>
                <a:gd name="connsiteY95" fmla="*/ 15592 h 55197"/>
                <a:gd name="connsiteX96" fmla="*/ 23765 w 83886"/>
                <a:gd name="connsiteY96" fmla="*/ 16411 h 55197"/>
                <a:gd name="connsiteX97" fmla="*/ 27851 w 83886"/>
                <a:gd name="connsiteY97" fmla="*/ 16907 h 55197"/>
                <a:gd name="connsiteX98" fmla="*/ 29080 w 83886"/>
                <a:gd name="connsiteY98" fmla="*/ 17364 h 55197"/>
                <a:gd name="connsiteX99" fmla="*/ 30080 w 83886"/>
                <a:gd name="connsiteY99" fmla="*/ 17326 h 55197"/>
                <a:gd name="connsiteX100" fmla="*/ 31328 w 83886"/>
                <a:gd name="connsiteY100" fmla="*/ 17993 h 55197"/>
                <a:gd name="connsiteX101" fmla="*/ 32052 w 83886"/>
                <a:gd name="connsiteY101" fmla="*/ 17478 h 55197"/>
                <a:gd name="connsiteX102" fmla="*/ 32585 w 83886"/>
                <a:gd name="connsiteY102" fmla="*/ 16593 h 55197"/>
                <a:gd name="connsiteX103" fmla="*/ 34804 w 83886"/>
                <a:gd name="connsiteY103" fmla="*/ 15526 h 55197"/>
                <a:gd name="connsiteX104" fmla="*/ 36852 w 83886"/>
                <a:gd name="connsiteY104" fmla="*/ 14144 h 55197"/>
                <a:gd name="connsiteX105" fmla="*/ 38291 w 83886"/>
                <a:gd name="connsiteY105" fmla="*/ 12392 h 55197"/>
                <a:gd name="connsiteX106" fmla="*/ 39100 w 83886"/>
                <a:gd name="connsiteY106" fmla="*/ 11001 h 55197"/>
                <a:gd name="connsiteX107" fmla="*/ 40510 w 83886"/>
                <a:gd name="connsiteY107" fmla="*/ 10011 h 55197"/>
                <a:gd name="connsiteX108" fmla="*/ 42006 w 83886"/>
                <a:gd name="connsiteY108" fmla="*/ 9725 h 55197"/>
                <a:gd name="connsiteX109" fmla="*/ 43377 w 83886"/>
                <a:gd name="connsiteY109" fmla="*/ 9230 h 55197"/>
                <a:gd name="connsiteX110" fmla="*/ 49159 w 83886"/>
                <a:gd name="connsiteY110" fmla="*/ 8572 h 55197"/>
                <a:gd name="connsiteX111" fmla="*/ 55102 w 83886"/>
                <a:gd name="connsiteY111" fmla="*/ 9096 h 55197"/>
                <a:gd name="connsiteX112" fmla="*/ 57931 w 83886"/>
                <a:gd name="connsiteY112" fmla="*/ 8115 h 55197"/>
                <a:gd name="connsiteX113" fmla="*/ 60265 w 83886"/>
                <a:gd name="connsiteY113" fmla="*/ 6420 h 55197"/>
                <a:gd name="connsiteX114" fmla="*/ 63684 w 83886"/>
                <a:gd name="connsiteY114" fmla="*/ 5944 h 55197"/>
                <a:gd name="connsiteX115" fmla="*/ 63855 w 83886"/>
                <a:gd name="connsiteY115" fmla="*/ 5915 h 55197"/>
                <a:gd name="connsiteX116" fmla="*/ 68952 w 83886"/>
                <a:gd name="connsiteY116" fmla="*/ 7230 h 55197"/>
                <a:gd name="connsiteX117" fmla="*/ 69342 w 83886"/>
                <a:gd name="connsiteY117" fmla="*/ 6467 h 55197"/>
                <a:gd name="connsiteX118" fmla="*/ 69561 w 83886"/>
                <a:gd name="connsiteY118" fmla="*/ 6125 h 55197"/>
                <a:gd name="connsiteX119" fmla="*/ 69466 w 83886"/>
                <a:gd name="connsiteY119" fmla="*/ 2419 h 55197"/>
                <a:gd name="connsiteX120" fmla="*/ 71085 w 83886"/>
                <a:gd name="connsiteY120" fmla="*/ 724 h 55197"/>
                <a:gd name="connsiteX121" fmla="*/ 72571 w 83886"/>
                <a:gd name="connsiteY121" fmla="*/ 0 h 55197"/>
                <a:gd name="connsiteX122" fmla="*/ 77667 w 83886"/>
                <a:gd name="connsiteY122" fmla="*/ 238 h 55197"/>
                <a:gd name="connsiteX123" fmla="*/ 78334 w 83886"/>
                <a:gd name="connsiteY123" fmla="*/ 1381 h 55197"/>
                <a:gd name="connsiteX124" fmla="*/ 78600 w 83886"/>
                <a:gd name="connsiteY124" fmla="*/ 3153 h 55197"/>
                <a:gd name="connsiteX125" fmla="*/ 79057 w 83886"/>
                <a:gd name="connsiteY125" fmla="*/ 5524 h 55197"/>
                <a:gd name="connsiteX126" fmla="*/ 79905 w 83886"/>
                <a:gd name="connsiteY126" fmla="*/ 6172 h 55197"/>
                <a:gd name="connsiteX127" fmla="*/ 80372 w 83886"/>
                <a:gd name="connsiteY127" fmla="*/ 7106 h 55197"/>
                <a:gd name="connsiteX128" fmla="*/ 80276 w 83886"/>
                <a:gd name="connsiteY128" fmla="*/ 8744 h 55197"/>
                <a:gd name="connsiteX129" fmla="*/ 81277 w 83886"/>
                <a:gd name="connsiteY129" fmla="*/ 9963 h 55197"/>
                <a:gd name="connsiteX130" fmla="*/ 83601 w 83886"/>
                <a:gd name="connsiteY130" fmla="*/ 13259 h 55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83886" h="55197">
                  <a:moveTo>
                    <a:pt x="83887" y="14116"/>
                  </a:moveTo>
                  <a:lnTo>
                    <a:pt x="81525" y="13173"/>
                  </a:lnTo>
                  <a:lnTo>
                    <a:pt x="78677" y="12773"/>
                  </a:lnTo>
                  <a:lnTo>
                    <a:pt x="78143" y="13287"/>
                  </a:lnTo>
                  <a:lnTo>
                    <a:pt x="77000" y="13811"/>
                  </a:lnTo>
                  <a:lnTo>
                    <a:pt x="76419" y="14745"/>
                  </a:lnTo>
                  <a:lnTo>
                    <a:pt x="76858" y="18402"/>
                  </a:lnTo>
                  <a:lnTo>
                    <a:pt x="76172" y="19031"/>
                  </a:lnTo>
                  <a:lnTo>
                    <a:pt x="72933" y="18669"/>
                  </a:lnTo>
                  <a:lnTo>
                    <a:pt x="71866" y="19088"/>
                  </a:lnTo>
                  <a:lnTo>
                    <a:pt x="70104" y="21631"/>
                  </a:lnTo>
                  <a:lnTo>
                    <a:pt x="68304" y="22708"/>
                  </a:lnTo>
                  <a:lnTo>
                    <a:pt x="66018" y="23469"/>
                  </a:lnTo>
                  <a:lnTo>
                    <a:pt x="64322" y="24384"/>
                  </a:lnTo>
                  <a:lnTo>
                    <a:pt x="62179" y="25184"/>
                  </a:lnTo>
                  <a:lnTo>
                    <a:pt x="60360" y="25670"/>
                  </a:lnTo>
                  <a:lnTo>
                    <a:pt x="59636" y="26775"/>
                  </a:lnTo>
                  <a:lnTo>
                    <a:pt x="59198" y="28004"/>
                  </a:lnTo>
                  <a:lnTo>
                    <a:pt x="59312" y="29185"/>
                  </a:lnTo>
                  <a:lnTo>
                    <a:pt x="61170" y="31518"/>
                  </a:lnTo>
                  <a:lnTo>
                    <a:pt x="61417" y="34004"/>
                  </a:lnTo>
                  <a:lnTo>
                    <a:pt x="61217" y="37043"/>
                  </a:lnTo>
                  <a:lnTo>
                    <a:pt x="60789" y="38662"/>
                  </a:lnTo>
                  <a:lnTo>
                    <a:pt x="60055" y="39738"/>
                  </a:lnTo>
                  <a:lnTo>
                    <a:pt x="55493" y="41129"/>
                  </a:lnTo>
                  <a:lnTo>
                    <a:pt x="50759" y="43615"/>
                  </a:lnTo>
                  <a:lnTo>
                    <a:pt x="50654" y="44187"/>
                  </a:lnTo>
                  <a:lnTo>
                    <a:pt x="52816" y="46387"/>
                  </a:lnTo>
                  <a:lnTo>
                    <a:pt x="52902" y="46939"/>
                  </a:lnTo>
                  <a:lnTo>
                    <a:pt x="51111" y="48187"/>
                  </a:lnTo>
                  <a:lnTo>
                    <a:pt x="50940" y="49444"/>
                  </a:lnTo>
                  <a:lnTo>
                    <a:pt x="51140" y="50892"/>
                  </a:lnTo>
                  <a:lnTo>
                    <a:pt x="52092" y="52388"/>
                  </a:lnTo>
                  <a:lnTo>
                    <a:pt x="52435" y="53730"/>
                  </a:lnTo>
                  <a:lnTo>
                    <a:pt x="49835" y="54702"/>
                  </a:lnTo>
                  <a:lnTo>
                    <a:pt x="46311" y="54340"/>
                  </a:lnTo>
                  <a:lnTo>
                    <a:pt x="42139" y="52483"/>
                  </a:lnTo>
                  <a:lnTo>
                    <a:pt x="40681" y="52749"/>
                  </a:lnTo>
                  <a:lnTo>
                    <a:pt x="39271" y="53721"/>
                  </a:lnTo>
                  <a:lnTo>
                    <a:pt x="37824" y="53302"/>
                  </a:lnTo>
                  <a:lnTo>
                    <a:pt x="36233" y="52149"/>
                  </a:lnTo>
                  <a:lnTo>
                    <a:pt x="33985" y="49759"/>
                  </a:lnTo>
                  <a:lnTo>
                    <a:pt x="32890" y="48282"/>
                  </a:lnTo>
                  <a:lnTo>
                    <a:pt x="32442" y="46720"/>
                  </a:lnTo>
                  <a:lnTo>
                    <a:pt x="31832" y="46491"/>
                  </a:lnTo>
                  <a:lnTo>
                    <a:pt x="30899" y="46949"/>
                  </a:lnTo>
                  <a:lnTo>
                    <a:pt x="30128" y="48854"/>
                  </a:lnTo>
                  <a:lnTo>
                    <a:pt x="28051" y="52254"/>
                  </a:lnTo>
                  <a:lnTo>
                    <a:pt x="26508" y="53178"/>
                  </a:lnTo>
                  <a:lnTo>
                    <a:pt x="24193" y="52978"/>
                  </a:lnTo>
                  <a:lnTo>
                    <a:pt x="20936" y="53035"/>
                  </a:lnTo>
                  <a:lnTo>
                    <a:pt x="18907" y="53321"/>
                  </a:lnTo>
                  <a:lnTo>
                    <a:pt x="16430" y="52121"/>
                  </a:lnTo>
                  <a:lnTo>
                    <a:pt x="15830" y="52349"/>
                  </a:lnTo>
                  <a:lnTo>
                    <a:pt x="15830" y="53140"/>
                  </a:lnTo>
                  <a:lnTo>
                    <a:pt x="14907" y="54378"/>
                  </a:lnTo>
                  <a:lnTo>
                    <a:pt x="13383" y="55197"/>
                  </a:lnTo>
                  <a:lnTo>
                    <a:pt x="6344" y="53359"/>
                  </a:lnTo>
                  <a:lnTo>
                    <a:pt x="5344" y="51835"/>
                  </a:lnTo>
                  <a:lnTo>
                    <a:pt x="6934" y="51111"/>
                  </a:lnTo>
                  <a:lnTo>
                    <a:pt x="9134" y="49139"/>
                  </a:lnTo>
                  <a:lnTo>
                    <a:pt x="10630" y="49359"/>
                  </a:lnTo>
                  <a:lnTo>
                    <a:pt x="12478" y="48939"/>
                  </a:lnTo>
                  <a:lnTo>
                    <a:pt x="13278" y="48101"/>
                  </a:lnTo>
                  <a:lnTo>
                    <a:pt x="12116" y="45606"/>
                  </a:lnTo>
                  <a:lnTo>
                    <a:pt x="9182" y="42519"/>
                  </a:lnTo>
                  <a:lnTo>
                    <a:pt x="7630" y="41348"/>
                  </a:lnTo>
                  <a:lnTo>
                    <a:pt x="5486" y="40567"/>
                  </a:lnTo>
                  <a:lnTo>
                    <a:pt x="5125" y="39738"/>
                  </a:lnTo>
                  <a:lnTo>
                    <a:pt x="6305" y="34852"/>
                  </a:lnTo>
                  <a:lnTo>
                    <a:pt x="5944" y="34157"/>
                  </a:lnTo>
                  <a:lnTo>
                    <a:pt x="3505" y="34385"/>
                  </a:lnTo>
                  <a:lnTo>
                    <a:pt x="2934" y="33880"/>
                  </a:lnTo>
                  <a:lnTo>
                    <a:pt x="2734" y="33033"/>
                  </a:lnTo>
                  <a:lnTo>
                    <a:pt x="2896" y="31871"/>
                  </a:lnTo>
                  <a:lnTo>
                    <a:pt x="4543" y="29956"/>
                  </a:lnTo>
                  <a:lnTo>
                    <a:pt x="6372" y="28270"/>
                  </a:lnTo>
                  <a:lnTo>
                    <a:pt x="6868" y="27327"/>
                  </a:lnTo>
                  <a:lnTo>
                    <a:pt x="6801" y="26575"/>
                  </a:lnTo>
                  <a:lnTo>
                    <a:pt x="4448" y="25832"/>
                  </a:lnTo>
                  <a:lnTo>
                    <a:pt x="3039" y="25060"/>
                  </a:lnTo>
                  <a:lnTo>
                    <a:pt x="1914" y="24794"/>
                  </a:lnTo>
                  <a:lnTo>
                    <a:pt x="1143" y="25222"/>
                  </a:lnTo>
                  <a:lnTo>
                    <a:pt x="581" y="24736"/>
                  </a:lnTo>
                  <a:lnTo>
                    <a:pt x="0" y="23327"/>
                  </a:lnTo>
                  <a:lnTo>
                    <a:pt x="571" y="21164"/>
                  </a:lnTo>
                  <a:lnTo>
                    <a:pt x="2686" y="19174"/>
                  </a:lnTo>
                  <a:lnTo>
                    <a:pt x="4953" y="17402"/>
                  </a:lnTo>
                  <a:lnTo>
                    <a:pt x="6925" y="16107"/>
                  </a:lnTo>
                  <a:lnTo>
                    <a:pt x="8058" y="15554"/>
                  </a:lnTo>
                  <a:lnTo>
                    <a:pt x="8601" y="13325"/>
                  </a:lnTo>
                  <a:lnTo>
                    <a:pt x="9782" y="13563"/>
                  </a:lnTo>
                  <a:lnTo>
                    <a:pt x="12116" y="13678"/>
                  </a:lnTo>
                  <a:lnTo>
                    <a:pt x="14726" y="14183"/>
                  </a:lnTo>
                  <a:lnTo>
                    <a:pt x="17145" y="14811"/>
                  </a:lnTo>
                  <a:lnTo>
                    <a:pt x="19288" y="15592"/>
                  </a:lnTo>
                  <a:lnTo>
                    <a:pt x="23765" y="16411"/>
                  </a:lnTo>
                  <a:lnTo>
                    <a:pt x="27851" y="16907"/>
                  </a:lnTo>
                  <a:lnTo>
                    <a:pt x="29080" y="17364"/>
                  </a:lnTo>
                  <a:lnTo>
                    <a:pt x="30080" y="17326"/>
                  </a:lnTo>
                  <a:lnTo>
                    <a:pt x="31328" y="17993"/>
                  </a:lnTo>
                  <a:lnTo>
                    <a:pt x="32052" y="17478"/>
                  </a:lnTo>
                  <a:lnTo>
                    <a:pt x="32585" y="16593"/>
                  </a:lnTo>
                  <a:lnTo>
                    <a:pt x="34804" y="15526"/>
                  </a:lnTo>
                  <a:lnTo>
                    <a:pt x="36852" y="14144"/>
                  </a:lnTo>
                  <a:lnTo>
                    <a:pt x="38291" y="12392"/>
                  </a:lnTo>
                  <a:lnTo>
                    <a:pt x="39100" y="11001"/>
                  </a:lnTo>
                  <a:lnTo>
                    <a:pt x="40510" y="10011"/>
                  </a:lnTo>
                  <a:lnTo>
                    <a:pt x="42006" y="9725"/>
                  </a:lnTo>
                  <a:lnTo>
                    <a:pt x="43377" y="9230"/>
                  </a:lnTo>
                  <a:lnTo>
                    <a:pt x="49159" y="8572"/>
                  </a:lnTo>
                  <a:lnTo>
                    <a:pt x="55102" y="9096"/>
                  </a:lnTo>
                  <a:lnTo>
                    <a:pt x="57931" y="8115"/>
                  </a:lnTo>
                  <a:lnTo>
                    <a:pt x="60265" y="6420"/>
                  </a:lnTo>
                  <a:lnTo>
                    <a:pt x="63684" y="5944"/>
                  </a:lnTo>
                  <a:lnTo>
                    <a:pt x="63855" y="5915"/>
                  </a:lnTo>
                  <a:lnTo>
                    <a:pt x="68952" y="7230"/>
                  </a:lnTo>
                  <a:lnTo>
                    <a:pt x="69342" y="6467"/>
                  </a:lnTo>
                  <a:lnTo>
                    <a:pt x="69561" y="6125"/>
                  </a:lnTo>
                  <a:lnTo>
                    <a:pt x="69466" y="2419"/>
                  </a:lnTo>
                  <a:lnTo>
                    <a:pt x="71085" y="724"/>
                  </a:lnTo>
                  <a:lnTo>
                    <a:pt x="72571" y="0"/>
                  </a:lnTo>
                  <a:lnTo>
                    <a:pt x="77667" y="238"/>
                  </a:lnTo>
                  <a:lnTo>
                    <a:pt x="78334" y="1381"/>
                  </a:lnTo>
                  <a:lnTo>
                    <a:pt x="78600" y="3153"/>
                  </a:lnTo>
                  <a:lnTo>
                    <a:pt x="79057" y="5524"/>
                  </a:lnTo>
                  <a:lnTo>
                    <a:pt x="79905" y="6172"/>
                  </a:lnTo>
                  <a:lnTo>
                    <a:pt x="80372" y="7106"/>
                  </a:lnTo>
                  <a:lnTo>
                    <a:pt x="80276" y="8744"/>
                  </a:lnTo>
                  <a:lnTo>
                    <a:pt x="81277" y="9963"/>
                  </a:lnTo>
                  <a:lnTo>
                    <a:pt x="83601" y="13259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4" name="Forme libre : forme 50">
              <a:extLst>
                <a:ext uri="{FF2B5EF4-FFF2-40B4-BE49-F238E27FC236}">
                  <a16:creationId xmlns:a16="http://schemas.microsoft.com/office/drawing/2014/main" id="{6AA45C53-6D79-5E42-7D4F-CB37A13832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546831" y="4221739"/>
              <a:ext cx="525456" cy="256458"/>
            </a:xfrm>
            <a:custGeom>
              <a:avLst/>
              <a:gdLst>
                <a:gd name="connsiteX0" fmla="*/ 151733 w 151733"/>
                <a:gd name="connsiteY0" fmla="*/ 21479 h 74056"/>
                <a:gd name="connsiteX1" fmla="*/ 151343 w 151733"/>
                <a:gd name="connsiteY1" fmla="*/ 23155 h 74056"/>
                <a:gd name="connsiteX2" fmla="*/ 150247 w 151733"/>
                <a:gd name="connsiteY2" fmla="*/ 25108 h 74056"/>
                <a:gd name="connsiteX3" fmla="*/ 148886 w 151733"/>
                <a:gd name="connsiteY3" fmla="*/ 27127 h 74056"/>
                <a:gd name="connsiteX4" fmla="*/ 147742 w 151733"/>
                <a:gd name="connsiteY4" fmla="*/ 29566 h 74056"/>
                <a:gd name="connsiteX5" fmla="*/ 146218 w 151733"/>
                <a:gd name="connsiteY5" fmla="*/ 34757 h 74056"/>
                <a:gd name="connsiteX6" fmla="*/ 145228 w 151733"/>
                <a:gd name="connsiteY6" fmla="*/ 37157 h 74056"/>
                <a:gd name="connsiteX7" fmla="*/ 141151 w 151733"/>
                <a:gd name="connsiteY7" fmla="*/ 41881 h 74056"/>
                <a:gd name="connsiteX8" fmla="*/ 140865 w 151733"/>
                <a:gd name="connsiteY8" fmla="*/ 48444 h 74056"/>
                <a:gd name="connsiteX9" fmla="*/ 140313 w 151733"/>
                <a:gd name="connsiteY9" fmla="*/ 48921 h 74056"/>
                <a:gd name="connsiteX10" fmla="*/ 131102 w 151733"/>
                <a:gd name="connsiteY10" fmla="*/ 51140 h 74056"/>
                <a:gd name="connsiteX11" fmla="*/ 129893 w 151733"/>
                <a:gd name="connsiteY11" fmla="*/ 50806 h 74056"/>
                <a:gd name="connsiteX12" fmla="*/ 128635 w 151733"/>
                <a:gd name="connsiteY12" fmla="*/ 49530 h 74056"/>
                <a:gd name="connsiteX13" fmla="*/ 127940 w 151733"/>
                <a:gd name="connsiteY13" fmla="*/ 48597 h 74056"/>
                <a:gd name="connsiteX14" fmla="*/ 127511 w 151733"/>
                <a:gd name="connsiteY14" fmla="*/ 47920 h 74056"/>
                <a:gd name="connsiteX15" fmla="*/ 126711 w 151733"/>
                <a:gd name="connsiteY15" fmla="*/ 46101 h 74056"/>
                <a:gd name="connsiteX16" fmla="*/ 125654 w 151733"/>
                <a:gd name="connsiteY16" fmla="*/ 44815 h 74056"/>
                <a:gd name="connsiteX17" fmla="*/ 124092 w 151733"/>
                <a:gd name="connsiteY17" fmla="*/ 43758 h 74056"/>
                <a:gd name="connsiteX18" fmla="*/ 122663 w 151733"/>
                <a:gd name="connsiteY18" fmla="*/ 42539 h 74056"/>
                <a:gd name="connsiteX19" fmla="*/ 120825 w 151733"/>
                <a:gd name="connsiteY19" fmla="*/ 42491 h 74056"/>
                <a:gd name="connsiteX20" fmla="*/ 115853 w 151733"/>
                <a:gd name="connsiteY20" fmla="*/ 44215 h 74056"/>
                <a:gd name="connsiteX21" fmla="*/ 112405 w 151733"/>
                <a:gd name="connsiteY21" fmla="*/ 44406 h 74056"/>
                <a:gd name="connsiteX22" fmla="*/ 110100 w 151733"/>
                <a:gd name="connsiteY22" fmla="*/ 43853 h 74056"/>
                <a:gd name="connsiteX23" fmla="*/ 107032 w 151733"/>
                <a:gd name="connsiteY23" fmla="*/ 42806 h 74056"/>
                <a:gd name="connsiteX24" fmla="*/ 101060 w 151733"/>
                <a:gd name="connsiteY24" fmla="*/ 42644 h 74056"/>
                <a:gd name="connsiteX25" fmla="*/ 96974 w 151733"/>
                <a:gd name="connsiteY25" fmla="*/ 43558 h 74056"/>
                <a:gd name="connsiteX26" fmla="*/ 96564 w 151733"/>
                <a:gd name="connsiteY26" fmla="*/ 44844 h 74056"/>
                <a:gd name="connsiteX27" fmla="*/ 92793 w 151733"/>
                <a:gd name="connsiteY27" fmla="*/ 52845 h 74056"/>
                <a:gd name="connsiteX28" fmla="*/ 87306 w 151733"/>
                <a:gd name="connsiteY28" fmla="*/ 55797 h 74056"/>
                <a:gd name="connsiteX29" fmla="*/ 82544 w 151733"/>
                <a:gd name="connsiteY29" fmla="*/ 58807 h 74056"/>
                <a:gd name="connsiteX30" fmla="*/ 81162 w 151733"/>
                <a:gd name="connsiteY30" fmla="*/ 59417 h 74056"/>
                <a:gd name="connsiteX31" fmla="*/ 78791 w 151733"/>
                <a:gd name="connsiteY31" fmla="*/ 58464 h 74056"/>
                <a:gd name="connsiteX32" fmla="*/ 76095 w 151733"/>
                <a:gd name="connsiteY32" fmla="*/ 56683 h 74056"/>
                <a:gd name="connsiteX33" fmla="*/ 73857 w 151733"/>
                <a:gd name="connsiteY33" fmla="*/ 55750 h 74056"/>
                <a:gd name="connsiteX34" fmla="*/ 72219 w 151733"/>
                <a:gd name="connsiteY34" fmla="*/ 56159 h 74056"/>
                <a:gd name="connsiteX35" fmla="*/ 70438 w 151733"/>
                <a:gd name="connsiteY35" fmla="*/ 58188 h 74056"/>
                <a:gd name="connsiteX36" fmla="*/ 69618 w 151733"/>
                <a:gd name="connsiteY36" fmla="*/ 60236 h 74056"/>
                <a:gd name="connsiteX37" fmla="*/ 64227 w 151733"/>
                <a:gd name="connsiteY37" fmla="*/ 61741 h 74056"/>
                <a:gd name="connsiteX38" fmla="*/ 54845 w 151733"/>
                <a:gd name="connsiteY38" fmla="*/ 62627 h 74056"/>
                <a:gd name="connsiteX39" fmla="*/ 51568 w 151733"/>
                <a:gd name="connsiteY39" fmla="*/ 64646 h 74056"/>
                <a:gd name="connsiteX40" fmla="*/ 50454 w 151733"/>
                <a:gd name="connsiteY40" fmla="*/ 67066 h 74056"/>
                <a:gd name="connsiteX41" fmla="*/ 50406 w 151733"/>
                <a:gd name="connsiteY41" fmla="*/ 68923 h 74056"/>
                <a:gd name="connsiteX42" fmla="*/ 51207 w 151733"/>
                <a:gd name="connsiteY42" fmla="*/ 70504 h 74056"/>
                <a:gd name="connsiteX43" fmla="*/ 50206 w 151733"/>
                <a:gd name="connsiteY43" fmla="*/ 72342 h 74056"/>
                <a:gd name="connsiteX44" fmla="*/ 49768 w 151733"/>
                <a:gd name="connsiteY44" fmla="*/ 73114 h 74056"/>
                <a:gd name="connsiteX45" fmla="*/ 43139 w 151733"/>
                <a:gd name="connsiteY45" fmla="*/ 73514 h 74056"/>
                <a:gd name="connsiteX46" fmla="*/ 34300 w 151733"/>
                <a:gd name="connsiteY46" fmla="*/ 74057 h 74056"/>
                <a:gd name="connsiteX47" fmla="*/ 29013 w 151733"/>
                <a:gd name="connsiteY47" fmla="*/ 73914 h 74056"/>
                <a:gd name="connsiteX48" fmla="*/ 24041 w 151733"/>
                <a:gd name="connsiteY48" fmla="*/ 73790 h 74056"/>
                <a:gd name="connsiteX49" fmla="*/ 20660 w 151733"/>
                <a:gd name="connsiteY49" fmla="*/ 72209 h 74056"/>
                <a:gd name="connsiteX50" fmla="*/ 16526 w 151733"/>
                <a:gd name="connsiteY50" fmla="*/ 69123 h 74056"/>
                <a:gd name="connsiteX51" fmla="*/ 12154 w 151733"/>
                <a:gd name="connsiteY51" fmla="*/ 65018 h 74056"/>
                <a:gd name="connsiteX52" fmla="*/ 11735 w 151733"/>
                <a:gd name="connsiteY52" fmla="*/ 64922 h 74056"/>
                <a:gd name="connsiteX53" fmla="*/ 11087 w 151733"/>
                <a:gd name="connsiteY53" fmla="*/ 64484 h 74056"/>
                <a:gd name="connsiteX54" fmla="*/ 8344 w 151733"/>
                <a:gd name="connsiteY54" fmla="*/ 64170 h 74056"/>
                <a:gd name="connsiteX55" fmla="*/ 7611 w 151733"/>
                <a:gd name="connsiteY55" fmla="*/ 64418 h 74056"/>
                <a:gd name="connsiteX56" fmla="*/ 5972 w 151733"/>
                <a:gd name="connsiteY56" fmla="*/ 63075 h 74056"/>
                <a:gd name="connsiteX57" fmla="*/ 5496 w 151733"/>
                <a:gd name="connsiteY57" fmla="*/ 61331 h 74056"/>
                <a:gd name="connsiteX58" fmla="*/ 2943 w 151733"/>
                <a:gd name="connsiteY58" fmla="*/ 56750 h 74056"/>
                <a:gd name="connsiteX59" fmla="*/ 76 w 151733"/>
                <a:gd name="connsiteY59" fmla="*/ 49187 h 74056"/>
                <a:gd name="connsiteX60" fmla="*/ 0 w 151733"/>
                <a:gd name="connsiteY60" fmla="*/ 46997 h 74056"/>
                <a:gd name="connsiteX61" fmla="*/ 1124 w 151733"/>
                <a:gd name="connsiteY61" fmla="*/ 44501 h 74056"/>
                <a:gd name="connsiteX62" fmla="*/ 2162 w 151733"/>
                <a:gd name="connsiteY62" fmla="*/ 42586 h 74056"/>
                <a:gd name="connsiteX63" fmla="*/ 2315 w 151733"/>
                <a:gd name="connsiteY63" fmla="*/ 41072 h 74056"/>
                <a:gd name="connsiteX64" fmla="*/ 2420 w 151733"/>
                <a:gd name="connsiteY64" fmla="*/ 40662 h 74056"/>
                <a:gd name="connsiteX65" fmla="*/ 3286 w 151733"/>
                <a:gd name="connsiteY65" fmla="*/ 37510 h 74056"/>
                <a:gd name="connsiteX66" fmla="*/ 5362 w 151733"/>
                <a:gd name="connsiteY66" fmla="*/ 33319 h 74056"/>
                <a:gd name="connsiteX67" fmla="*/ 7306 w 151733"/>
                <a:gd name="connsiteY67" fmla="*/ 30880 h 74056"/>
                <a:gd name="connsiteX68" fmla="*/ 8706 w 151733"/>
                <a:gd name="connsiteY68" fmla="*/ 30071 h 74056"/>
                <a:gd name="connsiteX69" fmla="*/ 11611 w 151733"/>
                <a:gd name="connsiteY69" fmla="*/ 30804 h 74056"/>
                <a:gd name="connsiteX70" fmla="*/ 16573 w 151733"/>
                <a:gd name="connsiteY70" fmla="*/ 31413 h 74056"/>
                <a:gd name="connsiteX71" fmla="*/ 20393 w 151733"/>
                <a:gd name="connsiteY71" fmla="*/ 30842 h 74056"/>
                <a:gd name="connsiteX72" fmla="*/ 23956 w 151733"/>
                <a:gd name="connsiteY72" fmla="*/ 28966 h 74056"/>
                <a:gd name="connsiteX73" fmla="*/ 25889 w 151733"/>
                <a:gd name="connsiteY73" fmla="*/ 27327 h 74056"/>
                <a:gd name="connsiteX74" fmla="*/ 27537 w 151733"/>
                <a:gd name="connsiteY74" fmla="*/ 25603 h 74056"/>
                <a:gd name="connsiteX75" fmla="*/ 28090 w 151733"/>
                <a:gd name="connsiteY75" fmla="*/ 24479 h 74056"/>
                <a:gd name="connsiteX76" fmla="*/ 28823 w 151733"/>
                <a:gd name="connsiteY76" fmla="*/ 23946 h 74056"/>
                <a:gd name="connsiteX77" fmla="*/ 31766 w 151733"/>
                <a:gd name="connsiteY77" fmla="*/ 22946 h 74056"/>
                <a:gd name="connsiteX78" fmla="*/ 32709 w 151733"/>
                <a:gd name="connsiteY78" fmla="*/ 21784 h 74056"/>
                <a:gd name="connsiteX79" fmla="*/ 33090 w 151733"/>
                <a:gd name="connsiteY79" fmla="*/ 19574 h 74056"/>
                <a:gd name="connsiteX80" fmla="*/ 33347 w 151733"/>
                <a:gd name="connsiteY80" fmla="*/ 17116 h 74056"/>
                <a:gd name="connsiteX81" fmla="*/ 33947 w 151733"/>
                <a:gd name="connsiteY81" fmla="*/ 15288 h 74056"/>
                <a:gd name="connsiteX82" fmla="*/ 34710 w 151733"/>
                <a:gd name="connsiteY82" fmla="*/ 13945 h 74056"/>
                <a:gd name="connsiteX83" fmla="*/ 40157 w 151733"/>
                <a:gd name="connsiteY83" fmla="*/ 10725 h 74056"/>
                <a:gd name="connsiteX84" fmla="*/ 40653 w 151733"/>
                <a:gd name="connsiteY84" fmla="*/ 9582 h 74056"/>
                <a:gd name="connsiteX85" fmla="*/ 41520 w 151733"/>
                <a:gd name="connsiteY85" fmla="*/ 8487 h 74056"/>
                <a:gd name="connsiteX86" fmla="*/ 43139 w 151733"/>
                <a:gd name="connsiteY86" fmla="*/ 7249 h 74056"/>
                <a:gd name="connsiteX87" fmla="*/ 44701 w 151733"/>
                <a:gd name="connsiteY87" fmla="*/ 5458 h 74056"/>
                <a:gd name="connsiteX88" fmla="*/ 46358 w 151733"/>
                <a:gd name="connsiteY88" fmla="*/ 4363 h 74056"/>
                <a:gd name="connsiteX89" fmla="*/ 48483 w 151733"/>
                <a:gd name="connsiteY89" fmla="*/ 4486 h 74056"/>
                <a:gd name="connsiteX90" fmla="*/ 50445 w 151733"/>
                <a:gd name="connsiteY90" fmla="*/ 4258 h 74056"/>
                <a:gd name="connsiteX91" fmla="*/ 51978 w 151733"/>
                <a:gd name="connsiteY91" fmla="*/ 3629 h 74056"/>
                <a:gd name="connsiteX92" fmla="*/ 52654 w 151733"/>
                <a:gd name="connsiteY92" fmla="*/ 3572 h 74056"/>
                <a:gd name="connsiteX93" fmla="*/ 55483 w 151733"/>
                <a:gd name="connsiteY93" fmla="*/ 4077 h 74056"/>
                <a:gd name="connsiteX94" fmla="*/ 55998 w 151733"/>
                <a:gd name="connsiteY94" fmla="*/ 6134 h 74056"/>
                <a:gd name="connsiteX95" fmla="*/ 56293 w 151733"/>
                <a:gd name="connsiteY95" fmla="*/ 8268 h 74056"/>
                <a:gd name="connsiteX96" fmla="*/ 61132 w 151733"/>
                <a:gd name="connsiteY96" fmla="*/ 8115 h 74056"/>
                <a:gd name="connsiteX97" fmla="*/ 63827 w 151733"/>
                <a:gd name="connsiteY97" fmla="*/ 3543 h 74056"/>
                <a:gd name="connsiteX98" fmla="*/ 65227 w 151733"/>
                <a:gd name="connsiteY98" fmla="*/ 2991 h 74056"/>
                <a:gd name="connsiteX99" fmla="*/ 67466 w 151733"/>
                <a:gd name="connsiteY99" fmla="*/ 1400 h 74056"/>
                <a:gd name="connsiteX100" fmla="*/ 68942 w 151733"/>
                <a:gd name="connsiteY100" fmla="*/ 0 h 74056"/>
                <a:gd name="connsiteX101" fmla="*/ 69961 w 151733"/>
                <a:gd name="connsiteY101" fmla="*/ 867 h 74056"/>
                <a:gd name="connsiteX102" fmla="*/ 71428 w 151733"/>
                <a:gd name="connsiteY102" fmla="*/ 3820 h 74056"/>
                <a:gd name="connsiteX103" fmla="*/ 72990 w 151733"/>
                <a:gd name="connsiteY103" fmla="*/ 6182 h 74056"/>
                <a:gd name="connsiteX104" fmla="*/ 73895 w 151733"/>
                <a:gd name="connsiteY104" fmla="*/ 7115 h 74056"/>
                <a:gd name="connsiteX105" fmla="*/ 73990 w 151733"/>
                <a:gd name="connsiteY105" fmla="*/ 7839 h 74056"/>
                <a:gd name="connsiteX106" fmla="*/ 74895 w 151733"/>
                <a:gd name="connsiteY106" fmla="*/ 8277 h 74056"/>
                <a:gd name="connsiteX107" fmla="*/ 76658 w 151733"/>
                <a:gd name="connsiteY107" fmla="*/ 8534 h 74056"/>
                <a:gd name="connsiteX108" fmla="*/ 77829 w 151733"/>
                <a:gd name="connsiteY108" fmla="*/ 9249 h 74056"/>
                <a:gd name="connsiteX109" fmla="*/ 78172 w 151733"/>
                <a:gd name="connsiteY109" fmla="*/ 11449 h 74056"/>
                <a:gd name="connsiteX110" fmla="*/ 78200 w 151733"/>
                <a:gd name="connsiteY110" fmla="*/ 13430 h 74056"/>
                <a:gd name="connsiteX111" fmla="*/ 77648 w 151733"/>
                <a:gd name="connsiteY111" fmla="*/ 14850 h 74056"/>
                <a:gd name="connsiteX112" fmla="*/ 77362 w 151733"/>
                <a:gd name="connsiteY112" fmla="*/ 16107 h 74056"/>
                <a:gd name="connsiteX113" fmla="*/ 78581 w 151733"/>
                <a:gd name="connsiteY113" fmla="*/ 16602 h 74056"/>
                <a:gd name="connsiteX114" fmla="*/ 80372 w 151733"/>
                <a:gd name="connsiteY114" fmla="*/ 16126 h 74056"/>
                <a:gd name="connsiteX115" fmla="*/ 81629 w 151733"/>
                <a:gd name="connsiteY115" fmla="*/ 15412 h 74056"/>
                <a:gd name="connsiteX116" fmla="*/ 85411 w 151733"/>
                <a:gd name="connsiteY116" fmla="*/ 17050 h 74056"/>
                <a:gd name="connsiteX117" fmla="*/ 86744 w 151733"/>
                <a:gd name="connsiteY117" fmla="*/ 13402 h 74056"/>
                <a:gd name="connsiteX118" fmla="*/ 88249 w 151733"/>
                <a:gd name="connsiteY118" fmla="*/ 11535 h 74056"/>
                <a:gd name="connsiteX119" fmla="*/ 90192 w 151733"/>
                <a:gd name="connsiteY119" fmla="*/ 10659 h 74056"/>
                <a:gd name="connsiteX120" fmla="*/ 91964 w 151733"/>
                <a:gd name="connsiteY120" fmla="*/ 9525 h 74056"/>
                <a:gd name="connsiteX121" fmla="*/ 93574 w 151733"/>
                <a:gd name="connsiteY121" fmla="*/ 8715 h 74056"/>
                <a:gd name="connsiteX122" fmla="*/ 94688 w 151733"/>
                <a:gd name="connsiteY122" fmla="*/ 8763 h 74056"/>
                <a:gd name="connsiteX123" fmla="*/ 95174 w 151733"/>
                <a:gd name="connsiteY123" fmla="*/ 8420 h 74056"/>
                <a:gd name="connsiteX124" fmla="*/ 96555 w 151733"/>
                <a:gd name="connsiteY124" fmla="*/ 8515 h 74056"/>
                <a:gd name="connsiteX125" fmla="*/ 98165 w 151733"/>
                <a:gd name="connsiteY125" fmla="*/ 8877 h 74056"/>
                <a:gd name="connsiteX126" fmla="*/ 100346 w 151733"/>
                <a:gd name="connsiteY126" fmla="*/ 8449 h 74056"/>
                <a:gd name="connsiteX127" fmla="*/ 103356 w 151733"/>
                <a:gd name="connsiteY127" fmla="*/ 9344 h 74056"/>
                <a:gd name="connsiteX128" fmla="*/ 105242 w 151733"/>
                <a:gd name="connsiteY128" fmla="*/ 11030 h 74056"/>
                <a:gd name="connsiteX129" fmla="*/ 107090 w 151733"/>
                <a:gd name="connsiteY129" fmla="*/ 11602 h 74056"/>
                <a:gd name="connsiteX130" fmla="*/ 109195 w 151733"/>
                <a:gd name="connsiteY130" fmla="*/ 11506 h 74056"/>
                <a:gd name="connsiteX131" fmla="*/ 110633 w 151733"/>
                <a:gd name="connsiteY131" fmla="*/ 10573 h 74056"/>
                <a:gd name="connsiteX132" fmla="*/ 112719 w 151733"/>
                <a:gd name="connsiteY132" fmla="*/ 7363 h 74056"/>
                <a:gd name="connsiteX133" fmla="*/ 114243 w 151733"/>
                <a:gd name="connsiteY133" fmla="*/ 7411 h 74056"/>
                <a:gd name="connsiteX134" fmla="*/ 116615 w 151733"/>
                <a:gd name="connsiteY134" fmla="*/ 6906 h 74056"/>
                <a:gd name="connsiteX135" fmla="*/ 119968 w 151733"/>
                <a:gd name="connsiteY135" fmla="*/ 6934 h 74056"/>
                <a:gd name="connsiteX136" fmla="*/ 127702 w 151733"/>
                <a:gd name="connsiteY136" fmla="*/ 7620 h 74056"/>
                <a:gd name="connsiteX137" fmla="*/ 129635 w 151733"/>
                <a:gd name="connsiteY137" fmla="*/ 8849 h 74056"/>
                <a:gd name="connsiteX138" fmla="*/ 134398 w 151733"/>
                <a:gd name="connsiteY138" fmla="*/ 10420 h 74056"/>
                <a:gd name="connsiteX139" fmla="*/ 136474 w 151733"/>
                <a:gd name="connsiteY139" fmla="*/ 12240 h 74056"/>
                <a:gd name="connsiteX140" fmla="*/ 137389 w 151733"/>
                <a:gd name="connsiteY140" fmla="*/ 14402 h 74056"/>
                <a:gd name="connsiteX141" fmla="*/ 137875 w 151733"/>
                <a:gd name="connsiteY141" fmla="*/ 15897 h 74056"/>
                <a:gd name="connsiteX142" fmla="*/ 142751 w 151733"/>
                <a:gd name="connsiteY142" fmla="*/ 18193 h 74056"/>
                <a:gd name="connsiteX143" fmla="*/ 149981 w 151733"/>
                <a:gd name="connsiteY143" fmla="*/ 21117 h 7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51733" h="74056">
                  <a:moveTo>
                    <a:pt x="151733" y="21479"/>
                  </a:moveTo>
                  <a:lnTo>
                    <a:pt x="151343" y="23155"/>
                  </a:lnTo>
                  <a:lnTo>
                    <a:pt x="150247" y="25108"/>
                  </a:lnTo>
                  <a:lnTo>
                    <a:pt x="148886" y="27127"/>
                  </a:lnTo>
                  <a:lnTo>
                    <a:pt x="147742" y="29566"/>
                  </a:lnTo>
                  <a:lnTo>
                    <a:pt x="146218" y="34757"/>
                  </a:lnTo>
                  <a:lnTo>
                    <a:pt x="145228" y="37157"/>
                  </a:lnTo>
                  <a:lnTo>
                    <a:pt x="141151" y="41881"/>
                  </a:lnTo>
                  <a:lnTo>
                    <a:pt x="140865" y="48444"/>
                  </a:lnTo>
                  <a:lnTo>
                    <a:pt x="140313" y="48921"/>
                  </a:lnTo>
                  <a:lnTo>
                    <a:pt x="131102" y="51140"/>
                  </a:lnTo>
                  <a:lnTo>
                    <a:pt x="129893" y="50806"/>
                  </a:lnTo>
                  <a:lnTo>
                    <a:pt x="128635" y="49530"/>
                  </a:lnTo>
                  <a:lnTo>
                    <a:pt x="127940" y="48597"/>
                  </a:lnTo>
                  <a:lnTo>
                    <a:pt x="127511" y="47920"/>
                  </a:lnTo>
                  <a:lnTo>
                    <a:pt x="126711" y="46101"/>
                  </a:lnTo>
                  <a:lnTo>
                    <a:pt x="125654" y="44815"/>
                  </a:lnTo>
                  <a:lnTo>
                    <a:pt x="124092" y="43758"/>
                  </a:lnTo>
                  <a:lnTo>
                    <a:pt x="122663" y="42539"/>
                  </a:lnTo>
                  <a:lnTo>
                    <a:pt x="120825" y="42491"/>
                  </a:lnTo>
                  <a:lnTo>
                    <a:pt x="115853" y="44215"/>
                  </a:lnTo>
                  <a:lnTo>
                    <a:pt x="112405" y="44406"/>
                  </a:lnTo>
                  <a:lnTo>
                    <a:pt x="110100" y="43853"/>
                  </a:lnTo>
                  <a:lnTo>
                    <a:pt x="107032" y="42806"/>
                  </a:lnTo>
                  <a:lnTo>
                    <a:pt x="101060" y="42644"/>
                  </a:lnTo>
                  <a:lnTo>
                    <a:pt x="96974" y="43558"/>
                  </a:lnTo>
                  <a:lnTo>
                    <a:pt x="96564" y="44844"/>
                  </a:lnTo>
                  <a:lnTo>
                    <a:pt x="92793" y="52845"/>
                  </a:lnTo>
                  <a:lnTo>
                    <a:pt x="87306" y="55797"/>
                  </a:lnTo>
                  <a:lnTo>
                    <a:pt x="82544" y="58807"/>
                  </a:lnTo>
                  <a:lnTo>
                    <a:pt x="81162" y="59417"/>
                  </a:lnTo>
                  <a:lnTo>
                    <a:pt x="78791" y="58464"/>
                  </a:lnTo>
                  <a:lnTo>
                    <a:pt x="76095" y="56683"/>
                  </a:lnTo>
                  <a:lnTo>
                    <a:pt x="73857" y="55750"/>
                  </a:lnTo>
                  <a:lnTo>
                    <a:pt x="72219" y="56159"/>
                  </a:lnTo>
                  <a:lnTo>
                    <a:pt x="70438" y="58188"/>
                  </a:lnTo>
                  <a:lnTo>
                    <a:pt x="69618" y="60236"/>
                  </a:lnTo>
                  <a:lnTo>
                    <a:pt x="64227" y="61741"/>
                  </a:lnTo>
                  <a:lnTo>
                    <a:pt x="54845" y="62627"/>
                  </a:lnTo>
                  <a:lnTo>
                    <a:pt x="51568" y="64646"/>
                  </a:lnTo>
                  <a:lnTo>
                    <a:pt x="50454" y="67066"/>
                  </a:lnTo>
                  <a:lnTo>
                    <a:pt x="50406" y="68923"/>
                  </a:lnTo>
                  <a:lnTo>
                    <a:pt x="51207" y="70504"/>
                  </a:lnTo>
                  <a:lnTo>
                    <a:pt x="50206" y="72342"/>
                  </a:lnTo>
                  <a:lnTo>
                    <a:pt x="49768" y="73114"/>
                  </a:lnTo>
                  <a:lnTo>
                    <a:pt x="43139" y="73514"/>
                  </a:lnTo>
                  <a:lnTo>
                    <a:pt x="34300" y="74057"/>
                  </a:lnTo>
                  <a:lnTo>
                    <a:pt x="29013" y="73914"/>
                  </a:lnTo>
                  <a:lnTo>
                    <a:pt x="24041" y="73790"/>
                  </a:lnTo>
                  <a:lnTo>
                    <a:pt x="20660" y="72209"/>
                  </a:lnTo>
                  <a:lnTo>
                    <a:pt x="16526" y="69123"/>
                  </a:lnTo>
                  <a:lnTo>
                    <a:pt x="12154" y="65018"/>
                  </a:lnTo>
                  <a:lnTo>
                    <a:pt x="11735" y="64922"/>
                  </a:lnTo>
                  <a:lnTo>
                    <a:pt x="11087" y="64484"/>
                  </a:lnTo>
                  <a:lnTo>
                    <a:pt x="8344" y="64170"/>
                  </a:lnTo>
                  <a:lnTo>
                    <a:pt x="7611" y="64418"/>
                  </a:lnTo>
                  <a:lnTo>
                    <a:pt x="5972" y="63075"/>
                  </a:lnTo>
                  <a:lnTo>
                    <a:pt x="5496" y="61331"/>
                  </a:lnTo>
                  <a:lnTo>
                    <a:pt x="2943" y="56750"/>
                  </a:lnTo>
                  <a:lnTo>
                    <a:pt x="76" y="49187"/>
                  </a:lnTo>
                  <a:lnTo>
                    <a:pt x="0" y="46997"/>
                  </a:lnTo>
                  <a:lnTo>
                    <a:pt x="1124" y="44501"/>
                  </a:lnTo>
                  <a:lnTo>
                    <a:pt x="2162" y="42586"/>
                  </a:lnTo>
                  <a:lnTo>
                    <a:pt x="2315" y="41072"/>
                  </a:lnTo>
                  <a:lnTo>
                    <a:pt x="2420" y="40662"/>
                  </a:lnTo>
                  <a:lnTo>
                    <a:pt x="3286" y="37510"/>
                  </a:lnTo>
                  <a:lnTo>
                    <a:pt x="5362" y="33319"/>
                  </a:lnTo>
                  <a:lnTo>
                    <a:pt x="7306" y="30880"/>
                  </a:lnTo>
                  <a:lnTo>
                    <a:pt x="8706" y="30071"/>
                  </a:lnTo>
                  <a:lnTo>
                    <a:pt x="11611" y="30804"/>
                  </a:lnTo>
                  <a:lnTo>
                    <a:pt x="16573" y="31413"/>
                  </a:lnTo>
                  <a:lnTo>
                    <a:pt x="20393" y="30842"/>
                  </a:lnTo>
                  <a:lnTo>
                    <a:pt x="23956" y="28966"/>
                  </a:lnTo>
                  <a:lnTo>
                    <a:pt x="25889" y="27327"/>
                  </a:lnTo>
                  <a:lnTo>
                    <a:pt x="27537" y="25603"/>
                  </a:lnTo>
                  <a:lnTo>
                    <a:pt x="28090" y="24479"/>
                  </a:lnTo>
                  <a:lnTo>
                    <a:pt x="28823" y="23946"/>
                  </a:lnTo>
                  <a:lnTo>
                    <a:pt x="31766" y="22946"/>
                  </a:lnTo>
                  <a:lnTo>
                    <a:pt x="32709" y="21784"/>
                  </a:lnTo>
                  <a:lnTo>
                    <a:pt x="33090" y="19574"/>
                  </a:lnTo>
                  <a:lnTo>
                    <a:pt x="33347" y="17116"/>
                  </a:lnTo>
                  <a:lnTo>
                    <a:pt x="33947" y="15288"/>
                  </a:lnTo>
                  <a:lnTo>
                    <a:pt x="34710" y="13945"/>
                  </a:lnTo>
                  <a:lnTo>
                    <a:pt x="40157" y="10725"/>
                  </a:lnTo>
                  <a:lnTo>
                    <a:pt x="40653" y="9582"/>
                  </a:lnTo>
                  <a:lnTo>
                    <a:pt x="41520" y="8487"/>
                  </a:lnTo>
                  <a:lnTo>
                    <a:pt x="43139" y="7249"/>
                  </a:lnTo>
                  <a:lnTo>
                    <a:pt x="44701" y="5458"/>
                  </a:lnTo>
                  <a:lnTo>
                    <a:pt x="46358" y="4363"/>
                  </a:lnTo>
                  <a:lnTo>
                    <a:pt x="48483" y="4486"/>
                  </a:lnTo>
                  <a:lnTo>
                    <a:pt x="50445" y="4258"/>
                  </a:lnTo>
                  <a:lnTo>
                    <a:pt x="51978" y="3629"/>
                  </a:lnTo>
                  <a:lnTo>
                    <a:pt x="52654" y="3572"/>
                  </a:lnTo>
                  <a:lnTo>
                    <a:pt x="55483" y="4077"/>
                  </a:lnTo>
                  <a:lnTo>
                    <a:pt x="55998" y="6134"/>
                  </a:lnTo>
                  <a:lnTo>
                    <a:pt x="56293" y="8268"/>
                  </a:lnTo>
                  <a:lnTo>
                    <a:pt x="61132" y="8115"/>
                  </a:lnTo>
                  <a:lnTo>
                    <a:pt x="63827" y="3543"/>
                  </a:lnTo>
                  <a:lnTo>
                    <a:pt x="65227" y="2991"/>
                  </a:lnTo>
                  <a:lnTo>
                    <a:pt x="67466" y="1400"/>
                  </a:lnTo>
                  <a:lnTo>
                    <a:pt x="68942" y="0"/>
                  </a:lnTo>
                  <a:lnTo>
                    <a:pt x="69961" y="867"/>
                  </a:lnTo>
                  <a:lnTo>
                    <a:pt x="71428" y="3820"/>
                  </a:lnTo>
                  <a:lnTo>
                    <a:pt x="72990" y="6182"/>
                  </a:lnTo>
                  <a:lnTo>
                    <a:pt x="73895" y="7115"/>
                  </a:lnTo>
                  <a:lnTo>
                    <a:pt x="73990" y="7839"/>
                  </a:lnTo>
                  <a:lnTo>
                    <a:pt x="74895" y="8277"/>
                  </a:lnTo>
                  <a:lnTo>
                    <a:pt x="76658" y="8534"/>
                  </a:lnTo>
                  <a:lnTo>
                    <a:pt x="77829" y="9249"/>
                  </a:lnTo>
                  <a:lnTo>
                    <a:pt x="78172" y="11449"/>
                  </a:lnTo>
                  <a:lnTo>
                    <a:pt x="78200" y="13430"/>
                  </a:lnTo>
                  <a:lnTo>
                    <a:pt x="77648" y="14850"/>
                  </a:lnTo>
                  <a:lnTo>
                    <a:pt x="77362" y="16107"/>
                  </a:lnTo>
                  <a:lnTo>
                    <a:pt x="78581" y="16602"/>
                  </a:lnTo>
                  <a:lnTo>
                    <a:pt x="80372" y="16126"/>
                  </a:lnTo>
                  <a:lnTo>
                    <a:pt x="81629" y="15412"/>
                  </a:lnTo>
                  <a:lnTo>
                    <a:pt x="85411" y="17050"/>
                  </a:lnTo>
                  <a:lnTo>
                    <a:pt x="86744" y="13402"/>
                  </a:lnTo>
                  <a:lnTo>
                    <a:pt x="88249" y="11535"/>
                  </a:lnTo>
                  <a:lnTo>
                    <a:pt x="90192" y="10659"/>
                  </a:lnTo>
                  <a:lnTo>
                    <a:pt x="91964" y="9525"/>
                  </a:lnTo>
                  <a:lnTo>
                    <a:pt x="93574" y="8715"/>
                  </a:lnTo>
                  <a:lnTo>
                    <a:pt x="94688" y="8763"/>
                  </a:lnTo>
                  <a:lnTo>
                    <a:pt x="95174" y="8420"/>
                  </a:lnTo>
                  <a:lnTo>
                    <a:pt x="96555" y="8515"/>
                  </a:lnTo>
                  <a:lnTo>
                    <a:pt x="98165" y="8877"/>
                  </a:lnTo>
                  <a:lnTo>
                    <a:pt x="100346" y="8449"/>
                  </a:lnTo>
                  <a:lnTo>
                    <a:pt x="103356" y="9344"/>
                  </a:lnTo>
                  <a:lnTo>
                    <a:pt x="105242" y="11030"/>
                  </a:lnTo>
                  <a:lnTo>
                    <a:pt x="107090" y="11602"/>
                  </a:lnTo>
                  <a:lnTo>
                    <a:pt x="109195" y="11506"/>
                  </a:lnTo>
                  <a:lnTo>
                    <a:pt x="110633" y="10573"/>
                  </a:lnTo>
                  <a:lnTo>
                    <a:pt x="112719" y="7363"/>
                  </a:lnTo>
                  <a:lnTo>
                    <a:pt x="114243" y="7411"/>
                  </a:lnTo>
                  <a:lnTo>
                    <a:pt x="116615" y="6906"/>
                  </a:lnTo>
                  <a:lnTo>
                    <a:pt x="119968" y="6934"/>
                  </a:lnTo>
                  <a:lnTo>
                    <a:pt x="127702" y="7620"/>
                  </a:lnTo>
                  <a:lnTo>
                    <a:pt x="129635" y="8849"/>
                  </a:lnTo>
                  <a:lnTo>
                    <a:pt x="134398" y="10420"/>
                  </a:lnTo>
                  <a:lnTo>
                    <a:pt x="136474" y="12240"/>
                  </a:lnTo>
                  <a:lnTo>
                    <a:pt x="137389" y="14402"/>
                  </a:lnTo>
                  <a:lnTo>
                    <a:pt x="137875" y="15897"/>
                  </a:lnTo>
                  <a:lnTo>
                    <a:pt x="142751" y="18193"/>
                  </a:lnTo>
                  <a:lnTo>
                    <a:pt x="149981" y="21117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5" name="Forme libre : forme 51">
              <a:extLst>
                <a:ext uri="{FF2B5EF4-FFF2-40B4-BE49-F238E27FC236}">
                  <a16:creationId xmlns:a16="http://schemas.microsoft.com/office/drawing/2014/main" id="{ABE83285-4DB9-3465-B5CB-7C1964B5FE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133424" y="4978622"/>
              <a:ext cx="10915" cy="12270"/>
            </a:xfrm>
            <a:custGeom>
              <a:avLst/>
              <a:gdLst>
                <a:gd name="connsiteX0" fmla="*/ 2362 w 3152"/>
                <a:gd name="connsiteY0" fmla="*/ 3267 h 3543"/>
                <a:gd name="connsiteX1" fmla="*/ 791 w 3152"/>
                <a:gd name="connsiteY1" fmla="*/ 3543 h 3543"/>
                <a:gd name="connsiteX2" fmla="*/ 0 w 3152"/>
                <a:gd name="connsiteY2" fmla="*/ 2038 h 3543"/>
                <a:gd name="connsiteX3" fmla="*/ 1181 w 3152"/>
                <a:gd name="connsiteY3" fmla="*/ 276 h 3543"/>
                <a:gd name="connsiteX4" fmla="*/ 2857 w 3152"/>
                <a:gd name="connsiteY4" fmla="*/ 0 h 3543"/>
                <a:gd name="connsiteX5" fmla="*/ 3153 w 3152"/>
                <a:gd name="connsiteY5" fmla="*/ 1362 h 3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52" h="3543">
                  <a:moveTo>
                    <a:pt x="2362" y="3267"/>
                  </a:moveTo>
                  <a:lnTo>
                    <a:pt x="791" y="3543"/>
                  </a:lnTo>
                  <a:lnTo>
                    <a:pt x="0" y="2038"/>
                  </a:lnTo>
                  <a:lnTo>
                    <a:pt x="1181" y="276"/>
                  </a:lnTo>
                  <a:lnTo>
                    <a:pt x="2857" y="0"/>
                  </a:lnTo>
                  <a:lnTo>
                    <a:pt x="3153" y="1362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6" name="Forme libre : forme 53">
              <a:extLst>
                <a:ext uri="{FF2B5EF4-FFF2-40B4-BE49-F238E27FC236}">
                  <a16:creationId xmlns:a16="http://schemas.microsoft.com/office/drawing/2014/main" id="{377C1EF2-9B45-D367-7E84-EB8A977999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1034422" y="3817340"/>
              <a:ext cx="1666221" cy="1110054"/>
            </a:xfrm>
            <a:custGeom>
              <a:avLst/>
              <a:gdLst>
                <a:gd name="connsiteX0" fmla="*/ 429977 w 481145"/>
                <a:gd name="connsiteY0" fmla="*/ 217303 h 320544"/>
                <a:gd name="connsiteX1" fmla="*/ 429006 w 481145"/>
                <a:gd name="connsiteY1" fmla="*/ 217741 h 320544"/>
                <a:gd name="connsiteX2" fmla="*/ 419662 w 481145"/>
                <a:gd name="connsiteY2" fmla="*/ 217132 h 320544"/>
                <a:gd name="connsiteX3" fmla="*/ 412032 w 481145"/>
                <a:gd name="connsiteY3" fmla="*/ 217961 h 320544"/>
                <a:gd name="connsiteX4" fmla="*/ 406593 w 481145"/>
                <a:gd name="connsiteY4" fmla="*/ 224123 h 320544"/>
                <a:gd name="connsiteX5" fmla="*/ 403355 w 481145"/>
                <a:gd name="connsiteY5" fmla="*/ 224104 h 320544"/>
                <a:gd name="connsiteX6" fmla="*/ 398793 w 481145"/>
                <a:gd name="connsiteY6" fmla="*/ 225704 h 320544"/>
                <a:gd name="connsiteX7" fmla="*/ 395697 w 481145"/>
                <a:gd name="connsiteY7" fmla="*/ 227695 h 320544"/>
                <a:gd name="connsiteX8" fmla="*/ 392030 w 481145"/>
                <a:gd name="connsiteY8" fmla="*/ 232000 h 320544"/>
                <a:gd name="connsiteX9" fmla="*/ 389191 w 481145"/>
                <a:gd name="connsiteY9" fmla="*/ 230067 h 320544"/>
                <a:gd name="connsiteX10" fmla="*/ 385715 w 481145"/>
                <a:gd name="connsiteY10" fmla="*/ 230124 h 320544"/>
                <a:gd name="connsiteX11" fmla="*/ 382324 w 481145"/>
                <a:gd name="connsiteY11" fmla="*/ 231295 h 320544"/>
                <a:gd name="connsiteX12" fmla="*/ 378247 w 481145"/>
                <a:gd name="connsiteY12" fmla="*/ 234172 h 320544"/>
                <a:gd name="connsiteX13" fmla="*/ 375980 w 481145"/>
                <a:gd name="connsiteY13" fmla="*/ 234677 h 320544"/>
                <a:gd name="connsiteX14" fmla="*/ 371446 w 481145"/>
                <a:gd name="connsiteY14" fmla="*/ 233858 h 320544"/>
                <a:gd name="connsiteX15" fmla="*/ 366160 w 481145"/>
                <a:gd name="connsiteY15" fmla="*/ 235505 h 320544"/>
                <a:gd name="connsiteX16" fmla="*/ 354749 w 481145"/>
                <a:gd name="connsiteY16" fmla="*/ 244907 h 320544"/>
                <a:gd name="connsiteX17" fmla="*/ 350910 w 481145"/>
                <a:gd name="connsiteY17" fmla="*/ 251755 h 320544"/>
                <a:gd name="connsiteX18" fmla="*/ 349510 w 481145"/>
                <a:gd name="connsiteY18" fmla="*/ 253089 h 320544"/>
                <a:gd name="connsiteX19" fmla="*/ 347586 w 481145"/>
                <a:gd name="connsiteY19" fmla="*/ 254756 h 320544"/>
                <a:gd name="connsiteX20" fmla="*/ 345528 w 481145"/>
                <a:gd name="connsiteY20" fmla="*/ 255594 h 320544"/>
                <a:gd name="connsiteX21" fmla="*/ 344443 w 481145"/>
                <a:gd name="connsiteY21" fmla="*/ 255518 h 320544"/>
                <a:gd name="connsiteX22" fmla="*/ 349882 w 481145"/>
                <a:gd name="connsiteY22" fmla="*/ 250660 h 320544"/>
                <a:gd name="connsiteX23" fmla="*/ 351548 w 481145"/>
                <a:gd name="connsiteY23" fmla="*/ 248841 h 320544"/>
                <a:gd name="connsiteX24" fmla="*/ 351834 w 481145"/>
                <a:gd name="connsiteY24" fmla="*/ 247497 h 320544"/>
                <a:gd name="connsiteX25" fmla="*/ 351863 w 481145"/>
                <a:gd name="connsiteY25" fmla="*/ 245316 h 320544"/>
                <a:gd name="connsiteX26" fmla="*/ 350215 w 481145"/>
                <a:gd name="connsiteY26" fmla="*/ 242611 h 320544"/>
                <a:gd name="connsiteX27" fmla="*/ 345767 w 481145"/>
                <a:gd name="connsiteY27" fmla="*/ 249307 h 320544"/>
                <a:gd name="connsiteX28" fmla="*/ 343242 w 481145"/>
                <a:gd name="connsiteY28" fmla="*/ 250279 h 320544"/>
                <a:gd name="connsiteX29" fmla="*/ 340033 w 481145"/>
                <a:gd name="connsiteY29" fmla="*/ 252289 h 320544"/>
                <a:gd name="connsiteX30" fmla="*/ 339871 w 481145"/>
                <a:gd name="connsiteY30" fmla="*/ 256756 h 320544"/>
                <a:gd name="connsiteX31" fmla="*/ 340242 w 481145"/>
                <a:gd name="connsiteY31" fmla="*/ 260070 h 320544"/>
                <a:gd name="connsiteX32" fmla="*/ 341556 w 481145"/>
                <a:gd name="connsiteY32" fmla="*/ 264233 h 320544"/>
                <a:gd name="connsiteX33" fmla="*/ 344662 w 481145"/>
                <a:gd name="connsiteY33" fmla="*/ 271024 h 320544"/>
                <a:gd name="connsiteX34" fmla="*/ 351005 w 481145"/>
                <a:gd name="connsiteY34" fmla="*/ 280692 h 320544"/>
                <a:gd name="connsiteX35" fmla="*/ 354044 w 481145"/>
                <a:gd name="connsiteY35" fmla="*/ 284235 h 320544"/>
                <a:gd name="connsiteX36" fmla="*/ 356273 w 481145"/>
                <a:gd name="connsiteY36" fmla="*/ 285645 h 320544"/>
                <a:gd name="connsiteX37" fmla="*/ 358959 w 481145"/>
                <a:gd name="connsiteY37" fmla="*/ 285845 h 320544"/>
                <a:gd name="connsiteX38" fmla="*/ 364121 w 481145"/>
                <a:gd name="connsiteY38" fmla="*/ 282864 h 320544"/>
                <a:gd name="connsiteX39" fmla="*/ 366322 w 481145"/>
                <a:gd name="connsiteY39" fmla="*/ 282397 h 320544"/>
                <a:gd name="connsiteX40" fmla="*/ 371122 w 481145"/>
                <a:gd name="connsiteY40" fmla="*/ 283531 h 320544"/>
                <a:gd name="connsiteX41" fmla="*/ 372837 w 481145"/>
                <a:gd name="connsiteY41" fmla="*/ 281549 h 320544"/>
                <a:gd name="connsiteX42" fmla="*/ 375332 w 481145"/>
                <a:gd name="connsiteY42" fmla="*/ 280445 h 320544"/>
                <a:gd name="connsiteX43" fmla="*/ 378533 w 481145"/>
                <a:gd name="connsiteY43" fmla="*/ 280302 h 320544"/>
                <a:gd name="connsiteX44" fmla="*/ 382191 w 481145"/>
                <a:gd name="connsiteY44" fmla="*/ 281197 h 320544"/>
                <a:gd name="connsiteX45" fmla="*/ 386153 w 481145"/>
                <a:gd name="connsiteY45" fmla="*/ 282702 h 320544"/>
                <a:gd name="connsiteX46" fmla="*/ 384524 w 481145"/>
                <a:gd name="connsiteY46" fmla="*/ 286102 h 320544"/>
                <a:gd name="connsiteX47" fmla="*/ 382828 w 481145"/>
                <a:gd name="connsiteY47" fmla="*/ 288807 h 320544"/>
                <a:gd name="connsiteX48" fmla="*/ 382228 w 481145"/>
                <a:gd name="connsiteY48" fmla="*/ 291798 h 320544"/>
                <a:gd name="connsiteX49" fmla="*/ 381285 w 481145"/>
                <a:gd name="connsiteY49" fmla="*/ 295122 h 320544"/>
                <a:gd name="connsiteX50" fmla="*/ 376914 w 481145"/>
                <a:gd name="connsiteY50" fmla="*/ 296608 h 320544"/>
                <a:gd name="connsiteX51" fmla="*/ 372237 w 481145"/>
                <a:gd name="connsiteY51" fmla="*/ 296428 h 320544"/>
                <a:gd name="connsiteX52" fmla="*/ 367303 w 481145"/>
                <a:gd name="connsiteY52" fmla="*/ 297389 h 320544"/>
                <a:gd name="connsiteX53" fmla="*/ 365522 w 481145"/>
                <a:gd name="connsiteY53" fmla="*/ 296103 h 320544"/>
                <a:gd name="connsiteX54" fmla="*/ 364341 w 481145"/>
                <a:gd name="connsiteY54" fmla="*/ 294922 h 320544"/>
                <a:gd name="connsiteX55" fmla="*/ 362150 w 481145"/>
                <a:gd name="connsiteY55" fmla="*/ 293741 h 320544"/>
                <a:gd name="connsiteX56" fmla="*/ 359264 w 481145"/>
                <a:gd name="connsiteY56" fmla="*/ 293094 h 320544"/>
                <a:gd name="connsiteX57" fmla="*/ 356673 w 481145"/>
                <a:gd name="connsiteY57" fmla="*/ 293884 h 320544"/>
                <a:gd name="connsiteX58" fmla="*/ 353606 w 481145"/>
                <a:gd name="connsiteY58" fmla="*/ 298409 h 320544"/>
                <a:gd name="connsiteX59" fmla="*/ 348176 w 481145"/>
                <a:gd name="connsiteY59" fmla="*/ 301495 h 320544"/>
                <a:gd name="connsiteX60" fmla="*/ 346386 w 481145"/>
                <a:gd name="connsiteY60" fmla="*/ 305019 h 320544"/>
                <a:gd name="connsiteX61" fmla="*/ 341043 w 481145"/>
                <a:gd name="connsiteY61" fmla="*/ 304229 h 320544"/>
                <a:gd name="connsiteX62" fmla="*/ 336470 w 481145"/>
                <a:gd name="connsiteY62" fmla="*/ 304847 h 320544"/>
                <a:gd name="connsiteX63" fmla="*/ 329869 w 481145"/>
                <a:gd name="connsiteY63" fmla="*/ 308057 h 320544"/>
                <a:gd name="connsiteX64" fmla="*/ 324840 w 481145"/>
                <a:gd name="connsiteY64" fmla="*/ 314915 h 320544"/>
                <a:gd name="connsiteX65" fmla="*/ 319297 w 481145"/>
                <a:gd name="connsiteY65" fmla="*/ 319192 h 320544"/>
                <a:gd name="connsiteX66" fmla="*/ 314906 w 481145"/>
                <a:gd name="connsiteY66" fmla="*/ 320545 h 320544"/>
                <a:gd name="connsiteX67" fmla="*/ 310782 w 481145"/>
                <a:gd name="connsiteY67" fmla="*/ 320126 h 320544"/>
                <a:gd name="connsiteX68" fmla="*/ 308114 w 481145"/>
                <a:gd name="connsiteY68" fmla="*/ 318849 h 320544"/>
                <a:gd name="connsiteX69" fmla="*/ 302628 w 481145"/>
                <a:gd name="connsiteY69" fmla="*/ 314354 h 320544"/>
                <a:gd name="connsiteX70" fmla="*/ 302952 w 481145"/>
                <a:gd name="connsiteY70" fmla="*/ 312744 h 320544"/>
                <a:gd name="connsiteX71" fmla="*/ 303714 w 481145"/>
                <a:gd name="connsiteY71" fmla="*/ 311934 h 320544"/>
                <a:gd name="connsiteX72" fmla="*/ 304752 w 481145"/>
                <a:gd name="connsiteY72" fmla="*/ 309610 h 320544"/>
                <a:gd name="connsiteX73" fmla="*/ 306943 w 481145"/>
                <a:gd name="connsiteY73" fmla="*/ 301076 h 320544"/>
                <a:gd name="connsiteX74" fmla="*/ 306648 w 481145"/>
                <a:gd name="connsiteY74" fmla="*/ 298294 h 320544"/>
                <a:gd name="connsiteX75" fmla="*/ 305419 w 481145"/>
                <a:gd name="connsiteY75" fmla="*/ 293922 h 320544"/>
                <a:gd name="connsiteX76" fmla="*/ 301066 w 481145"/>
                <a:gd name="connsiteY76" fmla="*/ 290513 h 320544"/>
                <a:gd name="connsiteX77" fmla="*/ 297570 w 481145"/>
                <a:gd name="connsiteY77" fmla="*/ 291160 h 320544"/>
                <a:gd name="connsiteX78" fmla="*/ 295580 w 481145"/>
                <a:gd name="connsiteY78" fmla="*/ 290255 h 320544"/>
                <a:gd name="connsiteX79" fmla="*/ 288407 w 481145"/>
                <a:gd name="connsiteY79" fmla="*/ 284445 h 320544"/>
                <a:gd name="connsiteX80" fmla="*/ 284502 w 481145"/>
                <a:gd name="connsiteY80" fmla="*/ 284035 h 320544"/>
                <a:gd name="connsiteX81" fmla="*/ 280187 w 481145"/>
                <a:gd name="connsiteY81" fmla="*/ 285207 h 320544"/>
                <a:gd name="connsiteX82" fmla="*/ 278596 w 481145"/>
                <a:gd name="connsiteY82" fmla="*/ 284359 h 320544"/>
                <a:gd name="connsiteX83" fmla="*/ 277425 w 481145"/>
                <a:gd name="connsiteY83" fmla="*/ 282330 h 320544"/>
                <a:gd name="connsiteX84" fmla="*/ 285978 w 481145"/>
                <a:gd name="connsiteY84" fmla="*/ 275139 h 320544"/>
                <a:gd name="connsiteX85" fmla="*/ 294379 w 481145"/>
                <a:gd name="connsiteY85" fmla="*/ 269186 h 320544"/>
                <a:gd name="connsiteX86" fmla="*/ 298066 w 481145"/>
                <a:gd name="connsiteY86" fmla="*/ 268576 h 320544"/>
                <a:gd name="connsiteX87" fmla="*/ 303037 w 481145"/>
                <a:gd name="connsiteY87" fmla="*/ 265795 h 320544"/>
                <a:gd name="connsiteX88" fmla="*/ 308353 w 481145"/>
                <a:gd name="connsiteY88" fmla="*/ 261623 h 320544"/>
                <a:gd name="connsiteX89" fmla="*/ 307600 w 481145"/>
                <a:gd name="connsiteY89" fmla="*/ 258337 h 320544"/>
                <a:gd name="connsiteX90" fmla="*/ 306457 w 481145"/>
                <a:gd name="connsiteY90" fmla="*/ 255899 h 320544"/>
                <a:gd name="connsiteX91" fmla="*/ 303914 w 481145"/>
                <a:gd name="connsiteY91" fmla="*/ 256565 h 320544"/>
                <a:gd name="connsiteX92" fmla="*/ 302066 w 481145"/>
                <a:gd name="connsiteY92" fmla="*/ 257375 h 320544"/>
                <a:gd name="connsiteX93" fmla="*/ 297618 w 481145"/>
                <a:gd name="connsiteY93" fmla="*/ 254765 h 320544"/>
                <a:gd name="connsiteX94" fmla="*/ 295989 w 481145"/>
                <a:gd name="connsiteY94" fmla="*/ 252841 h 320544"/>
                <a:gd name="connsiteX95" fmla="*/ 289027 w 481145"/>
                <a:gd name="connsiteY95" fmla="*/ 254841 h 320544"/>
                <a:gd name="connsiteX96" fmla="*/ 285149 w 481145"/>
                <a:gd name="connsiteY96" fmla="*/ 254546 h 320544"/>
                <a:gd name="connsiteX97" fmla="*/ 276596 w 481145"/>
                <a:gd name="connsiteY97" fmla="*/ 256384 h 320544"/>
                <a:gd name="connsiteX98" fmla="*/ 272662 w 481145"/>
                <a:gd name="connsiteY98" fmla="*/ 254593 h 320544"/>
                <a:gd name="connsiteX99" fmla="*/ 264804 w 481145"/>
                <a:gd name="connsiteY99" fmla="*/ 249564 h 320544"/>
                <a:gd name="connsiteX100" fmla="*/ 261851 w 481145"/>
                <a:gd name="connsiteY100" fmla="*/ 248555 h 320544"/>
                <a:gd name="connsiteX101" fmla="*/ 259337 w 481145"/>
                <a:gd name="connsiteY101" fmla="*/ 248774 h 320544"/>
                <a:gd name="connsiteX102" fmla="*/ 257965 w 481145"/>
                <a:gd name="connsiteY102" fmla="*/ 247117 h 320544"/>
                <a:gd name="connsiteX103" fmla="*/ 259642 w 481145"/>
                <a:gd name="connsiteY103" fmla="*/ 246288 h 320544"/>
                <a:gd name="connsiteX104" fmla="*/ 261595 w 481145"/>
                <a:gd name="connsiteY104" fmla="*/ 246193 h 320544"/>
                <a:gd name="connsiteX105" fmla="*/ 263623 w 481145"/>
                <a:gd name="connsiteY105" fmla="*/ 245583 h 320544"/>
                <a:gd name="connsiteX106" fmla="*/ 264195 w 481145"/>
                <a:gd name="connsiteY106" fmla="*/ 244707 h 320544"/>
                <a:gd name="connsiteX107" fmla="*/ 264071 w 481145"/>
                <a:gd name="connsiteY107" fmla="*/ 243049 h 320544"/>
                <a:gd name="connsiteX108" fmla="*/ 259985 w 481145"/>
                <a:gd name="connsiteY108" fmla="*/ 241792 h 320544"/>
                <a:gd name="connsiteX109" fmla="*/ 256184 w 481145"/>
                <a:gd name="connsiteY109" fmla="*/ 241430 h 320544"/>
                <a:gd name="connsiteX110" fmla="*/ 253774 w 481145"/>
                <a:gd name="connsiteY110" fmla="*/ 239944 h 320544"/>
                <a:gd name="connsiteX111" fmla="*/ 251936 w 481145"/>
                <a:gd name="connsiteY111" fmla="*/ 238239 h 320544"/>
                <a:gd name="connsiteX112" fmla="*/ 256241 w 481145"/>
                <a:gd name="connsiteY112" fmla="*/ 238210 h 320544"/>
                <a:gd name="connsiteX113" fmla="*/ 260575 w 481145"/>
                <a:gd name="connsiteY113" fmla="*/ 239506 h 320544"/>
                <a:gd name="connsiteX114" fmla="*/ 267348 w 481145"/>
                <a:gd name="connsiteY114" fmla="*/ 239982 h 320544"/>
                <a:gd name="connsiteX115" fmla="*/ 273501 w 481145"/>
                <a:gd name="connsiteY115" fmla="*/ 241316 h 320544"/>
                <a:gd name="connsiteX116" fmla="*/ 275034 w 481145"/>
                <a:gd name="connsiteY116" fmla="*/ 239658 h 320544"/>
                <a:gd name="connsiteX117" fmla="*/ 278606 w 481145"/>
                <a:gd name="connsiteY117" fmla="*/ 236782 h 320544"/>
                <a:gd name="connsiteX118" fmla="*/ 279282 w 481145"/>
                <a:gd name="connsiteY118" fmla="*/ 235868 h 320544"/>
                <a:gd name="connsiteX119" fmla="*/ 273301 w 481145"/>
                <a:gd name="connsiteY119" fmla="*/ 237839 h 320544"/>
                <a:gd name="connsiteX120" fmla="*/ 267233 w 481145"/>
                <a:gd name="connsiteY120" fmla="*/ 236582 h 320544"/>
                <a:gd name="connsiteX121" fmla="*/ 265023 w 481145"/>
                <a:gd name="connsiteY121" fmla="*/ 234829 h 320544"/>
                <a:gd name="connsiteX122" fmla="*/ 263147 w 481145"/>
                <a:gd name="connsiteY122" fmla="*/ 232248 h 320544"/>
                <a:gd name="connsiteX123" fmla="*/ 262356 w 481145"/>
                <a:gd name="connsiteY123" fmla="*/ 229305 h 320544"/>
                <a:gd name="connsiteX124" fmla="*/ 262871 w 481145"/>
                <a:gd name="connsiteY124" fmla="*/ 226561 h 320544"/>
                <a:gd name="connsiteX125" fmla="*/ 262214 w 481145"/>
                <a:gd name="connsiteY125" fmla="*/ 221599 h 320544"/>
                <a:gd name="connsiteX126" fmla="*/ 260213 w 481145"/>
                <a:gd name="connsiteY126" fmla="*/ 217170 h 320544"/>
                <a:gd name="connsiteX127" fmla="*/ 259509 w 481145"/>
                <a:gd name="connsiteY127" fmla="*/ 214741 h 320544"/>
                <a:gd name="connsiteX128" fmla="*/ 257394 w 481145"/>
                <a:gd name="connsiteY128" fmla="*/ 212560 h 320544"/>
                <a:gd name="connsiteX129" fmla="*/ 259470 w 481145"/>
                <a:gd name="connsiteY129" fmla="*/ 217494 h 320544"/>
                <a:gd name="connsiteX130" fmla="*/ 260242 w 481145"/>
                <a:gd name="connsiteY130" fmla="*/ 220770 h 320544"/>
                <a:gd name="connsiteX131" fmla="*/ 261489 w 481145"/>
                <a:gd name="connsiteY131" fmla="*/ 223780 h 320544"/>
                <a:gd name="connsiteX132" fmla="*/ 261195 w 481145"/>
                <a:gd name="connsiteY132" fmla="*/ 231743 h 320544"/>
                <a:gd name="connsiteX133" fmla="*/ 260422 w 481145"/>
                <a:gd name="connsiteY133" fmla="*/ 234534 h 320544"/>
                <a:gd name="connsiteX134" fmla="*/ 257927 w 481145"/>
                <a:gd name="connsiteY134" fmla="*/ 235239 h 320544"/>
                <a:gd name="connsiteX135" fmla="*/ 254651 w 481145"/>
                <a:gd name="connsiteY135" fmla="*/ 234820 h 320544"/>
                <a:gd name="connsiteX136" fmla="*/ 251317 w 481145"/>
                <a:gd name="connsiteY136" fmla="*/ 233953 h 320544"/>
                <a:gd name="connsiteX137" fmla="*/ 252146 w 481145"/>
                <a:gd name="connsiteY137" fmla="*/ 229581 h 320544"/>
                <a:gd name="connsiteX138" fmla="*/ 250364 w 481145"/>
                <a:gd name="connsiteY138" fmla="*/ 231095 h 320544"/>
                <a:gd name="connsiteX139" fmla="*/ 247859 w 481145"/>
                <a:gd name="connsiteY139" fmla="*/ 235353 h 320544"/>
                <a:gd name="connsiteX140" fmla="*/ 245650 w 481145"/>
                <a:gd name="connsiteY140" fmla="*/ 235982 h 320544"/>
                <a:gd name="connsiteX141" fmla="*/ 240744 w 481145"/>
                <a:gd name="connsiteY141" fmla="*/ 235515 h 320544"/>
                <a:gd name="connsiteX142" fmla="*/ 231638 w 481145"/>
                <a:gd name="connsiteY142" fmla="*/ 238325 h 320544"/>
                <a:gd name="connsiteX143" fmla="*/ 231010 w 481145"/>
                <a:gd name="connsiteY143" fmla="*/ 241382 h 320544"/>
                <a:gd name="connsiteX144" fmla="*/ 229638 w 481145"/>
                <a:gd name="connsiteY144" fmla="*/ 245507 h 320544"/>
                <a:gd name="connsiteX145" fmla="*/ 228314 w 481145"/>
                <a:gd name="connsiteY145" fmla="*/ 247907 h 320544"/>
                <a:gd name="connsiteX146" fmla="*/ 227904 w 481145"/>
                <a:gd name="connsiteY146" fmla="*/ 249355 h 320544"/>
                <a:gd name="connsiteX147" fmla="*/ 224028 w 481145"/>
                <a:gd name="connsiteY147" fmla="*/ 255556 h 320544"/>
                <a:gd name="connsiteX148" fmla="*/ 223532 w 481145"/>
                <a:gd name="connsiteY148" fmla="*/ 256146 h 320544"/>
                <a:gd name="connsiteX149" fmla="*/ 216208 w 481145"/>
                <a:gd name="connsiteY149" fmla="*/ 264709 h 320544"/>
                <a:gd name="connsiteX150" fmla="*/ 215274 w 481145"/>
                <a:gd name="connsiteY150" fmla="*/ 265347 h 320544"/>
                <a:gd name="connsiteX151" fmla="*/ 210531 w 481145"/>
                <a:gd name="connsiteY151" fmla="*/ 267338 h 320544"/>
                <a:gd name="connsiteX152" fmla="*/ 207721 w 481145"/>
                <a:gd name="connsiteY152" fmla="*/ 269081 h 320544"/>
                <a:gd name="connsiteX153" fmla="*/ 205568 w 481145"/>
                <a:gd name="connsiteY153" fmla="*/ 269862 h 320544"/>
                <a:gd name="connsiteX154" fmla="*/ 201930 w 481145"/>
                <a:gd name="connsiteY154" fmla="*/ 268996 h 320544"/>
                <a:gd name="connsiteX155" fmla="*/ 200415 w 481145"/>
                <a:gd name="connsiteY155" fmla="*/ 270224 h 320544"/>
                <a:gd name="connsiteX156" fmla="*/ 199701 w 481145"/>
                <a:gd name="connsiteY156" fmla="*/ 271748 h 320544"/>
                <a:gd name="connsiteX157" fmla="*/ 199691 w 481145"/>
                <a:gd name="connsiteY157" fmla="*/ 274901 h 320544"/>
                <a:gd name="connsiteX158" fmla="*/ 201539 w 481145"/>
                <a:gd name="connsiteY158" fmla="*/ 277158 h 320544"/>
                <a:gd name="connsiteX159" fmla="*/ 203054 w 481145"/>
                <a:gd name="connsiteY159" fmla="*/ 284654 h 320544"/>
                <a:gd name="connsiteX160" fmla="*/ 202492 w 481145"/>
                <a:gd name="connsiteY160" fmla="*/ 287817 h 320544"/>
                <a:gd name="connsiteX161" fmla="*/ 201053 w 481145"/>
                <a:gd name="connsiteY161" fmla="*/ 285769 h 320544"/>
                <a:gd name="connsiteX162" fmla="*/ 198796 w 481145"/>
                <a:gd name="connsiteY162" fmla="*/ 283607 h 320544"/>
                <a:gd name="connsiteX163" fmla="*/ 194414 w 481145"/>
                <a:gd name="connsiteY163" fmla="*/ 281759 h 320544"/>
                <a:gd name="connsiteX164" fmla="*/ 189604 w 481145"/>
                <a:gd name="connsiteY164" fmla="*/ 282397 h 320544"/>
                <a:gd name="connsiteX165" fmla="*/ 184356 w 481145"/>
                <a:gd name="connsiteY165" fmla="*/ 285521 h 320544"/>
                <a:gd name="connsiteX166" fmla="*/ 180794 w 481145"/>
                <a:gd name="connsiteY166" fmla="*/ 286683 h 320544"/>
                <a:gd name="connsiteX167" fmla="*/ 178927 w 481145"/>
                <a:gd name="connsiteY167" fmla="*/ 285883 h 320544"/>
                <a:gd name="connsiteX168" fmla="*/ 177784 w 481145"/>
                <a:gd name="connsiteY168" fmla="*/ 285931 h 320544"/>
                <a:gd name="connsiteX169" fmla="*/ 177384 w 481145"/>
                <a:gd name="connsiteY169" fmla="*/ 286826 h 320544"/>
                <a:gd name="connsiteX170" fmla="*/ 177469 w 481145"/>
                <a:gd name="connsiteY170" fmla="*/ 287560 h 320544"/>
                <a:gd name="connsiteX171" fmla="*/ 178041 w 481145"/>
                <a:gd name="connsiteY171" fmla="*/ 288131 h 320544"/>
                <a:gd name="connsiteX172" fmla="*/ 177965 w 481145"/>
                <a:gd name="connsiteY172" fmla="*/ 288541 h 320544"/>
                <a:gd name="connsiteX173" fmla="*/ 177222 w 481145"/>
                <a:gd name="connsiteY173" fmla="*/ 288798 h 320544"/>
                <a:gd name="connsiteX174" fmla="*/ 168954 w 481145"/>
                <a:gd name="connsiteY174" fmla="*/ 286598 h 320544"/>
                <a:gd name="connsiteX175" fmla="*/ 165382 w 481145"/>
                <a:gd name="connsiteY175" fmla="*/ 284512 h 320544"/>
                <a:gd name="connsiteX176" fmla="*/ 162573 w 481145"/>
                <a:gd name="connsiteY176" fmla="*/ 280597 h 320544"/>
                <a:gd name="connsiteX177" fmla="*/ 163973 w 481145"/>
                <a:gd name="connsiteY177" fmla="*/ 279330 h 320544"/>
                <a:gd name="connsiteX178" fmla="*/ 165192 w 481145"/>
                <a:gd name="connsiteY178" fmla="*/ 278768 h 320544"/>
                <a:gd name="connsiteX179" fmla="*/ 169497 w 481145"/>
                <a:gd name="connsiteY179" fmla="*/ 278444 h 320544"/>
                <a:gd name="connsiteX180" fmla="*/ 170240 w 481145"/>
                <a:gd name="connsiteY180" fmla="*/ 278044 h 320544"/>
                <a:gd name="connsiteX181" fmla="*/ 170316 w 481145"/>
                <a:gd name="connsiteY181" fmla="*/ 277139 h 320544"/>
                <a:gd name="connsiteX182" fmla="*/ 170640 w 481145"/>
                <a:gd name="connsiteY182" fmla="*/ 275958 h 320544"/>
                <a:gd name="connsiteX183" fmla="*/ 170526 w 481145"/>
                <a:gd name="connsiteY183" fmla="*/ 274234 h 320544"/>
                <a:gd name="connsiteX184" fmla="*/ 170050 w 481145"/>
                <a:gd name="connsiteY184" fmla="*/ 272405 h 320544"/>
                <a:gd name="connsiteX185" fmla="*/ 171935 w 481145"/>
                <a:gd name="connsiteY185" fmla="*/ 269729 h 320544"/>
                <a:gd name="connsiteX186" fmla="*/ 174745 w 481145"/>
                <a:gd name="connsiteY186" fmla="*/ 267519 h 320544"/>
                <a:gd name="connsiteX187" fmla="*/ 176393 w 481145"/>
                <a:gd name="connsiteY187" fmla="*/ 265300 h 320544"/>
                <a:gd name="connsiteX188" fmla="*/ 176641 w 481145"/>
                <a:gd name="connsiteY188" fmla="*/ 262042 h 320544"/>
                <a:gd name="connsiteX189" fmla="*/ 179603 w 481145"/>
                <a:gd name="connsiteY189" fmla="*/ 260452 h 320544"/>
                <a:gd name="connsiteX190" fmla="*/ 182223 w 481145"/>
                <a:gd name="connsiteY190" fmla="*/ 257718 h 320544"/>
                <a:gd name="connsiteX191" fmla="*/ 182870 w 481145"/>
                <a:gd name="connsiteY191" fmla="*/ 254736 h 320544"/>
                <a:gd name="connsiteX192" fmla="*/ 183794 w 481145"/>
                <a:gd name="connsiteY192" fmla="*/ 252860 h 320544"/>
                <a:gd name="connsiteX193" fmla="*/ 182118 w 481145"/>
                <a:gd name="connsiteY193" fmla="*/ 248545 h 320544"/>
                <a:gd name="connsiteX194" fmla="*/ 181765 w 481145"/>
                <a:gd name="connsiteY194" fmla="*/ 245697 h 320544"/>
                <a:gd name="connsiteX195" fmla="*/ 181689 w 481145"/>
                <a:gd name="connsiteY195" fmla="*/ 243306 h 320544"/>
                <a:gd name="connsiteX196" fmla="*/ 182508 w 481145"/>
                <a:gd name="connsiteY196" fmla="*/ 241983 h 320544"/>
                <a:gd name="connsiteX197" fmla="*/ 184956 w 481145"/>
                <a:gd name="connsiteY197" fmla="*/ 240487 h 320544"/>
                <a:gd name="connsiteX198" fmla="*/ 187528 w 481145"/>
                <a:gd name="connsiteY198" fmla="*/ 239325 h 320544"/>
                <a:gd name="connsiteX199" fmla="*/ 188595 w 481145"/>
                <a:gd name="connsiteY199" fmla="*/ 239439 h 320544"/>
                <a:gd name="connsiteX200" fmla="*/ 188985 w 481145"/>
                <a:gd name="connsiteY200" fmla="*/ 240173 h 320544"/>
                <a:gd name="connsiteX201" fmla="*/ 189080 w 481145"/>
                <a:gd name="connsiteY201" fmla="*/ 245030 h 320544"/>
                <a:gd name="connsiteX202" fmla="*/ 189595 w 481145"/>
                <a:gd name="connsiteY202" fmla="*/ 245126 h 320544"/>
                <a:gd name="connsiteX203" fmla="*/ 190414 w 481145"/>
                <a:gd name="connsiteY203" fmla="*/ 244526 h 320544"/>
                <a:gd name="connsiteX204" fmla="*/ 191757 w 481145"/>
                <a:gd name="connsiteY204" fmla="*/ 241668 h 320544"/>
                <a:gd name="connsiteX205" fmla="*/ 192681 w 481145"/>
                <a:gd name="connsiteY205" fmla="*/ 242497 h 320544"/>
                <a:gd name="connsiteX206" fmla="*/ 194110 w 481145"/>
                <a:gd name="connsiteY206" fmla="*/ 242811 h 320544"/>
                <a:gd name="connsiteX207" fmla="*/ 195176 w 481145"/>
                <a:gd name="connsiteY207" fmla="*/ 242068 h 320544"/>
                <a:gd name="connsiteX208" fmla="*/ 195872 w 481145"/>
                <a:gd name="connsiteY208" fmla="*/ 242154 h 320544"/>
                <a:gd name="connsiteX209" fmla="*/ 196729 w 481145"/>
                <a:gd name="connsiteY209" fmla="*/ 242888 h 320544"/>
                <a:gd name="connsiteX210" fmla="*/ 198444 w 481145"/>
                <a:gd name="connsiteY210" fmla="*/ 243926 h 320544"/>
                <a:gd name="connsiteX211" fmla="*/ 200044 w 481145"/>
                <a:gd name="connsiteY211" fmla="*/ 244269 h 320544"/>
                <a:gd name="connsiteX212" fmla="*/ 201368 w 481145"/>
                <a:gd name="connsiteY212" fmla="*/ 243583 h 320544"/>
                <a:gd name="connsiteX213" fmla="*/ 202501 w 481145"/>
                <a:gd name="connsiteY213" fmla="*/ 242345 h 320544"/>
                <a:gd name="connsiteX214" fmla="*/ 203711 w 481145"/>
                <a:gd name="connsiteY214" fmla="*/ 242764 h 320544"/>
                <a:gd name="connsiteX215" fmla="*/ 206007 w 481145"/>
                <a:gd name="connsiteY215" fmla="*/ 246135 h 320544"/>
                <a:gd name="connsiteX216" fmla="*/ 207073 w 481145"/>
                <a:gd name="connsiteY216" fmla="*/ 245764 h 320544"/>
                <a:gd name="connsiteX217" fmla="*/ 212360 w 481145"/>
                <a:gd name="connsiteY217" fmla="*/ 245088 h 320544"/>
                <a:gd name="connsiteX218" fmla="*/ 213207 w 481145"/>
                <a:gd name="connsiteY218" fmla="*/ 244173 h 320544"/>
                <a:gd name="connsiteX219" fmla="*/ 213836 w 481145"/>
                <a:gd name="connsiteY219" fmla="*/ 243344 h 320544"/>
                <a:gd name="connsiteX220" fmla="*/ 208312 w 481145"/>
                <a:gd name="connsiteY220" fmla="*/ 238868 h 320544"/>
                <a:gd name="connsiteX221" fmla="*/ 208588 w 481145"/>
                <a:gd name="connsiteY221" fmla="*/ 235525 h 320544"/>
                <a:gd name="connsiteX222" fmla="*/ 208797 w 481145"/>
                <a:gd name="connsiteY222" fmla="*/ 231686 h 320544"/>
                <a:gd name="connsiteX223" fmla="*/ 208140 w 481145"/>
                <a:gd name="connsiteY223" fmla="*/ 229400 h 320544"/>
                <a:gd name="connsiteX224" fmla="*/ 207064 w 481145"/>
                <a:gd name="connsiteY224" fmla="*/ 227590 h 320544"/>
                <a:gd name="connsiteX225" fmla="*/ 202844 w 481145"/>
                <a:gd name="connsiteY225" fmla="*/ 225485 h 320544"/>
                <a:gd name="connsiteX226" fmla="*/ 199577 w 481145"/>
                <a:gd name="connsiteY226" fmla="*/ 223304 h 320544"/>
                <a:gd name="connsiteX227" fmla="*/ 198891 w 481145"/>
                <a:gd name="connsiteY227" fmla="*/ 222313 h 320544"/>
                <a:gd name="connsiteX228" fmla="*/ 198805 w 481145"/>
                <a:gd name="connsiteY228" fmla="*/ 221037 h 320544"/>
                <a:gd name="connsiteX229" fmla="*/ 198663 w 481145"/>
                <a:gd name="connsiteY229" fmla="*/ 219056 h 320544"/>
                <a:gd name="connsiteX230" fmla="*/ 197367 w 481145"/>
                <a:gd name="connsiteY230" fmla="*/ 217351 h 320544"/>
                <a:gd name="connsiteX231" fmla="*/ 197262 w 481145"/>
                <a:gd name="connsiteY231" fmla="*/ 215903 h 320544"/>
                <a:gd name="connsiteX232" fmla="*/ 198082 w 481145"/>
                <a:gd name="connsiteY232" fmla="*/ 213646 h 320544"/>
                <a:gd name="connsiteX233" fmla="*/ 198282 w 481145"/>
                <a:gd name="connsiteY233" fmla="*/ 211245 h 320544"/>
                <a:gd name="connsiteX234" fmla="*/ 198005 w 481145"/>
                <a:gd name="connsiteY234" fmla="*/ 210293 h 320544"/>
                <a:gd name="connsiteX235" fmla="*/ 197243 w 481145"/>
                <a:gd name="connsiteY235" fmla="*/ 209512 h 320544"/>
                <a:gd name="connsiteX236" fmla="*/ 195776 w 481145"/>
                <a:gd name="connsiteY236" fmla="*/ 209435 h 320544"/>
                <a:gd name="connsiteX237" fmla="*/ 193843 w 481145"/>
                <a:gd name="connsiteY237" fmla="*/ 208045 h 320544"/>
                <a:gd name="connsiteX238" fmla="*/ 192519 w 481145"/>
                <a:gd name="connsiteY238" fmla="*/ 206169 h 320544"/>
                <a:gd name="connsiteX239" fmla="*/ 188956 w 481145"/>
                <a:gd name="connsiteY239" fmla="*/ 203463 h 320544"/>
                <a:gd name="connsiteX240" fmla="*/ 187871 w 481145"/>
                <a:gd name="connsiteY240" fmla="*/ 203025 h 320544"/>
                <a:gd name="connsiteX241" fmla="*/ 187204 w 481145"/>
                <a:gd name="connsiteY241" fmla="*/ 201682 h 320544"/>
                <a:gd name="connsiteX242" fmla="*/ 186880 w 481145"/>
                <a:gd name="connsiteY242" fmla="*/ 200082 h 320544"/>
                <a:gd name="connsiteX243" fmla="*/ 187633 w 481145"/>
                <a:gd name="connsiteY243" fmla="*/ 198091 h 320544"/>
                <a:gd name="connsiteX244" fmla="*/ 188576 w 481145"/>
                <a:gd name="connsiteY244" fmla="*/ 195015 h 320544"/>
                <a:gd name="connsiteX245" fmla="*/ 189233 w 481145"/>
                <a:gd name="connsiteY245" fmla="*/ 192129 h 320544"/>
                <a:gd name="connsiteX246" fmla="*/ 189243 w 481145"/>
                <a:gd name="connsiteY246" fmla="*/ 190405 h 320544"/>
                <a:gd name="connsiteX247" fmla="*/ 188814 w 481145"/>
                <a:gd name="connsiteY247" fmla="*/ 186137 h 320544"/>
                <a:gd name="connsiteX248" fmla="*/ 186957 w 481145"/>
                <a:gd name="connsiteY248" fmla="*/ 182870 h 320544"/>
                <a:gd name="connsiteX249" fmla="*/ 186090 w 481145"/>
                <a:gd name="connsiteY249" fmla="*/ 182442 h 320544"/>
                <a:gd name="connsiteX250" fmla="*/ 184594 w 481145"/>
                <a:gd name="connsiteY250" fmla="*/ 183356 h 320544"/>
                <a:gd name="connsiteX251" fmla="*/ 182889 w 481145"/>
                <a:gd name="connsiteY251" fmla="*/ 184128 h 320544"/>
                <a:gd name="connsiteX252" fmla="*/ 181546 w 481145"/>
                <a:gd name="connsiteY252" fmla="*/ 183404 h 320544"/>
                <a:gd name="connsiteX253" fmla="*/ 180013 w 481145"/>
                <a:gd name="connsiteY253" fmla="*/ 181632 h 320544"/>
                <a:gd name="connsiteX254" fmla="*/ 177555 w 481145"/>
                <a:gd name="connsiteY254" fmla="*/ 176689 h 320544"/>
                <a:gd name="connsiteX255" fmla="*/ 172955 w 481145"/>
                <a:gd name="connsiteY255" fmla="*/ 175698 h 320544"/>
                <a:gd name="connsiteX256" fmla="*/ 171049 w 481145"/>
                <a:gd name="connsiteY256" fmla="*/ 175460 h 320544"/>
                <a:gd name="connsiteX257" fmla="*/ 169250 w 481145"/>
                <a:gd name="connsiteY257" fmla="*/ 177841 h 320544"/>
                <a:gd name="connsiteX258" fmla="*/ 168687 w 481145"/>
                <a:gd name="connsiteY258" fmla="*/ 177117 h 320544"/>
                <a:gd name="connsiteX259" fmla="*/ 168183 w 481145"/>
                <a:gd name="connsiteY259" fmla="*/ 175593 h 320544"/>
                <a:gd name="connsiteX260" fmla="*/ 167230 w 481145"/>
                <a:gd name="connsiteY260" fmla="*/ 174993 h 320544"/>
                <a:gd name="connsiteX261" fmla="*/ 165973 w 481145"/>
                <a:gd name="connsiteY261" fmla="*/ 175698 h 320544"/>
                <a:gd name="connsiteX262" fmla="*/ 165611 w 481145"/>
                <a:gd name="connsiteY262" fmla="*/ 175022 h 320544"/>
                <a:gd name="connsiteX263" fmla="*/ 166154 w 481145"/>
                <a:gd name="connsiteY263" fmla="*/ 172955 h 320544"/>
                <a:gd name="connsiteX264" fmla="*/ 164659 w 481145"/>
                <a:gd name="connsiteY264" fmla="*/ 171936 h 320544"/>
                <a:gd name="connsiteX265" fmla="*/ 161124 w 481145"/>
                <a:gd name="connsiteY265" fmla="*/ 171955 h 320544"/>
                <a:gd name="connsiteX266" fmla="*/ 159239 w 481145"/>
                <a:gd name="connsiteY266" fmla="*/ 171193 h 320544"/>
                <a:gd name="connsiteX267" fmla="*/ 159019 w 481145"/>
                <a:gd name="connsiteY267" fmla="*/ 169640 h 320544"/>
                <a:gd name="connsiteX268" fmla="*/ 157905 w 481145"/>
                <a:gd name="connsiteY268" fmla="*/ 168621 h 320544"/>
                <a:gd name="connsiteX269" fmla="*/ 155905 w 481145"/>
                <a:gd name="connsiteY269" fmla="*/ 168126 h 320544"/>
                <a:gd name="connsiteX270" fmla="*/ 153952 w 481145"/>
                <a:gd name="connsiteY270" fmla="*/ 166859 h 320544"/>
                <a:gd name="connsiteX271" fmla="*/ 152066 w 481145"/>
                <a:gd name="connsiteY271" fmla="*/ 164811 h 320544"/>
                <a:gd name="connsiteX272" fmla="*/ 149237 w 481145"/>
                <a:gd name="connsiteY272" fmla="*/ 163478 h 320544"/>
                <a:gd name="connsiteX273" fmla="*/ 145475 w 481145"/>
                <a:gd name="connsiteY273" fmla="*/ 162858 h 320544"/>
                <a:gd name="connsiteX274" fmla="*/ 145170 w 481145"/>
                <a:gd name="connsiteY274" fmla="*/ 162639 h 320544"/>
                <a:gd name="connsiteX275" fmla="*/ 144818 w 481145"/>
                <a:gd name="connsiteY275" fmla="*/ 162344 h 320544"/>
                <a:gd name="connsiteX276" fmla="*/ 142389 w 481145"/>
                <a:gd name="connsiteY276" fmla="*/ 163735 h 320544"/>
                <a:gd name="connsiteX277" fmla="*/ 140932 w 481145"/>
                <a:gd name="connsiteY277" fmla="*/ 164840 h 320544"/>
                <a:gd name="connsiteX278" fmla="*/ 139141 w 481145"/>
                <a:gd name="connsiteY278" fmla="*/ 164154 h 320544"/>
                <a:gd name="connsiteX279" fmla="*/ 136245 w 481145"/>
                <a:gd name="connsiteY279" fmla="*/ 166611 h 320544"/>
                <a:gd name="connsiteX280" fmla="*/ 130359 w 481145"/>
                <a:gd name="connsiteY280" fmla="*/ 166735 h 320544"/>
                <a:gd name="connsiteX281" fmla="*/ 127473 w 481145"/>
                <a:gd name="connsiteY281" fmla="*/ 166583 h 320544"/>
                <a:gd name="connsiteX282" fmla="*/ 126044 w 481145"/>
                <a:gd name="connsiteY282" fmla="*/ 165973 h 320544"/>
                <a:gd name="connsiteX283" fmla="*/ 120519 w 481145"/>
                <a:gd name="connsiteY283" fmla="*/ 169707 h 320544"/>
                <a:gd name="connsiteX284" fmla="*/ 119939 w 481145"/>
                <a:gd name="connsiteY284" fmla="*/ 171079 h 320544"/>
                <a:gd name="connsiteX285" fmla="*/ 118700 w 481145"/>
                <a:gd name="connsiteY285" fmla="*/ 171535 h 320544"/>
                <a:gd name="connsiteX286" fmla="*/ 115224 w 481145"/>
                <a:gd name="connsiteY286" fmla="*/ 172278 h 320544"/>
                <a:gd name="connsiteX287" fmla="*/ 111566 w 481145"/>
                <a:gd name="connsiteY287" fmla="*/ 173326 h 320544"/>
                <a:gd name="connsiteX288" fmla="*/ 110794 w 481145"/>
                <a:gd name="connsiteY288" fmla="*/ 176936 h 320544"/>
                <a:gd name="connsiteX289" fmla="*/ 109708 w 481145"/>
                <a:gd name="connsiteY289" fmla="*/ 178889 h 320544"/>
                <a:gd name="connsiteX290" fmla="*/ 107746 w 481145"/>
                <a:gd name="connsiteY290" fmla="*/ 181746 h 320544"/>
                <a:gd name="connsiteX291" fmla="*/ 100955 w 481145"/>
                <a:gd name="connsiteY291" fmla="*/ 182737 h 320544"/>
                <a:gd name="connsiteX292" fmla="*/ 95088 w 481145"/>
                <a:gd name="connsiteY292" fmla="*/ 184128 h 320544"/>
                <a:gd name="connsiteX293" fmla="*/ 89078 w 481145"/>
                <a:gd name="connsiteY293" fmla="*/ 184995 h 320544"/>
                <a:gd name="connsiteX294" fmla="*/ 81200 w 481145"/>
                <a:gd name="connsiteY294" fmla="*/ 188481 h 320544"/>
                <a:gd name="connsiteX295" fmla="*/ 78638 w 481145"/>
                <a:gd name="connsiteY295" fmla="*/ 191548 h 320544"/>
                <a:gd name="connsiteX296" fmla="*/ 76105 w 481145"/>
                <a:gd name="connsiteY296" fmla="*/ 192405 h 320544"/>
                <a:gd name="connsiteX297" fmla="*/ 73809 w 481145"/>
                <a:gd name="connsiteY297" fmla="*/ 192662 h 320544"/>
                <a:gd name="connsiteX298" fmla="*/ 72323 w 481145"/>
                <a:gd name="connsiteY298" fmla="*/ 190948 h 320544"/>
                <a:gd name="connsiteX299" fmla="*/ 67323 w 481145"/>
                <a:gd name="connsiteY299" fmla="*/ 186357 h 320544"/>
                <a:gd name="connsiteX300" fmla="*/ 65398 w 481145"/>
                <a:gd name="connsiteY300" fmla="*/ 184185 h 320544"/>
                <a:gd name="connsiteX301" fmla="*/ 62865 w 481145"/>
                <a:gd name="connsiteY301" fmla="*/ 183547 h 320544"/>
                <a:gd name="connsiteX302" fmla="*/ 60112 w 481145"/>
                <a:gd name="connsiteY302" fmla="*/ 183909 h 320544"/>
                <a:gd name="connsiteX303" fmla="*/ 57464 w 481145"/>
                <a:gd name="connsiteY303" fmla="*/ 184975 h 320544"/>
                <a:gd name="connsiteX304" fmla="*/ 54683 w 481145"/>
                <a:gd name="connsiteY304" fmla="*/ 185175 h 320544"/>
                <a:gd name="connsiteX305" fmla="*/ 51530 w 481145"/>
                <a:gd name="connsiteY305" fmla="*/ 183632 h 320544"/>
                <a:gd name="connsiteX306" fmla="*/ 51197 w 481145"/>
                <a:gd name="connsiteY306" fmla="*/ 183785 h 320544"/>
                <a:gd name="connsiteX307" fmla="*/ 49987 w 481145"/>
                <a:gd name="connsiteY307" fmla="*/ 183994 h 320544"/>
                <a:gd name="connsiteX308" fmla="*/ 42157 w 481145"/>
                <a:gd name="connsiteY308" fmla="*/ 182128 h 320544"/>
                <a:gd name="connsiteX309" fmla="*/ 41434 w 481145"/>
                <a:gd name="connsiteY309" fmla="*/ 181813 h 320544"/>
                <a:gd name="connsiteX310" fmla="*/ 41091 w 481145"/>
                <a:gd name="connsiteY310" fmla="*/ 181737 h 320544"/>
                <a:gd name="connsiteX311" fmla="*/ 40014 w 481145"/>
                <a:gd name="connsiteY311" fmla="*/ 181594 h 320544"/>
                <a:gd name="connsiteX312" fmla="*/ 34118 w 481145"/>
                <a:gd name="connsiteY312" fmla="*/ 181823 h 320544"/>
                <a:gd name="connsiteX313" fmla="*/ 28622 w 481145"/>
                <a:gd name="connsiteY313" fmla="*/ 178051 h 320544"/>
                <a:gd name="connsiteX314" fmla="*/ 26936 w 481145"/>
                <a:gd name="connsiteY314" fmla="*/ 177937 h 320544"/>
                <a:gd name="connsiteX315" fmla="*/ 25632 w 481145"/>
                <a:gd name="connsiteY315" fmla="*/ 179460 h 320544"/>
                <a:gd name="connsiteX316" fmla="*/ 24669 w 481145"/>
                <a:gd name="connsiteY316" fmla="*/ 181156 h 320544"/>
                <a:gd name="connsiteX317" fmla="*/ 20878 w 481145"/>
                <a:gd name="connsiteY317" fmla="*/ 182842 h 320544"/>
                <a:gd name="connsiteX318" fmla="*/ 19907 w 481145"/>
                <a:gd name="connsiteY318" fmla="*/ 183518 h 320544"/>
                <a:gd name="connsiteX319" fmla="*/ 19355 w 481145"/>
                <a:gd name="connsiteY319" fmla="*/ 182994 h 320544"/>
                <a:gd name="connsiteX320" fmla="*/ 19097 w 481145"/>
                <a:gd name="connsiteY320" fmla="*/ 181537 h 320544"/>
                <a:gd name="connsiteX321" fmla="*/ 19383 w 481145"/>
                <a:gd name="connsiteY321" fmla="*/ 180241 h 320544"/>
                <a:gd name="connsiteX322" fmla="*/ 18821 w 481145"/>
                <a:gd name="connsiteY322" fmla="*/ 179022 h 320544"/>
                <a:gd name="connsiteX323" fmla="*/ 17383 w 481145"/>
                <a:gd name="connsiteY323" fmla="*/ 177632 h 320544"/>
                <a:gd name="connsiteX324" fmla="*/ 17030 w 481145"/>
                <a:gd name="connsiteY324" fmla="*/ 177051 h 320544"/>
                <a:gd name="connsiteX325" fmla="*/ 15221 w 481145"/>
                <a:gd name="connsiteY325" fmla="*/ 177155 h 320544"/>
                <a:gd name="connsiteX326" fmla="*/ 14725 w 481145"/>
                <a:gd name="connsiteY326" fmla="*/ 177289 h 320544"/>
                <a:gd name="connsiteX327" fmla="*/ 14544 w 481145"/>
                <a:gd name="connsiteY327" fmla="*/ 177260 h 320544"/>
                <a:gd name="connsiteX328" fmla="*/ 12029 w 481145"/>
                <a:gd name="connsiteY328" fmla="*/ 176079 h 320544"/>
                <a:gd name="connsiteX329" fmla="*/ 10373 w 481145"/>
                <a:gd name="connsiteY329" fmla="*/ 173231 h 320544"/>
                <a:gd name="connsiteX330" fmla="*/ 7791 w 481145"/>
                <a:gd name="connsiteY330" fmla="*/ 171717 h 320544"/>
                <a:gd name="connsiteX331" fmla="*/ 5819 w 481145"/>
                <a:gd name="connsiteY331" fmla="*/ 171202 h 320544"/>
                <a:gd name="connsiteX332" fmla="*/ 4924 w 481145"/>
                <a:gd name="connsiteY332" fmla="*/ 169974 h 320544"/>
                <a:gd name="connsiteX333" fmla="*/ 4343 w 481145"/>
                <a:gd name="connsiteY333" fmla="*/ 168345 h 320544"/>
                <a:gd name="connsiteX334" fmla="*/ 3733 w 481145"/>
                <a:gd name="connsiteY334" fmla="*/ 167116 h 320544"/>
                <a:gd name="connsiteX335" fmla="*/ 3667 w 481145"/>
                <a:gd name="connsiteY335" fmla="*/ 166992 h 320544"/>
                <a:gd name="connsiteX336" fmla="*/ 3247 w 481145"/>
                <a:gd name="connsiteY336" fmla="*/ 165125 h 320544"/>
                <a:gd name="connsiteX337" fmla="*/ 2648 w 481145"/>
                <a:gd name="connsiteY337" fmla="*/ 164935 h 320544"/>
                <a:gd name="connsiteX338" fmla="*/ 2543 w 481145"/>
                <a:gd name="connsiteY338" fmla="*/ 164887 h 320544"/>
                <a:gd name="connsiteX339" fmla="*/ 0 w 481145"/>
                <a:gd name="connsiteY339" fmla="*/ 165211 h 320544"/>
                <a:gd name="connsiteX340" fmla="*/ 295 w 481145"/>
                <a:gd name="connsiteY340" fmla="*/ 158648 h 320544"/>
                <a:gd name="connsiteX341" fmla="*/ 4362 w 481145"/>
                <a:gd name="connsiteY341" fmla="*/ 153914 h 320544"/>
                <a:gd name="connsiteX342" fmla="*/ 5362 w 481145"/>
                <a:gd name="connsiteY342" fmla="*/ 151524 h 320544"/>
                <a:gd name="connsiteX343" fmla="*/ 6886 w 481145"/>
                <a:gd name="connsiteY343" fmla="*/ 146332 h 320544"/>
                <a:gd name="connsiteX344" fmla="*/ 8029 w 481145"/>
                <a:gd name="connsiteY344" fmla="*/ 143894 h 320544"/>
                <a:gd name="connsiteX345" fmla="*/ 9401 w 481145"/>
                <a:gd name="connsiteY345" fmla="*/ 141875 h 320544"/>
                <a:gd name="connsiteX346" fmla="*/ 10496 w 481145"/>
                <a:gd name="connsiteY346" fmla="*/ 139922 h 320544"/>
                <a:gd name="connsiteX347" fmla="*/ 10887 w 481145"/>
                <a:gd name="connsiteY347" fmla="*/ 138246 h 320544"/>
                <a:gd name="connsiteX348" fmla="*/ 11992 w 481145"/>
                <a:gd name="connsiteY348" fmla="*/ 138055 h 320544"/>
                <a:gd name="connsiteX349" fmla="*/ 15230 w 481145"/>
                <a:gd name="connsiteY349" fmla="*/ 139570 h 320544"/>
                <a:gd name="connsiteX350" fmla="*/ 18136 w 481145"/>
                <a:gd name="connsiteY350" fmla="*/ 140351 h 320544"/>
                <a:gd name="connsiteX351" fmla="*/ 18935 w 481145"/>
                <a:gd name="connsiteY351" fmla="*/ 139608 h 320544"/>
                <a:gd name="connsiteX352" fmla="*/ 19269 w 481145"/>
                <a:gd name="connsiteY352" fmla="*/ 138636 h 320544"/>
                <a:gd name="connsiteX353" fmla="*/ 19135 w 481145"/>
                <a:gd name="connsiteY353" fmla="*/ 137884 h 320544"/>
                <a:gd name="connsiteX354" fmla="*/ 16811 w 481145"/>
                <a:gd name="connsiteY354" fmla="*/ 135646 h 320544"/>
                <a:gd name="connsiteX355" fmla="*/ 15354 w 481145"/>
                <a:gd name="connsiteY355" fmla="*/ 134217 h 320544"/>
                <a:gd name="connsiteX356" fmla="*/ 15259 w 481145"/>
                <a:gd name="connsiteY356" fmla="*/ 133340 h 320544"/>
                <a:gd name="connsiteX357" fmla="*/ 15783 w 481145"/>
                <a:gd name="connsiteY357" fmla="*/ 131369 h 320544"/>
                <a:gd name="connsiteX358" fmla="*/ 16068 w 481145"/>
                <a:gd name="connsiteY358" fmla="*/ 129159 h 320544"/>
                <a:gd name="connsiteX359" fmla="*/ 15735 w 481145"/>
                <a:gd name="connsiteY359" fmla="*/ 126759 h 320544"/>
                <a:gd name="connsiteX360" fmla="*/ 14144 w 481145"/>
                <a:gd name="connsiteY360" fmla="*/ 121434 h 320544"/>
                <a:gd name="connsiteX361" fmla="*/ 13849 w 481145"/>
                <a:gd name="connsiteY361" fmla="*/ 119167 h 320544"/>
                <a:gd name="connsiteX362" fmla="*/ 15364 w 481145"/>
                <a:gd name="connsiteY362" fmla="*/ 116405 h 320544"/>
                <a:gd name="connsiteX363" fmla="*/ 20298 w 481145"/>
                <a:gd name="connsiteY363" fmla="*/ 109814 h 320544"/>
                <a:gd name="connsiteX364" fmla="*/ 21945 w 481145"/>
                <a:gd name="connsiteY364" fmla="*/ 107327 h 320544"/>
                <a:gd name="connsiteX365" fmla="*/ 24193 w 481145"/>
                <a:gd name="connsiteY365" fmla="*/ 104327 h 320544"/>
                <a:gd name="connsiteX366" fmla="*/ 30299 w 481145"/>
                <a:gd name="connsiteY366" fmla="*/ 97126 h 320544"/>
                <a:gd name="connsiteX367" fmla="*/ 34147 w 481145"/>
                <a:gd name="connsiteY367" fmla="*/ 92926 h 320544"/>
                <a:gd name="connsiteX368" fmla="*/ 36756 w 481145"/>
                <a:gd name="connsiteY368" fmla="*/ 90592 h 320544"/>
                <a:gd name="connsiteX369" fmla="*/ 40576 w 481145"/>
                <a:gd name="connsiteY369" fmla="*/ 86544 h 320544"/>
                <a:gd name="connsiteX370" fmla="*/ 42253 w 481145"/>
                <a:gd name="connsiteY370" fmla="*/ 84439 h 320544"/>
                <a:gd name="connsiteX371" fmla="*/ 49225 w 481145"/>
                <a:gd name="connsiteY371" fmla="*/ 83067 h 320544"/>
                <a:gd name="connsiteX372" fmla="*/ 50092 w 481145"/>
                <a:gd name="connsiteY372" fmla="*/ 81096 h 320544"/>
                <a:gd name="connsiteX373" fmla="*/ 51368 w 481145"/>
                <a:gd name="connsiteY373" fmla="*/ 78943 h 320544"/>
                <a:gd name="connsiteX374" fmla="*/ 52358 w 481145"/>
                <a:gd name="connsiteY374" fmla="*/ 78019 h 320544"/>
                <a:gd name="connsiteX375" fmla="*/ 52492 w 481145"/>
                <a:gd name="connsiteY375" fmla="*/ 74390 h 320544"/>
                <a:gd name="connsiteX376" fmla="*/ 51197 w 481145"/>
                <a:gd name="connsiteY376" fmla="*/ 69942 h 320544"/>
                <a:gd name="connsiteX377" fmla="*/ 50159 w 481145"/>
                <a:gd name="connsiteY377" fmla="*/ 68370 h 320544"/>
                <a:gd name="connsiteX378" fmla="*/ 49387 w 481145"/>
                <a:gd name="connsiteY378" fmla="*/ 67294 h 320544"/>
                <a:gd name="connsiteX379" fmla="*/ 49892 w 481145"/>
                <a:gd name="connsiteY379" fmla="*/ 66294 h 320544"/>
                <a:gd name="connsiteX380" fmla="*/ 50663 w 481145"/>
                <a:gd name="connsiteY380" fmla="*/ 66008 h 320544"/>
                <a:gd name="connsiteX381" fmla="*/ 51615 w 481145"/>
                <a:gd name="connsiteY381" fmla="*/ 65865 h 320544"/>
                <a:gd name="connsiteX382" fmla="*/ 52797 w 481145"/>
                <a:gd name="connsiteY382" fmla="*/ 64789 h 320544"/>
                <a:gd name="connsiteX383" fmla="*/ 52530 w 481145"/>
                <a:gd name="connsiteY383" fmla="*/ 63617 h 320544"/>
                <a:gd name="connsiteX384" fmla="*/ 49587 w 481145"/>
                <a:gd name="connsiteY384" fmla="*/ 60760 h 320544"/>
                <a:gd name="connsiteX385" fmla="*/ 48310 w 481145"/>
                <a:gd name="connsiteY385" fmla="*/ 58560 h 320544"/>
                <a:gd name="connsiteX386" fmla="*/ 46320 w 481145"/>
                <a:gd name="connsiteY386" fmla="*/ 52883 h 320544"/>
                <a:gd name="connsiteX387" fmla="*/ 42281 w 481145"/>
                <a:gd name="connsiteY387" fmla="*/ 46977 h 320544"/>
                <a:gd name="connsiteX388" fmla="*/ 41005 w 481145"/>
                <a:gd name="connsiteY388" fmla="*/ 45063 h 320544"/>
                <a:gd name="connsiteX389" fmla="*/ 40824 w 481145"/>
                <a:gd name="connsiteY389" fmla="*/ 43253 h 320544"/>
                <a:gd name="connsiteX390" fmla="*/ 41414 w 481145"/>
                <a:gd name="connsiteY390" fmla="*/ 41443 h 320544"/>
                <a:gd name="connsiteX391" fmla="*/ 40852 w 481145"/>
                <a:gd name="connsiteY391" fmla="*/ 39129 h 320544"/>
                <a:gd name="connsiteX392" fmla="*/ 39424 w 481145"/>
                <a:gd name="connsiteY392" fmla="*/ 36176 h 320544"/>
                <a:gd name="connsiteX393" fmla="*/ 39652 w 481145"/>
                <a:gd name="connsiteY393" fmla="*/ 35852 h 320544"/>
                <a:gd name="connsiteX394" fmla="*/ 39509 w 481145"/>
                <a:gd name="connsiteY394" fmla="*/ 32204 h 320544"/>
                <a:gd name="connsiteX395" fmla="*/ 40528 w 481145"/>
                <a:gd name="connsiteY395" fmla="*/ 31413 h 320544"/>
                <a:gd name="connsiteX396" fmla="*/ 42138 w 481145"/>
                <a:gd name="connsiteY396" fmla="*/ 30880 h 320544"/>
                <a:gd name="connsiteX397" fmla="*/ 44405 w 481145"/>
                <a:gd name="connsiteY397" fmla="*/ 31061 h 320544"/>
                <a:gd name="connsiteX398" fmla="*/ 46348 w 481145"/>
                <a:gd name="connsiteY398" fmla="*/ 31623 h 320544"/>
                <a:gd name="connsiteX399" fmla="*/ 48673 w 481145"/>
                <a:gd name="connsiteY399" fmla="*/ 33290 h 320544"/>
                <a:gd name="connsiteX400" fmla="*/ 49396 w 481145"/>
                <a:gd name="connsiteY400" fmla="*/ 33023 h 320544"/>
                <a:gd name="connsiteX401" fmla="*/ 53368 w 481145"/>
                <a:gd name="connsiteY401" fmla="*/ 29880 h 320544"/>
                <a:gd name="connsiteX402" fmla="*/ 57464 w 481145"/>
                <a:gd name="connsiteY402" fmla="*/ 25136 h 320544"/>
                <a:gd name="connsiteX403" fmla="*/ 58635 w 481145"/>
                <a:gd name="connsiteY403" fmla="*/ 22384 h 320544"/>
                <a:gd name="connsiteX404" fmla="*/ 59655 w 481145"/>
                <a:gd name="connsiteY404" fmla="*/ 21126 h 320544"/>
                <a:gd name="connsiteX405" fmla="*/ 63217 w 481145"/>
                <a:gd name="connsiteY405" fmla="*/ 20460 h 320544"/>
                <a:gd name="connsiteX406" fmla="*/ 66322 w 481145"/>
                <a:gd name="connsiteY406" fmla="*/ 20183 h 320544"/>
                <a:gd name="connsiteX407" fmla="*/ 68294 w 481145"/>
                <a:gd name="connsiteY407" fmla="*/ 20231 h 320544"/>
                <a:gd name="connsiteX408" fmla="*/ 73142 w 481145"/>
                <a:gd name="connsiteY408" fmla="*/ 19764 h 320544"/>
                <a:gd name="connsiteX409" fmla="*/ 76009 w 481145"/>
                <a:gd name="connsiteY409" fmla="*/ 19240 h 320544"/>
                <a:gd name="connsiteX410" fmla="*/ 78495 w 481145"/>
                <a:gd name="connsiteY410" fmla="*/ 18402 h 320544"/>
                <a:gd name="connsiteX411" fmla="*/ 83858 w 481145"/>
                <a:gd name="connsiteY411" fmla="*/ 18088 h 320544"/>
                <a:gd name="connsiteX412" fmla="*/ 92221 w 481145"/>
                <a:gd name="connsiteY412" fmla="*/ 18650 h 320544"/>
                <a:gd name="connsiteX413" fmla="*/ 97717 w 481145"/>
                <a:gd name="connsiteY413" fmla="*/ 18688 h 320544"/>
                <a:gd name="connsiteX414" fmla="*/ 101450 w 481145"/>
                <a:gd name="connsiteY414" fmla="*/ 19135 h 320544"/>
                <a:gd name="connsiteX415" fmla="*/ 110585 w 481145"/>
                <a:gd name="connsiteY415" fmla="*/ 21660 h 320544"/>
                <a:gd name="connsiteX416" fmla="*/ 113985 w 481145"/>
                <a:gd name="connsiteY416" fmla="*/ 22117 h 320544"/>
                <a:gd name="connsiteX417" fmla="*/ 115567 w 481145"/>
                <a:gd name="connsiteY417" fmla="*/ 23460 h 320544"/>
                <a:gd name="connsiteX418" fmla="*/ 118605 w 481145"/>
                <a:gd name="connsiteY418" fmla="*/ 23955 h 320544"/>
                <a:gd name="connsiteX419" fmla="*/ 124130 w 481145"/>
                <a:gd name="connsiteY419" fmla="*/ 25298 h 320544"/>
                <a:gd name="connsiteX420" fmla="*/ 128921 w 481145"/>
                <a:gd name="connsiteY420" fmla="*/ 26022 h 320544"/>
                <a:gd name="connsiteX421" fmla="*/ 132159 w 481145"/>
                <a:gd name="connsiteY421" fmla="*/ 25727 h 320544"/>
                <a:gd name="connsiteX422" fmla="*/ 133969 w 481145"/>
                <a:gd name="connsiteY422" fmla="*/ 26108 h 320544"/>
                <a:gd name="connsiteX423" fmla="*/ 137398 w 481145"/>
                <a:gd name="connsiteY423" fmla="*/ 32061 h 320544"/>
                <a:gd name="connsiteX424" fmla="*/ 138103 w 481145"/>
                <a:gd name="connsiteY424" fmla="*/ 32756 h 320544"/>
                <a:gd name="connsiteX425" fmla="*/ 139474 w 481145"/>
                <a:gd name="connsiteY425" fmla="*/ 32899 h 320544"/>
                <a:gd name="connsiteX426" fmla="*/ 142274 w 481145"/>
                <a:gd name="connsiteY426" fmla="*/ 32385 h 320544"/>
                <a:gd name="connsiteX427" fmla="*/ 146256 w 481145"/>
                <a:gd name="connsiteY427" fmla="*/ 32585 h 320544"/>
                <a:gd name="connsiteX428" fmla="*/ 148618 w 481145"/>
                <a:gd name="connsiteY428" fmla="*/ 33833 h 320544"/>
                <a:gd name="connsiteX429" fmla="*/ 148275 w 481145"/>
                <a:gd name="connsiteY429" fmla="*/ 37366 h 320544"/>
                <a:gd name="connsiteX430" fmla="*/ 148894 w 481145"/>
                <a:gd name="connsiteY430" fmla="*/ 37881 h 320544"/>
                <a:gd name="connsiteX431" fmla="*/ 150000 w 481145"/>
                <a:gd name="connsiteY431" fmla="*/ 37681 h 320544"/>
                <a:gd name="connsiteX432" fmla="*/ 151266 w 481145"/>
                <a:gd name="connsiteY432" fmla="*/ 35690 h 320544"/>
                <a:gd name="connsiteX433" fmla="*/ 152333 w 481145"/>
                <a:gd name="connsiteY433" fmla="*/ 33623 h 320544"/>
                <a:gd name="connsiteX434" fmla="*/ 153124 w 481145"/>
                <a:gd name="connsiteY434" fmla="*/ 32975 h 320544"/>
                <a:gd name="connsiteX435" fmla="*/ 157191 w 481145"/>
                <a:gd name="connsiteY435" fmla="*/ 34376 h 320544"/>
                <a:gd name="connsiteX436" fmla="*/ 159048 w 481145"/>
                <a:gd name="connsiteY436" fmla="*/ 34147 h 320544"/>
                <a:gd name="connsiteX437" fmla="*/ 160763 w 481145"/>
                <a:gd name="connsiteY437" fmla="*/ 32575 h 320544"/>
                <a:gd name="connsiteX438" fmla="*/ 161810 w 481145"/>
                <a:gd name="connsiteY438" fmla="*/ 32309 h 320544"/>
                <a:gd name="connsiteX439" fmla="*/ 164696 w 481145"/>
                <a:gd name="connsiteY439" fmla="*/ 33423 h 320544"/>
                <a:gd name="connsiteX440" fmla="*/ 168249 w 481145"/>
                <a:gd name="connsiteY440" fmla="*/ 34204 h 320544"/>
                <a:gd name="connsiteX441" fmla="*/ 171126 w 481145"/>
                <a:gd name="connsiteY441" fmla="*/ 34252 h 320544"/>
                <a:gd name="connsiteX442" fmla="*/ 172917 w 481145"/>
                <a:gd name="connsiteY442" fmla="*/ 35100 h 320544"/>
                <a:gd name="connsiteX443" fmla="*/ 174221 w 481145"/>
                <a:gd name="connsiteY443" fmla="*/ 38786 h 320544"/>
                <a:gd name="connsiteX444" fmla="*/ 175355 w 481145"/>
                <a:gd name="connsiteY444" fmla="*/ 39548 h 320544"/>
                <a:gd name="connsiteX445" fmla="*/ 176450 w 481145"/>
                <a:gd name="connsiteY445" fmla="*/ 39776 h 320544"/>
                <a:gd name="connsiteX446" fmla="*/ 178108 w 481145"/>
                <a:gd name="connsiteY446" fmla="*/ 36481 h 320544"/>
                <a:gd name="connsiteX447" fmla="*/ 179613 w 481145"/>
                <a:gd name="connsiteY447" fmla="*/ 35204 h 320544"/>
                <a:gd name="connsiteX448" fmla="*/ 181699 w 481145"/>
                <a:gd name="connsiteY448" fmla="*/ 34261 h 320544"/>
                <a:gd name="connsiteX449" fmla="*/ 183042 w 481145"/>
                <a:gd name="connsiteY449" fmla="*/ 33852 h 320544"/>
                <a:gd name="connsiteX450" fmla="*/ 183994 w 481145"/>
                <a:gd name="connsiteY450" fmla="*/ 32680 h 320544"/>
                <a:gd name="connsiteX451" fmla="*/ 185271 w 481145"/>
                <a:gd name="connsiteY451" fmla="*/ 31547 h 320544"/>
                <a:gd name="connsiteX452" fmla="*/ 186375 w 481145"/>
                <a:gd name="connsiteY452" fmla="*/ 31452 h 320544"/>
                <a:gd name="connsiteX453" fmla="*/ 187271 w 481145"/>
                <a:gd name="connsiteY453" fmla="*/ 31890 h 320544"/>
                <a:gd name="connsiteX454" fmla="*/ 188300 w 481145"/>
                <a:gd name="connsiteY454" fmla="*/ 33461 h 320544"/>
                <a:gd name="connsiteX455" fmla="*/ 189804 w 481145"/>
                <a:gd name="connsiteY455" fmla="*/ 37043 h 320544"/>
                <a:gd name="connsiteX456" fmla="*/ 191633 w 481145"/>
                <a:gd name="connsiteY456" fmla="*/ 40634 h 320544"/>
                <a:gd name="connsiteX457" fmla="*/ 192910 w 481145"/>
                <a:gd name="connsiteY457" fmla="*/ 41938 h 320544"/>
                <a:gd name="connsiteX458" fmla="*/ 196205 w 481145"/>
                <a:gd name="connsiteY458" fmla="*/ 40834 h 320544"/>
                <a:gd name="connsiteX459" fmla="*/ 198434 w 481145"/>
                <a:gd name="connsiteY459" fmla="*/ 39709 h 320544"/>
                <a:gd name="connsiteX460" fmla="*/ 202520 w 481145"/>
                <a:gd name="connsiteY460" fmla="*/ 39500 h 320544"/>
                <a:gd name="connsiteX461" fmla="*/ 207940 w 481145"/>
                <a:gd name="connsiteY461" fmla="*/ 38710 h 320544"/>
                <a:gd name="connsiteX462" fmla="*/ 212084 w 481145"/>
                <a:gd name="connsiteY462" fmla="*/ 37681 h 320544"/>
                <a:gd name="connsiteX463" fmla="*/ 214674 w 481145"/>
                <a:gd name="connsiteY463" fmla="*/ 37862 h 320544"/>
                <a:gd name="connsiteX464" fmla="*/ 216246 w 481145"/>
                <a:gd name="connsiteY464" fmla="*/ 39005 h 320544"/>
                <a:gd name="connsiteX465" fmla="*/ 218637 w 481145"/>
                <a:gd name="connsiteY465" fmla="*/ 41205 h 320544"/>
                <a:gd name="connsiteX466" fmla="*/ 219284 w 481145"/>
                <a:gd name="connsiteY466" fmla="*/ 44367 h 320544"/>
                <a:gd name="connsiteX467" fmla="*/ 222389 w 481145"/>
                <a:gd name="connsiteY467" fmla="*/ 46549 h 320544"/>
                <a:gd name="connsiteX468" fmla="*/ 224933 w 481145"/>
                <a:gd name="connsiteY468" fmla="*/ 46949 h 320544"/>
                <a:gd name="connsiteX469" fmla="*/ 225800 w 481145"/>
                <a:gd name="connsiteY469" fmla="*/ 44682 h 320544"/>
                <a:gd name="connsiteX470" fmla="*/ 227286 w 481145"/>
                <a:gd name="connsiteY470" fmla="*/ 43101 h 320544"/>
                <a:gd name="connsiteX471" fmla="*/ 226723 w 481145"/>
                <a:gd name="connsiteY471" fmla="*/ 40919 h 320544"/>
                <a:gd name="connsiteX472" fmla="*/ 226476 w 481145"/>
                <a:gd name="connsiteY472" fmla="*/ 38138 h 320544"/>
                <a:gd name="connsiteX473" fmla="*/ 225361 w 481145"/>
                <a:gd name="connsiteY473" fmla="*/ 35557 h 320544"/>
                <a:gd name="connsiteX474" fmla="*/ 224618 w 481145"/>
                <a:gd name="connsiteY474" fmla="*/ 32775 h 320544"/>
                <a:gd name="connsiteX475" fmla="*/ 225980 w 481145"/>
                <a:gd name="connsiteY475" fmla="*/ 28794 h 320544"/>
                <a:gd name="connsiteX476" fmla="*/ 227466 w 481145"/>
                <a:gd name="connsiteY476" fmla="*/ 25308 h 320544"/>
                <a:gd name="connsiteX477" fmla="*/ 228209 w 481145"/>
                <a:gd name="connsiteY477" fmla="*/ 23412 h 320544"/>
                <a:gd name="connsiteX478" fmla="*/ 230562 w 481145"/>
                <a:gd name="connsiteY478" fmla="*/ 19907 h 320544"/>
                <a:gd name="connsiteX479" fmla="*/ 232972 w 481145"/>
                <a:gd name="connsiteY479" fmla="*/ 17402 h 320544"/>
                <a:gd name="connsiteX480" fmla="*/ 236581 w 481145"/>
                <a:gd name="connsiteY480" fmla="*/ 13373 h 320544"/>
                <a:gd name="connsiteX481" fmla="*/ 239220 w 481145"/>
                <a:gd name="connsiteY481" fmla="*/ 12039 h 320544"/>
                <a:gd name="connsiteX482" fmla="*/ 241602 w 481145"/>
                <a:gd name="connsiteY482" fmla="*/ 12649 h 320544"/>
                <a:gd name="connsiteX483" fmla="*/ 242925 w 481145"/>
                <a:gd name="connsiteY483" fmla="*/ 13202 h 320544"/>
                <a:gd name="connsiteX484" fmla="*/ 246345 w 481145"/>
                <a:gd name="connsiteY484" fmla="*/ 10811 h 320544"/>
                <a:gd name="connsiteX485" fmla="*/ 252431 w 481145"/>
                <a:gd name="connsiteY485" fmla="*/ 10687 h 320544"/>
                <a:gd name="connsiteX486" fmla="*/ 257499 w 481145"/>
                <a:gd name="connsiteY486" fmla="*/ 10992 h 320544"/>
                <a:gd name="connsiteX487" fmla="*/ 258013 w 481145"/>
                <a:gd name="connsiteY487" fmla="*/ 11068 h 320544"/>
                <a:gd name="connsiteX488" fmla="*/ 260509 w 481145"/>
                <a:gd name="connsiteY488" fmla="*/ 12306 h 320544"/>
                <a:gd name="connsiteX489" fmla="*/ 263128 w 481145"/>
                <a:gd name="connsiteY489" fmla="*/ 13354 h 320544"/>
                <a:gd name="connsiteX490" fmla="*/ 264937 w 481145"/>
                <a:gd name="connsiteY490" fmla="*/ 13421 h 320544"/>
                <a:gd name="connsiteX491" fmla="*/ 267090 w 481145"/>
                <a:gd name="connsiteY491" fmla="*/ 13182 h 320544"/>
                <a:gd name="connsiteX492" fmla="*/ 269624 w 481145"/>
                <a:gd name="connsiteY492" fmla="*/ 11782 h 320544"/>
                <a:gd name="connsiteX493" fmla="*/ 271386 w 481145"/>
                <a:gd name="connsiteY493" fmla="*/ 10430 h 320544"/>
                <a:gd name="connsiteX494" fmla="*/ 273529 w 481145"/>
                <a:gd name="connsiteY494" fmla="*/ 3553 h 320544"/>
                <a:gd name="connsiteX495" fmla="*/ 274291 w 481145"/>
                <a:gd name="connsiteY495" fmla="*/ 2562 h 320544"/>
                <a:gd name="connsiteX496" fmla="*/ 275472 w 481145"/>
                <a:gd name="connsiteY496" fmla="*/ 2019 h 320544"/>
                <a:gd name="connsiteX497" fmla="*/ 277406 w 481145"/>
                <a:gd name="connsiteY497" fmla="*/ 1962 h 320544"/>
                <a:gd name="connsiteX498" fmla="*/ 281082 w 481145"/>
                <a:gd name="connsiteY498" fmla="*/ 3248 h 320544"/>
                <a:gd name="connsiteX499" fmla="*/ 285388 w 481145"/>
                <a:gd name="connsiteY499" fmla="*/ 4400 h 320544"/>
                <a:gd name="connsiteX500" fmla="*/ 287884 w 481145"/>
                <a:gd name="connsiteY500" fmla="*/ 4238 h 320544"/>
                <a:gd name="connsiteX501" fmla="*/ 294532 w 481145"/>
                <a:gd name="connsiteY501" fmla="*/ 571 h 320544"/>
                <a:gd name="connsiteX502" fmla="*/ 298237 w 481145"/>
                <a:gd name="connsiteY502" fmla="*/ 0 h 320544"/>
                <a:gd name="connsiteX503" fmla="*/ 302637 w 481145"/>
                <a:gd name="connsiteY503" fmla="*/ 857 h 320544"/>
                <a:gd name="connsiteX504" fmla="*/ 306962 w 481145"/>
                <a:gd name="connsiteY504" fmla="*/ 905 h 320544"/>
                <a:gd name="connsiteX505" fmla="*/ 310219 w 481145"/>
                <a:gd name="connsiteY505" fmla="*/ 371 h 320544"/>
                <a:gd name="connsiteX506" fmla="*/ 312458 w 481145"/>
                <a:gd name="connsiteY506" fmla="*/ 1638 h 320544"/>
                <a:gd name="connsiteX507" fmla="*/ 315220 w 481145"/>
                <a:gd name="connsiteY507" fmla="*/ 4438 h 320544"/>
                <a:gd name="connsiteX508" fmla="*/ 317716 w 481145"/>
                <a:gd name="connsiteY508" fmla="*/ 8591 h 320544"/>
                <a:gd name="connsiteX509" fmla="*/ 320325 w 481145"/>
                <a:gd name="connsiteY509" fmla="*/ 16240 h 320544"/>
                <a:gd name="connsiteX510" fmla="*/ 327936 w 481145"/>
                <a:gd name="connsiteY510" fmla="*/ 24841 h 320544"/>
                <a:gd name="connsiteX511" fmla="*/ 328060 w 481145"/>
                <a:gd name="connsiteY511" fmla="*/ 26518 h 320544"/>
                <a:gd name="connsiteX512" fmla="*/ 327440 w 481145"/>
                <a:gd name="connsiteY512" fmla="*/ 27594 h 320544"/>
                <a:gd name="connsiteX513" fmla="*/ 323697 w 481145"/>
                <a:gd name="connsiteY513" fmla="*/ 28632 h 320544"/>
                <a:gd name="connsiteX514" fmla="*/ 320535 w 481145"/>
                <a:gd name="connsiteY514" fmla="*/ 29194 h 320544"/>
                <a:gd name="connsiteX515" fmla="*/ 320383 w 481145"/>
                <a:gd name="connsiteY515" fmla="*/ 30661 h 320544"/>
                <a:gd name="connsiteX516" fmla="*/ 321221 w 481145"/>
                <a:gd name="connsiteY516" fmla="*/ 32252 h 320544"/>
                <a:gd name="connsiteX517" fmla="*/ 322669 w 481145"/>
                <a:gd name="connsiteY517" fmla="*/ 34576 h 320544"/>
                <a:gd name="connsiteX518" fmla="*/ 322888 w 481145"/>
                <a:gd name="connsiteY518" fmla="*/ 37567 h 320544"/>
                <a:gd name="connsiteX519" fmla="*/ 322812 w 481145"/>
                <a:gd name="connsiteY519" fmla="*/ 40310 h 320544"/>
                <a:gd name="connsiteX520" fmla="*/ 323431 w 481145"/>
                <a:gd name="connsiteY520" fmla="*/ 42729 h 320544"/>
                <a:gd name="connsiteX521" fmla="*/ 324640 w 481145"/>
                <a:gd name="connsiteY521" fmla="*/ 43720 h 320544"/>
                <a:gd name="connsiteX522" fmla="*/ 324793 w 481145"/>
                <a:gd name="connsiteY522" fmla="*/ 44929 h 320544"/>
                <a:gd name="connsiteX523" fmla="*/ 323402 w 481145"/>
                <a:gd name="connsiteY523" fmla="*/ 46415 h 320544"/>
                <a:gd name="connsiteX524" fmla="*/ 323012 w 481145"/>
                <a:gd name="connsiteY524" fmla="*/ 47330 h 320544"/>
                <a:gd name="connsiteX525" fmla="*/ 323555 w 481145"/>
                <a:gd name="connsiteY525" fmla="*/ 47825 h 320544"/>
                <a:gd name="connsiteX526" fmla="*/ 330422 w 481145"/>
                <a:gd name="connsiteY526" fmla="*/ 48111 h 320544"/>
                <a:gd name="connsiteX527" fmla="*/ 333784 w 481145"/>
                <a:gd name="connsiteY527" fmla="*/ 49549 h 320544"/>
                <a:gd name="connsiteX528" fmla="*/ 336337 w 481145"/>
                <a:gd name="connsiteY528" fmla="*/ 50863 h 320544"/>
                <a:gd name="connsiteX529" fmla="*/ 337623 w 481145"/>
                <a:gd name="connsiteY529" fmla="*/ 50987 h 320544"/>
                <a:gd name="connsiteX530" fmla="*/ 340519 w 481145"/>
                <a:gd name="connsiteY530" fmla="*/ 50149 h 320544"/>
                <a:gd name="connsiteX531" fmla="*/ 343776 w 481145"/>
                <a:gd name="connsiteY531" fmla="*/ 49616 h 320544"/>
                <a:gd name="connsiteX532" fmla="*/ 345748 w 481145"/>
                <a:gd name="connsiteY532" fmla="*/ 49539 h 320544"/>
                <a:gd name="connsiteX533" fmla="*/ 346510 w 481145"/>
                <a:gd name="connsiteY533" fmla="*/ 50511 h 320544"/>
                <a:gd name="connsiteX534" fmla="*/ 347120 w 481145"/>
                <a:gd name="connsiteY534" fmla="*/ 53054 h 320544"/>
                <a:gd name="connsiteX535" fmla="*/ 348262 w 481145"/>
                <a:gd name="connsiteY535" fmla="*/ 55597 h 320544"/>
                <a:gd name="connsiteX536" fmla="*/ 349329 w 481145"/>
                <a:gd name="connsiteY536" fmla="*/ 56321 h 320544"/>
                <a:gd name="connsiteX537" fmla="*/ 351234 w 481145"/>
                <a:gd name="connsiteY537" fmla="*/ 56197 h 320544"/>
                <a:gd name="connsiteX538" fmla="*/ 352377 w 481145"/>
                <a:gd name="connsiteY538" fmla="*/ 56321 h 320544"/>
                <a:gd name="connsiteX539" fmla="*/ 352987 w 481145"/>
                <a:gd name="connsiteY539" fmla="*/ 57283 h 320544"/>
                <a:gd name="connsiteX540" fmla="*/ 352301 w 481145"/>
                <a:gd name="connsiteY540" fmla="*/ 58731 h 320544"/>
                <a:gd name="connsiteX541" fmla="*/ 352454 w 481145"/>
                <a:gd name="connsiteY541" fmla="*/ 60303 h 320544"/>
                <a:gd name="connsiteX542" fmla="*/ 353291 w 481145"/>
                <a:gd name="connsiteY542" fmla="*/ 62227 h 320544"/>
                <a:gd name="connsiteX543" fmla="*/ 354282 w 481145"/>
                <a:gd name="connsiteY543" fmla="*/ 66675 h 320544"/>
                <a:gd name="connsiteX544" fmla="*/ 355196 w 481145"/>
                <a:gd name="connsiteY544" fmla="*/ 67999 h 320544"/>
                <a:gd name="connsiteX545" fmla="*/ 355806 w 481145"/>
                <a:gd name="connsiteY545" fmla="*/ 69675 h 320544"/>
                <a:gd name="connsiteX546" fmla="*/ 355806 w 481145"/>
                <a:gd name="connsiteY546" fmla="*/ 71599 h 320544"/>
                <a:gd name="connsiteX547" fmla="*/ 355044 w 481145"/>
                <a:gd name="connsiteY547" fmla="*/ 73276 h 320544"/>
                <a:gd name="connsiteX548" fmla="*/ 354511 w 481145"/>
                <a:gd name="connsiteY548" fmla="*/ 74590 h 320544"/>
                <a:gd name="connsiteX549" fmla="*/ 355044 w 481145"/>
                <a:gd name="connsiteY549" fmla="*/ 77581 h 320544"/>
                <a:gd name="connsiteX550" fmla="*/ 357101 w 481145"/>
                <a:gd name="connsiteY550" fmla="*/ 80924 h 320544"/>
                <a:gd name="connsiteX551" fmla="*/ 358625 w 481145"/>
                <a:gd name="connsiteY551" fmla="*/ 81753 h 320544"/>
                <a:gd name="connsiteX552" fmla="*/ 359845 w 481145"/>
                <a:gd name="connsiteY552" fmla="*/ 84734 h 320544"/>
                <a:gd name="connsiteX553" fmla="*/ 362055 w 481145"/>
                <a:gd name="connsiteY553" fmla="*/ 85687 h 320544"/>
                <a:gd name="connsiteX554" fmla="*/ 365331 w 481145"/>
                <a:gd name="connsiteY554" fmla="*/ 83182 h 320544"/>
                <a:gd name="connsiteX555" fmla="*/ 367846 w 481145"/>
                <a:gd name="connsiteY555" fmla="*/ 81867 h 320544"/>
                <a:gd name="connsiteX556" fmla="*/ 370989 w 481145"/>
                <a:gd name="connsiteY556" fmla="*/ 82601 h 320544"/>
                <a:gd name="connsiteX557" fmla="*/ 373894 w 481145"/>
                <a:gd name="connsiteY557" fmla="*/ 83067 h 320544"/>
                <a:gd name="connsiteX558" fmla="*/ 375847 w 481145"/>
                <a:gd name="connsiteY558" fmla="*/ 84772 h 320544"/>
                <a:gd name="connsiteX559" fmla="*/ 377285 w 481145"/>
                <a:gd name="connsiteY559" fmla="*/ 87116 h 320544"/>
                <a:gd name="connsiteX560" fmla="*/ 378961 w 481145"/>
                <a:gd name="connsiteY560" fmla="*/ 88420 h 320544"/>
                <a:gd name="connsiteX561" fmla="*/ 380638 w 481145"/>
                <a:gd name="connsiteY561" fmla="*/ 87735 h 320544"/>
                <a:gd name="connsiteX562" fmla="*/ 384134 w 481145"/>
                <a:gd name="connsiteY562" fmla="*/ 88420 h 320544"/>
                <a:gd name="connsiteX563" fmla="*/ 385733 w 481145"/>
                <a:gd name="connsiteY563" fmla="*/ 90316 h 320544"/>
                <a:gd name="connsiteX564" fmla="*/ 387334 w 481145"/>
                <a:gd name="connsiteY564" fmla="*/ 91383 h 320544"/>
                <a:gd name="connsiteX565" fmla="*/ 389391 w 481145"/>
                <a:gd name="connsiteY565" fmla="*/ 89840 h 320544"/>
                <a:gd name="connsiteX566" fmla="*/ 391067 w 481145"/>
                <a:gd name="connsiteY566" fmla="*/ 87935 h 320544"/>
                <a:gd name="connsiteX567" fmla="*/ 397202 w 481145"/>
                <a:gd name="connsiteY567" fmla="*/ 85944 h 320544"/>
                <a:gd name="connsiteX568" fmla="*/ 401012 w 481145"/>
                <a:gd name="connsiteY568" fmla="*/ 85449 h 320544"/>
                <a:gd name="connsiteX569" fmla="*/ 402078 w 481145"/>
                <a:gd name="connsiteY569" fmla="*/ 85058 h 320544"/>
                <a:gd name="connsiteX570" fmla="*/ 404317 w 481145"/>
                <a:gd name="connsiteY570" fmla="*/ 83629 h 320544"/>
                <a:gd name="connsiteX571" fmla="*/ 406679 w 481145"/>
                <a:gd name="connsiteY571" fmla="*/ 82677 h 320544"/>
                <a:gd name="connsiteX572" fmla="*/ 408803 w 481145"/>
                <a:gd name="connsiteY572" fmla="*/ 82934 h 320544"/>
                <a:gd name="connsiteX573" fmla="*/ 410899 w 481145"/>
                <a:gd name="connsiteY573" fmla="*/ 85896 h 320544"/>
                <a:gd name="connsiteX574" fmla="*/ 413070 w 481145"/>
                <a:gd name="connsiteY574" fmla="*/ 87935 h 320544"/>
                <a:gd name="connsiteX575" fmla="*/ 413680 w 481145"/>
                <a:gd name="connsiteY575" fmla="*/ 91145 h 320544"/>
                <a:gd name="connsiteX576" fmla="*/ 416328 w 481145"/>
                <a:gd name="connsiteY576" fmla="*/ 95545 h 320544"/>
                <a:gd name="connsiteX577" fmla="*/ 422910 w 481145"/>
                <a:gd name="connsiteY577" fmla="*/ 101555 h 320544"/>
                <a:gd name="connsiteX578" fmla="*/ 425491 w 481145"/>
                <a:gd name="connsiteY578" fmla="*/ 103384 h 320544"/>
                <a:gd name="connsiteX579" fmla="*/ 427244 w 481145"/>
                <a:gd name="connsiteY579" fmla="*/ 103060 h 320544"/>
                <a:gd name="connsiteX580" fmla="*/ 428158 w 481145"/>
                <a:gd name="connsiteY580" fmla="*/ 102584 h 320544"/>
                <a:gd name="connsiteX581" fmla="*/ 428587 w 481145"/>
                <a:gd name="connsiteY581" fmla="*/ 101955 h 320544"/>
                <a:gd name="connsiteX582" fmla="*/ 428987 w 481145"/>
                <a:gd name="connsiteY582" fmla="*/ 99012 h 320544"/>
                <a:gd name="connsiteX583" fmla="*/ 429816 w 481145"/>
                <a:gd name="connsiteY583" fmla="*/ 97926 h 320544"/>
                <a:gd name="connsiteX584" fmla="*/ 431149 w 481145"/>
                <a:gd name="connsiteY584" fmla="*/ 97898 h 320544"/>
                <a:gd name="connsiteX585" fmla="*/ 436302 w 481145"/>
                <a:gd name="connsiteY585" fmla="*/ 101555 h 320544"/>
                <a:gd name="connsiteX586" fmla="*/ 438998 w 481145"/>
                <a:gd name="connsiteY586" fmla="*/ 101955 h 320544"/>
                <a:gd name="connsiteX587" fmla="*/ 441560 w 481145"/>
                <a:gd name="connsiteY587" fmla="*/ 102022 h 320544"/>
                <a:gd name="connsiteX588" fmla="*/ 445008 w 481145"/>
                <a:gd name="connsiteY588" fmla="*/ 104860 h 320544"/>
                <a:gd name="connsiteX589" fmla="*/ 448789 w 481145"/>
                <a:gd name="connsiteY589" fmla="*/ 107327 h 320544"/>
                <a:gd name="connsiteX590" fmla="*/ 451713 w 481145"/>
                <a:gd name="connsiteY590" fmla="*/ 107585 h 320544"/>
                <a:gd name="connsiteX591" fmla="*/ 454047 w 481145"/>
                <a:gd name="connsiteY591" fmla="*/ 106613 h 320544"/>
                <a:gd name="connsiteX592" fmla="*/ 455647 w 481145"/>
                <a:gd name="connsiteY592" fmla="*/ 106023 h 320544"/>
                <a:gd name="connsiteX593" fmla="*/ 456638 w 481145"/>
                <a:gd name="connsiteY593" fmla="*/ 106966 h 320544"/>
                <a:gd name="connsiteX594" fmla="*/ 457552 w 481145"/>
                <a:gd name="connsiteY594" fmla="*/ 109090 h 320544"/>
                <a:gd name="connsiteX595" fmla="*/ 459076 w 481145"/>
                <a:gd name="connsiteY595" fmla="*/ 110737 h 320544"/>
                <a:gd name="connsiteX596" fmla="*/ 460829 w 481145"/>
                <a:gd name="connsiteY596" fmla="*/ 111204 h 320544"/>
                <a:gd name="connsiteX597" fmla="*/ 463353 w 481145"/>
                <a:gd name="connsiteY597" fmla="*/ 111309 h 320544"/>
                <a:gd name="connsiteX598" fmla="*/ 467734 w 481145"/>
                <a:gd name="connsiteY598" fmla="*/ 114490 h 320544"/>
                <a:gd name="connsiteX599" fmla="*/ 471849 w 481145"/>
                <a:gd name="connsiteY599" fmla="*/ 117729 h 320544"/>
                <a:gd name="connsiteX600" fmla="*/ 474421 w 481145"/>
                <a:gd name="connsiteY600" fmla="*/ 117910 h 320544"/>
                <a:gd name="connsiteX601" fmla="*/ 476602 w 481145"/>
                <a:gd name="connsiteY601" fmla="*/ 116957 h 320544"/>
                <a:gd name="connsiteX602" fmla="*/ 478526 w 481145"/>
                <a:gd name="connsiteY602" fmla="*/ 116710 h 320544"/>
                <a:gd name="connsiteX603" fmla="*/ 479869 w 481145"/>
                <a:gd name="connsiteY603" fmla="*/ 117529 h 320544"/>
                <a:gd name="connsiteX604" fmla="*/ 480250 w 481145"/>
                <a:gd name="connsiteY604" fmla="*/ 118929 h 320544"/>
                <a:gd name="connsiteX605" fmla="*/ 479260 w 481145"/>
                <a:gd name="connsiteY605" fmla="*/ 120805 h 320544"/>
                <a:gd name="connsiteX606" fmla="*/ 479260 w 481145"/>
                <a:gd name="connsiteY606" fmla="*/ 123492 h 320544"/>
                <a:gd name="connsiteX607" fmla="*/ 481089 w 481145"/>
                <a:gd name="connsiteY607" fmla="*/ 126063 h 320544"/>
                <a:gd name="connsiteX608" fmla="*/ 481146 w 481145"/>
                <a:gd name="connsiteY608" fmla="*/ 128588 h 320544"/>
                <a:gd name="connsiteX609" fmla="*/ 480622 w 481145"/>
                <a:gd name="connsiteY609" fmla="*/ 130864 h 320544"/>
                <a:gd name="connsiteX610" fmla="*/ 479584 w 481145"/>
                <a:gd name="connsiteY610" fmla="*/ 132959 h 320544"/>
                <a:gd name="connsiteX611" fmla="*/ 477078 w 481145"/>
                <a:gd name="connsiteY611" fmla="*/ 135836 h 320544"/>
                <a:gd name="connsiteX612" fmla="*/ 474764 w 481145"/>
                <a:gd name="connsiteY612" fmla="*/ 138512 h 320544"/>
                <a:gd name="connsiteX613" fmla="*/ 471287 w 481145"/>
                <a:gd name="connsiteY613" fmla="*/ 139627 h 320544"/>
                <a:gd name="connsiteX614" fmla="*/ 469335 w 481145"/>
                <a:gd name="connsiteY614" fmla="*/ 140798 h 320544"/>
                <a:gd name="connsiteX615" fmla="*/ 469849 w 481145"/>
                <a:gd name="connsiteY615" fmla="*/ 142760 h 320544"/>
                <a:gd name="connsiteX616" fmla="*/ 471125 w 481145"/>
                <a:gd name="connsiteY616" fmla="*/ 144589 h 320544"/>
                <a:gd name="connsiteX617" fmla="*/ 474078 w 481145"/>
                <a:gd name="connsiteY617" fmla="*/ 146066 h 320544"/>
                <a:gd name="connsiteX618" fmla="*/ 477431 w 481145"/>
                <a:gd name="connsiteY618" fmla="*/ 147142 h 320544"/>
                <a:gd name="connsiteX619" fmla="*/ 477821 w 481145"/>
                <a:gd name="connsiteY619" fmla="*/ 148333 h 320544"/>
                <a:gd name="connsiteX620" fmla="*/ 477307 w 481145"/>
                <a:gd name="connsiteY620" fmla="*/ 148933 h 320544"/>
                <a:gd name="connsiteX621" fmla="*/ 475154 w 481145"/>
                <a:gd name="connsiteY621" fmla="*/ 149485 h 320544"/>
                <a:gd name="connsiteX622" fmla="*/ 472183 w 481145"/>
                <a:gd name="connsiteY622" fmla="*/ 148923 h 320544"/>
                <a:gd name="connsiteX623" fmla="*/ 471192 w 481145"/>
                <a:gd name="connsiteY623" fmla="*/ 149961 h 320544"/>
                <a:gd name="connsiteX624" fmla="*/ 469820 w 481145"/>
                <a:gd name="connsiteY624" fmla="*/ 151686 h 320544"/>
                <a:gd name="connsiteX625" fmla="*/ 468906 w 481145"/>
                <a:gd name="connsiteY625" fmla="*/ 154791 h 320544"/>
                <a:gd name="connsiteX626" fmla="*/ 468220 w 481145"/>
                <a:gd name="connsiteY626" fmla="*/ 157667 h 320544"/>
                <a:gd name="connsiteX627" fmla="*/ 471449 w 481145"/>
                <a:gd name="connsiteY627" fmla="*/ 158448 h 320544"/>
                <a:gd name="connsiteX628" fmla="*/ 473326 w 481145"/>
                <a:gd name="connsiteY628" fmla="*/ 159620 h 320544"/>
                <a:gd name="connsiteX629" fmla="*/ 473916 w 481145"/>
                <a:gd name="connsiteY629" fmla="*/ 161972 h 320544"/>
                <a:gd name="connsiteX630" fmla="*/ 474583 w 481145"/>
                <a:gd name="connsiteY630" fmla="*/ 164592 h 320544"/>
                <a:gd name="connsiteX631" fmla="*/ 474783 w 481145"/>
                <a:gd name="connsiteY631" fmla="*/ 166944 h 320544"/>
                <a:gd name="connsiteX632" fmla="*/ 473716 w 481145"/>
                <a:gd name="connsiteY632" fmla="*/ 168087 h 320544"/>
                <a:gd name="connsiteX633" fmla="*/ 473650 w 481145"/>
                <a:gd name="connsiteY633" fmla="*/ 169259 h 320544"/>
                <a:gd name="connsiteX634" fmla="*/ 474154 w 481145"/>
                <a:gd name="connsiteY634" fmla="*/ 169840 h 320544"/>
                <a:gd name="connsiteX635" fmla="*/ 475545 w 481145"/>
                <a:gd name="connsiteY635" fmla="*/ 170097 h 320544"/>
                <a:gd name="connsiteX636" fmla="*/ 476602 w 481145"/>
                <a:gd name="connsiteY636" fmla="*/ 170621 h 320544"/>
                <a:gd name="connsiteX637" fmla="*/ 476688 w 481145"/>
                <a:gd name="connsiteY637" fmla="*/ 171860 h 320544"/>
                <a:gd name="connsiteX638" fmla="*/ 474659 w 481145"/>
                <a:gd name="connsiteY638" fmla="*/ 174641 h 320544"/>
                <a:gd name="connsiteX639" fmla="*/ 472764 w 481145"/>
                <a:gd name="connsiteY639" fmla="*/ 179956 h 320544"/>
                <a:gd name="connsiteX640" fmla="*/ 471744 w 481145"/>
                <a:gd name="connsiteY640" fmla="*/ 182775 h 320544"/>
                <a:gd name="connsiteX641" fmla="*/ 471821 w 481145"/>
                <a:gd name="connsiteY641" fmla="*/ 185833 h 320544"/>
                <a:gd name="connsiteX642" fmla="*/ 470678 w 481145"/>
                <a:gd name="connsiteY642" fmla="*/ 187528 h 320544"/>
                <a:gd name="connsiteX643" fmla="*/ 468573 w 481145"/>
                <a:gd name="connsiteY643" fmla="*/ 187747 h 320544"/>
                <a:gd name="connsiteX644" fmla="*/ 461429 w 481145"/>
                <a:gd name="connsiteY644" fmla="*/ 188042 h 320544"/>
                <a:gd name="connsiteX645" fmla="*/ 455209 w 481145"/>
                <a:gd name="connsiteY645" fmla="*/ 187890 h 320544"/>
                <a:gd name="connsiteX646" fmla="*/ 452523 w 481145"/>
                <a:gd name="connsiteY646" fmla="*/ 187452 h 320544"/>
                <a:gd name="connsiteX647" fmla="*/ 448313 w 481145"/>
                <a:gd name="connsiteY647" fmla="*/ 187185 h 320544"/>
                <a:gd name="connsiteX648" fmla="*/ 446227 w 481145"/>
                <a:gd name="connsiteY648" fmla="*/ 187909 h 320544"/>
                <a:gd name="connsiteX649" fmla="*/ 443465 w 481145"/>
                <a:gd name="connsiteY649" fmla="*/ 192786 h 320544"/>
                <a:gd name="connsiteX650" fmla="*/ 441369 w 481145"/>
                <a:gd name="connsiteY650" fmla="*/ 194691 h 320544"/>
                <a:gd name="connsiteX651" fmla="*/ 437912 w 481145"/>
                <a:gd name="connsiteY651" fmla="*/ 196415 h 320544"/>
                <a:gd name="connsiteX652" fmla="*/ 434111 w 481145"/>
                <a:gd name="connsiteY652" fmla="*/ 196910 h 320544"/>
                <a:gd name="connsiteX653" fmla="*/ 431930 w 481145"/>
                <a:gd name="connsiteY653" fmla="*/ 198911 h 320544"/>
                <a:gd name="connsiteX654" fmla="*/ 431159 w 481145"/>
                <a:gd name="connsiteY654" fmla="*/ 202054 h 320544"/>
                <a:gd name="connsiteX655" fmla="*/ 431101 w 481145"/>
                <a:gd name="connsiteY655" fmla="*/ 204835 h 320544"/>
                <a:gd name="connsiteX656" fmla="*/ 430749 w 481145"/>
                <a:gd name="connsiteY656" fmla="*/ 206226 h 320544"/>
                <a:gd name="connsiteX657" fmla="*/ 429930 w 481145"/>
                <a:gd name="connsiteY657" fmla="*/ 207445 h 320544"/>
                <a:gd name="connsiteX658" fmla="*/ 429634 w 481145"/>
                <a:gd name="connsiteY658" fmla="*/ 208312 h 320544"/>
                <a:gd name="connsiteX659" fmla="*/ 429816 w 481145"/>
                <a:gd name="connsiteY659" fmla="*/ 209264 h 320544"/>
                <a:gd name="connsiteX660" fmla="*/ 430701 w 481145"/>
                <a:gd name="connsiteY660" fmla="*/ 209607 h 320544"/>
                <a:gd name="connsiteX661" fmla="*/ 431759 w 481145"/>
                <a:gd name="connsiteY661" fmla="*/ 210045 h 320544"/>
                <a:gd name="connsiteX662" fmla="*/ 431759 w 481145"/>
                <a:gd name="connsiteY662" fmla="*/ 210731 h 320544"/>
                <a:gd name="connsiteX663" fmla="*/ 431349 w 481145"/>
                <a:gd name="connsiteY663" fmla="*/ 211598 h 320544"/>
                <a:gd name="connsiteX664" fmla="*/ 430168 w 481145"/>
                <a:gd name="connsiteY664" fmla="*/ 212550 h 320544"/>
                <a:gd name="connsiteX665" fmla="*/ 429634 w 481145"/>
                <a:gd name="connsiteY665" fmla="*/ 214017 h 320544"/>
                <a:gd name="connsiteX666" fmla="*/ 429758 w 481145"/>
                <a:gd name="connsiteY666" fmla="*/ 215579 h 320544"/>
                <a:gd name="connsiteX667" fmla="*/ 429977 w 481145"/>
                <a:gd name="connsiteY667" fmla="*/ 217303 h 320544"/>
                <a:gd name="connsiteX668" fmla="*/ 264185 w 481145"/>
                <a:gd name="connsiteY668" fmla="*/ 251755 h 320544"/>
                <a:gd name="connsiteX669" fmla="*/ 267871 w 481145"/>
                <a:gd name="connsiteY669" fmla="*/ 253651 h 320544"/>
                <a:gd name="connsiteX670" fmla="*/ 264109 w 481145"/>
                <a:gd name="connsiteY670" fmla="*/ 253146 h 320544"/>
                <a:gd name="connsiteX671" fmla="*/ 255851 w 481145"/>
                <a:gd name="connsiteY671" fmla="*/ 251365 h 320544"/>
                <a:gd name="connsiteX672" fmla="*/ 252203 w 481145"/>
                <a:gd name="connsiteY672" fmla="*/ 249679 h 320544"/>
                <a:gd name="connsiteX673" fmla="*/ 251260 w 481145"/>
                <a:gd name="connsiteY673" fmla="*/ 247793 h 320544"/>
                <a:gd name="connsiteX674" fmla="*/ 250727 w 481145"/>
                <a:gd name="connsiteY674" fmla="*/ 245221 h 320544"/>
                <a:gd name="connsiteX675" fmla="*/ 252765 w 481145"/>
                <a:gd name="connsiteY675" fmla="*/ 247917 h 320544"/>
                <a:gd name="connsiteX676" fmla="*/ 254193 w 481145"/>
                <a:gd name="connsiteY676" fmla="*/ 249098 h 320544"/>
                <a:gd name="connsiteX677" fmla="*/ 264185 w 481145"/>
                <a:gd name="connsiteY677" fmla="*/ 251755 h 32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</a:cxnLst>
              <a:rect l="l" t="t" r="r" b="b"/>
              <a:pathLst>
                <a:path w="481145" h="320544">
                  <a:moveTo>
                    <a:pt x="429977" y="217303"/>
                  </a:moveTo>
                  <a:lnTo>
                    <a:pt x="429006" y="217741"/>
                  </a:lnTo>
                  <a:lnTo>
                    <a:pt x="419662" y="217132"/>
                  </a:lnTo>
                  <a:lnTo>
                    <a:pt x="412032" y="217961"/>
                  </a:lnTo>
                  <a:lnTo>
                    <a:pt x="406593" y="224123"/>
                  </a:lnTo>
                  <a:lnTo>
                    <a:pt x="403355" y="224104"/>
                  </a:lnTo>
                  <a:lnTo>
                    <a:pt x="398793" y="225704"/>
                  </a:lnTo>
                  <a:lnTo>
                    <a:pt x="395697" y="227695"/>
                  </a:lnTo>
                  <a:lnTo>
                    <a:pt x="392030" y="232000"/>
                  </a:lnTo>
                  <a:lnTo>
                    <a:pt x="389191" y="230067"/>
                  </a:lnTo>
                  <a:lnTo>
                    <a:pt x="385715" y="230124"/>
                  </a:lnTo>
                  <a:lnTo>
                    <a:pt x="382324" y="231295"/>
                  </a:lnTo>
                  <a:lnTo>
                    <a:pt x="378247" y="234172"/>
                  </a:lnTo>
                  <a:lnTo>
                    <a:pt x="375980" y="234677"/>
                  </a:lnTo>
                  <a:lnTo>
                    <a:pt x="371446" y="233858"/>
                  </a:lnTo>
                  <a:lnTo>
                    <a:pt x="366160" y="235505"/>
                  </a:lnTo>
                  <a:lnTo>
                    <a:pt x="354749" y="244907"/>
                  </a:lnTo>
                  <a:lnTo>
                    <a:pt x="350910" y="251755"/>
                  </a:lnTo>
                  <a:lnTo>
                    <a:pt x="349510" y="253089"/>
                  </a:lnTo>
                  <a:lnTo>
                    <a:pt x="347586" y="254756"/>
                  </a:lnTo>
                  <a:lnTo>
                    <a:pt x="345528" y="255594"/>
                  </a:lnTo>
                  <a:lnTo>
                    <a:pt x="344443" y="255518"/>
                  </a:lnTo>
                  <a:lnTo>
                    <a:pt x="349882" y="250660"/>
                  </a:lnTo>
                  <a:lnTo>
                    <a:pt x="351548" y="248841"/>
                  </a:lnTo>
                  <a:lnTo>
                    <a:pt x="351834" y="247497"/>
                  </a:lnTo>
                  <a:lnTo>
                    <a:pt x="351863" y="245316"/>
                  </a:lnTo>
                  <a:lnTo>
                    <a:pt x="350215" y="242611"/>
                  </a:lnTo>
                  <a:lnTo>
                    <a:pt x="345767" y="249307"/>
                  </a:lnTo>
                  <a:lnTo>
                    <a:pt x="343242" y="250279"/>
                  </a:lnTo>
                  <a:lnTo>
                    <a:pt x="340033" y="252289"/>
                  </a:lnTo>
                  <a:lnTo>
                    <a:pt x="339871" y="256756"/>
                  </a:lnTo>
                  <a:lnTo>
                    <a:pt x="340242" y="260070"/>
                  </a:lnTo>
                  <a:lnTo>
                    <a:pt x="341556" y="264233"/>
                  </a:lnTo>
                  <a:lnTo>
                    <a:pt x="344662" y="271024"/>
                  </a:lnTo>
                  <a:lnTo>
                    <a:pt x="351005" y="280692"/>
                  </a:lnTo>
                  <a:lnTo>
                    <a:pt x="354044" y="284235"/>
                  </a:lnTo>
                  <a:lnTo>
                    <a:pt x="356273" y="285645"/>
                  </a:lnTo>
                  <a:lnTo>
                    <a:pt x="358959" y="285845"/>
                  </a:lnTo>
                  <a:lnTo>
                    <a:pt x="364121" y="282864"/>
                  </a:lnTo>
                  <a:lnTo>
                    <a:pt x="366322" y="282397"/>
                  </a:lnTo>
                  <a:lnTo>
                    <a:pt x="371122" y="283531"/>
                  </a:lnTo>
                  <a:lnTo>
                    <a:pt x="372837" y="281549"/>
                  </a:lnTo>
                  <a:lnTo>
                    <a:pt x="375332" y="280445"/>
                  </a:lnTo>
                  <a:lnTo>
                    <a:pt x="378533" y="280302"/>
                  </a:lnTo>
                  <a:lnTo>
                    <a:pt x="382191" y="281197"/>
                  </a:lnTo>
                  <a:lnTo>
                    <a:pt x="386153" y="282702"/>
                  </a:lnTo>
                  <a:lnTo>
                    <a:pt x="384524" y="286102"/>
                  </a:lnTo>
                  <a:lnTo>
                    <a:pt x="382828" y="288807"/>
                  </a:lnTo>
                  <a:lnTo>
                    <a:pt x="382228" y="291798"/>
                  </a:lnTo>
                  <a:lnTo>
                    <a:pt x="381285" y="295122"/>
                  </a:lnTo>
                  <a:lnTo>
                    <a:pt x="376914" y="296608"/>
                  </a:lnTo>
                  <a:lnTo>
                    <a:pt x="372237" y="296428"/>
                  </a:lnTo>
                  <a:lnTo>
                    <a:pt x="367303" y="297389"/>
                  </a:lnTo>
                  <a:lnTo>
                    <a:pt x="365522" y="296103"/>
                  </a:lnTo>
                  <a:lnTo>
                    <a:pt x="364341" y="294922"/>
                  </a:lnTo>
                  <a:lnTo>
                    <a:pt x="362150" y="293741"/>
                  </a:lnTo>
                  <a:lnTo>
                    <a:pt x="359264" y="293094"/>
                  </a:lnTo>
                  <a:lnTo>
                    <a:pt x="356673" y="293884"/>
                  </a:lnTo>
                  <a:lnTo>
                    <a:pt x="353606" y="298409"/>
                  </a:lnTo>
                  <a:lnTo>
                    <a:pt x="348176" y="301495"/>
                  </a:lnTo>
                  <a:lnTo>
                    <a:pt x="346386" y="305019"/>
                  </a:lnTo>
                  <a:lnTo>
                    <a:pt x="341043" y="304229"/>
                  </a:lnTo>
                  <a:lnTo>
                    <a:pt x="336470" y="304847"/>
                  </a:lnTo>
                  <a:lnTo>
                    <a:pt x="329869" y="308057"/>
                  </a:lnTo>
                  <a:lnTo>
                    <a:pt x="324840" y="314915"/>
                  </a:lnTo>
                  <a:lnTo>
                    <a:pt x="319297" y="319192"/>
                  </a:lnTo>
                  <a:lnTo>
                    <a:pt x="314906" y="320545"/>
                  </a:lnTo>
                  <a:lnTo>
                    <a:pt x="310782" y="320126"/>
                  </a:lnTo>
                  <a:lnTo>
                    <a:pt x="308114" y="318849"/>
                  </a:lnTo>
                  <a:lnTo>
                    <a:pt x="302628" y="314354"/>
                  </a:lnTo>
                  <a:lnTo>
                    <a:pt x="302952" y="312744"/>
                  </a:lnTo>
                  <a:lnTo>
                    <a:pt x="303714" y="311934"/>
                  </a:lnTo>
                  <a:lnTo>
                    <a:pt x="304752" y="309610"/>
                  </a:lnTo>
                  <a:lnTo>
                    <a:pt x="306943" y="301076"/>
                  </a:lnTo>
                  <a:lnTo>
                    <a:pt x="306648" y="298294"/>
                  </a:lnTo>
                  <a:lnTo>
                    <a:pt x="305419" y="293922"/>
                  </a:lnTo>
                  <a:lnTo>
                    <a:pt x="301066" y="290513"/>
                  </a:lnTo>
                  <a:lnTo>
                    <a:pt x="297570" y="291160"/>
                  </a:lnTo>
                  <a:lnTo>
                    <a:pt x="295580" y="290255"/>
                  </a:lnTo>
                  <a:lnTo>
                    <a:pt x="288407" y="284445"/>
                  </a:lnTo>
                  <a:lnTo>
                    <a:pt x="284502" y="284035"/>
                  </a:lnTo>
                  <a:lnTo>
                    <a:pt x="280187" y="285207"/>
                  </a:lnTo>
                  <a:lnTo>
                    <a:pt x="278596" y="284359"/>
                  </a:lnTo>
                  <a:lnTo>
                    <a:pt x="277425" y="282330"/>
                  </a:lnTo>
                  <a:lnTo>
                    <a:pt x="285978" y="275139"/>
                  </a:lnTo>
                  <a:lnTo>
                    <a:pt x="294379" y="269186"/>
                  </a:lnTo>
                  <a:lnTo>
                    <a:pt x="298066" y="268576"/>
                  </a:lnTo>
                  <a:lnTo>
                    <a:pt x="303037" y="265795"/>
                  </a:lnTo>
                  <a:lnTo>
                    <a:pt x="308353" y="261623"/>
                  </a:lnTo>
                  <a:lnTo>
                    <a:pt x="307600" y="258337"/>
                  </a:lnTo>
                  <a:lnTo>
                    <a:pt x="306457" y="255899"/>
                  </a:lnTo>
                  <a:lnTo>
                    <a:pt x="303914" y="256565"/>
                  </a:lnTo>
                  <a:lnTo>
                    <a:pt x="302066" y="257375"/>
                  </a:lnTo>
                  <a:lnTo>
                    <a:pt x="297618" y="254765"/>
                  </a:lnTo>
                  <a:lnTo>
                    <a:pt x="295989" y="252841"/>
                  </a:lnTo>
                  <a:lnTo>
                    <a:pt x="289027" y="254841"/>
                  </a:lnTo>
                  <a:lnTo>
                    <a:pt x="285149" y="254546"/>
                  </a:lnTo>
                  <a:lnTo>
                    <a:pt x="276596" y="256384"/>
                  </a:lnTo>
                  <a:lnTo>
                    <a:pt x="272662" y="254593"/>
                  </a:lnTo>
                  <a:lnTo>
                    <a:pt x="264804" y="249564"/>
                  </a:lnTo>
                  <a:lnTo>
                    <a:pt x="261851" y="248555"/>
                  </a:lnTo>
                  <a:lnTo>
                    <a:pt x="259337" y="248774"/>
                  </a:lnTo>
                  <a:lnTo>
                    <a:pt x="257965" y="247117"/>
                  </a:lnTo>
                  <a:lnTo>
                    <a:pt x="259642" y="246288"/>
                  </a:lnTo>
                  <a:lnTo>
                    <a:pt x="261595" y="246193"/>
                  </a:lnTo>
                  <a:lnTo>
                    <a:pt x="263623" y="245583"/>
                  </a:lnTo>
                  <a:lnTo>
                    <a:pt x="264195" y="244707"/>
                  </a:lnTo>
                  <a:lnTo>
                    <a:pt x="264071" y="243049"/>
                  </a:lnTo>
                  <a:lnTo>
                    <a:pt x="259985" y="241792"/>
                  </a:lnTo>
                  <a:lnTo>
                    <a:pt x="256184" y="241430"/>
                  </a:lnTo>
                  <a:lnTo>
                    <a:pt x="253774" y="239944"/>
                  </a:lnTo>
                  <a:lnTo>
                    <a:pt x="251936" y="238239"/>
                  </a:lnTo>
                  <a:lnTo>
                    <a:pt x="256241" y="238210"/>
                  </a:lnTo>
                  <a:lnTo>
                    <a:pt x="260575" y="239506"/>
                  </a:lnTo>
                  <a:lnTo>
                    <a:pt x="267348" y="239982"/>
                  </a:lnTo>
                  <a:lnTo>
                    <a:pt x="273501" y="241316"/>
                  </a:lnTo>
                  <a:lnTo>
                    <a:pt x="275034" y="239658"/>
                  </a:lnTo>
                  <a:lnTo>
                    <a:pt x="278606" y="236782"/>
                  </a:lnTo>
                  <a:lnTo>
                    <a:pt x="279282" y="235868"/>
                  </a:lnTo>
                  <a:lnTo>
                    <a:pt x="273301" y="237839"/>
                  </a:lnTo>
                  <a:lnTo>
                    <a:pt x="267233" y="236582"/>
                  </a:lnTo>
                  <a:lnTo>
                    <a:pt x="265023" y="234829"/>
                  </a:lnTo>
                  <a:lnTo>
                    <a:pt x="263147" y="232248"/>
                  </a:lnTo>
                  <a:lnTo>
                    <a:pt x="262356" y="229305"/>
                  </a:lnTo>
                  <a:lnTo>
                    <a:pt x="262871" y="226561"/>
                  </a:lnTo>
                  <a:lnTo>
                    <a:pt x="262214" y="221599"/>
                  </a:lnTo>
                  <a:lnTo>
                    <a:pt x="260213" y="217170"/>
                  </a:lnTo>
                  <a:lnTo>
                    <a:pt x="259509" y="214741"/>
                  </a:lnTo>
                  <a:lnTo>
                    <a:pt x="257394" y="212560"/>
                  </a:lnTo>
                  <a:lnTo>
                    <a:pt x="259470" y="217494"/>
                  </a:lnTo>
                  <a:lnTo>
                    <a:pt x="260242" y="220770"/>
                  </a:lnTo>
                  <a:lnTo>
                    <a:pt x="261489" y="223780"/>
                  </a:lnTo>
                  <a:lnTo>
                    <a:pt x="261195" y="231743"/>
                  </a:lnTo>
                  <a:lnTo>
                    <a:pt x="260422" y="234534"/>
                  </a:lnTo>
                  <a:lnTo>
                    <a:pt x="257927" y="235239"/>
                  </a:lnTo>
                  <a:lnTo>
                    <a:pt x="254651" y="234820"/>
                  </a:lnTo>
                  <a:lnTo>
                    <a:pt x="251317" y="233953"/>
                  </a:lnTo>
                  <a:lnTo>
                    <a:pt x="252146" y="229581"/>
                  </a:lnTo>
                  <a:lnTo>
                    <a:pt x="250364" y="231095"/>
                  </a:lnTo>
                  <a:lnTo>
                    <a:pt x="247859" y="235353"/>
                  </a:lnTo>
                  <a:lnTo>
                    <a:pt x="245650" y="235982"/>
                  </a:lnTo>
                  <a:lnTo>
                    <a:pt x="240744" y="235515"/>
                  </a:lnTo>
                  <a:lnTo>
                    <a:pt x="231638" y="238325"/>
                  </a:lnTo>
                  <a:lnTo>
                    <a:pt x="231010" y="241382"/>
                  </a:lnTo>
                  <a:lnTo>
                    <a:pt x="229638" y="245507"/>
                  </a:lnTo>
                  <a:lnTo>
                    <a:pt x="228314" y="247907"/>
                  </a:lnTo>
                  <a:lnTo>
                    <a:pt x="227904" y="249355"/>
                  </a:lnTo>
                  <a:lnTo>
                    <a:pt x="224028" y="255556"/>
                  </a:lnTo>
                  <a:lnTo>
                    <a:pt x="223532" y="256146"/>
                  </a:lnTo>
                  <a:lnTo>
                    <a:pt x="216208" y="264709"/>
                  </a:lnTo>
                  <a:lnTo>
                    <a:pt x="215274" y="265347"/>
                  </a:lnTo>
                  <a:lnTo>
                    <a:pt x="210531" y="267338"/>
                  </a:lnTo>
                  <a:lnTo>
                    <a:pt x="207721" y="269081"/>
                  </a:lnTo>
                  <a:lnTo>
                    <a:pt x="205568" y="269862"/>
                  </a:lnTo>
                  <a:lnTo>
                    <a:pt x="201930" y="268996"/>
                  </a:lnTo>
                  <a:lnTo>
                    <a:pt x="200415" y="270224"/>
                  </a:lnTo>
                  <a:lnTo>
                    <a:pt x="199701" y="271748"/>
                  </a:lnTo>
                  <a:lnTo>
                    <a:pt x="199691" y="274901"/>
                  </a:lnTo>
                  <a:lnTo>
                    <a:pt x="201539" y="277158"/>
                  </a:lnTo>
                  <a:lnTo>
                    <a:pt x="203054" y="284654"/>
                  </a:lnTo>
                  <a:lnTo>
                    <a:pt x="202492" y="287817"/>
                  </a:lnTo>
                  <a:lnTo>
                    <a:pt x="201053" y="285769"/>
                  </a:lnTo>
                  <a:lnTo>
                    <a:pt x="198796" y="283607"/>
                  </a:lnTo>
                  <a:lnTo>
                    <a:pt x="194414" y="281759"/>
                  </a:lnTo>
                  <a:lnTo>
                    <a:pt x="189604" y="282397"/>
                  </a:lnTo>
                  <a:lnTo>
                    <a:pt x="184356" y="285521"/>
                  </a:lnTo>
                  <a:lnTo>
                    <a:pt x="180794" y="286683"/>
                  </a:lnTo>
                  <a:lnTo>
                    <a:pt x="178927" y="285883"/>
                  </a:lnTo>
                  <a:lnTo>
                    <a:pt x="177784" y="285931"/>
                  </a:lnTo>
                  <a:lnTo>
                    <a:pt x="177384" y="286826"/>
                  </a:lnTo>
                  <a:lnTo>
                    <a:pt x="177469" y="287560"/>
                  </a:lnTo>
                  <a:lnTo>
                    <a:pt x="178041" y="288131"/>
                  </a:lnTo>
                  <a:lnTo>
                    <a:pt x="177965" y="288541"/>
                  </a:lnTo>
                  <a:lnTo>
                    <a:pt x="177222" y="288798"/>
                  </a:lnTo>
                  <a:lnTo>
                    <a:pt x="168954" y="286598"/>
                  </a:lnTo>
                  <a:lnTo>
                    <a:pt x="165382" y="284512"/>
                  </a:lnTo>
                  <a:lnTo>
                    <a:pt x="162573" y="280597"/>
                  </a:lnTo>
                  <a:lnTo>
                    <a:pt x="163973" y="279330"/>
                  </a:lnTo>
                  <a:lnTo>
                    <a:pt x="165192" y="278768"/>
                  </a:lnTo>
                  <a:lnTo>
                    <a:pt x="169497" y="278444"/>
                  </a:lnTo>
                  <a:lnTo>
                    <a:pt x="170240" y="278044"/>
                  </a:lnTo>
                  <a:lnTo>
                    <a:pt x="170316" y="277139"/>
                  </a:lnTo>
                  <a:lnTo>
                    <a:pt x="170640" y="275958"/>
                  </a:lnTo>
                  <a:lnTo>
                    <a:pt x="170526" y="274234"/>
                  </a:lnTo>
                  <a:lnTo>
                    <a:pt x="170050" y="272405"/>
                  </a:lnTo>
                  <a:lnTo>
                    <a:pt x="171935" y="269729"/>
                  </a:lnTo>
                  <a:lnTo>
                    <a:pt x="174745" y="267519"/>
                  </a:lnTo>
                  <a:lnTo>
                    <a:pt x="176393" y="265300"/>
                  </a:lnTo>
                  <a:lnTo>
                    <a:pt x="176641" y="262042"/>
                  </a:lnTo>
                  <a:lnTo>
                    <a:pt x="179603" y="260452"/>
                  </a:lnTo>
                  <a:lnTo>
                    <a:pt x="182223" y="257718"/>
                  </a:lnTo>
                  <a:lnTo>
                    <a:pt x="182870" y="254736"/>
                  </a:lnTo>
                  <a:lnTo>
                    <a:pt x="183794" y="252860"/>
                  </a:lnTo>
                  <a:lnTo>
                    <a:pt x="182118" y="248545"/>
                  </a:lnTo>
                  <a:lnTo>
                    <a:pt x="181765" y="245697"/>
                  </a:lnTo>
                  <a:lnTo>
                    <a:pt x="181689" y="243306"/>
                  </a:lnTo>
                  <a:lnTo>
                    <a:pt x="182508" y="241983"/>
                  </a:lnTo>
                  <a:lnTo>
                    <a:pt x="184956" y="240487"/>
                  </a:lnTo>
                  <a:lnTo>
                    <a:pt x="187528" y="239325"/>
                  </a:lnTo>
                  <a:lnTo>
                    <a:pt x="188595" y="239439"/>
                  </a:lnTo>
                  <a:lnTo>
                    <a:pt x="188985" y="240173"/>
                  </a:lnTo>
                  <a:lnTo>
                    <a:pt x="189080" y="245030"/>
                  </a:lnTo>
                  <a:lnTo>
                    <a:pt x="189595" y="245126"/>
                  </a:lnTo>
                  <a:lnTo>
                    <a:pt x="190414" y="244526"/>
                  </a:lnTo>
                  <a:lnTo>
                    <a:pt x="191757" y="241668"/>
                  </a:lnTo>
                  <a:lnTo>
                    <a:pt x="192681" y="242497"/>
                  </a:lnTo>
                  <a:lnTo>
                    <a:pt x="194110" y="242811"/>
                  </a:lnTo>
                  <a:lnTo>
                    <a:pt x="195176" y="242068"/>
                  </a:lnTo>
                  <a:lnTo>
                    <a:pt x="195872" y="242154"/>
                  </a:lnTo>
                  <a:lnTo>
                    <a:pt x="196729" y="242888"/>
                  </a:lnTo>
                  <a:lnTo>
                    <a:pt x="198444" y="243926"/>
                  </a:lnTo>
                  <a:lnTo>
                    <a:pt x="200044" y="244269"/>
                  </a:lnTo>
                  <a:lnTo>
                    <a:pt x="201368" y="243583"/>
                  </a:lnTo>
                  <a:lnTo>
                    <a:pt x="202501" y="242345"/>
                  </a:lnTo>
                  <a:lnTo>
                    <a:pt x="203711" y="242764"/>
                  </a:lnTo>
                  <a:lnTo>
                    <a:pt x="206007" y="246135"/>
                  </a:lnTo>
                  <a:lnTo>
                    <a:pt x="207073" y="245764"/>
                  </a:lnTo>
                  <a:lnTo>
                    <a:pt x="212360" y="245088"/>
                  </a:lnTo>
                  <a:lnTo>
                    <a:pt x="213207" y="244173"/>
                  </a:lnTo>
                  <a:lnTo>
                    <a:pt x="213836" y="243344"/>
                  </a:lnTo>
                  <a:lnTo>
                    <a:pt x="208312" y="238868"/>
                  </a:lnTo>
                  <a:lnTo>
                    <a:pt x="208588" y="235525"/>
                  </a:lnTo>
                  <a:lnTo>
                    <a:pt x="208797" y="231686"/>
                  </a:lnTo>
                  <a:lnTo>
                    <a:pt x="208140" y="229400"/>
                  </a:lnTo>
                  <a:lnTo>
                    <a:pt x="207064" y="227590"/>
                  </a:lnTo>
                  <a:lnTo>
                    <a:pt x="202844" y="225485"/>
                  </a:lnTo>
                  <a:lnTo>
                    <a:pt x="199577" y="223304"/>
                  </a:lnTo>
                  <a:lnTo>
                    <a:pt x="198891" y="222313"/>
                  </a:lnTo>
                  <a:lnTo>
                    <a:pt x="198805" y="221037"/>
                  </a:lnTo>
                  <a:lnTo>
                    <a:pt x="198663" y="219056"/>
                  </a:lnTo>
                  <a:lnTo>
                    <a:pt x="197367" y="217351"/>
                  </a:lnTo>
                  <a:lnTo>
                    <a:pt x="197262" y="215903"/>
                  </a:lnTo>
                  <a:lnTo>
                    <a:pt x="198082" y="213646"/>
                  </a:lnTo>
                  <a:lnTo>
                    <a:pt x="198282" y="211245"/>
                  </a:lnTo>
                  <a:lnTo>
                    <a:pt x="198005" y="210293"/>
                  </a:lnTo>
                  <a:lnTo>
                    <a:pt x="197243" y="209512"/>
                  </a:lnTo>
                  <a:lnTo>
                    <a:pt x="195776" y="209435"/>
                  </a:lnTo>
                  <a:lnTo>
                    <a:pt x="193843" y="208045"/>
                  </a:lnTo>
                  <a:lnTo>
                    <a:pt x="192519" y="206169"/>
                  </a:lnTo>
                  <a:lnTo>
                    <a:pt x="188956" y="203463"/>
                  </a:lnTo>
                  <a:lnTo>
                    <a:pt x="187871" y="203025"/>
                  </a:lnTo>
                  <a:lnTo>
                    <a:pt x="187204" y="201682"/>
                  </a:lnTo>
                  <a:lnTo>
                    <a:pt x="186880" y="200082"/>
                  </a:lnTo>
                  <a:lnTo>
                    <a:pt x="187633" y="198091"/>
                  </a:lnTo>
                  <a:lnTo>
                    <a:pt x="188576" y="195015"/>
                  </a:lnTo>
                  <a:lnTo>
                    <a:pt x="189233" y="192129"/>
                  </a:lnTo>
                  <a:lnTo>
                    <a:pt x="189243" y="190405"/>
                  </a:lnTo>
                  <a:lnTo>
                    <a:pt x="188814" y="186137"/>
                  </a:lnTo>
                  <a:lnTo>
                    <a:pt x="186957" y="182870"/>
                  </a:lnTo>
                  <a:lnTo>
                    <a:pt x="186090" y="182442"/>
                  </a:lnTo>
                  <a:lnTo>
                    <a:pt x="184594" y="183356"/>
                  </a:lnTo>
                  <a:lnTo>
                    <a:pt x="182889" y="184128"/>
                  </a:lnTo>
                  <a:lnTo>
                    <a:pt x="181546" y="183404"/>
                  </a:lnTo>
                  <a:lnTo>
                    <a:pt x="180013" y="181632"/>
                  </a:lnTo>
                  <a:lnTo>
                    <a:pt x="177555" y="176689"/>
                  </a:lnTo>
                  <a:lnTo>
                    <a:pt x="172955" y="175698"/>
                  </a:lnTo>
                  <a:lnTo>
                    <a:pt x="171049" y="175460"/>
                  </a:lnTo>
                  <a:lnTo>
                    <a:pt x="169250" y="177841"/>
                  </a:lnTo>
                  <a:lnTo>
                    <a:pt x="168687" y="177117"/>
                  </a:lnTo>
                  <a:lnTo>
                    <a:pt x="168183" y="175593"/>
                  </a:lnTo>
                  <a:lnTo>
                    <a:pt x="167230" y="174993"/>
                  </a:lnTo>
                  <a:lnTo>
                    <a:pt x="165973" y="175698"/>
                  </a:lnTo>
                  <a:lnTo>
                    <a:pt x="165611" y="175022"/>
                  </a:lnTo>
                  <a:lnTo>
                    <a:pt x="166154" y="172955"/>
                  </a:lnTo>
                  <a:lnTo>
                    <a:pt x="164659" y="171936"/>
                  </a:lnTo>
                  <a:lnTo>
                    <a:pt x="161124" y="171955"/>
                  </a:lnTo>
                  <a:lnTo>
                    <a:pt x="159239" y="171193"/>
                  </a:lnTo>
                  <a:lnTo>
                    <a:pt x="159019" y="169640"/>
                  </a:lnTo>
                  <a:lnTo>
                    <a:pt x="157905" y="168621"/>
                  </a:lnTo>
                  <a:lnTo>
                    <a:pt x="155905" y="168126"/>
                  </a:lnTo>
                  <a:lnTo>
                    <a:pt x="153952" y="166859"/>
                  </a:lnTo>
                  <a:lnTo>
                    <a:pt x="152066" y="164811"/>
                  </a:lnTo>
                  <a:lnTo>
                    <a:pt x="149237" y="163478"/>
                  </a:lnTo>
                  <a:lnTo>
                    <a:pt x="145475" y="162858"/>
                  </a:lnTo>
                  <a:lnTo>
                    <a:pt x="145170" y="162639"/>
                  </a:lnTo>
                  <a:lnTo>
                    <a:pt x="144818" y="162344"/>
                  </a:lnTo>
                  <a:lnTo>
                    <a:pt x="142389" y="163735"/>
                  </a:lnTo>
                  <a:lnTo>
                    <a:pt x="140932" y="164840"/>
                  </a:lnTo>
                  <a:lnTo>
                    <a:pt x="139141" y="164154"/>
                  </a:lnTo>
                  <a:lnTo>
                    <a:pt x="136245" y="166611"/>
                  </a:lnTo>
                  <a:lnTo>
                    <a:pt x="130359" y="166735"/>
                  </a:lnTo>
                  <a:lnTo>
                    <a:pt x="127473" y="166583"/>
                  </a:lnTo>
                  <a:lnTo>
                    <a:pt x="126044" y="165973"/>
                  </a:lnTo>
                  <a:lnTo>
                    <a:pt x="120519" y="169707"/>
                  </a:lnTo>
                  <a:lnTo>
                    <a:pt x="119939" y="171079"/>
                  </a:lnTo>
                  <a:lnTo>
                    <a:pt x="118700" y="171535"/>
                  </a:lnTo>
                  <a:lnTo>
                    <a:pt x="115224" y="172278"/>
                  </a:lnTo>
                  <a:lnTo>
                    <a:pt x="111566" y="173326"/>
                  </a:lnTo>
                  <a:lnTo>
                    <a:pt x="110794" y="176936"/>
                  </a:lnTo>
                  <a:lnTo>
                    <a:pt x="109708" y="178889"/>
                  </a:lnTo>
                  <a:lnTo>
                    <a:pt x="107746" y="181746"/>
                  </a:lnTo>
                  <a:lnTo>
                    <a:pt x="100955" y="182737"/>
                  </a:lnTo>
                  <a:lnTo>
                    <a:pt x="95088" y="184128"/>
                  </a:lnTo>
                  <a:lnTo>
                    <a:pt x="89078" y="184995"/>
                  </a:lnTo>
                  <a:lnTo>
                    <a:pt x="81200" y="188481"/>
                  </a:lnTo>
                  <a:lnTo>
                    <a:pt x="78638" y="191548"/>
                  </a:lnTo>
                  <a:lnTo>
                    <a:pt x="76105" y="192405"/>
                  </a:lnTo>
                  <a:lnTo>
                    <a:pt x="73809" y="192662"/>
                  </a:lnTo>
                  <a:lnTo>
                    <a:pt x="72323" y="190948"/>
                  </a:lnTo>
                  <a:lnTo>
                    <a:pt x="67323" y="186357"/>
                  </a:lnTo>
                  <a:lnTo>
                    <a:pt x="65398" y="184185"/>
                  </a:lnTo>
                  <a:lnTo>
                    <a:pt x="62865" y="183547"/>
                  </a:lnTo>
                  <a:lnTo>
                    <a:pt x="60112" y="183909"/>
                  </a:lnTo>
                  <a:lnTo>
                    <a:pt x="57464" y="184975"/>
                  </a:lnTo>
                  <a:lnTo>
                    <a:pt x="54683" y="185175"/>
                  </a:lnTo>
                  <a:lnTo>
                    <a:pt x="51530" y="183632"/>
                  </a:lnTo>
                  <a:lnTo>
                    <a:pt x="51197" y="183785"/>
                  </a:lnTo>
                  <a:lnTo>
                    <a:pt x="49987" y="183994"/>
                  </a:lnTo>
                  <a:lnTo>
                    <a:pt x="42157" y="182128"/>
                  </a:lnTo>
                  <a:lnTo>
                    <a:pt x="41434" y="181813"/>
                  </a:lnTo>
                  <a:lnTo>
                    <a:pt x="41091" y="181737"/>
                  </a:lnTo>
                  <a:lnTo>
                    <a:pt x="40014" y="181594"/>
                  </a:lnTo>
                  <a:lnTo>
                    <a:pt x="34118" y="181823"/>
                  </a:lnTo>
                  <a:lnTo>
                    <a:pt x="28622" y="178051"/>
                  </a:lnTo>
                  <a:lnTo>
                    <a:pt x="26936" y="177937"/>
                  </a:lnTo>
                  <a:lnTo>
                    <a:pt x="25632" y="179460"/>
                  </a:lnTo>
                  <a:lnTo>
                    <a:pt x="24669" y="181156"/>
                  </a:lnTo>
                  <a:lnTo>
                    <a:pt x="20878" y="182842"/>
                  </a:lnTo>
                  <a:lnTo>
                    <a:pt x="19907" y="183518"/>
                  </a:lnTo>
                  <a:lnTo>
                    <a:pt x="19355" y="182994"/>
                  </a:lnTo>
                  <a:lnTo>
                    <a:pt x="19097" y="181537"/>
                  </a:lnTo>
                  <a:lnTo>
                    <a:pt x="19383" y="180241"/>
                  </a:lnTo>
                  <a:lnTo>
                    <a:pt x="18821" y="179022"/>
                  </a:lnTo>
                  <a:lnTo>
                    <a:pt x="17383" y="177632"/>
                  </a:lnTo>
                  <a:lnTo>
                    <a:pt x="17030" y="177051"/>
                  </a:lnTo>
                  <a:lnTo>
                    <a:pt x="15221" y="177155"/>
                  </a:lnTo>
                  <a:lnTo>
                    <a:pt x="14725" y="177289"/>
                  </a:lnTo>
                  <a:lnTo>
                    <a:pt x="14544" y="177260"/>
                  </a:lnTo>
                  <a:lnTo>
                    <a:pt x="12029" y="176079"/>
                  </a:lnTo>
                  <a:lnTo>
                    <a:pt x="10373" y="173231"/>
                  </a:lnTo>
                  <a:lnTo>
                    <a:pt x="7791" y="171717"/>
                  </a:lnTo>
                  <a:lnTo>
                    <a:pt x="5819" y="171202"/>
                  </a:lnTo>
                  <a:lnTo>
                    <a:pt x="4924" y="169974"/>
                  </a:lnTo>
                  <a:lnTo>
                    <a:pt x="4343" y="168345"/>
                  </a:lnTo>
                  <a:lnTo>
                    <a:pt x="3733" y="167116"/>
                  </a:lnTo>
                  <a:lnTo>
                    <a:pt x="3667" y="166992"/>
                  </a:lnTo>
                  <a:lnTo>
                    <a:pt x="3247" y="165125"/>
                  </a:lnTo>
                  <a:lnTo>
                    <a:pt x="2648" y="164935"/>
                  </a:lnTo>
                  <a:lnTo>
                    <a:pt x="2543" y="164887"/>
                  </a:lnTo>
                  <a:lnTo>
                    <a:pt x="0" y="165211"/>
                  </a:lnTo>
                  <a:lnTo>
                    <a:pt x="295" y="158648"/>
                  </a:lnTo>
                  <a:lnTo>
                    <a:pt x="4362" y="153914"/>
                  </a:lnTo>
                  <a:lnTo>
                    <a:pt x="5362" y="151524"/>
                  </a:lnTo>
                  <a:lnTo>
                    <a:pt x="6886" y="146332"/>
                  </a:lnTo>
                  <a:lnTo>
                    <a:pt x="8029" y="143894"/>
                  </a:lnTo>
                  <a:lnTo>
                    <a:pt x="9401" y="141875"/>
                  </a:lnTo>
                  <a:lnTo>
                    <a:pt x="10496" y="139922"/>
                  </a:lnTo>
                  <a:lnTo>
                    <a:pt x="10887" y="138246"/>
                  </a:lnTo>
                  <a:lnTo>
                    <a:pt x="11992" y="138055"/>
                  </a:lnTo>
                  <a:lnTo>
                    <a:pt x="15230" y="139570"/>
                  </a:lnTo>
                  <a:lnTo>
                    <a:pt x="18136" y="140351"/>
                  </a:lnTo>
                  <a:lnTo>
                    <a:pt x="18935" y="139608"/>
                  </a:lnTo>
                  <a:lnTo>
                    <a:pt x="19269" y="138636"/>
                  </a:lnTo>
                  <a:lnTo>
                    <a:pt x="19135" y="137884"/>
                  </a:lnTo>
                  <a:lnTo>
                    <a:pt x="16811" y="135646"/>
                  </a:lnTo>
                  <a:lnTo>
                    <a:pt x="15354" y="134217"/>
                  </a:lnTo>
                  <a:lnTo>
                    <a:pt x="15259" y="133340"/>
                  </a:lnTo>
                  <a:lnTo>
                    <a:pt x="15783" y="131369"/>
                  </a:lnTo>
                  <a:lnTo>
                    <a:pt x="16068" y="129159"/>
                  </a:lnTo>
                  <a:lnTo>
                    <a:pt x="15735" y="126759"/>
                  </a:lnTo>
                  <a:lnTo>
                    <a:pt x="14144" y="121434"/>
                  </a:lnTo>
                  <a:lnTo>
                    <a:pt x="13849" y="119167"/>
                  </a:lnTo>
                  <a:lnTo>
                    <a:pt x="15364" y="116405"/>
                  </a:lnTo>
                  <a:lnTo>
                    <a:pt x="20298" y="109814"/>
                  </a:lnTo>
                  <a:lnTo>
                    <a:pt x="21945" y="107327"/>
                  </a:lnTo>
                  <a:lnTo>
                    <a:pt x="24193" y="104327"/>
                  </a:lnTo>
                  <a:lnTo>
                    <a:pt x="30299" y="97126"/>
                  </a:lnTo>
                  <a:lnTo>
                    <a:pt x="34147" y="92926"/>
                  </a:lnTo>
                  <a:lnTo>
                    <a:pt x="36756" y="90592"/>
                  </a:lnTo>
                  <a:lnTo>
                    <a:pt x="40576" y="86544"/>
                  </a:lnTo>
                  <a:lnTo>
                    <a:pt x="42253" y="84439"/>
                  </a:lnTo>
                  <a:lnTo>
                    <a:pt x="49225" y="83067"/>
                  </a:lnTo>
                  <a:lnTo>
                    <a:pt x="50092" y="81096"/>
                  </a:lnTo>
                  <a:lnTo>
                    <a:pt x="51368" y="78943"/>
                  </a:lnTo>
                  <a:lnTo>
                    <a:pt x="52358" y="78019"/>
                  </a:lnTo>
                  <a:lnTo>
                    <a:pt x="52492" y="74390"/>
                  </a:lnTo>
                  <a:lnTo>
                    <a:pt x="51197" y="69942"/>
                  </a:lnTo>
                  <a:lnTo>
                    <a:pt x="50159" y="68370"/>
                  </a:lnTo>
                  <a:lnTo>
                    <a:pt x="49387" y="67294"/>
                  </a:lnTo>
                  <a:lnTo>
                    <a:pt x="49892" y="66294"/>
                  </a:lnTo>
                  <a:lnTo>
                    <a:pt x="50663" y="66008"/>
                  </a:lnTo>
                  <a:lnTo>
                    <a:pt x="51615" y="65865"/>
                  </a:lnTo>
                  <a:lnTo>
                    <a:pt x="52797" y="64789"/>
                  </a:lnTo>
                  <a:lnTo>
                    <a:pt x="52530" y="63617"/>
                  </a:lnTo>
                  <a:lnTo>
                    <a:pt x="49587" y="60760"/>
                  </a:lnTo>
                  <a:lnTo>
                    <a:pt x="48310" y="58560"/>
                  </a:lnTo>
                  <a:lnTo>
                    <a:pt x="46320" y="52883"/>
                  </a:lnTo>
                  <a:lnTo>
                    <a:pt x="42281" y="46977"/>
                  </a:lnTo>
                  <a:lnTo>
                    <a:pt x="41005" y="45063"/>
                  </a:lnTo>
                  <a:lnTo>
                    <a:pt x="40824" y="43253"/>
                  </a:lnTo>
                  <a:lnTo>
                    <a:pt x="41414" y="41443"/>
                  </a:lnTo>
                  <a:lnTo>
                    <a:pt x="40852" y="39129"/>
                  </a:lnTo>
                  <a:lnTo>
                    <a:pt x="39424" y="36176"/>
                  </a:lnTo>
                  <a:lnTo>
                    <a:pt x="39652" y="35852"/>
                  </a:lnTo>
                  <a:lnTo>
                    <a:pt x="39509" y="32204"/>
                  </a:lnTo>
                  <a:lnTo>
                    <a:pt x="40528" y="31413"/>
                  </a:lnTo>
                  <a:lnTo>
                    <a:pt x="42138" y="30880"/>
                  </a:lnTo>
                  <a:lnTo>
                    <a:pt x="44405" y="31061"/>
                  </a:lnTo>
                  <a:lnTo>
                    <a:pt x="46348" y="31623"/>
                  </a:lnTo>
                  <a:lnTo>
                    <a:pt x="48673" y="33290"/>
                  </a:lnTo>
                  <a:lnTo>
                    <a:pt x="49396" y="33023"/>
                  </a:lnTo>
                  <a:lnTo>
                    <a:pt x="53368" y="29880"/>
                  </a:lnTo>
                  <a:lnTo>
                    <a:pt x="57464" y="25136"/>
                  </a:lnTo>
                  <a:lnTo>
                    <a:pt x="58635" y="22384"/>
                  </a:lnTo>
                  <a:lnTo>
                    <a:pt x="59655" y="21126"/>
                  </a:lnTo>
                  <a:lnTo>
                    <a:pt x="63217" y="20460"/>
                  </a:lnTo>
                  <a:lnTo>
                    <a:pt x="66322" y="20183"/>
                  </a:lnTo>
                  <a:lnTo>
                    <a:pt x="68294" y="20231"/>
                  </a:lnTo>
                  <a:lnTo>
                    <a:pt x="73142" y="19764"/>
                  </a:lnTo>
                  <a:lnTo>
                    <a:pt x="76009" y="19240"/>
                  </a:lnTo>
                  <a:lnTo>
                    <a:pt x="78495" y="18402"/>
                  </a:lnTo>
                  <a:lnTo>
                    <a:pt x="83858" y="18088"/>
                  </a:lnTo>
                  <a:lnTo>
                    <a:pt x="92221" y="18650"/>
                  </a:lnTo>
                  <a:lnTo>
                    <a:pt x="97717" y="18688"/>
                  </a:lnTo>
                  <a:lnTo>
                    <a:pt x="101450" y="19135"/>
                  </a:lnTo>
                  <a:lnTo>
                    <a:pt x="110585" y="21660"/>
                  </a:lnTo>
                  <a:lnTo>
                    <a:pt x="113985" y="22117"/>
                  </a:lnTo>
                  <a:lnTo>
                    <a:pt x="115567" y="23460"/>
                  </a:lnTo>
                  <a:lnTo>
                    <a:pt x="118605" y="23955"/>
                  </a:lnTo>
                  <a:lnTo>
                    <a:pt x="124130" y="25298"/>
                  </a:lnTo>
                  <a:lnTo>
                    <a:pt x="128921" y="26022"/>
                  </a:lnTo>
                  <a:lnTo>
                    <a:pt x="132159" y="25727"/>
                  </a:lnTo>
                  <a:lnTo>
                    <a:pt x="133969" y="26108"/>
                  </a:lnTo>
                  <a:lnTo>
                    <a:pt x="137398" y="32061"/>
                  </a:lnTo>
                  <a:lnTo>
                    <a:pt x="138103" y="32756"/>
                  </a:lnTo>
                  <a:lnTo>
                    <a:pt x="139474" y="32899"/>
                  </a:lnTo>
                  <a:lnTo>
                    <a:pt x="142274" y="32385"/>
                  </a:lnTo>
                  <a:lnTo>
                    <a:pt x="146256" y="32585"/>
                  </a:lnTo>
                  <a:lnTo>
                    <a:pt x="148618" y="33833"/>
                  </a:lnTo>
                  <a:lnTo>
                    <a:pt x="148275" y="37366"/>
                  </a:lnTo>
                  <a:lnTo>
                    <a:pt x="148894" y="37881"/>
                  </a:lnTo>
                  <a:lnTo>
                    <a:pt x="150000" y="37681"/>
                  </a:lnTo>
                  <a:lnTo>
                    <a:pt x="151266" y="35690"/>
                  </a:lnTo>
                  <a:lnTo>
                    <a:pt x="152333" y="33623"/>
                  </a:lnTo>
                  <a:lnTo>
                    <a:pt x="153124" y="32975"/>
                  </a:lnTo>
                  <a:lnTo>
                    <a:pt x="157191" y="34376"/>
                  </a:lnTo>
                  <a:lnTo>
                    <a:pt x="159048" y="34147"/>
                  </a:lnTo>
                  <a:lnTo>
                    <a:pt x="160763" y="32575"/>
                  </a:lnTo>
                  <a:lnTo>
                    <a:pt x="161810" y="32309"/>
                  </a:lnTo>
                  <a:lnTo>
                    <a:pt x="164696" y="33423"/>
                  </a:lnTo>
                  <a:lnTo>
                    <a:pt x="168249" y="34204"/>
                  </a:lnTo>
                  <a:lnTo>
                    <a:pt x="171126" y="34252"/>
                  </a:lnTo>
                  <a:lnTo>
                    <a:pt x="172917" y="35100"/>
                  </a:lnTo>
                  <a:lnTo>
                    <a:pt x="174221" y="38786"/>
                  </a:lnTo>
                  <a:lnTo>
                    <a:pt x="175355" y="39548"/>
                  </a:lnTo>
                  <a:lnTo>
                    <a:pt x="176450" y="39776"/>
                  </a:lnTo>
                  <a:lnTo>
                    <a:pt x="178108" y="36481"/>
                  </a:lnTo>
                  <a:lnTo>
                    <a:pt x="179613" y="35204"/>
                  </a:lnTo>
                  <a:lnTo>
                    <a:pt x="181699" y="34261"/>
                  </a:lnTo>
                  <a:lnTo>
                    <a:pt x="183042" y="33852"/>
                  </a:lnTo>
                  <a:lnTo>
                    <a:pt x="183994" y="32680"/>
                  </a:lnTo>
                  <a:lnTo>
                    <a:pt x="185271" y="31547"/>
                  </a:lnTo>
                  <a:lnTo>
                    <a:pt x="186375" y="31452"/>
                  </a:lnTo>
                  <a:lnTo>
                    <a:pt x="187271" y="31890"/>
                  </a:lnTo>
                  <a:lnTo>
                    <a:pt x="188300" y="33461"/>
                  </a:lnTo>
                  <a:lnTo>
                    <a:pt x="189804" y="37043"/>
                  </a:lnTo>
                  <a:lnTo>
                    <a:pt x="191633" y="40634"/>
                  </a:lnTo>
                  <a:lnTo>
                    <a:pt x="192910" y="41938"/>
                  </a:lnTo>
                  <a:lnTo>
                    <a:pt x="196205" y="40834"/>
                  </a:lnTo>
                  <a:lnTo>
                    <a:pt x="198434" y="39709"/>
                  </a:lnTo>
                  <a:lnTo>
                    <a:pt x="202520" y="39500"/>
                  </a:lnTo>
                  <a:lnTo>
                    <a:pt x="207940" y="38710"/>
                  </a:lnTo>
                  <a:lnTo>
                    <a:pt x="212084" y="37681"/>
                  </a:lnTo>
                  <a:lnTo>
                    <a:pt x="214674" y="37862"/>
                  </a:lnTo>
                  <a:lnTo>
                    <a:pt x="216246" y="39005"/>
                  </a:lnTo>
                  <a:lnTo>
                    <a:pt x="218637" y="41205"/>
                  </a:lnTo>
                  <a:lnTo>
                    <a:pt x="219284" y="44367"/>
                  </a:lnTo>
                  <a:lnTo>
                    <a:pt x="222389" y="46549"/>
                  </a:lnTo>
                  <a:lnTo>
                    <a:pt x="224933" y="46949"/>
                  </a:lnTo>
                  <a:lnTo>
                    <a:pt x="225800" y="44682"/>
                  </a:lnTo>
                  <a:lnTo>
                    <a:pt x="227286" y="43101"/>
                  </a:lnTo>
                  <a:lnTo>
                    <a:pt x="226723" y="40919"/>
                  </a:lnTo>
                  <a:lnTo>
                    <a:pt x="226476" y="38138"/>
                  </a:lnTo>
                  <a:lnTo>
                    <a:pt x="225361" y="35557"/>
                  </a:lnTo>
                  <a:lnTo>
                    <a:pt x="224618" y="32775"/>
                  </a:lnTo>
                  <a:lnTo>
                    <a:pt x="225980" y="28794"/>
                  </a:lnTo>
                  <a:lnTo>
                    <a:pt x="227466" y="25308"/>
                  </a:lnTo>
                  <a:lnTo>
                    <a:pt x="228209" y="23412"/>
                  </a:lnTo>
                  <a:lnTo>
                    <a:pt x="230562" y="19907"/>
                  </a:lnTo>
                  <a:lnTo>
                    <a:pt x="232972" y="17402"/>
                  </a:lnTo>
                  <a:lnTo>
                    <a:pt x="236581" y="13373"/>
                  </a:lnTo>
                  <a:lnTo>
                    <a:pt x="239220" y="12039"/>
                  </a:lnTo>
                  <a:lnTo>
                    <a:pt x="241602" y="12649"/>
                  </a:lnTo>
                  <a:lnTo>
                    <a:pt x="242925" y="13202"/>
                  </a:lnTo>
                  <a:lnTo>
                    <a:pt x="246345" y="10811"/>
                  </a:lnTo>
                  <a:lnTo>
                    <a:pt x="252431" y="10687"/>
                  </a:lnTo>
                  <a:lnTo>
                    <a:pt x="257499" y="10992"/>
                  </a:lnTo>
                  <a:lnTo>
                    <a:pt x="258013" y="11068"/>
                  </a:lnTo>
                  <a:lnTo>
                    <a:pt x="260509" y="12306"/>
                  </a:lnTo>
                  <a:lnTo>
                    <a:pt x="263128" y="13354"/>
                  </a:lnTo>
                  <a:lnTo>
                    <a:pt x="264937" y="13421"/>
                  </a:lnTo>
                  <a:lnTo>
                    <a:pt x="267090" y="13182"/>
                  </a:lnTo>
                  <a:lnTo>
                    <a:pt x="269624" y="11782"/>
                  </a:lnTo>
                  <a:lnTo>
                    <a:pt x="271386" y="10430"/>
                  </a:lnTo>
                  <a:lnTo>
                    <a:pt x="273529" y="3553"/>
                  </a:lnTo>
                  <a:lnTo>
                    <a:pt x="274291" y="2562"/>
                  </a:lnTo>
                  <a:lnTo>
                    <a:pt x="275472" y="2019"/>
                  </a:lnTo>
                  <a:lnTo>
                    <a:pt x="277406" y="1962"/>
                  </a:lnTo>
                  <a:lnTo>
                    <a:pt x="281082" y="3248"/>
                  </a:lnTo>
                  <a:lnTo>
                    <a:pt x="285388" y="4400"/>
                  </a:lnTo>
                  <a:lnTo>
                    <a:pt x="287884" y="4238"/>
                  </a:lnTo>
                  <a:lnTo>
                    <a:pt x="294532" y="571"/>
                  </a:lnTo>
                  <a:lnTo>
                    <a:pt x="298237" y="0"/>
                  </a:lnTo>
                  <a:lnTo>
                    <a:pt x="302637" y="857"/>
                  </a:lnTo>
                  <a:lnTo>
                    <a:pt x="306962" y="905"/>
                  </a:lnTo>
                  <a:lnTo>
                    <a:pt x="310219" y="371"/>
                  </a:lnTo>
                  <a:lnTo>
                    <a:pt x="312458" y="1638"/>
                  </a:lnTo>
                  <a:lnTo>
                    <a:pt x="315220" y="4438"/>
                  </a:lnTo>
                  <a:lnTo>
                    <a:pt x="317716" y="8591"/>
                  </a:lnTo>
                  <a:lnTo>
                    <a:pt x="320325" y="16240"/>
                  </a:lnTo>
                  <a:lnTo>
                    <a:pt x="327936" y="24841"/>
                  </a:lnTo>
                  <a:lnTo>
                    <a:pt x="328060" y="26518"/>
                  </a:lnTo>
                  <a:lnTo>
                    <a:pt x="327440" y="27594"/>
                  </a:lnTo>
                  <a:lnTo>
                    <a:pt x="323697" y="28632"/>
                  </a:lnTo>
                  <a:lnTo>
                    <a:pt x="320535" y="29194"/>
                  </a:lnTo>
                  <a:lnTo>
                    <a:pt x="320383" y="30661"/>
                  </a:lnTo>
                  <a:lnTo>
                    <a:pt x="321221" y="32252"/>
                  </a:lnTo>
                  <a:lnTo>
                    <a:pt x="322669" y="34576"/>
                  </a:lnTo>
                  <a:lnTo>
                    <a:pt x="322888" y="37567"/>
                  </a:lnTo>
                  <a:lnTo>
                    <a:pt x="322812" y="40310"/>
                  </a:lnTo>
                  <a:lnTo>
                    <a:pt x="323431" y="42729"/>
                  </a:lnTo>
                  <a:lnTo>
                    <a:pt x="324640" y="43720"/>
                  </a:lnTo>
                  <a:lnTo>
                    <a:pt x="324793" y="44929"/>
                  </a:lnTo>
                  <a:lnTo>
                    <a:pt x="323402" y="46415"/>
                  </a:lnTo>
                  <a:lnTo>
                    <a:pt x="323012" y="47330"/>
                  </a:lnTo>
                  <a:lnTo>
                    <a:pt x="323555" y="47825"/>
                  </a:lnTo>
                  <a:lnTo>
                    <a:pt x="330422" y="48111"/>
                  </a:lnTo>
                  <a:lnTo>
                    <a:pt x="333784" y="49549"/>
                  </a:lnTo>
                  <a:lnTo>
                    <a:pt x="336337" y="50863"/>
                  </a:lnTo>
                  <a:lnTo>
                    <a:pt x="337623" y="50987"/>
                  </a:lnTo>
                  <a:lnTo>
                    <a:pt x="340519" y="50149"/>
                  </a:lnTo>
                  <a:lnTo>
                    <a:pt x="343776" y="49616"/>
                  </a:lnTo>
                  <a:lnTo>
                    <a:pt x="345748" y="49539"/>
                  </a:lnTo>
                  <a:lnTo>
                    <a:pt x="346510" y="50511"/>
                  </a:lnTo>
                  <a:lnTo>
                    <a:pt x="347120" y="53054"/>
                  </a:lnTo>
                  <a:lnTo>
                    <a:pt x="348262" y="55597"/>
                  </a:lnTo>
                  <a:lnTo>
                    <a:pt x="349329" y="56321"/>
                  </a:lnTo>
                  <a:lnTo>
                    <a:pt x="351234" y="56197"/>
                  </a:lnTo>
                  <a:lnTo>
                    <a:pt x="352377" y="56321"/>
                  </a:lnTo>
                  <a:lnTo>
                    <a:pt x="352987" y="57283"/>
                  </a:lnTo>
                  <a:lnTo>
                    <a:pt x="352301" y="58731"/>
                  </a:lnTo>
                  <a:lnTo>
                    <a:pt x="352454" y="60303"/>
                  </a:lnTo>
                  <a:lnTo>
                    <a:pt x="353291" y="62227"/>
                  </a:lnTo>
                  <a:lnTo>
                    <a:pt x="354282" y="66675"/>
                  </a:lnTo>
                  <a:lnTo>
                    <a:pt x="355196" y="67999"/>
                  </a:lnTo>
                  <a:lnTo>
                    <a:pt x="355806" y="69675"/>
                  </a:lnTo>
                  <a:lnTo>
                    <a:pt x="355806" y="71599"/>
                  </a:lnTo>
                  <a:lnTo>
                    <a:pt x="355044" y="73276"/>
                  </a:lnTo>
                  <a:lnTo>
                    <a:pt x="354511" y="74590"/>
                  </a:lnTo>
                  <a:lnTo>
                    <a:pt x="355044" y="77581"/>
                  </a:lnTo>
                  <a:lnTo>
                    <a:pt x="357101" y="80924"/>
                  </a:lnTo>
                  <a:lnTo>
                    <a:pt x="358625" y="81753"/>
                  </a:lnTo>
                  <a:lnTo>
                    <a:pt x="359845" y="84734"/>
                  </a:lnTo>
                  <a:lnTo>
                    <a:pt x="362055" y="85687"/>
                  </a:lnTo>
                  <a:lnTo>
                    <a:pt x="365331" y="83182"/>
                  </a:lnTo>
                  <a:lnTo>
                    <a:pt x="367846" y="81867"/>
                  </a:lnTo>
                  <a:lnTo>
                    <a:pt x="370989" y="82601"/>
                  </a:lnTo>
                  <a:lnTo>
                    <a:pt x="373894" y="83067"/>
                  </a:lnTo>
                  <a:lnTo>
                    <a:pt x="375847" y="84772"/>
                  </a:lnTo>
                  <a:lnTo>
                    <a:pt x="377285" y="87116"/>
                  </a:lnTo>
                  <a:lnTo>
                    <a:pt x="378961" y="88420"/>
                  </a:lnTo>
                  <a:lnTo>
                    <a:pt x="380638" y="87735"/>
                  </a:lnTo>
                  <a:lnTo>
                    <a:pt x="384134" y="88420"/>
                  </a:lnTo>
                  <a:lnTo>
                    <a:pt x="385733" y="90316"/>
                  </a:lnTo>
                  <a:lnTo>
                    <a:pt x="387334" y="91383"/>
                  </a:lnTo>
                  <a:lnTo>
                    <a:pt x="389391" y="89840"/>
                  </a:lnTo>
                  <a:lnTo>
                    <a:pt x="391067" y="87935"/>
                  </a:lnTo>
                  <a:lnTo>
                    <a:pt x="397202" y="85944"/>
                  </a:lnTo>
                  <a:lnTo>
                    <a:pt x="401012" y="85449"/>
                  </a:lnTo>
                  <a:lnTo>
                    <a:pt x="402078" y="85058"/>
                  </a:lnTo>
                  <a:lnTo>
                    <a:pt x="404317" y="83629"/>
                  </a:lnTo>
                  <a:lnTo>
                    <a:pt x="406679" y="82677"/>
                  </a:lnTo>
                  <a:lnTo>
                    <a:pt x="408803" y="82934"/>
                  </a:lnTo>
                  <a:lnTo>
                    <a:pt x="410899" y="85896"/>
                  </a:lnTo>
                  <a:lnTo>
                    <a:pt x="413070" y="87935"/>
                  </a:lnTo>
                  <a:lnTo>
                    <a:pt x="413680" y="91145"/>
                  </a:lnTo>
                  <a:lnTo>
                    <a:pt x="416328" y="95545"/>
                  </a:lnTo>
                  <a:lnTo>
                    <a:pt x="422910" y="101555"/>
                  </a:lnTo>
                  <a:lnTo>
                    <a:pt x="425491" y="103384"/>
                  </a:lnTo>
                  <a:lnTo>
                    <a:pt x="427244" y="103060"/>
                  </a:lnTo>
                  <a:lnTo>
                    <a:pt x="428158" y="102584"/>
                  </a:lnTo>
                  <a:lnTo>
                    <a:pt x="428587" y="101955"/>
                  </a:lnTo>
                  <a:lnTo>
                    <a:pt x="428987" y="99012"/>
                  </a:lnTo>
                  <a:lnTo>
                    <a:pt x="429816" y="97926"/>
                  </a:lnTo>
                  <a:lnTo>
                    <a:pt x="431149" y="97898"/>
                  </a:lnTo>
                  <a:lnTo>
                    <a:pt x="436302" y="101555"/>
                  </a:lnTo>
                  <a:lnTo>
                    <a:pt x="438998" y="101955"/>
                  </a:lnTo>
                  <a:lnTo>
                    <a:pt x="441560" y="102022"/>
                  </a:lnTo>
                  <a:lnTo>
                    <a:pt x="445008" y="104860"/>
                  </a:lnTo>
                  <a:lnTo>
                    <a:pt x="448789" y="107327"/>
                  </a:lnTo>
                  <a:lnTo>
                    <a:pt x="451713" y="107585"/>
                  </a:lnTo>
                  <a:lnTo>
                    <a:pt x="454047" y="106613"/>
                  </a:lnTo>
                  <a:lnTo>
                    <a:pt x="455647" y="106023"/>
                  </a:lnTo>
                  <a:lnTo>
                    <a:pt x="456638" y="106966"/>
                  </a:lnTo>
                  <a:lnTo>
                    <a:pt x="457552" y="109090"/>
                  </a:lnTo>
                  <a:lnTo>
                    <a:pt x="459076" y="110737"/>
                  </a:lnTo>
                  <a:lnTo>
                    <a:pt x="460829" y="111204"/>
                  </a:lnTo>
                  <a:lnTo>
                    <a:pt x="463353" y="111309"/>
                  </a:lnTo>
                  <a:lnTo>
                    <a:pt x="467734" y="114490"/>
                  </a:lnTo>
                  <a:lnTo>
                    <a:pt x="471849" y="117729"/>
                  </a:lnTo>
                  <a:lnTo>
                    <a:pt x="474421" y="117910"/>
                  </a:lnTo>
                  <a:lnTo>
                    <a:pt x="476602" y="116957"/>
                  </a:lnTo>
                  <a:lnTo>
                    <a:pt x="478526" y="116710"/>
                  </a:lnTo>
                  <a:lnTo>
                    <a:pt x="479869" y="117529"/>
                  </a:lnTo>
                  <a:lnTo>
                    <a:pt x="480250" y="118929"/>
                  </a:lnTo>
                  <a:lnTo>
                    <a:pt x="479260" y="120805"/>
                  </a:lnTo>
                  <a:lnTo>
                    <a:pt x="479260" y="123492"/>
                  </a:lnTo>
                  <a:lnTo>
                    <a:pt x="481089" y="126063"/>
                  </a:lnTo>
                  <a:lnTo>
                    <a:pt x="481146" y="128588"/>
                  </a:lnTo>
                  <a:lnTo>
                    <a:pt x="480622" y="130864"/>
                  </a:lnTo>
                  <a:lnTo>
                    <a:pt x="479584" y="132959"/>
                  </a:lnTo>
                  <a:lnTo>
                    <a:pt x="477078" y="135836"/>
                  </a:lnTo>
                  <a:lnTo>
                    <a:pt x="474764" y="138512"/>
                  </a:lnTo>
                  <a:lnTo>
                    <a:pt x="471287" y="139627"/>
                  </a:lnTo>
                  <a:lnTo>
                    <a:pt x="469335" y="140798"/>
                  </a:lnTo>
                  <a:lnTo>
                    <a:pt x="469849" y="142760"/>
                  </a:lnTo>
                  <a:lnTo>
                    <a:pt x="471125" y="144589"/>
                  </a:lnTo>
                  <a:lnTo>
                    <a:pt x="474078" y="146066"/>
                  </a:lnTo>
                  <a:lnTo>
                    <a:pt x="477431" y="147142"/>
                  </a:lnTo>
                  <a:lnTo>
                    <a:pt x="477821" y="148333"/>
                  </a:lnTo>
                  <a:lnTo>
                    <a:pt x="477307" y="148933"/>
                  </a:lnTo>
                  <a:lnTo>
                    <a:pt x="475154" y="149485"/>
                  </a:lnTo>
                  <a:lnTo>
                    <a:pt x="472183" y="148923"/>
                  </a:lnTo>
                  <a:lnTo>
                    <a:pt x="471192" y="149961"/>
                  </a:lnTo>
                  <a:lnTo>
                    <a:pt x="469820" y="151686"/>
                  </a:lnTo>
                  <a:lnTo>
                    <a:pt x="468906" y="154791"/>
                  </a:lnTo>
                  <a:lnTo>
                    <a:pt x="468220" y="157667"/>
                  </a:lnTo>
                  <a:lnTo>
                    <a:pt x="471449" y="158448"/>
                  </a:lnTo>
                  <a:lnTo>
                    <a:pt x="473326" y="159620"/>
                  </a:lnTo>
                  <a:lnTo>
                    <a:pt x="473916" y="161972"/>
                  </a:lnTo>
                  <a:lnTo>
                    <a:pt x="474583" y="164592"/>
                  </a:lnTo>
                  <a:lnTo>
                    <a:pt x="474783" y="166944"/>
                  </a:lnTo>
                  <a:lnTo>
                    <a:pt x="473716" y="168087"/>
                  </a:lnTo>
                  <a:lnTo>
                    <a:pt x="473650" y="169259"/>
                  </a:lnTo>
                  <a:lnTo>
                    <a:pt x="474154" y="169840"/>
                  </a:lnTo>
                  <a:lnTo>
                    <a:pt x="475545" y="170097"/>
                  </a:lnTo>
                  <a:lnTo>
                    <a:pt x="476602" y="170621"/>
                  </a:lnTo>
                  <a:lnTo>
                    <a:pt x="476688" y="171860"/>
                  </a:lnTo>
                  <a:lnTo>
                    <a:pt x="474659" y="174641"/>
                  </a:lnTo>
                  <a:lnTo>
                    <a:pt x="472764" y="179956"/>
                  </a:lnTo>
                  <a:lnTo>
                    <a:pt x="471744" y="182775"/>
                  </a:lnTo>
                  <a:lnTo>
                    <a:pt x="471821" y="185833"/>
                  </a:lnTo>
                  <a:lnTo>
                    <a:pt x="470678" y="187528"/>
                  </a:lnTo>
                  <a:lnTo>
                    <a:pt x="468573" y="187747"/>
                  </a:lnTo>
                  <a:lnTo>
                    <a:pt x="461429" y="188042"/>
                  </a:lnTo>
                  <a:lnTo>
                    <a:pt x="455209" y="187890"/>
                  </a:lnTo>
                  <a:lnTo>
                    <a:pt x="452523" y="187452"/>
                  </a:lnTo>
                  <a:lnTo>
                    <a:pt x="448313" y="187185"/>
                  </a:lnTo>
                  <a:lnTo>
                    <a:pt x="446227" y="187909"/>
                  </a:lnTo>
                  <a:lnTo>
                    <a:pt x="443465" y="192786"/>
                  </a:lnTo>
                  <a:lnTo>
                    <a:pt x="441369" y="194691"/>
                  </a:lnTo>
                  <a:lnTo>
                    <a:pt x="437912" y="196415"/>
                  </a:lnTo>
                  <a:lnTo>
                    <a:pt x="434111" y="196910"/>
                  </a:lnTo>
                  <a:lnTo>
                    <a:pt x="431930" y="198911"/>
                  </a:lnTo>
                  <a:lnTo>
                    <a:pt x="431159" y="202054"/>
                  </a:lnTo>
                  <a:lnTo>
                    <a:pt x="431101" y="204835"/>
                  </a:lnTo>
                  <a:lnTo>
                    <a:pt x="430749" y="206226"/>
                  </a:lnTo>
                  <a:lnTo>
                    <a:pt x="429930" y="207445"/>
                  </a:lnTo>
                  <a:lnTo>
                    <a:pt x="429634" y="208312"/>
                  </a:lnTo>
                  <a:lnTo>
                    <a:pt x="429816" y="209264"/>
                  </a:lnTo>
                  <a:lnTo>
                    <a:pt x="430701" y="209607"/>
                  </a:lnTo>
                  <a:lnTo>
                    <a:pt x="431759" y="210045"/>
                  </a:lnTo>
                  <a:lnTo>
                    <a:pt x="431759" y="210731"/>
                  </a:lnTo>
                  <a:lnTo>
                    <a:pt x="431349" y="211598"/>
                  </a:lnTo>
                  <a:lnTo>
                    <a:pt x="430168" y="212550"/>
                  </a:lnTo>
                  <a:lnTo>
                    <a:pt x="429634" y="214017"/>
                  </a:lnTo>
                  <a:lnTo>
                    <a:pt x="429758" y="215579"/>
                  </a:lnTo>
                  <a:lnTo>
                    <a:pt x="429977" y="217303"/>
                  </a:lnTo>
                  <a:close/>
                  <a:moveTo>
                    <a:pt x="264185" y="251755"/>
                  </a:moveTo>
                  <a:lnTo>
                    <a:pt x="267871" y="253651"/>
                  </a:lnTo>
                  <a:lnTo>
                    <a:pt x="264109" y="253146"/>
                  </a:lnTo>
                  <a:lnTo>
                    <a:pt x="255851" y="251365"/>
                  </a:lnTo>
                  <a:lnTo>
                    <a:pt x="252203" y="249679"/>
                  </a:lnTo>
                  <a:lnTo>
                    <a:pt x="251260" y="247793"/>
                  </a:lnTo>
                  <a:lnTo>
                    <a:pt x="250727" y="245221"/>
                  </a:lnTo>
                  <a:lnTo>
                    <a:pt x="252765" y="247917"/>
                  </a:lnTo>
                  <a:lnTo>
                    <a:pt x="254193" y="249098"/>
                  </a:lnTo>
                  <a:lnTo>
                    <a:pt x="264185" y="251755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7" name="Forme libre : forme 54">
              <a:extLst>
                <a:ext uri="{FF2B5EF4-FFF2-40B4-BE49-F238E27FC236}">
                  <a16:creationId xmlns:a16="http://schemas.microsoft.com/office/drawing/2014/main" id="{EE8E314D-9D13-B508-0B81-2C98694B2E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136260" y="5241217"/>
              <a:ext cx="1087" cy="1087"/>
            </a:xfrm>
            <a:custGeom>
              <a:avLst/>
              <a:gdLst>
                <a:gd name="connsiteX0" fmla="*/ 314 w 314"/>
                <a:gd name="connsiteY0" fmla="*/ 286 h 314"/>
                <a:gd name="connsiteX1" fmla="*/ 86 w 314"/>
                <a:gd name="connsiteY1" fmla="*/ 314 h 314"/>
                <a:gd name="connsiteX2" fmla="*/ 0 w 314"/>
                <a:gd name="connsiteY2" fmla="*/ 190 h 314"/>
                <a:gd name="connsiteX3" fmla="*/ 86 w 314"/>
                <a:gd name="connsiteY3" fmla="*/ 28 h 314"/>
                <a:gd name="connsiteX4" fmla="*/ 286 w 314"/>
                <a:gd name="connsiteY4" fmla="*/ 0 h 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" h="314">
                  <a:moveTo>
                    <a:pt x="314" y="286"/>
                  </a:moveTo>
                  <a:lnTo>
                    <a:pt x="86" y="314"/>
                  </a:lnTo>
                  <a:lnTo>
                    <a:pt x="0" y="190"/>
                  </a:lnTo>
                  <a:lnTo>
                    <a:pt x="86" y="28"/>
                  </a:lnTo>
                  <a:lnTo>
                    <a:pt x="286" y="0"/>
                  </a:lnTo>
                  <a:close/>
                </a:path>
              </a:pathLst>
            </a:custGeom>
            <a:grpFill/>
            <a:ln w="3175" cap="flat">
              <a:solidFill>
                <a:srgbClr val="EEEEE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endParaRPr>
            </a:p>
          </p:txBody>
        </p:sp>
      </p:grpSp>
      <p:sp>
        <p:nvSpPr>
          <p:cNvPr id="58" name="Footer Placeholder 6">
            <a:extLst>
              <a:ext uri="{FF2B5EF4-FFF2-40B4-BE49-F238E27FC236}">
                <a16:creationId xmlns:a16="http://schemas.microsoft.com/office/drawing/2014/main" id="{38C1A56B-DDB3-E734-CC86-50BA8C54817E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59" name="Titre 1">
            <a:extLst>
              <a:ext uri="{FF2B5EF4-FFF2-40B4-BE49-F238E27FC236}">
                <a16:creationId xmlns:a16="http://schemas.microsoft.com/office/drawing/2014/main" id="{BA5B53B3-1D21-DBA6-0049-9D893497D0B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0863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60" name="Espace réservé du texte 13">
            <a:extLst>
              <a:ext uri="{FF2B5EF4-FFF2-40B4-BE49-F238E27FC236}">
                <a16:creationId xmlns:a16="http://schemas.microsoft.com/office/drawing/2014/main" id="{505777EA-3875-992C-9B8C-93D457CCF52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50863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280038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 : avec coins arrondis en haut 6">
            <a:extLst>
              <a:ext uri="{FF2B5EF4-FFF2-40B4-BE49-F238E27FC236}">
                <a16:creationId xmlns:a16="http://schemas.microsoft.com/office/drawing/2014/main" id="{83108B7F-69DD-5D6F-9F51-E6D20E1AF8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 rot="5400000" flipH="1">
            <a:off x="-565385" y="2212179"/>
            <a:ext cx="4457556" cy="3303739"/>
          </a:xfrm>
          <a:prstGeom prst="round2SameRect">
            <a:avLst>
              <a:gd name="adj1" fmla="val 7834"/>
              <a:gd name="adj2" fmla="val 0"/>
            </a:avLst>
          </a:prstGeom>
          <a:solidFill>
            <a:schemeClr val="bg2"/>
          </a:solidFill>
          <a:ln w="3175">
            <a:noFill/>
          </a:ln>
          <a:effectLst>
            <a:outerShdw blurRad="165100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EEEEE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08" name="Espace réservé du texte 59">
            <a:extLst>
              <a:ext uri="{FF2B5EF4-FFF2-40B4-BE49-F238E27FC236}">
                <a16:creationId xmlns:a16="http://schemas.microsoft.com/office/drawing/2014/main" id="{7341243A-EADD-2BBB-7AF1-E16E000EE2E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3384" y="2006124"/>
            <a:ext cx="2765548" cy="83422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change the mask title styles:</a:t>
            </a:r>
            <a:endParaRPr lang="fr-FR"/>
          </a:p>
        </p:txBody>
      </p:sp>
      <p:cxnSp>
        <p:nvCxnSpPr>
          <p:cNvPr id="9" name="Straight Connector 2">
            <a:extLst>
              <a:ext uri="{FF2B5EF4-FFF2-40B4-BE49-F238E27FC236}">
                <a16:creationId xmlns:a16="http://schemas.microsoft.com/office/drawing/2014/main" id="{823214C8-A060-4F5C-87DE-6AB652E50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43384" y="2820223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Espace réservé du texte 59">
            <a:extLst>
              <a:ext uri="{FF2B5EF4-FFF2-40B4-BE49-F238E27FC236}">
                <a16:creationId xmlns:a16="http://schemas.microsoft.com/office/drawing/2014/main" id="{EB61D8EF-FE3A-9477-F8BA-43DC30D6AE13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43384" y="3060734"/>
            <a:ext cx="2765548" cy="71653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change the mask text styles:</a:t>
            </a:r>
            <a:endParaRPr lang="fr-FR"/>
          </a:p>
        </p:txBody>
      </p:sp>
      <p:sp>
        <p:nvSpPr>
          <p:cNvPr id="311" name="Espace réservé du texte 310">
            <a:extLst>
              <a:ext uri="{FF2B5EF4-FFF2-40B4-BE49-F238E27FC236}">
                <a16:creationId xmlns:a16="http://schemas.microsoft.com/office/drawing/2014/main" id="{3C2B1A0B-102F-6383-8960-DD6FEF949E44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343384" y="3923877"/>
            <a:ext cx="2773362" cy="204954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0" name="Rectangle : coins arrondis 7">
            <a:extLst>
              <a:ext uri="{FF2B5EF4-FFF2-40B4-BE49-F238E27FC236}">
                <a16:creationId xmlns:a16="http://schemas.microsoft.com/office/drawing/2014/main" id="{22277B75-ECEF-6125-C9F7-CA319A67F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715032" y="1628774"/>
            <a:ext cx="4752975" cy="4465637"/>
          </a:xfrm>
          <a:prstGeom prst="roundRect">
            <a:avLst>
              <a:gd name="adj" fmla="val 5991"/>
            </a:avLst>
          </a:prstGeom>
          <a:solidFill>
            <a:schemeClr val="bg1"/>
          </a:solidFill>
          <a:ln w="3175">
            <a:noFill/>
          </a:ln>
          <a:effectLst>
            <a:outerShdw blurRad="165100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EEEEE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grpSp>
        <p:nvGrpSpPr>
          <p:cNvPr id="83" name="Groupe 604">
            <a:extLst>
              <a:ext uri="{FF2B5EF4-FFF2-40B4-BE49-F238E27FC236}">
                <a16:creationId xmlns:a16="http://schemas.microsoft.com/office/drawing/2014/main" id="{495FFBD3-1CE7-500E-4477-E8B86EA7E8AF}"/>
              </a:ext>
            </a:extLst>
          </p:cNvPr>
          <p:cNvGrpSpPr/>
          <p:nvPr/>
        </p:nvGrpSpPr>
        <p:grpSpPr>
          <a:xfrm>
            <a:off x="3310263" y="2136394"/>
            <a:ext cx="5589788" cy="3608767"/>
            <a:chOff x="1294114" y="328912"/>
            <a:chExt cx="9603771" cy="6200174"/>
          </a:xfrm>
          <a:solidFill>
            <a:schemeClr val="bg2"/>
          </a:solidFill>
          <a:effectLst>
            <a:outerShdw blurRad="50800" dist="12700" dir="2700000" algn="tl" rotWithShape="0">
              <a:schemeClr val="accent6">
                <a:alpha val="31975"/>
              </a:schemeClr>
            </a:outerShdw>
          </a:effectLst>
        </p:grpSpPr>
        <p:sp>
          <p:nvSpPr>
            <p:cNvPr id="135" name="Forme libre : forme 5653">
              <a:extLst>
                <a:ext uri="{FF2B5EF4-FFF2-40B4-BE49-F238E27FC236}">
                  <a16:creationId xmlns:a16="http://schemas.microsoft.com/office/drawing/2014/main" id="{507B360E-4214-2971-D11B-44824316F3F4}"/>
                </a:ext>
              </a:extLst>
            </p:cNvPr>
            <p:cNvSpPr/>
            <p:nvPr/>
          </p:nvSpPr>
          <p:spPr>
            <a:xfrm>
              <a:off x="7437415" y="3633848"/>
              <a:ext cx="390705" cy="294227"/>
            </a:xfrm>
            <a:custGeom>
              <a:avLst/>
              <a:gdLst>
                <a:gd name="connsiteX0" fmla="*/ 18222 w 390705"/>
                <a:gd name="connsiteY0" fmla="*/ 94545 h 294227"/>
                <a:gd name="connsiteX1" fmla="*/ 45453 w 390705"/>
                <a:gd name="connsiteY1" fmla="*/ 106927 h 294227"/>
                <a:gd name="connsiteX2" fmla="*/ 65599 w 390705"/>
                <a:gd name="connsiteY2" fmla="*/ 102584 h 294227"/>
                <a:gd name="connsiteX3" fmla="*/ 71171 w 390705"/>
                <a:gd name="connsiteY3" fmla="*/ 87754 h 294227"/>
                <a:gd name="connsiteX4" fmla="*/ 92250 w 390705"/>
                <a:gd name="connsiteY4" fmla="*/ 82810 h 294227"/>
                <a:gd name="connsiteX5" fmla="*/ 107299 w 390705"/>
                <a:gd name="connsiteY5" fmla="*/ 72790 h 294227"/>
                <a:gd name="connsiteX6" fmla="*/ 112633 w 390705"/>
                <a:gd name="connsiteY6" fmla="*/ 46263 h 294227"/>
                <a:gd name="connsiteX7" fmla="*/ 135141 w 390705"/>
                <a:gd name="connsiteY7" fmla="*/ 39805 h 294227"/>
                <a:gd name="connsiteX8" fmla="*/ 139332 w 390705"/>
                <a:gd name="connsiteY8" fmla="*/ 27880 h 294227"/>
                <a:gd name="connsiteX9" fmla="*/ 151933 w 390705"/>
                <a:gd name="connsiteY9" fmla="*/ 36843 h 294227"/>
                <a:gd name="connsiteX10" fmla="*/ 159982 w 390705"/>
                <a:gd name="connsiteY10" fmla="*/ 37881 h 294227"/>
                <a:gd name="connsiteX11" fmla="*/ 174850 w 390705"/>
                <a:gd name="connsiteY11" fmla="*/ 38100 h 294227"/>
                <a:gd name="connsiteX12" fmla="*/ 194996 w 390705"/>
                <a:gd name="connsiteY12" fmla="*/ 45158 h 294227"/>
                <a:gd name="connsiteX13" fmla="*/ 203159 w 390705"/>
                <a:gd name="connsiteY13" fmla="*/ 49225 h 294227"/>
                <a:gd name="connsiteX14" fmla="*/ 222485 w 390705"/>
                <a:gd name="connsiteY14" fmla="*/ 38500 h 294227"/>
                <a:gd name="connsiteX15" fmla="*/ 231496 w 390705"/>
                <a:gd name="connsiteY15" fmla="*/ 44948 h 294227"/>
                <a:gd name="connsiteX16" fmla="*/ 240106 w 390705"/>
                <a:gd name="connsiteY16" fmla="*/ 29623 h 294227"/>
                <a:gd name="connsiteX17" fmla="*/ 256070 w 390705"/>
                <a:gd name="connsiteY17" fmla="*/ 30328 h 294227"/>
                <a:gd name="connsiteX18" fmla="*/ 260175 w 390705"/>
                <a:gd name="connsiteY18" fmla="*/ 25394 h 294227"/>
                <a:gd name="connsiteX19" fmla="*/ 263004 w 390705"/>
                <a:gd name="connsiteY19" fmla="*/ 11792 h 294227"/>
                <a:gd name="connsiteX20" fmla="*/ 274501 w 390705"/>
                <a:gd name="connsiteY20" fmla="*/ 0 h 294227"/>
                <a:gd name="connsiteX21" fmla="*/ 288960 w 390705"/>
                <a:gd name="connsiteY21" fmla="*/ 7715 h 294227"/>
                <a:gd name="connsiteX22" fmla="*/ 286055 w 390705"/>
                <a:gd name="connsiteY22" fmla="*/ 18040 h 294227"/>
                <a:gd name="connsiteX23" fmla="*/ 294132 w 390705"/>
                <a:gd name="connsiteY23" fmla="*/ 19650 h 294227"/>
                <a:gd name="connsiteX24" fmla="*/ 291646 w 390705"/>
                <a:gd name="connsiteY24" fmla="*/ 47806 h 294227"/>
                <a:gd name="connsiteX25" fmla="*/ 302209 w 390705"/>
                <a:gd name="connsiteY25" fmla="*/ 58693 h 294227"/>
                <a:gd name="connsiteX26" fmla="*/ 311525 w 390705"/>
                <a:gd name="connsiteY26" fmla="*/ 51711 h 294227"/>
                <a:gd name="connsiteX27" fmla="*/ 323374 w 390705"/>
                <a:gd name="connsiteY27" fmla="*/ 48406 h 294227"/>
                <a:gd name="connsiteX28" fmla="*/ 340014 w 390705"/>
                <a:gd name="connsiteY28" fmla="*/ 33442 h 294227"/>
                <a:gd name="connsiteX29" fmla="*/ 358407 w 390705"/>
                <a:gd name="connsiteY29" fmla="*/ 35909 h 294227"/>
                <a:gd name="connsiteX30" fmla="*/ 385953 w 390705"/>
                <a:gd name="connsiteY30" fmla="*/ 35966 h 294227"/>
                <a:gd name="connsiteX31" fmla="*/ 390706 w 390705"/>
                <a:gd name="connsiteY31" fmla="*/ 45558 h 294227"/>
                <a:gd name="connsiteX32" fmla="*/ 375161 w 390705"/>
                <a:gd name="connsiteY32" fmla="*/ 49292 h 294227"/>
                <a:gd name="connsiteX33" fmla="*/ 361588 w 390705"/>
                <a:gd name="connsiteY33" fmla="*/ 55436 h 294227"/>
                <a:gd name="connsiteX34" fmla="*/ 330937 w 390705"/>
                <a:gd name="connsiteY34" fmla="*/ 59293 h 294227"/>
                <a:gd name="connsiteX35" fmla="*/ 302257 w 390705"/>
                <a:gd name="connsiteY35" fmla="*/ 66256 h 294227"/>
                <a:gd name="connsiteX36" fmla="*/ 286674 w 390705"/>
                <a:gd name="connsiteY36" fmla="*/ 80620 h 294227"/>
                <a:gd name="connsiteX37" fmla="*/ 292979 w 390705"/>
                <a:gd name="connsiteY37" fmla="*/ 94526 h 294227"/>
                <a:gd name="connsiteX38" fmla="*/ 296037 w 390705"/>
                <a:gd name="connsiteY38" fmla="*/ 110757 h 294227"/>
                <a:gd name="connsiteX39" fmla="*/ 282730 w 390705"/>
                <a:gd name="connsiteY39" fmla="*/ 124377 h 294227"/>
                <a:gd name="connsiteX40" fmla="*/ 283845 w 390705"/>
                <a:gd name="connsiteY40" fmla="*/ 136779 h 294227"/>
                <a:gd name="connsiteX41" fmla="*/ 276501 w 390705"/>
                <a:gd name="connsiteY41" fmla="*/ 148342 h 294227"/>
                <a:gd name="connsiteX42" fmla="*/ 251098 w 390705"/>
                <a:gd name="connsiteY42" fmla="*/ 147342 h 294227"/>
                <a:gd name="connsiteX43" fmla="*/ 261595 w 390705"/>
                <a:gd name="connsiteY43" fmla="*/ 168478 h 294227"/>
                <a:gd name="connsiteX44" fmla="*/ 244602 w 390705"/>
                <a:gd name="connsiteY44" fmla="*/ 176517 h 294227"/>
                <a:gd name="connsiteX45" fmla="*/ 233258 w 390705"/>
                <a:gd name="connsiteY45" fmla="*/ 195605 h 294227"/>
                <a:gd name="connsiteX46" fmla="*/ 234725 w 390705"/>
                <a:gd name="connsiteY46" fmla="*/ 214465 h 294227"/>
                <a:gd name="connsiteX47" fmla="*/ 224294 w 390705"/>
                <a:gd name="connsiteY47" fmla="*/ 223266 h 294227"/>
                <a:gd name="connsiteX48" fmla="*/ 214417 w 390705"/>
                <a:gd name="connsiteY48" fmla="*/ 220351 h 294227"/>
                <a:gd name="connsiteX49" fmla="*/ 194005 w 390705"/>
                <a:gd name="connsiteY49" fmla="*/ 224428 h 294227"/>
                <a:gd name="connsiteX50" fmla="*/ 191081 w 390705"/>
                <a:gd name="connsiteY50" fmla="*/ 233134 h 294227"/>
                <a:gd name="connsiteX51" fmla="*/ 171193 w 390705"/>
                <a:gd name="connsiteY51" fmla="*/ 233086 h 294227"/>
                <a:gd name="connsiteX52" fmla="*/ 156315 w 390705"/>
                <a:gd name="connsiteY52" fmla="*/ 250641 h 294227"/>
                <a:gd name="connsiteX53" fmla="*/ 155372 w 390705"/>
                <a:gd name="connsiteY53" fmla="*/ 276835 h 294227"/>
                <a:gd name="connsiteX54" fmla="*/ 120672 w 390705"/>
                <a:gd name="connsiteY54" fmla="*/ 289550 h 294227"/>
                <a:gd name="connsiteX55" fmla="*/ 102070 w 390705"/>
                <a:gd name="connsiteY55" fmla="*/ 286864 h 294227"/>
                <a:gd name="connsiteX56" fmla="*/ 96660 w 390705"/>
                <a:gd name="connsiteY56" fmla="*/ 293551 h 294227"/>
                <a:gd name="connsiteX57" fmla="*/ 80696 w 390705"/>
                <a:gd name="connsiteY57" fmla="*/ 289665 h 294227"/>
                <a:gd name="connsiteX58" fmla="*/ 53987 w 390705"/>
                <a:gd name="connsiteY58" fmla="*/ 294227 h 294227"/>
                <a:gd name="connsiteX59" fmla="*/ 9239 w 390705"/>
                <a:gd name="connsiteY59" fmla="*/ 278635 h 294227"/>
                <a:gd name="connsiteX60" fmla="*/ 33461 w 390705"/>
                <a:gd name="connsiteY60" fmla="*/ 250727 h 294227"/>
                <a:gd name="connsiteX61" fmla="*/ 31271 w 390705"/>
                <a:gd name="connsiteY61" fmla="*/ 230762 h 294227"/>
                <a:gd name="connsiteX62" fmla="*/ 11039 w 390705"/>
                <a:gd name="connsiteY62" fmla="*/ 225504 h 294227"/>
                <a:gd name="connsiteX63" fmla="*/ 8944 w 390705"/>
                <a:gd name="connsiteY63" fmla="*/ 205645 h 294227"/>
                <a:gd name="connsiteX64" fmla="*/ 200 w 390705"/>
                <a:gd name="connsiteY64" fmla="*/ 180461 h 294227"/>
                <a:gd name="connsiteX65" fmla="*/ 11630 w 390705"/>
                <a:gd name="connsiteY65" fmla="*/ 163058 h 294227"/>
                <a:gd name="connsiteX66" fmla="*/ 0 w 390705"/>
                <a:gd name="connsiteY66" fmla="*/ 158344 h 294227"/>
                <a:gd name="connsiteX67" fmla="*/ 7334 w 390705"/>
                <a:gd name="connsiteY67" fmla="*/ 134998 h 29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90705" h="294227">
                  <a:moveTo>
                    <a:pt x="18222" y="94545"/>
                  </a:moveTo>
                  <a:lnTo>
                    <a:pt x="45453" y="106927"/>
                  </a:lnTo>
                  <a:lnTo>
                    <a:pt x="65599" y="102584"/>
                  </a:lnTo>
                  <a:lnTo>
                    <a:pt x="71171" y="87754"/>
                  </a:lnTo>
                  <a:lnTo>
                    <a:pt x="92250" y="82810"/>
                  </a:lnTo>
                  <a:lnTo>
                    <a:pt x="107299" y="72790"/>
                  </a:lnTo>
                  <a:lnTo>
                    <a:pt x="112633" y="46263"/>
                  </a:lnTo>
                  <a:lnTo>
                    <a:pt x="135141" y="39805"/>
                  </a:lnTo>
                  <a:lnTo>
                    <a:pt x="139332" y="27880"/>
                  </a:lnTo>
                  <a:lnTo>
                    <a:pt x="151933" y="36843"/>
                  </a:lnTo>
                  <a:lnTo>
                    <a:pt x="159982" y="37881"/>
                  </a:lnTo>
                  <a:lnTo>
                    <a:pt x="174850" y="38100"/>
                  </a:lnTo>
                  <a:lnTo>
                    <a:pt x="194996" y="45158"/>
                  </a:lnTo>
                  <a:lnTo>
                    <a:pt x="203159" y="49225"/>
                  </a:lnTo>
                  <a:lnTo>
                    <a:pt x="222485" y="38500"/>
                  </a:lnTo>
                  <a:lnTo>
                    <a:pt x="231496" y="44948"/>
                  </a:lnTo>
                  <a:lnTo>
                    <a:pt x="240106" y="29623"/>
                  </a:lnTo>
                  <a:lnTo>
                    <a:pt x="256070" y="30328"/>
                  </a:lnTo>
                  <a:lnTo>
                    <a:pt x="260175" y="25394"/>
                  </a:lnTo>
                  <a:lnTo>
                    <a:pt x="263004" y="11792"/>
                  </a:lnTo>
                  <a:lnTo>
                    <a:pt x="274501" y="0"/>
                  </a:lnTo>
                  <a:lnTo>
                    <a:pt x="288960" y="7715"/>
                  </a:lnTo>
                  <a:lnTo>
                    <a:pt x="286055" y="18040"/>
                  </a:lnTo>
                  <a:lnTo>
                    <a:pt x="294132" y="19650"/>
                  </a:lnTo>
                  <a:lnTo>
                    <a:pt x="291646" y="47806"/>
                  </a:lnTo>
                  <a:lnTo>
                    <a:pt x="302209" y="58693"/>
                  </a:lnTo>
                  <a:lnTo>
                    <a:pt x="311525" y="51711"/>
                  </a:lnTo>
                  <a:lnTo>
                    <a:pt x="323374" y="48406"/>
                  </a:lnTo>
                  <a:lnTo>
                    <a:pt x="340014" y="33442"/>
                  </a:lnTo>
                  <a:lnTo>
                    <a:pt x="358407" y="35909"/>
                  </a:lnTo>
                  <a:lnTo>
                    <a:pt x="385953" y="35966"/>
                  </a:lnTo>
                  <a:lnTo>
                    <a:pt x="390706" y="45558"/>
                  </a:lnTo>
                  <a:lnTo>
                    <a:pt x="375161" y="49292"/>
                  </a:lnTo>
                  <a:lnTo>
                    <a:pt x="361588" y="55436"/>
                  </a:lnTo>
                  <a:lnTo>
                    <a:pt x="330937" y="59293"/>
                  </a:lnTo>
                  <a:lnTo>
                    <a:pt x="302257" y="66256"/>
                  </a:lnTo>
                  <a:lnTo>
                    <a:pt x="286674" y="80620"/>
                  </a:lnTo>
                  <a:lnTo>
                    <a:pt x="292979" y="94526"/>
                  </a:lnTo>
                  <a:lnTo>
                    <a:pt x="296037" y="110757"/>
                  </a:lnTo>
                  <a:lnTo>
                    <a:pt x="282730" y="124377"/>
                  </a:lnTo>
                  <a:lnTo>
                    <a:pt x="283845" y="136779"/>
                  </a:lnTo>
                  <a:lnTo>
                    <a:pt x="276501" y="148342"/>
                  </a:lnTo>
                  <a:lnTo>
                    <a:pt x="251098" y="147342"/>
                  </a:lnTo>
                  <a:lnTo>
                    <a:pt x="261595" y="168478"/>
                  </a:lnTo>
                  <a:lnTo>
                    <a:pt x="244602" y="176517"/>
                  </a:lnTo>
                  <a:lnTo>
                    <a:pt x="233258" y="195605"/>
                  </a:lnTo>
                  <a:lnTo>
                    <a:pt x="234725" y="214465"/>
                  </a:lnTo>
                  <a:lnTo>
                    <a:pt x="224294" y="223266"/>
                  </a:lnTo>
                  <a:lnTo>
                    <a:pt x="214417" y="220351"/>
                  </a:lnTo>
                  <a:lnTo>
                    <a:pt x="194005" y="224428"/>
                  </a:lnTo>
                  <a:lnTo>
                    <a:pt x="191081" y="233134"/>
                  </a:lnTo>
                  <a:lnTo>
                    <a:pt x="171193" y="233086"/>
                  </a:lnTo>
                  <a:lnTo>
                    <a:pt x="156315" y="250641"/>
                  </a:lnTo>
                  <a:lnTo>
                    <a:pt x="155372" y="276835"/>
                  </a:lnTo>
                  <a:lnTo>
                    <a:pt x="120672" y="289550"/>
                  </a:lnTo>
                  <a:lnTo>
                    <a:pt x="102070" y="286864"/>
                  </a:lnTo>
                  <a:lnTo>
                    <a:pt x="96660" y="293551"/>
                  </a:lnTo>
                  <a:lnTo>
                    <a:pt x="80696" y="289665"/>
                  </a:lnTo>
                  <a:lnTo>
                    <a:pt x="53987" y="294227"/>
                  </a:lnTo>
                  <a:lnTo>
                    <a:pt x="9239" y="278635"/>
                  </a:lnTo>
                  <a:lnTo>
                    <a:pt x="33461" y="250727"/>
                  </a:lnTo>
                  <a:lnTo>
                    <a:pt x="31271" y="230762"/>
                  </a:lnTo>
                  <a:lnTo>
                    <a:pt x="11039" y="225504"/>
                  </a:lnTo>
                  <a:lnTo>
                    <a:pt x="8944" y="205645"/>
                  </a:lnTo>
                  <a:lnTo>
                    <a:pt x="200" y="180461"/>
                  </a:lnTo>
                  <a:lnTo>
                    <a:pt x="11630" y="163058"/>
                  </a:lnTo>
                  <a:lnTo>
                    <a:pt x="0" y="158344"/>
                  </a:lnTo>
                  <a:lnTo>
                    <a:pt x="7334" y="13499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36" name="Forme libre : forme 5655" hidden="1">
              <a:extLst>
                <a:ext uri="{FF2B5EF4-FFF2-40B4-BE49-F238E27FC236}">
                  <a16:creationId xmlns:a16="http://schemas.microsoft.com/office/drawing/2014/main" id="{5642B725-0513-5C44-F4ED-4AE65CBEAD4D}"/>
                </a:ext>
              </a:extLst>
            </p:cNvPr>
            <p:cNvSpPr/>
            <p:nvPr/>
          </p:nvSpPr>
          <p:spPr>
            <a:xfrm>
              <a:off x="6984853" y="3538103"/>
              <a:ext cx="78057" cy="87067"/>
            </a:xfrm>
            <a:custGeom>
              <a:avLst/>
              <a:gdLst>
                <a:gd name="connsiteX0" fmla="*/ 0 w 78057"/>
                <a:gd name="connsiteY0" fmla="*/ 5515 h 87067"/>
                <a:gd name="connsiteX1" fmla="*/ 37109 w 78057"/>
                <a:gd name="connsiteY1" fmla="*/ 0 h 87067"/>
                <a:gd name="connsiteX2" fmla="*/ 42643 w 78057"/>
                <a:gd name="connsiteY2" fmla="*/ 9277 h 87067"/>
                <a:gd name="connsiteX3" fmla="*/ 52816 w 78057"/>
                <a:gd name="connsiteY3" fmla="*/ 15373 h 87067"/>
                <a:gd name="connsiteX4" fmla="*/ 47444 w 78057"/>
                <a:gd name="connsiteY4" fmla="*/ 24174 h 87067"/>
                <a:gd name="connsiteX5" fmla="*/ 61665 w 78057"/>
                <a:gd name="connsiteY5" fmla="*/ 36157 h 87067"/>
                <a:gd name="connsiteX6" fmla="*/ 54140 w 78057"/>
                <a:gd name="connsiteY6" fmla="*/ 47225 h 87067"/>
                <a:gd name="connsiteX7" fmla="*/ 65475 w 78057"/>
                <a:gd name="connsiteY7" fmla="*/ 56635 h 87067"/>
                <a:gd name="connsiteX8" fmla="*/ 77467 w 78057"/>
                <a:gd name="connsiteY8" fmla="*/ 62284 h 87067"/>
                <a:gd name="connsiteX9" fmla="*/ 78057 w 78057"/>
                <a:gd name="connsiteY9" fmla="*/ 86058 h 87067"/>
                <a:gd name="connsiteX10" fmla="*/ 68389 w 78057"/>
                <a:gd name="connsiteY10" fmla="*/ 87068 h 87067"/>
                <a:gd name="connsiteX11" fmla="*/ 57483 w 78057"/>
                <a:gd name="connsiteY11" fmla="*/ 67256 h 87067"/>
                <a:gd name="connsiteX12" fmla="*/ 57607 w 78057"/>
                <a:gd name="connsiteY12" fmla="*/ 61951 h 87067"/>
                <a:gd name="connsiteX13" fmla="*/ 45806 w 78057"/>
                <a:gd name="connsiteY13" fmla="*/ 62027 h 87067"/>
                <a:gd name="connsiteX14" fmla="*/ 37900 w 78057"/>
                <a:gd name="connsiteY14" fmla="*/ 52759 h 87067"/>
                <a:gd name="connsiteX15" fmla="*/ 32347 w 78057"/>
                <a:gd name="connsiteY15" fmla="*/ 53702 h 87067"/>
                <a:gd name="connsiteX16" fmla="*/ 21822 w 78057"/>
                <a:gd name="connsiteY16" fmla="*/ 43577 h 87067"/>
                <a:gd name="connsiteX17" fmla="*/ 1962 w 78057"/>
                <a:gd name="connsiteY17" fmla="*/ 34928 h 87067"/>
                <a:gd name="connsiteX18" fmla="*/ 4534 w 78057"/>
                <a:gd name="connsiteY18" fmla="*/ 17907 h 87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057" h="87067">
                  <a:moveTo>
                    <a:pt x="0" y="5515"/>
                  </a:moveTo>
                  <a:lnTo>
                    <a:pt x="37109" y="0"/>
                  </a:lnTo>
                  <a:lnTo>
                    <a:pt x="42643" y="9277"/>
                  </a:lnTo>
                  <a:lnTo>
                    <a:pt x="52816" y="15373"/>
                  </a:lnTo>
                  <a:lnTo>
                    <a:pt x="47444" y="24174"/>
                  </a:lnTo>
                  <a:lnTo>
                    <a:pt x="61665" y="36157"/>
                  </a:lnTo>
                  <a:lnTo>
                    <a:pt x="54140" y="47225"/>
                  </a:lnTo>
                  <a:lnTo>
                    <a:pt x="65475" y="56635"/>
                  </a:lnTo>
                  <a:lnTo>
                    <a:pt x="77467" y="62284"/>
                  </a:lnTo>
                  <a:lnTo>
                    <a:pt x="78057" y="86058"/>
                  </a:lnTo>
                  <a:lnTo>
                    <a:pt x="68389" y="87068"/>
                  </a:lnTo>
                  <a:lnTo>
                    <a:pt x="57483" y="67256"/>
                  </a:lnTo>
                  <a:lnTo>
                    <a:pt x="57607" y="61951"/>
                  </a:lnTo>
                  <a:lnTo>
                    <a:pt x="45806" y="62027"/>
                  </a:lnTo>
                  <a:lnTo>
                    <a:pt x="37900" y="52759"/>
                  </a:lnTo>
                  <a:lnTo>
                    <a:pt x="32347" y="53702"/>
                  </a:lnTo>
                  <a:lnTo>
                    <a:pt x="21822" y="43577"/>
                  </a:lnTo>
                  <a:lnTo>
                    <a:pt x="1962" y="34928"/>
                  </a:lnTo>
                  <a:lnTo>
                    <a:pt x="4534" y="1790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37" name="Forme libre : forme 5656">
              <a:extLst>
                <a:ext uri="{FF2B5EF4-FFF2-40B4-BE49-F238E27FC236}">
                  <a16:creationId xmlns:a16="http://schemas.microsoft.com/office/drawing/2014/main" id="{47916D44-7366-D972-F82F-817FE2DE8B9C}"/>
                </a:ext>
              </a:extLst>
            </p:cNvPr>
            <p:cNvSpPr/>
            <p:nvPr/>
          </p:nvSpPr>
          <p:spPr>
            <a:xfrm>
              <a:off x="6131766" y="4860506"/>
              <a:ext cx="332232" cy="365864"/>
            </a:xfrm>
            <a:custGeom>
              <a:avLst/>
              <a:gdLst>
                <a:gd name="connsiteX0" fmla="*/ 125159 w 332232"/>
                <a:gd name="connsiteY0" fmla="*/ 38348 h 365864"/>
                <a:gd name="connsiteX1" fmla="*/ 131740 w 332232"/>
                <a:gd name="connsiteY1" fmla="*/ 58236 h 365864"/>
                <a:gd name="connsiteX2" fmla="*/ 139408 w 332232"/>
                <a:gd name="connsiteY2" fmla="*/ 74266 h 365864"/>
                <a:gd name="connsiteX3" fmla="*/ 145552 w 332232"/>
                <a:gd name="connsiteY3" fmla="*/ 82915 h 365864"/>
                <a:gd name="connsiteX4" fmla="*/ 155781 w 332232"/>
                <a:gd name="connsiteY4" fmla="*/ 96917 h 365864"/>
                <a:gd name="connsiteX5" fmla="*/ 173441 w 332232"/>
                <a:gd name="connsiteY5" fmla="*/ 94745 h 365864"/>
                <a:gd name="connsiteX6" fmla="*/ 182251 w 332232"/>
                <a:gd name="connsiteY6" fmla="*/ 90973 h 365864"/>
                <a:gd name="connsiteX7" fmla="*/ 197005 w 332232"/>
                <a:gd name="connsiteY7" fmla="*/ 94755 h 365864"/>
                <a:gd name="connsiteX8" fmla="*/ 201006 w 332232"/>
                <a:gd name="connsiteY8" fmla="*/ 88059 h 365864"/>
                <a:gd name="connsiteX9" fmla="*/ 207712 w 332232"/>
                <a:gd name="connsiteY9" fmla="*/ 72466 h 365864"/>
                <a:gd name="connsiteX10" fmla="*/ 224275 w 332232"/>
                <a:gd name="connsiteY10" fmla="*/ 71428 h 365864"/>
                <a:gd name="connsiteX11" fmla="*/ 225714 w 332232"/>
                <a:gd name="connsiteY11" fmla="*/ 66799 h 365864"/>
                <a:gd name="connsiteX12" fmla="*/ 239344 w 332232"/>
                <a:gd name="connsiteY12" fmla="*/ 66694 h 365864"/>
                <a:gd name="connsiteX13" fmla="*/ 237020 w 332232"/>
                <a:gd name="connsiteY13" fmla="*/ 76324 h 365864"/>
                <a:gd name="connsiteX14" fmla="*/ 269424 w 332232"/>
                <a:gd name="connsiteY14" fmla="*/ 76095 h 365864"/>
                <a:gd name="connsiteX15" fmla="*/ 269910 w 332232"/>
                <a:gd name="connsiteY15" fmla="*/ 92936 h 365864"/>
                <a:gd name="connsiteX16" fmla="*/ 275320 w 332232"/>
                <a:gd name="connsiteY16" fmla="*/ 103280 h 365864"/>
                <a:gd name="connsiteX17" fmla="*/ 271386 w 332232"/>
                <a:gd name="connsiteY17" fmla="*/ 119453 h 365864"/>
                <a:gd name="connsiteX18" fmla="*/ 273348 w 332232"/>
                <a:gd name="connsiteY18" fmla="*/ 135979 h 365864"/>
                <a:gd name="connsiteX19" fmla="*/ 282254 w 332232"/>
                <a:gd name="connsiteY19" fmla="*/ 145971 h 365864"/>
                <a:gd name="connsiteX20" fmla="*/ 280825 w 332232"/>
                <a:gd name="connsiteY20" fmla="*/ 178080 h 365864"/>
                <a:gd name="connsiteX21" fmla="*/ 287436 w 332232"/>
                <a:gd name="connsiteY21" fmla="*/ 175603 h 365864"/>
                <a:gd name="connsiteX22" fmla="*/ 299047 w 332232"/>
                <a:gd name="connsiteY22" fmla="*/ 176270 h 365864"/>
                <a:gd name="connsiteX23" fmla="*/ 315592 w 332232"/>
                <a:gd name="connsiteY23" fmla="*/ 172221 h 365864"/>
                <a:gd name="connsiteX24" fmla="*/ 327755 w 332232"/>
                <a:gd name="connsiteY24" fmla="*/ 173812 h 365864"/>
                <a:gd name="connsiteX25" fmla="*/ 330575 w 332232"/>
                <a:gd name="connsiteY25" fmla="*/ 182204 h 365864"/>
                <a:gd name="connsiteX26" fmla="*/ 327536 w 332232"/>
                <a:gd name="connsiteY26" fmla="*/ 195339 h 365864"/>
                <a:gd name="connsiteX27" fmla="*/ 332232 w 332232"/>
                <a:gd name="connsiteY27" fmla="*/ 208055 h 365864"/>
                <a:gd name="connsiteX28" fmla="*/ 328250 w 332232"/>
                <a:gd name="connsiteY28" fmla="*/ 218227 h 365864"/>
                <a:gd name="connsiteX29" fmla="*/ 330527 w 332232"/>
                <a:gd name="connsiteY29" fmla="*/ 227619 h 365864"/>
                <a:gd name="connsiteX30" fmla="*/ 274920 w 332232"/>
                <a:gd name="connsiteY30" fmla="*/ 227276 h 365864"/>
                <a:gd name="connsiteX31" fmla="*/ 273691 w 332232"/>
                <a:gd name="connsiteY31" fmla="*/ 314506 h 365864"/>
                <a:gd name="connsiteX32" fmla="*/ 291712 w 332232"/>
                <a:gd name="connsiteY32" fmla="*/ 337147 h 365864"/>
                <a:gd name="connsiteX33" fmla="*/ 309143 w 332232"/>
                <a:gd name="connsiteY33" fmla="*/ 354511 h 365864"/>
                <a:gd name="connsiteX34" fmla="*/ 260061 w 332232"/>
                <a:gd name="connsiteY34" fmla="*/ 365865 h 365864"/>
                <a:gd name="connsiteX35" fmla="*/ 195406 w 332232"/>
                <a:gd name="connsiteY35" fmla="*/ 361922 h 365864"/>
                <a:gd name="connsiteX36" fmla="*/ 176898 w 332232"/>
                <a:gd name="connsiteY36" fmla="*/ 348586 h 365864"/>
                <a:gd name="connsiteX37" fmla="*/ 68637 w 332232"/>
                <a:gd name="connsiteY37" fmla="*/ 349787 h 365864"/>
                <a:gd name="connsiteX38" fmla="*/ 64598 w 332232"/>
                <a:gd name="connsiteY38" fmla="*/ 351739 h 365864"/>
                <a:gd name="connsiteX39" fmla="*/ 48673 w 332232"/>
                <a:gd name="connsiteY39" fmla="*/ 339176 h 365864"/>
                <a:gd name="connsiteX40" fmla="*/ 31356 w 332232"/>
                <a:gd name="connsiteY40" fmla="*/ 338347 h 365864"/>
                <a:gd name="connsiteX41" fmla="*/ 15373 w 332232"/>
                <a:gd name="connsiteY41" fmla="*/ 343081 h 365864"/>
                <a:gd name="connsiteX42" fmla="*/ 2514 w 332232"/>
                <a:gd name="connsiteY42" fmla="*/ 348367 h 365864"/>
                <a:gd name="connsiteX43" fmla="*/ 0 w 332232"/>
                <a:gd name="connsiteY43" fmla="*/ 330908 h 365864"/>
                <a:gd name="connsiteX44" fmla="*/ 3696 w 332232"/>
                <a:gd name="connsiteY44" fmla="*/ 306600 h 365864"/>
                <a:gd name="connsiteX45" fmla="*/ 12906 w 332232"/>
                <a:gd name="connsiteY45" fmla="*/ 281407 h 365864"/>
                <a:gd name="connsiteX46" fmla="*/ 14297 w 332232"/>
                <a:gd name="connsiteY46" fmla="*/ 269634 h 365864"/>
                <a:gd name="connsiteX47" fmla="*/ 22965 w 332232"/>
                <a:gd name="connsiteY47" fmla="*/ 244983 h 365864"/>
                <a:gd name="connsiteX48" fmla="*/ 29327 w 332232"/>
                <a:gd name="connsiteY48" fmla="*/ 233810 h 365864"/>
                <a:gd name="connsiteX49" fmla="*/ 44672 w 332232"/>
                <a:gd name="connsiteY49" fmla="*/ 215998 h 365864"/>
                <a:gd name="connsiteX50" fmla="*/ 53235 w 332232"/>
                <a:gd name="connsiteY50" fmla="*/ 203911 h 365864"/>
                <a:gd name="connsiteX51" fmla="*/ 56036 w 332232"/>
                <a:gd name="connsiteY51" fmla="*/ 183842 h 365864"/>
                <a:gd name="connsiteX52" fmla="*/ 54635 w 332232"/>
                <a:gd name="connsiteY52" fmla="*/ 168516 h 365864"/>
                <a:gd name="connsiteX53" fmla="*/ 46654 w 332232"/>
                <a:gd name="connsiteY53" fmla="*/ 158868 h 365864"/>
                <a:gd name="connsiteX54" fmla="*/ 39538 w 332232"/>
                <a:gd name="connsiteY54" fmla="*/ 142523 h 365864"/>
                <a:gd name="connsiteX55" fmla="*/ 32975 w 332232"/>
                <a:gd name="connsiteY55" fmla="*/ 126387 h 365864"/>
                <a:gd name="connsiteX56" fmla="*/ 34404 w 332232"/>
                <a:gd name="connsiteY56" fmla="*/ 120806 h 365864"/>
                <a:gd name="connsiteX57" fmla="*/ 42615 w 332232"/>
                <a:gd name="connsiteY57" fmla="*/ 110166 h 365864"/>
                <a:gd name="connsiteX58" fmla="*/ 34509 w 332232"/>
                <a:gd name="connsiteY58" fmla="*/ 84277 h 365864"/>
                <a:gd name="connsiteX59" fmla="*/ 29042 w 332232"/>
                <a:gd name="connsiteY59" fmla="*/ 66370 h 365864"/>
                <a:gd name="connsiteX60" fmla="*/ 15659 w 332232"/>
                <a:gd name="connsiteY60" fmla="*/ 49473 h 365864"/>
                <a:gd name="connsiteX61" fmla="*/ 18202 w 332232"/>
                <a:gd name="connsiteY61" fmla="*/ 44291 h 365864"/>
                <a:gd name="connsiteX62" fmla="*/ 29223 w 332232"/>
                <a:gd name="connsiteY62" fmla="*/ 40710 h 365864"/>
                <a:gd name="connsiteX63" fmla="*/ 36966 w 332232"/>
                <a:gd name="connsiteY63" fmla="*/ 41205 h 365864"/>
                <a:gd name="connsiteX64" fmla="*/ 46330 w 332232"/>
                <a:gd name="connsiteY64" fmla="*/ 38005 h 365864"/>
                <a:gd name="connsiteX65" fmla="*/ 125159 w 332232"/>
                <a:gd name="connsiteY65" fmla="*/ 38348 h 365864"/>
                <a:gd name="connsiteX66" fmla="*/ 21279 w 332232"/>
                <a:gd name="connsiteY66" fmla="*/ 33195 h 365864"/>
                <a:gd name="connsiteX67" fmla="*/ 14487 w 332232"/>
                <a:gd name="connsiteY67" fmla="*/ 36014 h 365864"/>
                <a:gd name="connsiteX68" fmla="*/ 7344 w 332232"/>
                <a:gd name="connsiteY68" fmla="*/ 15973 h 365864"/>
                <a:gd name="connsiteX69" fmla="*/ 18126 w 332232"/>
                <a:gd name="connsiteY69" fmla="*/ 4477 h 365864"/>
                <a:gd name="connsiteX70" fmla="*/ 26194 w 332232"/>
                <a:gd name="connsiteY70" fmla="*/ 0 h 365864"/>
                <a:gd name="connsiteX71" fmla="*/ 36204 w 332232"/>
                <a:gd name="connsiteY71" fmla="*/ 9135 h 365864"/>
                <a:gd name="connsiteX72" fmla="*/ 26479 w 332232"/>
                <a:gd name="connsiteY72" fmla="*/ 14726 h 365864"/>
                <a:gd name="connsiteX73" fmla="*/ 22117 w 332232"/>
                <a:gd name="connsiteY73" fmla="*/ 21574 h 365864"/>
                <a:gd name="connsiteX74" fmla="*/ 21279 w 332232"/>
                <a:gd name="connsiteY74" fmla="*/ 33195 h 36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32232" h="365864">
                  <a:moveTo>
                    <a:pt x="125159" y="38348"/>
                  </a:moveTo>
                  <a:lnTo>
                    <a:pt x="131740" y="58236"/>
                  </a:lnTo>
                  <a:lnTo>
                    <a:pt x="139408" y="74266"/>
                  </a:lnTo>
                  <a:lnTo>
                    <a:pt x="145552" y="82915"/>
                  </a:lnTo>
                  <a:lnTo>
                    <a:pt x="155781" y="96917"/>
                  </a:lnTo>
                  <a:lnTo>
                    <a:pt x="173441" y="94745"/>
                  </a:lnTo>
                  <a:lnTo>
                    <a:pt x="182251" y="90973"/>
                  </a:lnTo>
                  <a:lnTo>
                    <a:pt x="197005" y="94755"/>
                  </a:lnTo>
                  <a:lnTo>
                    <a:pt x="201006" y="88059"/>
                  </a:lnTo>
                  <a:lnTo>
                    <a:pt x="207712" y="72466"/>
                  </a:lnTo>
                  <a:lnTo>
                    <a:pt x="224275" y="71428"/>
                  </a:lnTo>
                  <a:lnTo>
                    <a:pt x="225714" y="66799"/>
                  </a:lnTo>
                  <a:lnTo>
                    <a:pt x="239344" y="66694"/>
                  </a:lnTo>
                  <a:lnTo>
                    <a:pt x="237020" y="76324"/>
                  </a:lnTo>
                  <a:lnTo>
                    <a:pt x="269424" y="76095"/>
                  </a:lnTo>
                  <a:lnTo>
                    <a:pt x="269910" y="92936"/>
                  </a:lnTo>
                  <a:lnTo>
                    <a:pt x="275320" y="103280"/>
                  </a:lnTo>
                  <a:lnTo>
                    <a:pt x="271386" y="119453"/>
                  </a:lnTo>
                  <a:lnTo>
                    <a:pt x="273348" y="135979"/>
                  </a:lnTo>
                  <a:lnTo>
                    <a:pt x="282254" y="145971"/>
                  </a:lnTo>
                  <a:lnTo>
                    <a:pt x="280825" y="178080"/>
                  </a:lnTo>
                  <a:lnTo>
                    <a:pt x="287436" y="175603"/>
                  </a:lnTo>
                  <a:lnTo>
                    <a:pt x="299047" y="176270"/>
                  </a:lnTo>
                  <a:lnTo>
                    <a:pt x="315592" y="172221"/>
                  </a:lnTo>
                  <a:lnTo>
                    <a:pt x="327755" y="173812"/>
                  </a:lnTo>
                  <a:lnTo>
                    <a:pt x="330575" y="182204"/>
                  </a:lnTo>
                  <a:lnTo>
                    <a:pt x="327536" y="195339"/>
                  </a:lnTo>
                  <a:lnTo>
                    <a:pt x="332232" y="208055"/>
                  </a:lnTo>
                  <a:lnTo>
                    <a:pt x="328250" y="218227"/>
                  </a:lnTo>
                  <a:lnTo>
                    <a:pt x="330527" y="227619"/>
                  </a:lnTo>
                  <a:lnTo>
                    <a:pt x="274920" y="227276"/>
                  </a:lnTo>
                  <a:lnTo>
                    <a:pt x="273691" y="314506"/>
                  </a:lnTo>
                  <a:lnTo>
                    <a:pt x="291712" y="337147"/>
                  </a:lnTo>
                  <a:lnTo>
                    <a:pt x="309143" y="354511"/>
                  </a:lnTo>
                  <a:lnTo>
                    <a:pt x="260061" y="365865"/>
                  </a:lnTo>
                  <a:lnTo>
                    <a:pt x="195406" y="361922"/>
                  </a:lnTo>
                  <a:lnTo>
                    <a:pt x="176898" y="348586"/>
                  </a:lnTo>
                  <a:lnTo>
                    <a:pt x="68637" y="349787"/>
                  </a:lnTo>
                  <a:lnTo>
                    <a:pt x="64598" y="351739"/>
                  </a:lnTo>
                  <a:lnTo>
                    <a:pt x="48673" y="339176"/>
                  </a:lnTo>
                  <a:lnTo>
                    <a:pt x="31356" y="338347"/>
                  </a:lnTo>
                  <a:lnTo>
                    <a:pt x="15373" y="343081"/>
                  </a:lnTo>
                  <a:lnTo>
                    <a:pt x="2514" y="348367"/>
                  </a:lnTo>
                  <a:lnTo>
                    <a:pt x="0" y="330908"/>
                  </a:lnTo>
                  <a:lnTo>
                    <a:pt x="3696" y="306600"/>
                  </a:lnTo>
                  <a:lnTo>
                    <a:pt x="12906" y="281407"/>
                  </a:lnTo>
                  <a:lnTo>
                    <a:pt x="14297" y="269634"/>
                  </a:lnTo>
                  <a:lnTo>
                    <a:pt x="22965" y="244983"/>
                  </a:lnTo>
                  <a:lnTo>
                    <a:pt x="29327" y="233810"/>
                  </a:lnTo>
                  <a:lnTo>
                    <a:pt x="44672" y="215998"/>
                  </a:lnTo>
                  <a:lnTo>
                    <a:pt x="53235" y="203911"/>
                  </a:lnTo>
                  <a:lnTo>
                    <a:pt x="56036" y="183842"/>
                  </a:lnTo>
                  <a:lnTo>
                    <a:pt x="54635" y="168516"/>
                  </a:lnTo>
                  <a:lnTo>
                    <a:pt x="46654" y="158868"/>
                  </a:lnTo>
                  <a:lnTo>
                    <a:pt x="39538" y="142523"/>
                  </a:lnTo>
                  <a:lnTo>
                    <a:pt x="32975" y="126387"/>
                  </a:lnTo>
                  <a:lnTo>
                    <a:pt x="34404" y="120806"/>
                  </a:lnTo>
                  <a:lnTo>
                    <a:pt x="42615" y="110166"/>
                  </a:lnTo>
                  <a:lnTo>
                    <a:pt x="34509" y="84277"/>
                  </a:lnTo>
                  <a:lnTo>
                    <a:pt x="29042" y="66370"/>
                  </a:lnTo>
                  <a:lnTo>
                    <a:pt x="15659" y="49473"/>
                  </a:lnTo>
                  <a:lnTo>
                    <a:pt x="18202" y="44291"/>
                  </a:lnTo>
                  <a:lnTo>
                    <a:pt x="29223" y="40710"/>
                  </a:lnTo>
                  <a:lnTo>
                    <a:pt x="36966" y="41205"/>
                  </a:lnTo>
                  <a:lnTo>
                    <a:pt x="46330" y="38005"/>
                  </a:lnTo>
                  <a:lnTo>
                    <a:pt x="125159" y="38348"/>
                  </a:lnTo>
                  <a:close/>
                  <a:moveTo>
                    <a:pt x="21279" y="33195"/>
                  </a:moveTo>
                  <a:lnTo>
                    <a:pt x="14487" y="36014"/>
                  </a:lnTo>
                  <a:lnTo>
                    <a:pt x="7344" y="15973"/>
                  </a:lnTo>
                  <a:lnTo>
                    <a:pt x="18126" y="4477"/>
                  </a:lnTo>
                  <a:lnTo>
                    <a:pt x="26194" y="0"/>
                  </a:lnTo>
                  <a:lnTo>
                    <a:pt x="36204" y="9135"/>
                  </a:lnTo>
                  <a:lnTo>
                    <a:pt x="26479" y="14726"/>
                  </a:lnTo>
                  <a:lnTo>
                    <a:pt x="22117" y="21574"/>
                  </a:lnTo>
                  <a:lnTo>
                    <a:pt x="21279" y="331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38" name="Forme libre : forme 5657">
              <a:extLst>
                <a:ext uri="{FF2B5EF4-FFF2-40B4-BE49-F238E27FC236}">
                  <a16:creationId xmlns:a16="http://schemas.microsoft.com/office/drawing/2014/main" id="{6D783369-0CD9-EAC7-7F8B-1ACC9D35C8C4}"/>
                </a:ext>
              </a:extLst>
            </p:cNvPr>
            <p:cNvSpPr/>
            <p:nvPr/>
          </p:nvSpPr>
          <p:spPr>
            <a:xfrm>
              <a:off x="3860177" y="5336547"/>
              <a:ext cx="528475" cy="1175536"/>
            </a:xfrm>
            <a:custGeom>
              <a:avLst/>
              <a:gdLst>
                <a:gd name="connsiteX0" fmla="*/ 211436 w 528475"/>
                <a:gd name="connsiteY0" fmla="*/ 1173203 h 1175536"/>
                <a:gd name="connsiteX1" fmla="*/ 186061 w 528475"/>
                <a:gd name="connsiteY1" fmla="*/ 1175537 h 1175536"/>
                <a:gd name="connsiteX2" fmla="*/ 172440 w 528475"/>
                <a:gd name="connsiteY2" fmla="*/ 1159097 h 1175536"/>
                <a:gd name="connsiteX3" fmla="*/ 156353 w 528475"/>
                <a:gd name="connsiteY3" fmla="*/ 1157859 h 1175536"/>
                <a:gd name="connsiteX4" fmla="*/ 127759 w 528475"/>
                <a:gd name="connsiteY4" fmla="*/ 1157831 h 1175536"/>
                <a:gd name="connsiteX5" fmla="*/ 127740 w 528475"/>
                <a:gd name="connsiteY5" fmla="*/ 1057170 h 1175536"/>
                <a:gd name="connsiteX6" fmla="*/ 137998 w 528475"/>
                <a:gd name="connsiteY6" fmla="*/ 1077630 h 1175536"/>
                <a:gd name="connsiteX7" fmla="*/ 151352 w 528475"/>
                <a:gd name="connsiteY7" fmla="*/ 1111205 h 1175536"/>
                <a:gd name="connsiteX8" fmla="*/ 186071 w 528475"/>
                <a:gd name="connsiteY8" fmla="*/ 1138495 h 1175536"/>
                <a:gd name="connsiteX9" fmla="*/ 223456 w 528475"/>
                <a:gd name="connsiteY9" fmla="*/ 1149991 h 1175536"/>
                <a:gd name="connsiteX10" fmla="*/ 211436 w 528475"/>
                <a:gd name="connsiteY10" fmla="*/ 1173203 h 1175536"/>
                <a:gd name="connsiteX11" fmla="*/ 225723 w 528475"/>
                <a:gd name="connsiteY11" fmla="*/ 6982 h 1175536"/>
                <a:gd name="connsiteX12" fmla="*/ 241420 w 528475"/>
                <a:gd name="connsiteY12" fmla="*/ 27727 h 1175536"/>
                <a:gd name="connsiteX13" fmla="*/ 251841 w 528475"/>
                <a:gd name="connsiteY13" fmla="*/ 4619 h 1175536"/>
                <a:gd name="connsiteX14" fmla="*/ 282292 w 528475"/>
                <a:gd name="connsiteY14" fmla="*/ 5810 h 1175536"/>
                <a:gd name="connsiteX15" fmla="*/ 286607 w 528475"/>
                <a:gd name="connsiteY15" fmla="*/ 11944 h 1175536"/>
                <a:gd name="connsiteX16" fmla="*/ 335709 w 528475"/>
                <a:gd name="connsiteY16" fmla="*/ 59045 h 1175536"/>
                <a:gd name="connsiteX17" fmla="*/ 357540 w 528475"/>
                <a:gd name="connsiteY17" fmla="*/ 63465 h 1175536"/>
                <a:gd name="connsiteX18" fmla="*/ 390172 w 528475"/>
                <a:gd name="connsiteY18" fmla="*/ 85011 h 1175536"/>
                <a:gd name="connsiteX19" fmla="*/ 417681 w 528475"/>
                <a:gd name="connsiteY19" fmla="*/ 96459 h 1175536"/>
                <a:gd name="connsiteX20" fmla="*/ 421510 w 528475"/>
                <a:gd name="connsiteY20" fmla="*/ 109432 h 1175536"/>
                <a:gd name="connsiteX21" fmla="*/ 395221 w 528475"/>
                <a:gd name="connsiteY21" fmla="*/ 154495 h 1175536"/>
                <a:gd name="connsiteX22" fmla="*/ 422148 w 528475"/>
                <a:gd name="connsiteY22" fmla="*/ 162630 h 1175536"/>
                <a:gd name="connsiteX23" fmla="*/ 452142 w 528475"/>
                <a:gd name="connsiteY23" fmla="*/ 167192 h 1175536"/>
                <a:gd name="connsiteX24" fmla="*/ 473259 w 528475"/>
                <a:gd name="connsiteY24" fmla="*/ 162382 h 1175536"/>
                <a:gd name="connsiteX25" fmla="*/ 497481 w 528475"/>
                <a:gd name="connsiteY25" fmla="*/ 139541 h 1175536"/>
                <a:gd name="connsiteX26" fmla="*/ 501844 w 528475"/>
                <a:gd name="connsiteY26" fmla="*/ 113414 h 1175536"/>
                <a:gd name="connsiteX27" fmla="*/ 515074 w 528475"/>
                <a:gd name="connsiteY27" fmla="*/ 107766 h 1175536"/>
                <a:gd name="connsiteX28" fmla="*/ 528475 w 528475"/>
                <a:gd name="connsiteY28" fmla="*/ 124806 h 1175536"/>
                <a:gd name="connsiteX29" fmla="*/ 527933 w 528475"/>
                <a:gd name="connsiteY29" fmla="*/ 148514 h 1175536"/>
                <a:gd name="connsiteX30" fmla="*/ 505444 w 528475"/>
                <a:gd name="connsiteY30" fmla="*/ 164982 h 1175536"/>
                <a:gd name="connsiteX31" fmla="*/ 487508 w 528475"/>
                <a:gd name="connsiteY31" fmla="*/ 177193 h 1175536"/>
                <a:gd name="connsiteX32" fmla="*/ 457362 w 528475"/>
                <a:gd name="connsiteY32" fmla="*/ 206511 h 1175536"/>
                <a:gd name="connsiteX33" fmla="*/ 421729 w 528475"/>
                <a:gd name="connsiteY33" fmla="*/ 248155 h 1175536"/>
                <a:gd name="connsiteX34" fmla="*/ 415052 w 528475"/>
                <a:gd name="connsiteY34" fmla="*/ 272862 h 1175536"/>
                <a:gd name="connsiteX35" fmla="*/ 407908 w 528475"/>
                <a:gd name="connsiteY35" fmla="*/ 304914 h 1175536"/>
                <a:gd name="connsiteX36" fmla="*/ 408175 w 528475"/>
                <a:gd name="connsiteY36" fmla="*/ 336318 h 1175536"/>
                <a:gd name="connsiteX37" fmla="*/ 402384 w 528475"/>
                <a:gd name="connsiteY37" fmla="*/ 343385 h 1175536"/>
                <a:gd name="connsiteX38" fmla="*/ 400317 w 528475"/>
                <a:gd name="connsiteY38" fmla="*/ 364007 h 1175536"/>
                <a:gd name="connsiteX39" fmla="*/ 398488 w 528475"/>
                <a:gd name="connsiteY39" fmla="*/ 380781 h 1175536"/>
                <a:gd name="connsiteX40" fmla="*/ 432397 w 528475"/>
                <a:gd name="connsiteY40" fmla="*/ 408537 h 1175536"/>
                <a:gd name="connsiteX41" fmla="*/ 428749 w 528475"/>
                <a:gd name="connsiteY41" fmla="*/ 431092 h 1175536"/>
                <a:gd name="connsiteX42" fmla="*/ 445436 w 528475"/>
                <a:gd name="connsiteY42" fmla="*/ 445446 h 1175536"/>
                <a:gd name="connsiteX43" fmla="*/ 444074 w 528475"/>
                <a:gd name="connsiteY43" fmla="*/ 461639 h 1175536"/>
                <a:gd name="connsiteX44" fmla="*/ 418414 w 528475"/>
                <a:gd name="connsiteY44" fmla="*/ 504654 h 1175536"/>
                <a:gd name="connsiteX45" fmla="*/ 378819 w 528475"/>
                <a:gd name="connsiteY45" fmla="*/ 522874 h 1175536"/>
                <a:gd name="connsiteX46" fmla="*/ 325250 w 528475"/>
                <a:gd name="connsiteY46" fmla="*/ 529980 h 1175536"/>
                <a:gd name="connsiteX47" fmla="*/ 295913 w 528475"/>
                <a:gd name="connsiteY47" fmla="*/ 526542 h 1175536"/>
                <a:gd name="connsiteX48" fmla="*/ 301523 w 528475"/>
                <a:gd name="connsiteY48" fmla="*/ 546992 h 1175536"/>
                <a:gd name="connsiteX49" fmla="*/ 296056 w 528475"/>
                <a:gd name="connsiteY49" fmla="*/ 572909 h 1175536"/>
                <a:gd name="connsiteX50" fmla="*/ 300990 w 528475"/>
                <a:gd name="connsiteY50" fmla="*/ 590540 h 1175536"/>
                <a:gd name="connsiteX51" fmla="*/ 284969 w 528475"/>
                <a:gd name="connsiteY51" fmla="*/ 602913 h 1175536"/>
                <a:gd name="connsiteX52" fmla="*/ 257594 w 528475"/>
                <a:gd name="connsiteY52" fmla="*/ 607790 h 1175536"/>
                <a:gd name="connsiteX53" fmla="*/ 231915 w 528475"/>
                <a:gd name="connsiteY53" fmla="*/ 594960 h 1175536"/>
                <a:gd name="connsiteX54" fmla="*/ 221599 w 528475"/>
                <a:gd name="connsiteY54" fmla="*/ 604171 h 1175536"/>
                <a:gd name="connsiteX55" fmla="*/ 225323 w 528475"/>
                <a:gd name="connsiteY55" fmla="*/ 639508 h 1175536"/>
                <a:gd name="connsiteX56" fmla="*/ 243354 w 528475"/>
                <a:gd name="connsiteY56" fmla="*/ 650319 h 1175536"/>
                <a:gd name="connsiteX57" fmla="*/ 257975 w 528475"/>
                <a:gd name="connsiteY57" fmla="*/ 638994 h 1175536"/>
                <a:gd name="connsiteX58" fmla="*/ 265928 w 528475"/>
                <a:gd name="connsiteY58" fmla="*/ 657682 h 1175536"/>
                <a:gd name="connsiteX59" fmla="*/ 241335 w 528475"/>
                <a:gd name="connsiteY59" fmla="*/ 668921 h 1175536"/>
                <a:gd name="connsiteX60" fmla="*/ 219894 w 528475"/>
                <a:gd name="connsiteY60" fmla="*/ 691619 h 1175536"/>
                <a:gd name="connsiteX61" fmla="*/ 215970 w 528475"/>
                <a:gd name="connsiteY61" fmla="*/ 728834 h 1175536"/>
                <a:gd name="connsiteX62" fmla="*/ 209655 w 528475"/>
                <a:gd name="connsiteY62" fmla="*/ 748903 h 1175536"/>
                <a:gd name="connsiteX63" fmla="*/ 184432 w 528475"/>
                <a:gd name="connsiteY63" fmla="*/ 749008 h 1175536"/>
                <a:gd name="connsiteX64" fmla="*/ 163496 w 528475"/>
                <a:gd name="connsiteY64" fmla="*/ 768391 h 1175536"/>
                <a:gd name="connsiteX65" fmla="*/ 155838 w 528475"/>
                <a:gd name="connsiteY65" fmla="*/ 797090 h 1175536"/>
                <a:gd name="connsiteX66" fmla="*/ 182099 w 528475"/>
                <a:gd name="connsiteY66" fmla="*/ 825493 h 1175536"/>
                <a:gd name="connsiteX67" fmla="*/ 207635 w 528475"/>
                <a:gd name="connsiteY67" fmla="*/ 833408 h 1175536"/>
                <a:gd name="connsiteX68" fmla="*/ 198453 w 528475"/>
                <a:gd name="connsiteY68" fmla="*/ 868899 h 1175536"/>
                <a:gd name="connsiteX69" fmla="*/ 166906 w 528475"/>
                <a:gd name="connsiteY69" fmla="*/ 891521 h 1175536"/>
                <a:gd name="connsiteX70" fmla="*/ 149552 w 528475"/>
                <a:gd name="connsiteY70" fmla="*/ 939384 h 1175536"/>
                <a:gd name="connsiteX71" fmla="*/ 125178 w 528475"/>
                <a:gd name="connsiteY71" fmla="*/ 955757 h 1175536"/>
                <a:gd name="connsiteX72" fmla="*/ 114233 w 528475"/>
                <a:gd name="connsiteY72" fmla="*/ 975370 h 1175536"/>
                <a:gd name="connsiteX73" fmla="*/ 122853 w 528475"/>
                <a:gd name="connsiteY73" fmla="*/ 1019575 h 1175536"/>
                <a:gd name="connsiteX74" fmla="*/ 140627 w 528475"/>
                <a:gd name="connsiteY74" fmla="*/ 1044654 h 1175536"/>
                <a:gd name="connsiteX75" fmla="*/ 129368 w 528475"/>
                <a:gd name="connsiteY75" fmla="*/ 1042454 h 1175536"/>
                <a:gd name="connsiteX76" fmla="*/ 104613 w 528475"/>
                <a:gd name="connsiteY76" fmla="*/ 1035644 h 1175536"/>
                <a:gd name="connsiteX77" fmla="*/ 40081 w 528475"/>
                <a:gd name="connsiteY77" fmla="*/ 1029852 h 1175536"/>
                <a:gd name="connsiteX78" fmla="*/ 29013 w 528475"/>
                <a:gd name="connsiteY78" fmla="*/ 1004782 h 1175536"/>
                <a:gd name="connsiteX79" fmla="*/ 29527 w 528475"/>
                <a:gd name="connsiteY79" fmla="*/ 973045 h 1175536"/>
                <a:gd name="connsiteX80" fmla="*/ 11744 w 528475"/>
                <a:gd name="connsiteY80" fmla="*/ 975750 h 1175536"/>
                <a:gd name="connsiteX81" fmla="*/ 2334 w 528475"/>
                <a:gd name="connsiteY81" fmla="*/ 960548 h 1175536"/>
                <a:gd name="connsiteX82" fmla="*/ 0 w 528475"/>
                <a:gd name="connsiteY82" fmla="*/ 916743 h 1175536"/>
                <a:gd name="connsiteX83" fmla="*/ 20488 w 528475"/>
                <a:gd name="connsiteY83" fmla="*/ 898855 h 1175536"/>
                <a:gd name="connsiteX84" fmla="*/ 28956 w 528475"/>
                <a:gd name="connsiteY84" fmla="*/ 873328 h 1175536"/>
                <a:gd name="connsiteX85" fmla="*/ 25851 w 528475"/>
                <a:gd name="connsiteY85" fmla="*/ 853211 h 1175536"/>
                <a:gd name="connsiteX86" fmla="*/ 40005 w 528475"/>
                <a:gd name="connsiteY86" fmla="*/ 819683 h 1175536"/>
                <a:gd name="connsiteX87" fmla="*/ 49759 w 528475"/>
                <a:gd name="connsiteY87" fmla="*/ 768725 h 1175536"/>
                <a:gd name="connsiteX88" fmla="*/ 46891 w 528475"/>
                <a:gd name="connsiteY88" fmla="*/ 746522 h 1175536"/>
                <a:gd name="connsiteX89" fmla="*/ 58550 w 528475"/>
                <a:gd name="connsiteY89" fmla="*/ 739397 h 1175536"/>
                <a:gd name="connsiteX90" fmla="*/ 55693 w 528475"/>
                <a:gd name="connsiteY90" fmla="*/ 725319 h 1175536"/>
                <a:gd name="connsiteX91" fmla="*/ 43301 w 528475"/>
                <a:gd name="connsiteY91" fmla="*/ 717871 h 1175536"/>
                <a:gd name="connsiteX92" fmla="*/ 52101 w 528475"/>
                <a:gd name="connsiteY92" fmla="*/ 702345 h 1175536"/>
                <a:gd name="connsiteX93" fmla="*/ 40043 w 528475"/>
                <a:gd name="connsiteY93" fmla="*/ 688419 h 1175536"/>
                <a:gd name="connsiteX94" fmla="*/ 33804 w 528475"/>
                <a:gd name="connsiteY94" fmla="*/ 646557 h 1175536"/>
                <a:gd name="connsiteX95" fmla="*/ 44539 w 528475"/>
                <a:gd name="connsiteY95" fmla="*/ 639251 h 1175536"/>
                <a:gd name="connsiteX96" fmla="*/ 40024 w 528475"/>
                <a:gd name="connsiteY96" fmla="*/ 595979 h 1175536"/>
                <a:gd name="connsiteX97" fmla="*/ 46301 w 528475"/>
                <a:gd name="connsiteY97" fmla="*/ 560251 h 1175536"/>
                <a:gd name="connsiteX98" fmla="*/ 53445 w 528475"/>
                <a:gd name="connsiteY98" fmla="*/ 529551 h 1175536"/>
                <a:gd name="connsiteX99" fmla="*/ 69437 w 528475"/>
                <a:gd name="connsiteY99" fmla="*/ 517169 h 1175536"/>
                <a:gd name="connsiteX100" fmla="*/ 61312 w 528475"/>
                <a:gd name="connsiteY100" fmla="*/ 484194 h 1175536"/>
                <a:gd name="connsiteX101" fmla="*/ 61226 w 528475"/>
                <a:gd name="connsiteY101" fmla="*/ 453552 h 1175536"/>
                <a:gd name="connsiteX102" fmla="*/ 81448 w 528475"/>
                <a:gd name="connsiteY102" fmla="*/ 431997 h 1175536"/>
                <a:gd name="connsiteX103" fmla="*/ 80829 w 528475"/>
                <a:gd name="connsiteY103" fmla="*/ 404679 h 1175536"/>
                <a:gd name="connsiteX104" fmla="*/ 96069 w 528475"/>
                <a:gd name="connsiteY104" fmla="*/ 373123 h 1175536"/>
                <a:gd name="connsiteX105" fmla="*/ 96136 w 528475"/>
                <a:gd name="connsiteY105" fmla="*/ 343728 h 1175536"/>
                <a:gd name="connsiteX106" fmla="*/ 89202 w 528475"/>
                <a:gd name="connsiteY106" fmla="*/ 337928 h 1175536"/>
                <a:gd name="connsiteX107" fmla="*/ 76895 w 528475"/>
                <a:gd name="connsiteY107" fmla="*/ 283693 h 1175536"/>
                <a:gd name="connsiteX108" fmla="*/ 93354 w 528475"/>
                <a:gd name="connsiteY108" fmla="*/ 251850 h 1175536"/>
                <a:gd name="connsiteX109" fmla="*/ 90830 w 528475"/>
                <a:gd name="connsiteY109" fmla="*/ 222180 h 1175536"/>
                <a:gd name="connsiteX110" fmla="*/ 100374 w 528475"/>
                <a:gd name="connsiteY110" fmla="*/ 194596 h 1175536"/>
                <a:gd name="connsiteX111" fmla="*/ 117862 w 528475"/>
                <a:gd name="connsiteY111" fmla="*/ 166373 h 1175536"/>
                <a:gd name="connsiteX112" fmla="*/ 136712 w 528475"/>
                <a:gd name="connsiteY112" fmla="*/ 147799 h 1175536"/>
                <a:gd name="connsiteX113" fmla="*/ 128721 w 528475"/>
                <a:gd name="connsiteY113" fmla="*/ 136131 h 1175536"/>
                <a:gd name="connsiteX114" fmla="*/ 134293 w 528475"/>
                <a:gd name="connsiteY114" fmla="*/ 126596 h 1175536"/>
                <a:gd name="connsiteX115" fmla="*/ 133445 w 528475"/>
                <a:gd name="connsiteY115" fmla="*/ 77609 h 1175536"/>
                <a:gd name="connsiteX116" fmla="*/ 162535 w 528475"/>
                <a:gd name="connsiteY116" fmla="*/ 63236 h 1175536"/>
                <a:gd name="connsiteX117" fmla="*/ 171697 w 528475"/>
                <a:gd name="connsiteY117" fmla="*/ 33147 h 1175536"/>
                <a:gd name="connsiteX118" fmla="*/ 168459 w 528475"/>
                <a:gd name="connsiteY118" fmla="*/ 25927 h 1175536"/>
                <a:gd name="connsiteX119" fmla="*/ 190709 w 528475"/>
                <a:gd name="connsiteY119" fmla="*/ 0 h 1175536"/>
                <a:gd name="connsiteX120" fmla="*/ 225723 w 528475"/>
                <a:gd name="connsiteY120" fmla="*/ 6982 h 117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528475" h="1175536">
                  <a:moveTo>
                    <a:pt x="211436" y="1173203"/>
                  </a:moveTo>
                  <a:lnTo>
                    <a:pt x="186061" y="1175537"/>
                  </a:lnTo>
                  <a:lnTo>
                    <a:pt x="172440" y="1159097"/>
                  </a:lnTo>
                  <a:lnTo>
                    <a:pt x="156353" y="1157859"/>
                  </a:lnTo>
                  <a:lnTo>
                    <a:pt x="127759" y="1157831"/>
                  </a:lnTo>
                  <a:lnTo>
                    <a:pt x="127740" y="1057170"/>
                  </a:lnTo>
                  <a:lnTo>
                    <a:pt x="137998" y="1077630"/>
                  </a:lnTo>
                  <a:lnTo>
                    <a:pt x="151352" y="1111205"/>
                  </a:lnTo>
                  <a:lnTo>
                    <a:pt x="186071" y="1138495"/>
                  </a:lnTo>
                  <a:lnTo>
                    <a:pt x="223456" y="1149991"/>
                  </a:lnTo>
                  <a:lnTo>
                    <a:pt x="211436" y="1173203"/>
                  </a:lnTo>
                  <a:close/>
                  <a:moveTo>
                    <a:pt x="225723" y="6982"/>
                  </a:moveTo>
                  <a:lnTo>
                    <a:pt x="241420" y="27727"/>
                  </a:lnTo>
                  <a:lnTo>
                    <a:pt x="251841" y="4619"/>
                  </a:lnTo>
                  <a:lnTo>
                    <a:pt x="282292" y="5810"/>
                  </a:lnTo>
                  <a:lnTo>
                    <a:pt x="286607" y="11944"/>
                  </a:lnTo>
                  <a:lnTo>
                    <a:pt x="335709" y="59045"/>
                  </a:lnTo>
                  <a:lnTo>
                    <a:pt x="357540" y="63465"/>
                  </a:lnTo>
                  <a:lnTo>
                    <a:pt x="390172" y="85011"/>
                  </a:lnTo>
                  <a:lnTo>
                    <a:pt x="417681" y="96459"/>
                  </a:lnTo>
                  <a:lnTo>
                    <a:pt x="421510" y="109432"/>
                  </a:lnTo>
                  <a:lnTo>
                    <a:pt x="395221" y="154495"/>
                  </a:lnTo>
                  <a:lnTo>
                    <a:pt x="422148" y="162630"/>
                  </a:lnTo>
                  <a:lnTo>
                    <a:pt x="452142" y="167192"/>
                  </a:lnTo>
                  <a:lnTo>
                    <a:pt x="473259" y="162382"/>
                  </a:lnTo>
                  <a:lnTo>
                    <a:pt x="497481" y="139541"/>
                  </a:lnTo>
                  <a:lnTo>
                    <a:pt x="501844" y="113414"/>
                  </a:lnTo>
                  <a:lnTo>
                    <a:pt x="515074" y="107766"/>
                  </a:lnTo>
                  <a:lnTo>
                    <a:pt x="528475" y="124806"/>
                  </a:lnTo>
                  <a:lnTo>
                    <a:pt x="527933" y="148514"/>
                  </a:lnTo>
                  <a:lnTo>
                    <a:pt x="505444" y="164982"/>
                  </a:lnTo>
                  <a:lnTo>
                    <a:pt x="487508" y="177193"/>
                  </a:lnTo>
                  <a:lnTo>
                    <a:pt x="457362" y="206511"/>
                  </a:lnTo>
                  <a:lnTo>
                    <a:pt x="421729" y="248155"/>
                  </a:lnTo>
                  <a:lnTo>
                    <a:pt x="415052" y="272862"/>
                  </a:lnTo>
                  <a:lnTo>
                    <a:pt x="407908" y="304914"/>
                  </a:lnTo>
                  <a:lnTo>
                    <a:pt x="408175" y="336318"/>
                  </a:lnTo>
                  <a:lnTo>
                    <a:pt x="402384" y="343385"/>
                  </a:lnTo>
                  <a:lnTo>
                    <a:pt x="400317" y="364007"/>
                  </a:lnTo>
                  <a:lnTo>
                    <a:pt x="398488" y="380781"/>
                  </a:lnTo>
                  <a:lnTo>
                    <a:pt x="432397" y="408537"/>
                  </a:lnTo>
                  <a:lnTo>
                    <a:pt x="428749" y="431092"/>
                  </a:lnTo>
                  <a:lnTo>
                    <a:pt x="445436" y="445446"/>
                  </a:lnTo>
                  <a:lnTo>
                    <a:pt x="444074" y="461639"/>
                  </a:lnTo>
                  <a:lnTo>
                    <a:pt x="418414" y="504654"/>
                  </a:lnTo>
                  <a:lnTo>
                    <a:pt x="378819" y="522874"/>
                  </a:lnTo>
                  <a:lnTo>
                    <a:pt x="325250" y="529980"/>
                  </a:lnTo>
                  <a:lnTo>
                    <a:pt x="295913" y="526542"/>
                  </a:lnTo>
                  <a:lnTo>
                    <a:pt x="301523" y="546992"/>
                  </a:lnTo>
                  <a:lnTo>
                    <a:pt x="296056" y="572909"/>
                  </a:lnTo>
                  <a:lnTo>
                    <a:pt x="300990" y="590540"/>
                  </a:lnTo>
                  <a:lnTo>
                    <a:pt x="284969" y="602913"/>
                  </a:lnTo>
                  <a:lnTo>
                    <a:pt x="257594" y="607790"/>
                  </a:lnTo>
                  <a:lnTo>
                    <a:pt x="231915" y="594960"/>
                  </a:lnTo>
                  <a:lnTo>
                    <a:pt x="221599" y="604171"/>
                  </a:lnTo>
                  <a:lnTo>
                    <a:pt x="225323" y="639508"/>
                  </a:lnTo>
                  <a:lnTo>
                    <a:pt x="243354" y="650319"/>
                  </a:lnTo>
                  <a:lnTo>
                    <a:pt x="257975" y="638994"/>
                  </a:lnTo>
                  <a:lnTo>
                    <a:pt x="265928" y="657682"/>
                  </a:lnTo>
                  <a:lnTo>
                    <a:pt x="241335" y="668921"/>
                  </a:lnTo>
                  <a:lnTo>
                    <a:pt x="219894" y="691619"/>
                  </a:lnTo>
                  <a:lnTo>
                    <a:pt x="215970" y="728834"/>
                  </a:lnTo>
                  <a:lnTo>
                    <a:pt x="209655" y="748903"/>
                  </a:lnTo>
                  <a:lnTo>
                    <a:pt x="184432" y="749008"/>
                  </a:lnTo>
                  <a:lnTo>
                    <a:pt x="163496" y="768391"/>
                  </a:lnTo>
                  <a:lnTo>
                    <a:pt x="155838" y="797090"/>
                  </a:lnTo>
                  <a:lnTo>
                    <a:pt x="182099" y="825493"/>
                  </a:lnTo>
                  <a:lnTo>
                    <a:pt x="207635" y="833408"/>
                  </a:lnTo>
                  <a:lnTo>
                    <a:pt x="198453" y="868899"/>
                  </a:lnTo>
                  <a:lnTo>
                    <a:pt x="166906" y="891521"/>
                  </a:lnTo>
                  <a:lnTo>
                    <a:pt x="149552" y="939384"/>
                  </a:lnTo>
                  <a:lnTo>
                    <a:pt x="125178" y="955757"/>
                  </a:lnTo>
                  <a:lnTo>
                    <a:pt x="114233" y="975370"/>
                  </a:lnTo>
                  <a:lnTo>
                    <a:pt x="122853" y="1019575"/>
                  </a:lnTo>
                  <a:lnTo>
                    <a:pt x="140627" y="1044654"/>
                  </a:lnTo>
                  <a:lnTo>
                    <a:pt x="129368" y="1042454"/>
                  </a:lnTo>
                  <a:lnTo>
                    <a:pt x="104613" y="1035644"/>
                  </a:lnTo>
                  <a:lnTo>
                    <a:pt x="40081" y="1029852"/>
                  </a:lnTo>
                  <a:lnTo>
                    <a:pt x="29013" y="1004782"/>
                  </a:lnTo>
                  <a:lnTo>
                    <a:pt x="29527" y="973045"/>
                  </a:lnTo>
                  <a:lnTo>
                    <a:pt x="11744" y="975750"/>
                  </a:lnTo>
                  <a:lnTo>
                    <a:pt x="2334" y="960548"/>
                  </a:lnTo>
                  <a:lnTo>
                    <a:pt x="0" y="916743"/>
                  </a:lnTo>
                  <a:lnTo>
                    <a:pt x="20488" y="898855"/>
                  </a:lnTo>
                  <a:lnTo>
                    <a:pt x="28956" y="873328"/>
                  </a:lnTo>
                  <a:lnTo>
                    <a:pt x="25851" y="853211"/>
                  </a:lnTo>
                  <a:lnTo>
                    <a:pt x="40005" y="819683"/>
                  </a:lnTo>
                  <a:lnTo>
                    <a:pt x="49759" y="768725"/>
                  </a:lnTo>
                  <a:lnTo>
                    <a:pt x="46891" y="746522"/>
                  </a:lnTo>
                  <a:lnTo>
                    <a:pt x="58550" y="739397"/>
                  </a:lnTo>
                  <a:lnTo>
                    <a:pt x="55693" y="725319"/>
                  </a:lnTo>
                  <a:lnTo>
                    <a:pt x="43301" y="717871"/>
                  </a:lnTo>
                  <a:lnTo>
                    <a:pt x="52101" y="702345"/>
                  </a:lnTo>
                  <a:lnTo>
                    <a:pt x="40043" y="688419"/>
                  </a:lnTo>
                  <a:lnTo>
                    <a:pt x="33804" y="646557"/>
                  </a:lnTo>
                  <a:lnTo>
                    <a:pt x="44539" y="639251"/>
                  </a:lnTo>
                  <a:lnTo>
                    <a:pt x="40024" y="595979"/>
                  </a:lnTo>
                  <a:lnTo>
                    <a:pt x="46301" y="560251"/>
                  </a:lnTo>
                  <a:lnTo>
                    <a:pt x="53445" y="529551"/>
                  </a:lnTo>
                  <a:lnTo>
                    <a:pt x="69437" y="517169"/>
                  </a:lnTo>
                  <a:lnTo>
                    <a:pt x="61312" y="484194"/>
                  </a:lnTo>
                  <a:lnTo>
                    <a:pt x="61226" y="453552"/>
                  </a:lnTo>
                  <a:lnTo>
                    <a:pt x="81448" y="431997"/>
                  </a:lnTo>
                  <a:lnTo>
                    <a:pt x="80829" y="404679"/>
                  </a:lnTo>
                  <a:lnTo>
                    <a:pt x="96069" y="373123"/>
                  </a:lnTo>
                  <a:lnTo>
                    <a:pt x="96136" y="343728"/>
                  </a:lnTo>
                  <a:lnTo>
                    <a:pt x="89202" y="337928"/>
                  </a:lnTo>
                  <a:lnTo>
                    <a:pt x="76895" y="283693"/>
                  </a:lnTo>
                  <a:lnTo>
                    <a:pt x="93354" y="251850"/>
                  </a:lnTo>
                  <a:lnTo>
                    <a:pt x="90830" y="222180"/>
                  </a:lnTo>
                  <a:lnTo>
                    <a:pt x="100374" y="194596"/>
                  </a:lnTo>
                  <a:lnTo>
                    <a:pt x="117862" y="166373"/>
                  </a:lnTo>
                  <a:lnTo>
                    <a:pt x="136712" y="147799"/>
                  </a:lnTo>
                  <a:lnTo>
                    <a:pt x="128721" y="136131"/>
                  </a:lnTo>
                  <a:lnTo>
                    <a:pt x="134293" y="126596"/>
                  </a:lnTo>
                  <a:lnTo>
                    <a:pt x="133445" y="77609"/>
                  </a:lnTo>
                  <a:lnTo>
                    <a:pt x="162535" y="63236"/>
                  </a:lnTo>
                  <a:lnTo>
                    <a:pt x="171697" y="33147"/>
                  </a:lnTo>
                  <a:lnTo>
                    <a:pt x="168459" y="25927"/>
                  </a:lnTo>
                  <a:lnTo>
                    <a:pt x="190709" y="0"/>
                  </a:lnTo>
                  <a:lnTo>
                    <a:pt x="225723" y="69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39" name="Forme libre : forme 5658">
              <a:extLst>
                <a:ext uri="{FF2B5EF4-FFF2-40B4-BE49-F238E27FC236}">
                  <a16:creationId xmlns:a16="http://schemas.microsoft.com/office/drawing/2014/main" id="{C5E16304-E3F1-8094-967D-921D4AB91723}"/>
                </a:ext>
              </a:extLst>
            </p:cNvPr>
            <p:cNvSpPr/>
            <p:nvPr/>
          </p:nvSpPr>
          <p:spPr>
            <a:xfrm>
              <a:off x="6074073" y="3243400"/>
              <a:ext cx="200291" cy="103250"/>
            </a:xfrm>
            <a:custGeom>
              <a:avLst/>
              <a:gdLst>
                <a:gd name="connsiteX0" fmla="*/ 200292 w 200291"/>
                <a:gd name="connsiteY0" fmla="*/ 36862 h 103250"/>
                <a:gd name="connsiteX1" fmla="*/ 198263 w 200291"/>
                <a:gd name="connsiteY1" fmla="*/ 53092 h 103250"/>
                <a:gd name="connsiteX2" fmla="*/ 183223 w 200291"/>
                <a:gd name="connsiteY2" fmla="*/ 53169 h 103250"/>
                <a:gd name="connsiteX3" fmla="*/ 188404 w 200291"/>
                <a:gd name="connsiteY3" fmla="*/ 61731 h 103250"/>
                <a:gd name="connsiteX4" fmla="*/ 179537 w 200291"/>
                <a:gd name="connsiteY4" fmla="*/ 86944 h 103250"/>
                <a:gd name="connsiteX5" fmla="*/ 174441 w 200291"/>
                <a:gd name="connsiteY5" fmla="*/ 93507 h 103250"/>
                <a:gd name="connsiteX6" fmla="*/ 151086 w 200291"/>
                <a:gd name="connsiteY6" fmla="*/ 94469 h 103250"/>
                <a:gd name="connsiteX7" fmla="*/ 137608 w 200291"/>
                <a:gd name="connsiteY7" fmla="*/ 103251 h 103250"/>
                <a:gd name="connsiteX8" fmla="*/ 115548 w 200291"/>
                <a:gd name="connsiteY8" fmla="*/ 100260 h 103250"/>
                <a:gd name="connsiteX9" fmla="*/ 77362 w 200291"/>
                <a:gd name="connsiteY9" fmla="*/ 90249 h 103250"/>
                <a:gd name="connsiteX10" fmla="*/ 71399 w 200291"/>
                <a:gd name="connsiteY10" fmla="*/ 76686 h 103250"/>
                <a:gd name="connsiteX11" fmla="*/ 45006 w 200291"/>
                <a:gd name="connsiteY11" fmla="*/ 83468 h 103250"/>
                <a:gd name="connsiteX12" fmla="*/ 41891 w 200291"/>
                <a:gd name="connsiteY12" fmla="*/ 90869 h 103250"/>
                <a:gd name="connsiteX13" fmla="*/ 25717 w 200291"/>
                <a:gd name="connsiteY13" fmla="*/ 85344 h 103250"/>
                <a:gd name="connsiteX14" fmla="*/ 12087 w 200291"/>
                <a:gd name="connsiteY14" fmla="*/ 84287 h 103250"/>
                <a:gd name="connsiteX15" fmla="*/ 0 w 200291"/>
                <a:gd name="connsiteY15" fmla="*/ 77171 h 103250"/>
                <a:gd name="connsiteX16" fmla="*/ 4086 w 200291"/>
                <a:gd name="connsiteY16" fmla="*/ 67580 h 103250"/>
                <a:gd name="connsiteX17" fmla="*/ 3057 w 200291"/>
                <a:gd name="connsiteY17" fmla="*/ 60588 h 103250"/>
                <a:gd name="connsiteX18" fmla="*/ 11116 w 200291"/>
                <a:gd name="connsiteY18" fmla="*/ 58417 h 103250"/>
                <a:gd name="connsiteX19" fmla="*/ 24632 w 200291"/>
                <a:gd name="connsiteY19" fmla="*/ 69352 h 103250"/>
                <a:gd name="connsiteX20" fmla="*/ 28432 w 200291"/>
                <a:gd name="connsiteY20" fmla="*/ 58960 h 103250"/>
                <a:gd name="connsiteX21" fmla="*/ 51987 w 200291"/>
                <a:gd name="connsiteY21" fmla="*/ 60646 h 103250"/>
                <a:gd name="connsiteX22" fmla="*/ 71076 w 200291"/>
                <a:gd name="connsiteY22" fmla="*/ 53559 h 103250"/>
                <a:gd name="connsiteX23" fmla="*/ 83887 w 200291"/>
                <a:gd name="connsiteY23" fmla="*/ 54769 h 103250"/>
                <a:gd name="connsiteX24" fmla="*/ 92212 w 200291"/>
                <a:gd name="connsiteY24" fmla="*/ 62855 h 103250"/>
                <a:gd name="connsiteX25" fmla="*/ 94697 w 200291"/>
                <a:gd name="connsiteY25" fmla="*/ 56150 h 103250"/>
                <a:gd name="connsiteX26" fmla="*/ 90916 w 200291"/>
                <a:gd name="connsiteY26" fmla="*/ 30242 h 103250"/>
                <a:gd name="connsiteX27" fmla="*/ 100508 w 200291"/>
                <a:gd name="connsiteY27" fmla="*/ 25155 h 103250"/>
                <a:gd name="connsiteX28" fmla="*/ 109928 w 200291"/>
                <a:gd name="connsiteY28" fmla="*/ 6572 h 103250"/>
                <a:gd name="connsiteX29" fmla="*/ 129768 w 200291"/>
                <a:gd name="connsiteY29" fmla="*/ 19564 h 103250"/>
                <a:gd name="connsiteX30" fmla="*/ 144789 w 200291"/>
                <a:gd name="connsiteY30" fmla="*/ 3038 h 103250"/>
                <a:gd name="connsiteX31" fmla="*/ 154191 w 200291"/>
                <a:gd name="connsiteY31" fmla="*/ 0 h 103250"/>
                <a:gd name="connsiteX32" fmla="*/ 174927 w 200291"/>
                <a:gd name="connsiteY32" fmla="*/ 12363 h 103250"/>
                <a:gd name="connsiteX33" fmla="*/ 187471 w 200291"/>
                <a:gd name="connsiteY33" fmla="*/ 10268 h 103250"/>
                <a:gd name="connsiteX34" fmla="*/ 199777 w 200291"/>
                <a:gd name="connsiteY34" fmla="*/ 17888 h 103250"/>
                <a:gd name="connsiteX35" fmla="*/ 197634 w 200291"/>
                <a:gd name="connsiteY35" fmla="*/ 22984 h 103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00291" h="103250">
                  <a:moveTo>
                    <a:pt x="200292" y="36862"/>
                  </a:moveTo>
                  <a:lnTo>
                    <a:pt x="198263" y="53092"/>
                  </a:lnTo>
                  <a:lnTo>
                    <a:pt x="183223" y="53169"/>
                  </a:lnTo>
                  <a:lnTo>
                    <a:pt x="188404" y="61731"/>
                  </a:lnTo>
                  <a:lnTo>
                    <a:pt x="179537" y="86944"/>
                  </a:lnTo>
                  <a:lnTo>
                    <a:pt x="174441" y="93507"/>
                  </a:lnTo>
                  <a:lnTo>
                    <a:pt x="151086" y="94469"/>
                  </a:lnTo>
                  <a:lnTo>
                    <a:pt x="137608" y="103251"/>
                  </a:lnTo>
                  <a:lnTo>
                    <a:pt x="115548" y="100260"/>
                  </a:lnTo>
                  <a:lnTo>
                    <a:pt x="77362" y="90249"/>
                  </a:lnTo>
                  <a:lnTo>
                    <a:pt x="71399" y="76686"/>
                  </a:lnTo>
                  <a:lnTo>
                    <a:pt x="45006" y="83468"/>
                  </a:lnTo>
                  <a:lnTo>
                    <a:pt x="41891" y="90869"/>
                  </a:lnTo>
                  <a:lnTo>
                    <a:pt x="25717" y="85344"/>
                  </a:lnTo>
                  <a:lnTo>
                    <a:pt x="12087" y="84287"/>
                  </a:lnTo>
                  <a:lnTo>
                    <a:pt x="0" y="77171"/>
                  </a:lnTo>
                  <a:lnTo>
                    <a:pt x="4086" y="67580"/>
                  </a:lnTo>
                  <a:lnTo>
                    <a:pt x="3057" y="60588"/>
                  </a:lnTo>
                  <a:lnTo>
                    <a:pt x="11116" y="58417"/>
                  </a:lnTo>
                  <a:lnTo>
                    <a:pt x="24632" y="69352"/>
                  </a:lnTo>
                  <a:lnTo>
                    <a:pt x="28432" y="58960"/>
                  </a:lnTo>
                  <a:lnTo>
                    <a:pt x="51987" y="60646"/>
                  </a:lnTo>
                  <a:lnTo>
                    <a:pt x="71076" y="53559"/>
                  </a:lnTo>
                  <a:lnTo>
                    <a:pt x="83887" y="54769"/>
                  </a:lnTo>
                  <a:lnTo>
                    <a:pt x="92212" y="62855"/>
                  </a:lnTo>
                  <a:lnTo>
                    <a:pt x="94697" y="56150"/>
                  </a:lnTo>
                  <a:lnTo>
                    <a:pt x="90916" y="30242"/>
                  </a:lnTo>
                  <a:lnTo>
                    <a:pt x="100508" y="25155"/>
                  </a:lnTo>
                  <a:lnTo>
                    <a:pt x="109928" y="6572"/>
                  </a:lnTo>
                  <a:lnTo>
                    <a:pt x="129768" y="19564"/>
                  </a:lnTo>
                  <a:lnTo>
                    <a:pt x="144789" y="3038"/>
                  </a:lnTo>
                  <a:lnTo>
                    <a:pt x="154191" y="0"/>
                  </a:lnTo>
                  <a:lnTo>
                    <a:pt x="174927" y="12363"/>
                  </a:lnTo>
                  <a:lnTo>
                    <a:pt x="187471" y="10268"/>
                  </a:lnTo>
                  <a:lnTo>
                    <a:pt x="199777" y="17888"/>
                  </a:lnTo>
                  <a:lnTo>
                    <a:pt x="197634" y="22984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0" name="Forme libre : forme 5659">
              <a:extLst>
                <a:ext uri="{FF2B5EF4-FFF2-40B4-BE49-F238E27FC236}">
                  <a16:creationId xmlns:a16="http://schemas.microsoft.com/office/drawing/2014/main" id="{88B2CAD6-FBC8-8B52-D38F-21258878C3FF}"/>
                </a:ext>
              </a:extLst>
            </p:cNvPr>
            <p:cNvSpPr/>
            <p:nvPr/>
          </p:nvSpPr>
          <p:spPr>
            <a:xfrm>
              <a:off x="8847819" y="5027394"/>
              <a:ext cx="1074410" cy="1005887"/>
            </a:xfrm>
            <a:custGeom>
              <a:avLst/>
              <a:gdLst>
                <a:gd name="connsiteX0" fmla="*/ 856183 w 1074410"/>
                <a:gd name="connsiteY0" fmla="*/ 903741 h 1005887"/>
                <a:gd name="connsiteX1" fmla="*/ 881987 w 1074410"/>
                <a:gd name="connsiteY1" fmla="*/ 915905 h 1005887"/>
                <a:gd name="connsiteX2" fmla="*/ 896522 w 1074410"/>
                <a:gd name="connsiteY2" fmla="*/ 911067 h 1005887"/>
                <a:gd name="connsiteX3" fmla="*/ 917363 w 1074410"/>
                <a:gd name="connsiteY3" fmla="*/ 904304 h 1005887"/>
                <a:gd name="connsiteX4" fmla="*/ 933384 w 1074410"/>
                <a:gd name="connsiteY4" fmla="*/ 906666 h 1005887"/>
                <a:gd name="connsiteX5" fmla="*/ 935279 w 1074410"/>
                <a:gd name="connsiteY5" fmla="*/ 948814 h 1005887"/>
                <a:gd name="connsiteX6" fmla="*/ 926125 w 1074410"/>
                <a:gd name="connsiteY6" fmla="*/ 961197 h 1005887"/>
                <a:gd name="connsiteX7" fmla="*/ 923373 w 1074410"/>
                <a:gd name="connsiteY7" fmla="*/ 990381 h 1005887"/>
                <a:gd name="connsiteX8" fmla="*/ 914038 w 1074410"/>
                <a:gd name="connsiteY8" fmla="*/ 980408 h 1005887"/>
                <a:gd name="connsiteX9" fmla="*/ 895503 w 1074410"/>
                <a:gd name="connsiteY9" fmla="*/ 1005887 h 1005887"/>
                <a:gd name="connsiteX10" fmla="*/ 889978 w 1074410"/>
                <a:gd name="connsiteY10" fmla="*/ 1003907 h 1005887"/>
                <a:gd name="connsiteX11" fmla="*/ 873547 w 1074410"/>
                <a:gd name="connsiteY11" fmla="*/ 1002764 h 1005887"/>
                <a:gd name="connsiteX12" fmla="*/ 857079 w 1074410"/>
                <a:gd name="connsiteY12" fmla="*/ 971560 h 1005887"/>
                <a:gd name="connsiteX13" fmla="*/ 853421 w 1074410"/>
                <a:gd name="connsiteY13" fmla="*/ 947785 h 1005887"/>
                <a:gd name="connsiteX14" fmla="*/ 838019 w 1074410"/>
                <a:gd name="connsiteY14" fmla="*/ 916791 h 1005887"/>
                <a:gd name="connsiteX15" fmla="*/ 838695 w 1074410"/>
                <a:gd name="connsiteY15" fmla="*/ 900646 h 1005887"/>
                <a:gd name="connsiteX16" fmla="*/ 856183 w 1074410"/>
                <a:gd name="connsiteY16" fmla="*/ 903741 h 1005887"/>
                <a:gd name="connsiteX17" fmla="*/ 807139 w 1074410"/>
                <a:gd name="connsiteY17" fmla="*/ 83991 h 1005887"/>
                <a:gd name="connsiteX18" fmla="*/ 816759 w 1074410"/>
                <a:gd name="connsiteY18" fmla="*/ 105461 h 1005887"/>
                <a:gd name="connsiteX19" fmla="*/ 833895 w 1074410"/>
                <a:gd name="connsiteY19" fmla="*/ 95136 h 1005887"/>
                <a:gd name="connsiteX20" fmla="*/ 842744 w 1074410"/>
                <a:gd name="connsiteY20" fmla="*/ 106737 h 1005887"/>
                <a:gd name="connsiteX21" fmla="*/ 855564 w 1074410"/>
                <a:gd name="connsiteY21" fmla="*/ 117453 h 1005887"/>
                <a:gd name="connsiteX22" fmla="*/ 852821 w 1074410"/>
                <a:gd name="connsiteY22" fmla="*/ 129645 h 1005887"/>
                <a:gd name="connsiteX23" fmla="*/ 858517 w 1074410"/>
                <a:gd name="connsiteY23" fmla="*/ 153305 h 1005887"/>
                <a:gd name="connsiteX24" fmla="*/ 862575 w 1074410"/>
                <a:gd name="connsiteY24" fmla="*/ 167135 h 1005887"/>
                <a:gd name="connsiteX25" fmla="*/ 869299 w 1074410"/>
                <a:gd name="connsiteY25" fmla="*/ 170517 h 1005887"/>
                <a:gd name="connsiteX26" fmla="*/ 876548 w 1074410"/>
                <a:gd name="connsiteY26" fmla="*/ 194282 h 1005887"/>
                <a:gd name="connsiteX27" fmla="*/ 873966 w 1074410"/>
                <a:gd name="connsiteY27" fmla="*/ 208759 h 1005887"/>
                <a:gd name="connsiteX28" fmla="*/ 882615 w 1074410"/>
                <a:gd name="connsiteY28" fmla="*/ 227762 h 1005887"/>
                <a:gd name="connsiteX29" fmla="*/ 911553 w 1074410"/>
                <a:gd name="connsiteY29" fmla="*/ 242449 h 1005887"/>
                <a:gd name="connsiteX30" fmla="*/ 930412 w 1074410"/>
                <a:gd name="connsiteY30" fmla="*/ 255851 h 1005887"/>
                <a:gd name="connsiteX31" fmla="*/ 948328 w 1074410"/>
                <a:gd name="connsiteY31" fmla="*/ 268157 h 1005887"/>
                <a:gd name="connsiteX32" fmla="*/ 944832 w 1074410"/>
                <a:gd name="connsiteY32" fmla="*/ 275025 h 1005887"/>
                <a:gd name="connsiteX33" fmla="*/ 960111 w 1074410"/>
                <a:gd name="connsiteY33" fmla="*/ 292856 h 1005887"/>
                <a:gd name="connsiteX34" fmla="*/ 970493 w 1074410"/>
                <a:gd name="connsiteY34" fmla="*/ 323802 h 1005887"/>
                <a:gd name="connsiteX35" fmla="*/ 981151 w 1074410"/>
                <a:gd name="connsiteY35" fmla="*/ 317497 h 1005887"/>
                <a:gd name="connsiteX36" fmla="*/ 991981 w 1074410"/>
                <a:gd name="connsiteY36" fmla="*/ 329937 h 1005887"/>
                <a:gd name="connsiteX37" fmla="*/ 998515 w 1074410"/>
                <a:gd name="connsiteY37" fmla="*/ 325517 h 1005887"/>
                <a:gd name="connsiteX38" fmla="*/ 1003116 w 1074410"/>
                <a:gd name="connsiteY38" fmla="*/ 356073 h 1005887"/>
                <a:gd name="connsiteX39" fmla="*/ 1022061 w 1074410"/>
                <a:gd name="connsiteY39" fmla="*/ 373895 h 1005887"/>
                <a:gd name="connsiteX40" fmla="*/ 1034463 w 1074410"/>
                <a:gd name="connsiteY40" fmla="*/ 385010 h 1005887"/>
                <a:gd name="connsiteX41" fmla="*/ 1055332 w 1074410"/>
                <a:gd name="connsiteY41" fmla="*/ 408708 h 1005887"/>
                <a:gd name="connsiteX42" fmla="*/ 1062838 w 1074410"/>
                <a:gd name="connsiteY42" fmla="*/ 432397 h 1005887"/>
                <a:gd name="connsiteX43" fmla="*/ 1063524 w 1074410"/>
                <a:gd name="connsiteY43" fmla="*/ 449294 h 1005887"/>
                <a:gd name="connsiteX44" fmla="*/ 1061685 w 1074410"/>
                <a:gd name="connsiteY44" fmla="*/ 467744 h 1005887"/>
                <a:gd name="connsiteX45" fmla="*/ 1074411 w 1074410"/>
                <a:gd name="connsiteY45" fmla="*/ 493233 h 1005887"/>
                <a:gd name="connsiteX46" fmla="*/ 1072887 w 1074410"/>
                <a:gd name="connsiteY46" fmla="*/ 520008 h 1005887"/>
                <a:gd name="connsiteX47" fmla="*/ 1068267 w 1074410"/>
                <a:gd name="connsiteY47" fmla="*/ 534105 h 1005887"/>
                <a:gd name="connsiteX48" fmla="*/ 1061057 w 1074410"/>
                <a:gd name="connsiteY48" fmla="*/ 561451 h 1005887"/>
                <a:gd name="connsiteX49" fmla="*/ 1061600 w 1074410"/>
                <a:gd name="connsiteY49" fmla="*/ 579158 h 1005887"/>
                <a:gd name="connsiteX50" fmla="*/ 1056313 w 1074410"/>
                <a:gd name="connsiteY50" fmla="*/ 601446 h 1005887"/>
                <a:gd name="connsiteX51" fmla="*/ 1044521 w 1074410"/>
                <a:gd name="connsiteY51" fmla="*/ 629984 h 1005887"/>
                <a:gd name="connsiteX52" fmla="*/ 1024738 w 1074410"/>
                <a:gd name="connsiteY52" fmla="*/ 645519 h 1005887"/>
                <a:gd name="connsiteX53" fmla="*/ 1014994 w 1074410"/>
                <a:gd name="connsiteY53" fmla="*/ 670189 h 1005887"/>
                <a:gd name="connsiteX54" fmla="*/ 1006078 w 1074410"/>
                <a:gd name="connsiteY54" fmla="*/ 686058 h 1005887"/>
                <a:gd name="connsiteX55" fmla="*/ 998163 w 1074410"/>
                <a:gd name="connsiteY55" fmla="*/ 713984 h 1005887"/>
                <a:gd name="connsiteX56" fmla="*/ 987857 w 1074410"/>
                <a:gd name="connsiteY56" fmla="*/ 730244 h 1005887"/>
                <a:gd name="connsiteX57" fmla="*/ 981104 w 1074410"/>
                <a:gd name="connsiteY57" fmla="*/ 754847 h 1005887"/>
                <a:gd name="connsiteX58" fmla="*/ 977656 w 1074410"/>
                <a:gd name="connsiteY58" fmla="*/ 777717 h 1005887"/>
                <a:gd name="connsiteX59" fmla="*/ 979027 w 1074410"/>
                <a:gd name="connsiteY59" fmla="*/ 788280 h 1005887"/>
                <a:gd name="connsiteX60" fmla="*/ 963721 w 1074410"/>
                <a:gd name="connsiteY60" fmla="*/ 799938 h 1005887"/>
                <a:gd name="connsiteX61" fmla="*/ 933822 w 1074410"/>
                <a:gd name="connsiteY61" fmla="*/ 801158 h 1005887"/>
                <a:gd name="connsiteX62" fmla="*/ 909171 w 1074410"/>
                <a:gd name="connsiteY62" fmla="*/ 815007 h 1005887"/>
                <a:gd name="connsiteX63" fmla="*/ 896903 w 1074410"/>
                <a:gd name="connsiteY63" fmla="*/ 828151 h 1005887"/>
                <a:gd name="connsiteX64" fmla="*/ 880767 w 1074410"/>
                <a:gd name="connsiteY64" fmla="*/ 842810 h 1005887"/>
                <a:gd name="connsiteX65" fmla="*/ 858651 w 1074410"/>
                <a:gd name="connsiteY65" fmla="*/ 827723 h 1005887"/>
                <a:gd name="connsiteX66" fmla="*/ 842286 w 1074410"/>
                <a:gd name="connsiteY66" fmla="*/ 821731 h 1005887"/>
                <a:gd name="connsiteX67" fmla="*/ 846440 w 1074410"/>
                <a:gd name="connsiteY67" fmla="*/ 804100 h 1005887"/>
                <a:gd name="connsiteX68" fmla="*/ 831838 w 1074410"/>
                <a:gd name="connsiteY68" fmla="*/ 810483 h 1005887"/>
                <a:gd name="connsiteX69" fmla="*/ 808454 w 1074410"/>
                <a:gd name="connsiteY69" fmla="*/ 835076 h 1005887"/>
                <a:gd name="connsiteX70" fmla="*/ 785365 w 1074410"/>
                <a:gd name="connsiteY70" fmla="*/ 825837 h 1005887"/>
                <a:gd name="connsiteX71" fmla="*/ 770220 w 1074410"/>
                <a:gd name="connsiteY71" fmla="*/ 820464 h 1005887"/>
                <a:gd name="connsiteX72" fmla="*/ 754942 w 1074410"/>
                <a:gd name="connsiteY72" fmla="*/ 818045 h 1005887"/>
                <a:gd name="connsiteX73" fmla="*/ 729092 w 1074410"/>
                <a:gd name="connsiteY73" fmla="*/ 808263 h 1005887"/>
                <a:gd name="connsiteX74" fmla="*/ 711822 w 1074410"/>
                <a:gd name="connsiteY74" fmla="*/ 787546 h 1005887"/>
                <a:gd name="connsiteX75" fmla="*/ 706860 w 1074410"/>
                <a:gd name="connsiteY75" fmla="*/ 762258 h 1005887"/>
                <a:gd name="connsiteX76" fmla="*/ 700659 w 1074410"/>
                <a:gd name="connsiteY76" fmla="*/ 745570 h 1005887"/>
                <a:gd name="connsiteX77" fmla="*/ 687534 w 1074410"/>
                <a:gd name="connsiteY77" fmla="*/ 732254 h 1005887"/>
                <a:gd name="connsiteX78" fmla="*/ 661845 w 1074410"/>
                <a:gd name="connsiteY78" fmla="*/ 728310 h 1005887"/>
                <a:gd name="connsiteX79" fmla="*/ 670627 w 1074410"/>
                <a:gd name="connsiteY79" fmla="*/ 712489 h 1005887"/>
                <a:gd name="connsiteX80" fmla="*/ 664159 w 1074410"/>
                <a:gd name="connsiteY80" fmla="*/ 688467 h 1005887"/>
                <a:gd name="connsiteX81" fmla="*/ 651120 w 1074410"/>
                <a:gd name="connsiteY81" fmla="*/ 710860 h 1005887"/>
                <a:gd name="connsiteX82" fmla="*/ 627355 w 1074410"/>
                <a:gd name="connsiteY82" fmla="*/ 716832 h 1005887"/>
                <a:gd name="connsiteX83" fmla="*/ 641328 w 1074410"/>
                <a:gd name="connsiteY83" fmla="*/ 698878 h 1005887"/>
                <a:gd name="connsiteX84" fmla="*/ 645376 w 1074410"/>
                <a:gd name="connsiteY84" fmla="*/ 680275 h 1005887"/>
                <a:gd name="connsiteX85" fmla="*/ 655692 w 1074410"/>
                <a:gd name="connsiteY85" fmla="*/ 664597 h 1005887"/>
                <a:gd name="connsiteX86" fmla="*/ 653549 w 1074410"/>
                <a:gd name="connsiteY86" fmla="*/ 641052 h 1005887"/>
                <a:gd name="connsiteX87" fmla="*/ 631832 w 1074410"/>
                <a:gd name="connsiteY87" fmla="*/ 668188 h 1005887"/>
                <a:gd name="connsiteX88" fmla="*/ 615144 w 1074410"/>
                <a:gd name="connsiteY88" fmla="*/ 679142 h 1005887"/>
                <a:gd name="connsiteX89" fmla="*/ 604914 w 1074410"/>
                <a:gd name="connsiteY89" fmla="*/ 704793 h 1005887"/>
                <a:gd name="connsiteX90" fmla="*/ 584064 w 1074410"/>
                <a:gd name="connsiteY90" fmla="*/ 691496 h 1005887"/>
                <a:gd name="connsiteX91" fmla="*/ 584892 w 1074410"/>
                <a:gd name="connsiteY91" fmla="*/ 674437 h 1005887"/>
                <a:gd name="connsiteX92" fmla="*/ 568186 w 1074410"/>
                <a:gd name="connsiteY92" fmla="*/ 651291 h 1005887"/>
                <a:gd name="connsiteX93" fmla="*/ 554098 w 1074410"/>
                <a:gd name="connsiteY93" fmla="*/ 639413 h 1005887"/>
                <a:gd name="connsiteX94" fmla="*/ 559118 w 1074410"/>
                <a:gd name="connsiteY94" fmla="*/ 632117 h 1005887"/>
                <a:gd name="connsiteX95" fmla="*/ 524847 w 1074410"/>
                <a:gd name="connsiteY95" fmla="*/ 613058 h 1005887"/>
                <a:gd name="connsiteX96" fmla="*/ 506073 w 1074410"/>
                <a:gd name="connsiteY96" fmla="*/ 612162 h 1005887"/>
                <a:gd name="connsiteX97" fmla="*/ 480393 w 1074410"/>
                <a:gd name="connsiteY97" fmla="*/ 596951 h 1005887"/>
                <a:gd name="connsiteX98" fmla="*/ 432568 w 1074410"/>
                <a:gd name="connsiteY98" fmla="*/ 599904 h 1005887"/>
                <a:gd name="connsiteX99" fmla="*/ 397983 w 1074410"/>
                <a:gd name="connsiteY99" fmla="*/ 611095 h 1005887"/>
                <a:gd name="connsiteX100" fmla="*/ 367599 w 1074410"/>
                <a:gd name="connsiteY100" fmla="*/ 621573 h 1005887"/>
                <a:gd name="connsiteX101" fmla="*/ 342109 w 1074410"/>
                <a:gd name="connsiteY101" fmla="*/ 619487 h 1005887"/>
                <a:gd name="connsiteX102" fmla="*/ 313801 w 1074410"/>
                <a:gd name="connsiteY102" fmla="*/ 635641 h 1005887"/>
                <a:gd name="connsiteX103" fmla="*/ 290636 w 1074410"/>
                <a:gd name="connsiteY103" fmla="*/ 642938 h 1005887"/>
                <a:gd name="connsiteX104" fmla="*/ 285493 w 1074410"/>
                <a:gd name="connsiteY104" fmla="*/ 659606 h 1005887"/>
                <a:gd name="connsiteX105" fmla="*/ 275635 w 1074410"/>
                <a:gd name="connsiteY105" fmla="*/ 672589 h 1005887"/>
                <a:gd name="connsiteX106" fmla="*/ 252965 w 1074410"/>
                <a:gd name="connsiteY106" fmla="*/ 673370 h 1005887"/>
                <a:gd name="connsiteX107" fmla="*/ 236191 w 1074410"/>
                <a:gd name="connsiteY107" fmla="*/ 676218 h 1005887"/>
                <a:gd name="connsiteX108" fmla="*/ 212589 w 1074410"/>
                <a:gd name="connsiteY108" fmla="*/ 670379 h 1005887"/>
                <a:gd name="connsiteX109" fmla="*/ 193377 w 1074410"/>
                <a:gd name="connsiteY109" fmla="*/ 673875 h 1005887"/>
                <a:gd name="connsiteX110" fmla="*/ 175041 w 1074410"/>
                <a:gd name="connsiteY110" fmla="*/ 675342 h 1005887"/>
                <a:gd name="connsiteX111" fmla="*/ 159154 w 1074410"/>
                <a:gd name="connsiteY111" fmla="*/ 692496 h 1005887"/>
                <a:gd name="connsiteX112" fmla="*/ 151372 w 1074410"/>
                <a:gd name="connsiteY112" fmla="*/ 691039 h 1005887"/>
                <a:gd name="connsiteX113" fmla="*/ 137979 w 1074410"/>
                <a:gd name="connsiteY113" fmla="*/ 700174 h 1005887"/>
                <a:gd name="connsiteX114" fmla="*/ 125139 w 1074410"/>
                <a:gd name="connsiteY114" fmla="*/ 710479 h 1005887"/>
                <a:gd name="connsiteX115" fmla="*/ 105652 w 1074410"/>
                <a:gd name="connsiteY115" fmla="*/ 709203 h 1005887"/>
                <a:gd name="connsiteX116" fmla="*/ 87754 w 1074410"/>
                <a:gd name="connsiteY116" fmla="*/ 709193 h 1005887"/>
                <a:gd name="connsiteX117" fmla="*/ 59417 w 1074410"/>
                <a:gd name="connsiteY117" fmla="*/ 688543 h 1005887"/>
                <a:gd name="connsiteX118" fmla="*/ 45063 w 1074410"/>
                <a:gd name="connsiteY118" fmla="*/ 682428 h 1005887"/>
                <a:gd name="connsiteX119" fmla="*/ 45644 w 1074410"/>
                <a:gd name="connsiteY119" fmla="*/ 664073 h 1005887"/>
                <a:gd name="connsiteX120" fmla="*/ 58912 w 1074410"/>
                <a:gd name="connsiteY120" fmla="*/ 659730 h 1005887"/>
                <a:gd name="connsiteX121" fmla="*/ 63446 w 1074410"/>
                <a:gd name="connsiteY121" fmla="*/ 652482 h 1005887"/>
                <a:gd name="connsiteX122" fmla="*/ 62494 w 1074410"/>
                <a:gd name="connsiteY122" fmla="*/ 641090 h 1005887"/>
                <a:gd name="connsiteX123" fmla="*/ 65761 w 1074410"/>
                <a:gd name="connsiteY123" fmla="*/ 619163 h 1005887"/>
                <a:gd name="connsiteX124" fmla="*/ 62779 w 1074410"/>
                <a:gd name="connsiteY124" fmla="*/ 600609 h 1005887"/>
                <a:gd name="connsiteX125" fmla="*/ 48663 w 1074410"/>
                <a:gd name="connsiteY125" fmla="*/ 569233 h 1005887"/>
                <a:gd name="connsiteX126" fmla="*/ 44282 w 1074410"/>
                <a:gd name="connsiteY126" fmla="*/ 551659 h 1005887"/>
                <a:gd name="connsiteX127" fmla="*/ 45434 w 1074410"/>
                <a:gd name="connsiteY127" fmla="*/ 534229 h 1005887"/>
                <a:gd name="connsiteX128" fmla="*/ 34804 w 1074410"/>
                <a:gd name="connsiteY128" fmla="*/ 514426 h 1005887"/>
                <a:gd name="connsiteX129" fmla="*/ 34128 w 1074410"/>
                <a:gd name="connsiteY129" fmla="*/ 505530 h 1005887"/>
                <a:gd name="connsiteX130" fmla="*/ 22298 w 1074410"/>
                <a:gd name="connsiteY130" fmla="*/ 493509 h 1005887"/>
                <a:gd name="connsiteX131" fmla="*/ 18965 w 1074410"/>
                <a:gd name="connsiteY131" fmla="*/ 470002 h 1005887"/>
                <a:gd name="connsiteX132" fmla="*/ 3696 w 1074410"/>
                <a:gd name="connsiteY132" fmla="*/ 446408 h 1005887"/>
                <a:gd name="connsiteX133" fmla="*/ 0 w 1074410"/>
                <a:gd name="connsiteY133" fmla="*/ 433768 h 1005887"/>
                <a:gd name="connsiteX134" fmla="*/ 11725 w 1074410"/>
                <a:gd name="connsiteY134" fmla="*/ 446589 h 1005887"/>
                <a:gd name="connsiteX135" fmla="*/ 2715 w 1074410"/>
                <a:gd name="connsiteY135" fmla="*/ 419148 h 1005887"/>
                <a:gd name="connsiteX136" fmla="*/ 15964 w 1074410"/>
                <a:gd name="connsiteY136" fmla="*/ 427701 h 1005887"/>
                <a:gd name="connsiteX137" fmla="*/ 23870 w 1074410"/>
                <a:gd name="connsiteY137" fmla="*/ 439160 h 1005887"/>
                <a:gd name="connsiteX138" fmla="*/ 23422 w 1074410"/>
                <a:gd name="connsiteY138" fmla="*/ 424015 h 1005887"/>
                <a:gd name="connsiteX139" fmla="*/ 10202 w 1074410"/>
                <a:gd name="connsiteY139" fmla="*/ 400869 h 1005887"/>
                <a:gd name="connsiteX140" fmla="*/ 7639 w 1074410"/>
                <a:gd name="connsiteY140" fmla="*/ 391649 h 1005887"/>
                <a:gd name="connsiteX141" fmla="*/ 1448 w 1074410"/>
                <a:gd name="connsiteY141" fmla="*/ 382914 h 1005887"/>
                <a:gd name="connsiteX142" fmla="*/ 4353 w 1074410"/>
                <a:gd name="connsiteY142" fmla="*/ 366084 h 1005887"/>
                <a:gd name="connsiteX143" fmla="*/ 9820 w 1074410"/>
                <a:gd name="connsiteY143" fmla="*/ 358940 h 1005887"/>
                <a:gd name="connsiteX144" fmla="*/ 13468 w 1074410"/>
                <a:gd name="connsiteY144" fmla="*/ 344471 h 1005887"/>
                <a:gd name="connsiteX145" fmla="*/ 10611 w 1074410"/>
                <a:gd name="connsiteY145" fmla="*/ 327632 h 1005887"/>
                <a:gd name="connsiteX146" fmla="*/ 21650 w 1074410"/>
                <a:gd name="connsiteY146" fmla="*/ 307010 h 1005887"/>
                <a:gd name="connsiteX147" fmla="*/ 23660 w 1074410"/>
                <a:gd name="connsiteY147" fmla="*/ 328841 h 1005887"/>
                <a:gd name="connsiteX148" fmla="*/ 34947 w 1074410"/>
                <a:gd name="connsiteY148" fmla="*/ 309115 h 1005887"/>
                <a:gd name="connsiteX149" fmla="*/ 56645 w 1074410"/>
                <a:gd name="connsiteY149" fmla="*/ 299571 h 1005887"/>
                <a:gd name="connsiteX150" fmla="*/ 69657 w 1074410"/>
                <a:gd name="connsiteY150" fmla="*/ 287417 h 1005887"/>
                <a:gd name="connsiteX151" fmla="*/ 90068 w 1074410"/>
                <a:gd name="connsiteY151" fmla="*/ 276987 h 1005887"/>
                <a:gd name="connsiteX152" fmla="*/ 102204 w 1074410"/>
                <a:gd name="connsiteY152" fmla="*/ 274777 h 1005887"/>
                <a:gd name="connsiteX153" fmla="*/ 109557 w 1074410"/>
                <a:gd name="connsiteY153" fmla="*/ 278273 h 1005887"/>
                <a:gd name="connsiteX154" fmla="*/ 130597 w 1074410"/>
                <a:gd name="connsiteY154" fmla="*/ 267710 h 1005887"/>
                <a:gd name="connsiteX155" fmla="*/ 146800 w 1074410"/>
                <a:gd name="connsiteY155" fmla="*/ 264566 h 1005887"/>
                <a:gd name="connsiteX156" fmla="*/ 150848 w 1074410"/>
                <a:gd name="connsiteY156" fmla="*/ 258376 h 1005887"/>
                <a:gd name="connsiteX157" fmla="*/ 157915 w 1074410"/>
                <a:gd name="connsiteY157" fmla="*/ 255794 h 1005887"/>
                <a:gd name="connsiteX158" fmla="*/ 172679 w 1074410"/>
                <a:gd name="connsiteY158" fmla="*/ 256461 h 1005887"/>
                <a:gd name="connsiteX159" fmla="*/ 200749 w 1074410"/>
                <a:gd name="connsiteY159" fmla="*/ 248202 h 1005887"/>
                <a:gd name="connsiteX160" fmla="*/ 215265 w 1074410"/>
                <a:gd name="connsiteY160" fmla="*/ 235696 h 1005887"/>
                <a:gd name="connsiteX161" fmla="*/ 222085 w 1074410"/>
                <a:gd name="connsiteY161" fmla="*/ 220694 h 1005887"/>
                <a:gd name="connsiteX162" fmla="*/ 237754 w 1074410"/>
                <a:gd name="connsiteY162" fmla="*/ 206493 h 1005887"/>
                <a:gd name="connsiteX163" fmla="*/ 238954 w 1074410"/>
                <a:gd name="connsiteY163" fmla="*/ 195358 h 1005887"/>
                <a:gd name="connsiteX164" fmla="*/ 239649 w 1074410"/>
                <a:gd name="connsiteY164" fmla="*/ 180223 h 1005887"/>
                <a:gd name="connsiteX165" fmla="*/ 258337 w 1074410"/>
                <a:gd name="connsiteY165" fmla="*/ 156658 h 1005887"/>
                <a:gd name="connsiteX166" fmla="*/ 269586 w 1074410"/>
                <a:gd name="connsiteY166" fmla="*/ 180604 h 1005887"/>
                <a:gd name="connsiteX167" fmla="*/ 280950 w 1074410"/>
                <a:gd name="connsiteY167" fmla="*/ 175060 h 1005887"/>
                <a:gd name="connsiteX168" fmla="*/ 271444 w 1074410"/>
                <a:gd name="connsiteY168" fmla="*/ 161963 h 1005887"/>
                <a:gd name="connsiteX169" fmla="*/ 279826 w 1074410"/>
                <a:gd name="connsiteY169" fmla="*/ 148542 h 1005887"/>
                <a:gd name="connsiteX170" fmla="*/ 291608 w 1074410"/>
                <a:gd name="connsiteY170" fmla="*/ 154534 h 1005887"/>
                <a:gd name="connsiteX171" fmla="*/ 294847 w 1074410"/>
                <a:gd name="connsiteY171" fmla="*/ 133531 h 1005887"/>
                <a:gd name="connsiteX172" fmla="*/ 309439 w 1074410"/>
                <a:gd name="connsiteY172" fmla="*/ 119996 h 1005887"/>
                <a:gd name="connsiteX173" fmla="*/ 315878 w 1074410"/>
                <a:gd name="connsiteY173" fmla="*/ 109157 h 1005887"/>
                <a:gd name="connsiteX174" fmla="*/ 329308 w 1074410"/>
                <a:gd name="connsiteY174" fmla="*/ 104480 h 1005887"/>
                <a:gd name="connsiteX175" fmla="*/ 329727 w 1074410"/>
                <a:gd name="connsiteY175" fmla="*/ 96822 h 1005887"/>
                <a:gd name="connsiteX176" fmla="*/ 341462 w 1074410"/>
                <a:gd name="connsiteY176" fmla="*/ 100013 h 1005887"/>
                <a:gd name="connsiteX177" fmla="*/ 341929 w 1074410"/>
                <a:gd name="connsiteY177" fmla="*/ 93136 h 1005887"/>
                <a:gd name="connsiteX178" fmla="*/ 353673 w 1074410"/>
                <a:gd name="connsiteY178" fmla="*/ 89211 h 1005887"/>
                <a:gd name="connsiteX179" fmla="*/ 366579 w 1074410"/>
                <a:gd name="connsiteY179" fmla="*/ 85525 h 1005887"/>
                <a:gd name="connsiteX180" fmla="*/ 386306 w 1074410"/>
                <a:gd name="connsiteY180" fmla="*/ 98079 h 1005887"/>
                <a:gd name="connsiteX181" fmla="*/ 401127 w 1074410"/>
                <a:gd name="connsiteY181" fmla="*/ 114319 h 1005887"/>
                <a:gd name="connsiteX182" fmla="*/ 417843 w 1074410"/>
                <a:gd name="connsiteY182" fmla="*/ 114510 h 1005887"/>
                <a:gd name="connsiteX183" fmla="*/ 434826 w 1074410"/>
                <a:gd name="connsiteY183" fmla="*/ 117091 h 1005887"/>
                <a:gd name="connsiteX184" fmla="*/ 429168 w 1074410"/>
                <a:gd name="connsiteY184" fmla="*/ 102022 h 1005887"/>
                <a:gd name="connsiteX185" fmla="*/ 441960 w 1074410"/>
                <a:gd name="connsiteY185" fmla="*/ 80086 h 1005887"/>
                <a:gd name="connsiteX186" fmla="*/ 454000 w 1074410"/>
                <a:gd name="connsiteY186" fmla="*/ 72952 h 1005887"/>
                <a:gd name="connsiteX187" fmla="*/ 449838 w 1074410"/>
                <a:gd name="connsiteY187" fmla="*/ 66142 h 1005887"/>
                <a:gd name="connsiteX188" fmla="*/ 461439 w 1074410"/>
                <a:gd name="connsiteY188" fmla="*/ 50597 h 1005887"/>
                <a:gd name="connsiteX189" fmla="*/ 477612 w 1074410"/>
                <a:gd name="connsiteY189" fmla="*/ 41015 h 1005887"/>
                <a:gd name="connsiteX190" fmla="*/ 491280 w 1074410"/>
                <a:gd name="connsiteY190" fmla="*/ 44244 h 1005887"/>
                <a:gd name="connsiteX191" fmla="*/ 513712 w 1074410"/>
                <a:gd name="connsiteY191" fmla="*/ 39129 h 1005887"/>
                <a:gd name="connsiteX192" fmla="*/ 513226 w 1074410"/>
                <a:gd name="connsiteY192" fmla="*/ 25270 h 1005887"/>
                <a:gd name="connsiteX193" fmla="*/ 493662 w 1074410"/>
                <a:gd name="connsiteY193" fmla="*/ 16355 h 1005887"/>
                <a:gd name="connsiteX194" fmla="*/ 507883 w 1074410"/>
                <a:gd name="connsiteY194" fmla="*/ 12421 h 1005887"/>
                <a:gd name="connsiteX195" fmla="*/ 525571 w 1074410"/>
                <a:gd name="connsiteY195" fmla="*/ 19126 h 1005887"/>
                <a:gd name="connsiteX196" fmla="*/ 539753 w 1074410"/>
                <a:gd name="connsiteY196" fmla="*/ 30242 h 1005887"/>
                <a:gd name="connsiteX197" fmla="*/ 562242 w 1074410"/>
                <a:gd name="connsiteY197" fmla="*/ 37186 h 1005887"/>
                <a:gd name="connsiteX198" fmla="*/ 569872 w 1074410"/>
                <a:gd name="connsiteY198" fmla="*/ 34442 h 1005887"/>
                <a:gd name="connsiteX199" fmla="*/ 586426 w 1074410"/>
                <a:gd name="connsiteY199" fmla="*/ 42777 h 1005887"/>
                <a:gd name="connsiteX200" fmla="*/ 602028 w 1074410"/>
                <a:gd name="connsiteY200" fmla="*/ 35014 h 1005887"/>
                <a:gd name="connsiteX201" fmla="*/ 612067 w 1074410"/>
                <a:gd name="connsiteY201" fmla="*/ 37376 h 1005887"/>
                <a:gd name="connsiteX202" fmla="*/ 618316 w 1074410"/>
                <a:gd name="connsiteY202" fmla="*/ 32166 h 1005887"/>
                <a:gd name="connsiteX203" fmla="*/ 630574 w 1074410"/>
                <a:gd name="connsiteY203" fmla="*/ 45596 h 1005887"/>
                <a:gd name="connsiteX204" fmla="*/ 623459 w 1074410"/>
                <a:gd name="connsiteY204" fmla="*/ 60150 h 1005887"/>
                <a:gd name="connsiteX205" fmla="*/ 613325 w 1074410"/>
                <a:gd name="connsiteY205" fmla="*/ 71152 h 1005887"/>
                <a:gd name="connsiteX206" fmla="*/ 604142 w 1074410"/>
                <a:gd name="connsiteY206" fmla="*/ 72066 h 1005887"/>
                <a:gd name="connsiteX207" fmla="*/ 607238 w 1074410"/>
                <a:gd name="connsiteY207" fmla="*/ 82982 h 1005887"/>
                <a:gd name="connsiteX208" fmla="*/ 599390 w 1074410"/>
                <a:gd name="connsiteY208" fmla="*/ 96650 h 1005887"/>
                <a:gd name="connsiteX209" fmla="*/ 589902 w 1074410"/>
                <a:gd name="connsiteY209" fmla="*/ 110119 h 1005887"/>
                <a:gd name="connsiteX210" fmla="*/ 591817 w 1074410"/>
                <a:gd name="connsiteY210" fmla="*/ 117872 h 1005887"/>
                <a:gd name="connsiteX211" fmla="*/ 613048 w 1074410"/>
                <a:gd name="connsiteY211" fmla="*/ 133074 h 1005887"/>
                <a:gd name="connsiteX212" fmla="*/ 633622 w 1074410"/>
                <a:gd name="connsiteY212" fmla="*/ 141913 h 1005887"/>
                <a:gd name="connsiteX213" fmla="*/ 647367 w 1074410"/>
                <a:gd name="connsiteY213" fmla="*/ 151429 h 1005887"/>
                <a:gd name="connsiteX214" fmla="*/ 666674 w 1074410"/>
                <a:gd name="connsiteY214" fmla="*/ 167830 h 1005887"/>
                <a:gd name="connsiteX215" fmla="*/ 674199 w 1074410"/>
                <a:gd name="connsiteY215" fmla="*/ 167802 h 1005887"/>
                <a:gd name="connsiteX216" fmla="*/ 688181 w 1074410"/>
                <a:gd name="connsiteY216" fmla="*/ 174908 h 1005887"/>
                <a:gd name="connsiteX217" fmla="*/ 692239 w 1074410"/>
                <a:gd name="connsiteY217" fmla="*/ 183490 h 1005887"/>
                <a:gd name="connsiteX218" fmla="*/ 717738 w 1074410"/>
                <a:gd name="connsiteY218" fmla="*/ 192938 h 1005887"/>
                <a:gd name="connsiteX219" fmla="*/ 735378 w 1074410"/>
                <a:gd name="connsiteY219" fmla="*/ 183423 h 1005887"/>
                <a:gd name="connsiteX220" fmla="*/ 740607 w 1074410"/>
                <a:gd name="connsiteY220" fmla="*/ 168507 h 1005887"/>
                <a:gd name="connsiteX221" fmla="*/ 746017 w 1074410"/>
                <a:gd name="connsiteY221" fmla="*/ 156229 h 1005887"/>
                <a:gd name="connsiteX222" fmla="*/ 749342 w 1074410"/>
                <a:gd name="connsiteY222" fmla="*/ 141084 h 1005887"/>
                <a:gd name="connsiteX223" fmla="*/ 757467 w 1074410"/>
                <a:gd name="connsiteY223" fmla="*/ 119177 h 1005887"/>
                <a:gd name="connsiteX224" fmla="*/ 753752 w 1074410"/>
                <a:gd name="connsiteY224" fmla="*/ 105899 h 1005887"/>
                <a:gd name="connsiteX225" fmla="*/ 755675 w 1074410"/>
                <a:gd name="connsiteY225" fmla="*/ 97927 h 1005887"/>
                <a:gd name="connsiteX226" fmla="*/ 752590 w 1074410"/>
                <a:gd name="connsiteY226" fmla="*/ 82277 h 1005887"/>
                <a:gd name="connsiteX227" fmla="*/ 756085 w 1074410"/>
                <a:gd name="connsiteY227" fmla="*/ 61732 h 1005887"/>
                <a:gd name="connsiteX228" fmla="*/ 761209 w 1074410"/>
                <a:gd name="connsiteY228" fmla="*/ 56197 h 1005887"/>
                <a:gd name="connsiteX229" fmla="*/ 757047 w 1074410"/>
                <a:gd name="connsiteY229" fmla="*/ 47120 h 1005887"/>
                <a:gd name="connsiteX230" fmla="*/ 763505 w 1074410"/>
                <a:gd name="connsiteY230" fmla="*/ 32728 h 1005887"/>
                <a:gd name="connsiteX231" fmla="*/ 768572 w 1074410"/>
                <a:gd name="connsiteY231" fmla="*/ 17840 h 1005887"/>
                <a:gd name="connsiteX232" fmla="*/ 769239 w 1074410"/>
                <a:gd name="connsiteY232" fmla="*/ 10125 h 1005887"/>
                <a:gd name="connsiteX233" fmla="*/ 779164 w 1074410"/>
                <a:gd name="connsiteY233" fmla="*/ 0 h 1005887"/>
                <a:gd name="connsiteX234" fmla="*/ 786699 w 1074410"/>
                <a:gd name="connsiteY234" fmla="*/ 13221 h 1005887"/>
                <a:gd name="connsiteX235" fmla="*/ 788547 w 1074410"/>
                <a:gd name="connsiteY235" fmla="*/ 30204 h 1005887"/>
                <a:gd name="connsiteX236" fmla="*/ 795204 w 1074410"/>
                <a:gd name="connsiteY236" fmla="*/ 33481 h 1005887"/>
                <a:gd name="connsiteX237" fmla="*/ 796338 w 1074410"/>
                <a:gd name="connsiteY237" fmla="*/ 44882 h 1005887"/>
                <a:gd name="connsiteX238" fmla="*/ 806053 w 1074410"/>
                <a:gd name="connsiteY238" fmla="*/ 58712 h 1005887"/>
                <a:gd name="connsiteX239" fmla="*/ 808054 w 1074410"/>
                <a:gd name="connsiteY239" fmla="*/ 74143 h 1005887"/>
                <a:gd name="connsiteX240" fmla="*/ 807139 w 1074410"/>
                <a:gd name="connsiteY240" fmla="*/ 83991 h 100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</a:cxnLst>
              <a:rect l="l" t="t" r="r" b="b"/>
              <a:pathLst>
                <a:path w="1074410" h="1005887">
                  <a:moveTo>
                    <a:pt x="856183" y="903741"/>
                  </a:moveTo>
                  <a:lnTo>
                    <a:pt x="881987" y="915905"/>
                  </a:lnTo>
                  <a:lnTo>
                    <a:pt x="896522" y="911067"/>
                  </a:lnTo>
                  <a:lnTo>
                    <a:pt x="917363" y="904304"/>
                  </a:lnTo>
                  <a:lnTo>
                    <a:pt x="933384" y="906666"/>
                  </a:lnTo>
                  <a:lnTo>
                    <a:pt x="935279" y="948814"/>
                  </a:lnTo>
                  <a:lnTo>
                    <a:pt x="926125" y="961197"/>
                  </a:lnTo>
                  <a:lnTo>
                    <a:pt x="923373" y="990381"/>
                  </a:lnTo>
                  <a:lnTo>
                    <a:pt x="914038" y="980408"/>
                  </a:lnTo>
                  <a:lnTo>
                    <a:pt x="895503" y="1005887"/>
                  </a:lnTo>
                  <a:lnTo>
                    <a:pt x="889978" y="1003907"/>
                  </a:lnTo>
                  <a:lnTo>
                    <a:pt x="873547" y="1002764"/>
                  </a:lnTo>
                  <a:lnTo>
                    <a:pt x="857079" y="971560"/>
                  </a:lnTo>
                  <a:lnTo>
                    <a:pt x="853421" y="947785"/>
                  </a:lnTo>
                  <a:lnTo>
                    <a:pt x="838019" y="916791"/>
                  </a:lnTo>
                  <a:lnTo>
                    <a:pt x="838695" y="900646"/>
                  </a:lnTo>
                  <a:lnTo>
                    <a:pt x="856183" y="903741"/>
                  </a:lnTo>
                  <a:close/>
                  <a:moveTo>
                    <a:pt x="807139" y="83991"/>
                  </a:moveTo>
                  <a:lnTo>
                    <a:pt x="816759" y="105461"/>
                  </a:lnTo>
                  <a:lnTo>
                    <a:pt x="833895" y="95136"/>
                  </a:lnTo>
                  <a:lnTo>
                    <a:pt x="842744" y="106737"/>
                  </a:lnTo>
                  <a:lnTo>
                    <a:pt x="855564" y="117453"/>
                  </a:lnTo>
                  <a:lnTo>
                    <a:pt x="852821" y="129645"/>
                  </a:lnTo>
                  <a:lnTo>
                    <a:pt x="858517" y="153305"/>
                  </a:lnTo>
                  <a:lnTo>
                    <a:pt x="862575" y="167135"/>
                  </a:lnTo>
                  <a:lnTo>
                    <a:pt x="869299" y="170517"/>
                  </a:lnTo>
                  <a:lnTo>
                    <a:pt x="876548" y="194282"/>
                  </a:lnTo>
                  <a:lnTo>
                    <a:pt x="873966" y="208759"/>
                  </a:lnTo>
                  <a:lnTo>
                    <a:pt x="882615" y="227762"/>
                  </a:lnTo>
                  <a:lnTo>
                    <a:pt x="911553" y="242449"/>
                  </a:lnTo>
                  <a:lnTo>
                    <a:pt x="930412" y="255851"/>
                  </a:lnTo>
                  <a:lnTo>
                    <a:pt x="948328" y="268157"/>
                  </a:lnTo>
                  <a:lnTo>
                    <a:pt x="944832" y="275025"/>
                  </a:lnTo>
                  <a:lnTo>
                    <a:pt x="960111" y="292856"/>
                  </a:lnTo>
                  <a:lnTo>
                    <a:pt x="970493" y="323802"/>
                  </a:lnTo>
                  <a:lnTo>
                    <a:pt x="981151" y="317497"/>
                  </a:lnTo>
                  <a:lnTo>
                    <a:pt x="991981" y="329937"/>
                  </a:lnTo>
                  <a:lnTo>
                    <a:pt x="998515" y="325517"/>
                  </a:lnTo>
                  <a:lnTo>
                    <a:pt x="1003116" y="356073"/>
                  </a:lnTo>
                  <a:lnTo>
                    <a:pt x="1022061" y="373895"/>
                  </a:lnTo>
                  <a:lnTo>
                    <a:pt x="1034463" y="385010"/>
                  </a:lnTo>
                  <a:lnTo>
                    <a:pt x="1055332" y="408708"/>
                  </a:lnTo>
                  <a:lnTo>
                    <a:pt x="1062838" y="432397"/>
                  </a:lnTo>
                  <a:lnTo>
                    <a:pt x="1063524" y="449294"/>
                  </a:lnTo>
                  <a:lnTo>
                    <a:pt x="1061685" y="467744"/>
                  </a:lnTo>
                  <a:lnTo>
                    <a:pt x="1074411" y="493233"/>
                  </a:lnTo>
                  <a:lnTo>
                    <a:pt x="1072887" y="520008"/>
                  </a:lnTo>
                  <a:lnTo>
                    <a:pt x="1068267" y="534105"/>
                  </a:lnTo>
                  <a:lnTo>
                    <a:pt x="1061057" y="561451"/>
                  </a:lnTo>
                  <a:lnTo>
                    <a:pt x="1061600" y="579158"/>
                  </a:lnTo>
                  <a:lnTo>
                    <a:pt x="1056313" y="601446"/>
                  </a:lnTo>
                  <a:lnTo>
                    <a:pt x="1044521" y="629984"/>
                  </a:lnTo>
                  <a:lnTo>
                    <a:pt x="1024738" y="645519"/>
                  </a:lnTo>
                  <a:lnTo>
                    <a:pt x="1014994" y="670189"/>
                  </a:lnTo>
                  <a:lnTo>
                    <a:pt x="1006078" y="686058"/>
                  </a:lnTo>
                  <a:lnTo>
                    <a:pt x="998163" y="713984"/>
                  </a:lnTo>
                  <a:lnTo>
                    <a:pt x="987857" y="730244"/>
                  </a:lnTo>
                  <a:lnTo>
                    <a:pt x="981104" y="754847"/>
                  </a:lnTo>
                  <a:lnTo>
                    <a:pt x="977656" y="777717"/>
                  </a:lnTo>
                  <a:lnTo>
                    <a:pt x="979027" y="788280"/>
                  </a:lnTo>
                  <a:lnTo>
                    <a:pt x="963721" y="799938"/>
                  </a:lnTo>
                  <a:lnTo>
                    <a:pt x="933822" y="801158"/>
                  </a:lnTo>
                  <a:lnTo>
                    <a:pt x="909171" y="815007"/>
                  </a:lnTo>
                  <a:lnTo>
                    <a:pt x="896903" y="828151"/>
                  </a:lnTo>
                  <a:lnTo>
                    <a:pt x="880767" y="842810"/>
                  </a:lnTo>
                  <a:lnTo>
                    <a:pt x="858651" y="827723"/>
                  </a:lnTo>
                  <a:lnTo>
                    <a:pt x="842286" y="821731"/>
                  </a:lnTo>
                  <a:lnTo>
                    <a:pt x="846440" y="804100"/>
                  </a:lnTo>
                  <a:lnTo>
                    <a:pt x="831838" y="810483"/>
                  </a:lnTo>
                  <a:lnTo>
                    <a:pt x="808454" y="835076"/>
                  </a:lnTo>
                  <a:lnTo>
                    <a:pt x="785365" y="825837"/>
                  </a:lnTo>
                  <a:lnTo>
                    <a:pt x="770220" y="820464"/>
                  </a:lnTo>
                  <a:lnTo>
                    <a:pt x="754942" y="818045"/>
                  </a:lnTo>
                  <a:lnTo>
                    <a:pt x="729092" y="808263"/>
                  </a:lnTo>
                  <a:lnTo>
                    <a:pt x="711822" y="787546"/>
                  </a:lnTo>
                  <a:lnTo>
                    <a:pt x="706860" y="762258"/>
                  </a:lnTo>
                  <a:lnTo>
                    <a:pt x="700659" y="745570"/>
                  </a:lnTo>
                  <a:lnTo>
                    <a:pt x="687534" y="732254"/>
                  </a:lnTo>
                  <a:lnTo>
                    <a:pt x="661845" y="728310"/>
                  </a:lnTo>
                  <a:lnTo>
                    <a:pt x="670627" y="712489"/>
                  </a:lnTo>
                  <a:lnTo>
                    <a:pt x="664159" y="688467"/>
                  </a:lnTo>
                  <a:lnTo>
                    <a:pt x="651120" y="710860"/>
                  </a:lnTo>
                  <a:lnTo>
                    <a:pt x="627355" y="716832"/>
                  </a:lnTo>
                  <a:lnTo>
                    <a:pt x="641328" y="698878"/>
                  </a:lnTo>
                  <a:lnTo>
                    <a:pt x="645376" y="680275"/>
                  </a:lnTo>
                  <a:lnTo>
                    <a:pt x="655692" y="664597"/>
                  </a:lnTo>
                  <a:lnTo>
                    <a:pt x="653549" y="641052"/>
                  </a:lnTo>
                  <a:lnTo>
                    <a:pt x="631832" y="668188"/>
                  </a:lnTo>
                  <a:lnTo>
                    <a:pt x="615144" y="679142"/>
                  </a:lnTo>
                  <a:lnTo>
                    <a:pt x="604914" y="704793"/>
                  </a:lnTo>
                  <a:lnTo>
                    <a:pt x="584064" y="691496"/>
                  </a:lnTo>
                  <a:lnTo>
                    <a:pt x="584892" y="674437"/>
                  </a:lnTo>
                  <a:lnTo>
                    <a:pt x="568186" y="651291"/>
                  </a:lnTo>
                  <a:lnTo>
                    <a:pt x="554098" y="639413"/>
                  </a:lnTo>
                  <a:lnTo>
                    <a:pt x="559118" y="632117"/>
                  </a:lnTo>
                  <a:lnTo>
                    <a:pt x="524847" y="613058"/>
                  </a:lnTo>
                  <a:lnTo>
                    <a:pt x="506073" y="612162"/>
                  </a:lnTo>
                  <a:lnTo>
                    <a:pt x="480393" y="596951"/>
                  </a:lnTo>
                  <a:lnTo>
                    <a:pt x="432568" y="599904"/>
                  </a:lnTo>
                  <a:lnTo>
                    <a:pt x="397983" y="611095"/>
                  </a:lnTo>
                  <a:lnTo>
                    <a:pt x="367599" y="621573"/>
                  </a:lnTo>
                  <a:lnTo>
                    <a:pt x="342109" y="619487"/>
                  </a:lnTo>
                  <a:lnTo>
                    <a:pt x="313801" y="635641"/>
                  </a:lnTo>
                  <a:lnTo>
                    <a:pt x="290636" y="642938"/>
                  </a:lnTo>
                  <a:lnTo>
                    <a:pt x="285493" y="659606"/>
                  </a:lnTo>
                  <a:lnTo>
                    <a:pt x="275635" y="672589"/>
                  </a:lnTo>
                  <a:lnTo>
                    <a:pt x="252965" y="673370"/>
                  </a:lnTo>
                  <a:lnTo>
                    <a:pt x="236191" y="676218"/>
                  </a:lnTo>
                  <a:lnTo>
                    <a:pt x="212589" y="670379"/>
                  </a:lnTo>
                  <a:lnTo>
                    <a:pt x="193377" y="673875"/>
                  </a:lnTo>
                  <a:lnTo>
                    <a:pt x="175041" y="675342"/>
                  </a:lnTo>
                  <a:lnTo>
                    <a:pt x="159154" y="692496"/>
                  </a:lnTo>
                  <a:lnTo>
                    <a:pt x="151372" y="691039"/>
                  </a:lnTo>
                  <a:lnTo>
                    <a:pt x="137979" y="700174"/>
                  </a:lnTo>
                  <a:lnTo>
                    <a:pt x="125139" y="710479"/>
                  </a:lnTo>
                  <a:lnTo>
                    <a:pt x="105652" y="709203"/>
                  </a:lnTo>
                  <a:lnTo>
                    <a:pt x="87754" y="709193"/>
                  </a:lnTo>
                  <a:lnTo>
                    <a:pt x="59417" y="688543"/>
                  </a:lnTo>
                  <a:lnTo>
                    <a:pt x="45063" y="682428"/>
                  </a:lnTo>
                  <a:lnTo>
                    <a:pt x="45644" y="664073"/>
                  </a:lnTo>
                  <a:lnTo>
                    <a:pt x="58912" y="659730"/>
                  </a:lnTo>
                  <a:lnTo>
                    <a:pt x="63446" y="652482"/>
                  </a:lnTo>
                  <a:lnTo>
                    <a:pt x="62494" y="641090"/>
                  </a:lnTo>
                  <a:lnTo>
                    <a:pt x="65761" y="619163"/>
                  </a:lnTo>
                  <a:lnTo>
                    <a:pt x="62779" y="600609"/>
                  </a:lnTo>
                  <a:lnTo>
                    <a:pt x="48663" y="569233"/>
                  </a:lnTo>
                  <a:lnTo>
                    <a:pt x="44282" y="551659"/>
                  </a:lnTo>
                  <a:lnTo>
                    <a:pt x="45434" y="534229"/>
                  </a:lnTo>
                  <a:lnTo>
                    <a:pt x="34804" y="514426"/>
                  </a:lnTo>
                  <a:lnTo>
                    <a:pt x="34128" y="505530"/>
                  </a:lnTo>
                  <a:lnTo>
                    <a:pt x="22298" y="493509"/>
                  </a:lnTo>
                  <a:lnTo>
                    <a:pt x="18965" y="470002"/>
                  </a:lnTo>
                  <a:lnTo>
                    <a:pt x="3696" y="446408"/>
                  </a:lnTo>
                  <a:lnTo>
                    <a:pt x="0" y="433768"/>
                  </a:lnTo>
                  <a:lnTo>
                    <a:pt x="11725" y="446589"/>
                  </a:lnTo>
                  <a:lnTo>
                    <a:pt x="2715" y="419148"/>
                  </a:lnTo>
                  <a:lnTo>
                    <a:pt x="15964" y="427701"/>
                  </a:lnTo>
                  <a:lnTo>
                    <a:pt x="23870" y="439160"/>
                  </a:lnTo>
                  <a:lnTo>
                    <a:pt x="23422" y="424015"/>
                  </a:lnTo>
                  <a:lnTo>
                    <a:pt x="10202" y="400869"/>
                  </a:lnTo>
                  <a:lnTo>
                    <a:pt x="7639" y="391649"/>
                  </a:lnTo>
                  <a:lnTo>
                    <a:pt x="1448" y="382914"/>
                  </a:lnTo>
                  <a:lnTo>
                    <a:pt x="4353" y="366084"/>
                  </a:lnTo>
                  <a:lnTo>
                    <a:pt x="9820" y="358940"/>
                  </a:lnTo>
                  <a:lnTo>
                    <a:pt x="13468" y="344471"/>
                  </a:lnTo>
                  <a:lnTo>
                    <a:pt x="10611" y="327632"/>
                  </a:lnTo>
                  <a:lnTo>
                    <a:pt x="21650" y="307010"/>
                  </a:lnTo>
                  <a:lnTo>
                    <a:pt x="23660" y="328841"/>
                  </a:lnTo>
                  <a:lnTo>
                    <a:pt x="34947" y="309115"/>
                  </a:lnTo>
                  <a:lnTo>
                    <a:pt x="56645" y="299571"/>
                  </a:lnTo>
                  <a:lnTo>
                    <a:pt x="69657" y="287417"/>
                  </a:lnTo>
                  <a:lnTo>
                    <a:pt x="90068" y="276987"/>
                  </a:lnTo>
                  <a:lnTo>
                    <a:pt x="102204" y="274777"/>
                  </a:lnTo>
                  <a:lnTo>
                    <a:pt x="109557" y="278273"/>
                  </a:lnTo>
                  <a:lnTo>
                    <a:pt x="130597" y="267710"/>
                  </a:lnTo>
                  <a:lnTo>
                    <a:pt x="146800" y="264566"/>
                  </a:lnTo>
                  <a:lnTo>
                    <a:pt x="150848" y="258376"/>
                  </a:lnTo>
                  <a:lnTo>
                    <a:pt x="157915" y="255794"/>
                  </a:lnTo>
                  <a:lnTo>
                    <a:pt x="172679" y="256461"/>
                  </a:lnTo>
                  <a:lnTo>
                    <a:pt x="200749" y="248202"/>
                  </a:lnTo>
                  <a:lnTo>
                    <a:pt x="215265" y="235696"/>
                  </a:lnTo>
                  <a:lnTo>
                    <a:pt x="222085" y="220694"/>
                  </a:lnTo>
                  <a:lnTo>
                    <a:pt x="237754" y="206493"/>
                  </a:lnTo>
                  <a:lnTo>
                    <a:pt x="238954" y="195358"/>
                  </a:lnTo>
                  <a:lnTo>
                    <a:pt x="239649" y="180223"/>
                  </a:lnTo>
                  <a:lnTo>
                    <a:pt x="258337" y="156658"/>
                  </a:lnTo>
                  <a:lnTo>
                    <a:pt x="269586" y="180604"/>
                  </a:lnTo>
                  <a:lnTo>
                    <a:pt x="280950" y="175060"/>
                  </a:lnTo>
                  <a:lnTo>
                    <a:pt x="271444" y="161963"/>
                  </a:lnTo>
                  <a:lnTo>
                    <a:pt x="279826" y="148542"/>
                  </a:lnTo>
                  <a:lnTo>
                    <a:pt x="291608" y="154534"/>
                  </a:lnTo>
                  <a:lnTo>
                    <a:pt x="294847" y="133531"/>
                  </a:lnTo>
                  <a:lnTo>
                    <a:pt x="309439" y="119996"/>
                  </a:lnTo>
                  <a:lnTo>
                    <a:pt x="315878" y="109157"/>
                  </a:lnTo>
                  <a:lnTo>
                    <a:pt x="329308" y="104480"/>
                  </a:lnTo>
                  <a:lnTo>
                    <a:pt x="329727" y="96822"/>
                  </a:lnTo>
                  <a:lnTo>
                    <a:pt x="341462" y="100013"/>
                  </a:lnTo>
                  <a:lnTo>
                    <a:pt x="341929" y="93136"/>
                  </a:lnTo>
                  <a:lnTo>
                    <a:pt x="353673" y="89211"/>
                  </a:lnTo>
                  <a:lnTo>
                    <a:pt x="366579" y="85525"/>
                  </a:lnTo>
                  <a:lnTo>
                    <a:pt x="386306" y="98079"/>
                  </a:lnTo>
                  <a:lnTo>
                    <a:pt x="401127" y="114319"/>
                  </a:lnTo>
                  <a:lnTo>
                    <a:pt x="417843" y="114510"/>
                  </a:lnTo>
                  <a:lnTo>
                    <a:pt x="434826" y="117091"/>
                  </a:lnTo>
                  <a:lnTo>
                    <a:pt x="429168" y="102022"/>
                  </a:lnTo>
                  <a:lnTo>
                    <a:pt x="441960" y="80086"/>
                  </a:lnTo>
                  <a:lnTo>
                    <a:pt x="454000" y="72952"/>
                  </a:lnTo>
                  <a:lnTo>
                    <a:pt x="449838" y="66142"/>
                  </a:lnTo>
                  <a:lnTo>
                    <a:pt x="461439" y="50597"/>
                  </a:lnTo>
                  <a:lnTo>
                    <a:pt x="477612" y="41015"/>
                  </a:lnTo>
                  <a:lnTo>
                    <a:pt x="491280" y="44244"/>
                  </a:lnTo>
                  <a:lnTo>
                    <a:pt x="513712" y="39129"/>
                  </a:lnTo>
                  <a:lnTo>
                    <a:pt x="513226" y="25270"/>
                  </a:lnTo>
                  <a:lnTo>
                    <a:pt x="493662" y="16355"/>
                  </a:lnTo>
                  <a:lnTo>
                    <a:pt x="507883" y="12421"/>
                  </a:lnTo>
                  <a:lnTo>
                    <a:pt x="525571" y="19126"/>
                  </a:lnTo>
                  <a:lnTo>
                    <a:pt x="539753" y="30242"/>
                  </a:lnTo>
                  <a:lnTo>
                    <a:pt x="562242" y="37186"/>
                  </a:lnTo>
                  <a:lnTo>
                    <a:pt x="569872" y="34442"/>
                  </a:lnTo>
                  <a:lnTo>
                    <a:pt x="586426" y="42777"/>
                  </a:lnTo>
                  <a:lnTo>
                    <a:pt x="602028" y="35014"/>
                  </a:lnTo>
                  <a:lnTo>
                    <a:pt x="612067" y="37376"/>
                  </a:lnTo>
                  <a:lnTo>
                    <a:pt x="618316" y="32166"/>
                  </a:lnTo>
                  <a:lnTo>
                    <a:pt x="630574" y="45596"/>
                  </a:lnTo>
                  <a:lnTo>
                    <a:pt x="623459" y="60150"/>
                  </a:lnTo>
                  <a:lnTo>
                    <a:pt x="613325" y="71152"/>
                  </a:lnTo>
                  <a:lnTo>
                    <a:pt x="604142" y="72066"/>
                  </a:lnTo>
                  <a:lnTo>
                    <a:pt x="607238" y="82982"/>
                  </a:lnTo>
                  <a:lnTo>
                    <a:pt x="599390" y="96650"/>
                  </a:lnTo>
                  <a:lnTo>
                    <a:pt x="589902" y="110119"/>
                  </a:lnTo>
                  <a:lnTo>
                    <a:pt x="591817" y="117872"/>
                  </a:lnTo>
                  <a:lnTo>
                    <a:pt x="613048" y="133074"/>
                  </a:lnTo>
                  <a:lnTo>
                    <a:pt x="633622" y="141913"/>
                  </a:lnTo>
                  <a:lnTo>
                    <a:pt x="647367" y="151429"/>
                  </a:lnTo>
                  <a:lnTo>
                    <a:pt x="666674" y="167830"/>
                  </a:lnTo>
                  <a:lnTo>
                    <a:pt x="674199" y="167802"/>
                  </a:lnTo>
                  <a:lnTo>
                    <a:pt x="688181" y="174908"/>
                  </a:lnTo>
                  <a:lnTo>
                    <a:pt x="692239" y="183490"/>
                  </a:lnTo>
                  <a:lnTo>
                    <a:pt x="717738" y="192938"/>
                  </a:lnTo>
                  <a:lnTo>
                    <a:pt x="735378" y="183423"/>
                  </a:lnTo>
                  <a:lnTo>
                    <a:pt x="740607" y="168507"/>
                  </a:lnTo>
                  <a:lnTo>
                    <a:pt x="746017" y="156229"/>
                  </a:lnTo>
                  <a:lnTo>
                    <a:pt x="749342" y="141084"/>
                  </a:lnTo>
                  <a:lnTo>
                    <a:pt x="757467" y="119177"/>
                  </a:lnTo>
                  <a:lnTo>
                    <a:pt x="753752" y="105899"/>
                  </a:lnTo>
                  <a:lnTo>
                    <a:pt x="755675" y="97927"/>
                  </a:lnTo>
                  <a:lnTo>
                    <a:pt x="752590" y="82277"/>
                  </a:lnTo>
                  <a:lnTo>
                    <a:pt x="756085" y="61732"/>
                  </a:lnTo>
                  <a:lnTo>
                    <a:pt x="761209" y="56197"/>
                  </a:lnTo>
                  <a:lnTo>
                    <a:pt x="757047" y="47120"/>
                  </a:lnTo>
                  <a:lnTo>
                    <a:pt x="763505" y="32728"/>
                  </a:lnTo>
                  <a:lnTo>
                    <a:pt x="768572" y="17840"/>
                  </a:lnTo>
                  <a:lnTo>
                    <a:pt x="769239" y="10125"/>
                  </a:lnTo>
                  <a:lnTo>
                    <a:pt x="779164" y="0"/>
                  </a:lnTo>
                  <a:lnTo>
                    <a:pt x="786699" y="13221"/>
                  </a:lnTo>
                  <a:lnTo>
                    <a:pt x="788547" y="30204"/>
                  </a:lnTo>
                  <a:lnTo>
                    <a:pt x="795204" y="33481"/>
                  </a:lnTo>
                  <a:lnTo>
                    <a:pt x="796338" y="44882"/>
                  </a:lnTo>
                  <a:lnTo>
                    <a:pt x="806053" y="58712"/>
                  </a:lnTo>
                  <a:lnTo>
                    <a:pt x="808054" y="74143"/>
                  </a:lnTo>
                  <a:lnTo>
                    <a:pt x="807139" y="83991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1" name="Forme libre : forme 5660">
              <a:extLst>
                <a:ext uri="{FF2B5EF4-FFF2-40B4-BE49-F238E27FC236}">
                  <a16:creationId xmlns:a16="http://schemas.microsoft.com/office/drawing/2014/main" id="{384E25CB-7089-C444-09F1-E830A4FC23ED}"/>
                </a:ext>
              </a:extLst>
            </p:cNvPr>
            <p:cNvSpPr/>
            <p:nvPr/>
          </p:nvSpPr>
          <p:spPr>
            <a:xfrm>
              <a:off x="7017200" y="3516319"/>
              <a:ext cx="149523" cy="124863"/>
            </a:xfrm>
            <a:custGeom>
              <a:avLst/>
              <a:gdLst>
                <a:gd name="connsiteX0" fmla="*/ 5553 w 149523"/>
                <a:gd name="connsiteY0" fmla="*/ 74543 h 124863"/>
                <a:gd name="connsiteX1" fmla="*/ 13468 w 149523"/>
                <a:gd name="connsiteY1" fmla="*/ 83811 h 124863"/>
                <a:gd name="connsiteX2" fmla="*/ 25270 w 149523"/>
                <a:gd name="connsiteY2" fmla="*/ 83734 h 124863"/>
                <a:gd name="connsiteX3" fmla="*/ 25146 w 149523"/>
                <a:gd name="connsiteY3" fmla="*/ 89049 h 124863"/>
                <a:gd name="connsiteX4" fmla="*/ 36052 w 149523"/>
                <a:gd name="connsiteY4" fmla="*/ 108861 h 124863"/>
                <a:gd name="connsiteX5" fmla="*/ 17736 w 149523"/>
                <a:gd name="connsiteY5" fmla="*/ 104318 h 124863"/>
                <a:gd name="connsiteX6" fmla="*/ 4239 w 149523"/>
                <a:gd name="connsiteY6" fmla="*/ 88497 h 124863"/>
                <a:gd name="connsiteX7" fmla="*/ 0 w 149523"/>
                <a:gd name="connsiteY7" fmla="*/ 75486 h 124863"/>
                <a:gd name="connsiteX8" fmla="*/ 5553 w 149523"/>
                <a:gd name="connsiteY8" fmla="*/ 74543 h 124863"/>
                <a:gd name="connsiteX9" fmla="*/ 68885 w 149523"/>
                <a:gd name="connsiteY9" fmla="*/ 22793 h 124863"/>
                <a:gd name="connsiteX10" fmla="*/ 80706 w 149523"/>
                <a:gd name="connsiteY10" fmla="*/ 25203 h 124863"/>
                <a:gd name="connsiteX11" fmla="*/ 85287 w 149523"/>
                <a:gd name="connsiteY11" fmla="*/ 16202 h 124863"/>
                <a:gd name="connsiteX12" fmla="*/ 101232 w 149523"/>
                <a:gd name="connsiteY12" fmla="*/ 1857 h 124863"/>
                <a:gd name="connsiteX13" fmla="*/ 115271 w 149523"/>
                <a:gd name="connsiteY13" fmla="*/ 20574 h 124863"/>
                <a:gd name="connsiteX14" fmla="*/ 128854 w 149523"/>
                <a:gd name="connsiteY14" fmla="*/ 45558 h 124863"/>
                <a:gd name="connsiteX15" fmla="*/ 141304 w 149523"/>
                <a:gd name="connsiteY15" fmla="*/ 47197 h 124863"/>
                <a:gd name="connsiteX16" fmla="*/ 149523 w 149523"/>
                <a:gd name="connsiteY16" fmla="*/ 56607 h 124863"/>
                <a:gd name="connsiteX17" fmla="*/ 127521 w 149523"/>
                <a:gd name="connsiteY17" fmla="*/ 59407 h 124863"/>
                <a:gd name="connsiteX18" fmla="*/ 122882 w 149523"/>
                <a:gd name="connsiteY18" fmla="*/ 86297 h 124863"/>
                <a:gd name="connsiteX19" fmla="*/ 118291 w 149523"/>
                <a:gd name="connsiteY19" fmla="*/ 98327 h 124863"/>
                <a:gd name="connsiteX20" fmla="*/ 108499 w 149523"/>
                <a:gd name="connsiteY20" fmla="*/ 106318 h 124863"/>
                <a:gd name="connsiteX21" fmla="*/ 109214 w 149523"/>
                <a:gd name="connsiteY21" fmla="*/ 123168 h 124863"/>
                <a:gd name="connsiteX22" fmla="*/ 102565 w 149523"/>
                <a:gd name="connsiteY22" fmla="*/ 124863 h 124863"/>
                <a:gd name="connsiteX23" fmla="*/ 85906 w 149523"/>
                <a:gd name="connsiteY23" fmla="*/ 107061 h 124863"/>
                <a:gd name="connsiteX24" fmla="*/ 95117 w 149523"/>
                <a:gd name="connsiteY24" fmla="*/ 90116 h 124863"/>
                <a:gd name="connsiteX25" fmla="*/ 87220 w 149523"/>
                <a:gd name="connsiteY25" fmla="*/ 80001 h 124863"/>
                <a:gd name="connsiteX26" fmla="*/ 77210 w 149523"/>
                <a:gd name="connsiteY26" fmla="*/ 82553 h 124863"/>
                <a:gd name="connsiteX27" fmla="*/ 45711 w 149523"/>
                <a:gd name="connsiteY27" fmla="*/ 107852 h 124863"/>
                <a:gd name="connsiteX28" fmla="*/ 45120 w 149523"/>
                <a:gd name="connsiteY28" fmla="*/ 84077 h 124863"/>
                <a:gd name="connsiteX29" fmla="*/ 33128 w 149523"/>
                <a:gd name="connsiteY29" fmla="*/ 78429 h 124863"/>
                <a:gd name="connsiteX30" fmla="*/ 21793 w 149523"/>
                <a:gd name="connsiteY30" fmla="*/ 69018 h 124863"/>
                <a:gd name="connsiteX31" fmla="*/ 29327 w 149523"/>
                <a:gd name="connsiteY31" fmla="*/ 57950 h 124863"/>
                <a:gd name="connsiteX32" fmla="*/ 15097 w 149523"/>
                <a:gd name="connsiteY32" fmla="*/ 45968 h 124863"/>
                <a:gd name="connsiteX33" fmla="*/ 20469 w 149523"/>
                <a:gd name="connsiteY33" fmla="*/ 37167 h 124863"/>
                <a:gd name="connsiteX34" fmla="*/ 10296 w 149523"/>
                <a:gd name="connsiteY34" fmla="*/ 31071 h 124863"/>
                <a:gd name="connsiteX35" fmla="*/ 4763 w 149523"/>
                <a:gd name="connsiteY35" fmla="*/ 21793 h 124863"/>
                <a:gd name="connsiteX36" fmla="*/ 11306 w 149523"/>
                <a:gd name="connsiteY36" fmla="*/ 16012 h 124863"/>
                <a:gd name="connsiteX37" fmla="*/ 31204 w 149523"/>
                <a:gd name="connsiteY37" fmla="*/ 26184 h 124863"/>
                <a:gd name="connsiteX38" fmla="*/ 45596 w 149523"/>
                <a:gd name="connsiteY38" fmla="*/ 28280 h 124863"/>
                <a:gd name="connsiteX39" fmla="*/ 49235 w 149523"/>
                <a:gd name="connsiteY39" fmla="*/ 24137 h 124863"/>
                <a:gd name="connsiteX40" fmla="*/ 36081 w 149523"/>
                <a:gd name="connsiteY40" fmla="*/ 4925 h 124863"/>
                <a:gd name="connsiteX41" fmla="*/ 43015 w 149523"/>
                <a:gd name="connsiteY41" fmla="*/ 0 h 124863"/>
                <a:gd name="connsiteX42" fmla="*/ 50521 w 149523"/>
                <a:gd name="connsiteY42" fmla="*/ 1200 h 124863"/>
                <a:gd name="connsiteX43" fmla="*/ 68885 w 149523"/>
                <a:gd name="connsiteY43" fmla="*/ 22793 h 124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49523" h="124863">
                  <a:moveTo>
                    <a:pt x="5553" y="74543"/>
                  </a:moveTo>
                  <a:lnTo>
                    <a:pt x="13468" y="83811"/>
                  </a:lnTo>
                  <a:lnTo>
                    <a:pt x="25270" y="83734"/>
                  </a:lnTo>
                  <a:lnTo>
                    <a:pt x="25146" y="89049"/>
                  </a:lnTo>
                  <a:lnTo>
                    <a:pt x="36052" y="108861"/>
                  </a:lnTo>
                  <a:lnTo>
                    <a:pt x="17736" y="104318"/>
                  </a:lnTo>
                  <a:lnTo>
                    <a:pt x="4239" y="88497"/>
                  </a:lnTo>
                  <a:lnTo>
                    <a:pt x="0" y="75486"/>
                  </a:lnTo>
                  <a:lnTo>
                    <a:pt x="5553" y="74543"/>
                  </a:lnTo>
                  <a:close/>
                  <a:moveTo>
                    <a:pt x="68885" y="22793"/>
                  </a:moveTo>
                  <a:lnTo>
                    <a:pt x="80706" y="25203"/>
                  </a:lnTo>
                  <a:lnTo>
                    <a:pt x="85287" y="16202"/>
                  </a:lnTo>
                  <a:lnTo>
                    <a:pt x="101232" y="1857"/>
                  </a:lnTo>
                  <a:lnTo>
                    <a:pt x="115271" y="20574"/>
                  </a:lnTo>
                  <a:lnTo>
                    <a:pt x="128854" y="45558"/>
                  </a:lnTo>
                  <a:lnTo>
                    <a:pt x="141304" y="47197"/>
                  </a:lnTo>
                  <a:lnTo>
                    <a:pt x="149523" y="56607"/>
                  </a:lnTo>
                  <a:lnTo>
                    <a:pt x="127521" y="59407"/>
                  </a:lnTo>
                  <a:lnTo>
                    <a:pt x="122882" y="86297"/>
                  </a:lnTo>
                  <a:lnTo>
                    <a:pt x="118291" y="98327"/>
                  </a:lnTo>
                  <a:lnTo>
                    <a:pt x="108499" y="106318"/>
                  </a:lnTo>
                  <a:lnTo>
                    <a:pt x="109214" y="123168"/>
                  </a:lnTo>
                  <a:lnTo>
                    <a:pt x="102565" y="124863"/>
                  </a:lnTo>
                  <a:lnTo>
                    <a:pt x="85906" y="107061"/>
                  </a:lnTo>
                  <a:lnTo>
                    <a:pt x="95117" y="90116"/>
                  </a:lnTo>
                  <a:lnTo>
                    <a:pt x="87220" y="80001"/>
                  </a:lnTo>
                  <a:lnTo>
                    <a:pt x="77210" y="82553"/>
                  </a:lnTo>
                  <a:lnTo>
                    <a:pt x="45711" y="107852"/>
                  </a:lnTo>
                  <a:lnTo>
                    <a:pt x="45120" y="84077"/>
                  </a:lnTo>
                  <a:lnTo>
                    <a:pt x="33128" y="78429"/>
                  </a:lnTo>
                  <a:lnTo>
                    <a:pt x="21793" y="69018"/>
                  </a:lnTo>
                  <a:lnTo>
                    <a:pt x="29327" y="57950"/>
                  </a:lnTo>
                  <a:lnTo>
                    <a:pt x="15097" y="45968"/>
                  </a:lnTo>
                  <a:lnTo>
                    <a:pt x="20469" y="37167"/>
                  </a:lnTo>
                  <a:lnTo>
                    <a:pt x="10296" y="31071"/>
                  </a:lnTo>
                  <a:lnTo>
                    <a:pt x="4763" y="21793"/>
                  </a:lnTo>
                  <a:lnTo>
                    <a:pt x="11306" y="16012"/>
                  </a:lnTo>
                  <a:lnTo>
                    <a:pt x="31204" y="26184"/>
                  </a:lnTo>
                  <a:lnTo>
                    <a:pt x="45596" y="28280"/>
                  </a:lnTo>
                  <a:lnTo>
                    <a:pt x="49235" y="24137"/>
                  </a:lnTo>
                  <a:lnTo>
                    <a:pt x="36081" y="4925"/>
                  </a:lnTo>
                  <a:lnTo>
                    <a:pt x="43015" y="0"/>
                  </a:lnTo>
                  <a:lnTo>
                    <a:pt x="50521" y="1200"/>
                  </a:lnTo>
                  <a:lnTo>
                    <a:pt x="68885" y="227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2" name="Forme libre : forme 5661">
              <a:extLst>
                <a:ext uri="{FF2B5EF4-FFF2-40B4-BE49-F238E27FC236}">
                  <a16:creationId xmlns:a16="http://schemas.microsoft.com/office/drawing/2014/main" id="{4842BE02-0D40-57AC-C4E3-EBE89963D2BA}"/>
                </a:ext>
              </a:extLst>
            </p:cNvPr>
            <p:cNvSpPr/>
            <p:nvPr/>
          </p:nvSpPr>
          <p:spPr>
            <a:xfrm>
              <a:off x="6241532" y="3392428"/>
              <a:ext cx="102812" cy="95526"/>
            </a:xfrm>
            <a:custGeom>
              <a:avLst/>
              <a:gdLst>
                <a:gd name="connsiteX0" fmla="*/ 86944 w 102812"/>
                <a:gd name="connsiteY0" fmla="*/ 14068 h 95526"/>
                <a:gd name="connsiteX1" fmla="*/ 96621 w 102812"/>
                <a:gd name="connsiteY1" fmla="*/ 13973 h 95526"/>
                <a:gd name="connsiteX2" fmla="*/ 89935 w 102812"/>
                <a:gd name="connsiteY2" fmla="*/ 30423 h 95526"/>
                <a:gd name="connsiteX3" fmla="*/ 102813 w 102812"/>
                <a:gd name="connsiteY3" fmla="*/ 44710 h 95526"/>
                <a:gd name="connsiteX4" fmla="*/ 98917 w 102812"/>
                <a:gd name="connsiteY4" fmla="*/ 62056 h 95526"/>
                <a:gd name="connsiteX5" fmla="*/ 92630 w 102812"/>
                <a:gd name="connsiteY5" fmla="*/ 63675 h 95526"/>
                <a:gd name="connsiteX6" fmla="*/ 87639 w 102812"/>
                <a:gd name="connsiteY6" fmla="*/ 67027 h 95526"/>
                <a:gd name="connsiteX7" fmla="*/ 78953 w 102812"/>
                <a:gd name="connsiteY7" fmla="*/ 75533 h 95526"/>
                <a:gd name="connsiteX8" fmla="*/ 75038 w 102812"/>
                <a:gd name="connsiteY8" fmla="*/ 95526 h 95526"/>
                <a:gd name="connsiteX9" fmla="*/ 51406 w 102812"/>
                <a:gd name="connsiteY9" fmla="*/ 81782 h 95526"/>
                <a:gd name="connsiteX10" fmla="*/ 41320 w 102812"/>
                <a:gd name="connsiteY10" fmla="*/ 66523 h 95526"/>
                <a:gd name="connsiteX11" fmla="*/ 31147 w 102812"/>
                <a:gd name="connsiteY11" fmla="*/ 58398 h 95526"/>
                <a:gd name="connsiteX12" fmla="*/ 18869 w 102812"/>
                <a:gd name="connsiteY12" fmla="*/ 44615 h 95526"/>
                <a:gd name="connsiteX13" fmla="*/ 13078 w 102812"/>
                <a:gd name="connsiteY13" fmla="*/ 33099 h 95526"/>
                <a:gd name="connsiteX14" fmla="*/ 0 w 102812"/>
                <a:gd name="connsiteY14" fmla="*/ 15630 h 95526"/>
                <a:gd name="connsiteX15" fmla="*/ 5582 w 102812"/>
                <a:gd name="connsiteY15" fmla="*/ 0 h 95526"/>
                <a:gd name="connsiteX16" fmla="*/ 15173 w 102812"/>
                <a:gd name="connsiteY16" fmla="*/ 8668 h 95526"/>
                <a:gd name="connsiteX17" fmla="*/ 20955 w 102812"/>
                <a:gd name="connsiteY17" fmla="*/ 838 h 95526"/>
                <a:gd name="connsiteX18" fmla="*/ 33433 w 102812"/>
                <a:gd name="connsiteY18" fmla="*/ 0 h 95526"/>
                <a:gd name="connsiteX19" fmla="*/ 56398 w 102812"/>
                <a:gd name="connsiteY19" fmla="*/ 6267 h 95526"/>
                <a:gd name="connsiteX20" fmla="*/ 74857 w 102812"/>
                <a:gd name="connsiteY20" fmla="*/ 5744 h 9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12" h="95526">
                  <a:moveTo>
                    <a:pt x="86944" y="14068"/>
                  </a:moveTo>
                  <a:lnTo>
                    <a:pt x="96621" y="13973"/>
                  </a:lnTo>
                  <a:lnTo>
                    <a:pt x="89935" y="30423"/>
                  </a:lnTo>
                  <a:lnTo>
                    <a:pt x="102813" y="44710"/>
                  </a:lnTo>
                  <a:lnTo>
                    <a:pt x="98917" y="62056"/>
                  </a:lnTo>
                  <a:lnTo>
                    <a:pt x="92630" y="63675"/>
                  </a:lnTo>
                  <a:lnTo>
                    <a:pt x="87639" y="67027"/>
                  </a:lnTo>
                  <a:lnTo>
                    <a:pt x="78953" y="75533"/>
                  </a:lnTo>
                  <a:lnTo>
                    <a:pt x="75038" y="95526"/>
                  </a:lnTo>
                  <a:lnTo>
                    <a:pt x="51406" y="81782"/>
                  </a:lnTo>
                  <a:lnTo>
                    <a:pt x="41320" y="66523"/>
                  </a:lnTo>
                  <a:lnTo>
                    <a:pt x="31147" y="58398"/>
                  </a:lnTo>
                  <a:lnTo>
                    <a:pt x="18869" y="44615"/>
                  </a:lnTo>
                  <a:lnTo>
                    <a:pt x="13078" y="33099"/>
                  </a:lnTo>
                  <a:lnTo>
                    <a:pt x="0" y="15630"/>
                  </a:lnTo>
                  <a:lnTo>
                    <a:pt x="5582" y="0"/>
                  </a:lnTo>
                  <a:lnTo>
                    <a:pt x="15173" y="8668"/>
                  </a:lnTo>
                  <a:lnTo>
                    <a:pt x="20955" y="838"/>
                  </a:lnTo>
                  <a:lnTo>
                    <a:pt x="33433" y="0"/>
                  </a:lnTo>
                  <a:lnTo>
                    <a:pt x="56398" y="6267"/>
                  </a:lnTo>
                  <a:lnTo>
                    <a:pt x="74857" y="57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3" name="Forme libre : forme 5662">
              <a:extLst>
                <a:ext uri="{FF2B5EF4-FFF2-40B4-BE49-F238E27FC236}">
                  <a16:creationId xmlns:a16="http://schemas.microsoft.com/office/drawing/2014/main" id="{58173546-DAAD-66AF-E905-F02258A682D8}"/>
                </a:ext>
              </a:extLst>
            </p:cNvPr>
            <p:cNvSpPr/>
            <p:nvPr/>
          </p:nvSpPr>
          <p:spPr>
            <a:xfrm>
              <a:off x="8173345" y="4014420"/>
              <a:ext cx="122539" cy="167420"/>
            </a:xfrm>
            <a:custGeom>
              <a:avLst/>
              <a:gdLst>
                <a:gd name="connsiteX0" fmla="*/ 122539 w 122539"/>
                <a:gd name="connsiteY0" fmla="*/ 128349 h 167420"/>
                <a:gd name="connsiteX1" fmla="*/ 121987 w 122539"/>
                <a:gd name="connsiteY1" fmla="*/ 148847 h 167420"/>
                <a:gd name="connsiteX2" fmla="*/ 112671 w 122539"/>
                <a:gd name="connsiteY2" fmla="*/ 144532 h 167420"/>
                <a:gd name="connsiteX3" fmla="*/ 114415 w 122539"/>
                <a:gd name="connsiteY3" fmla="*/ 167421 h 167420"/>
                <a:gd name="connsiteX4" fmla="*/ 106775 w 122539"/>
                <a:gd name="connsiteY4" fmla="*/ 152600 h 167420"/>
                <a:gd name="connsiteX5" fmla="*/ 105242 w 122539"/>
                <a:gd name="connsiteY5" fmla="*/ 138074 h 167420"/>
                <a:gd name="connsiteX6" fmla="*/ 100156 w 122539"/>
                <a:gd name="connsiteY6" fmla="*/ 124292 h 167420"/>
                <a:gd name="connsiteX7" fmla="*/ 89002 w 122539"/>
                <a:gd name="connsiteY7" fmla="*/ 107566 h 167420"/>
                <a:gd name="connsiteX8" fmla="*/ 64398 w 122539"/>
                <a:gd name="connsiteY8" fmla="*/ 106413 h 167420"/>
                <a:gd name="connsiteX9" fmla="*/ 66827 w 122539"/>
                <a:gd name="connsiteY9" fmla="*/ 118272 h 167420"/>
                <a:gd name="connsiteX10" fmla="*/ 58445 w 122539"/>
                <a:gd name="connsiteY10" fmla="*/ 134217 h 167420"/>
                <a:gd name="connsiteX11" fmla="*/ 47082 w 122539"/>
                <a:gd name="connsiteY11" fmla="*/ 128416 h 167420"/>
                <a:gd name="connsiteX12" fmla="*/ 43206 w 122539"/>
                <a:gd name="connsiteY12" fmla="*/ 133617 h 167420"/>
                <a:gd name="connsiteX13" fmla="*/ 35643 w 122539"/>
                <a:gd name="connsiteY13" fmla="*/ 130502 h 167420"/>
                <a:gd name="connsiteX14" fmla="*/ 25308 w 122539"/>
                <a:gd name="connsiteY14" fmla="*/ 127940 h 167420"/>
                <a:gd name="connsiteX15" fmla="*/ 21145 w 122539"/>
                <a:gd name="connsiteY15" fmla="*/ 104270 h 167420"/>
                <a:gd name="connsiteX16" fmla="*/ 11897 w 122539"/>
                <a:gd name="connsiteY16" fmla="*/ 82544 h 167420"/>
                <a:gd name="connsiteX17" fmla="*/ 16430 w 122539"/>
                <a:gd name="connsiteY17" fmla="*/ 65027 h 167420"/>
                <a:gd name="connsiteX18" fmla="*/ 0 w 122539"/>
                <a:gd name="connsiteY18" fmla="*/ 57226 h 167420"/>
                <a:gd name="connsiteX19" fmla="*/ 5925 w 122539"/>
                <a:gd name="connsiteY19" fmla="*/ 46568 h 167420"/>
                <a:gd name="connsiteX20" fmla="*/ 22622 w 122539"/>
                <a:gd name="connsiteY20" fmla="*/ 35643 h 167420"/>
                <a:gd name="connsiteX21" fmla="*/ 3343 w 122539"/>
                <a:gd name="connsiteY21" fmla="*/ 20069 h 167420"/>
                <a:gd name="connsiteX22" fmla="*/ 12773 w 122539"/>
                <a:gd name="connsiteY22" fmla="*/ 0 h 167420"/>
                <a:gd name="connsiteX23" fmla="*/ 33928 w 122539"/>
                <a:gd name="connsiteY23" fmla="*/ 12792 h 167420"/>
                <a:gd name="connsiteX24" fmla="*/ 46682 w 122539"/>
                <a:gd name="connsiteY24" fmla="*/ 14249 h 167420"/>
                <a:gd name="connsiteX25" fmla="*/ 49035 w 122539"/>
                <a:gd name="connsiteY25" fmla="*/ 34728 h 167420"/>
                <a:gd name="connsiteX26" fmla="*/ 74447 w 122539"/>
                <a:gd name="connsiteY26" fmla="*/ 38757 h 167420"/>
                <a:gd name="connsiteX27" fmla="*/ 99222 w 122539"/>
                <a:gd name="connsiteY27" fmla="*/ 38319 h 167420"/>
                <a:gd name="connsiteX28" fmla="*/ 114615 w 122539"/>
                <a:gd name="connsiteY28" fmla="*/ 43329 h 167420"/>
                <a:gd name="connsiteX29" fmla="*/ 102308 w 122539"/>
                <a:gd name="connsiteY29" fmla="*/ 68037 h 167420"/>
                <a:gd name="connsiteX30" fmla="*/ 90354 w 122539"/>
                <a:gd name="connsiteY30" fmla="*/ 69723 h 167420"/>
                <a:gd name="connsiteX31" fmla="*/ 82115 w 122539"/>
                <a:gd name="connsiteY31" fmla="*/ 86240 h 167420"/>
                <a:gd name="connsiteX32" fmla="*/ 96736 w 122539"/>
                <a:gd name="connsiteY32" fmla="*/ 101213 h 167420"/>
                <a:gd name="connsiteX33" fmla="*/ 101098 w 122539"/>
                <a:gd name="connsiteY33" fmla="*/ 82734 h 167420"/>
                <a:gd name="connsiteX34" fmla="*/ 108471 w 122539"/>
                <a:gd name="connsiteY34" fmla="*/ 82639 h 167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22539" h="167420">
                  <a:moveTo>
                    <a:pt x="122539" y="128349"/>
                  </a:moveTo>
                  <a:lnTo>
                    <a:pt x="121987" y="148847"/>
                  </a:lnTo>
                  <a:lnTo>
                    <a:pt x="112671" y="144532"/>
                  </a:lnTo>
                  <a:lnTo>
                    <a:pt x="114415" y="167421"/>
                  </a:lnTo>
                  <a:lnTo>
                    <a:pt x="106775" y="152600"/>
                  </a:lnTo>
                  <a:lnTo>
                    <a:pt x="105242" y="138074"/>
                  </a:lnTo>
                  <a:lnTo>
                    <a:pt x="100156" y="124292"/>
                  </a:lnTo>
                  <a:lnTo>
                    <a:pt x="89002" y="107566"/>
                  </a:lnTo>
                  <a:lnTo>
                    <a:pt x="64398" y="106413"/>
                  </a:lnTo>
                  <a:lnTo>
                    <a:pt x="66827" y="118272"/>
                  </a:lnTo>
                  <a:lnTo>
                    <a:pt x="58445" y="134217"/>
                  </a:lnTo>
                  <a:lnTo>
                    <a:pt x="47082" y="128416"/>
                  </a:lnTo>
                  <a:lnTo>
                    <a:pt x="43206" y="133617"/>
                  </a:lnTo>
                  <a:lnTo>
                    <a:pt x="35643" y="130502"/>
                  </a:lnTo>
                  <a:lnTo>
                    <a:pt x="25308" y="127940"/>
                  </a:lnTo>
                  <a:lnTo>
                    <a:pt x="21145" y="104270"/>
                  </a:lnTo>
                  <a:lnTo>
                    <a:pt x="11897" y="82544"/>
                  </a:lnTo>
                  <a:lnTo>
                    <a:pt x="16430" y="65027"/>
                  </a:lnTo>
                  <a:lnTo>
                    <a:pt x="0" y="57226"/>
                  </a:lnTo>
                  <a:lnTo>
                    <a:pt x="5925" y="46568"/>
                  </a:lnTo>
                  <a:lnTo>
                    <a:pt x="22622" y="35643"/>
                  </a:lnTo>
                  <a:lnTo>
                    <a:pt x="3343" y="20069"/>
                  </a:lnTo>
                  <a:lnTo>
                    <a:pt x="12773" y="0"/>
                  </a:lnTo>
                  <a:lnTo>
                    <a:pt x="33928" y="12792"/>
                  </a:lnTo>
                  <a:lnTo>
                    <a:pt x="46682" y="14249"/>
                  </a:lnTo>
                  <a:lnTo>
                    <a:pt x="49035" y="34728"/>
                  </a:lnTo>
                  <a:lnTo>
                    <a:pt x="74447" y="38757"/>
                  </a:lnTo>
                  <a:lnTo>
                    <a:pt x="99222" y="38319"/>
                  </a:lnTo>
                  <a:lnTo>
                    <a:pt x="114615" y="43329"/>
                  </a:lnTo>
                  <a:lnTo>
                    <a:pt x="102308" y="68037"/>
                  </a:lnTo>
                  <a:lnTo>
                    <a:pt x="90354" y="69723"/>
                  </a:lnTo>
                  <a:lnTo>
                    <a:pt x="82115" y="86240"/>
                  </a:lnTo>
                  <a:lnTo>
                    <a:pt x="96736" y="101213"/>
                  </a:lnTo>
                  <a:lnTo>
                    <a:pt x="101098" y="82734"/>
                  </a:lnTo>
                  <a:lnTo>
                    <a:pt x="108471" y="826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4" name="Forme libre : forme 5663">
              <a:extLst>
                <a:ext uri="{FF2B5EF4-FFF2-40B4-BE49-F238E27FC236}">
                  <a16:creationId xmlns:a16="http://schemas.microsoft.com/office/drawing/2014/main" id="{2F9759ED-A598-22B5-E0F2-2C75A76E24F9}"/>
                </a:ext>
              </a:extLst>
            </p:cNvPr>
            <p:cNvSpPr/>
            <p:nvPr/>
          </p:nvSpPr>
          <p:spPr>
            <a:xfrm>
              <a:off x="5888030" y="3141901"/>
              <a:ext cx="97288" cy="81486"/>
            </a:xfrm>
            <a:custGeom>
              <a:avLst/>
              <a:gdLst>
                <a:gd name="connsiteX0" fmla="*/ 21403 w 97288"/>
                <a:gd name="connsiteY0" fmla="*/ 5515 h 81486"/>
                <a:gd name="connsiteX1" fmla="*/ 40958 w 97288"/>
                <a:gd name="connsiteY1" fmla="*/ 8868 h 81486"/>
                <a:gd name="connsiteX2" fmla="*/ 65704 w 97288"/>
                <a:gd name="connsiteY2" fmla="*/ 0 h 81486"/>
                <a:gd name="connsiteX3" fmla="*/ 82610 w 97288"/>
                <a:gd name="connsiteY3" fmla="*/ 18631 h 81486"/>
                <a:gd name="connsiteX4" fmla="*/ 97289 w 97288"/>
                <a:gd name="connsiteY4" fmla="*/ 28499 h 81486"/>
                <a:gd name="connsiteX5" fmla="*/ 94259 w 97288"/>
                <a:gd name="connsiteY5" fmla="*/ 56769 h 81486"/>
                <a:gd name="connsiteX6" fmla="*/ 87297 w 97288"/>
                <a:gd name="connsiteY6" fmla="*/ 58341 h 81486"/>
                <a:gd name="connsiteX7" fmla="*/ 84401 w 97288"/>
                <a:gd name="connsiteY7" fmla="*/ 81486 h 81486"/>
                <a:gd name="connsiteX8" fmla="*/ 61036 w 97288"/>
                <a:gd name="connsiteY8" fmla="*/ 62694 h 81486"/>
                <a:gd name="connsiteX9" fmla="*/ 47339 w 97288"/>
                <a:gd name="connsiteY9" fmla="*/ 65913 h 81486"/>
                <a:gd name="connsiteX10" fmla="*/ 28689 w 97288"/>
                <a:gd name="connsiteY10" fmla="*/ 46320 h 81486"/>
                <a:gd name="connsiteX11" fmla="*/ 16278 w 97288"/>
                <a:gd name="connsiteY11" fmla="*/ 29480 h 81486"/>
                <a:gd name="connsiteX12" fmla="*/ 3867 w 97288"/>
                <a:gd name="connsiteY12" fmla="*/ 28794 h 81486"/>
                <a:gd name="connsiteX13" fmla="*/ 0 w 97288"/>
                <a:gd name="connsiteY13" fmla="*/ 13916 h 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288" h="81486">
                  <a:moveTo>
                    <a:pt x="21403" y="5515"/>
                  </a:moveTo>
                  <a:lnTo>
                    <a:pt x="40958" y="8868"/>
                  </a:lnTo>
                  <a:lnTo>
                    <a:pt x="65704" y="0"/>
                  </a:lnTo>
                  <a:lnTo>
                    <a:pt x="82610" y="18631"/>
                  </a:lnTo>
                  <a:lnTo>
                    <a:pt x="97289" y="28499"/>
                  </a:lnTo>
                  <a:lnTo>
                    <a:pt x="94259" y="56769"/>
                  </a:lnTo>
                  <a:lnTo>
                    <a:pt x="87297" y="58341"/>
                  </a:lnTo>
                  <a:lnTo>
                    <a:pt x="84401" y="81486"/>
                  </a:lnTo>
                  <a:lnTo>
                    <a:pt x="61036" y="62694"/>
                  </a:lnTo>
                  <a:lnTo>
                    <a:pt x="47339" y="65913"/>
                  </a:lnTo>
                  <a:lnTo>
                    <a:pt x="28689" y="46320"/>
                  </a:lnTo>
                  <a:lnTo>
                    <a:pt x="16278" y="29480"/>
                  </a:lnTo>
                  <a:lnTo>
                    <a:pt x="3867" y="28794"/>
                  </a:lnTo>
                  <a:lnTo>
                    <a:pt x="0" y="13916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5" name="Forme libre : forme 5664">
              <a:extLst>
                <a:ext uri="{FF2B5EF4-FFF2-40B4-BE49-F238E27FC236}">
                  <a16:creationId xmlns:a16="http://schemas.microsoft.com/office/drawing/2014/main" id="{41323E00-C338-2B9D-FFFC-83EEC74A681F}"/>
                </a:ext>
              </a:extLst>
            </p:cNvPr>
            <p:cNvSpPr/>
            <p:nvPr/>
          </p:nvSpPr>
          <p:spPr>
            <a:xfrm>
              <a:off x="5674794" y="4336860"/>
              <a:ext cx="204244" cy="149618"/>
            </a:xfrm>
            <a:custGeom>
              <a:avLst/>
              <a:gdLst>
                <a:gd name="connsiteX0" fmla="*/ 70590 w 204244"/>
                <a:gd name="connsiteY0" fmla="*/ 148771 h 149618"/>
                <a:gd name="connsiteX1" fmla="*/ 52311 w 204244"/>
                <a:gd name="connsiteY1" fmla="*/ 141827 h 149618"/>
                <a:gd name="connsiteX2" fmla="*/ 39796 w 204244"/>
                <a:gd name="connsiteY2" fmla="*/ 142846 h 149618"/>
                <a:gd name="connsiteX3" fmla="*/ 30461 w 204244"/>
                <a:gd name="connsiteY3" fmla="*/ 149618 h 149618"/>
                <a:gd name="connsiteX4" fmla="*/ 18450 w 204244"/>
                <a:gd name="connsiteY4" fmla="*/ 143942 h 149618"/>
                <a:gd name="connsiteX5" fmla="*/ 13783 w 204244"/>
                <a:gd name="connsiteY5" fmla="*/ 135026 h 149618"/>
                <a:gd name="connsiteX6" fmla="*/ 1772 w 204244"/>
                <a:gd name="connsiteY6" fmla="*/ 129149 h 149618"/>
                <a:gd name="connsiteX7" fmla="*/ 0 w 204244"/>
                <a:gd name="connsiteY7" fmla="*/ 113471 h 149618"/>
                <a:gd name="connsiteX8" fmla="*/ 7286 w 204244"/>
                <a:gd name="connsiteY8" fmla="*/ 102003 h 149618"/>
                <a:gd name="connsiteX9" fmla="*/ 6668 w 204244"/>
                <a:gd name="connsiteY9" fmla="*/ 92831 h 149618"/>
                <a:gd name="connsiteX10" fmla="*/ 27870 w 204244"/>
                <a:gd name="connsiteY10" fmla="*/ 70342 h 149618"/>
                <a:gd name="connsiteX11" fmla="*/ 31785 w 204244"/>
                <a:gd name="connsiteY11" fmla="*/ 51673 h 149618"/>
                <a:gd name="connsiteX12" fmla="*/ 39110 w 204244"/>
                <a:gd name="connsiteY12" fmla="*/ 45015 h 149618"/>
                <a:gd name="connsiteX13" fmla="*/ 52016 w 204244"/>
                <a:gd name="connsiteY13" fmla="*/ 48692 h 149618"/>
                <a:gd name="connsiteX14" fmla="*/ 63217 w 204244"/>
                <a:gd name="connsiteY14" fmla="*/ 43139 h 149618"/>
                <a:gd name="connsiteX15" fmla="*/ 66847 w 204244"/>
                <a:gd name="connsiteY15" fmla="*/ 36119 h 149618"/>
                <a:gd name="connsiteX16" fmla="*/ 87563 w 204244"/>
                <a:gd name="connsiteY16" fmla="*/ 23860 h 149618"/>
                <a:gd name="connsiteX17" fmla="*/ 92669 w 204244"/>
                <a:gd name="connsiteY17" fmla="*/ 15297 h 149618"/>
                <a:gd name="connsiteX18" fmla="*/ 117624 w 204244"/>
                <a:gd name="connsiteY18" fmla="*/ 3905 h 149618"/>
                <a:gd name="connsiteX19" fmla="*/ 132331 w 204244"/>
                <a:gd name="connsiteY19" fmla="*/ 0 h 149618"/>
                <a:gd name="connsiteX20" fmla="*/ 138989 w 204244"/>
                <a:gd name="connsiteY20" fmla="*/ 5267 h 149618"/>
                <a:gd name="connsiteX21" fmla="*/ 156115 w 204244"/>
                <a:gd name="connsiteY21" fmla="*/ 5143 h 149618"/>
                <a:gd name="connsiteX22" fmla="*/ 154000 w 204244"/>
                <a:gd name="connsiteY22" fmla="*/ 18440 h 149618"/>
                <a:gd name="connsiteX23" fmla="*/ 157582 w 204244"/>
                <a:gd name="connsiteY23" fmla="*/ 30909 h 149618"/>
                <a:gd name="connsiteX24" fmla="*/ 172621 w 204244"/>
                <a:gd name="connsiteY24" fmla="*/ 48739 h 149618"/>
                <a:gd name="connsiteX25" fmla="*/ 173460 w 204244"/>
                <a:gd name="connsiteY25" fmla="*/ 61931 h 149618"/>
                <a:gd name="connsiteX26" fmla="*/ 204245 w 204244"/>
                <a:gd name="connsiteY26" fmla="*/ 68104 h 149618"/>
                <a:gd name="connsiteX27" fmla="*/ 203645 w 204244"/>
                <a:gd name="connsiteY27" fmla="*/ 86696 h 149618"/>
                <a:gd name="connsiteX28" fmla="*/ 197806 w 204244"/>
                <a:gd name="connsiteY28" fmla="*/ 94802 h 149618"/>
                <a:gd name="connsiteX29" fmla="*/ 184756 w 204244"/>
                <a:gd name="connsiteY29" fmla="*/ 97336 h 149618"/>
                <a:gd name="connsiteX30" fmla="*/ 179308 w 204244"/>
                <a:gd name="connsiteY30" fmla="*/ 109166 h 149618"/>
                <a:gd name="connsiteX31" fmla="*/ 170126 w 204244"/>
                <a:gd name="connsiteY31" fmla="*/ 112223 h 149618"/>
                <a:gd name="connsiteX32" fmla="*/ 146742 w 204244"/>
                <a:gd name="connsiteY32" fmla="*/ 111652 h 149618"/>
                <a:gd name="connsiteX33" fmla="*/ 134388 w 204244"/>
                <a:gd name="connsiteY33" fmla="*/ 109499 h 149618"/>
                <a:gd name="connsiteX34" fmla="*/ 125768 w 204244"/>
                <a:gd name="connsiteY34" fmla="*/ 113862 h 149618"/>
                <a:gd name="connsiteX35" fmla="*/ 113967 w 204244"/>
                <a:gd name="connsiteY35" fmla="*/ 111890 h 149618"/>
                <a:gd name="connsiteX36" fmla="*/ 67570 w 204244"/>
                <a:gd name="connsiteY36" fmla="*/ 113166 h 149618"/>
                <a:gd name="connsiteX37" fmla="*/ 66942 w 204244"/>
                <a:gd name="connsiteY37" fmla="*/ 128483 h 14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04244" h="149618">
                  <a:moveTo>
                    <a:pt x="70590" y="148771"/>
                  </a:moveTo>
                  <a:lnTo>
                    <a:pt x="52311" y="141827"/>
                  </a:lnTo>
                  <a:lnTo>
                    <a:pt x="39796" y="142846"/>
                  </a:lnTo>
                  <a:lnTo>
                    <a:pt x="30461" y="149618"/>
                  </a:lnTo>
                  <a:lnTo>
                    <a:pt x="18450" y="143942"/>
                  </a:lnTo>
                  <a:lnTo>
                    <a:pt x="13783" y="135026"/>
                  </a:lnTo>
                  <a:lnTo>
                    <a:pt x="1772" y="129149"/>
                  </a:lnTo>
                  <a:lnTo>
                    <a:pt x="0" y="113471"/>
                  </a:lnTo>
                  <a:lnTo>
                    <a:pt x="7286" y="102003"/>
                  </a:lnTo>
                  <a:lnTo>
                    <a:pt x="6668" y="92831"/>
                  </a:lnTo>
                  <a:lnTo>
                    <a:pt x="27870" y="70342"/>
                  </a:lnTo>
                  <a:lnTo>
                    <a:pt x="31785" y="51673"/>
                  </a:lnTo>
                  <a:lnTo>
                    <a:pt x="39110" y="45015"/>
                  </a:lnTo>
                  <a:lnTo>
                    <a:pt x="52016" y="48692"/>
                  </a:lnTo>
                  <a:lnTo>
                    <a:pt x="63217" y="43139"/>
                  </a:lnTo>
                  <a:lnTo>
                    <a:pt x="66847" y="36119"/>
                  </a:lnTo>
                  <a:lnTo>
                    <a:pt x="87563" y="23860"/>
                  </a:lnTo>
                  <a:lnTo>
                    <a:pt x="92669" y="15297"/>
                  </a:lnTo>
                  <a:lnTo>
                    <a:pt x="117624" y="3905"/>
                  </a:lnTo>
                  <a:lnTo>
                    <a:pt x="132331" y="0"/>
                  </a:lnTo>
                  <a:lnTo>
                    <a:pt x="138989" y="5267"/>
                  </a:lnTo>
                  <a:lnTo>
                    <a:pt x="156115" y="5143"/>
                  </a:lnTo>
                  <a:lnTo>
                    <a:pt x="154000" y="18440"/>
                  </a:lnTo>
                  <a:lnTo>
                    <a:pt x="157582" y="30909"/>
                  </a:lnTo>
                  <a:lnTo>
                    <a:pt x="172621" y="48739"/>
                  </a:lnTo>
                  <a:lnTo>
                    <a:pt x="173460" y="61931"/>
                  </a:lnTo>
                  <a:lnTo>
                    <a:pt x="204245" y="68104"/>
                  </a:lnTo>
                  <a:lnTo>
                    <a:pt x="203645" y="86696"/>
                  </a:lnTo>
                  <a:lnTo>
                    <a:pt x="197806" y="94802"/>
                  </a:lnTo>
                  <a:lnTo>
                    <a:pt x="184756" y="97336"/>
                  </a:lnTo>
                  <a:lnTo>
                    <a:pt x="179308" y="109166"/>
                  </a:lnTo>
                  <a:lnTo>
                    <a:pt x="170126" y="112223"/>
                  </a:lnTo>
                  <a:lnTo>
                    <a:pt x="146742" y="111652"/>
                  </a:lnTo>
                  <a:lnTo>
                    <a:pt x="134388" y="109499"/>
                  </a:lnTo>
                  <a:lnTo>
                    <a:pt x="125768" y="113862"/>
                  </a:lnTo>
                  <a:lnTo>
                    <a:pt x="113967" y="111890"/>
                  </a:lnTo>
                  <a:lnTo>
                    <a:pt x="67570" y="113166"/>
                  </a:lnTo>
                  <a:lnTo>
                    <a:pt x="66942" y="1284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6" name="Forme libre : forme 5665">
              <a:extLst>
                <a:ext uri="{FF2B5EF4-FFF2-40B4-BE49-F238E27FC236}">
                  <a16:creationId xmlns:a16="http://schemas.microsoft.com/office/drawing/2014/main" id="{CB45BE02-ED34-0C54-0955-53701EA5192B}"/>
                </a:ext>
              </a:extLst>
            </p:cNvPr>
            <p:cNvSpPr/>
            <p:nvPr/>
          </p:nvSpPr>
          <p:spPr>
            <a:xfrm>
              <a:off x="6418611" y="3429852"/>
              <a:ext cx="164982" cy="108737"/>
            </a:xfrm>
            <a:custGeom>
              <a:avLst/>
              <a:gdLst>
                <a:gd name="connsiteX0" fmla="*/ 7382 w 164982"/>
                <a:gd name="connsiteY0" fmla="*/ 0 h 108737"/>
                <a:gd name="connsiteX1" fmla="*/ 15068 w 164982"/>
                <a:gd name="connsiteY1" fmla="*/ 15221 h 108737"/>
                <a:gd name="connsiteX2" fmla="*/ 25412 w 164982"/>
                <a:gd name="connsiteY2" fmla="*/ 12516 h 108737"/>
                <a:gd name="connsiteX3" fmla="*/ 45939 w 164982"/>
                <a:gd name="connsiteY3" fmla="*/ 18269 h 108737"/>
                <a:gd name="connsiteX4" fmla="*/ 85154 w 164982"/>
                <a:gd name="connsiteY4" fmla="*/ 20212 h 108737"/>
                <a:gd name="connsiteX5" fmla="*/ 98403 w 164982"/>
                <a:gd name="connsiteY5" fmla="*/ 10801 h 108737"/>
                <a:gd name="connsiteX6" fmla="*/ 129845 w 164982"/>
                <a:gd name="connsiteY6" fmla="*/ 2191 h 108737"/>
                <a:gd name="connsiteX7" fmla="*/ 149276 w 164982"/>
                <a:gd name="connsiteY7" fmla="*/ 15640 h 108737"/>
                <a:gd name="connsiteX8" fmla="*/ 164982 w 164982"/>
                <a:gd name="connsiteY8" fmla="*/ 19507 h 108737"/>
                <a:gd name="connsiteX9" fmla="*/ 151123 w 164982"/>
                <a:gd name="connsiteY9" fmla="*/ 34709 h 108737"/>
                <a:gd name="connsiteX10" fmla="*/ 141370 w 164982"/>
                <a:gd name="connsiteY10" fmla="*/ 60703 h 108737"/>
                <a:gd name="connsiteX11" fmla="*/ 149980 w 164982"/>
                <a:gd name="connsiteY11" fmla="*/ 81229 h 108737"/>
                <a:gd name="connsiteX12" fmla="*/ 126987 w 164982"/>
                <a:gd name="connsiteY12" fmla="*/ 76419 h 108737"/>
                <a:gd name="connsiteX13" fmla="*/ 99784 w 164982"/>
                <a:gd name="connsiteY13" fmla="*/ 87687 h 108737"/>
                <a:gd name="connsiteX14" fmla="*/ 99498 w 164982"/>
                <a:gd name="connsiteY14" fmla="*/ 105394 h 108737"/>
                <a:gd name="connsiteX15" fmla="*/ 75219 w 164982"/>
                <a:gd name="connsiteY15" fmla="*/ 108737 h 108737"/>
                <a:gd name="connsiteX16" fmla="*/ 56407 w 164982"/>
                <a:gd name="connsiteY16" fmla="*/ 96345 h 108737"/>
                <a:gd name="connsiteX17" fmla="*/ 35023 w 164982"/>
                <a:gd name="connsiteY17" fmla="*/ 106099 h 108737"/>
                <a:gd name="connsiteX18" fmla="*/ 15268 w 164982"/>
                <a:gd name="connsiteY18" fmla="*/ 105070 h 108737"/>
                <a:gd name="connsiteX19" fmla="*/ 13373 w 164982"/>
                <a:gd name="connsiteY19" fmla="*/ 81515 h 108737"/>
                <a:gd name="connsiteX20" fmla="*/ 0 w 164982"/>
                <a:gd name="connsiteY20" fmla="*/ 69999 h 108737"/>
                <a:gd name="connsiteX21" fmla="*/ 4391 w 164982"/>
                <a:gd name="connsiteY21" fmla="*/ 64913 h 108737"/>
                <a:gd name="connsiteX22" fmla="*/ 1495 w 164982"/>
                <a:gd name="connsiteY22" fmla="*/ 60617 h 108737"/>
                <a:gd name="connsiteX23" fmla="*/ 5982 w 164982"/>
                <a:gd name="connsiteY23" fmla="*/ 49092 h 108737"/>
                <a:gd name="connsiteX24" fmla="*/ 16164 w 164982"/>
                <a:gd name="connsiteY24" fmla="*/ 37709 h 108737"/>
                <a:gd name="connsiteX25" fmla="*/ 3191 w 164982"/>
                <a:gd name="connsiteY25" fmla="*/ 21888 h 108737"/>
                <a:gd name="connsiteX26" fmla="*/ 791 w 164982"/>
                <a:gd name="connsiteY26" fmla="*/ 8411 h 10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4982" h="108737">
                  <a:moveTo>
                    <a:pt x="7382" y="0"/>
                  </a:moveTo>
                  <a:lnTo>
                    <a:pt x="15068" y="15221"/>
                  </a:lnTo>
                  <a:lnTo>
                    <a:pt x="25412" y="12516"/>
                  </a:lnTo>
                  <a:lnTo>
                    <a:pt x="45939" y="18269"/>
                  </a:lnTo>
                  <a:lnTo>
                    <a:pt x="85154" y="20212"/>
                  </a:lnTo>
                  <a:lnTo>
                    <a:pt x="98403" y="10801"/>
                  </a:lnTo>
                  <a:lnTo>
                    <a:pt x="129845" y="2191"/>
                  </a:lnTo>
                  <a:lnTo>
                    <a:pt x="149276" y="15640"/>
                  </a:lnTo>
                  <a:lnTo>
                    <a:pt x="164982" y="19507"/>
                  </a:lnTo>
                  <a:lnTo>
                    <a:pt x="151123" y="34709"/>
                  </a:lnTo>
                  <a:lnTo>
                    <a:pt x="141370" y="60703"/>
                  </a:lnTo>
                  <a:lnTo>
                    <a:pt x="149980" y="81229"/>
                  </a:lnTo>
                  <a:lnTo>
                    <a:pt x="126987" y="76419"/>
                  </a:lnTo>
                  <a:lnTo>
                    <a:pt x="99784" y="87687"/>
                  </a:lnTo>
                  <a:lnTo>
                    <a:pt x="99498" y="105394"/>
                  </a:lnTo>
                  <a:lnTo>
                    <a:pt x="75219" y="108737"/>
                  </a:lnTo>
                  <a:lnTo>
                    <a:pt x="56407" y="96345"/>
                  </a:lnTo>
                  <a:lnTo>
                    <a:pt x="35023" y="106099"/>
                  </a:lnTo>
                  <a:lnTo>
                    <a:pt x="15268" y="105070"/>
                  </a:lnTo>
                  <a:lnTo>
                    <a:pt x="13373" y="81515"/>
                  </a:lnTo>
                  <a:lnTo>
                    <a:pt x="0" y="69999"/>
                  </a:lnTo>
                  <a:lnTo>
                    <a:pt x="4391" y="64913"/>
                  </a:lnTo>
                  <a:lnTo>
                    <a:pt x="1495" y="60617"/>
                  </a:lnTo>
                  <a:lnTo>
                    <a:pt x="5982" y="49092"/>
                  </a:lnTo>
                  <a:lnTo>
                    <a:pt x="16164" y="37709"/>
                  </a:lnTo>
                  <a:lnTo>
                    <a:pt x="3191" y="21888"/>
                  </a:lnTo>
                  <a:lnTo>
                    <a:pt x="791" y="8411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7" name="Forme libre : forme 5666">
              <a:extLst>
                <a:ext uri="{FF2B5EF4-FFF2-40B4-BE49-F238E27FC236}">
                  <a16:creationId xmlns:a16="http://schemas.microsoft.com/office/drawing/2014/main" id="{9EBDE2C8-4C0A-1032-58C8-5A90BA237843}"/>
                </a:ext>
              </a:extLst>
            </p:cNvPr>
            <p:cNvSpPr/>
            <p:nvPr/>
          </p:nvSpPr>
          <p:spPr>
            <a:xfrm>
              <a:off x="6596062" y="4804976"/>
              <a:ext cx="46129" cy="57178"/>
            </a:xfrm>
            <a:custGeom>
              <a:avLst/>
              <a:gdLst>
                <a:gd name="connsiteX0" fmla="*/ 8411 w 46129"/>
                <a:gd name="connsiteY0" fmla="*/ 57178 h 57178"/>
                <a:gd name="connsiteX1" fmla="*/ 6715 w 46129"/>
                <a:gd name="connsiteY1" fmla="*/ 25108 h 57178"/>
                <a:gd name="connsiteX2" fmla="*/ 0 w 46129"/>
                <a:gd name="connsiteY2" fmla="*/ 13030 h 57178"/>
                <a:gd name="connsiteX3" fmla="*/ 16211 w 46129"/>
                <a:gd name="connsiteY3" fmla="*/ 15116 h 57178"/>
                <a:gd name="connsiteX4" fmla="*/ 24393 w 46129"/>
                <a:gd name="connsiteY4" fmla="*/ 0 h 57178"/>
                <a:gd name="connsiteX5" fmla="*/ 38585 w 46129"/>
                <a:gd name="connsiteY5" fmla="*/ 1733 h 57178"/>
                <a:gd name="connsiteX6" fmla="*/ 40129 w 46129"/>
                <a:gd name="connsiteY6" fmla="*/ 12192 h 57178"/>
                <a:gd name="connsiteX7" fmla="*/ 45882 w 46129"/>
                <a:gd name="connsiteY7" fmla="*/ 18212 h 57178"/>
                <a:gd name="connsiteX8" fmla="*/ 46130 w 46129"/>
                <a:gd name="connsiteY8" fmla="*/ 26851 h 57178"/>
                <a:gd name="connsiteX9" fmla="*/ 39538 w 46129"/>
                <a:gd name="connsiteY9" fmla="*/ 32413 h 57178"/>
                <a:gd name="connsiteX10" fmla="*/ 29146 w 46129"/>
                <a:gd name="connsiteY10" fmla="*/ 46272 h 57178"/>
                <a:gd name="connsiteX11" fmla="*/ 19450 w 46129"/>
                <a:gd name="connsiteY11" fmla="*/ 55912 h 57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129" h="57178">
                  <a:moveTo>
                    <a:pt x="8411" y="57178"/>
                  </a:moveTo>
                  <a:lnTo>
                    <a:pt x="6715" y="25108"/>
                  </a:lnTo>
                  <a:lnTo>
                    <a:pt x="0" y="13030"/>
                  </a:lnTo>
                  <a:lnTo>
                    <a:pt x="16211" y="15116"/>
                  </a:lnTo>
                  <a:lnTo>
                    <a:pt x="24393" y="0"/>
                  </a:lnTo>
                  <a:lnTo>
                    <a:pt x="38585" y="1733"/>
                  </a:lnTo>
                  <a:lnTo>
                    <a:pt x="40129" y="12192"/>
                  </a:lnTo>
                  <a:lnTo>
                    <a:pt x="45882" y="18212"/>
                  </a:lnTo>
                  <a:lnTo>
                    <a:pt x="46130" y="26851"/>
                  </a:lnTo>
                  <a:lnTo>
                    <a:pt x="39538" y="32413"/>
                  </a:lnTo>
                  <a:lnTo>
                    <a:pt x="29146" y="46272"/>
                  </a:lnTo>
                  <a:lnTo>
                    <a:pt x="19450" y="559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8" name="Forme libre : forme 5667">
              <a:extLst>
                <a:ext uri="{FF2B5EF4-FFF2-40B4-BE49-F238E27FC236}">
                  <a16:creationId xmlns:a16="http://schemas.microsoft.com/office/drawing/2014/main" id="{6194BE1A-E923-088B-7040-889C6A1C8757}"/>
                </a:ext>
              </a:extLst>
            </p:cNvPr>
            <p:cNvSpPr/>
            <p:nvPr/>
          </p:nvSpPr>
          <p:spPr>
            <a:xfrm>
              <a:off x="5841520" y="4415536"/>
              <a:ext cx="80781" cy="163868"/>
            </a:xfrm>
            <a:custGeom>
              <a:avLst/>
              <a:gdLst>
                <a:gd name="connsiteX0" fmla="*/ 51263 w 80781"/>
                <a:gd name="connsiteY0" fmla="*/ 160744 h 163868"/>
                <a:gd name="connsiteX1" fmla="*/ 29194 w 80781"/>
                <a:gd name="connsiteY1" fmla="*/ 163868 h 163868"/>
                <a:gd name="connsiteX2" fmla="*/ 22612 w 80781"/>
                <a:gd name="connsiteY2" fmla="*/ 145447 h 163868"/>
                <a:gd name="connsiteX3" fmla="*/ 23832 w 80781"/>
                <a:gd name="connsiteY3" fmla="*/ 83915 h 163868"/>
                <a:gd name="connsiteX4" fmla="*/ 18450 w 80781"/>
                <a:gd name="connsiteY4" fmla="*/ 78372 h 163868"/>
                <a:gd name="connsiteX5" fmla="*/ 17440 w 80781"/>
                <a:gd name="connsiteY5" fmla="*/ 65170 h 163868"/>
                <a:gd name="connsiteX6" fmla="*/ 8163 w 80781"/>
                <a:gd name="connsiteY6" fmla="*/ 55731 h 163868"/>
                <a:gd name="connsiteX7" fmla="*/ 0 w 80781"/>
                <a:gd name="connsiteY7" fmla="*/ 47768 h 163868"/>
                <a:gd name="connsiteX8" fmla="*/ 3400 w 80781"/>
                <a:gd name="connsiteY8" fmla="*/ 33547 h 163868"/>
                <a:gd name="connsiteX9" fmla="*/ 12583 w 80781"/>
                <a:gd name="connsiteY9" fmla="*/ 30490 h 163868"/>
                <a:gd name="connsiteX10" fmla="*/ 18031 w 80781"/>
                <a:gd name="connsiteY10" fmla="*/ 18660 h 163868"/>
                <a:gd name="connsiteX11" fmla="*/ 31080 w 80781"/>
                <a:gd name="connsiteY11" fmla="*/ 16126 h 163868"/>
                <a:gd name="connsiteX12" fmla="*/ 36919 w 80781"/>
                <a:gd name="connsiteY12" fmla="*/ 8020 h 163868"/>
                <a:gd name="connsiteX13" fmla="*/ 45882 w 80781"/>
                <a:gd name="connsiteY13" fmla="*/ 76 h 163868"/>
                <a:gd name="connsiteX14" fmla="*/ 55454 w 80781"/>
                <a:gd name="connsiteY14" fmla="*/ 0 h 163868"/>
                <a:gd name="connsiteX15" fmla="*/ 75819 w 80781"/>
                <a:gd name="connsiteY15" fmla="*/ 15612 h 163868"/>
                <a:gd name="connsiteX16" fmla="*/ 74781 w 80781"/>
                <a:gd name="connsiteY16" fmla="*/ 24603 h 163868"/>
                <a:gd name="connsiteX17" fmla="*/ 80781 w 80781"/>
                <a:gd name="connsiteY17" fmla="*/ 40643 h 163868"/>
                <a:gd name="connsiteX18" fmla="*/ 75524 w 80781"/>
                <a:gd name="connsiteY18" fmla="*/ 51511 h 163868"/>
                <a:gd name="connsiteX19" fmla="*/ 78343 w 80781"/>
                <a:gd name="connsiteY19" fmla="*/ 58760 h 163868"/>
                <a:gd name="connsiteX20" fmla="*/ 65380 w 80781"/>
                <a:gd name="connsiteY20" fmla="*/ 75429 h 163868"/>
                <a:gd name="connsiteX21" fmla="*/ 57150 w 80781"/>
                <a:gd name="connsiteY21" fmla="*/ 83668 h 163868"/>
                <a:gd name="connsiteX22" fmla="*/ 52121 w 80781"/>
                <a:gd name="connsiteY22" fmla="*/ 100603 h 163868"/>
                <a:gd name="connsiteX23" fmla="*/ 52797 w 80781"/>
                <a:gd name="connsiteY23" fmla="*/ 117662 h 16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0781" h="163868">
                  <a:moveTo>
                    <a:pt x="51263" y="160744"/>
                  </a:moveTo>
                  <a:lnTo>
                    <a:pt x="29194" y="163868"/>
                  </a:lnTo>
                  <a:lnTo>
                    <a:pt x="22612" y="145447"/>
                  </a:lnTo>
                  <a:lnTo>
                    <a:pt x="23832" y="83915"/>
                  </a:lnTo>
                  <a:lnTo>
                    <a:pt x="18450" y="78372"/>
                  </a:lnTo>
                  <a:lnTo>
                    <a:pt x="17440" y="65170"/>
                  </a:lnTo>
                  <a:lnTo>
                    <a:pt x="8163" y="55731"/>
                  </a:lnTo>
                  <a:lnTo>
                    <a:pt x="0" y="47768"/>
                  </a:lnTo>
                  <a:lnTo>
                    <a:pt x="3400" y="33547"/>
                  </a:lnTo>
                  <a:lnTo>
                    <a:pt x="12583" y="30490"/>
                  </a:lnTo>
                  <a:lnTo>
                    <a:pt x="18031" y="18660"/>
                  </a:lnTo>
                  <a:lnTo>
                    <a:pt x="31080" y="16126"/>
                  </a:lnTo>
                  <a:lnTo>
                    <a:pt x="36919" y="8020"/>
                  </a:lnTo>
                  <a:lnTo>
                    <a:pt x="45882" y="76"/>
                  </a:lnTo>
                  <a:lnTo>
                    <a:pt x="55454" y="0"/>
                  </a:lnTo>
                  <a:lnTo>
                    <a:pt x="75819" y="15612"/>
                  </a:lnTo>
                  <a:lnTo>
                    <a:pt x="74781" y="24603"/>
                  </a:lnTo>
                  <a:lnTo>
                    <a:pt x="80781" y="40643"/>
                  </a:lnTo>
                  <a:lnTo>
                    <a:pt x="75524" y="51511"/>
                  </a:lnTo>
                  <a:lnTo>
                    <a:pt x="78343" y="58760"/>
                  </a:lnTo>
                  <a:lnTo>
                    <a:pt x="65380" y="75429"/>
                  </a:lnTo>
                  <a:lnTo>
                    <a:pt x="57150" y="83668"/>
                  </a:lnTo>
                  <a:lnTo>
                    <a:pt x="52121" y="100603"/>
                  </a:lnTo>
                  <a:lnTo>
                    <a:pt x="52797" y="1176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9" name="Forme libre : forme 5668">
              <a:extLst>
                <a:ext uri="{FF2B5EF4-FFF2-40B4-BE49-F238E27FC236}">
                  <a16:creationId xmlns:a16="http://schemas.microsoft.com/office/drawing/2014/main" id="{12A81347-8C34-864C-46B7-2345DD5C10EB}"/>
                </a:ext>
              </a:extLst>
            </p:cNvPr>
            <p:cNvSpPr/>
            <p:nvPr/>
          </p:nvSpPr>
          <p:spPr>
            <a:xfrm>
              <a:off x="8870908" y="4597912"/>
              <a:ext cx="33299" cy="38338"/>
            </a:xfrm>
            <a:custGeom>
              <a:avLst/>
              <a:gdLst>
                <a:gd name="connsiteX0" fmla="*/ 0 w 33299"/>
                <a:gd name="connsiteY0" fmla="*/ 24555 h 38338"/>
                <a:gd name="connsiteX1" fmla="*/ 10573 w 33299"/>
                <a:gd name="connsiteY1" fmla="*/ 14592 h 38338"/>
                <a:gd name="connsiteX2" fmla="*/ 33300 w 33299"/>
                <a:gd name="connsiteY2" fmla="*/ 0 h 38338"/>
                <a:gd name="connsiteX3" fmla="*/ 32099 w 33299"/>
                <a:gd name="connsiteY3" fmla="*/ 13125 h 38338"/>
                <a:gd name="connsiteX4" fmla="*/ 30537 w 33299"/>
                <a:gd name="connsiteY4" fmla="*/ 30128 h 38338"/>
                <a:gd name="connsiteX5" fmla="*/ 17774 w 33299"/>
                <a:gd name="connsiteY5" fmla="*/ 29280 h 38338"/>
                <a:gd name="connsiteX6" fmla="*/ 12164 w 33299"/>
                <a:gd name="connsiteY6" fmla="*/ 38338 h 38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99" h="38338">
                  <a:moveTo>
                    <a:pt x="0" y="24555"/>
                  </a:moveTo>
                  <a:lnTo>
                    <a:pt x="10573" y="14592"/>
                  </a:lnTo>
                  <a:lnTo>
                    <a:pt x="33300" y="0"/>
                  </a:lnTo>
                  <a:lnTo>
                    <a:pt x="32099" y="13125"/>
                  </a:lnTo>
                  <a:lnTo>
                    <a:pt x="30537" y="30128"/>
                  </a:lnTo>
                  <a:lnTo>
                    <a:pt x="17774" y="29280"/>
                  </a:lnTo>
                  <a:lnTo>
                    <a:pt x="12164" y="3833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0" name="Forme libre : forme 5669">
              <a:extLst>
                <a:ext uri="{FF2B5EF4-FFF2-40B4-BE49-F238E27FC236}">
                  <a16:creationId xmlns:a16="http://schemas.microsoft.com/office/drawing/2014/main" id="{A0CD6C62-A750-58FF-A04D-EF7CBCBFDC14}"/>
                </a:ext>
              </a:extLst>
            </p:cNvPr>
            <p:cNvSpPr/>
            <p:nvPr/>
          </p:nvSpPr>
          <p:spPr>
            <a:xfrm>
              <a:off x="3962371" y="5002905"/>
              <a:ext cx="322935" cy="363531"/>
            </a:xfrm>
            <a:custGeom>
              <a:avLst/>
              <a:gdLst>
                <a:gd name="connsiteX0" fmla="*/ 180108 w 322935"/>
                <a:gd name="connsiteY0" fmla="*/ 339452 h 363531"/>
                <a:gd name="connsiteX1" fmla="*/ 149647 w 322935"/>
                <a:gd name="connsiteY1" fmla="*/ 338271 h 363531"/>
                <a:gd name="connsiteX2" fmla="*/ 139237 w 322935"/>
                <a:gd name="connsiteY2" fmla="*/ 361369 h 363531"/>
                <a:gd name="connsiteX3" fmla="*/ 123530 w 322935"/>
                <a:gd name="connsiteY3" fmla="*/ 340623 h 363531"/>
                <a:gd name="connsiteX4" fmla="*/ 88583 w 322935"/>
                <a:gd name="connsiteY4" fmla="*/ 333651 h 363531"/>
                <a:gd name="connsiteX5" fmla="*/ 66332 w 322935"/>
                <a:gd name="connsiteY5" fmla="*/ 359578 h 363531"/>
                <a:gd name="connsiteX6" fmla="*/ 47063 w 322935"/>
                <a:gd name="connsiteY6" fmla="*/ 363531 h 363531"/>
                <a:gd name="connsiteX7" fmla="*/ 36605 w 322935"/>
                <a:gd name="connsiteY7" fmla="*/ 324002 h 363531"/>
                <a:gd name="connsiteX8" fmla="*/ 22250 w 322935"/>
                <a:gd name="connsiteY8" fmla="*/ 292112 h 363531"/>
                <a:gd name="connsiteX9" fmla="*/ 30661 w 322935"/>
                <a:gd name="connsiteY9" fmla="*/ 264795 h 363531"/>
                <a:gd name="connsiteX10" fmla="*/ 16650 w 322935"/>
                <a:gd name="connsiteY10" fmla="*/ 252889 h 363531"/>
                <a:gd name="connsiteX11" fmla="*/ 13088 w 322935"/>
                <a:gd name="connsiteY11" fmla="*/ 232677 h 363531"/>
                <a:gd name="connsiteX12" fmla="*/ 0 w 322935"/>
                <a:gd name="connsiteY12" fmla="*/ 213703 h 363531"/>
                <a:gd name="connsiteX13" fmla="*/ 16840 w 322935"/>
                <a:gd name="connsiteY13" fmla="*/ 183737 h 363531"/>
                <a:gd name="connsiteX14" fmla="*/ 5353 w 322935"/>
                <a:gd name="connsiteY14" fmla="*/ 160525 h 363531"/>
                <a:gd name="connsiteX15" fmla="*/ 11478 w 322935"/>
                <a:gd name="connsiteY15" fmla="*/ 151266 h 363531"/>
                <a:gd name="connsiteX16" fmla="*/ 6696 w 322935"/>
                <a:gd name="connsiteY16" fmla="*/ 141075 h 363531"/>
                <a:gd name="connsiteX17" fmla="*/ 17136 w 322935"/>
                <a:gd name="connsiteY17" fmla="*/ 127359 h 363531"/>
                <a:gd name="connsiteX18" fmla="*/ 17650 w 322935"/>
                <a:gd name="connsiteY18" fmla="*/ 104089 h 363531"/>
                <a:gd name="connsiteX19" fmla="*/ 18974 w 322935"/>
                <a:gd name="connsiteY19" fmla="*/ 84925 h 363531"/>
                <a:gd name="connsiteX20" fmla="*/ 24708 w 322935"/>
                <a:gd name="connsiteY20" fmla="*/ 75714 h 363531"/>
                <a:gd name="connsiteX21" fmla="*/ 1619 w 322935"/>
                <a:gd name="connsiteY21" fmla="*/ 32090 h 363531"/>
                <a:gd name="connsiteX22" fmla="*/ 21479 w 322935"/>
                <a:gd name="connsiteY22" fmla="*/ 34376 h 363531"/>
                <a:gd name="connsiteX23" fmla="*/ 35233 w 322935"/>
                <a:gd name="connsiteY23" fmla="*/ 33785 h 363531"/>
                <a:gd name="connsiteX24" fmla="*/ 41186 w 322935"/>
                <a:gd name="connsiteY24" fmla="*/ 25613 h 363531"/>
                <a:gd name="connsiteX25" fmla="*/ 64541 w 322935"/>
                <a:gd name="connsiteY25" fmla="*/ 14678 h 363531"/>
                <a:gd name="connsiteX26" fmla="*/ 78610 w 322935"/>
                <a:gd name="connsiteY26" fmla="*/ 4553 h 363531"/>
                <a:gd name="connsiteX27" fmla="*/ 113557 w 322935"/>
                <a:gd name="connsiteY27" fmla="*/ 0 h 363531"/>
                <a:gd name="connsiteX28" fmla="*/ 110709 w 322935"/>
                <a:gd name="connsiteY28" fmla="*/ 20193 h 363531"/>
                <a:gd name="connsiteX29" fmla="*/ 113995 w 322935"/>
                <a:gd name="connsiteY29" fmla="*/ 30575 h 363531"/>
                <a:gd name="connsiteX30" fmla="*/ 111852 w 322935"/>
                <a:gd name="connsiteY30" fmla="*/ 48711 h 363531"/>
                <a:gd name="connsiteX31" fmla="*/ 140846 w 322935"/>
                <a:gd name="connsiteY31" fmla="*/ 73019 h 363531"/>
                <a:gd name="connsiteX32" fmla="*/ 170755 w 322935"/>
                <a:gd name="connsiteY32" fmla="*/ 77505 h 363531"/>
                <a:gd name="connsiteX33" fmla="*/ 181270 w 322935"/>
                <a:gd name="connsiteY33" fmla="*/ 87668 h 363531"/>
                <a:gd name="connsiteX34" fmla="*/ 199320 w 322935"/>
                <a:gd name="connsiteY34" fmla="*/ 93069 h 363531"/>
                <a:gd name="connsiteX35" fmla="*/ 210369 w 322935"/>
                <a:gd name="connsiteY35" fmla="*/ 100994 h 363531"/>
                <a:gd name="connsiteX36" fmla="*/ 227171 w 322935"/>
                <a:gd name="connsiteY36" fmla="*/ 100717 h 363531"/>
                <a:gd name="connsiteX37" fmla="*/ 242688 w 322935"/>
                <a:gd name="connsiteY37" fmla="*/ 108813 h 363531"/>
                <a:gd name="connsiteX38" fmla="*/ 243859 w 322935"/>
                <a:gd name="connsiteY38" fmla="*/ 124635 h 363531"/>
                <a:gd name="connsiteX39" fmla="*/ 249069 w 322935"/>
                <a:gd name="connsiteY39" fmla="*/ 132636 h 363531"/>
                <a:gd name="connsiteX40" fmla="*/ 249412 w 322935"/>
                <a:gd name="connsiteY40" fmla="*/ 144475 h 363531"/>
                <a:gd name="connsiteX41" fmla="*/ 241630 w 322935"/>
                <a:gd name="connsiteY41" fmla="*/ 144932 h 363531"/>
                <a:gd name="connsiteX42" fmla="*/ 251898 w 322935"/>
                <a:gd name="connsiteY42" fmla="*/ 177032 h 363531"/>
                <a:gd name="connsiteX43" fmla="*/ 303095 w 322935"/>
                <a:gd name="connsiteY43" fmla="*/ 178175 h 363531"/>
                <a:gd name="connsiteX44" fmla="*/ 299180 w 322935"/>
                <a:gd name="connsiteY44" fmla="*/ 194167 h 363531"/>
                <a:gd name="connsiteX45" fmla="*/ 302038 w 322935"/>
                <a:gd name="connsiteY45" fmla="*/ 205131 h 363531"/>
                <a:gd name="connsiteX46" fmla="*/ 316630 w 322935"/>
                <a:gd name="connsiteY46" fmla="*/ 212931 h 363531"/>
                <a:gd name="connsiteX47" fmla="*/ 322936 w 322935"/>
                <a:gd name="connsiteY47" fmla="*/ 230276 h 363531"/>
                <a:gd name="connsiteX48" fmla="*/ 318192 w 322935"/>
                <a:gd name="connsiteY48" fmla="*/ 252336 h 363531"/>
                <a:gd name="connsiteX49" fmla="*/ 310877 w 322935"/>
                <a:gd name="connsiteY49" fmla="*/ 264652 h 363531"/>
                <a:gd name="connsiteX50" fmla="*/ 313449 w 322935"/>
                <a:gd name="connsiteY50" fmla="*/ 280721 h 363531"/>
                <a:gd name="connsiteX51" fmla="*/ 305095 w 322935"/>
                <a:gd name="connsiteY51" fmla="*/ 286560 h 363531"/>
                <a:gd name="connsiteX52" fmla="*/ 304638 w 322935"/>
                <a:gd name="connsiteY52" fmla="*/ 277854 h 363531"/>
                <a:gd name="connsiteX53" fmla="*/ 279759 w 322935"/>
                <a:gd name="connsiteY53" fmla="*/ 263433 h 363531"/>
                <a:gd name="connsiteX54" fmla="*/ 254956 w 322935"/>
                <a:gd name="connsiteY54" fmla="*/ 263042 h 363531"/>
                <a:gd name="connsiteX55" fmla="*/ 208417 w 322935"/>
                <a:gd name="connsiteY55" fmla="*/ 271234 h 363531"/>
                <a:gd name="connsiteX56" fmla="*/ 195606 w 322935"/>
                <a:gd name="connsiteY56" fmla="*/ 296103 h 363531"/>
                <a:gd name="connsiteX57" fmla="*/ 194939 w 322935"/>
                <a:gd name="connsiteY57" fmla="*/ 311382 h 363531"/>
                <a:gd name="connsiteX58" fmla="*/ 184414 w 322935"/>
                <a:gd name="connsiteY58" fmla="*/ 345586 h 36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22935" h="363531">
                  <a:moveTo>
                    <a:pt x="180108" y="339452"/>
                  </a:moveTo>
                  <a:lnTo>
                    <a:pt x="149647" y="338271"/>
                  </a:lnTo>
                  <a:lnTo>
                    <a:pt x="139237" y="361369"/>
                  </a:lnTo>
                  <a:lnTo>
                    <a:pt x="123530" y="340623"/>
                  </a:lnTo>
                  <a:lnTo>
                    <a:pt x="88583" y="333651"/>
                  </a:lnTo>
                  <a:lnTo>
                    <a:pt x="66332" y="359578"/>
                  </a:lnTo>
                  <a:lnTo>
                    <a:pt x="47063" y="363531"/>
                  </a:lnTo>
                  <a:lnTo>
                    <a:pt x="36605" y="324002"/>
                  </a:lnTo>
                  <a:lnTo>
                    <a:pt x="22250" y="292112"/>
                  </a:lnTo>
                  <a:lnTo>
                    <a:pt x="30661" y="264795"/>
                  </a:lnTo>
                  <a:lnTo>
                    <a:pt x="16650" y="252889"/>
                  </a:lnTo>
                  <a:lnTo>
                    <a:pt x="13088" y="232677"/>
                  </a:lnTo>
                  <a:lnTo>
                    <a:pt x="0" y="213703"/>
                  </a:lnTo>
                  <a:lnTo>
                    <a:pt x="16840" y="183737"/>
                  </a:lnTo>
                  <a:lnTo>
                    <a:pt x="5353" y="160525"/>
                  </a:lnTo>
                  <a:lnTo>
                    <a:pt x="11478" y="151266"/>
                  </a:lnTo>
                  <a:lnTo>
                    <a:pt x="6696" y="141075"/>
                  </a:lnTo>
                  <a:lnTo>
                    <a:pt x="17136" y="127359"/>
                  </a:lnTo>
                  <a:lnTo>
                    <a:pt x="17650" y="104089"/>
                  </a:lnTo>
                  <a:lnTo>
                    <a:pt x="18974" y="84925"/>
                  </a:lnTo>
                  <a:lnTo>
                    <a:pt x="24708" y="75714"/>
                  </a:lnTo>
                  <a:lnTo>
                    <a:pt x="1619" y="32090"/>
                  </a:lnTo>
                  <a:lnTo>
                    <a:pt x="21479" y="34376"/>
                  </a:lnTo>
                  <a:lnTo>
                    <a:pt x="35233" y="33785"/>
                  </a:lnTo>
                  <a:lnTo>
                    <a:pt x="41186" y="25613"/>
                  </a:lnTo>
                  <a:lnTo>
                    <a:pt x="64541" y="14678"/>
                  </a:lnTo>
                  <a:lnTo>
                    <a:pt x="78610" y="4553"/>
                  </a:lnTo>
                  <a:lnTo>
                    <a:pt x="113557" y="0"/>
                  </a:lnTo>
                  <a:lnTo>
                    <a:pt x="110709" y="20193"/>
                  </a:lnTo>
                  <a:lnTo>
                    <a:pt x="113995" y="30575"/>
                  </a:lnTo>
                  <a:lnTo>
                    <a:pt x="111852" y="48711"/>
                  </a:lnTo>
                  <a:lnTo>
                    <a:pt x="140846" y="73019"/>
                  </a:lnTo>
                  <a:lnTo>
                    <a:pt x="170755" y="77505"/>
                  </a:lnTo>
                  <a:lnTo>
                    <a:pt x="181270" y="87668"/>
                  </a:lnTo>
                  <a:lnTo>
                    <a:pt x="199320" y="93069"/>
                  </a:lnTo>
                  <a:lnTo>
                    <a:pt x="210369" y="100994"/>
                  </a:lnTo>
                  <a:lnTo>
                    <a:pt x="227171" y="100717"/>
                  </a:lnTo>
                  <a:lnTo>
                    <a:pt x="242688" y="108813"/>
                  </a:lnTo>
                  <a:lnTo>
                    <a:pt x="243859" y="124635"/>
                  </a:lnTo>
                  <a:lnTo>
                    <a:pt x="249069" y="132636"/>
                  </a:lnTo>
                  <a:lnTo>
                    <a:pt x="249412" y="144475"/>
                  </a:lnTo>
                  <a:lnTo>
                    <a:pt x="241630" y="144932"/>
                  </a:lnTo>
                  <a:lnTo>
                    <a:pt x="251898" y="177032"/>
                  </a:lnTo>
                  <a:lnTo>
                    <a:pt x="303095" y="178175"/>
                  </a:lnTo>
                  <a:lnTo>
                    <a:pt x="299180" y="194167"/>
                  </a:lnTo>
                  <a:lnTo>
                    <a:pt x="302038" y="205131"/>
                  </a:lnTo>
                  <a:lnTo>
                    <a:pt x="316630" y="212931"/>
                  </a:lnTo>
                  <a:lnTo>
                    <a:pt x="322936" y="230276"/>
                  </a:lnTo>
                  <a:lnTo>
                    <a:pt x="318192" y="252336"/>
                  </a:lnTo>
                  <a:lnTo>
                    <a:pt x="310877" y="264652"/>
                  </a:lnTo>
                  <a:lnTo>
                    <a:pt x="313449" y="280721"/>
                  </a:lnTo>
                  <a:lnTo>
                    <a:pt x="305095" y="286560"/>
                  </a:lnTo>
                  <a:lnTo>
                    <a:pt x="304638" y="277854"/>
                  </a:lnTo>
                  <a:lnTo>
                    <a:pt x="279759" y="263433"/>
                  </a:lnTo>
                  <a:lnTo>
                    <a:pt x="254956" y="263042"/>
                  </a:lnTo>
                  <a:lnTo>
                    <a:pt x="208417" y="271234"/>
                  </a:lnTo>
                  <a:lnTo>
                    <a:pt x="195606" y="296103"/>
                  </a:lnTo>
                  <a:lnTo>
                    <a:pt x="194939" y="311382"/>
                  </a:lnTo>
                  <a:lnTo>
                    <a:pt x="184414" y="3455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1" name="Forme libre : forme 5670">
              <a:extLst>
                <a:ext uri="{FF2B5EF4-FFF2-40B4-BE49-F238E27FC236}">
                  <a16:creationId xmlns:a16="http://schemas.microsoft.com/office/drawing/2014/main" id="{8CF0FA95-034B-AE25-3C38-DC39D72187BB}"/>
                </a:ext>
              </a:extLst>
            </p:cNvPr>
            <p:cNvSpPr/>
            <p:nvPr/>
          </p:nvSpPr>
          <p:spPr>
            <a:xfrm>
              <a:off x="3844946" y="4603331"/>
              <a:ext cx="1048426" cy="1092726"/>
            </a:xfrm>
            <a:custGeom>
              <a:avLst/>
              <a:gdLst>
                <a:gd name="connsiteX0" fmla="*/ 436979 w 1048426"/>
                <a:gd name="connsiteY0" fmla="*/ 981380 h 1092726"/>
                <a:gd name="connsiteX1" fmla="*/ 472602 w 1048426"/>
                <a:gd name="connsiteY1" fmla="*/ 939737 h 1092726"/>
                <a:gd name="connsiteX2" fmla="*/ 502749 w 1048426"/>
                <a:gd name="connsiteY2" fmla="*/ 910419 h 1092726"/>
                <a:gd name="connsiteX3" fmla="*/ 520684 w 1048426"/>
                <a:gd name="connsiteY3" fmla="*/ 898207 h 1092726"/>
                <a:gd name="connsiteX4" fmla="*/ 543173 w 1048426"/>
                <a:gd name="connsiteY4" fmla="*/ 881749 h 1092726"/>
                <a:gd name="connsiteX5" fmla="*/ 543716 w 1048426"/>
                <a:gd name="connsiteY5" fmla="*/ 858031 h 1092726"/>
                <a:gd name="connsiteX6" fmla="*/ 530314 w 1048426"/>
                <a:gd name="connsiteY6" fmla="*/ 841000 h 1092726"/>
                <a:gd name="connsiteX7" fmla="*/ 517093 w 1048426"/>
                <a:gd name="connsiteY7" fmla="*/ 846649 h 1092726"/>
                <a:gd name="connsiteX8" fmla="*/ 522332 w 1048426"/>
                <a:gd name="connsiteY8" fmla="*/ 829666 h 1092726"/>
                <a:gd name="connsiteX9" fmla="*/ 525952 w 1048426"/>
                <a:gd name="connsiteY9" fmla="*/ 812359 h 1092726"/>
                <a:gd name="connsiteX10" fmla="*/ 525961 w 1048426"/>
                <a:gd name="connsiteY10" fmla="*/ 796337 h 1092726"/>
                <a:gd name="connsiteX11" fmla="*/ 516360 w 1048426"/>
                <a:gd name="connsiteY11" fmla="*/ 791070 h 1092726"/>
                <a:gd name="connsiteX12" fmla="*/ 506340 w 1048426"/>
                <a:gd name="connsiteY12" fmla="*/ 795766 h 1092726"/>
                <a:gd name="connsiteX13" fmla="*/ 496376 w 1048426"/>
                <a:gd name="connsiteY13" fmla="*/ 794471 h 1092726"/>
                <a:gd name="connsiteX14" fmla="*/ 493262 w 1048426"/>
                <a:gd name="connsiteY14" fmla="*/ 783307 h 1092726"/>
                <a:gd name="connsiteX15" fmla="*/ 490776 w 1048426"/>
                <a:gd name="connsiteY15" fmla="*/ 756847 h 1092726"/>
                <a:gd name="connsiteX16" fmla="*/ 485775 w 1048426"/>
                <a:gd name="connsiteY16" fmla="*/ 748256 h 1092726"/>
                <a:gd name="connsiteX17" fmla="*/ 467735 w 1048426"/>
                <a:gd name="connsiteY17" fmla="*/ 740493 h 1092726"/>
                <a:gd name="connsiteX18" fmla="*/ 456838 w 1048426"/>
                <a:gd name="connsiteY18" fmla="*/ 746113 h 1092726"/>
                <a:gd name="connsiteX19" fmla="*/ 428644 w 1048426"/>
                <a:gd name="connsiteY19" fmla="*/ 740607 h 1092726"/>
                <a:gd name="connsiteX20" fmla="*/ 430416 w 1048426"/>
                <a:gd name="connsiteY20" fmla="*/ 701888 h 1092726"/>
                <a:gd name="connsiteX21" fmla="*/ 422520 w 1048426"/>
                <a:gd name="connsiteY21" fmla="*/ 686134 h 1092726"/>
                <a:gd name="connsiteX22" fmla="*/ 430873 w 1048426"/>
                <a:gd name="connsiteY22" fmla="*/ 680295 h 1092726"/>
                <a:gd name="connsiteX23" fmla="*/ 428301 w 1048426"/>
                <a:gd name="connsiteY23" fmla="*/ 664226 h 1092726"/>
                <a:gd name="connsiteX24" fmla="*/ 435616 w 1048426"/>
                <a:gd name="connsiteY24" fmla="*/ 651910 h 1092726"/>
                <a:gd name="connsiteX25" fmla="*/ 440360 w 1048426"/>
                <a:gd name="connsiteY25" fmla="*/ 629850 h 1092726"/>
                <a:gd name="connsiteX26" fmla="*/ 434054 w 1048426"/>
                <a:gd name="connsiteY26" fmla="*/ 612505 h 1092726"/>
                <a:gd name="connsiteX27" fmla="*/ 419462 w 1048426"/>
                <a:gd name="connsiteY27" fmla="*/ 604704 h 1092726"/>
                <a:gd name="connsiteX28" fmla="*/ 416605 w 1048426"/>
                <a:gd name="connsiteY28" fmla="*/ 593741 h 1092726"/>
                <a:gd name="connsiteX29" fmla="*/ 420519 w 1048426"/>
                <a:gd name="connsiteY29" fmla="*/ 577748 h 1092726"/>
                <a:gd name="connsiteX30" fmla="*/ 369323 w 1048426"/>
                <a:gd name="connsiteY30" fmla="*/ 576606 h 1092726"/>
                <a:gd name="connsiteX31" fmla="*/ 359055 w 1048426"/>
                <a:gd name="connsiteY31" fmla="*/ 544506 h 1092726"/>
                <a:gd name="connsiteX32" fmla="*/ 366836 w 1048426"/>
                <a:gd name="connsiteY32" fmla="*/ 544049 h 1092726"/>
                <a:gd name="connsiteX33" fmla="*/ 366494 w 1048426"/>
                <a:gd name="connsiteY33" fmla="*/ 532209 h 1092726"/>
                <a:gd name="connsiteX34" fmla="*/ 361283 w 1048426"/>
                <a:gd name="connsiteY34" fmla="*/ 524208 h 1092726"/>
                <a:gd name="connsiteX35" fmla="*/ 360112 w 1048426"/>
                <a:gd name="connsiteY35" fmla="*/ 508387 h 1092726"/>
                <a:gd name="connsiteX36" fmla="*/ 344596 w 1048426"/>
                <a:gd name="connsiteY36" fmla="*/ 500291 h 1092726"/>
                <a:gd name="connsiteX37" fmla="*/ 327793 w 1048426"/>
                <a:gd name="connsiteY37" fmla="*/ 500567 h 1092726"/>
                <a:gd name="connsiteX38" fmla="*/ 316745 w 1048426"/>
                <a:gd name="connsiteY38" fmla="*/ 492643 h 1092726"/>
                <a:gd name="connsiteX39" fmla="*/ 298695 w 1048426"/>
                <a:gd name="connsiteY39" fmla="*/ 487242 h 1092726"/>
                <a:gd name="connsiteX40" fmla="*/ 288179 w 1048426"/>
                <a:gd name="connsiteY40" fmla="*/ 477079 h 1092726"/>
                <a:gd name="connsiteX41" fmla="*/ 258271 w 1048426"/>
                <a:gd name="connsiteY41" fmla="*/ 472592 h 1092726"/>
                <a:gd name="connsiteX42" fmla="*/ 229276 w 1048426"/>
                <a:gd name="connsiteY42" fmla="*/ 448285 h 1092726"/>
                <a:gd name="connsiteX43" fmla="*/ 231420 w 1048426"/>
                <a:gd name="connsiteY43" fmla="*/ 430149 h 1092726"/>
                <a:gd name="connsiteX44" fmla="*/ 228133 w 1048426"/>
                <a:gd name="connsiteY44" fmla="*/ 419767 h 1092726"/>
                <a:gd name="connsiteX45" fmla="*/ 230981 w 1048426"/>
                <a:gd name="connsiteY45" fmla="*/ 399574 h 1092726"/>
                <a:gd name="connsiteX46" fmla="*/ 196034 w 1048426"/>
                <a:gd name="connsiteY46" fmla="*/ 404127 h 1092726"/>
                <a:gd name="connsiteX47" fmla="*/ 181966 w 1048426"/>
                <a:gd name="connsiteY47" fmla="*/ 414252 h 1092726"/>
                <a:gd name="connsiteX48" fmla="*/ 158610 w 1048426"/>
                <a:gd name="connsiteY48" fmla="*/ 425187 h 1092726"/>
                <a:gd name="connsiteX49" fmla="*/ 152657 w 1048426"/>
                <a:gd name="connsiteY49" fmla="*/ 433359 h 1092726"/>
                <a:gd name="connsiteX50" fmla="*/ 138903 w 1048426"/>
                <a:gd name="connsiteY50" fmla="*/ 433949 h 1092726"/>
                <a:gd name="connsiteX51" fmla="*/ 119044 w 1048426"/>
                <a:gd name="connsiteY51" fmla="*/ 431663 h 1092726"/>
                <a:gd name="connsiteX52" fmla="*/ 103975 w 1048426"/>
                <a:gd name="connsiteY52" fmla="*/ 436312 h 1092726"/>
                <a:gd name="connsiteX53" fmla="*/ 91831 w 1048426"/>
                <a:gd name="connsiteY53" fmla="*/ 433207 h 1092726"/>
                <a:gd name="connsiteX54" fmla="*/ 93612 w 1048426"/>
                <a:gd name="connsiteY54" fmla="*/ 392249 h 1092726"/>
                <a:gd name="connsiteX55" fmla="*/ 71704 w 1048426"/>
                <a:gd name="connsiteY55" fmla="*/ 408118 h 1092726"/>
                <a:gd name="connsiteX56" fmla="*/ 48130 w 1048426"/>
                <a:gd name="connsiteY56" fmla="*/ 407423 h 1092726"/>
                <a:gd name="connsiteX57" fmla="*/ 38033 w 1048426"/>
                <a:gd name="connsiteY57" fmla="*/ 393059 h 1092726"/>
                <a:gd name="connsiteX58" fmla="*/ 20307 w 1048426"/>
                <a:gd name="connsiteY58" fmla="*/ 391496 h 1092726"/>
                <a:gd name="connsiteX59" fmla="*/ 25956 w 1048426"/>
                <a:gd name="connsiteY59" fmla="*/ 379952 h 1092726"/>
                <a:gd name="connsiteX60" fmla="*/ 11116 w 1048426"/>
                <a:gd name="connsiteY60" fmla="*/ 363626 h 1092726"/>
                <a:gd name="connsiteX61" fmla="*/ 0 w 1048426"/>
                <a:gd name="connsiteY61" fmla="*/ 339500 h 1092726"/>
                <a:gd name="connsiteX62" fmla="*/ 7039 w 1048426"/>
                <a:gd name="connsiteY62" fmla="*/ 334604 h 1092726"/>
                <a:gd name="connsiteX63" fmla="*/ 7020 w 1048426"/>
                <a:gd name="connsiteY63" fmla="*/ 323317 h 1092726"/>
                <a:gd name="connsiteX64" fmla="*/ 23155 w 1048426"/>
                <a:gd name="connsiteY64" fmla="*/ 315601 h 1092726"/>
                <a:gd name="connsiteX65" fmla="*/ 20498 w 1048426"/>
                <a:gd name="connsiteY65" fmla="*/ 301162 h 1092726"/>
                <a:gd name="connsiteX66" fmla="*/ 27308 w 1048426"/>
                <a:gd name="connsiteY66" fmla="*/ 291884 h 1092726"/>
                <a:gd name="connsiteX67" fmla="*/ 29251 w 1048426"/>
                <a:gd name="connsiteY67" fmla="*/ 279445 h 1092726"/>
                <a:gd name="connsiteX68" fmla="*/ 59789 w 1048426"/>
                <a:gd name="connsiteY68" fmla="*/ 261328 h 1092726"/>
                <a:gd name="connsiteX69" fmla="*/ 81677 w 1048426"/>
                <a:gd name="connsiteY69" fmla="*/ 256204 h 1092726"/>
                <a:gd name="connsiteX70" fmla="*/ 85258 w 1048426"/>
                <a:gd name="connsiteY70" fmla="*/ 252203 h 1092726"/>
                <a:gd name="connsiteX71" fmla="*/ 109328 w 1048426"/>
                <a:gd name="connsiteY71" fmla="*/ 253451 h 1092726"/>
                <a:gd name="connsiteX72" fmla="*/ 121330 w 1048426"/>
                <a:gd name="connsiteY72" fmla="*/ 180613 h 1092726"/>
                <a:gd name="connsiteX73" fmla="*/ 121958 w 1048426"/>
                <a:gd name="connsiteY73" fmla="*/ 169107 h 1092726"/>
                <a:gd name="connsiteX74" fmla="*/ 117777 w 1048426"/>
                <a:gd name="connsiteY74" fmla="*/ 153914 h 1092726"/>
                <a:gd name="connsiteX75" fmla="*/ 105928 w 1048426"/>
                <a:gd name="connsiteY75" fmla="*/ 144237 h 1092726"/>
                <a:gd name="connsiteX76" fmla="*/ 106061 w 1048426"/>
                <a:gd name="connsiteY76" fmla="*/ 124959 h 1092726"/>
                <a:gd name="connsiteX77" fmla="*/ 121111 w 1048426"/>
                <a:gd name="connsiteY77" fmla="*/ 120587 h 1092726"/>
                <a:gd name="connsiteX78" fmla="*/ 126445 w 1048426"/>
                <a:gd name="connsiteY78" fmla="*/ 123339 h 1092726"/>
                <a:gd name="connsiteX79" fmla="*/ 127349 w 1048426"/>
                <a:gd name="connsiteY79" fmla="*/ 113176 h 1092726"/>
                <a:gd name="connsiteX80" fmla="*/ 111700 w 1048426"/>
                <a:gd name="connsiteY80" fmla="*/ 110433 h 1092726"/>
                <a:gd name="connsiteX81" fmla="*/ 111376 w 1048426"/>
                <a:gd name="connsiteY81" fmla="*/ 93821 h 1092726"/>
                <a:gd name="connsiteX82" fmla="*/ 163402 w 1048426"/>
                <a:gd name="connsiteY82" fmla="*/ 94421 h 1092726"/>
                <a:gd name="connsiteX83" fmla="*/ 172241 w 1048426"/>
                <a:gd name="connsiteY83" fmla="*/ 85268 h 1092726"/>
                <a:gd name="connsiteX84" fmla="*/ 179661 w 1048426"/>
                <a:gd name="connsiteY84" fmla="*/ 93688 h 1092726"/>
                <a:gd name="connsiteX85" fmla="*/ 184861 w 1048426"/>
                <a:gd name="connsiteY85" fmla="*/ 109338 h 1092726"/>
                <a:gd name="connsiteX86" fmla="*/ 189910 w 1048426"/>
                <a:gd name="connsiteY86" fmla="*/ 106071 h 1092726"/>
                <a:gd name="connsiteX87" fmla="*/ 204607 w 1048426"/>
                <a:gd name="connsiteY87" fmla="*/ 120101 h 1092726"/>
                <a:gd name="connsiteX88" fmla="*/ 225371 w 1048426"/>
                <a:gd name="connsiteY88" fmla="*/ 118386 h 1092726"/>
                <a:gd name="connsiteX89" fmla="*/ 230543 w 1048426"/>
                <a:gd name="connsiteY89" fmla="*/ 110262 h 1092726"/>
                <a:gd name="connsiteX90" fmla="*/ 250403 w 1048426"/>
                <a:gd name="connsiteY90" fmla="*/ 104070 h 1092726"/>
                <a:gd name="connsiteX91" fmla="*/ 261404 w 1048426"/>
                <a:gd name="connsiteY91" fmla="*/ 99717 h 1092726"/>
                <a:gd name="connsiteX92" fmla="*/ 264500 w 1048426"/>
                <a:gd name="connsiteY92" fmla="*/ 88478 h 1092726"/>
                <a:gd name="connsiteX93" fmla="*/ 283578 w 1048426"/>
                <a:gd name="connsiteY93" fmla="*/ 80924 h 1092726"/>
                <a:gd name="connsiteX94" fmla="*/ 282140 w 1048426"/>
                <a:gd name="connsiteY94" fmla="*/ 75343 h 1092726"/>
                <a:gd name="connsiteX95" fmla="*/ 259509 w 1048426"/>
                <a:gd name="connsiteY95" fmla="*/ 73066 h 1092726"/>
                <a:gd name="connsiteX96" fmla="*/ 255804 w 1048426"/>
                <a:gd name="connsiteY96" fmla="*/ 56331 h 1092726"/>
                <a:gd name="connsiteX97" fmla="*/ 256880 w 1048426"/>
                <a:gd name="connsiteY97" fmla="*/ 38519 h 1092726"/>
                <a:gd name="connsiteX98" fmla="*/ 244926 w 1048426"/>
                <a:gd name="connsiteY98" fmla="*/ 31623 h 1092726"/>
                <a:gd name="connsiteX99" fmla="*/ 249936 w 1048426"/>
                <a:gd name="connsiteY99" fmla="*/ 29175 h 1092726"/>
                <a:gd name="connsiteX100" fmla="*/ 269710 w 1048426"/>
                <a:gd name="connsiteY100" fmla="*/ 32576 h 1092726"/>
                <a:gd name="connsiteX101" fmla="*/ 290941 w 1048426"/>
                <a:gd name="connsiteY101" fmla="*/ 39224 h 1092726"/>
                <a:gd name="connsiteX102" fmla="*/ 298647 w 1048426"/>
                <a:gd name="connsiteY102" fmla="*/ 32938 h 1092726"/>
                <a:gd name="connsiteX103" fmla="*/ 317859 w 1048426"/>
                <a:gd name="connsiteY103" fmla="*/ 28813 h 1092726"/>
                <a:gd name="connsiteX104" fmla="*/ 347729 w 1048426"/>
                <a:gd name="connsiteY104" fmla="*/ 18850 h 1092726"/>
                <a:gd name="connsiteX105" fmla="*/ 357492 w 1048426"/>
                <a:gd name="connsiteY105" fmla="*/ 8696 h 1092726"/>
                <a:gd name="connsiteX106" fmla="*/ 353959 w 1048426"/>
                <a:gd name="connsiteY106" fmla="*/ 1181 h 1092726"/>
                <a:gd name="connsiteX107" fmla="*/ 367846 w 1048426"/>
                <a:gd name="connsiteY107" fmla="*/ 0 h 1092726"/>
                <a:gd name="connsiteX108" fmla="*/ 374057 w 1048426"/>
                <a:gd name="connsiteY108" fmla="*/ 6134 h 1092726"/>
                <a:gd name="connsiteX109" fmla="*/ 370580 w 1048426"/>
                <a:gd name="connsiteY109" fmla="*/ 17831 h 1092726"/>
                <a:gd name="connsiteX110" fmla="*/ 379762 w 1048426"/>
                <a:gd name="connsiteY110" fmla="*/ 21860 h 1092726"/>
                <a:gd name="connsiteX111" fmla="*/ 385886 w 1048426"/>
                <a:gd name="connsiteY111" fmla="*/ 34223 h 1092726"/>
                <a:gd name="connsiteX112" fmla="*/ 378486 w 1048426"/>
                <a:gd name="connsiteY112" fmla="*/ 43587 h 1092726"/>
                <a:gd name="connsiteX113" fmla="*/ 374228 w 1048426"/>
                <a:gd name="connsiteY113" fmla="*/ 66199 h 1092726"/>
                <a:gd name="connsiteX114" fmla="*/ 381067 w 1048426"/>
                <a:gd name="connsiteY114" fmla="*/ 79629 h 1092726"/>
                <a:gd name="connsiteX115" fmla="*/ 383000 w 1048426"/>
                <a:gd name="connsiteY115" fmla="*/ 91916 h 1092726"/>
                <a:gd name="connsiteX116" fmla="*/ 399431 w 1048426"/>
                <a:gd name="connsiteY116" fmla="*/ 104365 h 1092726"/>
                <a:gd name="connsiteX117" fmla="*/ 412537 w 1048426"/>
                <a:gd name="connsiteY117" fmla="*/ 105680 h 1092726"/>
                <a:gd name="connsiteX118" fmla="*/ 415490 w 1048426"/>
                <a:gd name="connsiteY118" fmla="*/ 100489 h 1092726"/>
                <a:gd name="connsiteX119" fmla="*/ 423939 w 1048426"/>
                <a:gd name="connsiteY119" fmla="*/ 99336 h 1092726"/>
                <a:gd name="connsiteX120" fmla="*/ 436016 w 1048426"/>
                <a:gd name="connsiteY120" fmla="*/ 94679 h 1092726"/>
                <a:gd name="connsiteX121" fmla="*/ 444703 w 1048426"/>
                <a:gd name="connsiteY121" fmla="*/ 87621 h 1092726"/>
                <a:gd name="connsiteX122" fmla="*/ 459467 w 1048426"/>
                <a:gd name="connsiteY122" fmla="*/ 89878 h 1092726"/>
                <a:gd name="connsiteX123" fmla="*/ 465973 w 1048426"/>
                <a:gd name="connsiteY123" fmla="*/ 88925 h 1092726"/>
                <a:gd name="connsiteX124" fmla="*/ 480498 w 1048426"/>
                <a:gd name="connsiteY124" fmla="*/ 91097 h 1092726"/>
                <a:gd name="connsiteX125" fmla="*/ 482899 w 1048426"/>
                <a:gd name="connsiteY125" fmla="*/ 85668 h 1092726"/>
                <a:gd name="connsiteX126" fmla="*/ 478422 w 1048426"/>
                <a:gd name="connsiteY126" fmla="*/ 80391 h 1092726"/>
                <a:gd name="connsiteX127" fmla="*/ 481089 w 1048426"/>
                <a:gd name="connsiteY127" fmla="*/ 72704 h 1092726"/>
                <a:gd name="connsiteX128" fmla="*/ 491862 w 1048426"/>
                <a:gd name="connsiteY128" fmla="*/ 75067 h 1092726"/>
                <a:gd name="connsiteX129" fmla="*/ 504482 w 1048426"/>
                <a:gd name="connsiteY129" fmla="*/ 72352 h 1092726"/>
                <a:gd name="connsiteX130" fmla="*/ 519779 w 1048426"/>
                <a:gd name="connsiteY130" fmla="*/ 77981 h 1092726"/>
                <a:gd name="connsiteX131" fmla="*/ 531438 w 1048426"/>
                <a:gd name="connsiteY131" fmla="*/ 83458 h 1092726"/>
                <a:gd name="connsiteX132" fmla="*/ 539706 w 1048426"/>
                <a:gd name="connsiteY132" fmla="*/ 76257 h 1092726"/>
                <a:gd name="connsiteX133" fmla="*/ 545678 w 1048426"/>
                <a:gd name="connsiteY133" fmla="*/ 77362 h 1092726"/>
                <a:gd name="connsiteX134" fmla="*/ 549326 w 1048426"/>
                <a:gd name="connsiteY134" fmla="*/ 84839 h 1092726"/>
                <a:gd name="connsiteX135" fmla="*/ 562108 w 1048426"/>
                <a:gd name="connsiteY135" fmla="*/ 82944 h 1092726"/>
                <a:gd name="connsiteX136" fmla="*/ 572348 w 1048426"/>
                <a:gd name="connsiteY136" fmla="*/ 72857 h 1092726"/>
                <a:gd name="connsiteX137" fmla="*/ 580539 w 1048426"/>
                <a:gd name="connsiteY137" fmla="*/ 53302 h 1092726"/>
                <a:gd name="connsiteX138" fmla="*/ 596341 w 1048426"/>
                <a:gd name="connsiteY138" fmla="*/ 28966 h 1092726"/>
                <a:gd name="connsiteX139" fmla="*/ 605438 w 1048426"/>
                <a:gd name="connsiteY139" fmla="*/ 27708 h 1092726"/>
                <a:gd name="connsiteX140" fmla="*/ 612048 w 1048426"/>
                <a:gd name="connsiteY140" fmla="*/ 42415 h 1092726"/>
                <a:gd name="connsiteX141" fmla="*/ 627021 w 1048426"/>
                <a:gd name="connsiteY141" fmla="*/ 88868 h 1092726"/>
                <a:gd name="connsiteX142" fmla="*/ 641309 w 1048426"/>
                <a:gd name="connsiteY142" fmla="*/ 93250 h 1092726"/>
                <a:gd name="connsiteX143" fmla="*/ 642023 w 1048426"/>
                <a:gd name="connsiteY143" fmla="*/ 111566 h 1092726"/>
                <a:gd name="connsiteX144" fmla="*/ 621945 w 1048426"/>
                <a:gd name="connsiteY144" fmla="*/ 133407 h 1092726"/>
                <a:gd name="connsiteX145" fmla="*/ 630250 w 1048426"/>
                <a:gd name="connsiteY145" fmla="*/ 141408 h 1092726"/>
                <a:gd name="connsiteX146" fmla="*/ 677456 w 1048426"/>
                <a:gd name="connsiteY146" fmla="*/ 145570 h 1092726"/>
                <a:gd name="connsiteX147" fmla="*/ 678418 w 1048426"/>
                <a:gd name="connsiteY147" fmla="*/ 172164 h 1092726"/>
                <a:gd name="connsiteX148" fmla="*/ 698707 w 1048426"/>
                <a:gd name="connsiteY148" fmla="*/ 154753 h 1092726"/>
                <a:gd name="connsiteX149" fmla="*/ 732311 w 1048426"/>
                <a:gd name="connsiteY149" fmla="*/ 164287 h 1092726"/>
                <a:gd name="connsiteX150" fmla="*/ 776669 w 1048426"/>
                <a:gd name="connsiteY150" fmla="*/ 180499 h 1092726"/>
                <a:gd name="connsiteX151" fmla="*/ 789699 w 1048426"/>
                <a:gd name="connsiteY151" fmla="*/ 196044 h 1092726"/>
                <a:gd name="connsiteX152" fmla="*/ 785327 w 1048426"/>
                <a:gd name="connsiteY152" fmla="*/ 210741 h 1092726"/>
                <a:gd name="connsiteX153" fmla="*/ 816378 w 1048426"/>
                <a:gd name="connsiteY153" fmla="*/ 202559 h 1092726"/>
                <a:gd name="connsiteX154" fmla="*/ 868356 w 1048426"/>
                <a:gd name="connsiteY154" fmla="*/ 216608 h 1092726"/>
                <a:gd name="connsiteX155" fmla="*/ 908257 w 1048426"/>
                <a:gd name="connsiteY155" fmla="*/ 215570 h 1092726"/>
                <a:gd name="connsiteX156" fmla="*/ 947738 w 1048426"/>
                <a:gd name="connsiteY156" fmla="*/ 237563 h 1092726"/>
                <a:gd name="connsiteX157" fmla="*/ 981837 w 1048426"/>
                <a:gd name="connsiteY157" fmla="*/ 267367 h 1092726"/>
                <a:gd name="connsiteX158" fmla="*/ 1002411 w 1048426"/>
                <a:gd name="connsiteY158" fmla="*/ 275044 h 1092726"/>
                <a:gd name="connsiteX159" fmla="*/ 1025252 w 1048426"/>
                <a:gd name="connsiteY159" fmla="*/ 276120 h 1092726"/>
                <a:gd name="connsiteX160" fmla="*/ 1034930 w 1048426"/>
                <a:gd name="connsiteY160" fmla="*/ 284521 h 1092726"/>
                <a:gd name="connsiteX161" fmla="*/ 1043997 w 1048426"/>
                <a:gd name="connsiteY161" fmla="*/ 318488 h 1092726"/>
                <a:gd name="connsiteX162" fmla="*/ 1048426 w 1048426"/>
                <a:gd name="connsiteY162" fmla="*/ 334671 h 1092726"/>
                <a:gd name="connsiteX163" fmla="*/ 1037797 w 1048426"/>
                <a:gd name="connsiteY163" fmla="*/ 378981 h 1092726"/>
                <a:gd name="connsiteX164" fmla="*/ 1024204 w 1048426"/>
                <a:gd name="connsiteY164" fmla="*/ 396535 h 1092726"/>
                <a:gd name="connsiteX165" fmla="*/ 986562 w 1048426"/>
                <a:gd name="connsiteY165" fmla="*/ 434064 h 1092726"/>
                <a:gd name="connsiteX166" fmla="*/ 969550 w 1048426"/>
                <a:gd name="connsiteY166" fmla="*/ 464687 h 1092726"/>
                <a:gd name="connsiteX167" fmla="*/ 949776 w 1048426"/>
                <a:gd name="connsiteY167" fmla="*/ 488261 h 1092726"/>
                <a:gd name="connsiteX168" fmla="*/ 943099 w 1048426"/>
                <a:gd name="connsiteY168" fmla="*/ 488795 h 1092726"/>
                <a:gd name="connsiteX169" fmla="*/ 935641 w 1048426"/>
                <a:gd name="connsiteY169" fmla="*/ 508873 h 1092726"/>
                <a:gd name="connsiteX170" fmla="*/ 937536 w 1048426"/>
                <a:gd name="connsiteY170" fmla="*/ 560289 h 1092726"/>
                <a:gd name="connsiteX171" fmla="*/ 930088 w 1048426"/>
                <a:gd name="connsiteY171" fmla="*/ 602942 h 1092726"/>
                <a:gd name="connsiteX172" fmla="*/ 927250 w 1048426"/>
                <a:gd name="connsiteY172" fmla="*/ 621297 h 1092726"/>
                <a:gd name="connsiteX173" fmla="*/ 918810 w 1048426"/>
                <a:gd name="connsiteY173" fmla="*/ 632317 h 1092726"/>
                <a:gd name="connsiteX174" fmla="*/ 914076 w 1048426"/>
                <a:gd name="connsiteY174" fmla="*/ 669836 h 1092726"/>
                <a:gd name="connsiteX175" fmla="*/ 886997 w 1048426"/>
                <a:gd name="connsiteY175" fmla="*/ 706774 h 1092726"/>
                <a:gd name="connsiteX176" fmla="*/ 882453 w 1048426"/>
                <a:gd name="connsiteY176" fmla="*/ 736235 h 1092726"/>
                <a:gd name="connsiteX177" fmla="*/ 860841 w 1048426"/>
                <a:gd name="connsiteY177" fmla="*/ 748655 h 1092726"/>
                <a:gd name="connsiteX178" fmla="*/ 854583 w 1048426"/>
                <a:gd name="connsiteY178" fmla="*/ 765906 h 1092726"/>
                <a:gd name="connsiteX179" fmla="*/ 825570 w 1048426"/>
                <a:gd name="connsiteY179" fmla="*/ 765839 h 1092726"/>
                <a:gd name="connsiteX180" fmla="*/ 783555 w 1048426"/>
                <a:gd name="connsiteY180" fmla="*/ 776935 h 1092726"/>
                <a:gd name="connsiteX181" fmla="*/ 764743 w 1048426"/>
                <a:gd name="connsiteY181" fmla="*/ 789823 h 1092726"/>
                <a:gd name="connsiteX182" fmla="*/ 734835 w 1048426"/>
                <a:gd name="connsiteY182" fmla="*/ 798309 h 1092726"/>
                <a:gd name="connsiteX183" fmla="*/ 703402 w 1048426"/>
                <a:gd name="connsiteY183" fmla="*/ 821550 h 1092726"/>
                <a:gd name="connsiteX184" fmla="*/ 680799 w 1048426"/>
                <a:gd name="connsiteY184" fmla="*/ 850706 h 1092726"/>
                <a:gd name="connsiteX185" fmla="*/ 676913 w 1048426"/>
                <a:gd name="connsiteY185" fmla="*/ 872823 h 1092726"/>
                <a:gd name="connsiteX186" fmla="*/ 681352 w 1048426"/>
                <a:gd name="connsiteY186" fmla="*/ 889273 h 1092726"/>
                <a:gd name="connsiteX187" fmla="*/ 676361 w 1048426"/>
                <a:gd name="connsiteY187" fmla="*/ 919582 h 1092726"/>
                <a:gd name="connsiteX188" fmla="*/ 670303 w 1048426"/>
                <a:gd name="connsiteY188" fmla="*/ 934326 h 1092726"/>
                <a:gd name="connsiteX189" fmla="*/ 651634 w 1048426"/>
                <a:gd name="connsiteY189" fmla="*/ 951033 h 1092726"/>
                <a:gd name="connsiteX190" fmla="*/ 622002 w 1048426"/>
                <a:gd name="connsiteY190" fmla="*/ 1005097 h 1092726"/>
                <a:gd name="connsiteX191" fmla="*/ 598523 w 1048426"/>
                <a:gd name="connsiteY191" fmla="*/ 1029795 h 1092726"/>
                <a:gd name="connsiteX192" fmla="*/ 580359 w 1048426"/>
                <a:gd name="connsiteY192" fmla="*/ 1044454 h 1092726"/>
                <a:gd name="connsiteX193" fmla="*/ 568185 w 1048426"/>
                <a:gd name="connsiteY193" fmla="*/ 1074496 h 1092726"/>
                <a:gd name="connsiteX194" fmla="*/ 550517 w 1048426"/>
                <a:gd name="connsiteY194" fmla="*/ 1092727 h 1092726"/>
                <a:gd name="connsiteX195" fmla="*/ 543125 w 1048426"/>
                <a:gd name="connsiteY195" fmla="*/ 1074677 h 1092726"/>
                <a:gd name="connsiteX196" fmla="*/ 554898 w 1048426"/>
                <a:gd name="connsiteY196" fmla="*/ 1059647 h 1092726"/>
                <a:gd name="connsiteX197" fmla="*/ 539448 w 1048426"/>
                <a:gd name="connsiteY197" fmla="*/ 1038234 h 1092726"/>
                <a:gd name="connsiteX198" fmla="*/ 518503 w 1048426"/>
                <a:gd name="connsiteY198" fmla="*/ 1020946 h 1092726"/>
                <a:gd name="connsiteX199" fmla="*/ 491014 w 1048426"/>
                <a:gd name="connsiteY199" fmla="*/ 1001049 h 1092726"/>
                <a:gd name="connsiteX200" fmla="*/ 481098 w 1048426"/>
                <a:gd name="connsiteY200" fmla="*/ 1001954 h 1092726"/>
                <a:gd name="connsiteX201" fmla="*/ 454305 w 1048426"/>
                <a:gd name="connsiteY201" fmla="*/ 978103 h 1092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</a:cxnLst>
              <a:rect l="l" t="t" r="r" b="b"/>
              <a:pathLst>
                <a:path w="1048426" h="1092726">
                  <a:moveTo>
                    <a:pt x="436979" y="981380"/>
                  </a:moveTo>
                  <a:lnTo>
                    <a:pt x="472602" y="939737"/>
                  </a:lnTo>
                  <a:lnTo>
                    <a:pt x="502749" y="910419"/>
                  </a:lnTo>
                  <a:lnTo>
                    <a:pt x="520684" y="898207"/>
                  </a:lnTo>
                  <a:lnTo>
                    <a:pt x="543173" y="881749"/>
                  </a:lnTo>
                  <a:lnTo>
                    <a:pt x="543716" y="858031"/>
                  </a:lnTo>
                  <a:lnTo>
                    <a:pt x="530314" y="841000"/>
                  </a:lnTo>
                  <a:lnTo>
                    <a:pt x="517093" y="846649"/>
                  </a:lnTo>
                  <a:lnTo>
                    <a:pt x="522332" y="829666"/>
                  </a:lnTo>
                  <a:lnTo>
                    <a:pt x="525952" y="812359"/>
                  </a:lnTo>
                  <a:lnTo>
                    <a:pt x="525961" y="796337"/>
                  </a:lnTo>
                  <a:lnTo>
                    <a:pt x="516360" y="791070"/>
                  </a:lnTo>
                  <a:lnTo>
                    <a:pt x="506340" y="795766"/>
                  </a:lnTo>
                  <a:lnTo>
                    <a:pt x="496376" y="794471"/>
                  </a:lnTo>
                  <a:lnTo>
                    <a:pt x="493262" y="783307"/>
                  </a:lnTo>
                  <a:lnTo>
                    <a:pt x="490776" y="756847"/>
                  </a:lnTo>
                  <a:lnTo>
                    <a:pt x="485775" y="748256"/>
                  </a:lnTo>
                  <a:lnTo>
                    <a:pt x="467735" y="740493"/>
                  </a:lnTo>
                  <a:lnTo>
                    <a:pt x="456838" y="746113"/>
                  </a:lnTo>
                  <a:lnTo>
                    <a:pt x="428644" y="740607"/>
                  </a:lnTo>
                  <a:lnTo>
                    <a:pt x="430416" y="701888"/>
                  </a:lnTo>
                  <a:lnTo>
                    <a:pt x="422520" y="686134"/>
                  </a:lnTo>
                  <a:lnTo>
                    <a:pt x="430873" y="680295"/>
                  </a:lnTo>
                  <a:lnTo>
                    <a:pt x="428301" y="664226"/>
                  </a:lnTo>
                  <a:lnTo>
                    <a:pt x="435616" y="651910"/>
                  </a:lnTo>
                  <a:lnTo>
                    <a:pt x="440360" y="629850"/>
                  </a:lnTo>
                  <a:lnTo>
                    <a:pt x="434054" y="612505"/>
                  </a:lnTo>
                  <a:lnTo>
                    <a:pt x="419462" y="604704"/>
                  </a:lnTo>
                  <a:lnTo>
                    <a:pt x="416605" y="593741"/>
                  </a:lnTo>
                  <a:lnTo>
                    <a:pt x="420519" y="577748"/>
                  </a:lnTo>
                  <a:lnTo>
                    <a:pt x="369323" y="576606"/>
                  </a:lnTo>
                  <a:lnTo>
                    <a:pt x="359055" y="544506"/>
                  </a:lnTo>
                  <a:lnTo>
                    <a:pt x="366836" y="544049"/>
                  </a:lnTo>
                  <a:lnTo>
                    <a:pt x="366494" y="532209"/>
                  </a:lnTo>
                  <a:lnTo>
                    <a:pt x="361283" y="524208"/>
                  </a:lnTo>
                  <a:lnTo>
                    <a:pt x="360112" y="508387"/>
                  </a:lnTo>
                  <a:lnTo>
                    <a:pt x="344596" y="500291"/>
                  </a:lnTo>
                  <a:lnTo>
                    <a:pt x="327793" y="500567"/>
                  </a:lnTo>
                  <a:lnTo>
                    <a:pt x="316745" y="492643"/>
                  </a:lnTo>
                  <a:lnTo>
                    <a:pt x="298695" y="487242"/>
                  </a:lnTo>
                  <a:lnTo>
                    <a:pt x="288179" y="477079"/>
                  </a:lnTo>
                  <a:lnTo>
                    <a:pt x="258271" y="472592"/>
                  </a:lnTo>
                  <a:lnTo>
                    <a:pt x="229276" y="448285"/>
                  </a:lnTo>
                  <a:lnTo>
                    <a:pt x="231420" y="430149"/>
                  </a:lnTo>
                  <a:lnTo>
                    <a:pt x="228133" y="419767"/>
                  </a:lnTo>
                  <a:lnTo>
                    <a:pt x="230981" y="399574"/>
                  </a:lnTo>
                  <a:lnTo>
                    <a:pt x="196034" y="404127"/>
                  </a:lnTo>
                  <a:lnTo>
                    <a:pt x="181966" y="414252"/>
                  </a:lnTo>
                  <a:lnTo>
                    <a:pt x="158610" y="425187"/>
                  </a:lnTo>
                  <a:lnTo>
                    <a:pt x="152657" y="433359"/>
                  </a:lnTo>
                  <a:lnTo>
                    <a:pt x="138903" y="433949"/>
                  </a:lnTo>
                  <a:lnTo>
                    <a:pt x="119044" y="431663"/>
                  </a:lnTo>
                  <a:lnTo>
                    <a:pt x="103975" y="436312"/>
                  </a:lnTo>
                  <a:lnTo>
                    <a:pt x="91831" y="433207"/>
                  </a:lnTo>
                  <a:lnTo>
                    <a:pt x="93612" y="392249"/>
                  </a:lnTo>
                  <a:lnTo>
                    <a:pt x="71704" y="408118"/>
                  </a:lnTo>
                  <a:lnTo>
                    <a:pt x="48130" y="407423"/>
                  </a:lnTo>
                  <a:lnTo>
                    <a:pt x="38033" y="393059"/>
                  </a:lnTo>
                  <a:lnTo>
                    <a:pt x="20307" y="391496"/>
                  </a:lnTo>
                  <a:lnTo>
                    <a:pt x="25956" y="379952"/>
                  </a:lnTo>
                  <a:lnTo>
                    <a:pt x="11116" y="363626"/>
                  </a:lnTo>
                  <a:lnTo>
                    <a:pt x="0" y="339500"/>
                  </a:lnTo>
                  <a:lnTo>
                    <a:pt x="7039" y="334604"/>
                  </a:lnTo>
                  <a:lnTo>
                    <a:pt x="7020" y="323317"/>
                  </a:lnTo>
                  <a:lnTo>
                    <a:pt x="23155" y="315601"/>
                  </a:lnTo>
                  <a:lnTo>
                    <a:pt x="20498" y="301162"/>
                  </a:lnTo>
                  <a:lnTo>
                    <a:pt x="27308" y="291884"/>
                  </a:lnTo>
                  <a:lnTo>
                    <a:pt x="29251" y="279445"/>
                  </a:lnTo>
                  <a:lnTo>
                    <a:pt x="59789" y="261328"/>
                  </a:lnTo>
                  <a:lnTo>
                    <a:pt x="81677" y="256204"/>
                  </a:lnTo>
                  <a:lnTo>
                    <a:pt x="85258" y="252203"/>
                  </a:lnTo>
                  <a:lnTo>
                    <a:pt x="109328" y="253451"/>
                  </a:lnTo>
                  <a:lnTo>
                    <a:pt x="121330" y="180613"/>
                  </a:lnTo>
                  <a:lnTo>
                    <a:pt x="121958" y="169107"/>
                  </a:lnTo>
                  <a:lnTo>
                    <a:pt x="117777" y="153914"/>
                  </a:lnTo>
                  <a:lnTo>
                    <a:pt x="105928" y="144237"/>
                  </a:lnTo>
                  <a:lnTo>
                    <a:pt x="106061" y="124959"/>
                  </a:lnTo>
                  <a:lnTo>
                    <a:pt x="121111" y="120587"/>
                  </a:lnTo>
                  <a:lnTo>
                    <a:pt x="126445" y="123339"/>
                  </a:lnTo>
                  <a:lnTo>
                    <a:pt x="127349" y="113176"/>
                  </a:lnTo>
                  <a:lnTo>
                    <a:pt x="111700" y="110433"/>
                  </a:lnTo>
                  <a:lnTo>
                    <a:pt x="111376" y="93821"/>
                  </a:lnTo>
                  <a:lnTo>
                    <a:pt x="163402" y="94421"/>
                  </a:lnTo>
                  <a:lnTo>
                    <a:pt x="172241" y="85268"/>
                  </a:lnTo>
                  <a:lnTo>
                    <a:pt x="179661" y="93688"/>
                  </a:lnTo>
                  <a:lnTo>
                    <a:pt x="184861" y="109338"/>
                  </a:lnTo>
                  <a:lnTo>
                    <a:pt x="189910" y="106071"/>
                  </a:lnTo>
                  <a:lnTo>
                    <a:pt x="204607" y="120101"/>
                  </a:lnTo>
                  <a:lnTo>
                    <a:pt x="225371" y="118386"/>
                  </a:lnTo>
                  <a:lnTo>
                    <a:pt x="230543" y="110262"/>
                  </a:lnTo>
                  <a:lnTo>
                    <a:pt x="250403" y="104070"/>
                  </a:lnTo>
                  <a:lnTo>
                    <a:pt x="261404" y="99717"/>
                  </a:lnTo>
                  <a:lnTo>
                    <a:pt x="264500" y="88478"/>
                  </a:lnTo>
                  <a:lnTo>
                    <a:pt x="283578" y="80924"/>
                  </a:lnTo>
                  <a:lnTo>
                    <a:pt x="282140" y="75343"/>
                  </a:lnTo>
                  <a:lnTo>
                    <a:pt x="259509" y="73066"/>
                  </a:lnTo>
                  <a:lnTo>
                    <a:pt x="255804" y="56331"/>
                  </a:lnTo>
                  <a:lnTo>
                    <a:pt x="256880" y="38519"/>
                  </a:lnTo>
                  <a:lnTo>
                    <a:pt x="244926" y="31623"/>
                  </a:lnTo>
                  <a:lnTo>
                    <a:pt x="249936" y="29175"/>
                  </a:lnTo>
                  <a:lnTo>
                    <a:pt x="269710" y="32576"/>
                  </a:lnTo>
                  <a:lnTo>
                    <a:pt x="290941" y="39224"/>
                  </a:lnTo>
                  <a:lnTo>
                    <a:pt x="298647" y="32938"/>
                  </a:lnTo>
                  <a:lnTo>
                    <a:pt x="317859" y="28813"/>
                  </a:lnTo>
                  <a:lnTo>
                    <a:pt x="347729" y="18850"/>
                  </a:lnTo>
                  <a:lnTo>
                    <a:pt x="357492" y="8696"/>
                  </a:lnTo>
                  <a:lnTo>
                    <a:pt x="353959" y="1181"/>
                  </a:lnTo>
                  <a:lnTo>
                    <a:pt x="367846" y="0"/>
                  </a:lnTo>
                  <a:lnTo>
                    <a:pt x="374057" y="6134"/>
                  </a:lnTo>
                  <a:lnTo>
                    <a:pt x="370580" y="17831"/>
                  </a:lnTo>
                  <a:lnTo>
                    <a:pt x="379762" y="21860"/>
                  </a:lnTo>
                  <a:lnTo>
                    <a:pt x="385886" y="34223"/>
                  </a:lnTo>
                  <a:lnTo>
                    <a:pt x="378486" y="43587"/>
                  </a:lnTo>
                  <a:lnTo>
                    <a:pt x="374228" y="66199"/>
                  </a:lnTo>
                  <a:lnTo>
                    <a:pt x="381067" y="79629"/>
                  </a:lnTo>
                  <a:lnTo>
                    <a:pt x="383000" y="91916"/>
                  </a:lnTo>
                  <a:lnTo>
                    <a:pt x="399431" y="104365"/>
                  </a:lnTo>
                  <a:lnTo>
                    <a:pt x="412537" y="105680"/>
                  </a:lnTo>
                  <a:lnTo>
                    <a:pt x="415490" y="100489"/>
                  </a:lnTo>
                  <a:lnTo>
                    <a:pt x="423939" y="99336"/>
                  </a:lnTo>
                  <a:lnTo>
                    <a:pt x="436016" y="94679"/>
                  </a:lnTo>
                  <a:lnTo>
                    <a:pt x="444703" y="87621"/>
                  </a:lnTo>
                  <a:lnTo>
                    <a:pt x="459467" y="89878"/>
                  </a:lnTo>
                  <a:lnTo>
                    <a:pt x="465973" y="88925"/>
                  </a:lnTo>
                  <a:lnTo>
                    <a:pt x="480498" y="91097"/>
                  </a:lnTo>
                  <a:lnTo>
                    <a:pt x="482899" y="85668"/>
                  </a:lnTo>
                  <a:lnTo>
                    <a:pt x="478422" y="80391"/>
                  </a:lnTo>
                  <a:lnTo>
                    <a:pt x="481089" y="72704"/>
                  </a:lnTo>
                  <a:lnTo>
                    <a:pt x="491862" y="75067"/>
                  </a:lnTo>
                  <a:lnTo>
                    <a:pt x="504482" y="72352"/>
                  </a:lnTo>
                  <a:lnTo>
                    <a:pt x="519779" y="77981"/>
                  </a:lnTo>
                  <a:lnTo>
                    <a:pt x="531438" y="83458"/>
                  </a:lnTo>
                  <a:lnTo>
                    <a:pt x="539706" y="76257"/>
                  </a:lnTo>
                  <a:lnTo>
                    <a:pt x="545678" y="77362"/>
                  </a:lnTo>
                  <a:lnTo>
                    <a:pt x="549326" y="84839"/>
                  </a:lnTo>
                  <a:lnTo>
                    <a:pt x="562108" y="82944"/>
                  </a:lnTo>
                  <a:lnTo>
                    <a:pt x="572348" y="72857"/>
                  </a:lnTo>
                  <a:lnTo>
                    <a:pt x="580539" y="53302"/>
                  </a:lnTo>
                  <a:lnTo>
                    <a:pt x="596341" y="28966"/>
                  </a:lnTo>
                  <a:lnTo>
                    <a:pt x="605438" y="27708"/>
                  </a:lnTo>
                  <a:lnTo>
                    <a:pt x="612048" y="42415"/>
                  </a:lnTo>
                  <a:lnTo>
                    <a:pt x="627021" y="88868"/>
                  </a:lnTo>
                  <a:lnTo>
                    <a:pt x="641309" y="93250"/>
                  </a:lnTo>
                  <a:lnTo>
                    <a:pt x="642023" y="111566"/>
                  </a:lnTo>
                  <a:lnTo>
                    <a:pt x="621945" y="133407"/>
                  </a:lnTo>
                  <a:lnTo>
                    <a:pt x="630250" y="141408"/>
                  </a:lnTo>
                  <a:lnTo>
                    <a:pt x="677456" y="145570"/>
                  </a:lnTo>
                  <a:lnTo>
                    <a:pt x="678418" y="172164"/>
                  </a:lnTo>
                  <a:lnTo>
                    <a:pt x="698707" y="154753"/>
                  </a:lnTo>
                  <a:lnTo>
                    <a:pt x="732311" y="164287"/>
                  </a:lnTo>
                  <a:lnTo>
                    <a:pt x="776669" y="180499"/>
                  </a:lnTo>
                  <a:lnTo>
                    <a:pt x="789699" y="196044"/>
                  </a:lnTo>
                  <a:lnTo>
                    <a:pt x="785327" y="210741"/>
                  </a:lnTo>
                  <a:lnTo>
                    <a:pt x="816378" y="202559"/>
                  </a:lnTo>
                  <a:lnTo>
                    <a:pt x="868356" y="216608"/>
                  </a:lnTo>
                  <a:lnTo>
                    <a:pt x="908257" y="215570"/>
                  </a:lnTo>
                  <a:lnTo>
                    <a:pt x="947738" y="237563"/>
                  </a:lnTo>
                  <a:lnTo>
                    <a:pt x="981837" y="267367"/>
                  </a:lnTo>
                  <a:lnTo>
                    <a:pt x="1002411" y="275044"/>
                  </a:lnTo>
                  <a:lnTo>
                    <a:pt x="1025252" y="276120"/>
                  </a:lnTo>
                  <a:lnTo>
                    <a:pt x="1034930" y="284521"/>
                  </a:lnTo>
                  <a:lnTo>
                    <a:pt x="1043997" y="318488"/>
                  </a:lnTo>
                  <a:lnTo>
                    <a:pt x="1048426" y="334671"/>
                  </a:lnTo>
                  <a:lnTo>
                    <a:pt x="1037797" y="378981"/>
                  </a:lnTo>
                  <a:lnTo>
                    <a:pt x="1024204" y="396535"/>
                  </a:lnTo>
                  <a:lnTo>
                    <a:pt x="986562" y="434064"/>
                  </a:lnTo>
                  <a:lnTo>
                    <a:pt x="969550" y="464687"/>
                  </a:lnTo>
                  <a:lnTo>
                    <a:pt x="949776" y="488261"/>
                  </a:lnTo>
                  <a:lnTo>
                    <a:pt x="943099" y="488795"/>
                  </a:lnTo>
                  <a:lnTo>
                    <a:pt x="935641" y="508873"/>
                  </a:lnTo>
                  <a:lnTo>
                    <a:pt x="937536" y="560289"/>
                  </a:lnTo>
                  <a:lnTo>
                    <a:pt x="930088" y="602942"/>
                  </a:lnTo>
                  <a:lnTo>
                    <a:pt x="927250" y="621297"/>
                  </a:lnTo>
                  <a:lnTo>
                    <a:pt x="918810" y="632317"/>
                  </a:lnTo>
                  <a:lnTo>
                    <a:pt x="914076" y="669836"/>
                  </a:lnTo>
                  <a:lnTo>
                    <a:pt x="886997" y="706774"/>
                  </a:lnTo>
                  <a:lnTo>
                    <a:pt x="882453" y="736235"/>
                  </a:lnTo>
                  <a:lnTo>
                    <a:pt x="860841" y="748655"/>
                  </a:lnTo>
                  <a:lnTo>
                    <a:pt x="854583" y="765906"/>
                  </a:lnTo>
                  <a:lnTo>
                    <a:pt x="825570" y="765839"/>
                  </a:lnTo>
                  <a:lnTo>
                    <a:pt x="783555" y="776935"/>
                  </a:lnTo>
                  <a:lnTo>
                    <a:pt x="764743" y="789823"/>
                  </a:lnTo>
                  <a:lnTo>
                    <a:pt x="734835" y="798309"/>
                  </a:lnTo>
                  <a:lnTo>
                    <a:pt x="703402" y="821550"/>
                  </a:lnTo>
                  <a:lnTo>
                    <a:pt x="680799" y="850706"/>
                  </a:lnTo>
                  <a:lnTo>
                    <a:pt x="676913" y="872823"/>
                  </a:lnTo>
                  <a:lnTo>
                    <a:pt x="681352" y="889273"/>
                  </a:lnTo>
                  <a:lnTo>
                    <a:pt x="676361" y="919582"/>
                  </a:lnTo>
                  <a:lnTo>
                    <a:pt x="670303" y="934326"/>
                  </a:lnTo>
                  <a:lnTo>
                    <a:pt x="651634" y="951033"/>
                  </a:lnTo>
                  <a:lnTo>
                    <a:pt x="622002" y="1005097"/>
                  </a:lnTo>
                  <a:lnTo>
                    <a:pt x="598523" y="1029795"/>
                  </a:lnTo>
                  <a:lnTo>
                    <a:pt x="580359" y="1044454"/>
                  </a:lnTo>
                  <a:lnTo>
                    <a:pt x="568185" y="1074496"/>
                  </a:lnTo>
                  <a:lnTo>
                    <a:pt x="550517" y="1092727"/>
                  </a:lnTo>
                  <a:lnTo>
                    <a:pt x="543125" y="1074677"/>
                  </a:lnTo>
                  <a:lnTo>
                    <a:pt x="554898" y="1059647"/>
                  </a:lnTo>
                  <a:lnTo>
                    <a:pt x="539448" y="1038234"/>
                  </a:lnTo>
                  <a:lnTo>
                    <a:pt x="518503" y="1020946"/>
                  </a:lnTo>
                  <a:lnTo>
                    <a:pt x="491014" y="1001049"/>
                  </a:lnTo>
                  <a:lnTo>
                    <a:pt x="481098" y="1001954"/>
                  </a:lnTo>
                  <a:lnTo>
                    <a:pt x="454305" y="978103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2" name="Forme libre : forme 5671">
              <a:extLst>
                <a:ext uri="{FF2B5EF4-FFF2-40B4-BE49-F238E27FC236}">
                  <a16:creationId xmlns:a16="http://schemas.microsoft.com/office/drawing/2014/main" id="{44EA1750-F7EC-A7D7-F33A-785B4B84B251}"/>
                </a:ext>
              </a:extLst>
            </p:cNvPr>
            <p:cNvSpPr/>
            <p:nvPr/>
          </p:nvSpPr>
          <p:spPr>
            <a:xfrm>
              <a:off x="3711606" y="3996770"/>
              <a:ext cx="52873" cy="97898"/>
            </a:xfrm>
            <a:custGeom>
              <a:avLst/>
              <a:gdLst>
                <a:gd name="connsiteX0" fmla="*/ 38595 w 52873"/>
                <a:gd name="connsiteY0" fmla="*/ 96460 h 97898"/>
                <a:gd name="connsiteX1" fmla="*/ 32042 w 52873"/>
                <a:gd name="connsiteY1" fmla="*/ 97898 h 97898"/>
                <a:gd name="connsiteX2" fmla="*/ 25260 w 52873"/>
                <a:gd name="connsiteY2" fmla="*/ 81153 h 97898"/>
                <a:gd name="connsiteX3" fmla="*/ 15259 w 52873"/>
                <a:gd name="connsiteY3" fmla="*/ 72704 h 97898"/>
                <a:gd name="connsiteX4" fmla="*/ 21069 w 52873"/>
                <a:gd name="connsiteY4" fmla="*/ 54121 h 97898"/>
                <a:gd name="connsiteX5" fmla="*/ 29108 w 52873"/>
                <a:gd name="connsiteY5" fmla="*/ 55302 h 97898"/>
                <a:gd name="connsiteX6" fmla="*/ 38453 w 52873"/>
                <a:gd name="connsiteY6" fmla="*/ 79581 h 97898"/>
                <a:gd name="connsiteX7" fmla="*/ 38595 w 52873"/>
                <a:gd name="connsiteY7" fmla="*/ 96460 h 97898"/>
                <a:gd name="connsiteX8" fmla="*/ 30975 w 52873"/>
                <a:gd name="connsiteY8" fmla="*/ 13688 h 97898"/>
                <a:gd name="connsiteX9" fmla="*/ 1867 w 52873"/>
                <a:gd name="connsiteY9" fmla="*/ 18440 h 97898"/>
                <a:gd name="connsiteX10" fmla="*/ 0 w 52873"/>
                <a:gd name="connsiteY10" fmla="*/ 7449 h 97898"/>
                <a:gd name="connsiteX11" fmla="*/ 12554 w 52873"/>
                <a:gd name="connsiteY11" fmla="*/ 5067 h 97898"/>
                <a:gd name="connsiteX12" fmla="*/ 30185 w 52873"/>
                <a:gd name="connsiteY12" fmla="*/ 5963 h 97898"/>
                <a:gd name="connsiteX13" fmla="*/ 30975 w 52873"/>
                <a:gd name="connsiteY13" fmla="*/ 13688 h 97898"/>
                <a:gd name="connsiteX14" fmla="*/ 52873 w 52873"/>
                <a:gd name="connsiteY14" fmla="*/ 13383 h 97898"/>
                <a:gd name="connsiteX15" fmla="*/ 48263 w 52873"/>
                <a:gd name="connsiteY15" fmla="*/ 34433 h 97898"/>
                <a:gd name="connsiteX16" fmla="*/ 43348 w 52873"/>
                <a:gd name="connsiteY16" fmla="*/ 30652 h 97898"/>
                <a:gd name="connsiteX17" fmla="*/ 43787 w 52873"/>
                <a:gd name="connsiteY17" fmla="*/ 15173 h 97898"/>
                <a:gd name="connsiteX18" fmla="*/ 31823 w 52873"/>
                <a:gd name="connsiteY18" fmla="*/ 3420 h 97898"/>
                <a:gd name="connsiteX19" fmla="*/ 31766 w 52873"/>
                <a:gd name="connsiteY19" fmla="*/ 0 h 97898"/>
                <a:gd name="connsiteX20" fmla="*/ 52873 w 52873"/>
                <a:gd name="connsiteY20" fmla="*/ 13383 h 97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2873" h="97898">
                  <a:moveTo>
                    <a:pt x="38595" y="96460"/>
                  </a:moveTo>
                  <a:lnTo>
                    <a:pt x="32042" y="97898"/>
                  </a:lnTo>
                  <a:lnTo>
                    <a:pt x="25260" y="81153"/>
                  </a:lnTo>
                  <a:lnTo>
                    <a:pt x="15259" y="72704"/>
                  </a:lnTo>
                  <a:lnTo>
                    <a:pt x="21069" y="54121"/>
                  </a:lnTo>
                  <a:lnTo>
                    <a:pt x="29108" y="55302"/>
                  </a:lnTo>
                  <a:lnTo>
                    <a:pt x="38453" y="79581"/>
                  </a:lnTo>
                  <a:lnTo>
                    <a:pt x="38595" y="96460"/>
                  </a:lnTo>
                  <a:close/>
                  <a:moveTo>
                    <a:pt x="30975" y="13688"/>
                  </a:moveTo>
                  <a:lnTo>
                    <a:pt x="1867" y="18440"/>
                  </a:lnTo>
                  <a:lnTo>
                    <a:pt x="0" y="7449"/>
                  </a:lnTo>
                  <a:lnTo>
                    <a:pt x="12554" y="5067"/>
                  </a:lnTo>
                  <a:lnTo>
                    <a:pt x="30185" y="5963"/>
                  </a:lnTo>
                  <a:lnTo>
                    <a:pt x="30975" y="13688"/>
                  </a:lnTo>
                  <a:close/>
                  <a:moveTo>
                    <a:pt x="52873" y="13383"/>
                  </a:moveTo>
                  <a:lnTo>
                    <a:pt x="48263" y="34433"/>
                  </a:lnTo>
                  <a:lnTo>
                    <a:pt x="43348" y="30652"/>
                  </a:lnTo>
                  <a:lnTo>
                    <a:pt x="43787" y="15173"/>
                  </a:lnTo>
                  <a:lnTo>
                    <a:pt x="31823" y="3420"/>
                  </a:lnTo>
                  <a:lnTo>
                    <a:pt x="31766" y="0"/>
                  </a:lnTo>
                  <a:lnTo>
                    <a:pt x="52873" y="133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3" name="Forme libre : forme 5672">
              <a:extLst>
                <a:ext uri="{FF2B5EF4-FFF2-40B4-BE49-F238E27FC236}">
                  <a16:creationId xmlns:a16="http://schemas.microsoft.com/office/drawing/2014/main" id="{10BCE6C0-DD0F-6D8C-4CA7-255EF18EEA84}"/>
                </a:ext>
              </a:extLst>
            </p:cNvPr>
            <p:cNvSpPr/>
            <p:nvPr/>
          </p:nvSpPr>
          <p:spPr>
            <a:xfrm>
              <a:off x="8192833" y="3959070"/>
              <a:ext cx="87848" cy="47244"/>
            </a:xfrm>
            <a:custGeom>
              <a:avLst/>
              <a:gdLst>
                <a:gd name="connsiteX0" fmla="*/ 76971 w 87848"/>
                <a:gd name="connsiteY0" fmla="*/ 15793 h 47244"/>
                <a:gd name="connsiteX1" fmla="*/ 87849 w 87848"/>
                <a:gd name="connsiteY1" fmla="*/ 25365 h 47244"/>
                <a:gd name="connsiteX2" fmla="*/ 85973 w 87848"/>
                <a:gd name="connsiteY2" fmla="*/ 43701 h 47244"/>
                <a:gd name="connsiteX3" fmla="*/ 64189 w 87848"/>
                <a:gd name="connsiteY3" fmla="*/ 44587 h 47244"/>
                <a:gd name="connsiteX4" fmla="*/ 41634 w 87848"/>
                <a:gd name="connsiteY4" fmla="*/ 42586 h 47244"/>
                <a:gd name="connsiteX5" fmla="*/ 24850 w 87848"/>
                <a:gd name="connsiteY5" fmla="*/ 47244 h 47244"/>
                <a:gd name="connsiteX6" fmla="*/ 571 w 87848"/>
                <a:gd name="connsiteY6" fmla="*/ 35938 h 47244"/>
                <a:gd name="connsiteX7" fmla="*/ 0 w 87848"/>
                <a:gd name="connsiteY7" fmla="*/ 29947 h 47244"/>
                <a:gd name="connsiteX8" fmla="*/ 17669 w 87848"/>
                <a:gd name="connsiteY8" fmla="*/ 7649 h 47244"/>
                <a:gd name="connsiteX9" fmla="*/ 32099 w 87848"/>
                <a:gd name="connsiteY9" fmla="*/ 0 h 47244"/>
                <a:gd name="connsiteX10" fmla="*/ 51178 w 87848"/>
                <a:gd name="connsiteY10" fmla="*/ 6982 h 47244"/>
                <a:gd name="connsiteX11" fmla="*/ 65284 w 87848"/>
                <a:gd name="connsiteY11" fmla="*/ 7715 h 47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848" h="47244">
                  <a:moveTo>
                    <a:pt x="76971" y="15793"/>
                  </a:moveTo>
                  <a:lnTo>
                    <a:pt x="87849" y="25365"/>
                  </a:lnTo>
                  <a:lnTo>
                    <a:pt x="85973" y="43701"/>
                  </a:lnTo>
                  <a:lnTo>
                    <a:pt x="64189" y="44587"/>
                  </a:lnTo>
                  <a:lnTo>
                    <a:pt x="41634" y="42586"/>
                  </a:lnTo>
                  <a:lnTo>
                    <a:pt x="24850" y="47244"/>
                  </a:lnTo>
                  <a:lnTo>
                    <a:pt x="571" y="35938"/>
                  </a:lnTo>
                  <a:lnTo>
                    <a:pt x="0" y="29947"/>
                  </a:lnTo>
                  <a:lnTo>
                    <a:pt x="17669" y="7649"/>
                  </a:lnTo>
                  <a:lnTo>
                    <a:pt x="32099" y="0"/>
                  </a:lnTo>
                  <a:lnTo>
                    <a:pt x="51178" y="6982"/>
                  </a:lnTo>
                  <a:lnTo>
                    <a:pt x="65284" y="77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4" name="Forme libre : forme 5673">
              <a:extLst>
                <a:ext uri="{FF2B5EF4-FFF2-40B4-BE49-F238E27FC236}">
                  <a16:creationId xmlns:a16="http://schemas.microsoft.com/office/drawing/2014/main" id="{705E985A-FBB1-D2EC-4E17-1917500D04D8}"/>
                </a:ext>
              </a:extLst>
            </p:cNvPr>
            <p:cNvSpPr/>
            <p:nvPr/>
          </p:nvSpPr>
          <p:spPr>
            <a:xfrm>
              <a:off x="6352241" y="5218885"/>
              <a:ext cx="254689" cy="263366"/>
            </a:xfrm>
            <a:custGeom>
              <a:avLst/>
              <a:gdLst>
                <a:gd name="connsiteX0" fmla="*/ 153657 w 254689"/>
                <a:gd name="connsiteY0" fmla="*/ 24412 h 263366"/>
                <a:gd name="connsiteX1" fmla="*/ 159029 w 254689"/>
                <a:gd name="connsiteY1" fmla="*/ 29413 h 263366"/>
                <a:gd name="connsiteX2" fmla="*/ 167430 w 254689"/>
                <a:gd name="connsiteY2" fmla="*/ 45663 h 263366"/>
                <a:gd name="connsiteX3" fmla="*/ 197654 w 254689"/>
                <a:gd name="connsiteY3" fmla="*/ 76667 h 263366"/>
                <a:gd name="connsiteX4" fmla="*/ 209093 w 254689"/>
                <a:gd name="connsiteY4" fmla="*/ 79715 h 263366"/>
                <a:gd name="connsiteX5" fmla="*/ 209159 w 254689"/>
                <a:gd name="connsiteY5" fmla="*/ 89725 h 263366"/>
                <a:gd name="connsiteX6" fmla="*/ 217018 w 254689"/>
                <a:gd name="connsiteY6" fmla="*/ 107775 h 263366"/>
                <a:gd name="connsiteX7" fmla="*/ 237668 w 254689"/>
                <a:gd name="connsiteY7" fmla="*/ 112157 h 263366"/>
                <a:gd name="connsiteX8" fmla="*/ 254689 w 254689"/>
                <a:gd name="connsiteY8" fmla="*/ 125092 h 263366"/>
                <a:gd name="connsiteX9" fmla="*/ 216904 w 254689"/>
                <a:gd name="connsiteY9" fmla="*/ 146247 h 263366"/>
                <a:gd name="connsiteX10" fmla="*/ 192929 w 254689"/>
                <a:gd name="connsiteY10" fmla="*/ 167821 h 263366"/>
                <a:gd name="connsiteX11" fmla="*/ 184032 w 254689"/>
                <a:gd name="connsiteY11" fmla="*/ 187176 h 263366"/>
                <a:gd name="connsiteX12" fmla="*/ 176003 w 254689"/>
                <a:gd name="connsiteY12" fmla="*/ 198139 h 263366"/>
                <a:gd name="connsiteX13" fmla="*/ 161468 w 254689"/>
                <a:gd name="connsiteY13" fmla="*/ 200473 h 263366"/>
                <a:gd name="connsiteX14" fmla="*/ 156782 w 254689"/>
                <a:gd name="connsiteY14" fmla="*/ 214484 h 263366"/>
                <a:gd name="connsiteX15" fmla="*/ 154077 w 254689"/>
                <a:gd name="connsiteY15" fmla="*/ 223657 h 263366"/>
                <a:gd name="connsiteX16" fmla="*/ 136998 w 254689"/>
                <a:gd name="connsiteY16" fmla="*/ 230514 h 263366"/>
                <a:gd name="connsiteX17" fmla="*/ 115262 w 254689"/>
                <a:gd name="connsiteY17" fmla="*/ 229058 h 263366"/>
                <a:gd name="connsiteX18" fmla="*/ 102498 w 254689"/>
                <a:gd name="connsiteY18" fmla="*/ 220809 h 263366"/>
                <a:gd name="connsiteX19" fmla="*/ 91250 w 254689"/>
                <a:gd name="connsiteY19" fmla="*/ 217237 h 263366"/>
                <a:gd name="connsiteX20" fmla="*/ 78220 w 254689"/>
                <a:gd name="connsiteY20" fmla="*/ 224057 h 263366"/>
                <a:gd name="connsiteX21" fmla="*/ 71685 w 254689"/>
                <a:gd name="connsiteY21" fmla="*/ 238182 h 263366"/>
                <a:gd name="connsiteX22" fmla="*/ 59036 w 254689"/>
                <a:gd name="connsiteY22" fmla="*/ 247079 h 263366"/>
                <a:gd name="connsiteX23" fmla="*/ 45682 w 254689"/>
                <a:gd name="connsiteY23" fmla="*/ 260328 h 263366"/>
                <a:gd name="connsiteX24" fmla="*/ 26546 w 254689"/>
                <a:gd name="connsiteY24" fmla="*/ 263366 h 263366"/>
                <a:gd name="connsiteX25" fmla="*/ 20593 w 254689"/>
                <a:gd name="connsiteY25" fmla="*/ 252927 h 263366"/>
                <a:gd name="connsiteX26" fmla="*/ 23050 w 254689"/>
                <a:gd name="connsiteY26" fmla="*/ 234896 h 263366"/>
                <a:gd name="connsiteX27" fmla="*/ 7220 w 254689"/>
                <a:gd name="connsiteY27" fmla="*/ 206959 h 263366"/>
                <a:gd name="connsiteX28" fmla="*/ 10 w 254689"/>
                <a:gd name="connsiteY28" fmla="*/ 202559 h 263366"/>
                <a:gd name="connsiteX29" fmla="*/ 0 w 254689"/>
                <a:gd name="connsiteY29" fmla="*/ 118158 h 263366"/>
                <a:gd name="connsiteX30" fmla="*/ 26327 w 254689"/>
                <a:gd name="connsiteY30" fmla="*/ 117157 h 263366"/>
                <a:gd name="connsiteX31" fmla="*/ 27108 w 254689"/>
                <a:gd name="connsiteY31" fmla="*/ 16478 h 263366"/>
                <a:gd name="connsiteX32" fmla="*/ 46997 w 254689"/>
                <a:gd name="connsiteY32" fmla="*/ 15554 h 263366"/>
                <a:gd name="connsiteX33" fmla="*/ 88164 w 254689"/>
                <a:gd name="connsiteY33" fmla="*/ 5782 h 263366"/>
                <a:gd name="connsiteX34" fmla="*/ 98374 w 254689"/>
                <a:gd name="connsiteY34" fmla="*/ 17288 h 263366"/>
                <a:gd name="connsiteX35" fmla="*/ 115424 w 254689"/>
                <a:gd name="connsiteY35" fmla="*/ 6344 h 263366"/>
                <a:gd name="connsiteX36" fmla="*/ 123520 w 254689"/>
                <a:gd name="connsiteY36" fmla="*/ 6287 h 263366"/>
                <a:gd name="connsiteX37" fmla="*/ 138579 w 254689"/>
                <a:gd name="connsiteY37" fmla="*/ 0 h 263366"/>
                <a:gd name="connsiteX38" fmla="*/ 143380 w 254689"/>
                <a:gd name="connsiteY38" fmla="*/ 2086 h 26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54689" h="263366">
                  <a:moveTo>
                    <a:pt x="153657" y="24412"/>
                  </a:moveTo>
                  <a:lnTo>
                    <a:pt x="159029" y="29413"/>
                  </a:lnTo>
                  <a:lnTo>
                    <a:pt x="167430" y="45663"/>
                  </a:lnTo>
                  <a:lnTo>
                    <a:pt x="197654" y="76667"/>
                  </a:lnTo>
                  <a:lnTo>
                    <a:pt x="209093" y="79715"/>
                  </a:lnTo>
                  <a:lnTo>
                    <a:pt x="209159" y="89725"/>
                  </a:lnTo>
                  <a:lnTo>
                    <a:pt x="217018" y="107775"/>
                  </a:lnTo>
                  <a:lnTo>
                    <a:pt x="237668" y="112157"/>
                  </a:lnTo>
                  <a:lnTo>
                    <a:pt x="254689" y="125092"/>
                  </a:lnTo>
                  <a:lnTo>
                    <a:pt x="216904" y="146247"/>
                  </a:lnTo>
                  <a:lnTo>
                    <a:pt x="192929" y="167821"/>
                  </a:lnTo>
                  <a:lnTo>
                    <a:pt x="184032" y="187176"/>
                  </a:lnTo>
                  <a:lnTo>
                    <a:pt x="176003" y="198139"/>
                  </a:lnTo>
                  <a:lnTo>
                    <a:pt x="161468" y="200473"/>
                  </a:lnTo>
                  <a:lnTo>
                    <a:pt x="156782" y="214484"/>
                  </a:lnTo>
                  <a:lnTo>
                    <a:pt x="154077" y="223657"/>
                  </a:lnTo>
                  <a:lnTo>
                    <a:pt x="136998" y="230514"/>
                  </a:lnTo>
                  <a:lnTo>
                    <a:pt x="115262" y="229058"/>
                  </a:lnTo>
                  <a:lnTo>
                    <a:pt x="102498" y="220809"/>
                  </a:lnTo>
                  <a:lnTo>
                    <a:pt x="91250" y="217237"/>
                  </a:lnTo>
                  <a:lnTo>
                    <a:pt x="78220" y="224057"/>
                  </a:lnTo>
                  <a:lnTo>
                    <a:pt x="71685" y="238182"/>
                  </a:lnTo>
                  <a:lnTo>
                    <a:pt x="59036" y="247079"/>
                  </a:lnTo>
                  <a:lnTo>
                    <a:pt x="45682" y="260328"/>
                  </a:lnTo>
                  <a:lnTo>
                    <a:pt x="26546" y="263366"/>
                  </a:lnTo>
                  <a:lnTo>
                    <a:pt x="20593" y="252927"/>
                  </a:lnTo>
                  <a:lnTo>
                    <a:pt x="23050" y="234896"/>
                  </a:lnTo>
                  <a:lnTo>
                    <a:pt x="7220" y="206959"/>
                  </a:lnTo>
                  <a:lnTo>
                    <a:pt x="10" y="202559"/>
                  </a:lnTo>
                  <a:lnTo>
                    <a:pt x="0" y="118158"/>
                  </a:lnTo>
                  <a:lnTo>
                    <a:pt x="26327" y="117157"/>
                  </a:lnTo>
                  <a:lnTo>
                    <a:pt x="27108" y="16478"/>
                  </a:lnTo>
                  <a:lnTo>
                    <a:pt x="46997" y="15554"/>
                  </a:lnTo>
                  <a:lnTo>
                    <a:pt x="88164" y="5782"/>
                  </a:lnTo>
                  <a:lnTo>
                    <a:pt x="98374" y="17288"/>
                  </a:lnTo>
                  <a:lnTo>
                    <a:pt x="115424" y="6344"/>
                  </a:lnTo>
                  <a:lnTo>
                    <a:pt x="123520" y="6287"/>
                  </a:lnTo>
                  <a:lnTo>
                    <a:pt x="138579" y="0"/>
                  </a:lnTo>
                  <a:lnTo>
                    <a:pt x="143380" y="20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5" name="Forme libre : forme 5674">
              <a:extLst>
                <a:ext uri="{FF2B5EF4-FFF2-40B4-BE49-F238E27FC236}">
                  <a16:creationId xmlns:a16="http://schemas.microsoft.com/office/drawing/2014/main" id="{16003262-F5AF-C3CF-E34B-DFF793CE8AC2}"/>
                </a:ext>
              </a:extLst>
            </p:cNvPr>
            <p:cNvSpPr/>
            <p:nvPr/>
          </p:nvSpPr>
          <p:spPr>
            <a:xfrm>
              <a:off x="6440481" y="2929741"/>
              <a:ext cx="253555" cy="218798"/>
            </a:xfrm>
            <a:custGeom>
              <a:avLst/>
              <a:gdLst>
                <a:gd name="connsiteX0" fmla="*/ 7601 w 253555"/>
                <a:gd name="connsiteY0" fmla="*/ 104985 h 218798"/>
                <a:gd name="connsiteX1" fmla="*/ 33414 w 253555"/>
                <a:gd name="connsiteY1" fmla="*/ 105289 h 218798"/>
                <a:gd name="connsiteX2" fmla="*/ 62408 w 253555"/>
                <a:gd name="connsiteY2" fmla="*/ 88173 h 218798"/>
                <a:gd name="connsiteX3" fmla="*/ 68609 w 253555"/>
                <a:gd name="connsiteY3" fmla="*/ 62227 h 218798"/>
                <a:gd name="connsiteX4" fmla="*/ 90506 w 253555"/>
                <a:gd name="connsiteY4" fmla="*/ 47349 h 218798"/>
                <a:gd name="connsiteX5" fmla="*/ 87992 w 253555"/>
                <a:gd name="connsiteY5" fmla="*/ 26327 h 218798"/>
                <a:gd name="connsiteX6" fmla="*/ 104232 w 253555"/>
                <a:gd name="connsiteY6" fmla="*/ 18374 h 218798"/>
                <a:gd name="connsiteX7" fmla="*/ 132921 w 253555"/>
                <a:gd name="connsiteY7" fmla="*/ 0 h 218798"/>
                <a:gd name="connsiteX8" fmla="*/ 161039 w 253555"/>
                <a:gd name="connsiteY8" fmla="*/ 11963 h 218798"/>
                <a:gd name="connsiteX9" fmla="*/ 164830 w 253555"/>
                <a:gd name="connsiteY9" fmla="*/ 23736 h 218798"/>
                <a:gd name="connsiteX10" fmla="*/ 178851 w 253555"/>
                <a:gd name="connsiteY10" fmla="*/ 18088 h 218798"/>
                <a:gd name="connsiteX11" fmla="*/ 204958 w 253555"/>
                <a:gd name="connsiteY11" fmla="*/ 29356 h 218798"/>
                <a:gd name="connsiteX12" fmla="*/ 207569 w 253555"/>
                <a:gd name="connsiteY12" fmla="*/ 51340 h 218798"/>
                <a:gd name="connsiteX13" fmla="*/ 201853 w 253555"/>
                <a:gd name="connsiteY13" fmla="*/ 63855 h 218798"/>
                <a:gd name="connsiteX14" fmla="*/ 218589 w 253555"/>
                <a:gd name="connsiteY14" fmla="*/ 93888 h 218798"/>
                <a:gd name="connsiteX15" fmla="*/ 229467 w 253555"/>
                <a:gd name="connsiteY15" fmla="*/ 102165 h 218798"/>
                <a:gd name="connsiteX16" fmla="*/ 227857 w 253555"/>
                <a:gd name="connsiteY16" fmla="*/ 110337 h 218798"/>
                <a:gd name="connsiteX17" fmla="*/ 245859 w 253555"/>
                <a:gd name="connsiteY17" fmla="*/ 118253 h 218798"/>
                <a:gd name="connsiteX18" fmla="*/ 253555 w 253555"/>
                <a:gd name="connsiteY18" fmla="*/ 130197 h 218798"/>
                <a:gd name="connsiteX19" fmla="*/ 243164 w 253555"/>
                <a:gd name="connsiteY19" fmla="*/ 139932 h 218798"/>
                <a:gd name="connsiteX20" fmla="*/ 221618 w 253555"/>
                <a:gd name="connsiteY20" fmla="*/ 138389 h 218798"/>
                <a:gd name="connsiteX21" fmla="*/ 216475 w 253555"/>
                <a:gd name="connsiteY21" fmla="*/ 142532 h 218798"/>
                <a:gd name="connsiteX22" fmla="*/ 222752 w 253555"/>
                <a:gd name="connsiteY22" fmla="*/ 157201 h 218798"/>
                <a:gd name="connsiteX23" fmla="*/ 229314 w 253555"/>
                <a:gd name="connsiteY23" fmla="*/ 185175 h 218798"/>
                <a:gd name="connsiteX24" fmla="*/ 206387 w 253555"/>
                <a:gd name="connsiteY24" fmla="*/ 187747 h 218798"/>
                <a:gd name="connsiteX25" fmla="*/ 198158 w 253555"/>
                <a:gd name="connsiteY25" fmla="*/ 197225 h 218798"/>
                <a:gd name="connsiteX26" fmla="*/ 196443 w 253555"/>
                <a:gd name="connsiteY26" fmla="*/ 218799 h 218798"/>
                <a:gd name="connsiteX27" fmla="*/ 185823 w 253555"/>
                <a:gd name="connsiteY27" fmla="*/ 214674 h 218798"/>
                <a:gd name="connsiteX28" fmla="*/ 161715 w 253555"/>
                <a:gd name="connsiteY28" fmla="*/ 216722 h 218798"/>
                <a:gd name="connsiteX29" fmla="*/ 154714 w 253555"/>
                <a:gd name="connsiteY29" fmla="*/ 206721 h 218798"/>
                <a:gd name="connsiteX30" fmla="*/ 144703 w 253555"/>
                <a:gd name="connsiteY30" fmla="*/ 214179 h 218798"/>
                <a:gd name="connsiteX31" fmla="*/ 134655 w 253555"/>
                <a:gd name="connsiteY31" fmla="*/ 207997 h 218798"/>
                <a:gd name="connsiteX32" fmla="*/ 113623 w 253555"/>
                <a:gd name="connsiteY32" fmla="*/ 207140 h 218798"/>
                <a:gd name="connsiteX33" fmla="*/ 83820 w 253555"/>
                <a:gd name="connsiteY33" fmla="*/ 196815 h 218798"/>
                <a:gd name="connsiteX34" fmla="*/ 56845 w 253555"/>
                <a:gd name="connsiteY34" fmla="*/ 193434 h 218798"/>
                <a:gd name="connsiteX35" fmla="*/ 36147 w 253555"/>
                <a:gd name="connsiteY35" fmla="*/ 194396 h 218798"/>
                <a:gd name="connsiteX36" fmla="*/ 21517 w 253555"/>
                <a:gd name="connsiteY36" fmla="*/ 206064 h 218798"/>
                <a:gd name="connsiteX37" fmla="*/ 8744 w 253555"/>
                <a:gd name="connsiteY37" fmla="*/ 207731 h 218798"/>
                <a:gd name="connsiteX38" fmla="*/ 8239 w 253555"/>
                <a:gd name="connsiteY38" fmla="*/ 188557 h 218798"/>
                <a:gd name="connsiteX39" fmla="*/ 0 w 253555"/>
                <a:gd name="connsiteY39" fmla="*/ 168392 h 218798"/>
                <a:gd name="connsiteX40" fmla="*/ 16011 w 253555"/>
                <a:gd name="connsiteY40" fmla="*/ 159439 h 218798"/>
                <a:gd name="connsiteX41" fmla="*/ 16173 w 253555"/>
                <a:gd name="connsiteY41" fmla="*/ 141837 h 218798"/>
                <a:gd name="connsiteX42" fmla="*/ 8763 w 253555"/>
                <a:gd name="connsiteY42" fmla="*/ 124892 h 218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3555" h="218798">
                  <a:moveTo>
                    <a:pt x="7601" y="104985"/>
                  </a:moveTo>
                  <a:lnTo>
                    <a:pt x="33414" y="105289"/>
                  </a:lnTo>
                  <a:lnTo>
                    <a:pt x="62408" y="88173"/>
                  </a:lnTo>
                  <a:lnTo>
                    <a:pt x="68609" y="62227"/>
                  </a:lnTo>
                  <a:lnTo>
                    <a:pt x="90506" y="47349"/>
                  </a:lnTo>
                  <a:lnTo>
                    <a:pt x="87992" y="26327"/>
                  </a:lnTo>
                  <a:lnTo>
                    <a:pt x="104232" y="18374"/>
                  </a:lnTo>
                  <a:lnTo>
                    <a:pt x="132921" y="0"/>
                  </a:lnTo>
                  <a:lnTo>
                    <a:pt x="161039" y="11963"/>
                  </a:lnTo>
                  <a:lnTo>
                    <a:pt x="164830" y="23736"/>
                  </a:lnTo>
                  <a:lnTo>
                    <a:pt x="178851" y="18088"/>
                  </a:lnTo>
                  <a:lnTo>
                    <a:pt x="204958" y="29356"/>
                  </a:lnTo>
                  <a:lnTo>
                    <a:pt x="207569" y="51340"/>
                  </a:lnTo>
                  <a:lnTo>
                    <a:pt x="201853" y="63855"/>
                  </a:lnTo>
                  <a:lnTo>
                    <a:pt x="218589" y="93888"/>
                  </a:lnTo>
                  <a:lnTo>
                    <a:pt x="229467" y="102165"/>
                  </a:lnTo>
                  <a:lnTo>
                    <a:pt x="227857" y="110337"/>
                  </a:lnTo>
                  <a:lnTo>
                    <a:pt x="245859" y="118253"/>
                  </a:lnTo>
                  <a:lnTo>
                    <a:pt x="253555" y="130197"/>
                  </a:lnTo>
                  <a:lnTo>
                    <a:pt x="243164" y="139932"/>
                  </a:lnTo>
                  <a:lnTo>
                    <a:pt x="221618" y="138389"/>
                  </a:lnTo>
                  <a:lnTo>
                    <a:pt x="216475" y="142532"/>
                  </a:lnTo>
                  <a:lnTo>
                    <a:pt x="222752" y="157201"/>
                  </a:lnTo>
                  <a:lnTo>
                    <a:pt x="229314" y="185175"/>
                  </a:lnTo>
                  <a:lnTo>
                    <a:pt x="206387" y="187747"/>
                  </a:lnTo>
                  <a:lnTo>
                    <a:pt x="198158" y="197225"/>
                  </a:lnTo>
                  <a:lnTo>
                    <a:pt x="196443" y="218799"/>
                  </a:lnTo>
                  <a:lnTo>
                    <a:pt x="185823" y="214674"/>
                  </a:lnTo>
                  <a:lnTo>
                    <a:pt x="161715" y="216722"/>
                  </a:lnTo>
                  <a:lnTo>
                    <a:pt x="154714" y="206721"/>
                  </a:lnTo>
                  <a:lnTo>
                    <a:pt x="144703" y="214179"/>
                  </a:lnTo>
                  <a:lnTo>
                    <a:pt x="134655" y="207997"/>
                  </a:lnTo>
                  <a:lnTo>
                    <a:pt x="113623" y="207140"/>
                  </a:lnTo>
                  <a:lnTo>
                    <a:pt x="83820" y="196815"/>
                  </a:lnTo>
                  <a:lnTo>
                    <a:pt x="56845" y="193434"/>
                  </a:lnTo>
                  <a:lnTo>
                    <a:pt x="36147" y="194396"/>
                  </a:lnTo>
                  <a:lnTo>
                    <a:pt x="21517" y="206064"/>
                  </a:lnTo>
                  <a:lnTo>
                    <a:pt x="8744" y="207731"/>
                  </a:lnTo>
                  <a:lnTo>
                    <a:pt x="8239" y="188557"/>
                  </a:lnTo>
                  <a:lnTo>
                    <a:pt x="0" y="168392"/>
                  </a:lnTo>
                  <a:lnTo>
                    <a:pt x="16011" y="159439"/>
                  </a:lnTo>
                  <a:lnTo>
                    <a:pt x="16173" y="141837"/>
                  </a:lnTo>
                  <a:lnTo>
                    <a:pt x="8763" y="12489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6" name="Forme libre : forme 5675">
              <a:extLst>
                <a:ext uri="{FF2B5EF4-FFF2-40B4-BE49-F238E27FC236}">
                  <a16:creationId xmlns:a16="http://schemas.microsoft.com/office/drawing/2014/main" id="{54634314-F8E2-0F2D-F024-6B249AB0673A}"/>
                </a:ext>
              </a:extLst>
            </p:cNvPr>
            <p:cNvSpPr/>
            <p:nvPr/>
          </p:nvSpPr>
          <p:spPr>
            <a:xfrm>
              <a:off x="3437886" y="4243020"/>
              <a:ext cx="29965" cy="72609"/>
            </a:xfrm>
            <a:custGeom>
              <a:avLst/>
              <a:gdLst>
                <a:gd name="connsiteX0" fmla="*/ 2296 w 29965"/>
                <a:gd name="connsiteY0" fmla="*/ 19317 h 72609"/>
                <a:gd name="connsiteX1" fmla="*/ 2086 w 29965"/>
                <a:gd name="connsiteY1" fmla="*/ 15212 h 72609"/>
                <a:gd name="connsiteX2" fmla="*/ 5315 w 29965"/>
                <a:gd name="connsiteY2" fmla="*/ 13935 h 72609"/>
                <a:gd name="connsiteX3" fmla="*/ 10163 w 29965"/>
                <a:gd name="connsiteY3" fmla="*/ 17231 h 72609"/>
                <a:gd name="connsiteX4" fmla="*/ 19736 w 29965"/>
                <a:gd name="connsiteY4" fmla="*/ 362 h 72609"/>
                <a:gd name="connsiteX5" fmla="*/ 24813 w 29965"/>
                <a:gd name="connsiteY5" fmla="*/ 0 h 72609"/>
                <a:gd name="connsiteX6" fmla="*/ 24908 w 29965"/>
                <a:gd name="connsiteY6" fmla="*/ 4105 h 72609"/>
                <a:gd name="connsiteX7" fmla="*/ 29966 w 29965"/>
                <a:gd name="connsiteY7" fmla="*/ 4229 h 72609"/>
                <a:gd name="connsiteX8" fmla="*/ 29528 w 29965"/>
                <a:gd name="connsiteY8" fmla="*/ 11830 h 72609"/>
                <a:gd name="connsiteX9" fmla="*/ 25203 w 29965"/>
                <a:gd name="connsiteY9" fmla="*/ 23889 h 72609"/>
                <a:gd name="connsiteX10" fmla="*/ 27537 w 29965"/>
                <a:gd name="connsiteY10" fmla="*/ 28204 h 72609"/>
                <a:gd name="connsiteX11" fmla="*/ 24746 w 29965"/>
                <a:gd name="connsiteY11" fmla="*/ 38148 h 72609"/>
                <a:gd name="connsiteX12" fmla="*/ 26422 w 29965"/>
                <a:gd name="connsiteY12" fmla="*/ 40805 h 72609"/>
                <a:gd name="connsiteX13" fmla="*/ 23336 w 29965"/>
                <a:gd name="connsiteY13" fmla="*/ 54816 h 72609"/>
                <a:gd name="connsiteX14" fmla="*/ 18088 w 29965"/>
                <a:gd name="connsiteY14" fmla="*/ 62151 h 72609"/>
                <a:gd name="connsiteX15" fmla="*/ 13259 w 29965"/>
                <a:gd name="connsiteY15" fmla="*/ 63037 h 72609"/>
                <a:gd name="connsiteX16" fmla="*/ 7972 w 29965"/>
                <a:gd name="connsiteY16" fmla="*/ 72600 h 72609"/>
                <a:gd name="connsiteX17" fmla="*/ 0 w 29965"/>
                <a:gd name="connsiteY17" fmla="*/ 72609 h 72609"/>
                <a:gd name="connsiteX18" fmla="*/ 2086 w 29965"/>
                <a:gd name="connsiteY18" fmla="*/ 41367 h 72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965" h="72609">
                  <a:moveTo>
                    <a:pt x="2296" y="19317"/>
                  </a:moveTo>
                  <a:lnTo>
                    <a:pt x="2086" y="15212"/>
                  </a:lnTo>
                  <a:lnTo>
                    <a:pt x="5315" y="13935"/>
                  </a:lnTo>
                  <a:lnTo>
                    <a:pt x="10163" y="17231"/>
                  </a:lnTo>
                  <a:lnTo>
                    <a:pt x="19736" y="362"/>
                  </a:lnTo>
                  <a:lnTo>
                    <a:pt x="24813" y="0"/>
                  </a:lnTo>
                  <a:lnTo>
                    <a:pt x="24908" y="4105"/>
                  </a:lnTo>
                  <a:lnTo>
                    <a:pt x="29966" y="4229"/>
                  </a:lnTo>
                  <a:lnTo>
                    <a:pt x="29528" y="11830"/>
                  </a:lnTo>
                  <a:lnTo>
                    <a:pt x="25203" y="23889"/>
                  </a:lnTo>
                  <a:lnTo>
                    <a:pt x="27537" y="28204"/>
                  </a:lnTo>
                  <a:lnTo>
                    <a:pt x="24746" y="38148"/>
                  </a:lnTo>
                  <a:lnTo>
                    <a:pt x="26422" y="40805"/>
                  </a:lnTo>
                  <a:lnTo>
                    <a:pt x="23336" y="54816"/>
                  </a:lnTo>
                  <a:lnTo>
                    <a:pt x="18088" y="62151"/>
                  </a:lnTo>
                  <a:lnTo>
                    <a:pt x="13259" y="63037"/>
                  </a:lnTo>
                  <a:lnTo>
                    <a:pt x="7972" y="72600"/>
                  </a:lnTo>
                  <a:lnTo>
                    <a:pt x="0" y="72609"/>
                  </a:lnTo>
                  <a:lnTo>
                    <a:pt x="2086" y="413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7" name="Forme libre : forme 5676">
              <a:extLst>
                <a:ext uri="{FF2B5EF4-FFF2-40B4-BE49-F238E27FC236}">
                  <a16:creationId xmlns:a16="http://schemas.microsoft.com/office/drawing/2014/main" id="{4D93959E-A78A-F0B4-A0A4-062983E1322D}"/>
                </a:ext>
              </a:extLst>
            </p:cNvPr>
            <p:cNvSpPr/>
            <p:nvPr/>
          </p:nvSpPr>
          <p:spPr>
            <a:xfrm>
              <a:off x="2055304" y="425200"/>
              <a:ext cx="2359561" cy="3085499"/>
            </a:xfrm>
            <a:custGeom>
              <a:avLst/>
              <a:gdLst>
                <a:gd name="connsiteX0" fmla="*/ 1133570 w 2359561"/>
                <a:gd name="connsiteY0" fmla="*/ 820331 h 3085499"/>
                <a:gd name="connsiteX1" fmla="*/ 1131456 w 2359561"/>
                <a:gd name="connsiteY1" fmla="*/ 764115 h 3085499"/>
                <a:gd name="connsiteX2" fmla="*/ 1166031 w 2359561"/>
                <a:gd name="connsiteY2" fmla="*/ 769630 h 3085499"/>
                <a:gd name="connsiteX3" fmla="*/ 1181595 w 2359561"/>
                <a:gd name="connsiteY3" fmla="*/ 778726 h 3085499"/>
                <a:gd name="connsiteX4" fmla="*/ 1213514 w 2359561"/>
                <a:gd name="connsiteY4" fmla="*/ 825637 h 3085499"/>
                <a:gd name="connsiteX5" fmla="*/ 1206275 w 2359561"/>
                <a:gd name="connsiteY5" fmla="*/ 872976 h 3085499"/>
                <a:gd name="connsiteX6" fmla="*/ 1166765 w 2359561"/>
                <a:gd name="connsiteY6" fmla="*/ 899370 h 3085499"/>
                <a:gd name="connsiteX7" fmla="*/ 1145010 w 2359561"/>
                <a:gd name="connsiteY7" fmla="*/ 869623 h 3085499"/>
                <a:gd name="connsiteX8" fmla="*/ 1133570 w 2359561"/>
                <a:gd name="connsiteY8" fmla="*/ 820331 h 3085499"/>
                <a:gd name="connsiteX9" fmla="*/ 1259443 w 2359561"/>
                <a:gd name="connsiteY9" fmla="*/ 940756 h 3085499"/>
                <a:gd name="connsiteX10" fmla="*/ 1262625 w 2359561"/>
                <a:gd name="connsiteY10" fmla="*/ 926563 h 3085499"/>
                <a:gd name="connsiteX11" fmla="*/ 1243879 w 2359561"/>
                <a:gd name="connsiteY11" fmla="*/ 903246 h 3085499"/>
                <a:gd name="connsiteX12" fmla="*/ 1190101 w 2359561"/>
                <a:gd name="connsiteY12" fmla="*/ 901398 h 3085499"/>
                <a:gd name="connsiteX13" fmla="*/ 1197226 w 2359561"/>
                <a:gd name="connsiteY13" fmla="*/ 936412 h 3085499"/>
                <a:gd name="connsiteX14" fmla="*/ 1247270 w 2359561"/>
                <a:gd name="connsiteY14" fmla="*/ 944289 h 3085499"/>
                <a:gd name="connsiteX15" fmla="*/ 1259443 w 2359561"/>
                <a:gd name="connsiteY15" fmla="*/ 940756 h 3085499"/>
                <a:gd name="connsiteX16" fmla="*/ 1605658 w 2359561"/>
                <a:gd name="connsiteY16" fmla="*/ 1388012 h 3085499"/>
                <a:gd name="connsiteX17" fmla="*/ 1635042 w 2359561"/>
                <a:gd name="connsiteY17" fmla="*/ 1436618 h 3085499"/>
                <a:gd name="connsiteX18" fmla="*/ 1642777 w 2359561"/>
                <a:gd name="connsiteY18" fmla="*/ 1442085 h 3085499"/>
                <a:gd name="connsiteX19" fmla="*/ 1672009 w 2359561"/>
                <a:gd name="connsiteY19" fmla="*/ 1429941 h 3085499"/>
                <a:gd name="connsiteX20" fmla="*/ 1700784 w 2359561"/>
                <a:gd name="connsiteY20" fmla="*/ 1431855 h 3085499"/>
                <a:gd name="connsiteX21" fmla="*/ 1729168 w 2359561"/>
                <a:gd name="connsiteY21" fmla="*/ 1434484 h 3085499"/>
                <a:gd name="connsiteX22" fmla="*/ 1726806 w 2359561"/>
                <a:gd name="connsiteY22" fmla="*/ 1409309 h 3085499"/>
                <a:gd name="connsiteX23" fmla="*/ 1680753 w 2359561"/>
                <a:gd name="connsiteY23" fmla="*/ 1358055 h 3085499"/>
                <a:gd name="connsiteX24" fmla="*/ 1619631 w 2359561"/>
                <a:gd name="connsiteY24" fmla="*/ 1347797 h 3085499"/>
                <a:gd name="connsiteX25" fmla="*/ 1606782 w 2359561"/>
                <a:gd name="connsiteY25" fmla="*/ 1354141 h 3085499"/>
                <a:gd name="connsiteX26" fmla="*/ 1605658 w 2359561"/>
                <a:gd name="connsiteY26" fmla="*/ 1388012 h 3085499"/>
                <a:gd name="connsiteX27" fmla="*/ 982485 w 2359561"/>
                <a:gd name="connsiteY27" fmla="*/ 790794 h 3085499"/>
                <a:gd name="connsiteX28" fmla="*/ 956691 w 2359561"/>
                <a:gd name="connsiteY28" fmla="*/ 830685 h 3085499"/>
                <a:gd name="connsiteX29" fmla="*/ 1016146 w 2359561"/>
                <a:gd name="connsiteY29" fmla="*/ 835600 h 3085499"/>
                <a:gd name="connsiteX30" fmla="*/ 1060104 w 2359561"/>
                <a:gd name="connsiteY30" fmla="*/ 877872 h 3085499"/>
                <a:gd name="connsiteX31" fmla="*/ 1103719 w 2359561"/>
                <a:gd name="connsiteY31" fmla="*/ 892140 h 3085499"/>
                <a:gd name="connsiteX32" fmla="*/ 1093318 w 2359561"/>
                <a:gd name="connsiteY32" fmla="*/ 838038 h 3085499"/>
                <a:gd name="connsiteX33" fmla="*/ 1072887 w 2359561"/>
                <a:gd name="connsiteY33" fmla="*/ 773973 h 3085499"/>
                <a:gd name="connsiteX34" fmla="*/ 1000668 w 2359561"/>
                <a:gd name="connsiteY34" fmla="*/ 722986 h 3085499"/>
                <a:gd name="connsiteX35" fmla="*/ 948242 w 2359561"/>
                <a:gd name="connsiteY35" fmla="*/ 703517 h 3085499"/>
                <a:gd name="connsiteX36" fmla="*/ 950185 w 2359561"/>
                <a:gd name="connsiteY36" fmla="*/ 757685 h 3085499"/>
                <a:gd name="connsiteX37" fmla="*/ 982485 w 2359561"/>
                <a:gd name="connsiteY37" fmla="*/ 790794 h 3085499"/>
                <a:gd name="connsiteX38" fmla="*/ 1229154 w 2359561"/>
                <a:gd name="connsiteY38" fmla="*/ 693287 h 3085499"/>
                <a:gd name="connsiteX39" fmla="*/ 1277988 w 2359561"/>
                <a:gd name="connsiteY39" fmla="*/ 692182 h 3085499"/>
                <a:gd name="connsiteX40" fmla="*/ 1256881 w 2359561"/>
                <a:gd name="connsiteY40" fmla="*/ 730301 h 3085499"/>
                <a:gd name="connsiteX41" fmla="*/ 1256471 w 2359561"/>
                <a:gd name="connsiteY41" fmla="*/ 780755 h 3085499"/>
                <a:gd name="connsiteX42" fmla="*/ 1285170 w 2359561"/>
                <a:gd name="connsiteY42" fmla="*/ 835581 h 3085499"/>
                <a:gd name="connsiteX43" fmla="*/ 1340520 w 2359561"/>
                <a:gd name="connsiteY43" fmla="*/ 852402 h 3085499"/>
                <a:gd name="connsiteX44" fmla="*/ 1387764 w 2359561"/>
                <a:gd name="connsiteY44" fmla="*/ 842972 h 3085499"/>
                <a:gd name="connsiteX45" fmla="*/ 1437113 w 2359561"/>
                <a:gd name="connsiteY45" fmla="*/ 740778 h 3085499"/>
                <a:gd name="connsiteX46" fmla="*/ 1473784 w 2359561"/>
                <a:gd name="connsiteY46" fmla="*/ 698421 h 3085499"/>
                <a:gd name="connsiteX47" fmla="*/ 1441590 w 2359561"/>
                <a:gd name="connsiteY47" fmla="*/ 651081 h 3085499"/>
                <a:gd name="connsiteX48" fmla="*/ 1420492 w 2359561"/>
                <a:gd name="connsiteY48" fmla="*/ 549659 h 3085499"/>
                <a:gd name="connsiteX49" fmla="*/ 1376686 w 2359561"/>
                <a:gd name="connsiteY49" fmla="*/ 519293 h 3085499"/>
                <a:gd name="connsiteX50" fmla="*/ 1331747 w 2359561"/>
                <a:gd name="connsiteY50" fmla="*/ 484222 h 3085499"/>
                <a:gd name="connsiteX51" fmla="*/ 1297638 w 2359561"/>
                <a:gd name="connsiteY51" fmla="*/ 393154 h 3085499"/>
                <a:gd name="connsiteX52" fmla="*/ 1235526 w 2359561"/>
                <a:gd name="connsiteY52" fmla="*/ 402079 h 3085499"/>
                <a:gd name="connsiteX53" fmla="*/ 1247194 w 2359561"/>
                <a:gd name="connsiteY53" fmla="*/ 441598 h 3085499"/>
                <a:gd name="connsiteX54" fmla="*/ 1219819 w 2359561"/>
                <a:gd name="connsiteY54" fmla="*/ 453466 h 3085499"/>
                <a:gd name="connsiteX55" fmla="*/ 1201312 w 2359561"/>
                <a:gd name="connsiteY55" fmla="*/ 504158 h 3085499"/>
                <a:gd name="connsiteX56" fmla="*/ 1182796 w 2359561"/>
                <a:gd name="connsiteY56" fmla="*/ 575196 h 3085499"/>
                <a:gd name="connsiteX57" fmla="*/ 1199712 w 2359561"/>
                <a:gd name="connsiteY57" fmla="*/ 644357 h 3085499"/>
                <a:gd name="connsiteX58" fmla="*/ 1229154 w 2359561"/>
                <a:gd name="connsiteY58" fmla="*/ 693287 h 3085499"/>
                <a:gd name="connsiteX59" fmla="*/ 621935 w 2359561"/>
                <a:gd name="connsiteY59" fmla="*/ 1201703 h 3085499"/>
                <a:gd name="connsiteX60" fmla="*/ 659273 w 2359561"/>
                <a:gd name="connsiteY60" fmla="*/ 1220305 h 3085499"/>
                <a:gd name="connsiteX61" fmla="*/ 779926 w 2359561"/>
                <a:gd name="connsiteY61" fmla="*/ 1207942 h 3085499"/>
                <a:gd name="connsiteX62" fmla="*/ 724453 w 2359561"/>
                <a:gd name="connsiteY62" fmla="*/ 1253385 h 3085499"/>
                <a:gd name="connsiteX63" fmla="*/ 727853 w 2359561"/>
                <a:gd name="connsiteY63" fmla="*/ 1286066 h 3085499"/>
                <a:gd name="connsiteX64" fmla="*/ 768467 w 2359561"/>
                <a:gd name="connsiteY64" fmla="*/ 1283818 h 3085499"/>
                <a:gd name="connsiteX65" fmla="*/ 835847 w 2359561"/>
                <a:gd name="connsiteY65" fmla="*/ 1240193 h 3085499"/>
                <a:gd name="connsiteX66" fmla="*/ 926287 w 2359561"/>
                <a:gd name="connsiteY66" fmla="*/ 1224258 h 3085499"/>
                <a:gd name="connsiteX67" fmla="*/ 942537 w 2359561"/>
                <a:gd name="connsiteY67" fmla="*/ 1174556 h 3085499"/>
                <a:gd name="connsiteX68" fmla="*/ 937841 w 2359561"/>
                <a:gd name="connsiteY68" fmla="*/ 1121512 h 3085499"/>
                <a:gd name="connsiteX69" fmla="*/ 909857 w 2359561"/>
                <a:gd name="connsiteY69" fmla="*/ 1116730 h 3085499"/>
                <a:gd name="connsiteX70" fmla="*/ 886073 w 2359561"/>
                <a:gd name="connsiteY70" fmla="*/ 1135104 h 3085499"/>
                <a:gd name="connsiteX71" fmla="*/ 875605 w 2359561"/>
                <a:gd name="connsiteY71" fmla="*/ 1095737 h 3085499"/>
                <a:gd name="connsiteX72" fmla="*/ 866604 w 2359561"/>
                <a:gd name="connsiteY72" fmla="*/ 1041454 h 3085499"/>
                <a:gd name="connsiteX73" fmla="*/ 839029 w 2359561"/>
                <a:gd name="connsiteY73" fmla="*/ 1027976 h 3085499"/>
                <a:gd name="connsiteX74" fmla="*/ 814559 w 2359561"/>
                <a:gd name="connsiteY74" fmla="*/ 1069991 h 3085499"/>
                <a:gd name="connsiteX75" fmla="*/ 852754 w 2359561"/>
                <a:gd name="connsiteY75" fmla="*/ 1175233 h 3085499"/>
                <a:gd name="connsiteX76" fmla="*/ 806101 w 2359561"/>
                <a:gd name="connsiteY76" fmla="*/ 1167127 h 3085499"/>
                <a:gd name="connsiteX77" fmla="*/ 758657 w 2359561"/>
                <a:gd name="connsiteY77" fmla="*/ 1102471 h 3085499"/>
                <a:gd name="connsiteX78" fmla="*/ 683495 w 2359561"/>
                <a:gd name="connsiteY78" fmla="*/ 1064390 h 3085499"/>
                <a:gd name="connsiteX79" fmla="*/ 658358 w 2359561"/>
                <a:gd name="connsiteY79" fmla="*/ 1096023 h 3085499"/>
                <a:gd name="connsiteX80" fmla="*/ 621935 w 2359561"/>
                <a:gd name="connsiteY80" fmla="*/ 1201703 h 3085499"/>
                <a:gd name="connsiteX81" fmla="*/ 836847 w 2359561"/>
                <a:gd name="connsiteY81" fmla="*/ 801024 h 3085499"/>
                <a:gd name="connsiteX82" fmla="*/ 802119 w 2359561"/>
                <a:gd name="connsiteY82" fmla="*/ 773430 h 3085499"/>
                <a:gd name="connsiteX83" fmla="*/ 787794 w 2359561"/>
                <a:gd name="connsiteY83" fmla="*/ 767153 h 3085499"/>
                <a:gd name="connsiteX84" fmla="*/ 760400 w 2359561"/>
                <a:gd name="connsiteY84" fmla="*/ 807958 h 3085499"/>
                <a:gd name="connsiteX85" fmla="*/ 759971 w 2359561"/>
                <a:gd name="connsiteY85" fmla="*/ 827027 h 3085499"/>
                <a:gd name="connsiteX86" fmla="*/ 804320 w 2359561"/>
                <a:gd name="connsiteY86" fmla="*/ 827161 h 3085499"/>
                <a:gd name="connsiteX87" fmla="*/ 836847 w 2359561"/>
                <a:gd name="connsiteY87" fmla="*/ 801024 h 3085499"/>
                <a:gd name="connsiteX88" fmla="*/ 822865 w 2359561"/>
                <a:gd name="connsiteY88" fmla="*/ 918734 h 3085499"/>
                <a:gd name="connsiteX89" fmla="*/ 831742 w 2359561"/>
                <a:gd name="connsiteY89" fmla="*/ 880777 h 3085499"/>
                <a:gd name="connsiteX90" fmla="*/ 794080 w 2359561"/>
                <a:gd name="connsiteY90" fmla="*/ 860536 h 3085499"/>
                <a:gd name="connsiteX91" fmla="*/ 755085 w 2359561"/>
                <a:gd name="connsiteY91" fmla="*/ 873728 h 3085499"/>
                <a:gd name="connsiteX92" fmla="*/ 733454 w 2359561"/>
                <a:gd name="connsiteY92" fmla="*/ 914314 h 3085499"/>
                <a:gd name="connsiteX93" fmla="*/ 773068 w 2359561"/>
                <a:gd name="connsiteY93" fmla="*/ 954386 h 3085499"/>
                <a:gd name="connsiteX94" fmla="*/ 822865 w 2359561"/>
                <a:gd name="connsiteY94" fmla="*/ 918734 h 3085499"/>
                <a:gd name="connsiteX95" fmla="*/ 1100033 w 2359561"/>
                <a:gd name="connsiteY95" fmla="*/ 1235335 h 3085499"/>
                <a:gd name="connsiteX96" fmla="*/ 1144067 w 2359561"/>
                <a:gd name="connsiteY96" fmla="*/ 1224801 h 3085499"/>
                <a:gd name="connsiteX97" fmla="*/ 1156230 w 2359561"/>
                <a:gd name="connsiteY97" fmla="*/ 1146201 h 3085499"/>
                <a:gd name="connsiteX98" fmla="*/ 1155402 w 2359561"/>
                <a:gd name="connsiteY98" fmla="*/ 1089574 h 3085499"/>
                <a:gd name="connsiteX99" fmla="*/ 1134980 w 2359561"/>
                <a:gd name="connsiteY99" fmla="*/ 1036615 h 3085499"/>
                <a:gd name="connsiteX100" fmla="*/ 1132923 w 2359561"/>
                <a:gd name="connsiteY100" fmla="*/ 1051817 h 3085499"/>
                <a:gd name="connsiteX101" fmla="*/ 1095366 w 2359561"/>
                <a:gd name="connsiteY101" fmla="*/ 1045159 h 3085499"/>
                <a:gd name="connsiteX102" fmla="*/ 1055141 w 2359561"/>
                <a:gd name="connsiteY102" fmla="*/ 1084088 h 3085499"/>
                <a:gd name="connsiteX103" fmla="*/ 1026404 w 2359561"/>
                <a:gd name="connsiteY103" fmla="*/ 1080564 h 3085499"/>
                <a:gd name="connsiteX104" fmla="*/ 1028100 w 2359561"/>
                <a:gd name="connsiteY104" fmla="*/ 1165565 h 3085499"/>
                <a:gd name="connsiteX105" fmla="*/ 1071877 w 2359561"/>
                <a:gd name="connsiteY105" fmla="*/ 1157297 h 3085499"/>
                <a:gd name="connsiteX106" fmla="*/ 1071324 w 2359561"/>
                <a:gd name="connsiteY106" fmla="*/ 1218876 h 3085499"/>
                <a:gd name="connsiteX107" fmla="*/ 1100033 w 2359561"/>
                <a:gd name="connsiteY107" fmla="*/ 1235335 h 3085499"/>
                <a:gd name="connsiteX108" fmla="*/ 1068734 w 2359561"/>
                <a:gd name="connsiteY108" fmla="*/ 1669704 h 3085499"/>
                <a:gd name="connsiteX109" fmla="*/ 1020537 w 2359561"/>
                <a:gd name="connsiteY109" fmla="*/ 1632299 h 3085499"/>
                <a:gd name="connsiteX110" fmla="*/ 975684 w 2359561"/>
                <a:gd name="connsiteY110" fmla="*/ 1592218 h 3085499"/>
                <a:gd name="connsiteX111" fmla="*/ 967407 w 2359561"/>
                <a:gd name="connsiteY111" fmla="*/ 1533354 h 3085499"/>
                <a:gd name="connsiteX112" fmla="*/ 950643 w 2359561"/>
                <a:gd name="connsiteY112" fmla="*/ 1448343 h 3085499"/>
                <a:gd name="connsiteX113" fmla="*/ 920725 w 2359561"/>
                <a:gd name="connsiteY113" fmla="*/ 1411776 h 3085499"/>
                <a:gd name="connsiteX114" fmla="*/ 894179 w 2359561"/>
                <a:gd name="connsiteY114" fmla="*/ 1397041 h 3085499"/>
                <a:gd name="connsiteX115" fmla="*/ 870680 w 2359561"/>
                <a:gd name="connsiteY115" fmla="*/ 1410538 h 3085499"/>
                <a:gd name="connsiteX116" fmla="*/ 889654 w 2359561"/>
                <a:gd name="connsiteY116" fmla="*/ 1501845 h 3085499"/>
                <a:gd name="connsiteX117" fmla="*/ 876233 w 2359561"/>
                <a:gd name="connsiteY117" fmla="*/ 1537383 h 3085499"/>
                <a:gd name="connsiteX118" fmla="*/ 854383 w 2359561"/>
                <a:gd name="connsiteY118" fmla="*/ 1451858 h 3085499"/>
                <a:gd name="connsiteX119" fmla="*/ 829980 w 2359561"/>
                <a:gd name="connsiteY119" fmla="*/ 1422283 h 3085499"/>
                <a:gd name="connsiteX120" fmla="*/ 799805 w 2359561"/>
                <a:gd name="connsiteY120" fmla="*/ 1468136 h 3085499"/>
                <a:gd name="connsiteX121" fmla="*/ 762667 w 2359561"/>
                <a:gd name="connsiteY121" fmla="*/ 1422797 h 3085499"/>
                <a:gd name="connsiteX122" fmla="*/ 703240 w 2359561"/>
                <a:gd name="connsiteY122" fmla="*/ 1450115 h 3085499"/>
                <a:gd name="connsiteX123" fmla="*/ 716566 w 2359561"/>
                <a:gd name="connsiteY123" fmla="*/ 1407605 h 3085499"/>
                <a:gd name="connsiteX124" fmla="*/ 689277 w 2359561"/>
                <a:gd name="connsiteY124" fmla="*/ 1389745 h 3085499"/>
                <a:gd name="connsiteX125" fmla="*/ 617772 w 2359561"/>
                <a:gd name="connsiteY125" fmla="*/ 1445352 h 3085499"/>
                <a:gd name="connsiteX126" fmla="*/ 599180 w 2359561"/>
                <a:gd name="connsiteY126" fmla="*/ 1480699 h 3085499"/>
                <a:gd name="connsiteX127" fmla="*/ 576758 w 2359561"/>
                <a:gd name="connsiteY127" fmla="*/ 1545193 h 3085499"/>
                <a:gd name="connsiteX128" fmla="*/ 623392 w 2359561"/>
                <a:gd name="connsiteY128" fmla="*/ 1567263 h 3085499"/>
                <a:gd name="connsiteX129" fmla="*/ 664588 w 2359561"/>
                <a:gd name="connsiteY129" fmla="*/ 1566101 h 3085499"/>
                <a:gd name="connsiteX130" fmla="*/ 602647 w 2359561"/>
                <a:gd name="connsiteY130" fmla="*/ 1599067 h 3085499"/>
                <a:gd name="connsiteX131" fmla="*/ 616734 w 2359561"/>
                <a:gd name="connsiteY131" fmla="*/ 1628870 h 3085499"/>
                <a:gd name="connsiteX132" fmla="*/ 654606 w 2359561"/>
                <a:gd name="connsiteY132" fmla="*/ 1630480 h 3085499"/>
                <a:gd name="connsiteX133" fmla="*/ 711670 w 2359561"/>
                <a:gd name="connsiteY133" fmla="*/ 1624108 h 3085499"/>
                <a:gd name="connsiteX134" fmla="*/ 763314 w 2359561"/>
                <a:gd name="connsiteY134" fmla="*/ 1642767 h 3085499"/>
                <a:gd name="connsiteX135" fmla="*/ 728453 w 2359561"/>
                <a:gd name="connsiteY135" fmla="*/ 1656531 h 3085499"/>
                <a:gd name="connsiteX136" fmla="*/ 690801 w 2359561"/>
                <a:gd name="connsiteY136" fmla="*/ 1652988 h 3085499"/>
                <a:gd name="connsiteX137" fmla="*/ 649576 w 2359561"/>
                <a:gd name="connsiteY137" fmla="*/ 1666408 h 3085499"/>
                <a:gd name="connsiteX138" fmla="*/ 631812 w 2359561"/>
                <a:gd name="connsiteY138" fmla="*/ 1674733 h 3085499"/>
                <a:gd name="connsiteX139" fmla="*/ 664721 w 2359561"/>
                <a:gd name="connsiteY139" fmla="*/ 1735255 h 3085499"/>
                <a:gd name="connsiteX140" fmla="*/ 688429 w 2359561"/>
                <a:gd name="connsiteY140" fmla="*/ 1726844 h 3085499"/>
                <a:gd name="connsiteX141" fmla="*/ 724891 w 2359561"/>
                <a:gd name="connsiteY141" fmla="*/ 1747276 h 3085499"/>
                <a:gd name="connsiteX142" fmla="*/ 739359 w 2359561"/>
                <a:gd name="connsiteY142" fmla="*/ 1782051 h 3085499"/>
                <a:gd name="connsiteX143" fmla="*/ 786870 w 2359561"/>
                <a:gd name="connsiteY143" fmla="*/ 1775146 h 3085499"/>
                <a:gd name="connsiteX144" fmla="*/ 854545 w 2359561"/>
                <a:gd name="connsiteY144" fmla="*/ 1764125 h 3085499"/>
                <a:gd name="connsiteX145" fmla="*/ 904685 w 2359561"/>
                <a:gd name="connsiteY145" fmla="*/ 1738922 h 3085499"/>
                <a:gd name="connsiteX146" fmla="*/ 935736 w 2359561"/>
                <a:gd name="connsiteY146" fmla="*/ 1734360 h 3085499"/>
                <a:gd name="connsiteX147" fmla="*/ 981675 w 2359561"/>
                <a:gd name="connsiteY147" fmla="*/ 1754505 h 3085499"/>
                <a:gd name="connsiteX148" fmla="*/ 1030005 w 2359561"/>
                <a:gd name="connsiteY148" fmla="*/ 1766116 h 3085499"/>
                <a:gd name="connsiteX149" fmla="*/ 1039006 w 2359561"/>
                <a:gd name="connsiteY149" fmla="*/ 1738884 h 3085499"/>
                <a:gd name="connsiteX150" fmla="*/ 1021966 w 2359561"/>
                <a:gd name="connsiteY150" fmla="*/ 1709842 h 3085499"/>
                <a:gd name="connsiteX151" fmla="*/ 1065819 w 2359561"/>
                <a:gd name="connsiteY151" fmla="*/ 1703699 h 3085499"/>
                <a:gd name="connsiteX152" fmla="*/ 1068734 w 2359561"/>
                <a:gd name="connsiteY152" fmla="*/ 1669704 h 3085499"/>
                <a:gd name="connsiteX153" fmla="*/ 1142505 w 2359561"/>
                <a:gd name="connsiteY153" fmla="*/ 1660360 h 3085499"/>
                <a:gd name="connsiteX154" fmla="*/ 1123836 w 2359561"/>
                <a:gd name="connsiteY154" fmla="*/ 1694069 h 3085499"/>
                <a:gd name="connsiteX155" fmla="*/ 1100328 w 2359561"/>
                <a:gd name="connsiteY155" fmla="*/ 1717748 h 3085499"/>
                <a:gd name="connsiteX156" fmla="*/ 1136799 w 2359561"/>
                <a:gd name="connsiteY156" fmla="*/ 1751476 h 3085499"/>
                <a:gd name="connsiteX157" fmla="*/ 1158554 w 2359561"/>
                <a:gd name="connsiteY157" fmla="*/ 1743342 h 3085499"/>
                <a:gd name="connsiteX158" fmla="*/ 1194549 w 2359561"/>
                <a:gd name="connsiteY158" fmla="*/ 1765802 h 3085499"/>
                <a:gd name="connsiteX159" fmla="*/ 1211151 w 2359561"/>
                <a:gd name="connsiteY159" fmla="*/ 1739779 h 3085499"/>
                <a:gd name="connsiteX160" fmla="*/ 1194873 w 2359561"/>
                <a:gd name="connsiteY160" fmla="*/ 1710919 h 3085499"/>
                <a:gd name="connsiteX161" fmla="*/ 1186863 w 2359561"/>
                <a:gd name="connsiteY161" fmla="*/ 1696384 h 3085499"/>
                <a:gd name="connsiteX162" fmla="*/ 1170842 w 2359561"/>
                <a:gd name="connsiteY162" fmla="*/ 1682496 h 3085499"/>
                <a:gd name="connsiteX163" fmla="*/ 1142505 w 2359561"/>
                <a:gd name="connsiteY163" fmla="*/ 1660360 h 3085499"/>
                <a:gd name="connsiteX164" fmla="*/ 974741 w 2359561"/>
                <a:gd name="connsiteY164" fmla="*/ 1379915 h 3085499"/>
                <a:gd name="connsiteX165" fmla="*/ 954443 w 2359561"/>
                <a:gd name="connsiteY165" fmla="*/ 1359199 h 3085499"/>
                <a:gd name="connsiteX166" fmla="*/ 918658 w 2359561"/>
                <a:gd name="connsiteY166" fmla="*/ 1362980 h 3085499"/>
                <a:gd name="connsiteX167" fmla="*/ 909580 w 2359561"/>
                <a:gd name="connsiteY167" fmla="*/ 1376163 h 3085499"/>
                <a:gd name="connsiteX168" fmla="*/ 951243 w 2359561"/>
                <a:gd name="connsiteY168" fmla="*/ 1440475 h 3085499"/>
                <a:gd name="connsiteX169" fmla="*/ 974741 w 2359561"/>
                <a:gd name="connsiteY169" fmla="*/ 1379915 h 3085499"/>
                <a:gd name="connsiteX170" fmla="*/ 1247985 w 2359561"/>
                <a:gd name="connsiteY170" fmla="*/ 1505379 h 3085499"/>
                <a:gd name="connsiteX171" fmla="*/ 1276636 w 2359561"/>
                <a:gd name="connsiteY171" fmla="*/ 1439399 h 3085499"/>
                <a:gd name="connsiteX172" fmla="*/ 1308478 w 2359561"/>
                <a:gd name="connsiteY172" fmla="*/ 1421797 h 3085499"/>
                <a:gd name="connsiteX173" fmla="*/ 1348378 w 2359561"/>
                <a:gd name="connsiteY173" fmla="*/ 1338520 h 3085499"/>
                <a:gd name="connsiteX174" fmla="*/ 1297362 w 2359561"/>
                <a:gd name="connsiteY174" fmla="*/ 1314993 h 3085499"/>
                <a:gd name="connsiteX175" fmla="*/ 1241717 w 2359561"/>
                <a:gd name="connsiteY175" fmla="*/ 1311593 h 3085499"/>
                <a:gd name="connsiteX176" fmla="*/ 1215219 w 2359561"/>
                <a:gd name="connsiteY176" fmla="*/ 1337977 h 3085499"/>
                <a:gd name="connsiteX177" fmla="*/ 1201264 w 2359561"/>
                <a:gd name="connsiteY177" fmla="*/ 1378277 h 3085499"/>
                <a:gd name="connsiteX178" fmla="*/ 1200855 w 2359561"/>
                <a:gd name="connsiteY178" fmla="*/ 1424159 h 3085499"/>
                <a:gd name="connsiteX179" fmla="*/ 1217524 w 2359561"/>
                <a:gd name="connsiteY179" fmla="*/ 1502150 h 3085499"/>
                <a:gd name="connsiteX180" fmla="*/ 1247985 w 2359561"/>
                <a:gd name="connsiteY180" fmla="*/ 1505379 h 3085499"/>
                <a:gd name="connsiteX181" fmla="*/ 1411386 w 2359561"/>
                <a:gd name="connsiteY181" fmla="*/ 1286256 h 3085499"/>
                <a:gd name="connsiteX182" fmla="*/ 1466212 w 2359561"/>
                <a:gd name="connsiteY182" fmla="*/ 1284494 h 3085499"/>
                <a:gd name="connsiteX183" fmla="*/ 1542822 w 2359561"/>
                <a:gd name="connsiteY183" fmla="*/ 1269121 h 3085499"/>
                <a:gd name="connsiteX184" fmla="*/ 1577007 w 2359561"/>
                <a:gd name="connsiteY184" fmla="*/ 1281265 h 3085499"/>
                <a:gd name="connsiteX185" fmla="*/ 1616831 w 2359561"/>
                <a:gd name="connsiteY185" fmla="*/ 1259739 h 3085499"/>
                <a:gd name="connsiteX186" fmla="*/ 1633490 w 2359561"/>
                <a:gd name="connsiteY186" fmla="*/ 1232687 h 3085499"/>
                <a:gd name="connsiteX187" fmla="*/ 1627527 w 2359561"/>
                <a:gd name="connsiteY187" fmla="*/ 1189644 h 3085499"/>
                <a:gd name="connsiteX188" fmla="*/ 1598924 w 2359561"/>
                <a:gd name="connsiteY188" fmla="*/ 1149363 h 3085499"/>
                <a:gd name="connsiteX189" fmla="*/ 1555528 w 2359561"/>
                <a:gd name="connsiteY189" fmla="*/ 1141733 h 3085499"/>
                <a:gd name="connsiteX190" fmla="*/ 1501150 w 2359561"/>
                <a:gd name="connsiteY190" fmla="*/ 1150963 h 3085499"/>
                <a:gd name="connsiteX191" fmla="*/ 1458697 w 2359561"/>
                <a:gd name="connsiteY191" fmla="*/ 1174214 h 3085499"/>
                <a:gd name="connsiteX192" fmla="*/ 1419730 w 2359561"/>
                <a:gd name="connsiteY192" fmla="*/ 1165270 h 3085499"/>
                <a:gd name="connsiteX193" fmla="*/ 1383706 w 2359561"/>
                <a:gd name="connsiteY193" fmla="*/ 1160555 h 3085499"/>
                <a:gd name="connsiteX194" fmla="*/ 1366742 w 2359561"/>
                <a:gd name="connsiteY194" fmla="*/ 1134818 h 3085499"/>
                <a:gd name="connsiteX195" fmla="*/ 1336100 w 2359561"/>
                <a:gd name="connsiteY195" fmla="*/ 1109920 h 3085499"/>
                <a:gd name="connsiteX196" fmla="*/ 1342187 w 2359561"/>
                <a:gd name="connsiteY196" fmla="*/ 1067695 h 3085499"/>
                <a:gd name="connsiteX197" fmla="*/ 1319136 w 2359561"/>
                <a:gd name="connsiteY197" fmla="*/ 1029767 h 3085499"/>
                <a:gd name="connsiteX198" fmla="*/ 1266558 w 2359561"/>
                <a:gd name="connsiteY198" fmla="*/ 1030024 h 3085499"/>
                <a:gd name="connsiteX199" fmla="*/ 1236907 w 2359561"/>
                <a:gd name="connsiteY199" fmla="*/ 992038 h 3085499"/>
                <a:gd name="connsiteX200" fmla="*/ 1181862 w 2359561"/>
                <a:gd name="connsiteY200" fmla="*/ 984428 h 3085499"/>
                <a:gd name="connsiteX201" fmla="*/ 1171813 w 2359561"/>
                <a:gd name="connsiteY201" fmla="*/ 1032967 h 3085499"/>
                <a:gd name="connsiteX202" fmla="*/ 1202769 w 2359561"/>
                <a:gd name="connsiteY202" fmla="*/ 1068638 h 3085499"/>
                <a:gd name="connsiteX203" fmla="*/ 1258014 w 2359561"/>
                <a:gd name="connsiteY203" fmla="*/ 1082488 h 3085499"/>
                <a:gd name="connsiteX204" fmla="*/ 1284827 w 2359561"/>
                <a:gd name="connsiteY204" fmla="*/ 1131018 h 3085499"/>
                <a:gd name="connsiteX205" fmla="*/ 1288075 w 2359561"/>
                <a:gd name="connsiteY205" fmla="*/ 1184377 h 3085499"/>
                <a:gd name="connsiteX206" fmla="*/ 1297315 w 2359561"/>
                <a:gd name="connsiteY206" fmla="*/ 1241431 h 3085499"/>
                <a:gd name="connsiteX207" fmla="*/ 1368295 w 2359561"/>
                <a:gd name="connsiteY207" fmla="*/ 1273978 h 3085499"/>
                <a:gd name="connsiteX208" fmla="*/ 1411386 w 2359561"/>
                <a:gd name="connsiteY208" fmla="*/ 1286256 h 3085499"/>
                <a:gd name="connsiteX209" fmla="*/ 563480 w 2359561"/>
                <a:gd name="connsiteY209" fmla="*/ 1112244 h 3085499"/>
                <a:gd name="connsiteX210" fmla="*/ 613124 w 2359561"/>
                <a:gd name="connsiteY210" fmla="*/ 1064114 h 3085499"/>
                <a:gd name="connsiteX211" fmla="*/ 638080 w 2359561"/>
                <a:gd name="connsiteY211" fmla="*/ 1058523 h 3085499"/>
                <a:gd name="connsiteX212" fmla="*/ 658654 w 2359561"/>
                <a:gd name="connsiteY212" fmla="*/ 1018251 h 3085499"/>
                <a:gd name="connsiteX213" fmla="*/ 662321 w 2359561"/>
                <a:gd name="connsiteY213" fmla="*/ 925201 h 3085499"/>
                <a:gd name="connsiteX214" fmla="*/ 625688 w 2359561"/>
                <a:gd name="connsiteY214" fmla="*/ 943432 h 3085499"/>
                <a:gd name="connsiteX215" fmla="*/ 584730 w 2359561"/>
                <a:gd name="connsiteY215" fmla="*/ 941718 h 3085499"/>
                <a:gd name="connsiteX216" fmla="*/ 529885 w 2359561"/>
                <a:gd name="connsiteY216" fmla="*/ 1019718 h 3085499"/>
                <a:gd name="connsiteX217" fmla="*/ 484556 w 2359561"/>
                <a:gd name="connsiteY217" fmla="*/ 1105224 h 3085499"/>
                <a:gd name="connsiteX218" fmla="*/ 520741 w 2359561"/>
                <a:gd name="connsiteY218" fmla="*/ 1129132 h 3085499"/>
                <a:gd name="connsiteX219" fmla="*/ 563480 w 2359561"/>
                <a:gd name="connsiteY219" fmla="*/ 1112244 h 3085499"/>
                <a:gd name="connsiteX220" fmla="*/ 1250976 w 2359561"/>
                <a:gd name="connsiteY220" fmla="*/ 1266292 h 3085499"/>
                <a:gd name="connsiteX221" fmla="*/ 1265501 w 2359561"/>
                <a:gd name="connsiteY221" fmla="*/ 1226858 h 3085499"/>
                <a:gd name="connsiteX222" fmla="*/ 1255757 w 2359561"/>
                <a:gd name="connsiteY222" fmla="*/ 1193921 h 3085499"/>
                <a:gd name="connsiteX223" fmla="*/ 1232440 w 2359561"/>
                <a:gd name="connsiteY223" fmla="*/ 1156602 h 3085499"/>
                <a:gd name="connsiteX224" fmla="*/ 1194045 w 2359561"/>
                <a:gd name="connsiteY224" fmla="*/ 1185348 h 3085499"/>
                <a:gd name="connsiteX225" fmla="*/ 1179824 w 2359561"/>
                <a:gd name="connsiteY225" fmla="*/ 1232249 h 3085499"/>
                <a:gd name="connsiteX226" fmla="*/ 1212199 w 2359561"/>
                <a:gd name="connsiteY226" fmla="*/ 1258796 h 3085499"/>
                <a:gd name="connsiteX227" fmla="*/ 1250976 w 2359561"/>
                <a:gd name="connsiteY227" fmla="*/ 1266292 h 3085499"/>
                <a:gd name="connsiteX228" fmla="*/ 1171842 w 2359561"/>
                <a:gd name="connsiteY228" fmla="*/ 1375229 h 3085499"/>
                <a:gd name="connsiteX229" fmla="*/ 1164898 w 2359561"/>
                <a:gd name="connsiteY229" fmla="*/ 1347787 h 3085499"/>
                <a:gd name="connsiteX230" fmla="*/ 1117254 w 2359561"/>
                <a:gd name="connsiteY230" fmla="*/ 1359827 h 3085499"/>
                <a:gd name="connsiteX231" fmla="*/ 1085402 w 2359561"/>
                <a:gd name="connsiteY231" fmla="*/ 1339758 h 3085499"/>
                <a:gd name="connsiteX232" fmla="*/ 1053798 w 2359561"/>
                <a:gd name="connsiteY232" fmla="*/ 1385516 h 3085499"/>
                <a:gd name="connsiteX233" fmla="*/ 1083221 w 2359561"/>
                <a:gd name="connsiteY233" fmla="*/ 1445352 h 3085499"/>
                <a:gd name="connsiteX234" fmla="*/ 1028691 w 2359561"/>
                <a:gd name="connsiteY234" fmla="*/ 1434170 h 3085499"/>
                <a:gd name="connsiteX235" fmla="*/ 1028157 w 2359561"/>
                <a:gd name="connsiteY235" fmla="*/ 1462850 h 3085499"/>
                <a:gd name="connsiteX236" fmla="*/ 1094527 w 2359561"/>
                <a:gd name="connsiteY236" fmla="*/ 1529963 h 3085499"/>
                <a:gd name="connsiteX237" fmla="*/ 1113006 w 2359561"/>
                <a:gd name="connsiteY237" fmla="*/ 1562157 h 3085499"/>
                <a:gd name="connsiteX238" fmla="*/ 1138733 w 2359561"/>
                <a:gd name="connsiteY238" fmla="*/ 1569120 h 3085499"/>
                <a:gd name="connsiteX239" fmla="*/ 1182529 w 2359561"/>
                <a:gd name="connsiteY239" fmla="*/ 1536611 h 3085499"/>
                <a:gd name="connsiteX240" fmla="*/ 1187329 w 2359561"/>
                <a:gd name="connsiteY240" fmla="*/ 1458401 h 3085499"/>
                <a:gd name="connsiteX241" fmla="*/ 1146905 w 2359561"/>
                <a:gd name="connsiteY241" fmla="*/ 1419596 h 3085499"/>
                <a:gd name="connsiteX242" fmla="*/ 1171842 w 2359561"/>
                <a:gd name="connsiteY242" fmla="*/ 1375229 h 3085499"/>
                <a:gd name="connsiteX243" fmla="*/ 467049 w 2359561"/>
                <a:gd name="connsiteY243" fmla="*/ 2839584 h 3085499"/>
                <a:gd name="connsiteX244" fmla="*/ 456028 w 2359561"/>
                <a:gd name="connsiteY244" fmla="*/ 2817257 h 3085499"/>
                <a:gd name="connsiteX245" fmla="*/ 429368 w 2359561"/>
                <a:gd name="connsiteY245" fmla="*/ 2800407 h 3085499"/>
                <a:gd name="connsiteX246" fmla="*/ 416166 w 2359561"/>
                <a:gd name="connsiteY246" fmla="*/ 2780853 h 3085499"/>
                <a:gd name="connsiteX247" fmla="*/ 407079 w 2359561"/>
                <a:gd name="connsiteY247" fmla="*/ 2766517 h 3085499"/>
                <a:gd name="connsiteX248" fmla="*/ 381981 w 2359561"/>
                <a:gd name="connsiteY248" fmla="*/ 2762098 h 3085499"/>
                <a:gd name="connsiteX249" fmla="*/ 365589 w 2359561"/>
                <a:gd name="connsiteY249" fmla="*/ 2755744 h 3085499"/>
                <a:gd name="connsiteX250" fmla="*/ 337556 w 2359561"/>
                <a:gd name="connsiteY250" fmla="*/ 2746581 h 3085499"/>
                <a:gd name="connsiteX251" fmla="*/ 335251 w 2359561"/>
                <a:gd name="connsiteY251" fmla="*/ 2756306 h 3085499"/>
                <a:gd name="connsiteX252" fmla="*/ 345538 w 2359561"/>
                <a:gd name="connsiteY252" fmla="*/ 2778976 h 3085499"/>
                <a:gd name="connsiteX253" fmla="*/ 373028 w 2359561"/>
                <a:gd name="connsiteY253" fmla="*/ 2786415 h 3085499"/>
                <a:gd name="connsiteX254" fmla="*/ 377838 w 2359561"/>
                <a:gd name="connsiteY254" fmla="*/ 2798140 h 3085499"/>
                <a:gd name="connsiteX255" fmla="*/ 401736 w 2359561"/>
                <a:gd name="connsiteY255" fmla="*/ 2812447 h 3085499"/>
                <a:gd name="connsiteX256" fmla="*/ 409746 w 2359561"/>
                <a:gd name="connsiteY256" fmla="*/ 2826858 h 3085499"/>
                <a:gd name="connsiteX257" fmla="*/ 453600 w 2359561"/>
                <a:gd name="connsiteY257" fmla="*/ 2845146 h 3085499"/>
                <a:gd name="connsiteX258" fmla="*/ 467049 w 2359561"/>
                <a:gd name="connsiteY258" fmla="*/ 2839584 h 3085499"/>
                <a:gd name="connsiteX259" fmla="*/ 1626299 w 2359561"/>
                <a:gd name="connsiteY259" fmla="*/ 2100167 h 3085499"/>
                <a:gd name="connsiteX260" fmla="*/ 1607230 w 2359561"/>
                <a:gd name="connsiteY260" fmla="*/ 2080079 h 3085499"/>
                <a:gd name="connsiteX261" fmla="*/ 1587579 w 2359561"/>
                <a:gd name="connsiteY261" fmla="*/ 2084823 h 3085499"/>
                <a:gd name="connsiteX262" fmla="*/ 1585208 w 2359561"/>
                <a:gd name="connsiteY262" fmla="*/ 2055657 h 3085499"/>
                <a:gd name="connsiteX263" fmla="*/ 1554613 w 2359561"/>
                <a:gd name="connsiteY263" fmla="*/ 2036274 h 3085499"/>
                <a:gd name="connsiteX264" fmla="*/ 1525372 w 2359561"/>
                <a:gd name="connsiteY264" fmla="*/ 2014680 h 3085499"/>
                <a:gd name="connsiteX265" fmla="*/ 1509846 w 2359561"/>
                <a:gd name="connsiteY265" fmla="*/ 1997983 h 3085499"/>
                <a:gd name="connsiteX266" fmla="*/ 1496178 w 2359561"/>
                <a:gd name="connsiteY266" fmla="*/ 2007832 h 3085499"/>
                <a:gd name="connsiteX267" fmla="*/ 1491215 w 2359561"/>
                <a:gd name="connsiteY267" fmla="*/ 1979609 h 3085499"/>
                <a:gd name="connsiteX268" fmla="*/ 1471917 w 2359561"/>
                <a:gd name="connsiteY268" fmla="*/ 1974323 h 3085499"/>
                <a:gd name="connsiteX269" fmla="*/ 1462811 w 2359561"/>
                <a:gd name="connsiteY269" fmla="*/ 2032749 h 3085499"/>
                <a:gd name="connsiteX270" fmla="*/ 1459401 w 2359561"/>
                <a:gd name="connsiteY270" fmla="*/ 2081394 h 3085499"/>
                <a:gd name="connsiteX271" fmla="*/ 1436180 w 2359561"/>
                <a:gd name="connsiteY271" fmla="*/ 2111264 h 3085499"/>
                <a:gd name="connsiteX272" fmla="*/ 1472375 w 2359561"/>
                <a:gd name="connsiteY272" fmla="*/ 2105511 h 3085499"/>
                <a:gd name="connsiteX273" fmla="*/ 1481547 w 2359561"/>
                <a:gd name="connsiteY273" fmla="*/ 2140277 h 3085499"/>
                <a:gd name="connsiteX274" fmla="*/ 1519552 w 2359561"/>
                <a:gd name="connsiteY274" fmla="*/ 2109559 h 3085499"/>
                <a:gd name="connsiteX275" fmla="*/ 1546031 w 2359561"/>
                <a:gd name="connsiteY275" fmla="*/ 2077374 h 3085499"/>
                <a:gd name="connsiteX276" fmla="*/ 1561033 w 2359561"/>
                <a:gd name="connsiteY276" fmla="*/ 2104644 h 3085499"/>
                <a:gd name="connsiteX277" fmla="*/ 1602591 w 2359561"/>
                <a:gd name="connsiteY277" fmla="*/ 2119036 h 3085499"/>
                <a:gd name="connsiteX278" fmla="*/ 1626299 w 2359561"/>
                <a:gd name="connsiteY278" fmla="*/ 2100167 h 3085499"/>
                <a:gd name="connsiteX279" fmla="*/ 478212 w 2359561"/>
                <a:gd name="connsiteY279" fmla="*/ 1599686 h 3085499"/>
                <a:gd name="connsiteX280" fmla="*/ 548507 w 2359561"/>
                <a:gd name="connsiteY280" fmla="*/ 1559881 h 3085499"/>
                <a:gd name="connsiteX281" fmla="*/ 548507 w 2359561"/>
                <a:gd name="connsiteY281" fmla="*/ 1522981 h 3085499"/>
                <a:gd name="connsiteX282" fmla="*/ 581625 w 2359561"/>
                <a:gd name="connsiteY282" fmla="*/ 1461954 h 3085499"/>
                <a:gd name="connsiteX283" fmla="*/ 647109 w 2359561"/>
                <a:gd name="connsiteY283" fmla="*/ 1398242 h 3085499"/>
                <a:gd name="connsiteX284" fmla="*/ 680685 w 2359561"/>
                <a:gd name="connsiteY284" fmla="*/ 1374743 h 3085499"/>
                <a:gd name="connsiteX285" fmla="*/ 652015 w 2359561"/>
                <a:gd name="connsiteY285" fmla="*/ 1334748 h 3085499"/>
                <a:gd name="connsiteX286" fmla="*/ 626078 w 2359561"/>
                <a:gd name="connsiteY286" fmla="*/ 1306621 h 3085499"/>
                <a:gd name="connsiteX287" fmla="*/ 557860 w 2359561"/>
                <a:gd name="connsiteY287" fmla="*/ 1301172 h 3085499"/>
                <a:gd name="connsiteX288" fmla="*/ 519722 w 2359561"/>
                <a:gd name="connsiteY288" fmla="*/ 1280636 h 3085499"/>
                <a:gd name="connsiteX289" fmla="*/ 429454 w 2359561"/>
                <a:gd name="connsiteY289" fmla="*/ 1296114 h 3085499"/>
                <a:gd name="connsiteX290" fmla="*/ 455571 w 2359561"/>
                <a:gd name="connsiteY290" fmla="*/ 1355408 h 3085499"/>
                <a:gd name="connsiteX291" fmla="*/ 432406 w 2359561"/>
                <a:gd name="connsiteY291" fmla="*/ 1416663 h 3085499"/>
                <a:gd name="connsiteX292" fmla="*/ 413909 w 2359561"/>
                <a:gd name="connsiteY292" fmla="*/ 1482061 h 3085499"/>
                <a:gd name="connsiteX293" fmla="*/ 402450 w 2359561"/>
                <a:gd name="connsiteY293" fmla="*/ 1518809 h 3085499"/>
                <a:gd name="connsiteX294" fmla="*/ 464115 w 2359561"/>
                <a:gd name="connsiteY294" fmla="*/ 1563519 h 3085499"/>
                <a:gd name="connsiteX295" fmla="*/ 478212 w 2359561"/>
                <a:gd name="connsiteY295" fmla="*/ 1599686 h 3085499"/>
                <a:gd name="connsiteX296" fmla="*/ 1756820 w 2359561"/>
                <a:gd name="connsiteY296" fmla="*/ 1859747 h 3085499"/>
                <a:gd name="connsiteX297" fmla="*/ 1759830 w 2359561"/>
                <a:gd name="connsiteY297" fmla="*/ 1850136 h 3085499"/>
                <a:gd name="connsiteX298" fmla="*/ 1759534 w 2359561"/>
                <a:gd name="connsiteY298" fmla="*/ 1819894 h 3085499"/>
                <a:gd name="connsiteX299" fmla="*/ 1738684 w 2359561"/>
                <a:gd name="connsiteY299" fmla="*/ 1800044 h 3085499"/>
                <a:gd name="connsiteX300" fmla="*/ 1714205 w 2359561"/>
                <a:gd name="connsiteY300" fmla="*/ 1810017 h 3085499"/>
                <a:gd name="connsiteX301" fmla="*/ 1702860 w 2359561"/>
                <a:gd name="connsiteY301" fmla="*/ 1849707 h 3085499"/>
                <a:gd name="connsiteX302" fmla="*/ 1709528 w 2359561"/>
                <a:gd name="connsiteY302" fmla="*/ 1883607 h 3085499"/>
                <a:gd name="connsiteX303" fmla="*/ 1739465 w 2359561"/>
                <a:gd name="connsiteY303" fmla="*/ 1880168 h 3085499"/>
                <a:gd name="connsiteX304" fmla="*/ 1756820 w 2359561"/>
                <a:gd name="connsiteY304" fmla="*/ 1859747 h 3085499"/>
                <a:gd name="connsiteX305" fmla="*/ 1983696 w 2359561"/>
                <a:gd name="connsiteY305" fmla="*/ 1931623 h 3085499"/>
                <a:gd name="connsiteX306" fmla="*/ 2025682 w 2359561"/>
                <a:gd name="connsiteY306" fmla="*/ 1994497 h 3085499"/>
                <a:gd name="connsiteX307" fmla="*/ 2058543 w 2359561"/>
                <a:gd name="connsiteY307" fmla="*/ 2021691 h 3085499"/>
                <a:gd name="connsiteX308" fmla="*/ 2105416 w 2359561"/>
                <a:gd name="connsiteY308" fmla="*/ 1946729 h 3085499"/>
                <a:gd name="connsiteX309" fmla="*/ 2113731 w 2359561"/>
                <a:gd name="connsiteY309" fmla="*/ 1899742 h 3085499"/>
                <a:gd name="connsiteX310" fmla="*/ 2071726 w 2359561"/>
                <a:gd name="connsiteY310" fmla="*/ 1895227 h 3085499"/>
                <a:gd name="connsiteX311" fmla="*/ 2033340 w 2359561"/>
                <a:gd name="connsiteY311" fmla="*/ 1831448 h 3085499"/>
                <a:gd name="connsiteX312" fmla="*/ 1990944 w 2359561"/>
                <a:gd name="connsiteY312" fmla="*/ 1815827 h 3085499"/>
                <a:gd name="connsiteX313" fmla="*/ 1928041 w 2359561"/>
                <a:gd name="connsiteY313" fmla="*/ 1768507 h 3085499"/>
                <a:gd name="connsiteX314" fmla="*/ 1977076 w 2359561"/>
                <a:gd name="connsiteY314" fmla="*/ 1733893 h 3085499"/>
                <a:gd name="connsiteX315" fmla="*/ 1951815 w 2359561"/>
                <a:gd name="connsiteY315" fmla="*/ 1662055 h 3085499"/>
                <a:gd name="connsiteX316" fmla="*/ 1928555 w 2359561"/>
                <a:gd name="connsiteY316" fmla="*/ 1630108 h 3085499"/>
                <a:gd name="connsiteX317" fmla="*/ 1864081 w 2359561"/>
                <a:gd name="connsiteY317" fmla="*/ 1598181 h 3085499"/>
                <a:gd name="connsiteX318" fmla="*/ 1836249 w 2359561"/>
                <a:gd name="connsiteY318" fmla="*/ 1545327 h 3085499"/>
                <a:gd name="connsiteX319" fmla="*/ 1786652 w 2359561"/>
                <a:gd name="connsiteY319" fmla="*/ 1564291 h 3085499"/>
                <a:gd name="connsiteX320" fmla="*/ 1783194 w 2359561"/>
                <a:gd name="connsiteY320" fmla="*/ 1527496 h 3085499"/>
                <a:gd name="connsiteX321" fmla="*/ 1746409 w 2359561"/>
                <a:gd name="connsiteY321" fmla="*/ 1486329 h 3085499"/>
                <a:gd name="connsiteX322" fmla="*/ 1687154 w 2359561"/>
                <a:gd name="connsiteY322" fmla="*/ 1441428 h 3085499"/>
                <a:gd name="connsiteX323" fmla="*/ 1661893 w 2359561"/>
                <a:gd name="connsiteY323" fmla="*/ 1476804 h 3085499"/>
                <a:gd name="connsiteX324" fmla="*/ 1609058 w 2359561"/>
                <a:gd name="connsiteY324" fmla="*/ 1502159 h 3085499"/>
                <a:gd name="connsiteX325" fmla="*/ 1613030 w 2359561"/>
                <a:gd name="connsiteY325" fmla="*/ 1444400 h 3085499"/>
                <a:gd name="connsiteX326" fmla="*/ 1567215 w 2359561"/>
                <a:gd name="connsiteY326" fmla="*/ 1348654 h 3085499"/>
                <a:gd name="connsiteX327" fmla="*/ 1499530 w 2359561"/>
                <a:gd name="connsiteY327" fmla="*/ 1387354 h 3085499"/>
                <a:gd name="connsiteX328" fmla="*/ 1474851 w 2359561"/>
                <a:gd name="connsiteY328" fmla="*/ 1460706 h 3085499"/>
                <a:gd name="connsiteX329" fmla="*/ 1453810 w 2359561"/>
                <a:gd name="connsiteY329" fmla="*/ 1404290 h 3085499"/>
                <a:gd name="connsiteX330" fmla="*/ 1473460 w 2359561"/>
                <a:gd name="connsiteY330" fmla="*/ 1343606 h 3085499"/>
                <a:gd name="connsiteX331" fmla="*/ 1404499 w 2359561"/>
                <a:gd name="connsiteY331" fmla="*/ 1368857 h 3085499"/>
                <a:gd name="connsiteX332" fmla="*/ 1377039 w 2359561"/>
                <a:gd name="connsiteY332" fmla="*/ 1406871 h 3085499"/>
                <a:gd name="connsiteX333" fmla="*/ 1356512 w 2359561"/>
                <a:gd name="connsiteY333" fmla="*/ 1487081 h 3085499"/>
                <a:gd name="connsiteX334" fmla="*/ 1364980 w 2359561"/>
                <a:gd name="connsiteY334" fmla="*/ 1573292 h 3085499"/>
                <a:gd name="connsiteX335" fmla="*/ 1402918 w 2359561"/>
                <a:gd name="connsiteY335" fmla="*/ 1573654 h 3085499"/>
                <a:gd name="connsiteX336" fmla="*/ 1374991 w 2359561"/>
                <a:gd name="connsiteY336" fmla="*/ 1611030 h 3085499"/>
                <a:gd name="connsiteX337" fmla="*/ 1397203 w 2359561"/>
                <a:gd name="connsiteY337" fmla="*/ 1639234 h 3085499"/>
                <a:gd name="connsiteX338" fmla="*/ 1440513 w 2359561"/>
                <a:gd name="connsiteY338" fmla="*/ 1651187 h 3085499"/>
                <a:gd name="connsiteX339" fmla="*/ 1497006 w 2359561"/>
                <a:gd name="connsiteY339" fmla="*/ 1674209 h 3085499"/>
                <a:gd name="connsiteX340" fmla="*/ 1594199 w 2359561"/>
                <a:gd name="connsiteY340" fmla="*/ 1691526 h 3085499"/>
                <a:gd name="connsiteX341" fmla="*/ 1642615 w 2359561"/>
                <a:gd name="connsiteY341" fmla="*/ 1681582 h 3085499"/>
                <a:gd name="connsiteX342" fmla="*/ 1656912 w 2359561"/>
                <a:gd name="connsiteY342" fmla="*/ 1658531 h 3085499"/>
                <a:gd name="connsiteX343" fmla="*/ 1677972 w 2359561"/>
                <a:gd name="connsiteY343" fmla="*/ 1685087 h 3085499"/>
                <a:gd name="connsiteX344" fmla="*/ 1701508 w 2359561"/>
                <a:gd name="connsiteY344" fmla="*/ 1689487 h 3085499"/>
                <a:gd name="connsiteX345" fmla="*/ 1729778 w 2359561"/>
                <a:gd name="connsiteY345" fmla="*/ 1736779 h 3085499"/>
                <a:gd name="connsiteX346" fmla="*/ 1712671 w 2359561"/>
                <a:gd name="connsiteY346" fmla="*/ 1755638 h 3085499"/>
                <a:gd name="connsiteX347" fmla="*/ 1766773 w 2359561"/>
                <a:gd name="connsiteY347" fmla="*/ 1780651 h 3085499"/>
                <a:gd name="connsiteX348" fmla="*/ 1807683 w 2359561"/>
                <a:gd name="connsiteY348" fmla="*/ 1815684 h 3085499"/>
                <a:gd name="connsiteX349" fmla="*/ 1817980 w 2359561"/>
                <a:gd name="connsiteY349" fmla="*/ 1839973 h 3085499"/>
                <a:gd name="connsiteX350" fmla="*/ 1825323 w 2359561"/>
                <a:gd name="connsiteY350" fmla="*/ 1870824 h 3085499"/>
                <a:gd name="connsiteX351" fmla="*/ 1790776 w 2359561"/>
                <a:gd name="connsiteY351" fmla="*/ 1936785 h 3085499"/>
                <a:gd name="connsiteX352" fmla="*/ 1781451 w 2359561"/>
                <a:gd name="connsiteY352" fmla="*/ 1969580 h 3085499"/>
                <a:gd name="connsiteX353" fmla="*/ 1790376 w 2359561"/>
                <a:gd name="connsiteY353" fmla="*/ 1992659 h 3085499"/>
                <a:gd name="connsiteX354" fmla="*/ 1735398 w 2359561"/>
                <a:gd name="connsiteY354" fmla="*/ 2000841 h 3085499"/>
                <a:gd name="connsiteX355" fmla="*/ 1685211 w 2359561"/>
                <a:gd name="connsiteY355" fmla="*/ 2001974 h 3085499"/>
                <a:gd name="connsiteX356" fmla="*/ 1667618 w 2359561"/>
                <a:gd name="connsiteY356" fmla="*/ 2048351 h 3085499"/>
                <a:gd name="connsiteX357" fmla="*/ 1690211 w 2359561"/>
                <a:gd name="connsiteY357" fmla="*/ 2069554 h 3085499"/>
                <a:gd name="connsiteX358" fmla="*/ 1767430 w 2359561"/>
                <a:gd name="connsiteY358" fmla="*/ 2059734 h 3085499"/>
                <a:gd name="connsiteX359" fmla="*/ 1767002 w 2359561"/>
                <a:gd name="connsiteY359" fmla="*/ 2041741 h 3085499"/>
                <a:gd name="connsiteX360" fmla="*/ 1805893 w 2359561"/>
                <a:gd name="connsiteY360" fmla="*/ 2071726 h 3085499"/>
                <a:gd name="connsiteX361" fmla="*/ 1845735 w 2359561"/>
                <a:gd name="connsiteY361" fmla="*/ 2102930 h 3085499"/>
                <a:gd name="connsiteX362" fmla="*/ 1836410 w 2359561"/>
                <a:gd name="connsiteY362" fmla="*/ 2119817 h 3085499"/>
                <a:gd name="connsiteX363" fmla="*/ 1868776 w 2359561"/>
                <a:gd name="connsiteY363" fmla="*/ 2148592 h 3085499"/>
                <a:gd name="connsiteX364" fmla="*/ 1926088 w 2359561"/>
                <a:gd name="connsiteY364" fmla="*/ 2182263 h 3085499"/>
                <a:gd name="connsiteX365" fmla="*/ 1998517 w 2359561"/>
                <a:gd name="connsiteY365" fmla="*/ 2205038 h 3085499"/>
                <a:gd name="connsiteX366" fmla="*/ 1994173 w 2359561"/>
                <a:gd name="connsiteY366" fmla="*/ 2185140 h 3085499"/>
                <a:gd name="connsiteX367" fmla="*/ 1966360 w 2359561"/>
                <a:gd name="connsiteY367" fmla="*/ 2150164 h 3085499"/>
                <a:gd name="connsiteX368" fmla="*/ 1928613 w 2359561"/>
                <a:gd name="connsiteY368" fmla="*/ 2098986 h 3085499"/>
                <a:gd name="connsiteX369" fmla="*/ 1995602 w 2359561"/>
                <a:gd name="connsiteY369" fmla="*/ 2146583 h 3085499"/>
                <a:gd name="connsiteX370" fmla="*/ 2029282 w 2359561"/>
                <a:gd name="connsiteY370" fmla="*/ 2162394 h 3085499"/>
                <a:gd name="connsiteX371" fmla="*/ 2038483 w 2359561"/>
                <a:gd name="connsiteY371" fmla="*/ 2120122 h 3085499"/>
                <a:gd name="connsiteX372" fmla="*/ 2021100 w 2359561"/>
                <a:gd name="connsiteY372" fmla="*/ 2060134 h 3085499"/>
                <a:gd name="connsiteX373" fmla="*/ 2010099 w 2359561"/>
                <a:gd name="connsiteY373" fmla="*/ 2043665 h 3085499"/>
                <a:gd name="connsiteX374" fmla="*/ 1973847 w 2359561"/>
                <a:gd name="connsiteY374" fmla="*/ 2014757 h 3085499"/>
                <a:gd name="connsiteX375" fmla="*/ 1945758 w 2359561"/>
                <a:gd name="connsiteY375" fmla="*/ 1977504 h 3085499"/>
                <a:gd name="connsiteX376" fmla="*/ 1949129 w 2359561"/>
                <a:gd name="connsiteY376" fmla="*/ 1939957 h 3085499"/>
                <a:gd name="connsiteX377" fmla="*/ 1983696 w 2359561"/>
                <a:gd name="connsiteY377" fmla="*/ 1931623 h 3085499"/>
                <a:gd name="connsiteX378" fmla="*/ 1356655 w 2359561"/>
                <a:gd name="connsiteY378" fmla="*/ 392706 h 3085499"/>
                <a:gd name="connsiteX379" fmla="*/ 1378906 w 2359561"/>
                <a:gd name="connsiteY379" fmla="*/ 462172 h 3085499"/>
                <a:gd name="connsiteX380" fmla="*/ 1426121 w 2359561"/>
                <a:gd name="connsiteY380" fmla="*/ 518179 h 3085499"/>
                <a:gd name="connsiteX381" fmla="*/ 1519571 w 2359561"/>
                <a:gd name="connsiteY381" fmla="*/ 507816 h 3085499"/>
                <a:gd name="connsiteX382" fmla="*/ 1579702 w 2359561"/>
                <a:gd name="connsiteY382" fmla="*/ 526561 h 3085499"/>
                <a:gd name="connsiteX383" fmla="*/ 1538030 w 2359561"/>
                <a:gd name="connsiteY383" fmla="*/ 584216 h 3085499"/>
                <a:gd name="connsiteX384" fmla="*/ 1516942 w 2359561"/>
                <a:gd name="connsiteY384" fmla="*/ 567299 h 3085499"/>
                <a:gd name="connsiteX385" fmla="*/ 1443942 w 2359561"/>
                <a:gd name="connsiteY385" fmla="*/ 560518 h 3085499"/>
                <a:gd name="connsiteX386" fmla="*/ 1455277 w 2359561"/>
                <a:gd name="connsiteY386" fmla="*/ 639709 h 3085499"/>
                <a:gd name="connsiteX387" fmla="*/ 1492996 w 2359561"/>
                <a:gd name="connsiteY387" fmla="*/ 697201 h 3085499"/>
                <a:gd name="connsiteX388" fmla="*/ 1485424 w 2359561"/>
                <a:gd name="connsiteY388" fmla="*/ 746741 h 3085499"/>
                <a:gd name="connsiteX389" fmla="*/ 1438066 w 2359561"/>
                <a:gd name="connsiteY389" fmla="*/ 779717 h 3085499"/>
                <a:gd name="connsiteX390" fmla="*/ 1416434 w 2359561"/>
                <a:gd name="connsiteY390" fmla="*/ 831828 h 3085499"/>
                <a:gd name="connsiteX391" fmla="*/ 1459754 w 2359561"/>
                <a:gd name="connsiteY391" fmla="*/ 857031 h 3085499"/>
                <a:gd name="connsiteX392" fmla="*/ 1496168 w 2359561"/>
                <a:gd name="connsiteY392" fmla="*/ 938460 h 3085499"/>
                <a:gd name="connsiteX393" fmla="*/ 1424759 w 2359561"/>
                <a:gd name="connsiteY393" fmla="*/ 884139 h 3085499"/>
                <a:gd name="connsiteX394" fmla="*/ 1408471 w 2359561"/>
                <a:gd name="connsiteY394" fmla="*/ 893102 h 3085499"/>
                <a:gd name="connsiteX395" fmla="*/ 1421625 w 2359561"/>
                <a:gd name="connsiteY395" fmla="*/ 982418 h 3085499"/>
                <a:gd name="connsiteX396" fmla="*/ 1372248 w 2359561"/>
                <a:gd name="connsiteY396" fmla="*/ 1009402 h 3085499"/>
                <a:gd name="connsiteX397" fmla="*/ 1375601 w 2359561"/>
                <a:gd name="connsiteY397" fmla="*/ 1065133 h 3085499"/>
                <a:gd name="connsiteX398" fmla="*/ 1426093 w 2359561"/>
                <a:gd name="connsiteY398" fmla="*/ 1071096 h 3085499"/>
                <a:gd name="connsiteX399" fmla="*/ 1465840 w 2359561"/>
                <a:gd name="connsiteY399" fmla="*/ 1084793 h 3085499"/>
                <a:gd name="connsiteX400" fmla="*/ 1544288 w 2359561"/>
                <a:gd name="connsiteY400" fmla="*/ 1067219 h 3085499"/>
                <a:gd name="connsiteX401" fmla="*/ 1614078 w 2359561"/>
                <a:gd name="connsiteY401" fmla="*/ 1098356 h 3085499"/>
                <a:gd name="connsiteX402" fmla="*/ 1685439 w 2359561"/>
                <a:gd name="connsiteY402" fmla="*/ 1029862 h 3085499"/>
                <a:gd name="connsiteX403" fmla="*/ 1684858 w 2359561"/>
                <a:gd name="connsiteY403" fmla="*/ 1001106 h 3085499"/>
                <a:gd name="connsiteX404" fmla="*/ 1639224 w 2359561"/>
                <a:gd name="connsiteY404" fmla="*/ 1005697 h 3085499"/>
                <a:gd name="connsiteX405" fmla="*/ 1635490 w 2359561"/>
                <a:gd name="connsiteY405" fmla="*/ 978637 h 3085499"/>
                <a:gd name="connsiteX406" fmla="*/ 1672800 w 2359561"/>
                <a:gd name="connsiteY406" fmla="*/ 942165 h 3085499"/>
                <a:gd name="connsiteX407" fmla="*/ 1685468 w 2359561"/>
                <a:gd name="connsiteY407" fmla="*/ 893102 h 3085499"/>
                <a:gd name="connsiteX408" fmla="*/ 1726730 w 2359561"/>
                <a:gd name="connsiteY408" fmla="*/ 856631 h 3085499"/>
                <a:gd name="connsiteX409" fmla="*/ 1752105 w 2359561"/>
                <a:gd name="connsiteY409" fmla="*/ 811273 h 3085499"/>
                <a:gd name="connsiteX410" fmla="*/ 1730016 w 2359561"/>
                <a:gd name="connsiteY410" fmla="*/ 743617 h 3085499"/>
                <a:gd name="connsiteX411" fmla="*/ 1748476 w 2359561"/>
                <a:gd name="connsiteY411" fmla="*/ 718385 h 3085499"/>
                <a:gd name="connsiteX412" fmla="*/ 1711662 w 2359561"/>
                <a:gd name="connsiteY412" fmla="*/ 700411 h 3085499"/>
                <a:gd name="connsiteX413" fmla="*/ 1792519 w 2359561"/>
                <a:gd name="connsiteY413" fmla="*/ 684905 h 3085499"/>
                <a:gd name="connsiteX414" fmla="*/ 1809541 w 2359561"/>
                <a:gd name="connsiteY414" fmla="*/ 654929 h 3085499"/>
                <a:gd name="connsiteX415" fmla="*/ 1864633 w 2359561"/>
                <a:gd name="connsiteY415" fmla="*/ 630126 h 3085499"/>
                <a:gd name="connsiteX416" fmla="*/ 1910305 w 2359561"/>
                <a:gd name="connsiteY416" fmla="*/ 501796 h 3085499"/>
                <a:gd name="connsiteX417" fmla="*/ 1953825 w 2359561"/>
                <a:gd name="connsiteY417" fmla="*/ 454714 h 3085499"/>
                <a:gd name="connsiteX418" fmla="*/ 2016843 w 2359561"/>
                <a:gd name="connsiteY418" fmla="*/ 348758 h 3085499"/>
                <a:gd name="connsiteX419" fmla="*/ 1958702 w 2359561"/>
                <a:gd name="connsiteY419" fmla="*/ 349691 h 3085499"/>
                <a:gd name="connsiteX420" fmla="*/ 1982848 w 2359561"/>
                <a:gd name="connsiteY420" fmla="*/ 308705 h 3085499"/>
                <a:gd name="connsiteX421" fmla="*/ 2047466 w 2359561"/>
                <a:gd name="connsiteY421" fmla="*/ 270672 h 3085499"/>
                <a:gd name="connsiteX422" fmla="*/ 2112626 w 2359561"/>
                <a:gd name="connsiteY422" fmla="*/ 185871 h 3085499"/>
                <a:gd name="connsiteX423" fmla="*/ 2113798 w 2359561"/>
                <a:gd name="connsiteY423" fmla="*/ 131283 h 3085499"/>
                <a:gd name="connsiteX424" fmla="*/ 2064925 w 2359561"/>
                <a:gd name="connsiteY424" fmla="*/ 73733 h 3085499"/>
                <a:gd name="connsiteX425" fmla="*/ 2007575 w 2359561"/>
                <a:gd name="connsiteY425" fmla="*/ 45825 h 3085499"/>
                <a:gd name="connsiteX426" fmla="*/ 1936194 w 2359561"/>
                <a:gd name="connsiteY426" fmla="*/ 28499 h 3085499"/>
                <a:gd name="connsiteX427" fmla="*/ 1878359 w 2359561"/>
                <a:gd name="connsiteY427" fmla="*/ 14316 h 3085499"/>
                <a:gd name="connsiteX428" fmla="*/ 1820513 w 2359561"/>
                <a:gd name="connsiteY428" fmla="*/ 0 h 3085499"/>
                <a:gd name="connsiteX429" fmla="*/ 1743409 w 2359561"/>
                <a:gd name="connsiteY429" fmla="*/ 37881 h 3085499"/>
                <a:gd name="connsiteX430" fmla="*/ 1729216 w 2359561"/>
                <a:gd name="connsiteY430" fmla="*/ 13811 h 3085499"/>
                <a:gd name="connsiteX431" fmla="*/ 1647587 w 2359561"/>
                <a:gd name="connsiteY431" fmla="*/ 23108 h 3085499"/>
                <a:gd name="connsiteX432" fmla="*/ 1599695 w 2359561"/>
                <a:gd name="connsiteY432" fmla="*/ 47596 h 3085499"/>
                <a:gd name="connsiteX433" fmla="*/ 1564443 w 2359561"/>
                <a:gd name="connsiteY433" fmla="*/ 82363 h 3085499"/>
                <a:gd name="connsiteX434" fmla="*/ 1544126 w 2359561"/>
                <a:gd name="connsiteY434" fmla="*/ 194224 h 3085499"/>
                <a:gd name="connsiteX435" fmla="*/ 1515285 w 2359561"/>
                <a:gd name="connsiteY435" fmla="*/ 137236 h 3085499"/>
                <a:gd name="connsiteX436" fmla="*/ 1482166 w 2359561"/>
                <a:gd name="connsiteY436" fmla="*/ 126359 h 3085499"/>
                <a:gd name="connsiteX437" fmla="*/ 1442904 w 2359561"/>
                <a:gd name="connsiteY437" fmla="*/ 202273 h 3085499"/>
                <a:gd name="connsiteX438" fmla="*/ 1390507 w 2359561"/>
                <a:gd name="connsiteY438" fmla="*/ 234163 h 3085499"/>
                <a:gd name="connsiteX439" fmla="*/ 1359322 w 2359561"/>
                <a:gd name="connsiteY439" fmla="*/ 240487 h 3085499"/>
                <a:gd name="connsiteX440" fmla="*/ 1319613 w 2359561"/>
                <a:gd name="connsiteY440" fmla="*/ 277035 h 3085499"/>
                <a:gd name="connsiteX441" fmla="*/ 1325461 w 2359561"/>
                <a:gd name="connsiteY441" fmla="*/ 340338 h 3085499"/>
                <a:gd name="connsiteX442" fmla="*/ 1356655 w 2359561"/>
                <a:gd name="connsiteY442" fmla="*/ 392706 h 3085499"/>
                <a:gd name="connsiteX443" fmla="*/ 2065325 w 2359561"/>
                <a:gd name="connsiteY443" fmla="*/ 2916888 h 3085499"/>
                <a:gd name="connsiteX444" fmla="*/ 2055971 w 2359561"/>
                <a:gd name="connsiteY444" fmla="*/ 2897991 h 3085499"/>
                <a:gd name="connsiteX445" fmla="*/ 2045884 w 2359561"/>
                <a:gd name="connsiteY445" fmla="*/ 2910012 h 3085499"/>
                <a:gd name="connsiteX446" fmla="*/ 2052561 w 2359561"/>
                <a:gd name="connsiteY446" fmla="*/ 2922975 h 3085499"/>
                <a:gd name="connsiteX447" fmla="*/ 2086432 w 2359561"/>
                <a:gd name="connsiteY447" fmla="*/ 2939291 h 3085499"/>
                <a:gd name="connsiteX448" fmla="*/ 2096329 w 2359561"/>
                <a:gd name="connsiteY448" fmla="*/ 2936796 h 3085499"/>
                <a:gd name="connsiteX449" fmla="*/ 2109464 w 2359561"/>
                <a:gd name="connsiteY449" fmla="*/ 2921022 h 3085499"/>
                <a:gd name="connsiteX450" fmla="*/ 2084699 w 2359561"/>
                <a:gd name="connsiteY450" fmla="*/ 2922080 h 3085499"/>
                <a:gd name="connsiteX451" fmla="*/ 2065325 w 2359561"/>
                <a:gd name="connsiteY451" fmla="*/ 2916888 h 3085499"/>
                <a:gd name="connsiteX452" fmla="*/ 1522400 w 2359561"/>
                <a:gd name="connsiteY452" fmla="*/ 2175205 h 3085499"/>
                <a:gd name="connsiteX453" fmla="*/ 1528248 w 2359561"/>
                <a:gd name="connsiteY453" fmla="*/ 2190731 h 3085499"/>
                <a:gd name="connsiteX454" fmla="*/ 1547098 w 2359561"/>
                <a:gd name="connsiteY454" fmla="*/ 2192045 h 3085499"/>
                <a:gd name="connsiteX455" fmla="*/ 1578359 w 2359561"/>
                <a:gd name="connsiteY455" fmla="*/ 2160261 h 3085499"/>
                <a:gd name="connsiteX456" fmla="*/ 1578931 w 2359561"/>
                <a:gd name="connsiteY456" fmla="*/ 2148945 h 3085499"/>
                <a:gd name="connsiteX457" fmla="*/ 1542250 w 2359561"/>
                <a:gd name="connsiteY457" fmla="*/ 2148383 h 3085499"/>
                <a:gd name="connsiteX458" fmla="*/ 1522400 w 2359561"/>
                <a:gd name="connsiteY458" fmla="*/ 2175205 h 3085499"/>
                <a:gd name="connsiteX459" fmla="*/ 2114169 w 2359561"/>
                <a:gd name="connsiteY459" fmla="*/ 2808046 h 3085499"/>
                <a:gd name="connsiteX460" fmla="*/ 2086861 w 2359561"/>
                <a:gd name="connsiteY460" fmla="*/ 2790911 h 3085499"/>
                <a:gd name="connsiteX461" fmla="*/ 2051742 w 2359561"/>
                <a:gd name="connsiteY461" fmla="*/ 2780557 h 3085499"/>
                <a:gd name="connsiteX462" fmla="*/ 2042503 w 2359561"/>
                <a:gd name="connsiteY462" fmla="*/ 2784034 h 3085499"/>
                <a:gd name="connsiteX463" fmla="*/ 2067335 w 2359561"/>
                <a:gd name="connsiteY463" fmla="*/ 2803455 h 3085499"/>
                <a:gd name="connsiteX464" fmla="*/ 2101949 w 2359561"/>
                <a:gd name="connsiteY464" fmla="*/ 2816247 h 3085499"/>
                <a:gd name="connsiteX465" fmla="*/ 2114950 w 2359561"/>
                <a:gd name="connsiteY465" fmla="*/ 2815523 h 3085499"/>
                <a:gd name="connsiteX466" fmla="*/ 2114169 w 2359561"/>
                <a:gd name="connsiteY466" fmla="*/ 2808046 h 3085499"/>
                <a:gd name="connsiteX467" fmla="*/ 2351247 w 2359561"/>
                <a:gd name="connsiteY467" fmla="*/ 2853719 h 3085499"/>
                <a:gd name="connsiteX468" fmla="*/ 2347846 w 2359561"/>
                <a:gd name="connsiteY468" fmla="*/ 2832430 h 3085499"/>
                <a:gd name="connsiteX469" fmla="*/ 2329158 w 2359561"/>
                <a:gd name="connsiteY469" fmla="*/ 2839317 h 3085499"/>
                <a:gd name="connsiteX470" fmla="*/ 2337426 w 2359561"/>
                <a:gd name="connsiteY470" fmla="*/ 2809666 h 3085499"/>
                <a:gd name="connsiteX471" fmla="*/ 2310794 w 2359561"/>
                <a:gd name="connsiteY471" fmla="*/ 2797083 h 3085499"/>
                <a:gd name="connsiteX472" fmla="*/ 2298478 w 2359561"/>
                <a:gd name="connsiteY472" fmla="*/ 2807056 h 3085499"/>
                <a:gd name="connsiteX473" fmla="*/ 2274780 w 2359561"/>
                <a:gd name="connsiteY473" fmla="*/ 2795826 h 3085499"/>
                <a:gd name="connsiteX474" fmla="*/ 2284152 w 2359561"/>
                <a:gd name="connsiteY474" fmla="*/ 2781453 h 3085499"/>
                <a:gd name="connsiteX475" fmla="*/ 2266217 w 2359561"/>
                <a:gd name="connsiteY475" fmla="*/ 2772566 h 3085499"/>
                <a:gd name="connsiteX476" fmla="*/ 2248786 w 2359561"/>
                <a:gd name="connsiteY476" fmla="*/ 2786558 h 3085499"/>
                <a:gd name="connsiteX477" fmla="*/ 2266455 w 2359561"/>
                <a:gd name="connsiteY477" fmla="*/ 2750125 h 3085499"/>
                <a:gd name="connsiteX478" fmla="*/ 2280714 w 2359561"/>
                <a:gd name="connsiteY478" fmla="*/ 2723455 h 3085499"/>
                <a:gd name="connsiteX479" fmla="*/ 2285876 w 2359561"/>
                <a:gd name="connsiteY479" fmla="*/ 2711863 h 3085499"/>
                <a:gd name="connsiteX480" fmla="*/ 2273484 w 2359561"/>
                <a:gd name="connsiteY480" fmla="*/ 2709987 h 3085499"/>
                <a:gd name="connsiteX481" fmla="*/ 2250310 w 2359561"/>
                <a:gd name="connsiteY481" fmla="*/ 2724722 h 3085499"/>
                <a:gd name="connsiteX482" fmla="*/ 2233755 w 2359561"/>
                <a:gd name="connsiteY482" fmla="*/ 2748810 h 3085499"/>
                <a:gd name="connsiteX483" fmla="*/ 2206161 w 2359561"/>
                <a:gd name="connsiteY483" fmla="*/ 2814695 h 3085499"/>
                <a:gd name="connsiteX484" fmla="*/ 2183740 w 2359561"/>
                <a:gd name="connsiteY484" fmla="*/ 2839060 h 3085499"/>
                <a:gd name="connsiteX485" fmla="*/ 2195360 w 2359561"/>
                <a:gd name="connsiteY485" fmla="*/ 2849956 h 3085499"/>
                <a:gd name="connsiteX486" fmla="*/ 2178720 w 2359561"/>
                <a:gd name="connsiteY486" fmla="*/ 2863987 h 3085499"/>
                <a:gd name="connsiteX487" fmla="*/ 2182816 w 2359561"/>
                <a:gd name="connsiteY487" fmla="*/ 2875712 h 3085499"/>
                <a:gd name="connsiteX488" fmla="*/ 2234651 w 2359561"/>
                <a:gd name="connsiteY488" fmla="*/ 2876912 h 3085499"/>
                <a:gd name="connsiteX489" fmla="*/ 2263350 w 2359561"/>
                <a:gd name="connsiteY489" fmla="*/ 2874550 h 3085499"/>
                <a:gd name="connsiteX490" fmla="*/ 2288972 w 2359561"/>
                <a:gd name="connsiteY490" fmla="*/ 2884122 h 3085499"/>
                <a:gd name="connsiteX491" fmla="*/ 2270113 w 2359561"/>
                <a:gd name="connsiteY491" fmla="*/ 2902525 h 3085499"/>
                <a:gd name="connsiteX492" fmla="*/ 2286048 w 2359561"/>
                <a:gd name="connsiteY492" fmla="*/ 2903877 h 3085499"/>
                <a:gd name="connsiteX493" fmla="*/ 2317033 w 2359561"/>
                <a:gd name="connsiteY493" fmla="*/ 2869816 h 3085499"/>
                <a:gd name="connsiteX494" fmla="*/ 2324472 w 2359561"/>
                <a:gd name="connsiteY494" fmla="*/ 2874845 h 3085499"/>
                <a:gd name="connsiteX495" fmla="*/ 2318680 w 2359561"/>
                <a:gd name="connsiteY495" fmla="*/ 2906916 h 3085499"/>
                <a:gd name="connsiteX496" fmla="*/ 2336235 w 2359561"/>
                <a:gd name="connsiteY496" fmla="*/ 2914250 h 3085499"/>
                <a:gd name="connsiteX497" fmla="*/ 2348322 w 2359561"/>
                <a:gd name="connsiteY497" fmla="*/ 2912812 h 3085499"/>
                <a:gd name="connsiteX498" fmla="*/ 2359562 w 2359561"/>
                <a:gd name="connsiteY498" fmla="*/ 2878388 h 3085499"/>
                <a:gd name="connsiteX499" fmla="*/ 2351247 w 2359561"/>
                <a:gd name="connsiteY499" fmla="*/ 2853719 h 3085499"/>
                <a:gd name="connsiteX500" fmla="*/ 2149354 w 2359561"/>
                <a:gd name="connsiteY500" fmla="*/ 2899086 h 3085499"/>
                <a:gd name="connsiteX501" fmla="*/ 2122580 w 2359561"/>
                <a:gd name="connsiteY501" fmla="*/ 2942520 h 3085499"/>
                <a:gd name="connsiteX502" fmla="*/ 2078450 w 2359561"/>
                <a:gd name="connsiteY502" fmla="*/ 2948054 h 3085499"/>
                <a:gd name="connsiteX503" fmla="*/ 2043760 w 2359561"/>
                <a:gd name="connsiteY503" fmla="*/ 2928919 h 3085499"/>
                <a:gd name="connsiteX504" fmla="*/ 2035045 w 2359561"/>
                <a:gd name="connsiteY504" fmla="*/ 2899677 h 3085499"/>
                <a:gd name="connsiteX505" fmla="*/ 2026577 w 2359561"/>
                <a:gd name="connsiteY505" fmla="*/ 2857176 h 3085499"/>
                <a:gd name="connsiteX506" fmla="*/ 2051799 w 2359561"/>
                <a:gd name="connsiteY506" fmla="*/ 2830230 h 3085499"/>
                <a:gd name="connsiteX507" fmla="*/ 2028158 w 2359561"/>
                <a:gd name="connsiteY507" fmla="*/ 2810332 h 3085499"/>
                <a:gd name="connsiteX508" fmla="*/ 1988201 w 2359561"/>
                <a:gd name="connsiteY508" fmla="*/ 2814390 h 3085499"/>
                <a:gd name="connsiteX509" fmla="*/ 1932185 w 2359561"/>
                <a:gd name="connsiteY509" fmla="*/ 2848013 h 3085499"/>
                <a:gd name="connsiteX510" fmla="*/ 1889312 w 2359561"/>
                <a:gd name="connsiteY510" fmla="*/ 2899944 h 3085499"/>
                <a:gd name="connsiteX511" fmla="*/ 1866633 w 2359561"/>
                <a:gd name="connsiteY511" fmla="*/ 2906344 h 3085499"/>
                <a:gd name="connsiteX512" fmla="*/ 1897371 w 2359561"/>
                <a:gd name="connsiteY512" fmla="*/ 2870111 h 3085499"/>
                <a:gd name="connsiteX513" fmla="*/ 1935890 w 2359561"/>
                <a:gd name="connsiteY513" fmla="*/ 2817019 h 3085499"/>
                <a:gd name="connsiteX514" fmla="*/ 1969942 w 2359561"/>
                <a:gd name="connsiteY514" fmla="*/ 2798931 h 3085499"/>
                <a:gd name="connsiteX515" fmla="*/ 1992306 w 2359561"/>
                <a:gd name="connsiteY515" fmla="*/ 2769289 h 3085499"/>
                <a:gd name="connsiteX516" fmla="*/ 2019967 w 2359561"/>
                <a:gd name="connsiteY516" fmla="*/ 2766403 h 3085499"/>
                <a:gd name="connsiteX517" fmla="*/ 2060048 w 2359561"/>
                <a:gd name="connsiteY517" fmla="*/ 2766698 h 3085499"/>
                <a:gd name="connsiteX518" fmla="*/ 2117170 w 2359561"/>
                <a:gd name="connsiteY518" fmla="*/ 2775452 h 3085499"/>
                <a:gd name="connsiteX519" fmla="*/ 2162318 w 2359561"/>
                <a:gd name="connsiteY519" fmla="*/ 2768708 h 3085499"/>
                <a:gd name="connsiteX520" fmla="*/ 2195922 w 2359561"/>
                <a:gd name="connsiteY520" fmla="*/ 2734189 h 3085499"/>
                <a:gd name="connsiteX521" fmla="*/ 2239937 w 2359561"/>
                <a:gd name="connsiteY521" fmla="*/ 2719073 h 3085499"/>
                <a:gd name="connsiteX522" fmla="*/ 2259102 w 2359561"/>
                <a:gd name="connsiteY522" fmla="*/ 2704024 h 3085499"/>
                <a:gd name="connsiteX523" fmla="*/ 2278485 w 2359561"/>
                <a:gd name="connsiteY523" fmla="*/ 2687774 h 3085499"/>
                <a:gd name="connsiteX524" fmla="*/ 2276532 w 2359561"/>
                <a:gd name="connsiteY524" fmla="*/ 2638358 h 3085499"/>
                <a:gd name="connsiteX525" fmla="*/ 2265807 w 2359561"/>
                <a:gd name="connsiteY525" fmla="*/ 2621480 h 3085499"/>
                <a:gd name="connsiteX526" fmla="*/ 2245004 w 2359561"/>
                <a:gd name="connsiteY526" fmla="*/ 2615498 h 3085499"/>
                <a:gd name="connsiteX527" fmla="*/ 2234422 w 2359561"/>
                <a:gd name="connsiteY527" fmla="*/ 2576951 h 3085499"/>
                <a:gd name="connsiteX528" fmla="*/ 2217277 w 2359561"/>
                <a:gd name="connsiteY528" fmla="*/ 2562206 h 3085499"/>
                <a:gd name="connsiteX529" fmla="*/ 2174691 w 2359561"/>
                <a:gd name="connsiteY529" fmla="*/ 2550166 h 3085499"/>
                <a:gd name="connsiteX530" fmla="*/ 2150679 w 2359561"/>
                <a:gd name="connsiteY530" fmla="*/ 2523287 h 3085499"/>
                <a:gd name="connsiteX531" fmla="*/ 2115160 w 2359561"/>
                <a:gd name="connsiteY531" fmla="*/ 2496369 h 3085499"/>
                <a:gd name="connsiteX532" fmla="*/ 2125894 w 2359561"/>
                <a:gd name="connsiteY532" fmla="*/ 2465918 h 3085499"/>
                <a:gd name="connsiteX533" fmla="*/ 2096357 w 2359561"/>
                <a:gd name="connsiteY533" fmla="*/ 2406291 h 3085499"/>
                <a:gd name="connsiteX534" fmla="*/ 2061582 w 2359561"/>
                <a:gd name="connsiteY534" fmla="*/ 2340636 h 3085499"/>
                <a:gd name="connsiteX535" fmla="*/ 2040779 w 2359561"/>
                <a:gd name="connsiteY535" fmla="*/ 2293172 h 3085499"/>
                <a:gd name="connsiteX536" fmla="*/ 2023110 w 2359561"/>
                <a:gd name="connsiteY536" fmla="*/ 2318042 h 3085499"/>
                <a:gd name="connsiteX537" fmla="*/ 1997564 w 2359561"/>
                <a:gd name="connsiteY537" fmla="*/ 2375697 h 3085499"/>
                <a:gd name="connsiteX538" fmla="*/ 1958892 w 2359561"/>
                <a:gd name="connsiteY538" fmla="*/ 2404015 h 3085499"/>
                <a:gd name="connsiteX539" fmla="*/ 1939538 w 2359561"/>
                <a:gd name="connsiteY539" fmla="*/ 2373963 h 3085499"/>
                <a:gd name="connsiteX540" fmla="*/ 1915144 w 2359561"/>
                <a:gd name="connsiteY540" fmla="*/ 2365896 h 3085499"/>
                <a:gd name="connsiteX541" fmla="*/ 1906267 w 2359561"/>
                <a:gd name="connsiteY541" fmla="*/ 2299316 h 3085499"/>
                <a:gd name="connsiteX542" fmla="*/ 1907067 w 2359561"/>
                <a:gd name="connsiteY542" fmla="*/ 2253625 h 3085499"/>
                <a:gd name="connsiteX543" fmla="*/ 1859442 w 2359561"/>
                <a:gd name="connsiteY543" fmla="*/ 2249453 h 3085499"/>
                <a:gd name="connsiteX544" fmla="*/ 1851336 w 2359561"/>
                <a:gd name="connsiteY544" fmla="*/ 2227869 h 3085499"/>
                <a:gd name="connsiteX545" fmla="*/ 1818446 w 2359561"/>
                <a:gd name="connsiteY545" fmla="*/ 2195141 h 3085499"/>
                <a:gd name="connsiteX546" fmla="*/ 1793577 w 2359561"/>
                <a:gd name="connsiteY546" fmla="*/ 2175720 h 3085499"/>
                <a:gd name="connsiteX547" fmla="*/ 1771459 w 2359561"/>
                <a:gd name="connsiteY547" fmla="*/ 2190798 h 3085499"/>
                <a:gd name="connsiteX548" fmla="*/ 1743999 w 2359561"/>
                <a:gd name="connsiteY548" fmla="*/ 2185226 h 3085499"/>
                <a:gd name="connsiteX549" fmla="*/ 1698212 w 2359561"/>
                <a:gd name="connsiteY549" fmla="*/ 2169547 h 3085499"/>
                <a:gd name="connsiteX550" fmla="*/ 1679619 w 2359561"/>
                <a:gd name="connsiteY550" fmla="*/ 2182854 h 3085499"/>
                <a:gd name="connsiteX551" fmla="*/ 1688544 w 2359561"/>
                <a:gd name="connsiteY551" fmla="*/ 2270265 h 3085499"/>
                <a:gd name="connsiteX552" fmla="*/ 1700184 w 2359561"/>
                <a:gd name="connsiteY552" fmla="*/ 2318995 h 3085499"/>
                <a:gd name="connsiteX553" fmla="*/ 1668666 w 2359561"/>
                <a:gd name="connsiteY553" fmla="*/ 2373773 h 3085499"/>
                <a:gd name="connsiteX554" fmla="*/ 1701108 w 2359561"/>
                <a:gd name="connsiteY554" fmla="*/ 2412083 h 3085499"/>
                <a:gd name="connsiteX555" fmla="*/ 1719243 w 2359561"/>
                <a:gd name="connsiteY555" fmla="*/ 2454374 h 3085499"/>
                <a:gd name="connsiteX556" fmla="*/ 1721425 w 2359561"/>
                <a:gd name="connsiteY556" fmla="*/ 2486968 h 3085499"/>
                <a:gd name="connsiteX557" fmla="*/ 1706623 w 2359561"/>
                <a:gd name="connsiteY557" fmla="*/ 2520344 h 3085499"/>
                <a:gd name="connsiteX558" fmla="*/ 1676362 w 2359561"/>
                <a:gd name="connsiteY558" fmla="*/ 2553310 h 3085499"/>
                <a:gd name="connsiteX559" fmla="*/ 1633604 w 2359561"/>
                <a:gd name="connsiteY559" fmla="*/ 2575036 h 3085499"/>
                <a:gd name="connsiteX560" fmla="*/ 1652445 w 2359561"/>
                <a:gd name="connsiteY560" fmla="*/ 2599125 h 3085499"/>
                <a:gd name="connsiteX561" fmla="*/ 1666389 w 2359561"/>
                <a:gd name="connsiteY561" fmla="*/ 2669629 h 3085499"/>
                <a:gd name="connsiteX562" fmla="*/ 1651940 w 2359561"/>
                <a:gd name="connsiteY562" fmla="*/ 2714168 h 3085499"/>
                <a:gd name="connsiteX563" fmla="*/ 1631375 w 2359561"/>
                <a:gd name="connsiteY563" fmla="*/ 2728055 h 3085499"/>
                <a:gd name="connsiteX564" fmla="*/ 1591637 w 2359561"/>
                <a:gd name="connsiteY564" fmla="*/ 2687260 h 3085499"/>
                <a:gd name="connsiteX565" fmla="*/ 1572292 w 2359561"/>
                <a:gd name="connsiteY565" fmla="*/ 2638035 h 3085499"/>
                <a:gd name="connsiteX566" fmla="*/ 1563986 w 2359561"/>
                <a:gd name="connsiteY566" fmla="*/ 2592705 h 3085499"/>
                <a:gd name="connsiteX567" fmla="*/ 1568348 w 2359561"/>
                <a:gd name="connsiteY567" fmla="*/ 2552757 h 3085499"/>
                <a:gd name="connsiteX568" fmla="*/ 1539297 w 2359561"/>
                <a:gd name="connsiteY568" fmla="*/ 2548242 h 3085499"/>
                <a:gd name="connsiteX569" fmla="*/ 1495197 w 2359561"/>
                <a:gd name="connsiteY569" fmla="*/ 2545547 h 3085499"/>
                <a:gd name="connsiteX570" fmla="*/ 1466898 w 2359561"/>
                <a:gd name="connsiteY570" fmla="*/ 2525716 h 3085499"/>
                <a:gd name="connsiteX571" fmla="*/ 1433436 w 2359561"/>
                <a:gd name="connsiteY571" fmla="*/ 2512638 h 3085499"/>
                <a:gd name="connsiteX572" fmla="*/ 1414329 w 2359561"/>
                <a:gd name="connsiteY572" fmla="*/ 2489978 h 3085499"/>
                <a:gd name="connsiteX573" fmla="*/ 1387631 w 2359561"/>
                <a:gd name="connsiteY573" fmla="*/ 2471547 h 3085499"/>
                <a:gd name="connsiteX574" fmla="*/ 1338005 w 2359561"/>
                <a:gd name="connsiteY574" fmla="*/ 2450316 h 3085499"/>
                <a:gd name="connsiteX575" fmla="*/ 1300639 w 2359561"/>
                <a:gd name="connsiteY575" fmla="*/ 2460031 h 3085499"/>
                <a:gd name="connsiteX576" fmla="*/ 1288152 w 2359561"/>
                <a:gd name="connsiteY576" fmla="*/ 2422436 h 3085499"/>
                <a:gd name="connsiteX577" fmla="*/ 1276122 w 2359561"/>
                <a:gd name="connsiteY577" fmla="*/ 2374906 h 3085499"/>
                <a:gd name="connsiteX578" fmla="*/ 1236878 w 2359561"/>
                <a:gd name="connsiteY578" fmla="*/ 2366315 h 3085499"/>
                <a:gd name="connsiteX579" fmla="*/ 1238355 w 2359561"/>
                <a:gd name="connsiteY579" fmla="*/ 2305250 h 3085499"/>
                <a:gd name="connsiteX580" fmla="*/ 1248709 w 2359561"/>
                <a:gd name="connsiteY580" fmla="*/ 2262550 h 3085499"/>
                <a:gd name="connsiteX581" fmla="*/ 1277674 w 2359561"/>
                <a:gd name="connsiteY581" fmla="*/ 2199685 h 3085499"/>
                <a:gd name="connsiteX582" fmla="*/ 1310354 w 2359561"/>
                <a:gd name="connsiteY582" fmla="*/ 2152993 h 3085499"/>
                <a:gd name="connsiteX583" fmla="*/ 1341425 w 2359561"/>
                <a:gd name="connsiteY583" fmla="*/ 2145668 h 3085499"/>
                <a:gd name="connsiteX584" fmla="*/ 1343196 w 2359561"/>
                <a:gd name="connsiteY584" fmla="*/ 2107111 h 3085499"/>
                <a:gd name="connsiteX585" fmla="*/ 1364275 w 2359561"/>
                <a:gd name="connsiteY585" fmla="*/ 2081565 h 3085499"/>
                <a:gd name="connsiteX586" fmla="*/ 1402509 w 2359561"/>
                <a:gd name="connsiteY586" fmla="*/ 2077526 h 3085499"/>
                <a:gd name="connsiteX587" fmla="*/ 1433484 w 2359561"/>
                <a:gd name="connsiteY587" fmla="*/ 2035693 h 3085499"/>
                <a:gd name="connsiteX588" fmla="*/ 1441275 w 2359561"/>
                <a:gd name="connsiteY588" fmla="*/ 2008099 h 3085499"/>
                <a:gd name="connsiteX589" fmla="*/ 1467021 w 2359561"/>
                <a:gd name="connsiteY589" fmla="*/ 1953568 h 3085499"/>
                <a:gd name="connsiteX590" fmla="*/ 1474984 w 2359561"/>
                <a:gd name="connsiteY590" fmla="*/ 1920230 h 3085499"/>
                <a:gd name="connsiteX591" fmla="*/ 1502597 w 2359561"/>
                <a:gd name="connsiteY591" fmla="*/ 1940300 h 3085499"/>
                <a:gd name="connsiteX592" fmla="*/ 1539735 w 2359561"/>
                <a:gd name="connsiteY592" fmla="*/ 1930051 h 3085499"/>
                <a:gd name="connsiteX593" fmla="*/ 1592028 w 2359561"/>
                <a:gd name="connsiteY593" fmla="*/ 1882769 h 3085499"/>
                <a:gd name="connsiteX594" fmla="*/ 1595428 w 2359561"/>
                <a:gd name="connsiteY594" fmla="*/ 1849060 h 3085499"/>
                <a:gd name="connsiteX595" fmla="*/ 1576597 w 2359561"/>
                <a:gd name="connsiteY595" fmla="*/ 1811150 h 3085499"/>
                <a:gd name="connsiteX596" fmla="*/ 1596466 w 2359561"/>
                <a:gd name="connsiteY596" fmla="*/ 1772507 h 3085499"/>
                <a:gd name="connsiteX597" fmla="*/ 1594857 w 2359561"/>
                <a:gd name="connsiteY597" fmla="*/ 1735693 h 3085499"/>
                <a:gd name="connsiteX598" fmla="*/ 1559014 w 2359561"/>
                <a:gd name="connsiteY598" fmla="*/ 1698041 h 3085499"/>
                <a:gd name="connsiteX599" fmla="*/ 1519533 w 2359561"/>
                <a:gd name="connsiteY599" fmla="*/ 1686706 h 3085499"/>
                <a:gd name="connsiteX600" fmla="*/ 1481576 w 2359561"/>
                <a:gd name="connsiteY600" fmla="*/ 1680763 h 3085499"/>
                <a:gd name="connsiteX601" fmla="*/ 1480118 w 2359561"/>
                <a:gd name="connsiteY601" fmla="*/ 1763763 h 3085499"/>
                <a:gd name="connsiteX602" fmla="*/ 1460640 w 2359561"/>
                <a:gd name="connsiteY602" fmla="*/ 1826200 h 3085499"/>
                <a:gd name="connsiteX603" fmla="*/ 1432751 w 2359561"/>
                <a:gd name="connsiteY603" fmla="*/ 1876720 h 3085499"/>
                <a:gd name="connsiteX604" fmla="*/ 1406919 w 2359561"/>
                <a:gd name="connsiteY604" fmla="*/ 1829610 h 3085499"/>
                <a:gd name="connsiteX605" fmla="*/ 1414872 w 2359561"/>
                <a:gd name="connsiteY605" fmla="*/ 1776213 h 3085499"/>
                <a:gd name="connsiteX606" fmla="*/ 1382944 w 2359561"/>
                <a:gd name="connsiteY606" fmla="*/ 1728416 h 3085499"/>
                <a:gd name="connsiteX607" fmla="*/ 1347254 w 2359561"/>
                <a:gd name="connsiteY607" fmla="*/ 1786423 h 3085499"/>
                <a:gd name="connsiteX608" fmla="*/ 1347368 w 2359561"/>
                <a:gd name="connsiteY608" fmla="*/ 1710309 h 3085499"/>
                <a:gd name="connsiteX609" fmla="*/ 1297705 w 2359561"/>
                <a:gd name="connsiteY609" fmla="*/ 1694821 h 3085499"/>
                <a:gd name="connsiteX610" fmla="*/ 1321403 w 2359561"/>
                <a:gd name="connsiteY610" fmla="*/ 1656588 h 3085499"/>
                <a:gd name="connsiteX611" fmla="*/ 1285123 w 2359561"/>
                <a:gd name="connsiteY611" fmla="*/ 1565281 h 3085499"/>
                <a:gd name="connsiteX612" fmla="*/ 1258110 w 2359561"/>
                <a:gd name="connsiteY612" fmla="*/ 1528096 h 3085499"/>
                <a:gd name="connsiteX613" fmla="*/ 1222886 w 2359561"/>
                <a:gd name="connsiteY613" fmla="*/ 1514361 h 3085499"/>
                <a:gd name="connsiteX614" fmla="*/ 1191311 w 2359561"/>
                <a:gd name="connsiteY614" fmla="*/ 1575587 h 3085499"/>
                <a:gd name="connsiteX615" fmla="*/ 1189168 w 2359561"/>
                <a:gd name="connsiteY615" fmla="*/ 1664579 h 3085499"/>
                <a:gd name="connsiteX616" fmla="*/ 1220333 w 2359561"/>
                <a:gd name="connsiteY616" fmla="*/ 1695936 h 3085499"/>
                <a:gd name="connsiteX617" fmla="*/ 1248947 w 2359561"/>
                <a:gd name="connsiteY617" fmla="*/ 1742665 h 3085499"/>
                <a:gd name="connsiteX618" fmla="*/ 1236869 w 2359561"/>
                <a:gd name="connsiteY618" fmla="*/ 1816084 h 3085499"/>
                <a:gd name="connsiteX619" fmla="*/ 1215390 w 2359561"/>
                <a:gd name="connsiteY619" fmla="*/ 1814160 h 3085499"/>
                <a:gd name="connsiteX620" fmla="*/ 1198388 w 2359561"/>
                <a:gd name="connsiteY620" fmla="*/ 1870205 h 3085499"/>
                <a:gd name="connsiteX621" fmla="*/ 1198550 w 2359561"/>
                <a:gd name="connsiteY621" fmla="*/ 1803492 h 3085499"/>
                <a:gd name="connsiteX622" fmla="*/ 1157164 w 2359561"/>
                <a:gd name="connsiteY622" fmla="*/ 1778889 h 3085499"/>
                <a:gd name="connsiteX623" fmla="*/ 1133418 w 2359561"/>
                <a:gd name="connsiteY623" fmla="*/ 1791605 h 3085499"/>
                <a:gd name="connsiteX624" fmla="*/ 1136504 w 2359561"/>
                <a:gd name="connsiteY624" fmla="*/ 1836106 h 3085499"/>
                <a:gd name="connsiteX625" fmla="*/ 1097547 w 2359561"/>
                <a:gd name="connsiteY625" fmla="*/ 1834410 h 3085499"/>
                <a:gd name="connsiteX626" fmla="*/ 1056084 w 2359561"/>
                <a:gd name="connsiteY626" fmla="*/ 1845583 h 3085499"/>
                <a:gd name="connsiteX627" fmla="*/ 1008898 w 2359561"/>
                <a:gd name="connsiteY627" fmla="*/ 1813646 h 3085499"/>
                <a:gd name="connsiteX628" fmla="*/ 979075 w 2359561"/>
                <a:gd name="connsiteY628" fmla="*/ 1819342 h 3085499"/>
                <a:gd name="connsiteX629" fmla="*/ 952233 w 2359561"/>
                <a:gd name="connsiteY629" fmla="*/ 1780156 h 3085499"/>
                <a:gd name="connsiteX630" fmla="*/ 930678 w 2359561"/>
                <a:gd name="connsiteY630" fmla="*/ 1762630 h 3085499"/>
                <a:gd name="connsiteX631" fmla="*/ 909314 w 2359561"/>
                <a:gd name="connsiteY631" fmla="*/ 1769993 h 3085499"/>
                <a:gd name="connsiteX632" fmla="*/ 876805 w 2359561"/>
                <a:gd name="connsiteY632" fmla="*/ 1773374 h 3085499"/>
                <a:gd name="connsiteX633" fmla="*/ 859555 w 2359561"/>
                <a:gd name="connsiteY633" fmla="*/ 1798273 h 3085499"/>
                <a:gd name="connsiteX634" fmla="*/ 886816 w 2359561"/>
                <a:gd name="connsiteY634" fmla="*/ 1828629 h 3085499"/>
                <a:gd name="connsiteX635" fmla="*/ 857764 w 2359561"/>
                <a:gd name="connsiteY635" fmla="*/ 1864109 h 3085499"/>
                <a:gd name="connsiteX636" fmla="*/ 829294 w 2359561"/>
                <a:gd name="connsiteY636" fmla="*/ 1821980 h 3085499"/>
                <a:gd name="connsiteX637" fmla="*/ 806548 w 2359561"/>
                <a:gd name="connsiteY637" fmla="*/ 1834382 h 3085499"/>
                <a:gd name="connsiteX638" fmla="*/ 734463 w 2359561"/>
                <a:gd name="connsiteY638" fmla="*/ 1842697 h 3085499"/>
                <a:gd name="connsiteX639" fmla="*/ 686190 w 2359561"/>
                <a:gd name="connsiteY639" fmla="*/ 1827562 h 3085499"/>
                <a:gd name="connsiteX640" fmla="*/ 723767 w 2359561"/>
                <a:gd name="connsiteY640" fmla="*/ 1791976 h 3085499"/>
                <a:gd name="connsiteX641" fmla="*/ 687743 w 2359561"/>
                <a:gd name="connsiteY641" fmla="*/ 1754810 h 3085499"/>
                <a:gd name="connsiteX642" fmla="*/ 661578 w 2359561"/>
                <a:gd name="connsiteY642" fmla="*/ 1759572 h 3085499"/>
                <a:gd name="connsiteX643" fmla="*/ 624821 w 2359561"/>
                <a:gd name="connsiteY643" fmla="*/ 1746971 h 3085499"/>
                <a:gd name="connsiteX644" fmla="*/ 562318 w 2359561"/>
                <a:gd name="connsiteY644" fmla="*/ 1719434 h 3085499"/>
                <a:gd name="connsiteX645" fmla="*/ 521475 w 2359561"/>
                <a:gd name="connsiteY645" fmla="*/ 1687306 h 3085499"/>
                <a:gd name="connsiteX646" fmla="*/ 489128 w 2359561"/>
                <a:gd name="connsiteY646" fmla="*/ 1682839 h 3085499"/>
                <a:gd name="connsiteX647" fmla="*/ 479041 w 2359561"/>
                <a:gd name="connsiteY647" fmla="*/ 1705289 h 3085499"/>
                <a:gd name="connsiteX648" fmla="*/ 446227 w 2359561"/>
                <a:gd name="connsiteY648" fmla="*/ 1717777 h 3085499"/>
                <a:gd name="connsiteX649" fmla="*/ 442617 w 2359561"/>
                <a:gd name="connsiteY649" fmla="*/ 1659198 h 3085499"/>
                <a:gd name="connsiteX650" fmla="*/ 407060 w 2359561"/>
                <a:gd name="connsiteY650" fmla="*/ 1711633 h 3085499"/>
                <a:gd name="connsiteX651" fmla="*/ 361902 w 2359561"/>
                <a:gd name="connsiteY651" fmla="*/ 1641901 h 3085499"/>
                <a:gd name="connsiteX652" fmla="*/ 343443 w 2359561"/>
                <a:gd name="connsiteY652" fmla="*/ 1633404 h 3085499"/>
                <a:gd name="connsiteX653" fmla="*/ 337480 w 2359561"/>
                <a:gd name="connsiteY653" fmla="*/ 1670599 h 3085499"/>
                <a:gd name="connsiteX654" fmla="*/ 317554 w 2359561"/>
                <a:gd name="connsiteY654" fmla="*/ 1688735 h 3085499"/>
                <a:gd name="connsiteX655" fmla="*/ 299209 w 2359561"/>
                <a:gd name="connsiteY655" fmla="*/ 1656417 h 3085499"/>
                <a:gd name="connsiteX656" fmla="*/ 255499 w 2359561"/>
                <a:gd name="connsiteY656" fmla="*/ 1675924 h 3085499"/>
                <a:gd name="connsiteX657" fmla="*/ 215494 w 2359561"/>
                <a:gd name="connsiteY657" fmla="*/ 1709747 h 3085499"/>
                <a:gd name="connsiteX658" fmla="*/ 175822 w 2359561"/>
                <a:gd name="connsiteY658" fmla="*/ 1700413 h 3085499"/>
                <a:gd name="connsiteX659" fmla="*/ 143475 w 2359561"/>
                <a:gd name="connsiteY659" fmla="*/ 1724177 h 3085499"/>
                <a:gd name="connsiteX660" fmla="*/ 120034 w 2359561"/>
                <a:gd name="connsiteY660" fmla="*/ 1755381 h 3085499"/>
                <a:gd name="connsiteX661" fmla="*/ 92183 w 2359561"/>
                <a:gd name="connsiteY661" fmla="*/ 1748552 h 3085499"/>
                <a:gd name="connsiteX662" fmla="*/ 50140 w 2359561"/>
                <a:gd name="connsiteY662" fmla="*/ 1712357 h 3085499"/>
                <a:gd name="connsiteX663" fmla="*/ 324 w 2359561"/>
                <a:gd name="connsiteY663" fmla="*/ 1693917 h 3085499"/>
                <a:gd name="connsiteX664" fmla="*/ 143 w 2359561"/>
                <a:gd name="connsiteY664" fmla="*/ 1957264 h 3085499"/>
                <a:gd name="connsiteX665" fmla="*/ 0 w 2359561"/>
                <a:gd name="connsiteY665" fmla="*/ 2294735 h 3085499"/>
                <a:gd name="connsiteX666" fmla="*/ 26299 w 2359561"/>
                <a:gd name="connsiteY666" fmla="*/ 2296325 h 3085499"/>
                <a:gd name="connsiteX667" fmla="*/ 52311 w 2359561"/>
                <a:gd name="connsiteY667" fmla="*/ 2311146 h 3085499"/>
                <a:gd name="connsiteX668" fmla="*/ 70961 w 2359561"/>
                <a:gd name="connsiteY668" fmla="*/ 2334349 h 3085499"/>
                <a:gd name="connsiteX669" fmla="*/ 94688 w 2359561"/>
                <a:gd name="connsiteY669" fmla="*/ 2368601 h 3085499"/>
                <a:gd name="connsiteX670" fmla="*/ 120672 w 2359561"/>
                <a:gd name="connsiteY670" fmla="*/ 2339512 h 3085499"/>
                <a:gd name="connsiteX671" fmla="*/ 147485 w 2359561"/>
                <a:gd name="connsiteY671" fmla="*/ 2322433 h 3085499"/>
                <a:gd name="connsiteX672" fmla="*/ 161658 w 2359561"/>
                <a:gd name="connsiteY672" fmla="*/ 2349627 h 3085499"/>
                <a:gd name="connsiteX673" fmla="*/ 179651 w 2359561"/>
                <a:gd name="connsiteY673" fmla="*/ 2370858 h 3085499"/>
                <a:gd name="connsiteX674" fmla="*/ 204102 w 2359561"/>
                <a:gd name="connsiteY674" fmla="*/ 2393947 h 3085499"/>
                <a:gd name="connsiteX675" fmla="*/ 220799 w 2359561"/>
                <a:gd name="connsiteY675" fmla="*/ 2430085 h 3085499"/>
                <a:gd name="connsiteX676" fmla="*/ 248107 w 2359561"/>
                <a:gd name="connsiteY676" fmla="*/ 2486101 h 3085499"/>
                <a:gd name="connsiteX677" fmla="*/ 293513 w 2359561"/>
                <a:gd name="connsiteY677" fmla="*/ 2516620 h 3085499"/>
                <a:gd name="connsiteX678" fmla="*/ 294256 w 2359561"/>
                <a:gd name="connsiteY678" fmla="*/ 2546376 h 3085499"/>
                <a:gd name="connsiteX679" fmla="*/ 279406 w 2359561"/>
                <a:gd name="connsiteY679" fmla="*/ 2568807 h 3085499"/>
                <a:gd name="connsiteX680" fmla="*/ 279968 w 2359561"/>
                <a:gd name="connsiteY680" fmla="*/ 2592467 h 3085499"/>
                <a:gd name="connsiteX681" fmla="*/ 312277 w 2359561"/>
                <a:gd name="connsiteY681" fmla="*/ 2625319 h 3085499"/>
                <a:gd name="connsiteX682" fmla="*/ 316963 w 2359561"/>
                <a:gd name="connsiteY682" fmla="*/ 2661142 h 3085499"/>
                <a:gd name="connsiteX683" fmla="*/ 351130 w 2359561"/>
                <a:gd name="connsiteY683" fmla="*/ 2679792 h 3085499"/>
                <a:gd name="connsiteX684" fmla="*/ 347329 w 2359561"/>
                <a:gd name="connsiteY684" fmla="*/ 2706367 h 3085499"/>
                <a:gd name="connsiteX685" fmla="*/ 362207 w 2359561"/>
                <a:gd name="connsiteY685" fmla="*/ 2744067 h 3085499"/>
                <a:gd name="connsiteX686" fmla="*/ 410575 w 2359561"/>
                <a:gd name="connsiteY686" fmla="*/ 2761450 h 3085499"/>
                <a:gd name="connsiteX687" fmla="*/ 429654 w 2359561"/>
                <a:gd name="connsiteY687" fmla="*/ 2779424 h 3085499"/>
                <a:gd name="connsiteX688" fmla="*/ 481355 w 2359561"/>
                <a:gd name="connsiteY688" fmla="*/ 2819686 h 3085499"/>
                <a:gd name="connsiteX689" fmla="*/ 484937 w 2359561"/>
                <a:gd name="connsiteY689" fmla="*/ 2819791 h 3085499"/>
                <a:gd name="connsiteX690" fmla="*/ 560784 w 2359561"/>
                <a:gd name="connsiteY690" fmla="*/ 2819791 h 3085499"/>
                <a:gd name="connsiteX691" fmla="*/ 640070 w 2359561"/>
                <a:gd name="connsiteY691" fmla="*/ 2819791 h 3085499"/>
                <a:gd name="connsiteX692" fmla="*/ 666321 w 2359561"/>
                <a:gd name="connsiteY692" fmla="*/ 2819791 h 3085499"/>
                <a:gd name="connsiteX693" fmla="*/ 747722 w 2359561"/>
                <a:gd name="connsiteY693" fmla="*/ 2819791 h 3085499"/>
                <a:gd name="connsiteX694" fmla="*/ 826503 w 2359561"/>
                <a:gd name="connsiteY694" fmla="*/ 2819791 h 3085499"/>
                <a:gd name="connsiteX695" fmla="*/ 906628 w 2359561"/>
                <a:gd name="connsiteY695" fmla="*/ 2819791 h 3085499"/>
                <a:gd name="connsiteX696" fmla="*/ 986800 w 2359561"/>
                <a:gd name="connsiteY696" fmla="*/ 2819791 h 3085499"/>
                <a:gd name="connsiteX697" fmla="*/ 1077554 w 2359561"/>
                <a:gd name="connsiteY697" fmla="*/ 2819791 h 3085499"/>
                <a:gd name="connsiteX698" fmla="*/ 1168927 w 2359561"/>
                <a:gd name="connsiteY698" fmla="*/ 2819762 h 3085499"/>
                <a:gd name="connsiteX699" fmla="*/ 1224201 w 2359561"/>
                <a:gd name="connsiteY699" fmla="*/ 2819791 h 3085499"/>
                <a:gd name="connsiteX700" fmla="*/ 1224277 w 2359561"/>
                <a:gd name="connsiteY700" fmla="*/ 2804132 h 3085499"/>
                <a:gd name="connsiteX701" fmla="*/ 1233316 w 2359561"/>
                <a:gd name="connsiteY701" fmla="*/ 2803931 h 3085499"/>
                <a:gd name="connsiteX702" fmla="*/ 1238060 w 2359561"/>
                <a:gd name="connsiteY702" fmla="*/ 2826268 h 3085499"/>
                <a:gd name="connsiteX703" fmla="*/ 1246365 w 2359561"/>
                <a:gd name="connsiteY703" fmla="*/ 2833107 h 3085499"/>
                <a:gd name="connsiteX704" fmla="*/ 1265015 w 2359561"/>
                <a:gd name="connsiteY704" fmla="*/ 2835583 h 3085499"/>
                <a:gd name="connsiteX705" fmla="*/ 1292285 w 2359561"/>
                <a:gd name="connsiteY705" fmla="*/ 2841984 h 3085499"/>
                <a:gd name="connsiteX706" fmla="*/ 1318193 w 2359561"/>
                <a:gd name="connsiteY706" fmla="*/ 2854395 h 3085499"/>
                <a:gd name="connsiteX707" fmla="*/ 1339825 w 2359561"/>
                <a:gd name="connsiteY707" fmla="*/ 2849204 h 3085499"/>
                <a:gd name="connsiteX708" fmla="*/ 1372676 w 2359561"/>
                <a:gd name="connsiteY708" fmla="*/ 2859577 h 3085499"/>
                <a:gd name="connsiteX709" fmla="*/ 1383516 w 2359561"/>
                <a:gd name="connsiteY709" fmla="*/ 2843775 h 3085499"/>
                <a:gd name="connsiteX710" fmla="*/ 1398670 w 2359561"/>
                <a:gd name="connsiteY710" fmla="*/ 2837460 h 3085499"/>
                <a:gd name="connsiteX711" fmla="*/ 1404604 w 2359561"/>
                <a:gd name="connsiteY711" fmla="*/ 2827630 h 3085499"/>
                <a:gd name="connsiteX712" fmla="*/ 1410624 w 2359561"/>
                <a:gd name="connsiteY712" fmla="*/ 2822353 h 3085499"/>
                <a:gd name="connsiteX713" fmla="*/ 1435456 w 2359561"/>
                <a:gd name="connsiteY713" fmla="*/ 2830506 h 3085499"/>
                <a:gd name="connsiteX714" fmla="*/ 1453858 w 2359561"/>
                <a:gd name="connsiteY714" fmla="*/ 2831478 h 3085499"/>
                <a:gd name="connsiteX715" fmla="*/ 1460240 w 2359561"/>
                <a:gd name="connsiteY715" fmla="*/ 2836869 h 3085499"/>
                <a:gd name="connsiteX716" fmla="*/ 1469174 w 2359561"/>
                <a:gd name="connsiteY716" fmla="*/ 2859558 h 3085499"/>
                <a:gd name="connsiteX717" fmla="*/ 1499149 w 2359561"/>
                <a:gd name="connsiteY717" fmla="*/ 2865530 h 3085499"/>
                <a:gd name="connsiteX718" fmla="*/ 1494434 w 2359561"/>
                <a:gd name="connsiteY718" fmla="*/ 2876788 h 3085499"/>
                <a:gd name="connsiteX719" fmla="*/ 1504998 w 2359561"/>
                <a:gd name="connsiteY719" fmla="*/ 2888333 h 3085499"/>
                <a:gd name="connsiteX720" fmla="*/ 1500445 w 2359561"/>
                <a:gd name="connsiteY720" fmla="*/ 2903192 h 3085499"/>
                <a:gd name="connsiteX721" fmla="*/ 1511656 w 2359561"/>
                <a:gd name="connsiteY721" fmla="*/ 2908078 h 3085499"/>
                <a:gd name="connsiteX722" fmla="*/ 1506064 w 2359561"/>
                <a:gd name="connsiteY722" fmla="*/ 2921146 h 3085499"/>
                <a:gd name="connsiteX723" fmla="*/ 1513227 w 2359561"/>
                <a:gd name="connsiteY723" fmla="*/ 2922337 h 3085499"/>
                <a:gd name="connsiteX724" fmla="*/ 1518247 w 2359561"/>
                <a:gd name="connsiteY724" fmla="*/ 2916650 h 3085499"/>
                <a:gd name="connsiteX725" fmla="*/ 1523486 w 2359561"/>
                <a:gd name="connsiteY725" fmla="*/ 2925204 h 3085499"/>
                <a:gd name="connsiteX726" fmla="*/ 1543517 w 2359561"/>
                <a:gd name="connsiteY726" fmla="*/ 2929976 h 3085499"/>
                <a:gd name="connsiteX727" fmla="*/ 1563824 w 2359561"/>
                <a:gd name="connsiteY727" fmla="*/ 2930376 h 3085499"/>
                <a:gd name="connsiteX728" fmla="*/ 1585474 w 2359561"/>
                <a:gd name="connsiteY728" fmla="*/ 2934300 h 3085499"/>
                <a:gd name="connsiteX729" fmla="*/ 1609363 w 2359561"/>
                <a:gd name="connsiteY729" fmla="*/ 2941720 h 3085499"/>
                <a:gd name="connsiteX730" fmla="*/ 1618079 w 2359561"/>
                <a:gd name="connsiteY730" fmla="*/ 2953684 h 3085499"/>
                <a:gd name="connsiteX731" fmla="*/ 1635376 w 2359561"/>
                <a:gd name="connsiteY731" fmla="*/ 2982611 h 3085499"/>
                <a:gd name="connsiteX732" fmla="*/ 1626775 w 2359561"/>
                <a:gd name="connsiteY732" fmla="*/ 2994984 h 3085499"/>
                <a:gd name="connsiteX733" fmla="*/ 1605067 w 2359561"/>
                <a:gd name="connsiteY733" fmla="*/ 2989840 h 3085499"/>
                <a:gd name="connsiteX734" fmla="*/ 1591589 w 2359561"/>
                <a:gd name="connsiteY734" fmla="*/ 2966590 h 3085499"/>
                <a:gd name="connsiteX735" fmla="*/ 1594971 w 2359561"/>
                <a:gd name="connsiteY735" fmla="*/ 2990269 h 3085499"/>
                <a:gd name="connsiteX736" fmla="*/ 1582236 w 2359561"/>
                <a:gd name="connsiteY736" fmla="*/ 3010938 h 3085499"/>
                <a:gd name="connsiteX737" fmla="*/ 1583636 w 2359561"/>
                <a:gd name="connsiteY737" fmla="*/ 3028445 h 3085499"/>
                <a:gd name="connsiteX738" fmla="*/ 1581436 w 2359561"/>
                <a:gd name="connsiteY738" fmla="*/ 3038675 h 3085499"/>
                <a:gd name="connsiteX739" fmla="*/ 1564148 w 2359561"/>
                <a:gd name="connsiteY739" fmla="*/ 3050743 h 3085499"/>
                <a:gd name="connsiteX740" fmla="*/ 1551594 w 2359561"/>
                <a:gd name="connsiteY740" fmla="*/ 3070660 h 3085499"/>
                <a:gd name="connsiteX741" fmla="*/ 1545717 w 2359561"/>
                <a:gd name="connsiteY741" fmla="*/ 3083243 h 3085499"/>
                <a:gd name="connsiteX742" fmla="*/ 1560376 w 2359561"/>
                <a:gd name="connsiteY742" fmla="*/ 3085500 h 3085499"/>
                <a:gd name="connsiteX743" fmla="*/ 1580198 w 2359561"/>
                <a:gd name="connsiteY743" fmla="*/ 3074061 h 3085499"/>
                <a:gd name="connsiteX744" fmla="*/ 1591866 w 2359561"/>
                <a:gd name="connsiteY744" fmla="*/ 3063974 h 3085499"/>
                <a:gd name="connsiteX745" fmla="*/ 1599800 w 2359561"/>
                <a:gd name="connsiteY745" fmla="*/ 3062326 h 3085499"/>
                <a:gd name="connsiteX746" fmla="*/ 1614487 w 2359561"/>
                <a:gd name="connsiteY746" fmla="*/ 3065964 h 3085499"/>
                <a:gd name="connsiteX747" fmla="*/ 1621593 w 2359561"/>
                <a:gd name="connsiteY747" fmla="*/ 3060335 h 3085499"/>
                <a:gd name="connsiteX748" fmla="*/ 1634623 w 2359561"/>
                <a:gd name="connsiteY748" fmla="*/ 3055754 h 3085499"/>
                <a:gd name="connsiteX749" fmla="*/ 1657893 w 2359561"/>
                <a:gd name="connsiteY749" fmla="*/ 3051286 h 3085499"/>
                <a:gd name="connsiteX750" fmla="*/ 1657893 w 2359561"/>
                <a:gd name="connsiteY750" fmla="*/ 3051305 h 3085499"/>
                <a:gd name="connsiteX751" fmla="*/ 1657893 w 2359561"/>
                <a:gd name="connsiteY751" fmla="*/ 3051286 h 3085499"/>
                <a:gd name="connsiteX752" fmla="*/ 1655521 w 2359561"/>
                <a:gd name="connsiteY752" fmla="*/ 3040332 h 3085499"/>
                <a:gd name="connsiteX753" fmla="*/ 1654245 w 2359561"/>
                <a:gd name="connsiteY753" fmla="*/ 3040752 h 3085499"/>
                <a:gd name="connsiteX754" fmla="*/ 1646092 w 2359561"/>
                <a:gd name="connsiteY754" fmla="*/ 3042637 h 3085499"/>
                <a:gd name="connsiteX755" fmla="*/ 1635443 w 2359561"/>
                <a:gd name="connsiteY755" fmla="*/ 3039180 h 3085499"/>
                <a:gd name="connsiteX756" fmla="*/ 1643434 w 2359561"/>
                <a:gd name="connsiteY756" fmla="*/ 3026636 h 3085499"/>
                <a:gd name="connsiteX757" fmla="*/ 1651578 w 2359561"/>
                <a:gd name="connsiteY757" fmla="*/ 3022283 h 3085499"/>
                <a:gd name="connsiteX758" fmla="*/ 1670428 w 2359561"/>
                <a:gd name="connsiteY758" fmla="*/ 3016901 h 3085499"/>
                <a:gd name="connsiteX759" fmla="*/ 1693002 w 2359561"/>
                <a:gd name="connsiteY759" fmla="*/ 3011872 h 3085499"/>
                <a:gd name="connsiteX760" fmla="*/ 1704851 w 2359561"/>
                <a:gd name="connsiteY760" fmla="*/ 3018863 h 3085499"/>
                <a:gd name="connsiteX761" fmla="*/ 1712300 w 2359561"/>
                <a:gd name="connsiteY761" fmla="*/ 3010757 h 3085499"/>
                <a:gd name="connsiteX762" fmla="*/ 1720767 w 2359561"/>
                <a:gd name="connsiteY762" fmla="*/ 3005614 h 3085499"/>
                <a:gd name="connsiteX763" fmla="*/ 1726444 w 2359561"/>
                <a:gd name="connsiteY763" fmla="*/ 3008338 h 3085499"/>
                <a:gd name="connsiteX764" fmla="*/ 1726749 w 2359561"/>
                <a:gd name="connsiteY764" fmla="*/ 3008919 h 3085499"/>
                <a:gd name="connsiteX765" fmla="*/ 1754086 w 2359561"/>
                <a:gd name="connsiteY765" fmla="*/ 2982916 h 3085499"/>
                <a:gd name="connsiteX766" fmla="*/ 1766135 w 2359561"/>
                <a:gd name="connsiteY766" fmla="*/ 2976001 h 3085499"/>
                <a:gd name="connsiteX767" fmla="*/ 1806712 w 2359561"/>
                <a:gd name="connsiteY767" fmla="*/ 2975744 h 3085499"/>
                <a:gd name="connsiteX768" fmla="*/ 1855927 w 2359561"/>
                <a:gd name="connsiteY768" fmla="*/ 2975715 h 3085499"/>
                <a:gd name="connsiteX769" fmla="*/ 1858604 w 2359561"/>
                <a:gd name="connsiteY769" fmla="*/ 2966399 h 3085499"/>
                <a:gd name="connsiteX770" fmla="*/ 1867148 w 2359561"/>
                <a:gd name="connsiteY770" fmla="*/ 2964495 h 3085499"/>
                <a:gd name="connsiteX771" fmla="*/ 1878492 w 2359561"/>
                <a:gd name="connsiteY771" fmla="*/ 2958627 h 3085499"/>
                <a:gd name="connsiteX772" fmla="*/ 1887969 w 2359561"/>
                <a:gd name="connsiteY772" fmla="*/ 2941292 h 3085499"/>
                <a:gd name="connsiteX773" fmla="*/ 1896113 w 2359561"/>
                <a:gd name="connsiteY773" fmla="*/ 2911307 h 3085499"/>
                <a:gd name="connsiteX774" fmla="*/ 1916487 w 2359561"/>
                <a:gd name="connsiteY774" fmla="*/ 2881808 h 3085499"/>
                <a:gd name="connsiteX775" fmla="*/ 1925365 w 2359561"/>
                <a:gd name="connsiteY775" fmla="*/ 2892123 h 3085499"/>
                <a:gd name="connsiteX776" fmla="*/ 1943272 w 2359561"/>
                <a:gd name="connsiteY776" fmla="*/ 2885456 h 3085499"/>
                <a:gd name="connsiteX777" fmla="*/ 1955130 w 2359561"/>
                <a:gd name="connsiteY777" fmla="*/ 2896762 h 3085499"/>
                <a:gd name="connsiteX778" fmla="*/ 1955111 w 2359561"/>
                <a:gd name="connsiteY778" fmla="*/ 2949388 h 3085499"/>
                <a:gd name="connsiteX779" fmla="*/ 1972570 w 2359561"/>
                <a:gd name="connsiteY779" fmla="*/ 2970828 h 3085499"/>
                <a:gd name="connsiteX780" fmla="*/ 2002250 w 2359561"/>
                <a:gd name="connsiteY780" fmla="*/ 2966228 h 3085499"/>
                <a:gd name="connsiteX781" fmla="*/ 2044999 w 2359561"/>
                <a:gd name="connsiteY781" fmla="*/ 2964990 h 3085499"/>
                <a:gd name="connsiteX782" fmla="*/ 1998631 w 2359561"/>
                <a:gd name="connsiteY782" fmla="*/ 2996051 h 3085499"/>
                <a:gd name="connsiteX783" fmla="*/ 1999650 w 2359561"/>
                <a:gd name="connsiteY783" fmla="*/ 3027398 h 3085499"/>
                <a:gd name="connsiteX784" fmla="*/ 2019929 w 2359561"/>
                <a:gd name="connsiteY784" fmla="*/ 3030093 h 3085499"/>
                <a:gd name="connsiteX785" fmla="*/ 2049771 w 2359561"/>
                <a:gd name="connsiteY785" fmla="*/ 3003490 h 3085499"/>
                <a:gd name="connsiteX786" fmla="*/ 2076259 w 2359561"/>
                <a:gd name="connsiteY786" fmla="*/ 2988402 h 3085499"/>
                <a:gd name="connsiteX787" fmla="*/ 2135410 w 2359561"/>
                <a:gd name="connsiteY787" fmla="*/ 2966009 h 3085499"/>
                <a:gd name="connsiteX788" fmla="*/ 2168452 w 2359561"/>
                <a:gd name="connsiteY788" fmla="*/ 2941092 h 3085499"/>
                <a:gd name="connsiteX789" fmla="*/ 2151202 w 2359561"/>
                <a:gd name="connsiteY789" fmla="*/ 2927185 h 3085499"/>
                <a:gd name="connsiteX790" fmla="*/ 2149354 w 2359561"/>
                <a:gd name="connsiteY790" fmla="*/ 2899086 h 3085499"/>
                <a:gd name="connsiteX791" fmla="*/ 1638205 w 2359561"/>
                <a:gd name="connsiteY791" fmla="*/ 2221830 h 3085499"/>
                <a:gd name="connsiteX792" fmla="*/ 1648663 w 2359561"/>
                <a:gd name="connsiteY792" fmla="*/ 2192074 h 3085499"/>
                <a:gd name="connsiteX793" fmla="*/ 1641872 w 2359561"/>
                <a:gd name="connsiteY793" fmla="*/ 2180330 h 3085499"/>
                <a:gd name="connsiteX794" fmla="*/ 1630937 w 2359561"/>
                <a:gd name="connsiteY794" fmla="*/ 2179072 h 3085499"/>
                <a:gd name="connsiteX795" fmla="*/ 1620631 w 2359561"/>
                <a:gd name="connsiteY795" fmla="*/ 2196256 h 3085499"/>
                <a:gd name="connsiteX796" fmla="*/ 1619383 w 2359561"/>
                <a:gd name="connsiteY796" fmla="*/ 2200189 h 3085499"/>
                <a:gd name="connsiteX797" fmla="*/ 1626394 w 2359561"/>
                <a:gd name="connsiteY797" fmla="*/ 2217058 h 3085499"/>
                <a:gd name="connsiteX798" fmla="*/ 1638205 w 2359561"/>
                <a:gd name="connsiteY798" fmla="*/ 2221830 h 3085499"/>
                <a:gd name="connsiteX799" fmla="*/ 279406 w 2359561"/>
                <a:gd name="connsiteY799" fmla="*/ 2568807 h 3085499"/>
                <a:gd name="connsiteX800" fmla="*/ 279406 w 2359561"/>
                <a:gd name="connsiteY800" fmla="*/ 2568807 h 3085499"/>
                <a:gd name="connsiteX801" fmla="*/ 294256 w 2359561"/>
                <a:gd name="connsiteY801" fmla="*/ 2546385 h 3085499"/>
                <a:gd name="connsiteX802" fmla="*/ 279406 w 2359561"/>
                <a:gd name="connsiteY802" fmla="*/ 2568807 h 3085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</a:cxnLst>
              <a:rect l="l" t="t" r="r" b="b"/>
              <a:pathLst>
                <a:path w="2359561" h="3085499">
                  <a:moveTo>
                    <a:pt x="1133570" y="820331"/>
                  </a:moveTo>
                  <a:lnTo>
                    <a:pt x="1131456" y="764115"/>
                  </a:lnTo>
                  <a:lnTo>
                    <a:pt x="1166031" y="769630"/>
                  </a:lnTo>
                  <a:lnTo>
                    <a:pt x="1181595" y="778726"/>
                  </a:lnTo>
                  <a:lnTo>
                    <a:pt x="1213514" y="825637"/>
                  </a:lnTo>
                  <a:lnTo>
                    <a:pt x="1206275" y="872976"/>
                  </a:lnTo>
                  <a:lnTo>
                    <a:pt x="1166765" y="899370"/>
                  </a:lnTo>
                  <a:lnTo>
                    <a:pt x="1145010" y="869623"/>
                  </a:lnTo>
                  <a:lnTo>
                    <a:pt x="1133570" y="820331"/>
                  </a:lnTo>
                  <a:close/>
                  <a:moveTo>
                    <a:pt x="1259443" y="940756"/>
                  </a:moveTo>
                  <a:lnTo>
                    <a:pt x="1262625" y="926563"/>
                  </a:lnTo>
                  <a:lnTo>
                    <a:pt x="1243879" y="903246"/>
                  </a:lnTo>
                  <a:lnTo>
                    <a:pt x="1190101" y="901398"/>
                  </a:lnTo>
                  <a:lnTo>
                    <a:pt x="1197226" y="936412"/>
                  </a:lnTo>
                  <a:lnTo>
                    <a:pt x="1247270" y="944289"/>
                  </a:lnTo>
                  <a:lnTo>
                    <a:pt x="1259443" y="940756"/>
                  </a:lnTo>
                  <a:close/>
                  <a:moveTo>
                    <a:pt x="1605658" y="1388012"/>
                  </a:moveTo>
                  <a:lnTo>
                    <a:pt x="1635042" y="1436618"/>
                  </a:lnTo>
                  <a:lnTo>
                    <a:pt x="1642777" y="1442085"/>
                  </a:lnTo>
                  <a:lnTo>
                    <a:pt x="1672009" y="1429941"/>
                  </a:lnTo>
                  <a:lnTo>
                    <a:pt x="1700784" y="1431855"/>
                  </a:lnTo>
                  <a:lnTo>
                    <a:pt x="1729168" y="1434484"/>
                  </a:lnTo>
                  <a:lnTo>
                    <a:pt x="1726806" y="1409309"/>
                  </a:lnTo>
                  <a:lnTo>
                    <a:pt x="1680753" y="1358055"/>
                  </a:lnTo>
                  <a:lnTo>
                    <a:pt x="1619631" y="1347797"/>
                  </a:lnTo>
                  <a:lnTo>
                    <a:pt x="1606782" y="1354141"/>
                  </a:lnTo>
                  <a:lnTo>
                    <a:pt x="1605658" y="1388012"/>
                  </a:lnTo>
                  <a:close/>
                  <a:moveTo>
                    <a:pt x="982485" y="790794"/>
                  </a:moveTo>
                  <a:lnTo>
                    <a:pt x="956691" y="830685"/>
                  </a:lnTo>
                  <a:lnTo>
                    <a:pt x="1016146" y="835600"/>
                  </a:lnTo>
                  <a:lnTo>
                    <a:pt x="1060104" y="877872"/>
                  </a:lnTo>
                  <a:lnTo>
                    <a:pt x="1103719" y="892140"/>
                  </a:lnTo>
                  <a:lnTo>
                    <a:pt x="1093318" y="838038"/>
                  </a:lnTo>
                  <a:lnTo>
                    <a:pt x="1072887" y="773973"/>
                  </a:lnTo>
                  <a:lnTo>
                    <a:pt x="1000668" y="722986"/>
                  </a:lnTo>
                  <a:lnTo>
                    <a:pt x="948242" y="703517"/>
                  </a:lnTo>
                  <a:lnTo>
                    <a:pt x="950185" y="757685"/>
                  </a:lnTo>
                  <a:lnTo>
                    <a:pt x="982485" y="790794"/>
                  </a:lnTo>
                  <a:close/>
                  <a:moveTo>
                    <a:pt x="1229154" y="693287"/>
                  </a:moveTo>
                  <a:lnTo>
                    <a:pt x="1277988" y="692182"/>
                  </a:lnTo>
                  <a:lnTo>
                    <a:pt x="1256881" y="730301"/>
                  </a:lnTo>
                  <a:lnTo>
                    <a:pt x="1256471" y="780755"/>
                  </a:lnTo>
                  <a:lnTo>
                    <a:pt x="1285170" y="835581"/>
                  </a:lnTo>
                  <a:lnTo>
                    <a:pt x="1340520" y="852402"/>
                  </a:lnTo>
                  <a:lnTo>
                    <a:pt x="1387764" y="842972"/>
                  </a:lnTo>
                  <a:lnTo>
                    <a:pt x="1437113" y="740778"/>
                  </a:lnTo>
                  <a:lnTo>
                    <a:pt x="1473784" y="698421"/>
                  </a:lnTo>
                  <a:lnTo>
                    <a:pt x="1441590" y="651081"/>
                  </a:lnTo>
                  <a:lnTo>
                    <a:pt x="1420492" y="549659"/>
                  </a:lnTo>
                  <a:lnTo>
                    <a:pt x="1376686" y="519293"/>
                  </a:lnTo>
                  <a:lnTo>
                    <a:pt x="1331747" y="484222"/>
                  </a:lnTo>
                  <a:lnTo>
                    <a:pt x="1297638" y="393154"/>
                  </a:lnTo>
                  <a:lnTo>
                    <a:pt x="1235526" y="402079"/>
                  </a:lnTo>
                  <a:lnTo>
                    <a:pt x="1247194" y="441598"/>
                  </a:lnTo>
                  <a:lnTo>
                    <a:pt x="1219819" y="453466"/>
                  </a:lnTo>
                  <a:lnTo>
                    <a:pt x="1201312" y="504158"/>
                  </a:lnTo>
                  <a:lnTo>
                    <a:pt x="1182796" y="575196"/>
                  </a:lnTo>
                  <a:lnTo>
                    <a:pt x="1199712" y="644357"/>
                  </a:lnTo>
                  <a:lnTo>
                    <a:pt x="1229154" y="693287"/>
                  </a:lnTo>
                  <a:close/>
                  <a:moveTo>
                    <a:pt x="621935" y="1201703"/>
                  </a:moveTo>
                  <a:lnTo>
                    <a:pt x="659273" y="1220305"/>
                  </a:lnTo>
                  <a:lnTo>
                    <a:pt x="779926" y="1207942"/>
                  </a:lnTo>
                  <a:lnTo>
                    <a:pt x="724453" y="1253385"/>
                  </a:lnTo>
                  <a:lnTo>
                    <a:pt x="727853" y="1286066"/>
                  </a:lnTo>
                  <a:lnTo>
                    <a:pt x="768467" y="1283818"/>
                  </a:lnTo>
                  <a:lnTo>
                    <a:pt x="835847" y="1240193"/>
                  </a:lnTo>
                  <a:lnTo>
                    <a:pt x="926287" y="1224258"/>
                  </a:lnTo>
                  <a:lnTo>
                    <a:pt x="942537" y="1174556"/>
                  </a:lnTo>
                  <a:lnTo>
                    <a:pt x="937841" y="1121512"/>
                  </a:lnTo>
                  <a:lnTo>
                    <a:pt x="909857" y="1116730"/>
                  </a:lnTo>
                  <a:lnTo>
                    <a:pt x="886073" y="1135104"/>
                  </a:lnTo>
                  <a:lnTo>
                    <a:pt x="875605" y="1095737"/>
                  </a:lnTo>
                  <a:lnTo>
                    <a:pt x="866604" y="1041454"/>
                  </a:lnTo>
                  <a:lnTo>
                    <a:pt x="839029" y="1027976"/>
                  </a:lnTo>
                  <a:lnTo>
                    <a:pt x="814559" y="1069991"/>
                  </a:lnTo>
                  <a:lnTo>
                    <a:pt x="852754" y="1175233"/>
                  </a:lnTo>
                  <a:lnTo>
                    <a:pt x="806101" y="1167127"/>
                  </a:lnTo>
                  <a:lnTo>
                    <a:pt x="758657" y="1102471"/>
                  </a:lnTo>
                  <a:lnTo>
                    <a:pt x="683495" y="1064390"/>
                  </a:lnTo>
                  <a:lnTo>
                    <a:pt x="658358" y="1096023"/>
                  </a:lnTo>
                  <a:lnTo>
                    <a:pt x="621935" y="1201703"/>
                  </a:lnTo>
                  <a:close/>
                  <a:moveTo>
                    <a:pt x="836847" y="801024"/>
                  </a:moveTo>
                  <a:lnTo>
                    <a:pt x="802119" y="773430"/>
                  </a:lnTo>
                  <a:lnTo>
                    <a:pt x="787794" y="767153"/>
                  </a:lnTo>
                  <a:lnTo>
                    <a:pt x="760400" y="807958"/>
                  </a:lnTo>
                  <a:lnTo>
                    <a:pt x="759971" y="827027"/>
                  </a:lnTo>
                  <a:lnTo>
                    <a:pt x="804320" y="827161"/>
                  </a:lnTo>
                  <a:lnTo>
                    <a:pt x="836847" y="801024"/>
                  </a:lnTo>
                  <a:close/>
                  <a:moveTo>
                    <a:pt x="822865" y="918734"/>
                  </a:moveTo>
                  <a:lnTo>
                    <a:pt x="831742" y="880777"/>
                  </a:lnTo>
                  <a:lnTo>
                    <a:pt x="794080" y="860536"/>
                  </a:lnTo>
                  <a:lnTo>
                    <a:pt x="755085" y="873728"/>
                  </a:lnTo>
                  <a:lnTo>
                    <a:pt x="733454" y="914314"/>
                  </a:lnTo>
                  <a:lnTo>
                    <a:pt x="773068" y="954386"/>
                  </a:lnTo>
                  <a:lnTo>
                    <a:pt x="822865" y="918734"/>
                  </a:lnTo>
                  <a:close/>
                  <a:moveTo>
                    <a:pt x="1100033" y="1235335"/>
                  </a:moveTo>
                  <a:lnTo>
                    <a:pt x="1144067" y="1224801"/>
                  </a:lnTo>
                  <a:lnTo>
                    <a:pt x="1156230" y="1146201"/>
                  </a:lnTo>
                  <a:lnTo>
                    <a:pt x="1155402" y="1089574"/>
                  </a:lnTo>
                  <a:lnTo>
                    <a:pt x="1134980" y="1036615"/>
                  </a:lnTo>
                  <a:lnTo>
                    <a:pt x="1132923" y="1051817"/>
                  </a:lnTo>
                  <a:lnTo>
                    <a:pt x="1095366" y="1045159"/>
                  </a:lnTo>
                  <a:lnTo>
                    <a:pt x="1055141" y="1084088"/>
                  </a:lnTo>
                  <a:lnTo>
                    <a:pt x="1026404" y="1080564"/>
                  </a:lnTo>
                  <a:lnTo>
                    <a:pt x="1028100" y="1165565"/>
                  </a:lnTo>
                  <a:lnTo>
                    <a:pt x="1071877" y="1157297"/>
                  </a:lnTo>
                  <a:lnTo>
                    <a:pt x="1071324" y="1218876"/>
                  </a:lnTo>
                  <a:lnTo>
                    <a:pt x="1100033" y="1235335"/>
                  </a:lnTo>
                  <a:close/>
                  <a:moveTo>
                    <a:pt x="1068734" y="1669704"/>
                  </a:moveTo>
                  <a:lnTo>
                    <a:pt x="1020537" y="1632299"/>
                  </a:lnTo>
                  <a:lnTo>
                    <a:pt x="975684" y="1592218"/>
                  </a:lnTo>
                  <a:lnTo>
                    <a:pt x="967407" y="1533354"/>
                  </a:lnTo>
                  <a:lnTo>
                    <a:pt x="950643" y="1448343"/>
                  </a:lnTo>
                  <a:lnTo>
                    <a:pt x="920725" y="1411776"/>
                  </a:lnTo>
                  <a:lnTo>
                    <a:pt x="894179" y="1397041"/>
                  </a:lnTo>
                  <a:lnTo>
                    <a:pt x="870680" y="1410538"/>
                  </a:lnTo>
                  <a:lnTo>
                    <a:pt x="889654" y="1501845"/>
                  </a:lnTo>
                  <a:lnTo>
                    <a:pt x="876233" y="1537383"/>
                  </a:lnTo>
                  <a:lnTo>
                    <a:pt x="854383" y="1451858"/>
                  </a:lnTo>
                  <a:lnTo>
                    <a:pt x="829980" y="1422283"/>
                  </a:lnTo>
                  <a:lnTo>
                    <a:pt x="799805" y="1468136"/>
                  </a:lnTo>
                  <a:lnTo>
                    <a:pt x="762667" y="1422797"/>
                  </a:lnTo>
                  <a:lnTo>
                    <a:pt x="703240" y="1450115"/>
                  </a:lnTo>
                  <a:lnTo>
                    <a:pt x="716566" y="1407605"/>
                  </a:lnTo>
                  <a:lnTo>
                    <a:pt x="689277" y="1389745"/>
                  </a:lnTo>
                  <a:lnTo>
                    <a:pt x="617772" y="1445352"/>
                  </a:lnTo>
                  <a:lnTo>
                    <a:pt x="599180" y="1480699"/>
                  </a:lnTo>
                  <a:lnTo>
                    <a:pt x="576758" y="1545193"/>
                  </a:lnTo>
                  <a:lnTo>
                    <a:pt x="623392" y="1567263"/>
                  </a:lnTo>
                  <a:lnTo>
                    <a:pt x="664588" y="1566101"/>
                  </a:lnTo>
                  <a:lnTo>
                    <a:pt x="602647" y="1599067"/>
                  </a:lnTo>
                  <a:lnTo>
                    <a:pt x="616734" y="1628870"/>
                  </a:lnTo>
                  <a:lnTo>
                    <a:pt x="654606" y="1630480"/>
                  </a:lnTo>
                  <a:lnTo>
                    <a:pt x="711670" y="1624108"/>
                  </a:lnTo>
                  <a:lnTo>
                    <a:pt x="763314" y="1642767"/>
                  </a:lnTo>
                  <a:lnTo>
                    <a:pt x="728453" y="1656531"/>
                  </a:lnTo>
                  <a:lnTo>
                    <a:pt x="690801" y="1652988"/>
                  </a:lnTo>
                  <a:lnTo>
                    <a:pt x="649576" y="1666408"/>
                  </a:lnTo>
                  <a:lnTo>
                    <a:pt x="631812" y="1674733"/>
                  </a:lnTo>
                  <a:lnTo>
                    <a:pt x="664721" y="1735255"/>
                  </a:lnTo>
                  <a:lnTo>
                    <a:pt x="688429" y="1726844"/>
                  </a:lnTo>
                  <a:lnTo>
                    <a:pt x="724891" y="1747276"/>
                  </a:lnTo>
                  <a:lnTo>
                    <a:pt x="739359" y="1782051"/>
                  </a:lnTo>
                  <a:lnTo>
                    <a:pt x="786870" y="1775146"/>
                  </a:lnTo>
                  <a:lnTo>
                    <a:pt x="854545" y="1764125"/>
                  </a:lnTo>
                  <a:lnTo>
                    <a:pt x="904685" y="1738922"/>
                  </a:lnTo>
                  <a:lnTo>
                    <a:pt x="935736" y="1734360"/>
                  </a:lnTo>
                  <a:lnTo>
                    <a:pt x="981675" y="1754505"/>
                  </a:lnTo>
                  <a:lnTo>
                    <a:pt x="1030005" y="1766116"/>
                  </a:lnTo>
                  <a:lnTo>
                    <a:pt x="1039006" y="1738884"/>
                  </a:lnTo>
                  <a:lnTo>
                    <a:pt x="1021966" y="1709842"/>
                  </a:lnTo>
                  <a:lnTo>
                    <a:pt x="1065819" y="1703699"/>
                  </a:lnTo>
                  <a:lnTo>
                    <a:pt x="1068734" y="1669704"/>
                  </a:lnTo>
                  <a:close/>
                  <a:moveTo>
                    <a:pt x="1142505" y="1660360"/>
                  </a:moveTo>
                  <a:lnTo>
                    <a:pt x="1123836" y="1694069"/>
                  </a:lnTo>
                  <a:lnTo>
                    <a:pt x="1100328" y="1717748"/>
                  </a:lnTo>
                  <a:lnTo>
                    <a:pt x="1136799" y="1751476"/>
                  </a:lnTo>
                  <a:lnTo>
                    <a:pt x="1158554" y="1743342"/>
                  </a:lnTo>
                  <a:lnTo>
                    <a:pt x="1194549" y="1765802"/>
                  </a:lnTo>
                  <a:lnTo>
                    <a:pt x="1211151" y="1739779"/>
                  </a:lnTo>
                  <a:lnTo>
                    <a:pt x="1194873" y="1710919"/>
                  </a:lnTo>
                  <a:lnTo>
                    <a:pt x="1186863" y="1696384"/>
                  </a:lnTo>
                  <a:lnTo>
                    <a:pt x="1170842" y="1682496"/>
                  </a:lnTo>
                  <a:lnTo>
                    <a:pt x="1142505" y="1660360"/>
                  </a:lnTo>
                  <a:close/>
                  <a:moveTo>
                    <a:pt x="974741" y="1379915"/>
                  </a:moveTo>
                  <a:lnTo>
                    <a:pt x="954443" y="1359199"/>
                  </a:lnTo>
                  <a:lnTo>
                    <a:pt x="918658" y="1362980"/>
                  </a:lnTo>
                  <a:lnTo>
                    <a:pt x="909580" y="1376163"/>
                  </a:lnTo>
                  <a:lnTo>
                    <a:pt x="951243" y="1440475"/>
                  </a:lnTo>
                  <a:lnTo>
                    <a:pt x="974741" y="1379915"/>
                  </a:lnTo>
                  <a:close/>
                  <a:moveTo>
                    <a:pt x="1247985" y="1505379"/>
                  </a:moveTo>
                  <a:lnTo>
                    <a:pt x="1276636" y="1439399"/>
                  </a:lnTo>
                  <a:lnTo>
                    <a:pt x="1308478" y="1421797"/>
                  </a:lnTo>
                  <a:lnTo>
                    <a:pt x="1348378" y="1338520"/>
                  </a:lnTo>
                  <a:lnTo>
                    <a:pt x="1297362" y="1314993"/>
                  </a:lnTo>
                  <a:lnTo>
                    <a:pt x="1241717" y="1311593"/>
                  </a:lnTo>
                  <a:lnTo>
                    <a:pt x="1215219" y="1337977"/>
                  </a:lnTo>
                  <a:lnTo>
                    <a:pt x="1201264" y="1378277"/>
                  </a:lnTo>
                  <a:lnTo>
                    <a:pt x="1200855" y="1424159"/>
                  </a:lnTo>
                  <a:lnTo>
                    <a:pt x="1217524" y="1502150"/>
                  </a:lnTo>
                  <a:lnTo>
                    <a:pt x="1247985" y="1505379"/>
                  </a:lnTo>
                  <a:close/>
                  <a:moveTo>
                    <a:pt x="1411386" y="1286256"/>
                  </a:moveTo>
                  <a:lnTo>
                    <a:pt x="1466212" y="1284494"/>
                  </a:lnTo>
                  <a:lnTo>
                    <a:pt x="1542822" y="1269121"/>
                  </a:lnTo>
                  <a:lnTo>
                    <a:pt x="1577007" y="1281265"/>
                  </a:lnTo>
                  <a:lnTo>
                    <a:pt x="1616831" y="1259739"/>
                  </a:lnTo>
                  <a:lnTo>
                    <a:pt x="1633490" y="1232687"/>
                  </a:lnTo>
                  <a:lnTo>
                    <a:pt x="1627527" y="1189644"/>
                  </a:lnTo>
                  <a:lnTo>
                    <a:pt x="1598924" y="1149363"/>
                  </a:lnTo>
                  <a:lnTo>
                    <a:pt x="1555528" y="1141733"/>
                  </a:lnTo>
                  <a:lnTo>
                    <a:pt x="1501150" y="1150963"/>
                  </a:lnTo>
                  <a:lnTo>
                    <a:pt x="1458697" y="1174214"/>
                  </a:lnTo>
                  <a:lnTo>
                    <a:pt x="1419730" y="1165270"/>
                  </a:lnTo>
                  <a:lnTo>
                    <a:pt x="1383706" y="1160555"/>
                  </a:lnTo>
                  <a:lnTo>
                    <a:pt x="1366742" y="1134818"/>
                  </a:lnTo>
                  <a:lnTo>
                    <a:pt x="1336100" y="1109920"/>
                  </a:lnTo>
                  <a:lnTo>
                    <a:pt x="1342187" y="1067695"/>
                  </a:lnTo>
                  <a:lnTo>
                    <a:pt x="1319136" y="1029767"/>
                  </a:lnTo>
                  <a:lnTo>
                    <a:pt x="1266558" y="1030024"/>
                  </a:lnTo>
                  <a:lnTo>
                    <a:pt x="1236907" y="992038"/>
                  </a:lnTo>
                  <a:lnTo>
                    <a:pt x="1181862" y="984428"/>
                  </a:lnTo>
                  <a:lnTo>
                    <a:pt x="1171813" y="1032967"/>
                  </a:lnTo>
                  <a:lnTo>
                    <a:pt x="1202769" y="1068638"/>
                  </a:lnTo>
                  <a:lnTo>
                    <a:pt x="1258014" y="1082488"/>
                  </a:lnTo>
                  <a:lnTo>
                    <a:pt x="1284827" y="1131018"/>
                  </a:lnTo>
                  <a:lnTo>
                    <a:pt x="1288075" y="1184377"/>
                  </a:lnTo>
                  <a:lnTo>
                    <a:pt x="1297315" y="1241431"/>
                  </a:lnTo>
                  <a:lnTo>
                    <a:pt x="1368295" y="1273978"/>
                  </a:lnTo>
                  <a:lnTo>
                    <a:pt x="1411386" y="1286256"/>
                  </a:lnTo>
                  <a:close/>
                  <a:moveTo>
                    <a:pt x="563480" y="1112244"/>
                  </a:moveTo>
                  <a:lnTo>
                    <a:pt x="613124" y="1064114"/>
                  </a:lnTo>
                  <a:lnTo>
                    <a:pt x="638080" y="1058523"/>
                  </a:lnTo>
                  <a:lnTo>
                    <a:pt x="658654" y="1018251"/>
                  </a:lnTo>
                  <a:lnTo>
                    <a:pt x="662321" y="925201"/>
                  </a:lnTo>
                  <a:lnTo>
                    <a:pt x="625688" y="943432"/>
                  </a:lnTo>
                  <a:lnTo>
                    <a:pt x="584730" y="941718"/>
                  </a:lnTo>
                  <a:lnTo>
                    <a:pt x="529885" y="1019718"/>
                  </a:lnTo>
                  <a:lnTo>
                    <a:pt x="484556" y="1105224"/>
                  </a:lnTo>
                  <a:lnTo>
                    <a:pt x="520741" y="1129132"/>
                  </a:lnTo>
                  <a:lnTo>
                    <a:pt x="563480" y="1112244"/>
                  </a:lnTo>
                  <a:close/>
                  <a:moveTo>
                    <a:pt x="1250976" y="1266292"/>
                  </a:moveTo>
                  <a:lnTo>
                    <a:pt x="1265501" y="1226858"/>
                  </a:lnTo>
                  <a:lnTo>
                    <a:pt x="1255757" y="1193921"/>
                  </a:lnTo>
                  <a:lnTo>
                    <a:pt x="1232440" y="1156602"/>
                  </a:lnTo>
                  <a:lnTo>
                    <a:pt x="1194045" y="1185348"/>
                  </a:lnTo>
                  <a:lnTo>
                    <a:pt x="1179824" y="1232249"/>
                  </a:lnTo>
                  <a:lnTo>
                    <a:pt x="1212199" y="1258796"/>
                  </a:lnTo>
                  <a:lnTo>
                    <a:pt x="1250976" y="1266292"/>
                  </a:lnTo>
                  <a:close/>
                  <a:moveTo>
                    <a:pt x="1171842" y="1375229"/>
                  </a:moveTo>
                  <a:lnTo>
                    <a:pt x="1164898" y="1347787"/>
                  </a:lnTo>
                  <a:lnTo>
                    <a:pt x="1117254" y="1359827"/>
                  </a:lnTo>
                  <a:lnTo>
                    <a:pt x="1085402" y="1339758"/>
                  </a:lnTo>
                  <a:lnTo>
                    <a:pt x="1053798" y="1385516"/>
                  </a:lnTo>
                  <a:lnTo>
                    <a:pt x="1083221" y="1445352"/>
                  </a:lnTo>
                  <a:lnTo>
                    <a:pt x="1028691" y="1434170"/>
                  </a:lnTo>
                  <a:lnTo>
                    <a:pt x="1028157" y="1462850"/>
                  </a:lnTo>
                  <a:lnTo>
                    <a:pt x="1094527" y="1529963"/>
                  </a:lnTo>
                  <a:lnTo>
                    <a:pt x="1113006" y="1562157"/>
                  </a:lnTo>
                  <a:lnTo>
                    <a:pt x="1138733" y="1569120"/>
                  </a:lnTo>
                  <a:lnTo>
                    <a:pt x="1182529" y="1536611"/>
                  </a:lnTo>
                  <a:lnTo>
                    <a:pt x="1187329" y="1458401"/>
                  </a:lnTo>
                  <a:lnTo>
                    <a:pt x="1146905" y="1419596"/>
                  </a:lnTo>
                  <a:lnTo>
                    <a:pt x="1171842" y="1375229"/>
                  </a:lnTo>
                  <a:close/>
                  <a:moveTo>
                    <a:pt x="467049" y="2839584"/>
                  </a:moveTo>
                  <a:lnTo>
                    <a:pt x="456028" y="2817257"/>
                  </a:lnTo>
                  <a:lnTo>
                    <a:pt x="429368" y="2800407"/>
                  </a:lnTo>
                  <a:lnTo>
                    <a:pt x="416166" y="2780853"/>
                  </a:lnTo>
                  <a:lnTo>
                    <a:pt x="407079" y="2766517"/>
                  </a:lnTo>
                  <a:lnTo>
                    <a:pt x="381981" y="2762098"/>
                  </a:lnTo>
                  <a:lnTo>
                    <a:pt x="365589" y="2755744"/>
                  </a:lnTo>
                  <a:lnTo>
                    <a:pt x="337556" y="2746581"/>
                  </a:lnTo>
                  <a:lnTo>
                    <a:pt x="335251" y="2756306"/>
                  </a:lnTo>
                  <a:lnTo>
                    <a:pt x="345538" y="2778976"/>
                  </a:lnTo>
                  <a:lnTo>
                    <a:pt x="373028" y="2786415"/>
                  </a:lnTo>
                  <a:lnTo>
                    <a:pt x="377838" y="2798140"/>
                  </a:lnTo>
                  <a:lnTo>
                    <a:pt x="401736" y="2812447"/>
                  </a:lnTo>
                  <a:lnTo>
                    <a:pt x="409746" y="2826858"/>
                  </a:lnTo>
                  <a:lnTo>
                    <a:pt x="453600" y="2845146"/>
                  </a:lnTo>
                  <a:lnTo>
                    <a:pt x="467049" y="2839584"/>
                  </a:lnTo>
                  <a:close/>
                  <a:moveTo>
                    <a:pt x="1626299" y="2100167"/>
                  </a:moveTo>
                  <a:lnTo>
                    <a:pt x="1607230" y="2080079"/>
                  </a:lnTo>
                  <a:lnTo>
                    <a:pt x="1587579" y="2084823"/>
                  </a:lnTo>
                  <a:lnTo>
                    <a:pt x="1585208" y="2055657"/>
                  </a:lnTo>
                  <a:lnTo>
                    <a:pt x="1554613" y="2036274"/>
                  </a:lnTo>
                  <a:lnTo>
                    <a:pt x="1525372" y="2014680"/>
                  </a:lnTo>
                  <a:lnTo>
                    <a:pt x="1509846" y="1997983"/>
                  </a:lnTo>
                  <a:lnTo>
                    <a:pt x="1496178" y="2007832"/>
                  </a:lnTo>
                  <a:lnTo>
                    <a:pt x="1491215" y="1979609"/>
                  </a:lnTo>
                  <a:lnTo>
                    <a:pt x="1471917" y="1974323"/>
                  </a:lnTo>
                  <a:lnTo>
                    <a:pt x="1462811" y="2032749"/>
                  </a:lnTo>
                  <a:lnTo>
                    <a:pt x="1459401" y="2081394"/>
                  </a:lnTo>
                  <a:lnTo>
                    <a:pt x="1436180" y="2111264"/>
                  </a:lnTo>
                  <a:lnTo>
                    <a:pt x="1472375" y="2105511"/>
                  </a:lnTo>
                  <a:lnTo>
                    <a:pt x="1481547" y="2140277"/>
                  </a:lnTo>
                  <a:lnTo>
                    <a:pt x="1519552" y="2109559"/>
                  </a:lnTo>
                  <a:lnTo>
                    <a:pt x="1546031" y="2077374"/>
                  </a:lnTo>
                  <a:lnTo>
                    <a:pt x="1561033" y="2104644"/>
                  </a:lnTo>
                  <a:lnTo>
                    <a:pt x="1602591" y="2119036"/>
                  </a:lnTo>
                  <a:lnTo>
                    <a:pt x="1626299" y="2100167"/>
                  </a:lnTo>
                  <a:close/>
                  <a:moveTo>
                    <a:pt x="478212" y="1599686"/>
                  </a:moveTo>
                  <a:lnTo>
                    <a:pt x="548507" y="1559881"/>
                  </a:lnTo>
                  <a:lnTo>
                    <a:pt x="548507" y="1522981"/>
                  </a:lnTo>
                  <a:lnTo>
                    <a:pt x="581625" y="1461954"/>
                  </a:lnTo>
                  <a:lnTo>
                    <a:pt x="647109" y="1398242"/>
                  </a:lnTo>
                  <a:lnTo>
                    <a:pt x="680685" y="1374743"/>
                  </a:lnTo>
                  <a:lnTo>
                    <a:pt x="652015" y="1334748"/>
                  </a:lnTo>
                  <a:lnTo>
                    <a:pt x="626078" y="1306621"/>
                  </a:lnTo>
                  <a:lnTo>
                    <a:pt x="557860" y="1301172"/>
                  </a:lnTo>
                  <a:lnTo>
                    <a:pt x="519722" y="1280636"/>
                  </a:lnTo>
                  <a:lnTo>
                    <a:pt x="429454" y="1296114"/>
                  </a:lnTo>
                  <a:lnTo>
                    <a:pt x="455571" y="1355408"/>
                  </a:lnTo>
                  <a:lnTo>
                    <a:pt x="432406" y="1416663"/>
                  </a:lnTo>
                  <a:lnTo>
                    <a:pt x="413909" y="1482061"/>
                  </a:lnTo>
                  <a:lnTo>
                    <a:pt x="402450" y="1518809"/>
                  </a:lnTo>
                  <a:lnTo>
                    <a:pt x="464115" y="1563519"/>
                  </a:lnTo>
                  <a:lnTo>
                    <a:pt x="478212" y="1599686"/>
                  </a:lnTo>
                  <a:close/>
                  <a:moveTo>
                    <a:pt x="1756820" y="1859747"/>
                  </a:moveTo>
                  <a:lnTo>
                    <a:pt x="1759830" y="1850136"/>
                  </a:lnTo>
                  <a:lnTo>
                    <a:pt x="1759534" y="1819894"/>
                  </a:lnTo>
                  <a:lnTo>
                    <a:pt x="1738684" y="1800044"/>
                  </a:lnTo>
                  <a:lnTo>
                    <a:pt x="1714205" y="1810017"/>
                  </a:lnTo>
                  <a:lnTo>
                    <a:pt x="1702860" y="1849707"/>
                  </a:lnTo>
                  <a:lnTo>
                    <a:pt x="1709528" y="1883607"/>
                  </a:lnTo>
                  <a:lnTo>
                    <a:pt x="1739465" y="1880168"/>
                  </a:lnTo>
                  <a:lnTo>
                    <a:pt x="1756820" y="1859747"/>
                  </a:lnTo>
                  <a:close/>
                  <a:moveTo>
                    <a:pt x="1983696" y="1931623"/>
                  </a:moveTo>
                  <a:lnTo>
                    <a:pt x="2025682" y="1994497"/>
                  </a:lnTo>
                  <a:lnTo>
                    <a:pt x="2058543" y="2021691"/>
                  </a:lnTo>
                  <a:lnTo>
                    <a:pt x="2105416" y="1946729"/>
                  </a:lnTo>
                  <a:lnTo>
                    <a:pt x="2113731" y="1899742"/>
                  </a:lnTo>
                  <a:lnTo>
                    <a:pt x="2071726" y="1895227"/>
                  </a:lnTo>
                  <a:lnTo>
                    <a:pt x="2033340" y="1831448"/>
                  </a:lnTo>
                  <a:lnTo>
                    <a:pt x="1990944" y="1815827"/>
                  </a:lnTo>
                  <a:lnTo>
                    <a:pt x="1928041" y="1768507"/>
                  </a:lnTo>
                  <a:lnTo>
                    <a:pt x="1977076" y="1733893"/>
                  </a:lnTo>
                  <a:lnTo>
                    <a:pt x="1951815" y="1662055"/>
                  </a:lnTo>
                  <a:lnTo>
                    <a:pt x="1928555" y="1630108"/>
                  </a:lnTo>
                  <a:lnTo>
                    <a:pt x="1864081" y="1598181"/>
                  </a:lnTo>
                  <a:lnTo>
                    <a:pt x="1836249" y="1545327"/>
                  </a:lnTo>
                  <a:lnTo>
                    <a:pt x="1786652" y="1564291"/>
                  </a:lnTo>
                  <a:lnTo>
                    <a:pt x="1783194" y="1527496"/>
                  </a:lnTo>
                  <a:lnTo>
                    <a:pt x="1746409" y="1486329"/>
                  </a:lnTo>
                  <a:lnTo>
                    <a:pt x="1687154" y="1441428"/>
                  </a:lnTo>
                  <a:lnTo>
                    <a:pt x="1661893" y="1476804"/>
                  </a:lnTo>
                  <a:lnTo>
                    <a:pt x="1609058" y="1502159"/>
                  </a:lnTo>
                  <a:lnTo>
                    <a:pt x="1613030" y="1444400"/>
                  </a:lnTo>
                  <a:lnTo>
                    <a:pt x="1567215" y="1348654"/>
                  </a:lnTo>
                  <a:lnTo>
                    <a:pt x="1499530" y="1387354"/>
                  </a:lnTo>
                  <a:lnTo>
                    <a:pt x="1474851" y="1460706"/>
                  </a:lnTo>
                  <a:lnTo>
                    <a:pt x="1453810" y="1404290"/>
                  </a:lnTo>
                  <a:lnTo>
                    <a:pt x="1473460" y="1343606"/>
                  </a:lnTo>
                  <a:lnTo>
                    <a:pt x="1404499" y="1368857"/>
                  </a:lnTo>
                  <a:lnTo>
                    <a:pt x="1377039" y="1406871"/>
                  </a:lnTo>
                  <a:lnTo>
                    <a:pt x="1356512" y="1487081"/>
                  </a:lnTo>
                  <a:lnTo>
                    <a:pt x="1364980" y="1573292"/>
                  </a:lnTo>
                  <a:lnTo>
                    <a:pt x="1402918" y="1573654"/>
                  </a:lnTo>
                  <a:lnTo>
                    <a:pt x="1374991" y="1611030"/>
                  </a:lnTo>
                  <a:lnTo>
                    <a:pt x="1397203" y="1639234"/>
                  </a:lnTo>
                  <a:lnTo>
                    <a:pt x="1440513" y="1651187"/>
                  </a:lnTo>
                  <a:lnTo>
                    <a:pt x="1497006" y="1674209"/>
                  </a:lnTo>
                  <a:lnTo>
                    <a:pt x="1594199" y="1691526"/>
                  </a:lnTo>
                  <a:lnTo>
                    <a:pt x="1642615" y="1681582"/>
                  </a:lnTo>
                  <a:lnTo>
                    <a:pt x="1656912" y="1658531"/>
                  </a:lnTo>
                  <a:lnTo>
                    <a:pt x="1677972" y="1685087"/>
                  </a:lnTo>
                  <a:lnTo>
                    <a:pt x="1701508" y="1689487"/>
                  </a:lnTo>
                  <a:lnTo>
                    <a:pt x="1729778" y="1736779"/>
                  </a:lnTo>
                  <a:lnTo>
                    <a:pt x="1712671" y="1755638"/>
                  </a:lnTo>
                  <a:lnTo>
                    <a:pt x="1766773" y="1780651"/>
                  </a:lnTo>
                  <a:lnTo>
                    <a:pt x="1807683" y="1815684"/>
                  </a:lnTo>
                  <a:lnTo>
                    <a:pt x="1817980" y="1839973"/>
                  </a:lnTo>
                  <a:lnTo>
                    <a:pt x="1825323" y="1870824"/>
                  </a:lnTo>
                  <a:lnTo>
                    <a:pt x="1790776" y="1936785"/>
                  </a:lnTo>
                  <a:lnTo>
                    <a:pt x="1781451" y="1969580"/>
                  </a:lnTo>
                  <a:lnTo>
                    <a:pt x="1790376" y="1992659"/>
                  </a:lnTo>
                  <a:lnTo>
                    <a:pt x="1735398" y="2000841"/>
                  </a:lnTo>
                  <a:lnTo>
                    <a:pt x="1685211" y="2001974"/>
                  </a:lnTo>
                  <a:lnTo>
                    <a:pt x="1667618" y="2048351"/>
                  </a:lnTo>
                  <a:lnTo>
                    <a:pt x="1690211" y="2069554"/>
                  </a:lnTo>
                  <a:lnTo>
                    <a:pt x="1767430" y="2059734"/>
                  </a:lnTo>
                  <a:lnTo>
                    <a:pt x="1767002" y="2041741"/>
                  </a:lnTo>
                  <a:lnTo>
                    <a:pt x="1805893" y="2071726"/>
                  </a:lnTo>
                  <a:lnTo>
                    <a:pt x="1845735" y="2102930"/>
                  </a:lnTo>
                  <a:lnTo>
                    <a:pt x="1836410" y="2119817"/>
                  </a:lnTo>
                  <a:lnTo>
                    <a:pt x="1868776" y="2148592"/>
                  </a:lnTo>
                  <a:lnTo>
                    <a:pt x="1926088" y="2182263"/>
                  </a:lnTo>
                  <a:lnTo>
                    <a:pt x="1998517" y="2205038"/>
                  </a:lnTo>
                  <a:lnTo>
                    <a:pt x="1994173" y="2185140"/>
                  </a:lnTo>
                  <a:lnTo>
                    <a:pt x="1966360" y="2150164"/>
                  </a:lnTo>
                  <a:lnTo>
                    <a:pt x="1928613" y="2098986"/>
                  </a:lnTo>
                  <a:lnTo>
                    <a:pt x="1995602" y="2146583"/>
                  </a:lnTo>
                  <a:lnTo>
                    <a:pt x="2029282" y="2162394"/>
                  </a:lnTo>
                  <a:lnTo>
                    <a:pt x="2038483" y="2120122"/>
                  </a:lnTo>
                  <a:lnTo>
                    <a:pt x="2021100" y="2060134"/>
                  </a:lnTo>
                  <a:lnTo>
                    <a:pt x="2010099" y="2043665"/>
                  </a:lnTo>
                  <a:lnTo>
                    <a:pt x="1973847" y="2014757"/>
                  </a:lnTo>
                  <a:lnTo>
                    <a:pt x="1945758" y="1977504"/>
                  </a:lnTo>
                  <a:lnTo>
                    <a:pt x="1949129" y="1939957"/>
                  </a:lnTo>
                  <a:lnTo>
                    <a:pt x="1983696" y="1931623"/>
                  </a:lnTo>
                  <a:close/>
                  <a:moveTo>
                    <a:pt x="1356655" y="392706"/>
                  </a:moveTo>
                  <a:lnTo>
                    <a:pt x="1378906" y="462172"/>
                  </a:lnTo>
                  <a:lnTo>
                    <a:pt x="1426121" y="518179"/>
                  </a:lnTo>
                  <a:lnTo>
                    <a:pt x="1519571" y="507816"/>
                  </a:lnTo>
                  <a:lnTo>
                    <a:pt x="1579702" y="526561"/>
                  </a:lnTo>
                  <a:lnTo>
                    <a:pt x="1538030" y="584216"/>
                  </a:lnTo>
                  <a:lnTo>
                    <a:pt x="1516942" y="567299"/>
                  </a:lnTo>
                  <a:lnTo>
                    <a:pt x="1443942" y="560518"/>
                  </a:lnTo>
                  <a:lnTo>
                    <a:pt x="1455277" y="639709"/>
                  </a:lnTo>
                  <a:lnTo>
                    <a:pt x="1492996" y="697201"/>
                  </a:lnTo>
                  <a:lnTo>
                    <a:pt x="1485424" y="746741"/>
                  </a:lnTo>
                  <a:lnTo>
                    <a:pt x="1438066" y="779717"/>
                  </a:lnTo>
                  <a:lnTo>
                    <a:pt x="1416434" y="831828"/>
                  </a:lnTo>
                  <a:lnTo>
                    <a:pt x="1459754" y="857031"/>
                  </a:lnTo>
                  <a:lnTo>
                    <a:pt x="1496168" y="938460"/>
                  </a:lnTo>
                  <a:lnTo>
                    <a:pt x="1424759" y="884139"/>
                  </a:lnTo>
                  <a:lnTo>
                    <a:pt x="1408471" y="893102"/>
                  </a:lnTo>
                  <a:lnTo>
                    <a:pt x="1421625" y="982418"/>
                  </a:lnTo>
                  <a:lnTo>
                    <a:pt x="1372248" y="1009402"/>
                  </a:lnTo>
                  <a:lnTo>
                    <a:pt x="1375601" y="1065133"/>
                  </a:lnTo>
                  <a:lnTo>
                    <a:pt x="1426093" y="1071096"/>
                  </a:lnTo>
                  <a:lnTo>
                    <a:pt x="1465840" y="1084793"/>
                  </a:lnTo>
                  <a:lnTo>
                    <a:pt x="1544288" y="1067219"/>
                  </a:lnTo>
                  <a:lnTo>
                    <a:pt x="1614078" y="1098356"/>
                  </a:lnTo>
                  <a:lnTo>
                    <a:pt x="1685439" y="1029862"/>
                  </a:lnTo>
                  <a:lnTo>
                    <a:pt x="1684858" y="1001106"/>
                  </a:lnTo>
                  <a:lnTo>
                    <a:pt x="1639224" y="1005697"/>
                  </a:lnTo>
                  <a:lnTo>
                    <a:pt x="1635490" y="978637"/>
                  </a:lnTo>
                  <a:lnTo>
                    <a:pt x="1672800" y="942165"/>
                  </a:lnTo>
                  <a:lnTo>
                    <a:pt x="1685468" y="893102"/>
                  </a:lnTo>
                  <a:lnTo>
                    <a:pt x="1726730" y="856631"/>
                  </a:lnTo>
                  <a:lnTo>
                    <a:pt x="1752105" y="811273"/>
                  </a:lnTo>
                  <a:lnTo>
                    <a:pt x="1730016" y="743617"/>
                  </a:lnTo>
                  <a:lnTo>
                    <a:pt x="1748476" y="718385"/>
                  </a:lnTo>
                  <a:lnTo>
                    <a:pt x="1711662" y="700411"/>
                  </a:lnTo>
                  <a:lnTo>
                    <a:pt x="1792519" y="684905"/>
                  </a:lnTo>
                  <a:lnTo>
                    <a:pt x="1809541" y="654929"/>
                  </a:lnTo>
                  <a:lnTo>
                    <a:pt x="1864633" y="630126"/>
                  </a:lnTo>
                  <a:lnTo>
                    <a:pt x="1910305" y="501796"/>
                  </a:lnTo>
                  <a:lnTo>
                    <a:pt x="1953825" y="454714"/>
                  </a:lnTo>
                  <a:lnTo>
                    <a:pt x="2016843" y="348758"/>
                  </a:lnTo>
                  <a:lnTo>
                    <a:pt x="1958702" y="349691"/>
                  </a:lnTo>
                  <a:lnTo>
                    <a:pt x="1982848" y="308705"/>
                  </a:lnTo>
                  <a:lnTo>
                    <a:pt x="2047466" y="270672"/>
                  </a:lnTo>
                  <a:lnTo>
                    <a:pt x="2112626" y="185871"/>
                  </a:lnTo>
                  <a:lnTo>
                    <a:pt x="2113798" y="131283"/>
                  </a:lnTo>
                  <a:lnTo>
                    <a:pt x="2064925" y="73733"/>
                  </a:lnTo>
                  <a:lnTo>
                    <a:pt x="2007575" y="45825"/>
                  </a:lnTo>
                  <a:lnTo>
                    <a:pt x="1936194" y="28499"/>
                  </a:lnTo>
                  <a:lnTo>
                    <a:pt x="1878359" y="14316"/>
                  </a:lnTo>
                  <a:lnTo>
                    <a:pt x="1820513" y="0"/>
                  </a:lnTo>
                  <a:lnTo>
                    <a:pt x="1743409" y="37881"/>
                  </a:lnTo>
                  <a:lnTo>
                    <a:pt x="1729216" y="13811"/>
                  </a:lnTo>
                  <a:lnTo>
                    <a:pt x="1647587" y="23108"/>
                  </a:lnTo>
                  <a:lnTo>
                    <a:pt x="1599695" y="47596"/>
                  </a:lnTo>
                  <a:lnTo>
                    <a:pt x="1564443" y="82363"/>
                  </a:lnTo>
                  <a:lnTo>
                    <a:pt x="1544126" y="194224"/>
                  </a:lnTo>
                  <a:lnTo>
                    <a:pt x="1515285" y="137236"/>
                  </a:lnTo>
                  <a:lnTo>
                    <a:pt x="1482166" y="126359"/>
                  </a:lnTo>
                  <a:lnTo>
                    <a:pt x="1442904" y="202273"/>
                  </a:lnTo>
                  <a:lnTo>
                    <a:pt x="1390507" y="234163"/>
                  </a:lnTo>
                  <a:lnTo>
                    <a:pt x="1359322" y="240487"/>
                  </a:lnTo>
                  <a:lnTo>
                    <a:pt x="1319613" y="277035"/>
                  </a:lnTo>
                  <a:lnTo>
                    <a:pt x="1325461" y="340338"/>
                  </a:lnTo>
                  <a:lnTo>
                    <a:pt x="1356655" y="392706"/>
                  </a:lnTo>
                  <a:close/>
                  <a:moveTo>
                    <a:pt x="2065325" y="2916888"/>
                  </a:moveTo>
                  <a:lnTo>
                    <a:pt x="2055971" y="2897991"/>
                  </a:lnTo>
                  <a:lnTo>
                    <a:pt x="2045884" y="2910012"/>
                  </a:lnTo>
                  <a:lnTo>
                    <a:pt x="2052561" y="2922975"/>
                  </a:lnTo>
                  <a:lnTo>
                    <a:pt x="2086432" y="2939291"/>
                  </a:lnTo>
                  <a:lnTo>
                    <a:pt x="2096329" y="2936796"/>
                  </a:lnTo>
                  <a:lnTo>
                    <a:pt x="2109464" y="2921022"/>
                  </a:lnTo>
                  <a:lnTo>
                    <a:pt x="2084699" y="2922080"/>
                  </a:lnTo>
                  <a:lnTo>
                    <a:pt x="2065325" y="2916888"/>
                  </a:lnTo>
                  <a:close/>
                  <a:moveTo>
                    <a:pt x="1522400" y="2175205"/>
                  </a:moveTo>
                  <a:lnTo>
                    <a:pt x="1528248" y="2190731"/>
                  </a:lnTo>
                  <a:lnTo>
                    <a:pt x="1547098" y="2192045"/>
                  </a:lnTo>
                  <a:lnTo>
                    <a:pt x="1578359" y="2160261"/>
                  </a:lnTo>
                  <a:lnTo>
                    <a:pt x="1578931" y="2148945"/>
                  </a:lnTo>
                  <a:lnTo>
                    <a:pt x="1542250" y="2148383"/>
                  </a:lnTo>
                  <a:lnTo>
                    <a:pt x="1522400" y="2175205"/>
                  </a:lnTo>
                  <a:close/>
                  <a:moveTo>
                    <a:pt x="2114169" y="2808046"/>
                  </a:moveTo>
                  <a:lnTo>
                    <a:pt x="2086861" y="2790911"/>
                  </a:lnTo>
                  <a:lnTo>
                    <a:pt x="2051742" y="2780557"/>
                  </a:lnTo>
                  <a:lnTo>
                    <a:pt x="2042503" y="2784034"/>
                  </a:lnTo>
                  <a:lnTo>
                    <a:pt x="2067335" y="2803455"/>
                  </a:lnTo>
                  <a:lnTo>
                    <a:pt x="2101949" y="2816247"/>
                  </a:lnTo>
                  <a:lnTo>
                    <a:pt x="2114950" y="2815523"/>
                  </a:lnTo>
                  <a:lnTo>
                    <a:pt x="2114169" y="2808046"/>
                  </a:lnTo>
                  <a:close/>
                  <a:moveTo>
                    <a:pt x="2351247" y="2853719"/>
                  </a:moveTo>
                  <a:lnTo>
                    <a:pt x="2347846" y="2832430"/>
                  </a:lnTo>
                  <a:lnTo>
                    <a:pt x="2329158" y="2839317"/>
                  </a:lnTo>
                  <a:lnTo>
                    <a:pt x="2337426" y="2809666"/>
                  </a:lnTo>
                  <a:lnTo>
                    <a:pt x="2310794" y="2797083"/>
                  </a:lnTo>
                  <a:lnTo>
                    <a:pt x="2298478" y="2807056"/>
                  </a:lnTo>
                  <a:lnTo>
                    <a:pt x="2274780" y="2795826"/>
                  </a:lnTo>
                  <a:lnTo>
                    <a:pt x="2284152" y="2781453"/>
                  </a:lnTo>
                  <a:lnTo>
                    <a:pt x="2266217" y="2772566"/>
                  </a:lnTo>
                  <a:lnTo>
                    <a:pt x="2248786" y="2786558"/>
                  </a:lnTo>
                  <a:lnTo>
                    <a:pt x="2266455" y="2750125"/>
                  </a:lnTo>
                  <a:lnTo>
                    <a:pt x="2280714" y="2723455"/>
                  </a:lnTo>
                  <a:lnTo>
                    <a:pt x="2285876" y="2711863"/>
                  </a:lnTo>
                  <a:lnTo>
                    <a:pt x="2273484" y="2709987"/>
                  </a:lnTo>
                  <a:lnTo>
                    <a:pt x="2250310" y="2724722"/>
                  </a:lnTo>
                  <a:lnTo>
                    <a:pt x="2233755" y="2748810"/>
                  </a:lnTo>
                  <a:lnTo>
                    <a:pt x="2206161" y="2814695"/>
                  </a:lnTo>
                  <a:lnTo>
                    <a:pt x="2183740" y="2839060"/>
                  </a:lnTo>
                  <a:lnTo>
                    <a:pt x="2195360" y="2849956"/>
                  </a:lnTo>
                  <a:lnTo>
                    <a:pt x="2178720" y="2863987"/>
                  </a:lnTo>
                  <a:lnTo>
                    <a:pt x="2182816" y="2875712"/>
                  </a:lnTo>
                  <a:lnTo>
                    <a:pt x="2234651" y="2876912"/>
                  </a:lnTo>
                  <a:lnTo>
                    <a:pt x="2263350" y="2874550"/>
                  </a:lnTo>
                  <a:lnTo>
                    <a:pt x="2288972" y="2884122"/>
                  </a:lnTo>
                  <a:lnTo>
                    <a:pt x="2270113" y="2902525"/>
                  </a:lnTo>
                  <a:lnTo>
                    <a:pt x="2286048" y="2903877"/>
                  </a:lnTo>
                  <a:lnTo>
                    <a:pt x="2317033" y="2869816"/>
                  </a:lnTo>
                  <a:lnTo>
                    <a:pt x="2324472" y="2874845"/>
                  </a:lnTo>
                  <a:lnTo>
                    <a:pt x="2318680" y="2906916"/>
                  </a:lnTo>
                  <a:lnTo>
                    <a:pt x="2336235" y="2914250"/>
                  </a:lnTo>
                  <a:lnTo>
                    <a:pt x="2348322" y="2912812"/>
                  </a:lnTo>
                  <a:lnTo>
                    <a:pt x="2359562" y="2878388"/>
                  </a:lnTo>
                  <a:lnTo>
                    <a:pt x="2351247" y="2853719"/>
                  </a:lnTo>
                  <a:close/>
                  <a:moveTo>
                    <a:pt x="2149354" y="2899086"/>
                  </a:moveTo>
                  <a:lnTo>
                    <a:pt x="2122580" y="2942520"/>
                  </a:lnTo>
                  <a:lnTo>
                    <a:pt x="2078450" y="2948054"/>
                  </a:lnTo>
                  <a:lnTo>
                    <a:pt x="2043760" y="2928919"/>
                  </a:lnTo>
                  <a:lnTo>
                    <a:pt x="2035045" y="2899677"/>
                  </a:lnTo>
                  <a:lnTo>
                    <a:pt x="2026577" y="2857176"/>
                  </a:lnTo>
                  <a:lnTo>
                    <a:pt x="2051799" y="2830230"/>
                  </a:lnTo>
                  <a:lnTo>
                    <a:pt x="2028158" y="2810332"/>
                  </a:lnTo>
                  <a:lnTo>
                    <a:pt x="1988201" y="2814390"/>
                  </a:lnTo>
                  <a:lnTo>
                    <a:pt x="1932185" y="2848013"/>
                  </a:lnTo>
                  <a:lnTo>
                    <a:pt x="1889312" y="2899944"/>
                  </a:lnTo>
                  <a:lnTo>
                    <a:pt x="1866633" y="2906344"/>
                  </a:lnTo>
                  <a:lnTo>
                    <a:pt x="1897371" y="2870111"/>
                  </a:lnTo>
                  <a:lnTo>
                    <a:pt x="1935890" y="2817019"/>
                  </a:lnTo>
                  <a:lnTo>
                    <a:pt x="1969942" y="2798931"/>
                  </a:lnTo>
                  <a:lnTo>
                    <a:pt x="1992306" y="2769289"/>
                  </a:lnTo>
                  <a:lnTo>
                    <a:pt x="2019967" y="2766403"/>
                  </a:lnTo>
                  <a:lnTo>
                    <a:pt x="2060048" y="2766698"/>
                  </a:lnTo>
                  <a:lnTo>
                    <a:pt x="2117170" y="2775452"/>
                  </a:lnTo>
                  <a:lnTo>
                    <a:pt x="2162318" y="2768708"/>
                  </a:lnTo>
                  <a:lnTo>
                    <a:pt x="2195922" y="2734189"/>
                  </a:lnTo>
                  <a:lnTo>
                    <a:pt x="2239937" y="2719073"/>
                  </a:lnTo>
                  <a:lnTo>
                    <a:pt x="2259102" y="2704024"/>
                  </a:lnTo>
                  <a:lnTo>
                    <a:pt x="2278485" y="2687774"/>
                  </a:lnTo>
                  <a:lnTo>
                    <a:pt x="2276532" y="2638358"/>
                  </a:lnTo>
                  <a:lnTo>
                    <a:pt x="2265807" y="2621480"/>
                  </a:lnTo>
                  <a:lnTo>
                    <a:pt x="2245004" y="2615498"/>
                  </a:lnTo>
                  <a:lnTo>
                    <a:pt x="2234422" y="2576951"/>
                  </a:lnTo>
                  <a:lnTo>
                    <a:pt x="2217277" y="2562206"/>
                  </a:lnTo>
                  <a:lnTo>
                    <a:pt x="2174691" y="2550166"/>
                  </a:lnTo>
                  <a:lnTo>
                    <a:pt x="2150679" y="2523287"/>
                  </a:lnTo>
                  <a:lnTo>
                    <a:pt x="2115160" y="2496369"/>
                  </a:lnTo>
                  <a:lnTo>
                    <a:pt x="2125894" y="2465918"/>
                  </a:lnTo>
                  <a:lnTo>
                    <a:pt x="2096357" y="2406291"/>
                  </a:lnTo>
                  <a:lnTo>
                    <a:pt x="2061582" y="2340636"/>
                  </a:lnTo>
                  <a:lnTo>
                    <a:pt x="2040779" y="2293172"/>
                  </a:lnTo>
                  <a:lnTo>
                    <a:pt x="2023110" y="2318042"/>
                  </a:lnTo>
                  <a:lnTo>
                    <a:pt x="1997564" y="2375697"/>
                  </a:lnTo>
                  <a:lnTo>
                    <a:pt x="1958892" y="2404015"/>
                  </a:lnTo>
                  <a:lnTo>
                    <a:pt x="1939538" y="2373963"/>
                  </a:lnTo>
                  <a:lnTo>
                    <a:pt x="1915144" y="2365896"/>
                  </a:lnTo>
                  <a:lnTo>
                    <a:pt x="1906267" y="2299316"/>
                  </a:lnTo>
                  <a:lnTo>
                    <a:pt x="1907067" y="2253625"/>
                  </a:lnTo>
                  <a:lnTo>
                    <a:pt x="1859442" y="2249453"/>
                  </a:lnTo>
                  <a:lnTo>
                    <a:pt x="1851336" y="2227869"/>
                  </a:lnTo>
                  <a:lnTo>
                    <a:pt x="1818446" y="2195141"/>
                  </a:lnTo>
                  <a:lnTo>
                    <a:pt x="1793577" y="2175720"/>
                  </a:lnTo>
                  <a:lnTo>
                    <a:pt x="1771459" y="2190798"/>
                  </a:lnTo>
                  <a:lnTo>
                    <a:pt x="1743999" y="2185226"/>
                  </a:lnTo>
                  <a:lnTo>
                    <a:pt x="1698212" y="2169547"/>
                  </a:lnTo>
                  <a:lnTo>
                    <a:pt x="1679619" y="2182854"/>
                  </a:lnTo>
                  <a:lnTo>
                    <a:pt x="1688544" y="2270265"/>
                  </a:lnTo>
                  <a:lnTo>
                    <a:pt x="1700184" y="2318995"/>
                  </a:lnTo>
                  <a:lnTo>
                    <a:pt x="1668666" y="2373773"/>
                  </a:lnTo>
                  <a:lnTo>
                    <a:pt x="1701108" y="2412083"/>
                  </a:lnTo>
                  <a:lnTo>
                    <a:pt x="1719243" y="2454374"/>
                  </a:lnTo>
                  <a:lnTo>
                    <a:pt x="1721425" y="2486968"/>
                  </a:lnTo>
                  <a:lnTo>
                    <a:pt x="1706623" y="2520344"/>
                  </a:lnTo>
                  <a:lnTo>
                    <a:pt x="1676362" y="2553310"/>
                  </a:lnTo>
                  <a:lnTo>
                    <a:pt x="1633604" y="2575036"/>
                  </a:lnTo>
                  <a:lnTo>
                    <a:pt x="1652445" y="2599125"/>
                  </a:lnTo>
                  <a:lnTo>
                    <a:pt x="1666389" y="2669629"/>
                  </a:lnTo>
                  <a:lnTo>
                    <a:pt x="1651940" y="2714168"/>
                  </a:lnTo>
                  <a:lnTo>
                    <a:pt x="1631375" y="2728055"/>
                  </a:lnTo>
                  <a:lnTo>
                    <a:pt x="1591637" y="2687260"/>
                  </a:lnTo>
                  <a:lnTo>
                    <a:pt x="1572292" y="2638035"/>
                  </a:lnTo>
                  <a:lnTo>
                    <a:pt x="1563986" y="2592705"/>
                  </a:lnTo>
                  <a:lnTo>
                    <a:pt x="1568348" y="2552757"/>
                  </a:lnTo>
                  <a:lnTo>
                    <a:pt x="1539297" y="2548242"/>
                  </a:lnTo>
                  <a:lnTo>
                    <a:pt x="1495197" y="2545547"/>
                  </a:lnTo>
                  <a:lnTo>
                    <a:pt x="1466898" y="2525716"/>
                  </a:lnTo>
                  <a:lnTo>
                    <a:pt x="1433436" y="2512638"/>
                  </a:lnTo>
                  <a:lnTo>
                    <a:pt x="1414329" y="2489978"/>
                  </a:lnTo>
                  <a:lnTo>
                    <a:pt x="1387631" y="2471547"/>
                  </a:lnTo>
                  <a:lnTo>
                    <a:pt x="1338005" y="2450316"/>
                  </a:lnTo>
                  <a:lnTo>
                    <a:pt x="1300639" y="2460031"/>
                  </a:lnTo>
                  <a:lnTo>
                    <a:pt x="1288152" y="2422436"/>
                  </a:lnTo>
                  <a:lnTo>
                    <a:pt x="1276122" y="2374906"/>
                  </a:lnTo>
                  <a:lnTo>
                    <a:pt x="1236878" y="2366315"/>
                  </a:lnTo>
                  <a:lnTo>
                    <a:pt x="1238355" y="2305250"/>
                  </a:lnTo>
                  <a:lnTo>
                    <a:pt x="1248709" y="2262550"/>
                  </a:lnTo>
                  <a:lnTo>
                    <a:pt x="1277674" y="2199685"/>
                  </a:lnTo>
                  <a:lnTo>
                    <a:pt x="1310354" y="2152993"/>
                  </a:lnTo>
                  <a:lnTo>
                    <a:pt x="1341425" y="2145668"/>
                  </a:lnTo>
                  <a:lnTo>
                    <a:pt x="1343196" y="2107111"/>
                  </a:lnTo>
                  <a:lnTo>
                    <a:pt x="1364275" y="2081565"/>
                  </a:lnTo>
                  <a:lnTo>
                    <a:pt x="1402509" y="2077526"/>
                  </a:lnTo>
                  <a:lnTo>
                    <a:pt x="1433484" y="2035693"/>
                  </a:lnTo>
                  <a:lnTo>
                    <a:pt x="1441275" y="2008099"/>
                  </a:lnTo>
                  <a:lnTo>
                    <a:pt x="1467021" y="1953568"/>
                  </a:lnTo>
                  <a:lnTo>
                    <a:pt x="1474984" y="1920230"/>
                  </a:lnTo>
                  <a:lnTo>
                    <a:pt x="1502597" y="1940300"/>
                  </a:lnTo>
                  <a:lnTo>
                    <a:pt x="1539735" y="1930051"/>
                  </a:lnTo>
                  <a:lnTo>
                    <a:pt x="1592028" y="1882769"/>
                  </a:lnTo>
                  <a:lnTo>
                    <a:pt x="1595428" y="1849060"/>
                  </a:lnTo>
                  <a:lnTo>
                    <a:pt x="1576597" y="1811150"/>
                  </a:lnTo>
                  <a:lnTo>
                    <a:pt x="1596466" y="1772507"/>
                  </a:lnTo>
                  <a:lnTo>
                    <a:pt x="1594857" y="1735693"/>
                  </a:lnTo>
                  <a:lnTo>
                    <a:pt x="1559014" y="1698041"/>
                  </a:lnTo>
                  <a:lnTo>
                    <a:pt x="1519533" y="1686706"/>
                  </a:lnTo>
                  <a:lnTo>
                    <a:pt x="1481576" y="1680763"/>
                  </a:lnTo>
                  <a:lnTo>
                    <a:pt x="1480118" y="1763763"/>
                  </a:lnTo>
                  <a:lnTo>
                    <a:pt x="1460640" y="1826200"/>
                  </a:lnTo>
                  <a:lnTo>
                    <a:pt x="1432751" y="1876720"/>
                  </a:lnTo>
                  <a:lnTo>
                    <a:pt x="1406919" y="1829610"/>
                  </a:lnTo>
                  <a:lnTo>
                    <a:pt x="1414872" y="1776213"/>
                  </a:lnTo>
                  <a:lnTo>
                    <a:pt x="1382944" y="1728416"/>
                  </a:lnTo>
                  <a:lnTo>
                    <a:pt x="1347254" y="1786423"/>
                  </a:lnTo>
                  <a:lnTo>
                    <a:pt x="1347368" y="1710309"/>
                  </a:lnTo>
                  <a:lnTo>
                    <a:pt x="1297705" y="1694821"/>
                  </a:lnTo>
                  <a:lnTo>
                    <a:pt x="1321403" y="1656588"/>
                  </a:lnTo>
                  <a:lnTo>
                    <a:pt x="1285123" y="1565281"/>
                  </a:lnTo>
                  <a:lnTo>
                    <a:pt x="1258110" y="1528096"/>
                  </a:lnTo>
                  <a:lnTo>
                    <a:pt x="1222886" y="1514361"/>
                  </a:lnTo>
                  <a:lnTo>
                    <a:pt x="1191311" y="1575587"/>
                  </a:lnTo>
                  <a:lnTo>
                    <a:pt x="1189168" y="1664579"/>
                  </a:lnTo>
                  <a:lnTo>
                    <a:pt x="1220333" y="1695936"/>
                  </a:lnTo>
                  <a:lnTo>
                    <a:pt x="1248947" y="1742665"/>
                  </a:lnTo>
                  <a:lnTo>
                    <a:pt x="1236869" y="1816084"/>
                  </a:lnTo>
                  <a:lnTo>
                    <a:pt x="1215390" y="1814160"/>
                  </a:lnTo>
                  <a:lnTo>
                    <a:pt x="1198388" y="1870205"/>
                  </a:lnTo>
                  <a:lnTo>
                    <a:pt x="1198550" y="1803492"/>
                  </a:lnTo>
                  <a:lnTo>
                    <a:pt x="1157164" y="1778889"/>
                  </a:lnTo>
                  <a:lnTo>
                    <a:pt x="1133418" y="1791605"/>
                  </a:lnTo>
                  <a:lnTo>
                    <a:pt x="1136504" y="1836106"/>
                  </a:lnTo>
                  <a:lnTo>
                    <a:pt x="1097547" y="1834410"/>
                  </a:lnTo>
                  <a:lnTo>
                    <a:pt x="1056084" y="1845583"/>
                  </a:lnTo>
                  <a:lnTo>
                    <a:pt x="1008898" y="1813646"/>
                  </a:lnTo>
                  <a:lnTo>
                    <a:pt x="979075" y="1819342"/>
                  </a:lnTo>
                  <a:lnTo>
                    <a:pt x="952233" y="1780156"/>
                  </a:lnTo>
                  <a:lnTo>
                    <a:pt x="930678" y="1762630"/>
                  </a:lnTo>
                  <a:lnTo>
                    <a:pt x="909314" y="1769993"/>
                  </a:lnTo>
                  <a:lnTo>
                    <a:pt x="876805" y="1773374"/>
                  </a:lnTo>
                  <a:lnTo>
                    <a:pt x="859555" y="1798273"/>
                  </a:lnTo>
                  <a:lnTo>
                    <a:pt x="886816" y="1828629"/>
                  </a:lnTo>
                  <a:lnTo>
                    <a:pt x="857764" y="1864109"/>
                  </a:lnTo>
                  <a:lnTo>
                    <a:pt x="829294" y="1821980"/>
                  </a:lnTo>
                  <a:lnTo>
                    <a:pt x="806548" y="1834382"/>
                  </a:lnTo>
                  <a:lnTo>
                    <a:pt x="734463" y="1842697"/>
                  </a:lnTo>
                  <a:lnTo>
                    <a:pt x="686190" y="1827562"/>
                  </a:lnTo>
                  <a:lnTo>
                    <a:pt x="723767" y="1791976"/>
                  </a:lnTo>
                  <a:lnTo>
                    <a:pt x="687743" y="1754810"/>
                  </a:lnTo>
                  <a:lnTo>
                    <a:pt x="661578" y="1759572"/>
                  </a:lnTo>
                  <a:lnTo>
                    <a:pt x="624821" y="1746971"/>
                  </a:lnTo>
                  <a:lnTo>
                    <a:pt x="562318" y="1719434"/>
                  </a:lnTo>
                  <a:lnTo>
                    <a:pt x="521475" y="1687306"/>
                  </a:lnTo>
                  <a:lnTo>
                    <a:pt x="489128" y="1682839"/>
                  </a:lnTo>
                  <a:lnTo>
                    <a:pt x="479041" y="1705289"/>
                  </a:lnTo>
                  <a:lnTo>
                    <a:pt x="446227" y="1717777"/>
                  </a:lnTo>
                  <a:lnTo>
                    <a:pt x="442617" y="1659198"/>
                  </a:lnTo>
                  <a:lnTo>
                    <a:pt x="407060" y="1711633"/>
                  </a:lnTo>
                  <a:lnTo>
                    <a:pt x="361902" y="1641901"/>
                  </a:lnTo>
                  <a:lnTo>
                    <a:pt x="343443" y="1633404"/>
                  </a:lnTo>
                  <a:lnTo>
                    <a:pt x="337480" y="1670599"/>
                  </a:lnTo>
                  <a:lnTo>
                    <a:pt x="317554" y="1688735"/>
                  </a:lnTo>
                  <a:lnTo>
                    <a:pt x="299209" y="1656417"/>
                  </a:lnTo>
                  <a:lnTo>
                    <a:pt x="255499" y="1675924"/>
                  </a:lnTo>
                  <a:lnTo>
                    <a:pt x="215494" y="1709747"/>
                  </a:lnTo>
                  <a:lnTo>
                    <a:pt x="175822" y="1700413"/>
                  </a:lnTo>
                  <a:lnTo>
                    <a:pt x="143475" y="1724177"/>
                  </a:lnTo>
                  <a:lnTo>
                    <a:pt x="120034" y="1755381"/>
                  </a:lnTo>
                  <a:lnTo>
                    <a:pt x="92183" y="1748552"/>
                  </a:lnTo>
                  <a:lnTo>
                    <a:pt x="50140" y="1712357"/>
                  </a:lnTo>
                  <a:lnTo>
                    <a:pt x="324" y="1693917"/>
                  </a:lnTo>
                  <a:lnTo>
                    <a:pt x="143" y="1957264"/>
                  </a:lnTo>
                  <a:lnTo>
                    <a:pt x="0" y="2294735"/>
                  </a:lnTo>
                  <a:lnTo>
                    <a:pt x="26299" y="2296325"/>
                  </a:lnTo>
                  <a:lnTo>
                    <a:pt x="52311" y="2311146"/>
                  </a:lnTo>
                  <a:lnTo>
                    <a:pt x="70961" y="2334349"/>
                  </a:lnTo>
                  <a:lnTo>
                    <a:pt x="94688" y="2368601"/>
                  </a:lnTo>
                  <a:lnTo>
                    <a:pt x="120672" y="2339512"/>
                  </a:lnTo>
                  <a:lnTo>
                    <a:pt x="147485" y="2322433"/>
                  </a:lnTo>
                  <a:lnTo>
                    <a:pt x="161658" y="2349627"/>
                  </a:lnTo>
                  <a:lnTo>
                    <a:pt x="179651" y="2370858"/>
                  </a:lnTo>
                  <a:lnTo>
                    <a:pt x="204102" y="2393947"/>
                  </a:lnTo>
                  <a:lnTo>
                    <a:pt x="220799" y="2430085"/>
                  </a:lnTo>
                  <a:lnTo>
                    <a:pt x="248107" y="2486101"/>
                  </a:lnTo>
                  <a:lnTo>
                    <a:pt x="293513" y="2516620"/>
                  </a:lnTo>
                  <a:lnTo>
                    <a:pt x="294256" y="2546376"/>
                  </a:lnTo>
                  <a:lnTo>
                    <a:pt x="279406" y="2568807"/>
                  </a:lnTo>
                  <a:lnTo>
                    <a:pt x="279968" y="2592467"/>
                  </a:lnTo>
                  <a:lnTo>
                    <a:pt x="312277" y="2625319"/>
                  </a:lnTo>
                  <a:lnTo>
                    <a:pt x="316963" y="2661142"/>
                  </a:lnTo>
                  <a:lnTo>
                    <a:pt x="351130" y="2679792"/>
                  </a:lnTo>
                  <a:lnTo>
                    <a:pt x="347329" y="2706367"/>
                  </a:lnTo>
                  <a:lnTo>
                    <a:pt x="362207" y="2744067"/>
                  </a:lnTo>
                  <a:lnTo>
                    <a:pt x="410575" y="2761450"/>
                  </a:lnTo>
                  <a:lnTo>
                    <a:pt x="429654" y="2779424"/>
                  </a:lnTo>
                  <a:lnTo>
                    <a:pt x="481355" y="2819686"/>
                  </a:lnTo>
                  <a:lnTo>
                    <a:pt x="484937" y="2819791"/>
                  </a:lnTo>
                  <a:lnTo>
                    <a:pt x="560784" y="2819791"/>
                  </a:lnTo>
                  <a:lnTo>
                    <a:pt x="640070" y="2819791"/>
                  </a:lnTo>
                  <a:lnTo>
                    <a:pt x="666321" y="2819791"/>
                  </a:lnTo>
                  <a:lnTo>
                    <a:pt x="747722" y="2819791"/>
                  </a:lnTo>
                  <a:lnTo>
                    <a:pt x="826503" y="2819791"/>
                  </a:lnTo>
                  <a:lnTo>
                    <a:pt x="906628" y="2819791"/>
                  </a:lnTo>
                  <a:lnTo>
                    <a:pt x="986800" y="2819791"/>
                  </a:lnTo>
                  <a:lnTo>
                    <a:pt x="1077554" y="2819791"/>
                  </a:lnTo>
                  <a:lnTo>
                    <a:pt x="1168927" y="2819762"/>
                  </a:lnTo>
                  <a:lnTo>
                    <a:pt x="1224201" y="2819791"/>
                  </a:lnTo>
                  <a:lnTo>
                    <a:pt x="1224277" y="2804132"/>
                  </a:lnTo>
                  <a:lnTo>
                    <a:pt x="1233316" y="2803931"/>
                  </a:lnTo>
                  <a:lnTo>
                    <a:pt x="1238060" y="2826268"/>
                  </a:lnTo>
                  <a:lnTo>
                    <a:pt x="1246365" y="2833107"/>
                  </a:lnTo>
                  <a:lnTo>
                    <a:pt x="1265015" y="2835583"/>
                  </a:lnTo>
                  <a:lnTo>
                    <a:pt x="1292285" y="2841984"/>
                  </a:lnTo>
                  <a:lnTo>
                    <a:pt x="1318193" y="2854395"/>
                  </a:lnTo>
                  <a:lnTo>
                    <a:pt x="1339825" y="2849204"/>
                  </a:lnTo>
                  <a:lnTo>
                    <a:pt x="1372676" y="2859577"/>
                  </a:lnTo>
                  <a:lnTo>
                    <a:pt x="1383516" y="2843775"/>
                  </a:lnTo>
                  <a:lnTo>
                    <a:pt x="1398670" y="2837460"/>
                  </a:lnTo>
                  <a:lnTo>
                    <a:pt x="1404604" y="2827630"/>
                  </a:lnTo>
                  <a:lnTo>
                    <a:pt x="1410624" y="2822353"/>
                  </a:lnTo>
                  <a:lnTo>
                    <a:pt x="1435456" y="2830506"/>
                  </a:lnTo>
                  <a:lnTo>
                    <a:pt x="1453858" y="2831478"/>
                  </a:lnTo>
                  <a:lnTo>
                    <a:pt x="1460240" y="2836869"/>
                  </a:lnTo>
                  <a:lnTo>
                    <a:pt x="1469174" y="2859558"/>
                  </a:lnTo>
                  <a:lnTo>
                    <a:pt x="1499149" y="2865530"/>
                  </a:lnTo>
                  <a:lnTo>
                    <a:pt x="1494434" y="2876788"/>
                  </a:lnTo>
                  <a:lnTo>
                    <a:pt x="1504998" y="2888333"/>
                  </a:lnTo>
                  <a:lnTo>
                    <a:pt x="1500445" y="2903192"/>
                  </a:lnTo>
                  <a:lnTo>
                    <a:pt x="1511656" y="2908078"/>
                  </a:lnTo>
                  <a:lnTo>
                    <a:pt x="1506064" y="2921146"/>
                  </a:lnTo>
                  <a:lnTo>
                    <a:pt x="1513227" y="2922337"/>
                  </a:lnTo>
                  <a:lnTo>
                    <a:pt x="1518247" y="2916650"/>
                  </a:lnTo>
                  <a:lnTo>
                    <a:pt x="1523486" y="2925204"/>
                  </a:lnTo>
                  <a:lnTo>
                    <a:pt x="1543517" y="2929976"/>
                  </a:lnTo>
                  <a:lnTo>
                    <a:pt x="1563824" y="2930376"/>
                  </a:lnTo>
                  <a:lnTo>
                    <a:pt x="1585474" y="2934300"/>
                  </a:lnTo>
                  <a:lnTo>
                    <a:pt x="1609363" y="2941720"/>
                  </a:lnTo>
                  <a:lnTo>
                    <a:pt x="1618079" y="2953684"/>
                  </a:lnTo>
                  <a:lnTo>
                    <a:pt x="1635376" y="2982611"/>
                  </a:lnTo>
                  <a:lnTo>
                    <a:pt x="1626775" y="2994984"/>
                  </a:lnTo>
                  <a:lnTo>
                    <a:pt x="1605067" y="2989840"/>
                  </a:lnTo>
                  <a:lnTo>
                    <a:pt x="1591589" y="2966590"/>
                  </a:lnTo>
                  <a:lnTo>
                    <a:pt x="1594971" y="2990269"/>
                  </a:lnTo>
                  <a:lnTo>
                    <a:pt x="1582236" y="3010938"/>
                  </a:lnTo>
                  <a:lnTo>
                    <a:pt x="1583636" y="3028445"/>
                  </a:lnTo>
                  <a:lnTo>
                    <a:pt x="1581436" y="3038675"/>
                  </a:lnTo>
                  <a:lnTo>
                    <a:pt x="1564148" y="3050743"/>
                  </a:lnTo>
                  <a:lnTo>
                    <a:pt x="1551594" y="3070660"/>
                  </a:lnTo>
                  <a:lnTo>
                    <a:pt x="1545717" y="3083243"/>
                  </a:lnTo>
                  <a:lnTo>
                    <a:pt x="1560376" y="3085500"/>
                  </a:lnTo>
                  <a:lnTo>
                    <a:pt x="1580198" y="3074061"/>
                  </a:lnTo>
                  <a:lnTo>
                    <a:pt x="1591866" y="3063974"/>
                  </a:lnTo>
                  <a:lnTo>
                    <a:pt x="1599800" y="3062326"/>
                  </a:lnTo>
                  <a:lnTo>
                    <a:pt x="1614487" y="3065964"/>
                  </a:lnTo>
                  <a:lnTo>
                    <a:pt x="1621593" y="3060335"/>
                  </a:lnTo>
                  <a:lnTo>
                    <a:pt x="1634623" y="3055754"/>
                  </a:lnTo>
                  <a:lnTo>
                    <a:pt x="1657893" y="3051286"/>
                  </a:lnTo>
                  <a:lnTo>
                    <a:pt x="1657893" y="3051305"/>
                  </a:lnTo>
                  <a:lnTo>
                    <a:pt x="1657893" y="3051286"/>
                  </a:lnTo>
                  <a:lnTo>
                    <a:pt x="1655521" y="3040332"/>
                  </a:lnTo>
                  <a:lnTo>
                    <a:pt x="1654245" y="3040752"/>
                  </a:lnTo>
                  <a:lnTo>
                    <a:pt x="1646092" y="3042637"/>
                  </a:lnTo>
                  <a:lnTo>
                    <a:pt x="1635443" y="3039180"/>
                  </a:lnTo>
                  <a:lnTo>
                    <a:pt x="1643434" y="3026636"/>
                  </a:lnTo>
                  <a:lnTo>
                    <a:pt x="1651578" y="3022283"/>
                  </a:lnTo>
                  <a:lnTo>
                    <a:pt x="1670428" y="3016901"/>
                  </a:lnTo>
                  <a:lnTo>
                    <a:pt x="1693002" y="3011872"/>
                  </a:lnTo>
                  <a:lnTo>
                    <a:pt x="1704851" y="3018863"/>
                  </a:lnTo>
                  <a:lnTo>
                    <a:pt x="1712300" y="3010757"/>
                  </a:lnTo>
                  <a:lnTo>
                    <a:pt x="1720767" y="3005614"/>
                  </a:lnTo>
                  <a:lnTo>
                    <a:pt x="1726444" y="3008338"/>
                  </a:lnTo>
                  <a:lnTo>
                    <a:pt x="1726749" y="3008919"/>
                  </a:lnTo>
                  <a:lnTo>
                    <a:pt x="1754086" y="2982916"/>
                  </a:lnTo>
                  <a:lnTo>
                    <a:pt x="1766135" y="2976001"/>
                  </a:lnTo>
                  <a:lnTo>
                    <a:pt x="1806712" y="2975744"/>
                  </a:lnTo>
                  <a:lnTo>
                    <a:pt x="1855927" y="2975715"/>
                  </a:lnTo>
                  <a:lnTo>
                    <a:pt x="1858604" y="2966399"/>
                  </a:lnTo>
                  <a:lnTo>
                    <a:pt x="1867148" y="2964495"/>
                  </a:lnTo>
                  <a:lnTo>
                    <a:pt x="1878492" y="2958627"/>
                  </a:lnTo>
                  <a:lnTo>
                    <a:pt x="1887969" y="2941292"/>
                  </a:lnTo>
                  <a:lnTo>
                    <a:pt x="1896113" y="2911307"/>
                  </a:lnTo>
                  <a:lnTo>
                    <a:pt x="1916487" y="2881808"/>
                  </a:lnTo>
                  <a:lnTo>
                    <a:pt x="1925365" y="2892123"/>
                  </a:lnTo>
                  <a:lnTo>
                    <a:pt x="1943272" y="2885456"/>
                  </a:lnTo>
                  <a:lnTo>
                    <a:pt x="1955130" y="2896762"/>
                  </a:lnTo>
                  <a:lnTo>
                    <a:pt x="1955111" y="2949388"/>
                  </a:lnTo>
                  <a:lnTo>
                    <a:pt x="1972570" y="2970828"/>
                  </a:lnTo>
                  <a:lnTo>
                    <a:pt x="2002250" y="2966228"/>
                  </a:lnTo>
                  <a:lnTo>
                    <a:pt x="2044999" y="2964990"/>
                  </a:lnTo>
                  <a:lnTo>
                    <a:pt x="1998631" y="2996051"/>
                  </a:lnTo>
                  <a:lnTo>
                    <a:pt x="1999650" y="3027398"/>
                  </a:lnTo>
                  <a:lnTo>
                    <a:pt x="2019929" y="3030093"/>
                  </a:lnTo>
                  <a:lnTo>
                    <a:pt x="2049771" y="3003490"/>
                  </a:lnTo>
                  <a:lnTo>
                    <a:pt x="2076259" y="2988402"/>
                  </a:lnTo>
                  <a:lnTo>
                    <a:pt x="2135410" y="2966009"/>
                  </a:lnTo>
                  <a:lnTo>
                    <a:pt x="2168452" y="2941092"/>
                  </a:lnTo>
                  <a:lnTo>
                    <a:pt x="2151202" y="2927185"/>
                  </a:lnTo>
                  <a:lnTo>
                    <a:pt x="2149354" y="2899086"/>
                  </a:lnTo>
                  <a:close/>
                  <a:moveTo>
                    <a:pt x="1638205" y="2221830"/>
                  </a:moveTo>
                  <a:lnTo>
                    <a:pt x="1648663" y="2192074"/>
                  </a:lnTo>
                  <a:lnTo>
                    <a:pt x="1641872" y="2180330"/>
                  </a:lnTo>
                  <a:lnTo>
                    <a:pt x="1630937" y="2179072"/>
                  </a:lnTo>
                  <a:lnTo>
                    <a:pt x="1620631" y="2196256"/>
                  </a:lnTo>
                  <a:lnTo>
                    <a:pt x="1619383" y="2200189"/>
                  </a:lnTo>
                  <a:lnTo>
                    <a:pt x="1626394" y="2217058"/>
                  </a:lnTo>
                  <a:lnTo>
                    <a:pt x="1638205" y="2221830"/>
                  </a:lnTo>
                  <a:close/>
                  <a:moveTo>
                    <a:pt x="279406" y="2568807"/>
                  </a:moveTo>
                  <a:lnTo>
                    <a:pt x="279406" y="2568807"/>
                  </a:lnTo>
                  <a:lnTo>
                    <a:pt x="294256" y="2546385"/>
                  </a:lnTo>
                  <a:lnTo>
                    <a:pt x="279406" y="2568807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8" name="Forme libre : forme 5677">
              <a:extLst>
                <a:ext uri="{FF2B5EF4-FFF2-40B4-BE49-F238E27FC236}">
                  <a16:creationId xmlns:a16="http://schemas.microsoft.com/office/drawing/2014/main" id="{8E6323F3-2292-3EC4-E2CE-4B2BD0520194}"/>
                </a:ext>
              </a:extLst>
            </p:cNvPr>
            <p:cNvSpPr/>
            <p:nvPr/>
          </p:nvSpPr>
          <p:spPr>
            <a:xfrm>
              <a:off x="6146253" y="4603027"/>
              <a:ext cx="507206" cy="494537"/>
            </a:xfrm>
            <a:custGeom>
              <a:avLst/>
              <a:gdLst>
                <a:gd name="connsiteX0" fmla="*/ 498119 w 507206"/>
                <a:gd name="connsiteY0" fmla="*/ 46472 h 494537"/>
                <a:gd name="connsiteX1" fmla="*/ 496500 w 507206"/>
                <a:gd name="connsiteY1" fmla="*/ 77543 h 494537"/>
                <a:gd name="connsiteX2" fmla="*/ 507206 w 507206"/>
                <a:gd name="connsiteY2" fmla="*/ 81134 h 494537"/>
                <a:gd name="connsiteX3" fmla="*/ 498614 w 507206"/>
                <a:gd name="connsiteY3" fmla="*/ 90554 h 494537"/>
                <a:gd name="connsiteX4" fmla="*/ 488356 w 507206"/>
                <a:gd name="connsiteY4" fmla="*/ 97612 h 494537"/>
                <a:gd name="connsiteX5" fmla="*/ 478145 w 507206"/>
                <a:gd name="connsiteY5" fmla="*/ 111442 h 494537"/>
                <a:gd name="connsiteX6" fmla="*/ 472535 w 507206"/>
                <a:gd name="connsiteY6" fmla="*/ 123777 h 494537"/>
                <a:gd name="connsiteX7" fmla="*/ 471021 w 507206"/>
                <a:gd name="connsiteY7" fmla="*/ 145075 h 494537"/>
                <a:gd name="connsiteX8" fmla="*/ 464839 w 507206"/>
                <a:gd name="connsiteY8" fmla="*/ 155210 h 494537"/>
                <a:gd name="connsiteX9" fmla="*/ 464611 w 507206"/>
                <a:gd name="connsiteY9" fmla="*/ 175212 h 494537"/>
                <a:gd name="connsiteX10" fmla="*/ 456933 w 507206"/>
                <a:gd name="connsiteY10" fmla="*/ 182613 h 494537"/>
                <a:gd name="connsiteX11" fmla="*/ 455943 w 507206"/>
                <a:gd name="connsiteY11" fmla="*/ 198406 h 494537"/>
                <a:gd name="connsiteX12" fmla="*/ 452275 w 507206"/>
                <a:gd name="connsiteY12" fmla="*/ 200453 h 494537"/>
                <a:gd name="connsiteX13" fmla="*/ 449809 w 507206"/>
                <a:gd name="connsiteY13" fmla="*/ 214979 h 494537"/>
                <a:gd name="connsiteX14" fmla="*/ 456524 w 507206"/>
                <a:gd name="connsiteY14" fmla="*/ 227057 h 494537"/>
                <a:gd name="connsiteX15" fmla="*/ 458219 w 507206"/>
                <a:gd name="connsiteY15" fmla="*/ 259128 h 494537"/>
                <a:gd name="connsiteX16" fmla="*/ 463019 w 507206"/>
                <a:gd name="connsiteY16" fmla="*/ 283626 h 494537"/>
                <a:gd name="connsiteX17" fmla="*/ 460353 w 507206"/>
                <a:gd name="connsiteY17" fmla="*/ 297485 h 494537"/>
                <a:gd name="connsiteX18" fmla="*/ 465696 w 507206"/>
                <a:gd name="connsiteY18" fmla="*/ 312972 h 494537"/>
                <a:gd name="connsiteX19" fmla="*/ 481184 w 507206"/>
                <a:gd name="connsiteY19" fmla="*/ 327927 h 494537"/>
                <a:gd name="connsiteX20" fmla="*/ 495605 w 507206"/>
                <a:gd name="connsiteY20" fmla="*/ 361664 h 494537"/>
                <a:gd name="connsiteX21" fmla="*/ 485089 w 507206"/>
                <a:gd name="connsiteY21" fmla="*/ 358940 h 494537"/>
                <a:gd name="connsiteX22" fmla="*/ 449218 w 507206"/>
                <a:gd name="connsiteY22" fmla="*/ 363464 h 494537"/>
                <a:gd name="connsiteX23" fmla="*/ 442055 w 507206"/>
                <a:gd name="connsiteY23" fmla="*/ 366674 h 494537"/>
                <a:gd name="connsiteX24" fmla="*/ 434444 w 507206"/>
                <a:gd name="connsiteY24" fmla="*/ 383810 h 494537"/>
                <a:gd name="connsiteX25" fmla="*/ 440427 w 507206"/>
                <a:gd name="connsiteY25" fmla="*/ 395678 h 494537"/>
                <a:gd name="connsiteX26" fmla="*/ 435683 w 507206"/>
                <a:gd name="connsiteY26" fmla="*/ 427596 h 494537"/>
                <a:gd name="connsiteX27" fmla="*/ 432378 w 507206"/>
                <a:gd name="connsiteY27" fmla="*/ 454752 h 494537"/>
                <a:gd name="connsiteX28" fmla="*/ 439588 w 507206"/>
                <a:gd name="connsiteY28" fmla="*/ 459581 h 494537"/>
                <a:gd name="connsiteX29" fmla="*/ 458257 w 507206"/>
                <a:gd name="connsiteY29" fmla="*/ 470135 h 494537"/>
                <a:gd name="connsiteX30" fmla="*/ 465591 w 507206"/>
                <a:gd name="connsiteY30" fmla="*/ 465201 h 494537"/>
                <a:gd name="connsiteX31" fmla="*/ 467820 w 507206"/>
                <a:gd name="connsiteY31" fmla="*/ 494538 h 494537"/>
                <a:gd name="connsiteX32" fmla="*/ 447380 w 507206"/>
                <a:gd name="connsiteY32" fmla="*/ 494309 h 494537"/>
                <a:gd name="connsiteX33" fmla="*/ 436416 w 507206"/>
                <a:gd name="connsiteY33" fmla="*/ 479327 h 494537"/>
                <a:gd name="connsiteX34" fmla="*/ 426577 w 507206"/>
                <a:gd name="connsiteY34" fmla="*/ 467744 h 494537"/>
                <a:gd name="connsiteX35" fmla="*/ 406108 w 507206"/>
                <a:gd name="connsiteY35" fmla="*/ 463953 h 494537"/>
                <a:gd name="connsiteX36" fmla="*/ 400117 w 507206"/>
                <a:gd name="connsiteY36" fmla="*/ 449742 h 494537"/>
                <a:gd name="connsiteX37" fmla="*/ 383791 w 507206"/>
                <a:gd name="connsiteY37" fmla="*/ 458295 h 494537"/>
                <a:gd name="connsiteX38" fmla="*/ 362398 w 507206"/>
                <a:gd name="connsiteY38" fmla="*/ 454514 h 494537"/>
                <a:gd name="connsiteX39" fmla="*/ 353473 w 507206"/>
                <a:gd name="connsiteY39" fmla="*/ 442217 h 494537"/>
                <a:gd name="connsiteX40" fmla="*/ 336518 w 507206"/>
                <a:gd name="connsiteY40" fmla="*/ 439721 h 494537"/>
                <a:gd name="connsiteX41" fmla="*/ 324002 w 507206"/>
                <a:gd name="connsiteY41" fmla="*/ 440379 h 494537"/>
                <a:gd name="connsiteX42" fmla="*/ 322479 w 507206"/>
                <a:gd name="connsiteY42" fmla="*/ 431968 h 494537"/>
                <a:gd name="connsiteX43" fmla="*/ 313258 w 507206"/>
                <a:gd name="connsiteY43" fmla="*/ 431292 h 494537"/>
                <a:gd name="connsiteX44" fmla="*/ 301094 w 507206"/>
                <a:gd name="connsiteY44" fmla="*/ 429701 h 494537"/>
                <a:gd name="connsiteX45" fmla="*/ 284559 w 507206"/>
                <a:gd name="connsiteY45" fmla="*/ 433749 h 494537"/>
                <a:gd name="connsiteX46" fmla="*/ 272948 w 507206"/>
                <a:gd name="connsiteY46" fmla="*/ 433083 h 494537"/>
                <a:gd name="connsiteX47" fmla="*/ 266338 w 507206"/>
                <a:gd name="connsiteY47" fmla="*/ 435559 h 494537"/>
                <a:gd name="connsiteX48" fmla="*/ 267767 w 507206"/>
                <a:gd name="connsiteY48" fmla="*/ 403450 h 494537"/>
                <a:gd name="connsiteX49" fmla="*/ 258861 w 507206"/>
                <a:gd name="connsiteY49" fmla="*/ 393459 h 494537"/>
                <a:gd name="connsiteX50" fmla="*/ 256899 w 507206"/>
                <a:gd name="connsiteY50" fmla="*/ 376933 h 494537"/>
                <a:gd name="connsiteX51" fmla="*/ 260832 w 507206"/>
                <a:gd name="connsiteY51" fmla="*/ 360759 h 494537"/>
                <a:gd name="connsiteX52" fmla="*/ 255422 w 507206"/>
                <a:gd name="connsiteY52" fmla="*/ 350415 h 494537"/>
                <a:gd name="connsiteX53" fmla="*/ 254927 w 507206"/>
                <a:gd name="connsiteY53" fmla="*/ 333575 h 494537"/>
                <a:gd name="connsiteX54" fmla="*/ 222523 w 507206"/>
                <a:gd name="connsiteY54" fmla="*/ 333803 h 494537"/>
                <a:gd name="connsiteX55" fmla="*/ 224857 w 507206"/>
                <a:gd name="connsiteY55" fmla="*/ 324174 h 494537"/>
                <a:gd name="connsiteX56" fmla="*/ 211226 w 507206"/>
                <a:gd name="connsiteY56" fmla="*/ 324278 h 494537"/>
                <a:gd name="connsiteX57" fmla="*/ 209788 w 507206"/>
                <a:gd name="connsiteY57" fmla="*/ 328908 h 494537"/>
                <a:gd name="connsiteX58" fmla="*/ 193224 w 507206"/>
                <a:gd name="connsiteY58" fmla="*/ 329946 h 494537"/>
                <a:gd name="connsiteX59" fmla="*/ 186518 w 507206"/>
                <a:gd name="connsiteY59" fmla="*/ 345538 h 494537"/>
                <a:gd name="connsiteX60" fmla="*/ 182518 w 507206"/>
                <a:gd name="connsiteY60" fmla="*/ 352244 h 494537"/>
                <a:gd name="connsiteX61" fmla="*/ 167764 w 507206"/>
                <a:gd name="connsiteY61" fmla="*/ 348462 h 494537"/>
                <a:gd name="connsiteX62" fmla="*/ 158953 w 507206"/>
                <a:gd name="connsiteY62" fmla="*/ 352225 h 494537"/>
                <a:gd name="connsiteX63" fmla="*/ 141294 w 507206"/>
                <a:gd name="connsiteY63" fmla="*/ 354397 h 494537"/>
                <a:gd name="connsiteX64" fmla="*/ 131064 w 507206"/>
                <a:gd name="connsiteY64" fmla="*/ 340385 h 494537"/>
                <a:gd name="connsiteX65" fmla="*/ 124920 w 507206"/>
                <a:gd name="connsiteY65" fmla="*/ 331736 h 494537"/>
                <a:gd name="connsiteX66" fmla="*/ 117262 w 507206"/>
                <a:gd name="connsiteY66" fmla="*/ 315716 h 494537"/>
                <a:gd name="connsiteX67" fmla="*/ 110671 w 507206"/>
                <a:gd name="connsiteY67" fmla="*/ 295827 h 494537"/>
                <a:gd name="connsiteX68" fmla="*/ 31861 w 507206"/>
                <a:gd name="connsiteY68" fmla="*/ 295475 h 494537"/>
                <a:gd name="connsiteX69" fmla="*/ 22498 w 507206"/>
                <a:gd name="connsiteY69" fmla="*/ 298675 h 494537"/>
                <a:gd name="connsiteX70" fmla="*/ 14754 w 507206"/>
                <a:gd name="connsiteY70" fmla="*/ 298180 h 494537"/>
                <a:gd name="connsiteX71" fmla="*/ 3734 w 507206"/>
                <a:gd name="connsiteY71" fmla="*/ 301762 h 494537"/>
                <a:gd name="connsiteX72" fmla="*/ 0 w 507206"/>
                <a:gd name="connsiteY72" fmla="*/ 293494 h 494537"/>
                <a:gd name="connsiteX73" fmla="*/ 6791 w 507206"/>
                <a:gd name="connsiteY73" fmla="*/ 290674 h 494537"/>
                <a:gd name="connsiteX74" fmla="*/ 7620 w 507206"/>
                <a:gd name="connsiteY74" fmla="*/ 279054 h 494537"/>
                <a:gd name="connsiteX75" fmla="*/ 11992 w 507206"/>
                <a:gd name="connsiteY75" fmla="*/ 272205 h 494537"/>
                <a:gd name="connsiteX76" fmla="*/ 21707 w 507206"/>
                <a:gd name="connsiteY76" fmla="*/ 266614 h 494537"/>
                <a:gd name="connsiteX77" fmla="*/ 28727 w 507206"/>
                <a:gd name="connsiteY77" fmla="*/ 269319 h 494537"/>
                <a:gd name="connsiteX78" fmla="*/ 37862 w 507206"/>
                <a:gd name="connsiteY78" fmla="*/ 259137 h 494537"/>
                <a:gd name="connsiteX79" fmla="*/ 52407 w 507206"/>
                <a:gd name="connsiteY79" fmla="*/ 259394 h 494537"/>
                <a:gd name="connsiteX80" fmla="*/ 54121 w 507206"/>
                <a:gd name="connsiteY80" fmla="*/ 266928 h 494537"/>
                <a:gd name="connsiteX81" fmla="*/ 64103 w 507206"/>
                <a:gd name="connsiteY81" fmla="*/ 271643 h 494537"/>
                <a:gd name="connsiteX82" fmla="*/ 79810 w 507206"/>
                <a:gd name="connsiteY82" fmla="*/ 254965 h 494537"/>
                <a:gd name="connsiteX83" fmla="*/ 95374 w 507206"/>
                <a:gd name="connsiteY83" fmla="*/ 241973 h 494537"/>
                <a:gd name="connsiteX84" fmla="*/ 102118 w 507206"/>
                <a:gd name="connsiteY84" fmla="*/ 233467 h 494537"/>
                <a:gd name="connsiteX85" fmla="*/ 101222 w 507206"/>
                <a:gd name="connsiteY85" fmla="*/ 211607 h 494537"/>
                <a:gd name="connsiteX86" fmla="*/ 112823 w 507206"/>
                <a:gd name="connsiteY86" fmla="*/ 185814 h 494537"/>
                <a:gd name="connsiteX87" fmla="*/ 125063 w 507206"/>
                <a:gd name="connsiteY87" fmla="*/ 172145 h 494537"/>
                <a:gd name="connsiteX88" fmla="*/ 142647 w 507206"/>
                <a:gd name="connsiteY88" fmla="*/ 159363 h 494537"/>
                <a:gd name="connsiteX89" fmla="*/ 145713 w 507206"/>
                <a:gd name="connsiteY89" fmla="*/ 150895 h 494537"/>
                <a:gd name="connsiteX90" fmla="*/ 146380 w 507206"/>
                <a:gd name="connsiteY90" fmla="*/ 141170 h 494537"/>
                <a:gd name="connsiteX91" fmla="*/ 150733 w 507206"/>
                <a:gd name="connsiteY91" fmla="*/ 131969 h 494537"/>
                <a:gd name="connsiteX92" fmla="*/ 149333 w 507206"/>
                <a:gd name="connsiteY92" fmla="*/ 116929 h 494537"/>
                <a:gd name="connsiteX93" fmla="*/ 152657 w 507206"/>
                <a:gd name="connsiteY93" fmla="*/ 93411 h 494537"/>
                <a:gd name="connsiteX94" fmla="*/ 157886 w 507206"/>
                <a:gd name="connsiteY94" fmla="*/ 76848 h 494537"/>
                <a:gd name="connsiteX95" fmla="*/ 165878 w 507206"/>
                <a:gd name="connsiteY95" fmla="*/ 62655 h 494537"/>
                <a:gd name="connsiteX96" fmla="*/ 167468 w 507206"/>
                <a:gd name="connsiteY96" fmla="*/ 46606 h 494537"/>
                <a:gd name="connsiteX97" fmla="*/ 169869 w 507206"/>
                <a:gd name="connsiteY97" fmla="*/ 28060 h 494537"/>
                <a:gd name="connsiteX98" fmla="*/ 180261 w 507206"/>
                <a:gd name="connsiteY98" fmla="*/ 14554 h 494537"/>
                <a:gd name="connsiteX99" fmla="*/ 194567 w 507206"/>
                <a:gd name="connsiteY99" fmla="*/ 5982 h 494537"/>
                <a:gd name="connsiteX100" fmla="*/ 216541 w 507206"/>
                <a:gd name="connsiteY100" fmla="*/ 15030 h 494537"/>
                <a:gd name="connsiteX101" fmla="*/ 233553 w 507206"/>
                <a:gd name="connsiteY101" fmla="*/ 24841 h 494537"/>
                <a:gd name="connsiteX102" fmla="*/ 253089 w 507206"/>
                <a:gd name="connsiteY102" fmla="*/ 27461 h 494537"/>
                <a:gd name="connsiteX103" fmla="*/ 273015 w 507206"/>
                <a:gd name="connsiteY103" fmla="*/ 32651 h 494537"/>
                <a:gd name="connsiteX104" fmla="*/ 280997 w 507206"/>
                <a:gd name="connsiteY104" fmla="*/ 16583 h 494537"/>
                <a:gd name="connsiteX105" fmla="*/ 284664 w 507206"/>
                <a:gd name="connsiteY105" fmla="*/ 14535 h 494537"/>
                <a:gd name="connsiteX106" fmla="*/ 296837 w 507206"/>
                <a:gd name="connsiteY106" fmla="*/ 17211 h 494537"/>
                <a:gd name="connsiteX107" fmla="*/ 326564 w 507206"/>
                <a:gd name="connsiteY107" fmla="*/ 3924 h 494537"/>
                <a:gd name="connsiteX108" fmla="*/ 337109 w 507206"/>
                <a:gd name="connsiteY108" fmla="*/ 9553 h 494537"/>
                <a:gd name="connsiteX109" fmla="*/ 345748 w 507206"/>
                <a:gd name="connsiteY109" fmla="*/ 8753 h 494537"/>
                <a:gd name="connsiteX110" fmla="*/ 349758 w 507206"/>
                <a:gd name="connsiteY110" fmla="*/ 2276 h 494537"/>
                <a:gd name="connsiteX111" fmla="*/ 359683 w 507206"/>
                <a:gd name="connsiteY111" fmla="*/ 0 h 494537"/>
                <a:gd name="connsiteX112" fmla="*/ 379771 w 507206"/>
                <a:gd name="connsiteY112" fmla="*/ 2800 h 494537"/>
                <a:gd name="connsiteX113" fmla="*/ 396907 w 507206"/>
                <a:gd name="connsiteY113" fmla="*/ 3410 h 494537"/>
                <a:gd name="connsiteX114" fmla="*/ 405717 w 507206"/>
                <a:gd name="connsiteY114" fmla="*/ 590 h 494537"/>
                <a:gd name="connsiteX115" fmla="*/ 421900 w 507206"/>
                <a:gd name="connsiteY115" fmla="*/ 22565 h 494537"/>
                <a:gd name="connsiteX116" fmla="*/ 433892 w 507206"/>
                <a:gd name="connsiteY116" fmla="*/ 25793 h 494537"/>
                <a:gd name="connsiteX117" fmla="*/ 441036 w 507206"/>
                <a:gd name="connsiteY117" fmla="*/ 21326 h 494537"/>
                <a:gd name="connsiteX118" fmla="*/ 453390 w 507206"/>
                <a:gd name="connsiteY118" fmla="*/ 23070 h 494537"/>
                <a:gd name="connsiteX119" fmla="*/ 468259 w 507206"/>
                <a:gd name="connsiteY119" fmla="*/ 17450 h 494537"/>
                <a:gd name="connsiteX120" fmla="*/ 474602 w 507206"/>
                <a:gd name="connsiteY120" fmla="*/ 28803 h 49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507206" h="494537">
                  <a:moveTo>
                    <a:pt x="498119" y="46472"/>
                  </a:moveTo>
                  <a:lnTo>
                    <a:pt x="496500" y="77543"/>
                  </a:lnTo>
                  <a:lnTo>
                    <a:pt x="507206" y="81134"/>
                  </a:lnTo>
                  <a:lnTo>
                    <a:pt x="498614" y="90554"/>
                  </a:lnTo>
                  <a:lnTo>
                    <a:pt x="488356" y="97612"/>
                  </a:lnTo>
                  <a:lnTo>
                    <a:pt x="478145" y="111442"/>
                  </a:lnTo>
                  <a:lnTo>
                    <a:pt x="472535" y="123777"/>
                  </a:lnTo>
                  <a:lnTo>
                    <a:pt x="471021" y="145075"/>
                  </a:lnTo>
                  <a:lnTo>
                    <a:pt x="464839" y="155210"/>
                  </a:lnTo>
                  <a:lnTo>
                    <a:pt x="464611" y="175212"/>
                  </a:lnTo>
                  <a:lnTo>
                    <a:pt x="456933" y="182613"/>
                  </a:lnTo>
                  <a:lnTo>
                    <a:pt x="455943" y="198406"/>
                  </a:lnTo>
                  <a:lnTo>
                    <a:pt x="452275" y="200453"/>
                  </a:lnTo>
                  <a:lnTo>
                    <a:pt x="449809" y="214979"/>
                  </a:lnTo>
                  <a:lnTo>
                    <a:pt x="456524" y="227057"/>
                  </a:lnTo>
                  <a:lnTo>
                    <a:pt x="458219" y="259128"/>
                  </a:lnTo>
                  <a:lnTo>
                    <a:pt x="463019" y="283626"/>
                  </a:lnTo>
                  <a:lnTo>
                    <a:pt x="460353" y="297485"/>
                  </a:lnTo>
                  <a:lnTo>
                    <a:pt x="465696" y="312972"/>
                  </a:lnTo>
                  <a:lnTo>
                    <a:pt x="481184" y="327927"/>
                  </a:lnTo>
                  <a:lnTo>
                    <a:pt x="495605" y="361664"/>
                  </a:lnTo>
                  <a:lnTo>
                    <a:pt x="485089" y="358940"/>
                  </a:lnTo>
                  <a:lnTo>
                    <a:pt x="449218" y="363464"/>
                  </a:lnTo>
                  <a:lnTo>
                    <a:pt x="442055" y="366674"/>
                  </a:lnTo>
                  <a:lnTo>
                    <a:pt x="434444" y="383810"/>
                  </a:lnTo>
                  <a:lnTo>
                    <a:pt x="440427" y="395678"/>
                  </a:lnTo>
                  <a:lnTo>
                    <a:pt x="435683" y="427596"/>
                  </a:lnTo>
                  <a:lnTo>
                    <a:pt x="432378" y="454752"/>
                  </a:lnTo>
                  <a:lnTo>
                    <a:pt x="439588" y="459581"/>
                  </a:lnTo>
                  <a:lnTo>
                    <a:pt x="458257" y="470135"/>
                  </a:lnTo>
                  <a:lnTo>
                    <a:pt x="465591" y="465201"/>
                  </a:lnTo>
                  <a:lnTo>
                    <a:pt x="467820" y="494538"/>
                  </a:lnTo>
                  <a:lnTo>
                    <a:pt x="447380" y="494309"/>
                  </a:lnTo>
                  <a:lnTo>
                    <a:pt x="436416" y="479327"/>
                  </a:lnTo>
                  <a:lnTo>
                    <a:pt x="426577" y="467744"/>
                  </a:lnTo>
                  <a:lnTo>
                    <a:pt x="406108" y="463953"/>
                  </a:lnTo>
                  <a:lnTo>
                    <a:pt x="400117" y="449742"/>
                  </a:lnTo>
                  <a:lnTo>
                    <a:pt x="383791" y="458295"/>
                  </a:lnTo>
                  <a:lnTo>
                    <a:pt x="362398" y="454514"/>
                  </a:lnTo>
                  <a:lnTo>
                    <a:pt x="353473" y="442217"/>
                  </a:lnTo>
                  <a:lnTo>
                    <a:pt x="336518" y="439721"/>
                  </a:lnTo>
                  <a:lnTo>
                    <a:pt x="324002" y="440379"/>
                  </a:lnTo>
                  <a:lnTo>
                    <a:pt x="322479" y="431968"/>
                  </a:lnTo>
                  <a:lnTo>
                    <a:pt x="313258" y="431292"/>
                  </a:lnTo>
                  <a:lnTo>
                    <a:pt x="301094" y="429701"/>
                  </a:lnTo>
                  <a:lnTo>
                    <a:pt x="284559" y="433749"/>
                  </a:lnTo>
                  <a:lnTo>
                    <a:pt x="272948" y="433083"/>
                  </a:lnTo>
                  <a:lnTo>
                    <a:pt x="266338" y="435559"/>
                  </a:lnTo>
                  <a:lnTo>
                    <a:pt x="267767" y="403450"/>
                  </a:lnTo>
                  <a:lnTo>
                    <a:pt x="258861" y="393459"/>
                  </a:lnTo>
                  <a:lnTo>
                    <a:pt x="256899" y="376933"/>
                  </a:lnTo>
                  <a:lnTo>
                    <a:pt x="260832" y="360759"/>
                  </a:lnTo>
                  <a:lnTo>
                    <a:pt x="255422" y="350415"/>
                  </a:lnTo>
                  <a:lnTo>
                    <a:pt x="254927" y="333575"/>
                  </a:lnTo>
                  <a:lnTo>
                    <a:pt x="222523" y="333803"/>
                  </a:lnTo>
                  <a:lnTo>
                    <a:pt x="224857" y="324174"/>
                  </a:lnTo>
                  <a:lnTo>
                    <a:pt x="211226" y="324278"/>
                  </a:lnTo>
                  <a:lnTo>
                    <a:pt x="209788" y="328908"/>
                  </a:lnTo>
                  <a:lnTo>
                    <a:pt x="193224" y="329946"/>
                  </a:lnTo>
                  <a:lnTo>
                    <a:pt x="186518" y="345538"/>
                  </a:lnTo>
                  <a:lnTo>
                    <a:pt x="182518" y="352244"/>
                  </a:lnTo>
                  <a:lnTo>
                    <a:pt x="167764" y="348462"/>
                  </a:lnTo>
                  <a:lnTo>
                    <a:pt x="158953" y="352225"/>
                  </a:lnTo>
                  <a:lnTo>
                    <a:pt x="141294" y="354397"/>
                  </a:lnTo>
                  <a:lnTo>
                    <a:pt x="131064" y="340385"/>
                  </a:lnTo>
                  <a:lnTo>
                    <a:pt x="124920" y="331736"/>
                  </a:lnTo>
                  <a:lnTo>
                    <a:pt x="117262" y="315716"/>
                  </a:lnTo>
                  <a:lnTo>
                    <a:pt x="110671" y="295827"/>
                  </a:lnTo>
                  <a:lnTo>
                    <a:pt x="31861" y="295475"/>
                  </a:lnTo>
                  <a:lnTo>
                    <a:pt x="22498" y="298675"/>
                  </a:lnTo>
                  <a:lnTo>
                    <a:pt x="14754" y="298180"/>
                  </a:lnTo>
                  <a:lnTo>
                    <a:pt x="3734" y="301762"/>
                  </a:lnTo>
                  <a:lnTo>
                    <a:pt x="0" y="293494"/>
                  </a:lnTo>
                  <a:lnTo>
                    <a:pt x="6791" y="290674"/>
                  </a:lnTo>
                  <a:lnTo>
                    <a:pt x="7620" y="279054"/>
                  </a:lnTo>
                  <a:lnTo>
                    <a:pt x="11992" y="272205"/>
                  </a:lnTo>
                  <a:lnTo>
                    <a:pt x="21707" y="266614"/>
                  </a:lnTo>
                  <a:lnTo>
                    <a:pt x="28727" y="269319"/>
                  </a:lnTo>
                  <a:lnTo>
                    <a:pt x="37862" y="259137"/>
                  </a:lnTo>
                  <a:lnTo>
                    <a:pt x="52407" y="259394"/>
                  </a:lnTo>
                  <a:lnTo>
                    <a:pt x="54121" y="266928"/>
                  </a:lnTo>
                  <a:lnTo>
                    <a:pt x="64103" y="271643"/>
                  </a:lnTo>
                  <a:lnTo>
                    <a:pt x="79810" y="254965"/>
                  </a:lnTo>
                  <a:lnTo>
                    <a:pt x="95374" y="241973"/>
                  </a:lnTo>
                  <a:lnTo>
                    <a:pt x="102118" y="233467"/>
                  </a:lnTo>
                  <a:lnTo>
                    <a:pt x="101222" y="211607"/>
                  </a:lnTo>
                  <a:lnTo>
                    <a:pt x="112823" y="185814"/>
                  </a:lnTo>
                  <a:lnTo>
                    <a:pt x="125063" y="172145"/>
                  </a:lnTo>
                  <a:lnTo>
                    <a:pt x="142647" y="159363"/>
                  </a:lnTo>
                  <a:lnTo>
                    <a:pt x="145713" y="150895"/>
                  </a:lnTo>
                  <a:lnTo>
                    <a:pt x="146380" y="141170"/>
                  </a:lnTo>
                  <a:lnTo>
                    <a:pt x="150733" y="131969"/>
                  </a:lnTo>
                  <a:lnTo>
                    <a:pt x="149333" y="116929"/>
                  </a:lnTo>
                  <a:lnTo>
                    <a:pt x="152657" y="93411"/>
                  </a:lnTo>
                  <a:lnTo>
                    <a:pt x="157886" y="76848"/>
                  </a:lnTo>
                  <a:lnTo>
                    <a:pt x="165878" y="62655"/>
                  </a:lnTo>
                  <a:lnTo>
                    <a:pt x="167468" y="46606"/>
                  </a:lnTo>
                  <a:lnTo>
                    <a:pt x="169869" y="28060"/>
                  </a:lnTo>
                  <a:lnTo>
                    <a:pt x="180261" y="14554"/>
                  </a:lnTo>
                  <a:lnTo>
                    <a:pt x="194567" y="5982"/>
                  </a:lnTo>
                  <a:lnTo>
                    <a:pt x="216541" y="15030"/>
                  </a:lnTo>
                  <a:lnTo>
                    <a:pt x="233553" y="24841"/>
                  </a:lnTo>
                  <a:lnTo>
                    <a:pt x="253089" y="27461"/>
                  </a:lnTo>
                  <a:lnTo>
                    <a:pt x="273015" y="32651"/>
                  </a:lnTo>
                  <a:lnTo>
                    <a:pt x="280997" y="16583"/>
                  </a:lnTo>
                  <a:lnTo>
                    <a:pt x="284664" y="14535"/>
                  </a:lnTo>
                  <a:lnTo>
                    <a:pt x="296837" y="17211"/>
                  </a:lnTo>
                  <a:lnTo>
                    <a:pt x="326564" y="3924"/>
                  </a:lnTo>
                  <a:lnTo>
                    <a:pt x="337109" y="9553"/>
                  </a:lnTo>
                  <a:lnTo>
                    <a:pt x="345748" y="8753"/>
                  </a:lnTo>
                  <a:lnTo>
                    <a:pt x="349758" y="2276"/>
                  </a:lnTo>
                  <a:lnTo>
                    <a:pt x="359683" y="0"/>
                  </a:lnTo>
                  <a:lnTo>
                    <a:pt x="379771" y="2800"/>
                  </a:lnTo>
                  <a:lnTo>
                    <a:pt x="396907" y="3410"/>
                  </a:lnTo>
                  <a:lnTo>
                    <a:pt x="405717" y="590"/>
                  </a:lnTo>
                  <a:lnTo>
                    <a:pt x="421900" y="22565"/>
                  </a:lnTo>
                  <a:lnTo>
                    <a:pt x="433892" y="25793"/>
                  </a:lnTo>
                  <a:lnTo>
                    <a:pt x="441036" y="21326"/>
                  </a:lnTo>
                  <a:lnTo>
                    <a:pt x="453390" y="23070"/>
                  </a:lnTo>
                  <a:lnTo>
                    <a:pt x="468259" y="17450"/>
                  </a:lnTo>
                  <a:lnTo>
                    <a:pt x="474602" y="288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9" name="Forme libre : forme 5678">
              <a:extLst>
                <a:ext uri="{FF2B5EF4-FFF2-40B4-BE49-F238E27FC236}">
                  <a16:creationId xmlns:a16="http://schemas.microsoft.com/office/drawing/2014/main" id="{B084C88C-92D2-A450-1637-B9F7357329A4}"/>
                </a:ext>
              </a:extLst>
            </p:cNvPr>
            <p:cNvSpPr/>
            <p:nvPr/>
          </p:nvSpPr>
          <p:spPr>
            <a:xfrm>
              <a:off x="6207061" y="4445159"/>
              <a:ext cx="344909" cy="237324"/>
            </a:xfrm>
            <a:custGeom>
              <a:avLst/>
              <a:gdLst>
                <a:gd name="connsiteX0" fmla="*/ 21898 w 344909"/>
                <a:gd name="connsiteY0" fmla="*/ 100051 h 237324"/>
                <a:gd name="connsiteX1" fmla="*/ 43987 w 344909"/>
                <a:gd name="connsiteY1" fmla="*/ 98031 h 237324"/>
                <a:gd name="connsiteX2" fmla="*/ 48902 w 344909"/>
                <a:gd name="connsiteY2" fmla="*/ 91154 h 237324"/>
                <a:gd name="connsiteX3" fmla="*/ 53330 w 344909"/>
                <a:gd name="connsiteY3" fmla="*/ 91669 h 237324"/>
                <a:gd name="connsiteX4" fmla="*/ 59998 w 344909"/>
                <a:gd name="connsiteY4" fmla="*/ 97736 h 237324"/>
                <a:gd name="connsiteX5" fmla="*/ 93622 w 344909"/>
                <a:gd name="connsiteY5" fmla="*/ 87487 h 237324"/>
                <a:gd name="connsiteX6" fmla="*/ 104956 w 344909"/>
                <a:gd name="connsiteY6" fmla="*/ 77029 h 237324"/>
                <a:gd name="connsiteX7" fmla="*/ 118891 w 344909"/>
                <a:gd name="connsiteY7" fmla="*/ 67656 h 237324"/>
                <a:gd name="connsiteX8" fmla="*/ 116243 w 344909"/>
                <a:gd name="connsiteY8" fmla="*/ 58207 h 237324"/>
                <a:gd name="connsiteX9" fmla="*/ 123777 w 344909"/>
                <a:gd name="connsiteY9" fmla="*/ 55731 h 237324"/>
                <a:gd name="connsiteX10" fmla="*/ 149571 w 344909"/>
                <a:gd name="connsiteY10" fmla="*/ 57407 h 237324"/>
                <a:gd name="connsiteX11" fmla="*/ 174698 w 344909"/>
                <a:gd name="connsiteY11" fmla="*/ 44948 h 237324"/>
                <a:gd name="connsiteX12" fmla="*/ 194006 w 344909"/>
                <a:gd name="connsiteY12" fmla="*/ 15554 h 237324"/>
                <a:gd name="connsiteX13" fmla="*/ 207559 w 344909"/>
                <a:gd name="connsiteY13" fmla="*/ 4619 h 237324"/>
                <a:gd name="connsiteX14" fmla="*/ 224467 w 344909"/>
                <a:gd name="connsiteY14" fmla="*/ 0 h 237324"/>
                <a:gd name="connsiteX15" fmla="*/ 227495 w 344909"/>
                <a:gd name="connsiteY15" fmla="*/ 11573 h 237324"/>
                <a:gd name="connsiteX16" fmla="*/ 242897 w 344909"/>
                <a:gd name="connsiteY16" fmla="*/ 28442 h 237324"/>
                <a:gd name="connsiteX17" fmla="*/ 242974 w 344909"/>
                <a:gd name="connsiteY17" fmla="*/ 39424 h 237324"/>
                <a:gd name="connsiteX18" fmla="*/ 238640 w 344909"/>
                <a:gd name="connsiteY18" fmla="*/ 50616 h 237324"/>
                <a:gd name="connsiteX19" fmla="*/ 240345 w 344909"/>
                <a:gd name="connsiteY19" fmla="*/ 58969 h 237324"/>
                <a:gd name="connsiteX20" fmla="*/ 249612 w 344909"/>
                <a:gd name="connsiteY20" fmla="*/ 66703 h 237324"/>
                <a:gd name="connsiteX21" fmla="*/ 269948 w 344909"/>
                <a:gd name="connsiteY21" fmla="*/ 78429 h 237324"/>
                <a:gd name="connsiteX22" fmla="*/ 284569 w 344909"/>
                <a:gd name="connsiteY22" fmla="*/ 89249 h 237324"/>
                <a:gd name="connsiteX23" fmla="*/ 284817 w 344909"/>
                <a:gd name="connsiteY23" fmla="*/ 97955 h 237324"/>
                <a:gd name="connsiteX24" fmla="*/ 302781 w 344909"/>
                <a:gd name="connsiteY24" fmla="*/ 111881 h 237324"/>
                <a:gd name="connsiteX25" fmla="*/ 313906 w 344909"/>
                <a:gd name="connsiteY25" fmla="*/ 123444 h 237324"/>
                <a:gd name="connsiteX26" fmla="*/ 320650 w 344909"/>
                <a:gd name="connsiteY26" fmla="*/ 139455 h 237324"/>
                <a:gd name="connsiteX27" fmla="*/ 340614 w 344909"/>
                <a:gd name="connsiteY27" fmla="*/ 150009 h 237324"/>
                <a:gd name="connsiteX28" fmla="*/ 344910 w 344909"/>
                <a:gd name="connsiteY28" fmla="*/ 158458 h 237324"/>
                <a:gd name="connsiteX29" fmla="*/ 336099 w 344909"/>
                <a:gd name="connsiteY29" fmla="*/ 161277 h 237324"/>
                <a:gd name="connsiteX30" fmla="*/ 318964 w 344909"/>
                <a:gd name="connsiteY30" fmla="*/ 160668 h 237324"/>
                <a:gd name="connsiteX31" fmla="*/ 298875 w 344909"/>
                <a:gd name="connsiteY31" fmla="*/ 157867 h 237324"/>
                <a:gd name="connsiteX32" fmla="*/ 288950 w 344909"/>
                <a:gd name="connsiteY32" fmla="*/ 160144 h 237324"/>
                <a:gd name="connsiteX33" fmla="*/ 284941 w 344909"/>
                <a:gd name="connsiteY33" fmla="*/ 166621 h 237324"/>
                <a:gd name="connsiteX34" fmla="*/ 276301 w 344909"/>
                <a:gd name="connsiteY34" fmla="*/ 167421 h 237324"/>
                <a:gd name="connsiteX35" fmla="*/ 265757 w 344909"/>
                <a:gd name="connsiteY35" fmla="*/ 161792 h 237324"/>
                <a:gd name="connsiteX36" fmla="*/ 236030 w 344909"/>
                <a:gd name="connsiteY36" fmla="*/ 175079 h 237324"/>
                <a:gd name="connsiteX37" fmla="*/ 223857 w 344909"/>
                <a:gd name="connsiteY37" fmla="*/ 172403 h 237324"/>
                <a:gd name="connsiteX38" fmla="*/ 220189 w 344909"/>
                <a:gd name="connsiteY38" fmla="*/ 174450 h 237324"/>
                <a:gd name="connsiteX39" fmla="*/ 212207 w 344909"/>
                <a:gd name="connsiteY39" fmla="*/ 190519 h 237324"/>
                <a:gd name="connsiteX40" fmla="*/ 192281 w 344909"/>
                <a:gd name="connsiteY40" fmla="*/ 185328 h 237324"/>
                <a:gd name="connsiteX41" fmla="*/ 172746 w 344909"/>
                <a:gd name="connsiteY41" fmla="*/ 182709 h 237324"/>
                <a:gd name="connsiteX42" fmla="*/ 155734 w 344909"/>
                <a:gd name="connsiteY42" fmla="*/ 172898 h 237324"/>
                <a:gd name="connsiteX43" fmla="*/ 133760 w 344909"/>
                <a:gd name="connsiteY43" fmla="*/ 163849 h 237324"/>
                <a:gd name="connsiteX44" fmla="*/ 119453 w 344909"/>
                <a:gd name="connsiteY44" fmla="*/ 172421 h 237324"/>
                <a:gd name="connsiteX45" fmla="*/ 109061 w 344909"/>
                <a:gd name="connsiteY45" fmla="*/ 185928 h 237324"/>
                <a:gd name="connsiteX46" fmla="*/ 106661 w 344909"/>
                <a:gd name="connsiteY46" fmla="*/ 204473 h 237324"/>
                <a:gd name="connsiteX47" fmla="*/ 89478 w 344909"/>
                <a:gd name="connsiteY47" fmla="*/ 202987 h 237324"/>
                <a:gd name="connsiteX48" fmla="*/ 71409 w 344909"/>
                <a:gd name="connsiteY48" fmla="*/ 198520 h 237324"/>
                <a:gd name="connsiteX49" fmla="*/ 55493 w 344909"/>
                <a:gd name="connsiteY49" fmla="*/ 212607 h 237324"/>
                <a:gd name="connsiteX50" fmla="*/ 41482 w 344909"/>
                <a:gd name="connsiteY50" fmla="*/ 237325 h 237324"/>
                <a:gd name="connsiteX51" fmla="*/ 38671 w 344909"/>
                <a:gd name="connsiteY51" fmla="*/ 229629 h 237324"/>
                <a:gd name="connsiteX52" fmla="*/ 37472 w 344909"/>
                <a:gd name="connsiteY52" fmla="*/ 217513 h 237324"/>
                <a:gd name="connsiteX53" fmla="*/ 25261 w 344909"/>
                <a:gd name="connsiteY53" fmla="*/ 208969 h 237324"/>
                <a:gd name="connsiteX54" fmla="*/ 15402 w 344909"/>
                <a:gd name="connsiteY54" fmla="*/ 195243 h 237324"/>
                <a:gd name="connsiteX55" fmla="*/ 13125 w 344909"/>
                <a:gd name="connsiteY55" fmla="*/ 185699 h 237324"/>
                <a:gd name="connsiteX56" fmla="*/ 505 w 344909"/>
                <a:gd name="connsiteY56" fmla="*/ 171802 h 237324"/>
                <a:gd name="connsiteX57" fmla="*/ 2657 w 344909"/>
                <a:gd name="connsiteY57" fmla="*/ 163868 h 237324"/>
                <a:gd name="connsiteX58" fmla="*/ 0 w 344909"/>
                <a:gd name="connsiteY58" fmla="*/ 152648 h 237324"/>
                <a:gd name="connsiteX59" fmla="*/ 2057 w 344909"/>
                <a:gd name="connsiteY59" fmla="*/ 131978 h 237324"/>
                <a:gd name="connsiteX60" fmla="*/ 8468 w 344909"/>
                <a:gd name="connsiteY60" fmla="*/ 127130 h 237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344909" h="237324">
                  <a:moveTo>
                    <a:pt x="21898" y="100051"/>
                  </a:moveTo>
                  <a:lnTo>
                    <a:pt x="43987" y="98031"/>
                  </a:lnTo>
                  <a:lnTo>
                    <a:pt x="48902" y="91154"/>
                  </a:lnTo>
                  <a:lnTo>
                    <a:pt x="53330" y="91669"/>
                  </a:lnTo>
                  <a:lnTo>
                    <a:pt x="59998" y="97736"/>
                  </a:lnTo>
                  <a:lnTo>
                    <a:pt x="93622" y="87487"/>
                  </a:lnTo>
                  <a:lnTo>
                    <a:pt x="104956" y="77029"/>
                  </a:lnTo>
                  <a:lnTo>
                    <a:pt x="118891" y="67656"/>
                  </a:lnTo>
                  <a:lnTo>
                    <a:pt x="116243" y="58207"/>
                  </a:lnTo>
                  <a:lnTo>
                    <a:pt x="123777" y="55731"/>
                  </a:lnTo>
                  <a:lnTo>
                    <a:pt x="149571" y="57407"/>
                  </a:lnTo>
                  <a:lnTo>
                    <a:pt x="174698" y="44948"/>
                  </a:lnTo>
                  <a:lnTo>
                    <a:pt x="194006" y="15554"/>
                  </a:lnTo>
                  <a:lnTo>
                    <a:pt x="207559" y="4619"/>
                  </a:lnTo>
                  <a:lnTo>
                    <a:pt x="224467" y="0"/>
                  </a:lnTo>
                  <a:lnTo>
                    <a:pt x="227495" y="11573"/>
                  </a:lnTo>
                  <a:lnTo>
                    <a:pt x="242897" y="28442"/>
                  </a:lnTo>
                  <a:lnTo>
                    <a:pt x="242974" y="39424"/>
                  </a:lnTo>
                  <a:lnTo>
                    <a:pt x="238640" y="50616"/>
                  </a:lnTo>
                  <a:lnTo>
                    <a:pt x="240345" y="58969"/>
                  </a:lnTo>
                  <a:lnTo>
                    <a:pt x="249612" y="66703"/>
                  </a:lnTo>
                  <a:lnTo>
                    <a:pt x="269948" y="78429"/>
                  </a:lnTo>
                  <a:lnTo>
                    <a:pt x="284569" y="89249"/>
                  </a:lnTo>
                  <a:lnTo>
                    <a:pt x="284817" y="97955"/>
                  </a:lnTo>
                  <a:lnTo>
                    <a:pt x="302781" y="111881"/>
                  </a:lnTo>
                  <a:lnTo>
                    <a:pt x="313906" y="123444"/>
                  </a:lnTo>
                  <a:lnTo>
                    <a:pt x="320650" y="139455"/>
                  </a:lnTo>
                  <a:lnTo>
                    <a:pt x="340614" y="150009"/>
                  </a:lnTo>
                  <a:lnTo>
                    <a:pt x="344910" y="158458"/>
                  </a:lnTo>
                  <a:lnTo>
                    <a:pt x="336099" y="161277"/>
                  </a:lnTo>
                  <a:lnTo>
                    <a:pt x="318964" y="160668"/>
                  </a:lnTo>
                  <a:lnTo>
                    <a:pt x="298875" y="157867"/>
                  </a:lnTo>
                  <a:lnTo>
                    <a:pt x="288950" y="160144"/>
                  </a:lnTo>
                  <a:lnTo>
                    <a:pt x="284941" y="166621"/>
                  </a:lnTo>
                  <a:lnTo>
                    <a:pt x="276301" y="167421"/>
                  </a:lnTo>
                  <a:lnTo>
                    <a:pt x="265757" y="161792"/>
                  </a:lnTo>
                  <a:lnTo>
                    <a:pt x="236030" y="175079"/>
                  </a:lnTo>
                  <a:lnTo>
                    <a:pt x="223857" y="172403"/>
                  </a:lnTo>
                  <a:lnTo>
                    <a:pt x="220189" y="174450"/>
                  </a:lnTo>
                  <a:lnTo>
                    <a:pt x="212207" y="190519"/>
                  </a:lnTo>
                  <a:lnTo>
                    <a:pt x="192281" y="185328"/>
                  </a:lnTo>
                  <a:lnTo>
                    <a:pt x="172746" y="182709"/>
                  </a:lnTo>
                  <a:lnTo>
                    <a:pt x="155734" y="172898"/>
                  </a:lnTo>
                  <a:lnTo>
                    <a:pt x="133760" y="163849"/>
                  </a:lnTo>
                  <a:lnTo>
                    <a:pt x="119453" y="172421"/>
                  </a:lnTo>
                  <a:lnTo>
                    <a:pt x="109061" y="185928"/>
                  </a:lnTo>
                  <a:lnTo>
                    <a:pt x="106661" y="204473"/>
                  </a:lnTo>
                  <a:lnTo>
                    <a:pt x="89478" y="202987"/>
                  </a:lnTo>
                  <a:lnTo>
                    <a:pt x="71409" y="198520"/>
                  </a:lnTo>
                  <a:lnTo>
                    <a:pt x="55493" y="212607"/>
                  </a:lnTo>
                  <a:lnTo>
                    <a:pt x="41482" y="237325"/>
                  </a:lnTo>
                  <a:lnTo>
                    <a:pt x="38671" y="229629"/>
                  </a:lnTo>
                  <a:lnTo>
                    <a:pt x="37472" y="217513"/>
                  </a:lnTo>
                  <a:lnTo>
                    <a:pt x="25261" y="208969"/>
                  </a:lnTo>
                  <a:lnTo>
                    <a:pt x="15402" y="195243"/>
                  </a:lnTo>
                  <a:lnTo>
                    <a:pt x="13125" y="185699"/>
                  </a:lnTo>
                  <a:lnTo>
                    <a:pt x="505" y="171802"/>
                  </a:lnTo>
                  <a:lnTo>
                    <a:pt x="2657" y="163868"/>
                  </a:lnTo>
                  <a:lnTo>
                    <a:pt x="0" y="152648"/>
                  </a:lnTo>
                  <a:lnTo>
                    <a:pt x="2057" y="131978"/>
                  </a:lnTo>
                  <a:lnTo>
                    <a:pt x="8468" y="12713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60" name="Forme libre : forme 5679">
              <a:extLst>
                <a:ext uri="{FF2B5EF4-FFF2-40B4-BE49-F238E27FC236}">
                  <a16:creationId xmlns:a16="http://schemas.microsoft.com/office/drawing/2014/main" id="{1110DE9F-EC73-5565-ED4E-E1D5AD443FD3}"/>
                </a:ext>
              </a:extLst>
            </p:cNvPr>
            <p:cNvSpPr/>
            <p:nvPr/>
          </p:nvSpPr>
          <p:spPr>
            <a:xfrm>
              <a:off x="6117173" y="4643679"/>
              <a:ext cx="196548" cy="232800"/>
            </a:xfrm>
            <a:custGeom>
              <a:avLst/>
              <a:gdLst>
                <a:gd name="connsiteX0" fmla="*/ 50787 w 196548"/>
                <a:gd name="connsiteY0" fmla="*/ 225962 h 232800"/>
                <a:gd name="connsiteX1" fmla="*/ 40786 w 196548"/>
                <a:gd name="connsiteY1" fmla="*/ 216827 h 232800"/>
                <a:gd name="connsiteX2" fmla="*/ 32709 w 196548"/>
                <a:gd name="connsiteY2" fmla="*/ 221304 h 232800"/>
                <a:gd name="connsiteX3" fmla="*/ 21936 w 196548"/>
                <a:gd name="connsiteY3" fmla="*/ 232801 h 232800"/>
                <a:gd name="connsiteX4" fmla="*/ 0 w 196548"/>
                <a:gd name="connsiteY4" fmla="*/ 204616 h 232800"/>
                <a:gd name="connsiteX5" fmla="*/ 20336 w 196548"/>
                <a:gd name="connsiteY5" fmla="*/ 189938 h 232800"/>
                <a:gd name="connsiteX6" fmla="*/ 10268 w 196548"/>
                <a:gd name="connsiteY6" fmla="*/ 172374 h 232800"/>
                <a:gd name="connsiteX7" fmla="*/ 19421 w 196548"/>
                <a:gd name="connsiteY7" fmla="*/ 165697 h 232800"/>
                <a:gd name="connsiteX8" fmla="*/ 37443 w 196548"/>
                <a:gd name="connsiteY8" fmla="*/ 162440 h 232800"/>
                <a:gd name="connsiteX9" fmla="*/ 39567 w 196548"/>
                <a:gd name="connsiteY9" fmla="*/ 150676 h 232800"/>
                <a:gd name="connsiteX10" fmla="*/ 53835 w 196548"/>
                <a:gd name="connsiteY10" fmla="*/ 163421 h 232800"/>
                <a:gd name="connsiteX11" fmla="*/ 77410 w 196548"/>
                <a:gd name="connsiteY11" fmla="*/ 164545 h 232800"/>
                <a:gd name="connsiteX12" fmla="*/ 85611 w 196548"/>
                <a:gd name="connsiteY12" fmla="*/ 152000 h 232800"/>
                <a:gd name="connsiteX13" fmla="*/ 88983 w 196548"/>
                <a:gd name="connsiteY13" fmla="*/ 134350 h 232800"/>
                <a:gd name="connsiteX14" fmla="*/ 86068 w 196548"/>
                <a:gd name="connsiteY14" fmla="*/ 113633 h 232800"/>
                <a:gd name="connsiteX15" fmla="*/ 73428 w 196548"/>
                <a:gd name="connsiteY15" fmla="*/ 97946 h 232800"/>
                <a:gd name="connsiteX16" fmla="*/ 84992 w 196548"/>
                <a:gd name="connsiteY16" fmla="*/ 67218 h 232800"/>
                <a:gd name="connsiteX17" fmla="*/ 78333 w 196548"/>
                <a:gd name="connsiteY17" fmla="*/ 61951 h 232800"/>
                <a:gd name="connsiteX18" fmla="*/ 58464 w 196548"/>
                <a:gd name="connsiteY18" fmla="*/ 64113 h 232800"/>
                <a:gd name="connsiteX19" fmla="*/ 50997 w 196548"/>
                <a:gd name="connsiteY19" fmla="*/ 50397 h 232800"/>
                <a:gd name="connsiteX20" fmla="*/ 52940 w 196548"/>
                <a:gd name="connsiteY20" fmla="*/ 38814 h 232800"/>
                <a:gd name="connsiteX21" fmla="*/ 86639 w 196548"/>
                <a:gd name="connsiteY21" fmla="*/ 39862 h 232800"/>
                <a:gd name="connsiteX22" fmla="*/ 108233 w 196548"/>
                <a:gd name="connsiteY22" fmla="*/ 46863 h 232800"/>
                <a:gd name="connsiteX23" fmla="*/ 129454 w 196548"/>
                <a:gd name="connsiteY23" fmla="*/ 53140 h 232800"/>
                <a:gd name="connsiteX24" fmla="*/ 131369 w 196548"/>
                <a:gd name="connsiteY24" fmla="*/ 38805 h 232800"/>
                <a:gd name="connsiteX25" fmla="*/ 145380 w 196548"/>
                <a:gd name="connsiteY25" fmla="*/ 14088 h 232800"/>
                <a:gd name="connsiteX26" fmla="*/ 161296 w 196548"/>
                <a:gd name="connsiteY26" fmla="*/ 0 h 232800"/>
                <a:gd name="connsiteX27" fmla="*/ 179366 w 196548"/>
                <a:gd name="connsiteY27" fmla="*/ 4467 h 232800"/>
                <a:gd name="connsiteX28" fmla="*/ 196548 w 196548"/>
                <a:gd name="connsiteY28" fmla="*/ 5953 h 232800"/>
                <a:gd name="connsiteX29" fmla="*/ 194958 w 196548"/>
                <a:gd name="connsiteY29" fmla="*/ 22003 h 232800"/>
                <a:gd name="connsiteX30" fmla="*/ 186966 w 196548"/>
                <a:gd name="connsiteY30" fmla="*/ 36195 h 232800"/>
                <a:gd name="connsiteX31" fmla="*/ 181737 w 196548"/>
                <a:gd name="connsiteY31" fmla="*/ 52759 h 232800"/>
                <a:gd name="connsiteX32" fmla="*/ 178413 w 196548"/>
                <a:gd name="connsiteY32" fmla="*/ 76276 h 232800"/>
                <a:gd name="connsiteX33" fmla="*/ 179813 w 196548"/>
                <a:gd name="connsiteY33" fmla="*/ 91316 h 232800"/>
                <a:gd name="connsiteX34" fmla="*/ 175460 w 196548"/>
                <a:gd name="connsiteY34" fmla="*/ 100517 h 232800"/>
                <a:gd name="connsiteX35" fmla="*/ 174793 w 196548"/>
                <a:gd name="connsiteY35" fmla="*/ 110242 h 232800"/>
                <a:gd name="connsiteX36" fmla="*/ 171726 w 196548"/>
                <a:gd name="connsiteY36" fmla="*/ 118710 h 232800"/>
                <a:gd name="connsiteX37" fmla="*/ 154143 w 196548"/>
                <a:gd name="connsiteY37" fmla="*/ 131493 h 232800"/>
                <a:gd name="connsiteX38" fmla="*/ 141903 w 196548"/>
                <a:gd name="connsiteY38" fmla="*/ 145161 h 232800"/>
                <a:gd name="connsiteX39" fmla="*/ 130302 w 196548"/>
                <a:gd name="connsiteY39" fmla="*/ 170955 h 232800"/>
                <a:gd name="connsiteX40" fmla="*/ 131198 w 196548"/>
                <a:gd name="connsiteY40" fmla="*/ 192815 h 232800"/>
                <a:gd name="connsiteX41" fmla="*/ 124454 w 196548"/>
                <a:gd name="connsiteY41" fmla="*/ 201321 h 232800"/>
                <a:gd name="connsiteX42" fmla="*/ 108890 w 196548"/>
                <a:gd name="connsiteY42" fmla="*/ 214313 h 232800"/>
                <a:gd name="connsiteX43" fmla="*/ 93183 w 196548"/>
                <a:gd name="connsiteY43" fmla="*/ 230991 h 232800"/>
                <a:gd name="connsiteX44" fmla="*/ 83201 w 196548"/>
                <a:gd name="connsiteY44" fmla="*/ 226276 h 232800"/>
                <a:gd name="connsiteX45" fmla="*/ 81487 w 196548"/>
                <a:gd name="connsiteY45" fmla="*/ 218742 h 232800"/>
                <a:gd name="connsiteX46" fmla="*/ 66942 w 196548"/>
                <a:gd name="connsiteY46" fmla="*/ 218485 h 232800"/>
                <a:gd name="connsiteX47" fmla="*/ 57807 w 196548"/>
                <a:gd name="connsiteY47" fmla="*/ 228667 h 23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96548" h="232800">
                  <a:moveTo>
                    <a:pt x="50787" y="225962"/>
                  </a:moveTo>
                  <a:lnTo>
                    <a:pt x="40786" y="216827"/>
                  </a:lnTo>
                  <a:lnTo>
                    <a:pt x="32709" y="221304"/>
                  </a:lnTo>
                  <a:lnTo>
                    <a:pt x="21936" y="232801"/>
                  </a:lnTo>
                  <a:lnTo>
                    <a:pt x="0" y="204616"/>
                  </a:lnTo>
                  <a:lnTo>
                    <a:pt x="20336" y="189938"/>
                  </a:lnTo>
                  <a:lnTo>
                    <a:pt x="10268" y="172374"/>
                  </a:lnTo>
                  <a:lnTo>
                    <a:pt x="19421" y="165697"/>
                  </a:lnTo>
                  <a:lnTo>
                    <a:pt x="37443" y="162440"/>
                  </a:lnTo>
                  <a:lnTo>
                    <a:pt x="39567" y="150676"/>
                  </a:lnTo>
                  <a:lnTo>
                    <a:pt x="53835" y="163421"/>
                  </a:lnTo>
                  <a:lnTo>
                    <a:pt x="77410" y="164545"/>
                  </a:lnTo>
                  <a:lnTo>
                    <a:pt x="85611" y="152000"/>
                  </a:lnTo>
                  <a:lnTo>
                    <a:pt x="88983" y="134350"/>
                  </a:lnTo>
                  <a:lnTo>
                    <a:pt x="86068" y="113633"/>
                  </a:lnTo>
                  <a:lnTo>
                    <a:pt x="73428" y="97946"/>
                  </a:lnTo>
                  <a:lnTo>
                    <a:pt x="84992" y="67218"/>
                  </a:lnTo>
                  <a:lnTo>
                    <a:pt x="78333" y="61951"/>
                  </a:lnTo>
                  <a:lnTo>
                    <a:pt x="58464" y="64113"/>
                  </a:lnTo>
                  <a:lnTo>
                    <a:pt x="50997" y="50397"/>
                  </a:lnTo>
                  <a:lnTo>
                    <a:pt x="52940" y="38814"/>
                  </a:lnTo>
                  <a:lnTo>
                    <a:pt x="86639" y="39862"/>
                  </a:lnTo>
                  <a:lnTo>
                    <a:pt x="108233" y="46863"/>
                  </a:lnTo>
                  <a:lnTo>
                    <a:pt x="129454" y="53140"/>
                  </a:lnTo>
                  <a:lnTo>
                    <a:pt x="131369" y="38805"/>
                  </a:lnTo>
                  <a:lnTo>
                    <a:pt x="145380" y="14088"/>
                  </a:lnTo>
                  <a:lnTo>
                    <a:pt x="161296" y="0"/>
                  </a:lnTo>
                  <a:lnTo>
                    <a:pt x="179366" y="4467"/>
                  </a:lnTo>
                  <a:lnTo>
                    <a:pt x="196548" y="5953"/>
                  </a:lnTo>
                  <a:lnTo>
                    <a:pt x="194958" y="22003"/>
                  </a:lnTo>
                  <a:lnTo>
                    <a:pt x="186966" y="36195"/>
                  </a:lnTo>
                  <a:lnTo>
                    <a:pt x="181737" y="52759"/>
                  </a:lnTo>
                  <a:lnTo>
                    <a:pt x="178413" y="76276"/>
                  </a:lnTo>
                  <a:lnTo>
                    <a:pt x="179813" y="91316"/>
                  </a:lnTo>
                  <a:lnTo>
                    <a:pt x="175460" y="100517"/>
                  </a:lnTo>
                  <a:lnTo>
                    <a:pt x="174793" y="110242"/>
                  </a:lnTo>
                  <a:lnTo>
                    <a:pt x="171726" y="118710"/>
                  </a:lnTo>
                  <a:lnTo>
                    <a:pt x="154143" y="131493"/>
                  </a:lnTo>
                  <a:lnTo>
                    <a:pt x="141903" y="145161"/>
                  </a:lnTo>
                  <a:lnTo>
                    <a:pt x="130302" y="170955"/>
                  </a:lnTo>
                  <a:lnTo>
                    <a:pt x="131198" y="192815"/>
                  </a:lnTo>
                  <a:lnTo>
                    <a:pt x="124454" y="201321"/>
                  </a:lnTo>
                  <a:lnTo>
                    <a:pt x="108890" y="214313"/>
                  </a:lnTo>
                  <a:lnTo>
                    <a:pt x="93183" y="230991"/>
                  </a:lnTo>
                  <a:lnTo>
                    <a:pt x="83201" y="226276"/>
                  </a:lnTo>
                  <a:lnTo>
                    <a:pt x="81487" y="218742"/>
                  </a:lnTo>
                  <a:lnTo>
                    <a:pt x="66942" y="218485"/>
                  </a:lnTo>
                  <a:lnTo>
                    <a:pt x="57807" y="2286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61" name="Forme libre : forme 5680">
              <a:extLst>
                <a:ext uri="{FF2B5EF4-FFF2-40B4-BE49-F238E27FC236}">
                  <a16:creationId xmlns:a16="http://schemas.microsoft.com/office/drawing/2014/main" id="{56DAA04D-B34C-11EA-EECC-25C8C12A3769}"/>
                </a:ext>
              </a:extLst>
            </p:cNvPr>
            <p:cNvSpPr/>
            <p:nvPr/>
          </p:nvSpPr>
          <p:spPr>
            <a:xfrm>
              <a:off x="5981747" y="3291901"/>
              <a:ext cx="118043" cy="79895"/>
            </a:xfrm>
            <a:custGeom>
              <a:avLst/>
              <a:gdLst>
                <a:gd name="connsiteX0" fmla="*/ 95383 w 118043"/>
                <a:gd name="connsiteY0" fmla="*/ 12087 h 79895"/>
                <a:gd name="connsiteX1" fmla="*/ 96412 w 118043"/>
                <a:gd name="connsiteY1" fmla="*/ 19078 h 79895"/>
                <a:gd name="connsiteX2" fmla="*/ 92326 w 118043"/>
                <a:gd name="connsiteY2" fmla="*/ 28670 h 79895"/>
                <a:gd name="connsiteX3" fmla="*/ 104413 w 118043"/>
                <a:gd name="connsiteY3" fmla="*/ 35785 h 79895"/>
                <a:gd name="connsiteX4" fmla="*/ 118043 w 118043"/>
                <a:gd name="connsiteY4" fmla="*/ 36843 h 79895"/>
                <a:gd name="connsiteX5" fmla="*/ 115929 w 118043"/>
                <a:gd name="connsiteY5" fmla="*/ 52749 h 79895"/>
                <a:gd name="connsiteX6" fmla="*/ 104156 w 118043"/>
                <a:gd name="connsiteY6" fmla="*/ 59264 h 79895"/>
                <a:gd name="connsiteX7" fmla="*/ 84391 w 118043"/>
                <a:gd name="connsiteY7" fmla="*/ 54426 h 79895"/>
                <a:gd name="connsiteX8" fmla="*/ 78610 w 118043"/>
                <a:gd name="connsiteY8" fmla="*/ 69952 h 79895"/>
                <a:gd name="connsiteX9" fmla="*/ 65894 w 118043"/>
                <a:gd name="connsiteY9" fmla="*/ 71171 h 79895"/>
                <a:gd name="connsiteX10" fmla="*/ 61265 w 118043"/>
                <a:gd name="connsiteY10" fmla="*/ 65084 h 79895"/>
                <a:gd name="connsiteX11" fmla="*/ 46291 w 118043"/>
                <a:gd name="connsiteY11" fmla="*/ 78076 h 79895"/>
                <a:gd name="connsiteX12" fmla="*/ 33414 w 118043"/>
                <a:gd name="connsiteY12" fmla="*/ 79896 h 79895"/>
                <a:gd name="connsiteX13" fmla="*/ 21917 w 118043"/>
                <a:gd name="connsiteY13" fmla="*/ 71704 h 79895"/>
                <a:gd name="connsiteX14" fmla="*/ 12754 w 118043"/>
                <a:gd name="connsiteY14" fmla="*/ 54835 h 79895"/>
                <a:gd name="connsiteX15" fmla="*/ 0 w 118043"/>
                <a:gd name="connsiteY15" fmla="*/ 60874 h 79895"/>
                <a:gd name="connsiteX16" fmla="*/ 390 w 118043"/>
                <a:gd name="connsiteY16" fmla="*/ 43367 h 79895"/>
                <a:gd name="connsiteX17" fmla="*/ 19917 w 118043"/>
                <a:gd name="connsiteY17" fmla="*/ 21431 h 79895"/>
                <a:gd name="connsiteX18" fmla="*/ 19059 w 118043"/>
                <a:gd name="connsiteY18" fmla="*/ 11430 h 79895"/>
                <a:gd name="connsiteX19" fmla="*/ 31232 w 118043"/>
                <a:gd name="connsiteY19" fmla="*/ 15059 h 79895"/>
                <a:gd name="connsiteX20" fmla="*/ 38557 w 118043"/>
                <a:gd name="connsiteY20" fmla="*/ 8325 h 79895"/>
                <a:gd name="connsiteX21" fmla="*/ 61274 w 118043"/>
                <a:gd name="connsiteY21" fmla="*/ 8601 h 79895"/>
                <a:gd name="connsiteX22" fmla="*/ 66760 w 118043"/>
                <a:gd name="connsiteY22" fmla="*/ 0 h 79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8043" h="79895">
                  <a:moveTo>
                    <a:pt x="95383" y="12087"/>
                  </a:moveTo>
                  <a:lnTo>
                    <a:pt x="96412" y="19078"/>
                  </a:lnTo>
                  <a:lnTo>
                    <a:pt x="92326" y="28670"/>
                  </a:lnTo>
                  <a:lnTo>
                    <a:pt x="104413" y="35785"/>
                  </a:lnTo>
                  <a:lnTo>
                    <a:pt x="118043" y="36843"/>
                  </a:lnTo>
                  <a:lnTo>
                    <a:pt x="115929" y="52749"/>
                  </a:lnTo>
                  <a:lnTo>
                    <a:pt x="104156" y="59264"/>
                  </a:lnTo>
                  <a:lnTo>
                    <a:pt x="84391" y="54426"/>
                  </a:lnTo>
                  <a:lnTo>
                    <a:pt x="78610" y="69952"/>
                  </a:lnTo>
                  <a:lnTo>
                    <a:pt x="65894" y="71171"/>
                  </a:lnTo>
                  <a:lnTo>
                    <a:pt x="61265" y="65084"/>
                  </a:lnTo>
                  <a:lnTo>
                    <a:pt x="46291" y="78076"/>
                  </a:lnTo>
                  <a:lnTo>
                    <a:pt x="33414" y="79896"/>
                  </a:lnTo>
                  <a:lnTo>
                    <a:pt x="21917" y="71704"/>
                  </a:lnTo>
                  <a:lnTo>
                    <a:pt x="12754" y="54835"/>
                  </a:lnTo>
                  <a:lnTo>
                    <a:pt x="0" y="60874"/>
                  </a:lnTo>
                  <a:lnTo>
                    <a:pt x="390" y="43367"/>
                  </a:lnTo>
                  <a:lnTo>
                    <a:pt x="19917" y="21431"/>
                  </a:lnTo>
                  <a:lnTo>
                    <a:pt x="19059" y="11430"/>
                  </a:lnTo>
                  <a:lnTo>
                    <a:pt x="31232" y="15059"/>
                  </a:lnTo>
                  <a:lnTo>
                    <a:pt x="38557" y="8325"/>
                  </a:lnTo>
                  <a:lnTo>
                    <a:pt x="61274" y="8601"/>
                  </a:lnTo>
                  <a:lnTo>
                    <a:pt x="66760" y="0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62" name="Forme libre : forme 5681">
              <a:extLst>
                <a:ext uri="{FF2B5EF4-FFF2-40B4-BE49-F238E27FC236}">
                  <a16:creationId xmlns:a16="http://schemas.microsoft.com/office/drawing/2014/main" id="{69C7F190-C972-D6DC-4432-4B4C8E3184B9}"/>
                </a:ext>
              </a:extLst>
            </p:cNvPr>
            <p:cNvSpPr/>
            <p:nvPr/>
          </p:nvSpPr>
          <p:spPr>
            <a:xfrm>
              <a:off x="5591146" y="4461866"/>
              <a:ext cx="161325" cy="165591"/>
            </a:xfrm>
            <a:custGeom>
              <a:avLst/>
              <a:gdLst>
                <a:gd name="connsiteX0" fmla="*/ 153476 w 161325"/>
                <a:gd name="connsiteY0" fmla="*/ 148123 h 165591"/>
                <a:gd name="connsiteX1" fmla="*/ 141322 w 161325"/>
                <a:gd name="connsiteY1" fmla="*/ 148399 h 165591"/>
                <a:gd name="connsiteX2" fmla="*/ 122692 w 161325"/>
                <a:gd name="connsiteY2" fmla="*/ 143189 h 165591"/>
                <a:gd name="connsiteX3" fmla="*/ 105566 w 161325"/>
                <a:gd name="connsiteY3" fmla="*/ 143494 h 165591"/>
                <a:gd name="connsiteX4" fmla="*/ 73933 w 161325"/>
                <a:gd name="connsiteY4" fmla="*/ 148142 h 165591"/>
                <a:gd name="connsiteX5" fmla="*/ 55388 w 161325"/>
                <a:gd name="connsiteY5" fmla="*/ 155829 h 165591"/>
                <a:gd name="connsiteX6" fmla="*/ 28946 w 161325"/>
                <a:gd name="connsiteY6" fmla="*/ 165592 h 165591"/>
                <a:gd name="connsiteX7" fmla="*/ 23784 w 161325"/>
                <a:gd name="connsiteY7" fmla="*/ 164897 h 165591"/>
                <a:gd name="connsiteX8" fmla="*/ 25841 w 161325"/>
                <a:gd name="connsiteY8" fmla="*/ 142970 h 165591"/>
                <a:gd name="connsiteX9" fmla="*/ 28394 w 161325"/>
                <a:gd name="connsiteY9" fmla="*/ 139627 h 165591"/>
                <a:gd name="connsiteX10" fmla="*/ 27575 w 161325"/>
                <a:gd name="connsiteY10" fmla="*/ 129130 h 165591"/>
                <a:gd name="connsiteX11" fmla="*/ 16269 w 161325"/>
                <a:gd name="connsiteY11" fmla="*/ 117958 h 165591"/>
                <a:gd name="connsiteX12" fmla="*/ 7782 w 161325"/>
                <a:gd name="connsiteY12" fmla="*/ 116176 h 165591"/>
                <a:gd name="connsiteX13" fmla="*/ 0 w 161325"/>
                <a:gd name="connsiteY13" fmla="*/ 108842 h 165591"/>
                <a:gd name="connsiteX14" fmla="*/ 5801 w 161325"/>
                <a:gd name="connsiteY14" fmla="*/ 96984 h 165591"/>
                <a:gd name="connsiteX15" fmla="*/ 3134 w 161325"/>
                <a:gd name="connsiteY15" fmla="*/ 84049 h 165591"/>
                <a:gd name="connsiteX16" fmla="*/ 4363 w 161325"/>
                <a:gd name="connsiteY16" fmla="*/ 76276 h 165591"/>
                <a:gd name="connsiteX17" fmla="*/ 8601 w 161325"/>
                <a:gd name="connsiteY17" fmla="*/ 76238 h 165591"/>
                <a:gd name="connsiteX18" fmla="*/ 10173 w 161325"/>
                <a:gd name="connsiteY18" fmla="*/ 64560 h 165591"/>
                <a:gd name="connsiteX19" fmla="*/ 8106 w 161325"/>
                <a:gd name="connsiteY19" fmla="*/ 59379 h 165591"/>
                <a:gd name="connsiteX20" fmla="*/ 10659 w 161325"/>
                <a:gd name="connsiteY20" fmla="*/ 55654 h 165591"/>
                <a:gd name="connsiteX21" fmla="*/ 20584 w 161325"/>
                <a:gd name="connsiteY21" fmla="*/ 52426 h 165591"/>
                <a:gd name="connsiteX22" fmla="*/ 13983 w 161325"/>
                <a:gd name="connsiteY22" fmla="*/ 30928 h 165591"/>
                <a:gd name="connsiteX23" fmla="*/ 7830 w 161325"/>
                <a:gd name="connsiteY23" fmla="*/ 19802 h 165591"/>
                <a:gd name="connsiteX24" fmla="*/ 9973 w 161325"/>
                <a:gd name="connsiteY24" fmla="*/ 10658 h 165591"/>
                <a:gd name="connsiteX25" fmla="*/ 15297 w 161325"/>
                <a:gd name="connsiteY25" fmla="*/ 8572 h 165591"/>
                <a:gd name="connsiteX26" fmla="*/ 18783 w 161325"/>
                <a:gd name="connsiteY26" fmla="*/ 6115 h 165591"/>
                <a:gd name="connsiteX27" fmla="*/ 26175 w 161325"/>
                <a:gd name="connsiteY27" fmla="*/ 10173 h 165591"/>
                <a:gd name="connsiteX28" fmla="*/ 46797 w 161325"/>
                <a:gd name="connsiteY28" fmla="*/ 10392 h 165591"/>
                <a:gd name="connsiteX29" fmla="*/ 51711 w 161325"/>
                <a:gd name="connsiteY29" fmla="*/ 2515 h 165591"/>
                <a:gd name="connsiteX30" fmla="*/ 56322 w 161325"/>
                <a:gd name="connsiteY30" fmla="*/ 3048 h 165591"/>
                <a:gd name="connsiteX31" fmla="*/ 64027 w 161325"/>
                <a:gd name="connsiteY31" fmla="*/ 0 h 165591"/>
                <a:gd name="connsiteX32" fmla="*/ 68171 w 161325"/>
                <a:gd name="connsiteY32" fmla="*/ 11535 h 165591"/>
                <a:gd name="connsiteX33" fmla="*/ 74400 w 161325"/>
                <a:gd name="connsiteY33" fmla="*/ 8134 h 165591"/>
                <a:gd name="connsiteX34" fmla="*/ 85420 w 161325"/>
                <a:gd name="connsiteY34" fmla="*/ 4143 h 165591"/>
                <a:gd name="connsiteX35" fmla="*/ 97431 w 161325"/>
                <a:gd name="connsiteY35" fmla="*/ 10020 h 165591"/>
                <a:gd name="connsiteX36" fmla="*/ 102099 w 161325"/>
                <a:gd name="connsiteY36" fmla="*/ 18936 h 165591"/>
                <a:gd name="connsiteX37" fmla="*/ 114110 w 161325"/>
                <a:gd name="connsiteY37" fmla="*/ 24612 h 165591"/>
                <a:gd name="connsiteX38" fmla="*/ 123444 w 161325"/>
                <a:gd name="connsiteY38" fmla="*/ 17840 h 165591"/>
                <a:gd name="connsiteX39" fmla="*/ 135960 w 161325"/>
                <a:gd name="connsiteY39" fmla="*/ 16821 h 165591"/>
                <a:gd name="connsiteX40" fmla="*/ 154239 w 161325"/>
                <a:gd name="connsiteY40" fmla="*/ 23765 h 165591"/>
                <a:gd name="connsiteX41" fmla="*/ 161325 w 161325"/>
                <a:gd name="connsiteY41" fmla="*/ 61979 h 165591"/>
                <a:gd name="connsiteX42" fmla="*/ 150066 w 161325"/>
                <a:gd name="connsiteY42" fmla="*/ 84468 h 165591"/>
                <a:gd name="connsiteX43" fmla="*/ 143104 w 161325"/>
                <a:gd name="connsiteY43" fmla="*/ 114643 h 165591"/>
                <a:gd name="connsiteX44" fmla="*/ 154686 w 161325"/>
                <a:gd name="connsiteY44" fmla="*/ 137617 h 16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61325" h="165591">
                  <a:moveTo>
                    <a:pt x="153476" y="148123"/>
                  </a:moveTo>
                  <a:lnTo>
                    <a:pt x="141322" y="148399"/>
                  </a:lnTo>
                  <a:lnTo>
                    <a:pt x="122692" y="143189"/>
                  </a:lnTo>
                  <a:lnTo>
                    <a:pt x="105566" y="143494"/>
                  </a:lnTo>
                  <a:lnTo>
                    <a:pt x="73933" y="148142"/>
                  </a:lnTo>
                  <a:lnTo>
                    <a:pt x="55388" y="155829"/>
                  </a:lnTo>
                  <a:lnTo>
                    <a:pt x="28946" y="165592"/>
                  </a:lnTo>
                  <a:lnTo>
                    <a:pt x="23784" y="164897"/>
                  </a:lnTo>
                  <a:lnTo>
                    <a:pt x="25841" y="142970"/>
                  </a:lnTo>
                  <a:lnTo>
                    <a:pt x="28394" y="139627"/>
                  </a:lnTo>
                  <a:lnTo>
                    <a:pt x="27575" y="129130"/>
                  </a:lnTo>
                  <a:lnTo>
                    <a:pt x="16269" y="117958"/>
                  </a:lnTo>
                  <a:lnTo>
                    <a:pt x="7782" y="116176"/>
                  </a:lnTo>
                  <a:lnTo>
                    <a:pt x="0" y="108842"/>
                  </a:lnTo>
                  <a:lnTo>
                    <a:pt x="5801" y="96984"/>
                  </a:lnTo>
                  <a:lnTo>
                    <a:pt x="3134" y="84049"/>
                  </a:lnTo>
                  <a:lnTo>
                    <a:pt x="4363" y="76276"/>
                  </a:lnTo>
                  <a:lnTo>
                    <a:pt x="8601" y="76238"/>
                  </a:lnTo>
                  <a:lnTo>
                    <a:pt x="10173" y="64560"/>
                  </a:lnTo>
                  <a:lnTo>
                    <a:pt x="8106" y="59379"/>
                  </a:lnTo>
                  <a:lnTo>
                    <a:pt x="10659" y="55654"/>
                  </a:lnTo>
                  <a:lnTo>
                    <a:pt x="20584" y="52426"/>
                  </a:lnTo>
                  <a:lnTo>
                    <a:pt x="13983" y="30928"/>
                  </a:lnTo>
                  <a:lnTo>
                    <a:pt x="7830" y="19802"/>
                  </a:lnTo>
                  <a:lnTo>
                    <a:pt x="9973" y="10658"/>
                  </a:lnTo>
                  <a:lnTo>
                    <a:pt x="15297" y="8572"/>
                  </a:lnTo>
                  <a:lnTo>
                    <a:pt x="18783" y="6115"/>
                  </a:lnTo>
                  <a:lnTo>
                    <a:pt x="26175" y="10173"/>
                  </a:lnTo>
                  <a:lnTo>
                    <a:pt x="46797" y="10392"/>
                  </a:lnTo>
                  <a:lnTo>
                    <a:pt x="51711" y="2515"/>
                  </a:lnTo>
                  <a:lnTo>
                    <a:pt x="56322" y="3048"/>
                  </a:lnTo>
                  <a:lnTo>
                    <a:pt x="64027" y="0"/>
                  </a:lnTo>
                  <a:lnTo>
                    <a:pt x="68171" y="11535"/>
                  </a:lnTo>
                  <a:lnTo>
                    <a:pt x="74400" y="8134"/>
                  </a:lnTo>
                  <a:lnTo>
                    <a:pt x="85420" y="4143"/>
                  </a:lnTo>
                  <a:lnTo>
                    <a:pt x="97431" y="10020"/>
                  </a:lnTo>
                  <a:lnTo>
                    <a:pt x="102099" y="18936"/>
                  </a:lnTo>
                  <a:lnTo>
                    <a:pt x="114110" y="24612"/>
                  </a:lnTo>
                  <a:lnTo>
                    <a:pt x="123444" y="17840"/>
                  </a:lnTo>
                  <a:lnTo>
                    <a:pt x="135960" y="16821"/>
                  </a:lnTo>
                  <a:lnTo>
                    <a:pt x="154239" y="23765"/>
                  </a:lnTo>
                  <a:lnTo>
                    <a:pt x="161325" y="61979"/>
                  </a:lnTo>
                  <a:lnTo>
                    <a:pt x="150066" y="84468"/>
                  </a:lnTo>
                  <a:lnTo>
                    <a:pt x="143104" y="114643"/>
                  </a:lnTo>
                  <a:lnTo>
                    <a:pt x="154686" y="137617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63" name="Forme libre : forme 5682">
              <a:extLst>
                <a:ext uri="{FF2B5EF4-FFF2-40B4-BE49-F238E27FC236}">
                  <a16:creationId xmlns:a16="http://schemas.microsoft.com/office/drawing/2014/main" id="{6C377151-F9BD-FC5D-3F91-F5739D3D0370}"/>
                </a:ext>
              </a:extLst>
            </p:cNvPr>
            <p:cNvSpPr/>
            <p:nvPr/>
          </p:nvSpPr>
          <p:spPr>
            <a:xfrm>
              <a:off x="3800713" y="5216618"/>
              <a:ext cx="231895" cy="1312468"/>
            </a:xfrm>
            <a:custGeom>
              <a:avLst/>
              <a:gdLst>
                <a:gd name="connsiteX0" fmla="*/ 187195 w 231895"/>
                <a:gd name="connsiteY0" fmla="*/ 1177109 h 1312468"/>
                <a:gd name="connsiteX1" fmla="*/ 187214 w 231895"/>
                <a:gd name="connsiteY1" fmla="*/ 1277769 h 1312468"/>
                <a:gd name="connsiteX2" fmla="*/ 215808 w 231895"/>
                <a:gd name="connsiteY2" fmla="*/ 1277798 h 1312468"/>
                <a:gd name="connsiteX3" fmla="*/ 231896 w 231895"/>
                <a:gd name="connsiteY3" fmla="*/ 1279036 h 1312468"/>
                <a:gd name="connsiteX4" fmla="*/ 223047 w 231895"/>
                <a:gd name="connsiteY4" fmla="*/ 1297877 h 1312468"/>
                <a:gd name="connsiteX5" fmla="*/ 200149 w 231895"/>
                <a:gd name="connsiteY5" fmla="*/ 1312469 h 1312468"/>
                <a:gd name="connsiteX6" fmla="*/ 187023 w 231895"/>
                <a:gd name="connsiteY6" fmla="*/ 1310974 h 1312468"/>
                <a:gd name="connsiteX7" fmla="*/ 171212 w 231895"/>
                <a:gd name="connsiteY7" fmla="*/ 1307163 h 1312468"/>
                <a:gd name="connsiteX8" fmla="*/ 151819 w 231895"/>
                <a:gd name="connsiteY8" fmla="*/ 1293076 h 1312468"/>
                <a:gd name="connsiteX9" fmla="*/ 123844 w 231895"/>
                <a:gd name="connsiteY9" fmla="*/ 1286341 h 1312468"/>
                <a:gd name="connsiteX10" fmla="*/ 90240 w 231895"/>
                <a:gd name="connsiteY10" fmla="*/ 1260529 h 1312468"/>
                <a:gd name="connsiteX11" fmla="*/ 62960 w 231895"/>
                <a:gd name="connsiteY11" fmla="*/ 1236021 h 1312468"/>
                <a:gd name="connsiteX12" fmla="*/ 26175 w 231895"/>
                <a:gd name="connsiteY12" fmla="*/ 1185977 h 1312468"/>
                <a:gd name="connsiteX13" fmla="*/ 48196 w 231895"/>
                <a:gd name="connsiteY13" fmla="*/ 1195254 h 1312468"/>
                <a:gd name="connsiteX14" fmla="*/ 85697 w 231895"/>
                <a:gd name="connsiteY14" fmla="*/ 1225096 h 1312468"/>
                <a:gd name="connsiteX15" fmla="*/ 121120 w 231895"/>
                <a:gd name="connsiteY15" fmla="*/ 1241327 h 1312468"/>
                <a:gd name="connsiteX16" fmla="*/ 134903 w 231895"/>
                <a:gd name="connsiteY16" fmla="*/ 1220619 h 1312468"/>
                <a:gd name="connsiteX17" fmla="*/ 143561 w 231895"/>
                <a:gd name="connsiteY17" fmla="*/ 1190120 h 1312468"/>
                <a:gd name="connsiteX18" fmla="*/ 168173 w 231895"/>
                <a:gd name="connsiteY18" fmla="*/ 1171956 h 1312468"/>
                <a:gd name="connsiteX19" fmla="*/ 187195 w 231895"/>
                <a:gd name="connsiteY19" fmla="*/ 1177109 h 1312468"/>
                <a:gd name="connsiteX20" fmla="*/ 198263 w 231895"/>
                <a:gd name="connsiteY20" fmla="*/ 110290 h 1312468"/>
                <a:gd name="connsiteX21" fmla="*/ 208721 w 231895"/>
                <a:gd name="connsiteY21" fmla="*/ 149819 h 1312468"/>
                <a:gd name="connsiteX22" fmla="*/ 227990 w 231895"/>
                <a:gd name="connsiteY22" fmla="*/ 145866 h 1312468"/>
                <a:gd name="connsiteX23" fmla="*/ 231229 w 231895"/>
                <a:gd name="connsiteY23" fmla="*/ 153085 h 1312468"/>
                <a:gd name="connsiteX24" fmla="*/ 222066 w 231895"/>
                <a:gd name="connsiteY24" fmla="*/ 183175 h 1312468"/>
                <a:gd name="connsiteX25" fmla="*/ 192977 w 231895"/>
                <a:gd name="connsiteY25" fmla="*/ 197548 h 1312468"/>
                <a:gd name="connsiteX26" fmla="*/ 193824 w 231895"/>
                <a:gd name="connsiteY26" fmla="*/ 246536 h 1312468"/>
                <a:gd name="connsiteX27" fmla="*/ 188252 w 231895"/>
                <a:gd name="connsiteY27" fmla="*/ 256070 h 1312468"/>
                <a:gd name="connsiteX28" fmla="*/ 196244 w 231895"/>
                <a:gd name="connsiteY28" fmla="*/ 267738 h 1312468"/>
                <a:gd name="connsiteX29" fmla="*/ 177394 w 231895"/>
                <a:gd name="connsiteY29" fmla="*/ 286312 h 1312468"/>
                <a:gd name="connsiteX30" fmla="*/ 159906 w 231895"/>
                <a:gd name="connsiteY30" fmla="*/ 314534 h 1312468"/>
                <a:gd name="connsiteX31" fmla="*/ 150362 w 231895"/>
                <a:gd name="connsiteY31" fmla="*/ 342119 h 1312468"/>
                <a:gd name="connsiteX32" fmla="*/ 152886 w 231895"/>
                <a:gd name="connsiteY32" fmla="*/ 371789 h 1312468"/>
                <a:gd name="connsiteX33" fmla="*/ 136427 w 231895"/>
                <a:gd name="connsiteY33" fmla="*/ 403631 h 1312468"/>
                <a:gd name="connsiteX34" fmla="*/ 148733 w 231895"/>
                <a:gd name="connsiteY34" fmla="*/ 457867 h 1312468"/>
                <a:gd name="connsiteX35" fmla="*/ 155667 w 231895"/>
                <a:gd name="connsiteY35" fmla="*/ 463667 h 1312468"/>
                <a:gd name="connsiteX36" fmla="*/ 155600 w 231895"/>
                <a:gd name="connsiteY36" fmla="*/ 493061 h 1312468"/>
                <a:gd name="connsiteX37" fmla="*/ 140360 w 231895"/>
                <a:gd name="connsiteY37" fmla="*/ 524618 h 1312468"/>
                <a:gd name="connsiteX38" fmla="*/ 140979 w 231895"/>
                <a:gd name="connsiteY38" fmla="*/ 551936 h 1312468"/>
                <a:gd name="connsiteX39" fmla="*/ 120758 w 231895"/>
                <a:gd name="connsiteY39" fmla="*/ 573491 h 1312468"/>
                <a:gd name="connsiteX40" fmla="*/ 120843 w 231895"/>
                <a:gd name="connsiteY40" fmla="*/ 604132 h 1312468"/>
                <a:gd name="connsiteX41" fmla="*/ 128969 w 231895"/>
                <a:gd name="connsiteY41" fmla="*/ 637108 h 1312468"/>
                <a:gd name="connsiteX42" fmla="*/ 112976 w 231895"/>
                <a:gd name="connsiteY42" fmla="*/ 649491 h 1312468"/>
                <a:gd name="connsiteX43" fmla="*/ 105832 w 231895"/>
                <a:gd name="connsiteY43" fmla="*/ 680190 h 1312468"/>
                <a:gd name="connsiteX44" fmla="*/ 99555 w 231895"/>
                <a:gd name="connsiteY44" fmla="*/ 715918 h 1312468"/>
                <a:gd name="connsiteX45" fmla="*/ 104070 w 231895"/>
                <a:gd name="connsiteY45" fmla="*/ 759190 h 1312468"/>
                <a:gd name="connsiteX46" fmla="*/ 93336 w 231895"/>
                <a:gd name="connsiteY46" fmla="*/ 766496 h 1312468"/>
                <a:gd name="connsiteX47" fmla="*/ 99574 w 231895"/>
                <a:gd name="connsiteY47" fmla="*/ 808358 h 1312468"/>
                <a:gd name="connsiteX48" fmla="*/ 111633 w 231895"/>
                <a:gd name="connsiteY48" fmla="*/ 822284 h 1312468"/>
                <a:gd name="connsiteX49" fmla="*/ 102832 w 231895"/>
                <a:gd name="connsiteY49" fmla="*/ 837809 h 1312468"/>
                <a:gd name="connsiteX50" fmla="*/ 115224 w 231895"/>
                <a:gd name="connsiteY50" fmla="*/ 845258 h 1312468"/>
                <a:gd name="connsiteX51" fmla="*/ 118081 w 231895"/>
                <a:gd name="connsiteY51" fmla="*/ 859336 h 1312468"/>
                <a:gd name="connsiteX52" fmla="*/ 106423 w 231895"/>
                <a:gd name="connsiteY52" fmla="*/ 866461 h 1312468"/>
                <a:gd name="connsiteX53" fmla="*/ 109290 w 231895"/>
                <a:gd name="connsiteY53" fmla="*/ 888663 h 1312468"/>
                <a:gd name="connsiteX54" fmla="*/ 99536 w 231895"/>
                <a:gd name="connsiteY54" fmla="*/ 939622 h 1312468"/>
                <a:gd name="connsiteX55" fmla="*/ 85382 w 231895"/>
                <a:gd name="connsiteY55" fmla="*/ 973150 h 1312468"/>
                <a:gd name="connsiteX56" fmla="*/ 88487 w 231895"/>
                <a:gd name="connsiteY56" fmla="*/ 993267 h 1312468"/>
                <a:gd name="connsiteX57" fmla="*/ 80020 w 231895"/>
                <a:gd name="connsiteY57" fmla="*/ 1018794 h 1312468"/>
                <a:gd name="connsiteX58" fmla="*/ 59531 w 231895"/>
                <a:gd name="connsiteY58" fmla="*/ 1036682 h 1312468"/>
                <a:gd name="connsiteX59" fmla="*/ 61865 w 231895"/>
                <a:gd name="connsiteY59" fmla="*/ 1080487 h 1312468"/>
                <a:gd name="connsiteX60" fmla="*/ 71276 w 231895"/>
                <a:gd name="connsiteY60" fmla="*/ 1095689 h 1312468"/>
                <a:gd name="connsiteX61" fmla="*/ 89059 w 231895"/>
                <a:gd name="connsiteY61" fmla="*/ 1092984 h 1312468"/>
                <a:gd name="connsiteX62" fmla="*/ 88544 w 231895"/>
                <a:gd name="connsiteY62" fmla="*/ 1124722 h 1312468"/>
                <a:gd name="connsiteX63" fmla="*/ 99613 w 231895"/>
                <a:gd name="connsiteY63" fmla="*/ 1149791 h 1312468"/>
                <a:gd name="connsiteX64" fmla="*/ 164144 w 231895"/>
                <a:gd name="connsiteY64" fmla="*/ 1155582 h 1312468"/>
                <a:gd name="connsiteX65" fmla="*/ 188900 w 231895"/>
                <a:gd name="connsiteY65" fmla="*/ 1162393 h 1312468"/>
                <a:gd name="connsiteX66" fmla="*/ 165135 w 231895"/>
                <a:gd name="connsiteY66" fmla="*/ 1162069 h 1312468"/>
                <a:gd name="connsiteX67" fmla="*/ 152276 w 231895"/>
                <a:gd name="connsiteY67" fmla="*/ 1172813 h 1312468"/>
                <a:gd name="connsiteX68" fmla="*/ 128178 w 231895"/>
                <a:gd name="connsiteY68" fmla="*/ 1188710 h 1312468"/>
                <a:gd name="connsiteX69" fmla="*/ 123873 w 231895"/>
                <a:gd name="connsiteY69" fmla="*/ 1230411 h 1312468"/>
                <a:gd name="connsiteX70" fmla="*/ 112566 w 231895"/>
                <a:gd name="connsiteY70" fmla="*/ 1231459 h 1312468"/>
                <a:gd name="connsiteX71" fmla="*/ 82429 w 231895"/>
                <a:gd name="connsiteY71" fmla="*/ 1216837 h 1312468"/>
                <a:gd name="connsiteX72" fmla="*/ 51864 w 231895"/>
                <a:gd name="connsiteY72" fmla="*/ 1185872 h 1312468"/>
                <a:gd name="connsiteX73" fmla="*/ 51864 w 231895"/>
                <a:gd name="connsiteY73" fmla="*/ 1185872 h 1312468"/>
                <a:gd name="connsiteX74" fmla="*/ 18640 w 231895"/>
                <a:gd name="connsiteY74" fmla="*/ 1160802 h 1312468"/>
                <a:gd name="connsiteX75" fmla="*/ 10278 w 231895"/>
                <a:gd name="connsiteY75" fmla="*/ 1133427 h 1312468"/>
                <a:gd name="connsiteX76" fmla="*/ 17840 w 231895"/>
                <a:gd name="connsiteY76" fmla="*/ 1108443 h 1312468"/>
                <a:gd name="connsiteX77" fmla="*/ 4401 w 231895"/>
                <a:gd name="connsiteY77" fmla="*/ 1080468 h 1312468"/>
                <a:gd name="connsiteX78" fmla="*/ 981 w 231895"/>
                <a:gd name="connsiteY78" fmla="*/ 1010517 h 1312468"/>
                <a:gd name="connsiteX79" fmla="*/ 12335 w 231895"/>
                <a:gd name="connsiteY79" fmla="*/ 972102 h 1312468"/>
                <a:gd name="connsiteX80" fmla="*/ 40538 w 231895"/>
                <a:gd name="connsiteY80" fmla="*/ 941746 h 1312468"/>
                <a:gd name="connsiteX81" fmla="*/ 0 w 231895"/>
                <a:gd name="connsiteY81" fmla="*/ 930411 h 1312468"/>
                <a:gd name="connsiteX82" fmla="*/ 25432 w 231895"/>
                <a:gd name="connsiteY82" fmla="*/ 896417 h 1312468"/>
                <a:gd name="connsiteX83" fmla="*/ 34528 w 231895"/>
                <a:gd name="connsiteY83" fmla="*/ 833961 h 1312468"/>
                <a:gd name="connsiteX84" fmla="*/ 64208 w 231895"/>
                <a:gd name="connsiteY84" fmla="*/ 847048 h 1312468"/>
                <a:gd name="connsiteX85" fmla="*/ 78162 w 231895"/>
                <a:gd name="connsiteY85" fmla="*/ 771134 h 1312468"/>
                <a:gd name="connsiteX86" fmla="*/ 60245 w 231895"/>
                <a:gd name="connsiteY86" fmla="*/ 761581 h 1312468"/>
                <a:gd name="connsiteX87" fmla="*/ 51902 w 231895"/>
                <a:gd name="connsiteY87" fmla="*/ 806815 h 1312468"/>
                <a:gd name="connsiteX88" fmla="*/ 35052 w 231895"/>
                <a:gd name="connsiteY88" fmla="*/ 801662 h 1312468"/>
                <a:gd name="connsiteX89" fmla="*/ 43444 w 231895"/>
                <a:gd name="connsiteY89" fmla="*/ 750036 h 1312468"/>
                <a:gd name="connsiteX90" fmla="*/ 52549 w 231895"/>
                <a:gd name="connsiteY90" fmla="*/ 684857 h 1312468"/>
                <a:gd name="connsiteX91" fmla="*/ 64818 w 231895"/>
                <a:gd name="connsiteY91" fmla="*/ 661254 h 1312468"/>
                <a:gd name="connsiteX92" fmla="*/ 57131 w 231895"/>
                <a:gd name="connsiteY92" fmla="*/ 627964 h 1312468"/>
                <a:gd name="connsiteX93" fmla="*/ 54931 w 231895"/>
                <a:gd name="connsiteY93" fmla="*/ 590083 h 1312468"/>
                <a:gd name="connsiteX94" fmla="*/ 66189 w 231895"/>
                <a:gd name="connsiteY94" fmla="*/ 588997 h 1312468"/>
                <a:gd name="connsiteX95" fmla="*/ 82572 w 231895"/>
                <a:gd name="connsiteY95" fmla="*/ 535695 h 1312468"/>
                <a:gd name="connsiteX96" fmla="*/ 101032 w 231895"/>
                <a:gd name="connsiteY96" fmla="*/ 483955 h 1312468"/>
                <a:gd name="connsiteX97" fmla="*/ 112338 w 231895"/>
                <a:gd name="connsiteY97" fmla="*/ 436636 h 1312468"/>
                <a:gd name="connsiteX98" fmla="*/ 106185 w 231895"/>
                <a:gd name="connsiteY98" fmla="*/ 389848 h 1312468"/>
                <a:gd name="connsiteX99" fmla="*/ 114157 w 231895"/>
                <a:gd name="connsiteY99" fmla="*/ 364407 h 1312468"/>
                <a:gd name="connsiteX100" fmla="*/ 110957 w 231895"/>
                <a:gd name="connsiteY100" fmla="*/ 326736 h 1312468"/>
                <a:gd name="connsiteX101" fmla="*/ 126578 w 231895"/>
                <a:gd name="connsiteY101" fmla="*/ 289903 h 1312468"/>
                <a:gd name="connsiteX102" fmla="*/ 131388 w 231895"/>
                <a:gd name="connsiteY102" fmla="*/ 232391 h 1312468"/>
                <a:gd name="connsiteX103" fmla="*/ 139960 w 231895"/>
                <a:gd name="connsiteY103" fmla="*/ 171678 h 1312468"/>
                <a:gd name="connsiteX104" fmla="*/ 148314 w 231895"/>
                <a:gd name="connsiteY104" fmla="*/ 107413 h 1312468"/>
                <a:gd name="connsiteX105" fmla="*/ 146361 w 231895"/>
                <a:gd name="connsiteY105" fmla="*/ 60988 h 1312468"/>
                <a:gd name="connsiteX106" fmla="*/ 140798 w 231895"/>
                <a:gd name="connsiteY106" fmla="*/ 21431 h 1312468"/>
                <a:gd name="connsiteX107" fmla="*/ 154534 w 231895"/>
                <a:gd name="connsiteY107" fmla="*/ 14297 h 1312468"/>
                <a:gd name="connsiteX108" fmla="*/ 161687 w 231895"/>
                <a:gd name="connsiteY108" fmla="*/ 0 h 1312468"/>
                <a:gd name="connsiteX109" fmla="*/ 174774 w 231895"/>
                <a:gd name="connsiteY109" fmla="*/ 18974 h 1312468"/>
                <a:gd name="connsiteX110" fmla="*/ 178346 w 231895"/>
                <a:gd name="connsiteY110" fmla="*/ 39185 h 1312468"/>
                <a:gd name="connsiteX111" fmla="*/ 192357 w 231895"/>
                <a:gd name="connsiteY111" fmla="*/ 51092 h 1312468"/>
                <a:gd name="connsiteX112" fmla="*/ 183947 w 231895"/>
                <a:gd name="connsiteY112" fmla="*/ 78410 h 1312468"/>
                <a:gd name="connsiteX113" fmla="*/ 198263 w 231895"/>
                <a:gd name="connsiteY113" fmla="*/ 110290 h 1312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231895" h="1312468">
                  <a:moveTo>
                    <a:pt x="187195" y="1177109"/>
                  </a:moveTo>
                  <a:lnTo>
                    <a:pt x="187214" y="1277769"/>
                  </a:lnTo>
                  <a:lnTo>
                    <a:pt x="215808" y="1277798"/>
                  </a:lnTo>
                  <a:lnTo>
                    <a:pt x="231896" y="1279036"/>
                  </a:lnTo>
                  <a:lnTo>
                    <a:pt x="223047" y="1297877"/>
                  </a:lnTo>
                  <a:lnTo>
                    <a:pt x="200149" y="1312469"/>
                  </a:lnTo>
                  <a:lnTo>
                    <a:pt x="187023" y="1310974"/>
                  </a:lnTo>
                  <a:lnTo>
                    <a:pt x="171212" y="1307163"/>
                  </a:lnTo>
                  <a:lnTo>
                    <a:pt x="151819" y="1293076"/>
                  </a:lnTo>
                  <a:lnTo>
                    <a:pt x="123844" y="1286341"/>
                  </a:lnTo>
                  <a:lnTo>
                    <a:pt x="90240" y="1260529"/>
                  </a:lnTo>
                  <a:lnTo>
                    <a:pt x="62960" y="1236021"/>
                  </a:lnTo>
                  <a:lnTo>
                    <a:pt x="26175" y="1185977"/>
                  </a:lnTo>
                  <a:lnTo>
                    <a:pt x="48196" y="1195254"/>
                  </a:lnTo>
                  <a:lnTo>
                    <a:pt x="85697" y="1225096"/>
                  </a:lnTo>
                  <a:lnTo>
                    <a:pt x="121120" y="1241327"/>
                  </a:lnTo>
                  <a:lnTo>
                    <a:pt x="134903" y="1220619"/>
                  </a:lnTo>
                  <a:lnTo>
                    <a:pt x="143561" y="1190120"/>
                  </a:lnTo>
                  <a:lnTo>
                    <a:pt x="168173" y="1171956"/>
                  </a:lnTo>
                  <a:lnTo>
                    <a:pt x="187195" y="1177109"/>
                  </a:lnTo>
                  <a:close/>
                  <a:moveTo>
                    <a:pt x="198263" y="110290"/>
                  </a:moveTo>
                  <a:lnTo>
                    <a:pt x="208721" y="149819"/>
                  </a:lnTo>
                  <a:lnTo>
                    <a:pt x="227990" y="145866"/>
                  </a:lnTo>
                  <a:lnTo>
                    <a:pt x="231229" y="153085"/>
                  </a:lnTo>
                  <a:lnTo>
                    <a:pt x="222066" y="183175"/>
                  </a:lnTo>
                  <a:lnTo>
                    <a:pt x="192977" y="197548"/>
                  </a:lnTo>
                  <a:lnTo>
                    <a:pt x="193824" y="246536"/>
                  </a:lnTo>
                  <a:lnTo>
                    <a:pt x="188252" y="256070"/>
                  </a:lnTo>
                  <a:lnTo>
                    <a:pt x="196244" y="267738"/>
                  </a:lnTo>
                  <a:lnTo>
                    <a:pt x="177394" y="286312"/>
                  </a:lnTo>
                  <a:lnTo>
                    <a:pt x="159906" y="314534"/>
                  </a:lnTo>
                  <a:lnTo>
                    <a:pt x="150362" y="342119"/>
                  </a:lnTo>
                  <a:lnTo>
                    <a:pt x="152886" y="371789"/>
                  </a:lnTo>
                  <a:lnTo>
                    <a:pt x="136427" y="403631"/>
                  </a:lnTo>
                  <a:lnTo>
                    <a:pt x="148733" y="457867"/>
                  </a:lnTo>
                  <a:lnTo>
                    <a:pt x="155667" y="463667"/>
                  </a:lnTo>
                  <a:lnTo>
                    <a:pt x="155600" y="493061"/>
                  </a:lnTo>
                  <a:lnTo>
                    <a:pt x="140360" y="524618"/>
                  </a:lnTo>
                  <a:lnTo>
                    <a:pt x="140979" y="551936"/>
                  </a:lnTo>
                  <a:lnTo>
                    <a:pt x="120758" y="573491"/>
                  </a:lnTo>
                  <a:lnTo>
                    <a:pt x="120843" y="604132"/>
                  </a:lnTo>
                  <a:lnTo>
                    <a:pt x="128969" y="637108"/>
                  </a:lnTo>
                  <a:lnTo>
                    <a:pt x="112976" y="649491"/>
                  </a:lnTo>
                  <a:lnTo>
                    <a:pt x="105832" y="680190"/>
                  </a:lnTo>
                  <a:lnTo>
                    <a:pt x="99555" y="715918"/>
                  </a:lnTo>
                  <a:lnTo>
                    <a:pt x="104070" y="759190"/>
                  </a:lnTo>
                  <a:lnTo>
                    <a:pt x="93336" y="766496"/>
                  </a:lnTo>
                  <a:lnTo>
                    <a:pt x="99574" y="808358"/>
                  </a:lnTo>
                  <a:lnTo>
                    <a:pt x="111633" y="822284"/>
                  </a:lnTo>
                  <a:lnTo>
                    <a:pt x="102832" y="837809"/>
                  </a:lnTo>
                  <a:lnTo>
                    <a:pt x="115224" y="845258"/>
                  </a:lnTo>
                  <a:lnTo>
                    <a:pt x="118081" y="859336"/>
                  </a:lnTo>
                  <a:lnTo>
                    <a:pt x="106423" y="866461"/>
                  </a:lnTo>
                  <a:lnTo>
                    <a:pt x="109290" y="888663"/>
                  </a:lnTo>
                  <a:lnTo>
                    <a:pt x="99536" y="939622"/>
                  </a:lnTo>
                  <a:lnTo>
                    <a:pt x="85382" y="973150"/>
                  </a:lnTo>
                  <a:lnTo>
                    <a:pt x="88487" y="993267"/>
                  </a:lnTo>
                  <a:lnTo>
                    <a:pt x="80020" y="1018794"/>
                  </a:lnTo>
                  <a:lnTo>
                    <a:pt x="59531" y="1036682"/>
                  </a:lnTo>
                  <a:lnTo>
                    <a:pt x="61865" y="1080487"/>
                  </a:lnTo>
                  <a:lnTo>
                    <a:pt x="71276" y="1095689"/>
                  </a:lnTo>
                  <a:lnTo>
                    <a:pt x="89059" y="1092984"/>
                  </a:lnTo>
                  <a:lnTo>
                    <a:pt x="88544" y="1124722"/>
                  </a:lnTo>
                  <a:lnTo>
                    <a:pt x="99613" y="1149791"/>
                  </a:lnTo>
                  <a:lnTo>
                    <a:pt x="164144" y="1155582"/>
                  </a:lnTo>
                  <a:lnTo>
                    <a:pt x="188900" y="1162393"/>
                  </a:lnTo>
                  <a:lnTo>
                    <a:pt x="165135" y="1162069"/>
                  </a:lnTo>
                  <a:lnTo>
                    <a:pt x="152276" y="1172813"/>
                  </a:lnTo>
                  <a:lnTo>
                    <a:pt x="128178" y="1188710"/>
                  </a:lnTo>
                  <a:lnTo>
                    <a:pt x="123873" y="1230411"/>
                  </a:lnTo>
                  <a:lnTo>
                    <a:pt x="112566" y="1231459"/>
                  </a:lnTo>
                  <a:lnTo>
                    <a:pt x="82429" y="1216837"/>
                  </a:lnTo>
                  <a:lnTo>
                    <a:pt x="51864" y="1185872"/>
                  </a:lnTo>
                  <a:lnTo>
                    <a:pt x="51864" y="1185872"/>
                  </a:lnTo>
                  <a:lnTo>
                    <a:pt x="18640" y="1160802"/>
                  </a:lnTo>
                  <a:lnTo>
                    <a:pt x="10278" y="1133427"/>
                  </a:lnTo>
                  <a:lnTo>
                    <a:pt x="17840" y="1108443"/>
                  </a:lnTo>
                  <a:lnTo>
                    <a:pt x="4401" y="1080468"/>
                  </a:lnTo>
                  <a:lnTo>
                    <a:pt x="981" y="1010517"/>
                  </a:lnTo>
                  <a:lnTo>
                    <a:pt x="12335" y="972102"/>
                  </a:lnTo>
                  <a:lnTo>
                    <a:pt x="40538" y="941746"/>
                  </a:lnTo>
                  <a:lnTo>
                    <a:pt x="0" y="930411"/>
                  </a:lnTo>
                  <a:lnTo>
                    <a:pt x="25432" y="896417"/>
                  </a:lnTo>
                  <a:lnTo>
                    <a:pt x="34528" y="833961"/>
                  </a:lnTo>
                  <a:lnTo>
                    <a:pt x="64208" y="847048"/>
                  </a:lnTo>
                  <a:lnTo>
                    <a:pt x="78162" y="771134"/>
                  </a:lnTo>
                  <a:lnTo>
                    <a:pt x="60245" y="761581"/>
                  </a:lnTo>
                  <a:lnTo>
                    <a:pt x="51902" y="806815"/>
                  </a:lnTo>
                  <a:lnTo>
                    <a:pt x="35052" y="801662"/>
                  </a:lnTo>
                  <a:lnTo>
                    <a:pt x="43444" y="750036"/>
                  </a:lnTo>
                  <a:lnTo>
                    <a:pt x="52549" y="684857"/>
                  </a:lnTo>
                  <a:lnTo>
                    <a:pt x="64818" y="661254"/>
                  </a:lnTo>
                  <a:lnTo>
                    <a:pt x="57131" y="627964"/>
                  </a:lnTo>
                  <a:lnTo>
                    <a:pt x="54931" y="590083"/>
                  </a:lnTo>
                  <a:lnTo>
                    <a:pt x="66189" y="588997"/>
                  </a:lnTo>
                  <a:lnTo>
                    <a:pt x="82572" y="535695"/>
                  </a:lnTo>
                  <a:lnTo>
                    <a:pt x="101032" y="483955"/>
                  </a:lnTo>
                  <a:lnTo>
                    <a:pt x="112338" y="436636"/>
                  </a:lnTo>
                  <a:lnTo>
                    <a:pt x="106185" y="389848"/>
                  </a:lnTo>
                  <a:lnTo>
                    <a:pt x="114157" y="364407"/>
                  </a:lnTo>
                  <a:lnTo>
                    <a:pt x="110957" y="326736"/>
                  </a:lnTo>
                  <a:lnTo>
                    <a:pt x="126578" y="289903"/>
                  </a:lnTo>
                  <a:lnTo>
                    <a:pt x="131388" y="232391"/>
                  </a:lnTo>
                  <a:lnTo>
                    <a:pt x="139960" y="171678"/>
                  </a:lnTo>
                  <a:lnTo>
                    <a:pt x="148314" y="107413"/>
                  </a:lnTo>
                  <a:lnTo>
                    <a:pt x="146361" y="60988"/>
                  </a:lnTo>
                  <a:lnTo>
                    <a:pt x="140798" y="21431"/>
                  </a:lnTo>
                  <a:lnTo>
                    <a:pt x="154534" y="14297"/>
                  </a:lnTo>
                  <a:lnTo>
                    <a:pt x="161687" y="0"/>
                  </a:lnTo>
                  <a:lnTo>
                    <a:pt x="174774" y="18974"/>
                  </a:lnTo>
                  <a:lnTo>
                    <a:pt x="178346" y="39185"/>
                  </a:lnTo>
                  <a:lnTo>
                    <a:pt x="192357" y="51092"/>
                  </a:lnTo>
                  <a:lnTo>
                    <a:pt x="183947" y="78410"/>
                  </a:lnTo>
                  <a:lnTo>
                    <a:pt x="198263" y="1102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64" name="Forme libre : forme 5683">
              <a:extLst>
                <a:ext uri="{FF2B5EF4-FFF2-40B4-BE49-F238E27FC236}">
                  <a16:creationId xmlns:a16="http://schemas.microsoft.com/office/drawing/2014/main" id="{04ECCABE-CE4E-D42B-34B0-E3C4467CA332}"/>
                </a:ext>
              </a:extLst>
            </p:cNvPr>
            <p:cNvSpPr/>
            <p:nvPr/>
          </p:nvSpPr>
          <p:spPr>
            <a:xfrm>
              <a:off x="6047603" y="4398582"/>
              <a:ext cx="200939" cy="298237"/>
            </a:xfrm>
            <a:custGeom>
              <a:avLst/>
              <a:gdLst>
                <a:gd name="connsiteX0" fmla="*/ 122511 w 200939"/>
                <a:gd name="connsiteY0" fmla="*/ 283912 h 298237"/>
                <a:gd name="connsiteX1" fmla="*/ 119177 w 200939"/>
                <a:gd name="connsiteY1" fmla="*/ 282464 h 298237"/>
                <a:gd name="connsiteX2" fmla="*/ 103375 w 200939"/>
                <a:gd name="connsiteY2" fmla="*/ 285883 h 298237"/>
                <a:gd name="connsiteX3" fmla="*/ 87144 w 200939"/>
                <a:gd name="connsiteY3" fmla="*/ 282331 h 298237"/>
                <a:gd name="connsiteX4" fmla="*/ 74457 w 200939"/>
                <a:gd name="connsiteY4" fmla="*/ 284074 h 298237"/>
                <a:gd name="connsiteX5" fmla="*/ 30995 w 200939"/>
                <a:gd name="connsiteY5" fmla="*/ 283464 h 298237"/>
                <a:gd name="connsiteX6" fmla="*/ 34890 w 200939"/>
                <a:gd name="connsiteY6" fmla="*/ 262500 h 298237"/>
                <a:gd name="connsiteX7" fmla="*/ 24460 w 200939"/>
                <a:gd name="connsiteY7" fmla="*/ 244935 h 298237"/>
                <a:gd name="connsiteX8" fmla="*/ 12268 w 200939"/>
                <a:gd name="connsiteY8" fmla="*/ 240421 h 298237"/>
                <a:gd name="connsiteX9" fmla="*/ 6839 w 200939"/>
                <a:gd name="connsiteY9" fmla="*/ 228505 h 298237"/>
                <a:gd name="connsiteX10" fmla="*/ 0 w 200939"/>
                <a:gd name="connsiteY10" fmla="*/ 224695 h 298237"/>
                <a:gd name="connsiteX11" fmla="*/ 305 w 200939"/>
                <a:gd name="connsiteY11" fmla="*/ 217332 h 298237"/>
                <a:gd name="connsiteX12" fmla="*/ 7182 w 200939"/>
                <a:gd name="connsiteY12" fmla="*/ 198482 h 298237"/>
                <a:gd name="connsiteX13" fmla="*/ 19888 w 200939"/>
                <a:gd name="connsiteY13" fmla="*/ 172746 h 298237"/>
                <a:gd name="connsiteX14" fmla="*/ 27613 w 200939"/>
                <a:gd name="connsiteY14" fmla="*/ 172507 h 298237"/>
                <a:gd name="connsiteX15" fmla="*/ 43520 w 200939"/>
                <a:gd name="connsiteY15" fmla="*/ 156867 h 298237"/>
                <a:gd name="connsiteX16" fmla="*/ 53645 w 200939"/>
                <a:gd name="connsiteY16" fmla="*/ 156429 h 298237"/>
                <a:gd name="connsiteX17" fmla="*/ 68637 w 200939"/>
                <a:gd name="connsiteY17" fmla="*/ 167412 h 298237"/>
                <a:gd name="connsiteX18" fmla="*/ 86992 w 200939"/>
                <a:gd name="connsiteY18" fmla="*/ 158410 h 298237"/>
                <a:gd name="connsiteX19" fmla="*/ 89488 w 200939"/>
                <a:gd name="connsiteY19" fmla="*/ 147295 h 298237"/>
                <a:gd name="connsiteX20" fmla="*/ 95488 w 200939"/>
                <a:gd name="connsiteY20" fmla="*/ 136512 h 298237"/>
                <a:gd name="connsiteX21" fmla="*/ 99622 w 200939"/>
                <a:gd name="connsiteY21" fmla="*/ 122949 h 298237"/>
                <a:gd name="connsiteX22" fmla="*/ 113900 w 200939"/>
                <a:gd name="connsiteY22" fmla="*/ 111900 h 298237"/>
                <a:gd name="connsiteX23" fmla="*/ 119291 w 200939"/>
                <a:gd name="connsiteY23" fmla="*/ 93088 h 298237"/>
                <a:gd name="connsiteX24" fmla="*/ 124958 w 200939"/>
                <a:gd name="connsiteY24" fmla="*/ 87097 h 298237"/>
                <a:gd name="connsiteX25" fmla="*/ 128721 w 200939"/>
                <a:gd name="connsiteY25" fmla="*/ 73095 h 298237"/>
                <a:gd name="connsiteX26" fmla="*/ 135789 w 200939"/>
                <a:gd name="connsiteY26" fmla="*/ 55874 h 298237"/>
                <a:gd name="connsiteX27" fmla="*/ 158277 w 200939"/>
                <a:gd name="connsiteY27" fmla="*/ 34947 h 298237"/>
                <a:gd name="connsiteX28" fmla="*/ 159696 w 200939"/>
                <a:gd name="connsiteY28" fmla="*/ 25936 h 298237"/>
                <a:gd name="connsiteX29" fmla="*/ 162601 w 200939"/>
                <a:gd name="connsiteY29" fmla="*/ 21041 h 298237"/>
                <a:gd name="connsiteX30" fmla="*/ 152029 w 200939"/>
                <a:gd name="connsiteY30" fmla="*/ 10220 h 298237"/>
                <a:gd name="connsiteX31" fmla="*/ 152886 w 200939"/>
                <a:gd name="connsiteY31" fmla="*/ 1562 h 298237"/>
                <a:gd name="connsiteX32" fmla="*/ 160429 w 200939"/>
                <a:gd name="connsiteY32" fmla="*/ 0 h 298237"/>
                <a:gd name="connsiteX33" fmla="*/ 171050 w 200939"/>
                <a:gd name="connsiteY33" fmla="*/ 17412 h 298237"/>
                <a:gd name="connsiteX34" fmla="*/ 172831 w 200939"/>
                <a:gd name="connsiteY34" fmla="*/ 35405 h 298237"/>
                <a:gd name="connsiteX35" fmla="*/ 171860 w 200939"/>
                <a:gd name="connsiteY35" fmla="*/ 53369 h 298237"/>
                <a:gd name="connsiteX36" fmla="*/ 186395 w 200939"/>
                <a:gd name="connsiteY36" fmla="*/ 77896 h 298237"/>
                <a:gd name="connsiteX37" fmla="*/ 171479 w 200939"/>
                <a:gd name="connsiteY37" fmla="*/ 77629 h 298237"/>
                <a:gd name="connsiteX38" fmla="*/ 163944 w 200939"/>
                <a:gd name="connsiteY38" fmla="*/ 79553 h 298237"/>
                <a:gd name="connsiteX39" fmla="*/ 151771 w 200939"/>
                <a:gd name="connsiteY39" fmla="*/ 76848 h 298237"/>
                <a:gd name="connsiteX40" fmla="*/ 145961 w 200939"/>
                <a:gd name="connsiteY40" fmla="*/ 89554 h 298237"/>
                <a:gd name="connsiteX41" fmla="*/ 161735 w 200939"/>
                <a:gd name="connsiteY41" fmla="*/ 105242 h 298237"/>
                <a:gd name="connsiteX42" fmla="*/ 173365 w 200939"/>
                <a:gd name="connsiteY42" fmla="*/ 109795 h 298237"/>
                <a:gd name="connsiteX43" fmla="*/ 177117 w 200939"/>
                <a:gd name="connsiteY43" fmla="*/ 120901 h 298237"/>
                <a:gd name="connsiteX44" fmla="*/ 185547 w 200939"/>
                <a:gd name="connsiteY44" fmla="*/ 139379 h 298237"/>
                <a:gd name="connsiteX45" fmla="*/ 181356 w 200939"/>
                <a:gd name="connsiteY45" fmla="*/ 146628 h 298237"/>
                <a:gd name="connsiteX46" fmla="*/ 167926 w 200939"/>
                <a:gd name="connsiteY46" fmla="*/ 173707 h 298237"/>
                <a:gd name="connsiteX47" fmla="*/ 161515 w 200939"/>
                <a:gd name="connsiteY47" fmla="*/ 178556 h 298237"/>
                <a:gd name="connsiteX48" fmla="*/ 159458 w 200939"/>
                <a:gd name="connsiteY48" fmla="*/ 199225 h 298237"/>
                <a:gd name="connsiteX49" fmla="*/ 162115 w 200939"/>
                <a:gd name="connsiteY49" fmla="*/ 210445 h 298237"/>
                <a:gd name="connsiteX50" fmla="*/ 159963 w 200939"/>
                <a:gd name="connsiteY50" fmla="*/ 218380 h 298237"/>
                <a:gd name="connsiteX51" fmla="*/ 172583 w 200939"/>
                <a:gd name="connsiteY51" fmla="*/ 232277 h 298237"/>
                <a:gd name="connsiteX52" fmla="*/ 174860 w 200939"/>
                <a:gd name="connsiteY52" fmla="*/ 241821 h 298237"/>
                <a:gd name="connsiteX53" fmla="*/ 184719 w 200939"/>
                <a:gd name="connsiteY53" fmla="*/ 255546 h 298237"/>
                <a:gd name="connsiteX54" fmla="*/ 196930 w 200939"/>
                <a:gd name="connsiteY54" fmla="*/ 264090 h 298237"/>
                <a:gd name="connsiteX55" fmla="*/ 198129 w 200939"/>
                <a:gd name="connsiteY55" fmla="*/ 276206 h 298237"/>
                <a:gd name="connsiteX56" fmla="*/ 200940 w 200939"/>
                <a:gd name="connsiteY56" fmla="*/ 283902 h 298237"/>
                <a:gd name="connsiteX57" fmla="*/ 199025 w 200939"/>
                <a:gd name="connsiteY57" fmla="*/ 298237 h 298237"/>
                <a:gd name="connsiteX58" fmla="*/ 177803 w 200939"/>
                <a:gd name="connsiteY58" fmla="*/ 291960 h 298237"/>
                <a:gd name="connsiteX59" fmla="*/ 156210 w 200939"/>
                <a:gd name="connsiteY59" fmla="*/ 284959 h 298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00939" h="298237">
                  <a:moveTo>
                    <a:pt x="122511" y="283912"/>
                  </a:moveTo>
                  <a:lnTo>
                    <a:pt x="119177" y="282464"/>
                  </a:lnTo>
                  <a:lnTo>
                    <a:pt x="103375" y="285883"/>
                  </a:lnTo>
                  <a:lnTo>
                    <a:pt x="87144" y="282331"/>
                  </a:lnTo>
                  <a:lnTo>
                    <a:pt x="74457" y="284074"/>
                  </a:lnTo>
                  <a:lnTo>
                    <a:pt x="30995" y="283464"/>
                  </a:lnTo>
                  <a:lnTo>
                    <a:pt x="34890" y="262500"/>
                  </a:lnTo>
                  <a:lnTo>
                    <a:pt x="24460" y="244935"/>
                  </a:lnTo>
                  <a:lnTo>
                    <a:pt x="12268" y="240421"/>
                  </a:lnTo>
                  <a:lnTo>
                    <a:pt x="6839" y="228505"/>
                  </a:lnTo>
                  <a:lnTo>
                    <a:pt x="0" y="224695"/>
                  </a:lnTo>
                  <a:lnTo>
                    <a:pt x="305" y="217332"/>
                  </a:lnTo>
                  <a:lnTo>
                    <a:pt x="7182" y="198482"/>
                  </a:lnTo>
                  <a:lnTo>
                    <a:pt x="19888" y="172746"/>
                  </a:lnTo>
                  <a:lnTo>
                    <a:pt x="27613" y="172507"/>
                  </a:lnTo>
                  <a:lnTo>
                    <a:pt x="43520" y="156867"/>
                  </a:lnTo>
                  <a:lnTo>
                    <a:pt x="53645" y="156429"/>
                  </a:lnTo>
                  <a:lnTo>
                    <a:pt x="68637" y="167412"/>
                  </a:lnTo>
                  <a:lnTo>
                    <a:pt x="86992" y="158410"/>
                  </a:lnTo>
                  <a:lnTo>
                    <a:pt x="89488" y="147295"/>
                  </a:lnTo>
                  <a:lnTo>
                    <a:pt x="95488" y="136512"/>
                  </a:lnTo>
                  <a:lnTo>
                    <a:pt x="99622" y="122949"/>
                  </a:lnTo>
                  <a:lnTo>
                    <a:pt x="113900" y="111900"/>
                  </a:lnTo>
                  <a:lnTo>
                    <a:pt x="119291" y="93088"/>
                  </a:lnTo>
                  <a:lnTo>
                    <a:pt x="124958" y="87097"/>
                  </a:lnTo>
                  <a:lnTo>
                    <a:pt x="128721" y="73095"/>
                  </a:lnTo>
                  <a:lnTo>
                    <a:pt x="135789" y="55874"/>
                  </a:lnTo>
                  <a:lnTo>
                    <a:pt x="158277" y="34947"/>
                  </a:lnTo>
                  <a:lnTo>
                    <a:pt x="159696" y="25936"/>
                  </a:lnTo>
                  <a:lnTo>
                    <a:pt x="162601" y="21041"/>
                  </a:lnTo>
                  <a:lnTo>
                    <a:pt x="152029" y="10220"/>
                  </a:lnTo>
                  <a:lnTo>
                    <a:pt x="152886" y="1562"/>
                  </a:lnTo>
                  <a:lnTo>
                    <a:pt x="160429" y="0"/>
                  </a:lnTo>
                  <a:lnTo>
                    <a:pt x="171050" y="17412"/>
                  </a:lnTo>
                  <a:lnTo>
                    <a:pt x="172831" y="35405"/>
                  </a:lnTo>
                  <a:lnTo>
                    <a:pt x="171860" y="53369"/>
                  </a:lnTo>
                  <a:lnTo>
                    <a:pt x="186395" y="77896"/>
                  </a:lnTo>
                  <a:lnTo>
                    <a:pt x="171479" y="77629"/>
                  </a:lnTo>
                  <a:lnTo>
                    <a:pt x="163944" y="79553"/>
                  </a:lnTo>
                  <a:lnTo>
                    <a:pt x="151771" y="76848"/>
                  </a:lnTo>
                  <a:lnTo>
                    <a:pt x="145961" y="89554"/>
                  </a:lnTo>
                  <a:lnTo>
                    <a:pt x="161735" y="105242"/>
                  </a:lnTo>
                  <a:lnTo>
                    <a:pt x="173365" y="109795"/>
                  </a:lnTo>
                  <a:lnTo>
                    <a:pt x="177117" y="120901"/>
                  </a:lnTo>
                  <a:lnTo>
                    <a:pt x="185547" y="139379"/>
                  </a:lnTo>
                  <a:lnTo>
                    <a:pt x="181356" y="146628"/>
                  </a:lnTo>
                  <a:lnTo>
                    <a:pt x="167926" y="173707"/>
                  </a:lnTo>
                  <a:lnTo>
                    <a:pt x="161515" y="178556"/>
                  </a:lnTo>
                  <a:lnTo>
                    <a:pt x="159458" y="199225"/>
                  </a:lnTo>
                  <a:lnTo>
                    <a:pt x="162115" y="210445"/>
                  </a:lnTo>
                  <a:lnTo>
                    <a:pt x="159963" y="218380"/>
                  </a:lnTo>
                  <a:lnTo>
                    <a:pt x="172583" y="232277"/>
                  </a:lnTo>
                  <a:lnTo>
                    <a:pt x="174860" y="241821"/>
                  </a:lnTo>
                  <a:lnTo>
                    <a:pt x="184719" y="255546"/>
                  </a:lnTo>
                  <a:lnTo>
                    <a:pt x="196930" y="264090"/>
                  </a:lnTo>
                  <a:lnTo>
                    <a:pt x="198129" y="276206"/>
                  </a:lnTo>
                  <a:lnTo>
                    <a:pt x="200940" y="283902"/>
                  </a:lnTo>
                  <a:lnTo>
                    <a:pt x="199025" y="298237"/>
                  </a:lnTo>
                  <a:lnTo>
                    <a:pt x="177803" y="291960"/>
                  </a:lnTo>
                  <a:lnTo>
                    <a:pt x="156210" y="284959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65" name="Forme libre : forme 5684">
              <a:extLst>
                <a:ext uri="{FF2B5EF4-FFF2-40B4-BE49-F238E27FC236}">
                  <a16:creationId xmlns:a16="http://schemas.microsoft.com/office/drawing/2014/main" id="{6BB0026F-639C-16B5-DFE9-DBA08E208BF0}"/>
                </a:ext>
              </a:extLst>
            </p:cNvPr>
            <p:cNvSpPr/>
            <p:nvPr/>
          </p:nvSpPr>
          <p:spPr>
            <a:xfrm>
              <a:off x="7788544" y="3055100"/>
              <a:ext cx="1638471" cy="1196368"/>
            </a:xfrm>
            <a:custGeom>
              <a:avLst/>
              <a:gdLst>
                <a:gd name="connsiteX0" fmla="*/ 979151 w 1638471"/>
                <a:gd name="connsiteY0" fmla="*/ 1182919 h 1196368"/>
                <a:gd name="connsiteX1" fmla="*/ 956072 w 1638471"/>
                <a:gd name="connsiteY1" fmla="*/ 1196369 h 1196368"/>
                <a:gd name="connsiteX2" fmla="*/ 934174 w 1638471"/>
                <a:gd name="connsiteY2" fmla="*/ 1187701 h 1196368"/>
                <a:gd name="connsiteX3" fmla="*/ 933402 w 1638471"/>
                <a:gd name="connsiteY3" fmla="*/ 1163555 h 1196368"/>
                <a:gd name="connsiteX4" fmla="*/ 946566 w 1638471"/>
                <a:gd name="connsiteY4" fmla="*/ 1150782 h 1196368"/>
                <a:gd name="connsiteX5" fmla="*/ 975741 w 1638471"/>
                <a:gd name="connsiteY5" fmla="*/ 1142867 h 1196368"/>
                <a:gd name="connsiteX6" fmla="*/ 991095 w 1638471"/>
                <a:gd name="connsiteY6" fmla="*/ 1143543 h 1196368"/>
                <a:gd name="connsiteX7" fmla="*/ 997067 w 1638471"/>
                <a:gd name="connsiteY7" fmla="*/ 1154316 h 1196368"/>
                <a:gd name="connsiteX8" fmla="*/ 985332 w 1638471"/>
                <a:gd name="connsiteY8" fmla="*/ 1166708 h 1196368"/>
                <a:gd name="connsiteX9" fmla="*/ 979151 w 1638471"/>
                <a:gd name="connsiteY9" fmla="*/ 1182919 h 1196368"/>
                <a:gd name="connsiteX10" fmla="*/ 1441666 w 1638471"/>
                <a:gd name="connsiteY10" fmla="*/ 158791 h 1196368"/>
                <a:gd name="connsiteX11" fmla="*/ 1488148 w 1638471"/>
                <a:gd name="connsiteY11" fmla="*/ 171926 h 1196368"/>
                <a:gd name="connsiteX12" fmla="*/ 1519781 w 1638471"/>
                <a:gd name="connsiteY12" fmla="*/ 200835 h 1196368"/>
                <a:gd name="connsiteX13" fmla="*/ 1530591 w 1638471"/>
                <a:gd name="connsiteY13" fmla="*/ 238411 h 1196368"/>
                <a:gd name="connsiteX14" fmla="*/ 1571177 w 1638471"/>
                <a:gd name="connsiteY14" fmla="*/ 238458 h 1196368"/>
                <a:gd name="connsiteX15" fmla="*/ 1594332 w 1638471"/>
                <a:gd name="connsiteY15" fmla="*/ 222771 h 1196368"/>
                <a:gd name="connsiteX16" fmla="*/ 1638472 w 1638471"/>
                <a:gd name="connsiteY16" fmla="*/ 210969 h 1196368"/>
                <a:gd name="connsiteX17" fmla="*/ 1624432 w 1638471"/>
                <a:gd name="connsiteY17" fmla="*/ 246793 h 1196368"/>
                <a:gd name="connsiteX18" fmla="*/ 1614059 w 1638471"/>
                <a:gd name="connsiteY18" fmla="*/ 261195 h 1196368"/>
                <a:gd name="connsiteX19" fmla="*/ 1604905 w 1638471"/>
                <a:gd name="connsiteY19" fmla="*/ 303695 h 1196368"/>
                <a:gd name="connsiteX20" fmla="*/ 1586941 w 1638471"/>
                <a:gd name="connsiteY20" fmla="*/ 340728 h 1196368"/>
                <a:gd name="connsiteX21" fmla="*/ 1554537 w 1638471"/>
                <a:gd name="connsiteY21" fmla="*/ 334032 h 1196368"/>
                <a:gd name="connsiteX22" fmla="*/ 1531611 w 1638471"/>
                <a:gd name="connsiteY22" fmla="*/ 347367 h 1196368"/>
                <a:gd name="connsiteX23" fmla="*/ 1538649 w 1638471"/>
                <a:gd name="connsiteY23" fmla="*/ 379343 h 1196368"/>
                <a:gd name="connsiteX24" fmla="*/ 1534801 w 1638471"/>
                <a:gd name="connsiteY24" fmla="*/ 422710 h 1196368"/>
                <a:gd name="connsiteX25" fmla="*/ 1521161 w 1638471"/>
                <a:gd name="connsiteY25" fmla="*/ 423691 h 1196368"/>
                <a:gd name="connsiteX26" fmla="*/ 1521323 w 1638471"/>
                <a:gd name="connsiteY26" fmla="*/ 442065 h 1196368"/>
                <a:gd name="connsiteX27" fmla="*/ 1504073 w 1638471"/>
                <a:gd name="connsiteY27" fmla="*/ 420691 h 1196368"/>
                <a:gd name="connsiteX28" fmla="*/ 1493463 w 1638471"/>
                <a:gd name="connsiteY28" fmla="*/ 440979 h 1196368"/>
                <a:gd name="connsiteX29" fmla="*/ 1452220 w 1638471"/>
                <a:gd name="connsiteY29" fmla="*/ 456457 h 1196368"/>
                <a:gd name="connsiteX30" fmla="*/ 1456391 w 1638471"/>
                <a:gd name="connsiteY30" fmla="*/ 475269 h 1196368"/>
                <a:gd name="connsiteX31" fmla="*/ 1433303 w 1638471"/>
                <a:gd name="connsiteY31" fmla="*/ 473974 h 1196368"/>
                <a:gd name="connsiteX32" fmla="*/ 1420625 w 1638471"/>
                <a:gd name="connsiteY32" fmla="*/ 462810 h 1196368"/>
                <a:gd name="connsiteX33" fmla="*/ 1402270 w 1638471"/>
                <a:gd name="connsiteY33" fmla="*/ 487994 h 1196368"/>
                <a:gd name="connsiteX34" fmla="*/ 1372838 w 1638471"/>
                <a:gd name="connsiteY34" fmla="*/ 506892 h 1196368"/>
                <a:gd name="connsiteX35" fmla="*/ 1351093 w 1638471"/>
                <a:gd name="connsiteY35" fmla="*/ 529247 h 1196368"/>
                <a:gd name="connsiteX36" fmla="*/ 1313755 w 1638471"/>
                <a:gd name="connsiteY36" fmla="*/ 539315 h 1196368"/>
                <a:gd name="connsiteX37" fmla="*/ 1294095 w 1638471"/>
                <a:gd name="connsiteY37" fmla="*/ 555403 h 1196368"/>
                <a:gd name="connsiteX38" fmla="*/ 1265329 w 1638471"/>
                <a:gd name="connsiteY38" fmla="*/ 564747 h 1196368"/>
                <a:gd name="connsiteX39" fmla="*/ 1279522 w 1638471"/>
                <a:gd name="connsiteY39" fmla="*/ 548859 h 1196368"/>
                <a:gd name="connsiteX40" fmla="*/ 1273930 w 1638471"/>
                <a:gd name="connsiteY40" fmla="*/ 535419 h 1196368"/>
                <a:gd name="connsiteX41" fmla="*/ 1295086 w 1638471"/>
                <a:gd name="connsiteY41" fmla="*/ 512045 h 1196368"/>
                <a:gd name="connsiteX42" fmla="*/ 1280979 w 1638471"/>
                <a:gd name="connsiteY42" fmla="*/ 493662 h 1196368"/>
                <a:gd name="connsiteX43" fmla="*/ 1257700 w 1638471"/>
                <a:gd name="connsiteY43" fmla="*/ 506063 h 1196368"/>
                <a:gd name="connsiteX44" fmla="*/ 1227553 w 1638471"/>
                <a:gd name="connsiteY44" fmla="*/ 530295 h 1196368"/>
                <a:gd name="connsiteX45" fmla="*/ 1211094 w 1638471"/>
                <a:gd name="connsiteY45" fmla="*/ 552583 h 1196368"/>
                <a:gd name="connsiteX46" fmla="*/ 1184900 w 1638471"/>
                <a:gd name="connsiteY46" fmla="*/ 554231 h 1196368"/>
                <a:gd name="connsiteX47" fmla="*/ 1171270 w 1638471"/>
                <a:gd name="connsiteY47" fmla="*/ 570195 h 1196368"/>
                <a:gd name="connsiteX48" fmla="*/ 1185357 w 1638471"/>
                <a:gd name="connsiteY48" fmla="*/ 593141 h 1196368"/>
                <a:gd name="connsiteX49" fmla="*/ 1207208 w 1638471"/>
                <a:gd name="connsiteY49" fmla="*/ 598684 h 1196368"/>
                <a:gd name="connsiteX50" fmla="*/ 1208113 w 1638471"/>
                <a:gd name="connsiteY50" fmla="*/ 613763 h 1196368"/>
                <a:gd name="connsiteX51" fmla="*/ 1229239 w 1638471"/>
                <a:gd name="connsiteY51" fmla="*/ 623526 h 1196368"/>
                <a:gd name="connsiteX52" fmla="*/ 1259176 w 1638471"/>
                <a:gd name="connsiteY52" fmla="*/ 599589 h 1196368"/>
                <a:gd name="connsiteX53" fmla="*/ 1282884 w 1638471"/>
                <a:gd name="connsiteY53" fmla="*/ 612677 h 1196368"/>
                <a:gd name="connsiteX54" fmla="*/ 1300153 w 1638471"/>
                <a:gd name="connsiteY54" fmla="*/ 613563 h 1196368"/>
                <a:gd name="connsiteX55" fmla="*/ 1304487 w 1638471"/>
                <a:gd name="connsiteY55" fmla="*/ 631050 h 1196368"/>
                <a:gd name="connsiteX56" fmla="*/ 1266673 w 1638471"/>
                <a:gd name="connsiteY56" fmla="*/ 640328 h 1196368"/>
                <a:gd name="connsiteX57" fmla="*/ 1254185 w 1638471"/>
                <a:gd name="connsiteY57" fmla="*/ 658159 h 1196368"/>
                <a:gd name="connsiteX58" fmla="*/ 1228211 w 1638471"/>
                <a:gd name="connsiteY58" fmla="*/ 674618 h 1196368"/>
                <a:gd name="connsiteX59" fmla="*/ 1214504 w 1638471"/>
                <a:gd name="connsiteY59" fmla="*/ 697411 h 1196368"/>
                <a:gd name="connsiteX60" fmla="*/ 1243260 w 1638471"/>
                <a:gd name="connsiteY60" fmla="*/ 715166 h 1196368"/>
                <a:gd name="connsiteX61" fmla="*/ 1253757 w 1638471"/>
                <a:gd name="connsiteY61" fmla="*/ 746665 h 1196368"/>
                <a:gd name="connsiteX62" fmla="*/ 1270006 w 1638471"/>
                <a:gd name="connsiteY62" fmla="*/ 775678 h 1196368"/>
                <a:gd name="connsiteX63" fmla="*/ 1288142 w 1638471"/>
                <a:gd name="connsiteY63" fmla="*/ 799767 h 1196368"/>
                <a:gd name="connsiteX64" fmla="*/ 1287703 w 1638471"/>
                <a:gd name="connsiteY64" fmla="*/ 822875 h 1196368"/>
                <a:gd name="connsiteX65" fmla="*/ 1270940 w 1638471"/>
                <a:gd name="connsiteY65" fmla="*/ 831323 h 1196368"/>
                <a:gd name="connsiteX66" fmla="*/ 1277331 w 1638471"/>
                <a:gd name="connsiteY66" fmla="*/ 847754 h 1196368"/>
                <a:gd name="connsiteX67" fmla="*/ 1293047 w 1638471"/>
                <a:gd name="connsiteY67" fmla="*/ 857279 h 1196368"/>
                <a:gd name="connsiteX68" fmla="*/ 1288942 w 1638471"/>
                <a:gd name="connsiteY68" fmla="*/ 882129 h 1196368"/>
                <a:gd name="connsiteX69" fmla="*/ 1282160 w 1638471"/>
                <a:gd name="connsiteY69" fmla="*/ 906113 h 1196368"/>
                <a:gd name="connsiteX70" fmla="*/ 1267234 w 1638471"/>
                <a:gd name="connsiteY70" fmla="*/ 908818 h 1196368"/>
                <a:gd name="connsiteX71" fmla="*/ 1247737 w 1638471"/>
                <a:gd name="connsiteY71" fmla="*/ 941270 h 1196368"/>
                <a:gd name="connsiteX72" fmla="*/ 1226105 w 1638471"/>
                <a:gd name="connsiteY72" fmla="*/ 980189 h 1196368"/>
                <a:gd name="connsiteX73" fmla="*/ 1201302 w 1638471"/>
                <a:gd name="connsiteY73" fmla="*/ 1015203 h 1196368"/>
                <a:gd name="connsiteX74" fmla="*/ 1164584 w 1638471"/>
                <a:gd name="connsiteY74" fmla="*/ 1042045 h 1196368"/>
                <a:gd name="connsiteX75" fmla="*/ 1127436 w 1638471"/>
                <a:gd name="connsiteY75" fmla="*/ 1066362 h 1196368"/>
                <a:gd name="connsiteX76" fmla="*/ 1097346 w 1638471"/>
                <a:gd name="connsiteY76" fmla="*/ 1069667 h 1196368"/>
                <a:gd name="connsiteX77" fmla="*/ 1081021 w 1638471"/>
                <a:gd name="connsiteY77" fmla="*/ 1082431 h 1196368"/>
                <a:gd name="connsiteX78" fmla="*/ 1071782 w 1638471"/>
                <a:gd name="connsiteY78" fmla="*/ 1073106 h 1196368"/>
                <a:gd name="connsiteX79" fmla="*/ 1056675 w 1638471"/>
                <a:gd name="connsiteY79" fmla="*/ 1087374 h 1196368"/>
                <a:gd name="connsiteX80" fmla="*/ 1019347 w 1638471"/>
                <a:gd name="connsiteY80" fmla="*/ 1101700 h 1196368"/>
                <a:gd name="connsiteX81" fmla="*/ 991085 w 1638471"/>
                <a:gd name="connsiteY81" fmla="*/ 1106072 h 1196368"/>
                <a:gd name="connsiteX82" fmla="*/ 981970 w 1638471"/>
                <a:gd name="connsiteY82" fmla="*/ 1136085 h 1196368"/>
                <a:gd name="connsiteX83" fmla="*/ 967168 w 1638471"/>
                <a:gd name="connsiteY83" fmla="*/ 1137742 h 1196368"/>
                <a:gd name="connsiteX84" fmla="*/ 960168 w 1638471"/>
                <a:gd name="connsiteY84" fmla="*/ 1117149 h 1196368"/>
                <a:gd name="connsiteX85" fmla="*/ 966492 w 1638471"/>
                <a:gd name="connsiteY85" fmla="*/ 1106129 h 1196368"/>
                <a:gd name="connsiteX86" fmla="*/ 930659 w 1638471"/>
                <a:gd name="connsiteY86" fmla="*/ 1096994 h 1196368"/>
                <a:gd name="connsiteX87" fmla="*/ 918038 w 1638471"/>
                <a:gd name="connsiteY87" fmla="*/ 1101643 h 1196368"/>
                <a:gd name="connsiteX88" fmla="*/ 891149 w 1638471"/>
                <a:gd name="connsiteY88" fmla="*/ 1094232 h 1196368"/>
                <a:gd name="connsiteX89" fmla="*/ 878434 w 1638471"/>
                <a:gd name="connsiteY89" fmla="*/ 1082593 h 1196368"/>
                <a:gd name="connsiteX90" fmla="*/ 882653 w 1638471"/>
                <a:gd name="connsiteY90" fmla="*/ 1066038 h 1196368"/>
                <a:gd name="connsiteX91" fmla="*/ 858241 w 1638471"/>
                <a:gd name="connsiteY91" fmla="*/ 1060771 h 1196368"/>
                <a:gd name="connsiteX92" fmla="*/ 845362 w 1638471"/>
                <a:gd name="connsiteY92" fmla="*/ 1049931 h 1196368"/>
                <a:gd name="connsiteX93" fmla="*/ 822598 w 1638471"/>
                <a:gd name="connsiteY93" fmla="*/ 1065314 h 1196368"/>
                <a:gd name="connsiteX94" fmla="*/ 796633 w 1638471"/>
                <a:gd name="connsiteY94" fmla="*/ 1068639 h 1196368"/>
                <a:gd name="connsiteX95" fmla="*/ 775335 w 1638471"/>
                <a:gd name="connsiteY95" fmla="*/ 1068486 h 1196368"/>
                <a:gd name="connsiteX96" fmla="*/ 761000 w 1638471"/>
                <a:gd name="connsiteY96" fmla="*/ 1075506 h 1196368"/>
                <a:gd name="connsiteX97" fmla="*/ 747160 w 1638471"/>
                <a:gd name="connsiteY97" fmla="*/ 1079716 h 1196368"/>
                <a:gd name="connsiteX98" fmla="*/ 751198 w 1638471"/>
                <a:gd name="connsiteY98" fmla="*/ 1112415 h 1196368"/>
                <a:gd name="connsiteX99" fmla="*/ 736959 w 1638471"/>
                <a:gd name="connsiteY99" fmla="*/ 1111634 h 1196368"/>
                <a:gd name="connsiteX100" fmla="*/ 734558 w 1638471"/>
                <a:gd name="connsiteY100" fmla="*/ 1104938 h 1196368"/>
                <a:gd name="connsiteX101" fmla="*/ 733749 w 1638471"/>
                <a:gd name="connsiteY101" fmla="*/ 1093127 h 1196368"/>
                <a:gd name="connsiteX102" fmla="*/ 714156 w 1638471"/>
                <a:gd name="connsiteY102" fmla="*/ 1101452 h 1196368"/>
                <a:gd name="connsiteX103" fmla="*/ 702593 w 1638471"/>
                <a:gd name="connsiteY103" fmla="*/ 1096194 h 1196368"/>
                <a:gd name="connsiteX104" fmla="*/ 682761 w 1638471"/>
                <a:gd name="connsiteY104" fmla="*/ 1085450 h 1196368"/>
                <a:gd name="connsiteX105" fmla="*/ 690534 w 1638471"/>
                <a:gd name="connsiteY105" fmla="*/ 1061571 h 1196368"/>
                <a:gd name="connsiteX106" fmla="*/ 673627 w 1638471"/>
                <a:gd name="connsiteY106" fmla="*/ 1055980 h 1196368"/>
                <a:gd name="connsiteX107" fmla="*/ 667255 w 1638471"/>
                <a:gd name="connsiteY107" fmla="*/ 1029300 h 1196368"/>
                <a:gd name="connsiteX108" fmla="*/ 639060 w 1638471"/>
                <a:gd name="connsiteY108" fmla="*/ 1034120 h 1196368"/>
                <a:gd name="connsiteX109" fmla="*/ 642271 w 1638471"/>
                <a:gd name="connsiteY109" fmla="*/ 999497 h 1196368"/>
                <a:gd name="connsiteX110" fmla="*/ 667559 w 1638471"/>
                <a:gd name="connsiteY110" fmla="*/ 974922 h 1196368"/>
                <a:gd name="connsiteX111" fmla="*/ 668636 w 1638471"/>
                <a:gd name="connsiteY111" fmla="*/ 950481 h 1196368"/>
                <a:gd name="connsiteX112" fmla="*/ 667845 w 1638471"/>
                <a:gd name="connsiteY112" fmla="*/ 927640 h 1196368"/>
                <a:gd name="connsiteX113" fmla="*/ 656187 w 1638471"/>
                <a:gd name="connsiteY113" fmla="*/ 920496 h 1196368"/>
                <a:gd name="connsiteX114" fmla="*/ 647262 w 1638471"/>
                <a:gd name="connsiteY114" fmla="*/ 902780 h 1196368"/>
                <a:gd name="connsiteX115" fmla="*/ 631631 w 1638471"/>
                <a:gd name="connsiteY115" fmla="*/ 905018 h 1196368"/>
                <a:gd name="connsiteX116" fmla="*/ 602837 w 1638471"/>
                <a:gd name="connsiteY116" fmla="*/ 900503 h 1196368"/>
                <a:gd name="connsiteX117" fmla="*/ 611857 w 1638471"/>
                <a:gd name="connsiteY117" fmla="*/ 887797 h 1196368"/>
                <a:gd name="connsiteX118" fmla="*/ 599341 w 1638471"/>
                <a:gd name="connsiteY118" fmla="*/ 868880 h 1196368"/>
                <a:gd name="connsiteX119" fmla="*/ 580301 w 1638471"/>
                <a:gd name="connsiteY119" fmla="*/ 881701 h 1196368"/>
                <a:gd name="connsiteX120" fmla="*/ 557898 w 1638471"/>
                <a:gd name="connsiteY120" fmla="*/ 874224 h 1196368"/>
                <a:gd name="connsiteX121" fmla="*/ 527113 w 1638471"/>
                <a:gd name="connsiteY121" fmla="*/ 893559 h 1196368"/>
                <a:gd name="connsiteX122" fmla="*/ 502805 w 1638471"/>
                <a:gd name="connsiteY122" fmla="*/ 915991 h 1196368"/>
                <a:gd name="connsiteX123" fmla="*/ 481260 w 1638471"/>
                <a:gd name="connsiteY123" fmla="*/ 919753 h 1196368"/>
                <a:gd name="connsiteX124" fmla="*/ 469563 w 1638471"/>
                <a:gd name="connsiteY124" fmla="*/ 911666 h 1196368"/>
                <a:gd name="connsiteX125" fmla="*/ 455466 w 1638471"/>
                <a:gd name="connsiteY125" fmla="*/ 910933 h 1196368"/>
                <a:gd name="connsiteX126" fmla="*/ 436378 w 1638471"/>
                <a:gd name="connsiteY126" fmla="*/ 903961 h 1196368"/>
                <a:gd name="connsiteX127" fmla="*/ 421948 w 1638471"/>
                <a:gd name="connsiteY127" fmla="*/ 911609 h 1196368"/>
                <a:gd name="connsiteX128" fmla="*/ 404289 w 1638471"/>
                <a:gd name="connsiteY128" fmla="*/ 933907 h 1196368"/>
                <a:gd name="connsiteX129" fmla="*/ 402050 w 1638471"/>
                <a:gd name="connsiteY129" fmla="*/ 910276 h 1196368"/>
                <a:gd name="connsiteX130" fmla="*/ 385763 w 1638471"/>
                <a:gd name="connsiteY130" fmla="*/ 916610 h 1196368"/>
                <a:gd name="connsiteX131" fmla="*/ 354616 w 1638471"/>
                <a:gd name="connsiteY131" fmla="*/ 913667 h 1196368"/>
                <a:gd name="connsiteX132" fmla="*/ 324402 w 1638471"/>
                <a:gd name="connsiteY132" fmla="*/ 906761 h 1196368"/>
                <a:gd name="connsiteX133" fmla="*/ 302733 w 1638471"/>
                <a:gd name="connsiteY133" fmla="*/ 893493 h 1196368"/>
                <a:gd name="connsiteX134" fmla="*/ 281978 w 1638471"/>
                <a:gd name="connsiteY134" fmla="*/ 887521 h 1196368"/>
                <a:gd name="connsiteX135" fmla="*/ 273015 w 1638471"/>
                <a:gd name="connsiteY135" fmla="*/ 872919 h 1196368"/>
                <a:gd name="connsiteX136" fmla="*/ 258013 w 1638471"/>
                <a:gd name="connsiteY136" fmla="*/ 868547 h 1196368"/>
                <a:gd name="connsiteX137" fmla="*/ 231048 w 1638471"/>
                <a:gd name="connsiteY137" fmla="*/ 848601 h 1196368"/>
                <a:gd name="connsiteX138" fmla="*/ 209635 w 1638471"/>
                <a:gd name="connsiteY138" fmla="*/ 839143 h 1196368"/>
                <a:gd name="connsiteX139" fmla="*/ 198568 w 1638471"/>
                <a:gd name="connsiteY139" fmla="*/ 846506 h 1196368"/>
                <a:gd name="connsiteX140" fmla="*/ 161458 w 1638471"/>
                <a:gd name="connsiteY140" fmla="*/ 824932 h 1196368"/>
                <a:gd name="connsiteX141" fmla="*/ 135217 w 1638471"/>
                <a:gd name="connsiteY141" fmla="*/ 805263 h 1196368"/>
                <a:gd name="connsiteX142" fmla="*/ 127730 w 1638471"/>
                <a:gd name="connsiteY142" fmla="*/ 770697 h 1196368"/>
                <a:gd name="connsiteX143" fmla="*/ 146895 w 1638471"/>
                <a:gd name="connsiteY143" fmla="*/ 774935 h 1196368"/>
                <a:gd name="connsiteX144" fmla="*/ 150466 w 1638471"/>
                <a:gd name="connsiteY144" fmla="*/ 774059 h 1196368"/>
                <a:gd name="connsiteX145" fmla="*/ 155620 w 1638471"/>
                <a:gd name="connsiteY145" fmla="*/ 769696 h 1196368"/>
                <a:gd name="connsiteX146" fmla="*/ 156810 w 1638471"/>
                <a:gd name="connsiteY146" fmla="*/ 765725 h 1196368"/>
                <a:gd name="connsiteX147" fmla="*/ 151847 w 1638471"/>
                <a:gd name="connsiteY147" fmla="*/ 759771 h 1196368"/>
                <a:gd name="connsiteX148" fmla="*/ 151447 w 1638471"/>
                <a:gd name="connsiteY148" fmla="*/ 748655 h 1196368"/>
                <a:gd name="connsiteX149" fmla="*/ 144503 w 1638471"/>
                <a:gd name="connsiteY149" fmla="*/ 748056 h 1196368"/>
                <a:gd name="connsiteX150" fmla="*/ 139741 w 1638471"/>
                <a:gd name="connsiteY150" fmla="*/ 744084 h 1196368"/>
                <a:gd name="connsiteX151" fmla="*/ 139141 w 1638471"/>
                <a:gd name="connsiteY151" fmla="*/ 737140 h 1196368"/>
                <a:gd name="connsiteX152" fmla="*/ 143313 w 1638471"/>
                <a:gd name="connsiteY152" fmla="*/ 736940 h 1196368"/>
                <a:gd name="connsiteX153" fmla="*/ 139941 w 1638471"/>
                <a:gd name="connsiteY153" fmla="*/ 725824 h 1196368"/>
                <a:gd name="connsiteX154" fmla="*/ 141732 w 1638471"/>
                <a:gd name="connsiteY154" fmla="*/ 723843 h 1196368"/>
                <a:gd name="connsiteX155" fmla="*/ 152048 w 1638471"/>
                <a:gd name="connsiteY155" fmla="*/ 724443 h 1196368"/>
                <a:gd name="connsiteX156" fmla="*/ 169316 w 1638471"/>
                <a:gd name="connsiteY156" fmla="*/ 699840 h 1196368"/>
                <a:gd name="connsiteX157" fmla="*/ 175470 w 1638471"/>
                <a:gd name="connsiteY157" fmla="*/ 677618 h 1196368"/>
                <a:gd name="connsiteX158" fmla="*/ 165345 w 1638471"/>
                <a:gd name="connsiteY158" fmla="*/ 669284 h 1196368"/>
                <a:gd name="connsiteX159" fmla="*/ 148476 w 1638471"/>
                <a:gd name="connsiteY159" fmla="*/ 664121 h 1196368"/>
                <a:gd name="connsiteX160" fmla="*/ 133398 w 1638471"/>
                <a:gd name="connsiteY160" fmla="*/ 667103 h 1196368"/>
                <a:gd name="connsiteX161" fmla="*/ 111147 w 1638471"/>
                <a:gd name="connsiteY161" fmla="*/ 678409 h 1196368"/>
                <a:gd name="connsiteX162" fmla="*/ 80610 w 1638471"/>
                <a:gd name="connsiteY162" fmla="*/ 668493 h 1196368"/>
                <a:gd name="connsiteX163" fmla="*/ 77438 w 1638471"/>
                <a:gd name="connsiteY163" fmla="*/ 659168 h 1196368"/>
                <a:gd name="connsiteX164" fmla="*/ 63551 w 1638471"/>
                <a:gd name="connsiteY164" fmla="*/ 653415 h 1196368"/>
                <a:gd name="connsiteX165" fmla="*/ 59321 w 1638471"/>
                <a:gd name="connsiteY165" fmla="*/ 639823 h 1196368"/>
                <a:gd name="connsiteX166" fmla="*/ 39595 w 1638471"/>
                <a:gd name="connsiteY166" fmla="*/ 624326 h 1196368"/>
                <a:gd name="connsiteX167" fmla="*/ 34842 w 1638471"/>
                <a:gd name="connsiteY167" fmla="*/ 614734 h 1196368"/>
                <a:gd name="connsiteX168" fmla="*/ 30832 w 1638471"/>
                <a:gd name="connsiteY168" fmla="*/ 595570 h 1196368"/>
                <a:gd name="connsiteX169" fmla="*/ 31766 w 1638471"/>
                <a:gd name="connsiteY169" fmla="*/ 582416 h 1196368"/>
                <a:gd name="connsiteX170" fmla="*/ 15544 w 1638471"/>
                <a:gd name="connsiteY170" fmla="*/ 574682 h 1196368"/>
                <a:gd name="connsiteX171" fmla="*/ 6772 w 1638471"/>
                <a:gd name="connsiteY171" fmla="*/ 578101 h 1196368"/>
                <a:gd name="connsiteX172" fmla="*/ 0 w 1638471"/>
                <a:gd name="connsiteY172" fmla="*/ 546440 h 1196368"/>
                <a:gd name="connsiteX173" fmla="*/ 7601 w 1638471"/>
                <a:gd name="connsiteY173" fmla="*/ 538544 h 1196368"/>
                <a:gd name="connsiteX174" fmla="*/ 3915 w 1638471"/>
                <a:gd name="connsiteY174" fmla="*/ 530447 h 1196368"/>
                <a:gd name="connsiteX175" fmla="*/ 29413 w 1638471"/>
                <a:gd name="connsiteY175" fmla="*/ 514007 h 1196368"/>
                <a:gd name="connsiteX176" fmla="*/ 47873 w 1638471"/>
                <a:gd name="connsiteY176" fmla="*/ 507168 h 1196368"/>
                <a:gd name="connsiteX177" fmla="*/ 76142 w 1638471"/>
                <a:gd name="connsiteY177" fmla="*/ 511855 h 1196368"/>
                <a:gd name="connsiteX178" fmla="*/ 86249 w 1638471"/>
                <a:gd name="connsiteY178" fmla="*/ 489433 h 1196368"/>
                <a:gd name="connsiteX179" fmla="*/ 120510 w 1638471"/>
                <a:gd name="connsiteY179" fmla="*/ 485242 h 1196368"/>
                <a:gd name="connsiteX180" fmla="*/ 130026 w 1638471"/>
                <a:gd name="connsiteY180" fmla="*/ 471164 h 1196368"/>
                <a:gd name="connsiteX181" fmla="*/ 172117 w 1638471"/>
                <a:gd name="connsiteY181" fmla="*/ 451818 h 1196368"/>
                <a:gd name="connsiteX182" fmla="*/ 175870 w 1638471"/>
                <a:gd name="connsiteY182" fmla="*/ 443694 h 1196368"/>
                <a:gd name="connsiteX183" fmla="*/ 173736 w 1638471"/>
                <a:gd name="connsiteY183" fmla="*/ 423072 h 1196368"/>
                <a:gd name="connsiteX184" fmla="*/ 192062 w 1638471"/>
                <a:gd name="connsiteY184" fmla="*/ 413595 h 1196368"/>
                <a:gd name="connsiteX185" fmla="*/ 168021 w 1638471"/>
                <a:gd name="connsiteY185" fmla="*/ 349263 h 1196368"/>
                <a:gd name="connsiteX186" fmla="*/ 220932 w 1638471"/>
                <a:gd name="connsiteY186" fmla="*/ 334194 h 1196368"/>
                <a:gd name="connsiteX187" fmla="*/ 234610 w 1638471"/>
                <a:gd name="connsiteY187" fmla="*/ 325755 h 1196368"/>
                <a:gd name="connsiteX188" fmla="*/ 253869 w 1638471"/>
                <a:gd name="connsiteY188" fmla="*/ 256585 h 1196368"/>
                <a:gd name="connsiteX189" fmla="*/ 306857 w 1638471"/>
                <a:gd name="connsiteY189" fmla="*/ 269472 h 1196368"/>
                <a:gd name="connsiteX190" fmla="*/ 321716 w 1638471"/>
                <a:gd name="connsiteY190" fmla="*/ 251755 h 1196368"/>
                <a:gd name="connsiteX191" fmla="*/ 322993 w 1638471"/>
                <a:gd name="connsiteY191" fmla="*/ 211884 h 1196368"/>
                <a:gd name="connsiteX192" fmla="*/ 345176 w 1638471"/>
                <a:gd name="connsiteY192" fmla="*/ 208121 h 1196368"/>
                <a:gd name="connsiteX193" fmla="*/ 365503 w 1638471"/>
                <a:gd name="connsiteY193" fmla="*/ 181156 h 1196368"/>
                <a:gd name="connsiteX194" fmla="*/ 375961 w 1638471"/>
                <a:gd name="connsiteY194" fmla="*/ 177803 h 1196368"/>
                <a:gd name="connsiteX195" fmla="*/ 382971 w 1638471"/>
                <a:gd name="connsiteY195" fmla="*/ 206093 h 1196368"/>
                <a:gd name="connsiteX196" fmla="*/ 405412 w 1638471"/>
                <a:gd name="connsiteY196" fmla="*/ 227333 h 1196368"/>
                <a:gd name="connsiteX197" fmla="*/ 443503 w 1638471"/>
                <a:gd name="connsiteY197" fmla="*/ 242240 h 1196368"/>
                <a:gd name="connsiteX198" fmla="*/ 461934 w 1638471"/>
                <a:gd name="connsiteY198" fmla="*/ 273853 h 1196368"/>
                <a:gd name="connsiteX199" fmla="*/ 451656 w 1638471"/>
                <a:gd name="connsiteY199" fmla="*/ 318888 h 1196368"/>
                <a:gd name="connsiteX200" fmla="*/ 461267 w 1638471"/>
                <a:gd name="connsiteY200" fmla="*/ 335356 h 1196368"/>
                <a:gd name="connsiteX201" fmla="*/ 493004 w 1638471"/>
                <a:gd name="connsiteY201" fmla="*/ 341814 h 1196368"/>
                <a:gd name="connsiteX202" fmla="*/ 528971 w 1638471"/>
                <a:gd name="connsiteY202" fmla="*/ 347072 h 1196368"/>
                <a:gd name="connsiteX203" fmla="*/ 561241 w 1638471"/>
                <a:gd name="connsiteY203" fmla="*/ 370389 h 1196368"/>
                <a:gd name="connsiteX204" fmla="*/ 577739 w 1638471"/>
                <a:gd name="connsiteY204" fmla="*/ 374513 h 1196368"/>
                <a:gd name="connsiteX205" fmla="*/ 589902 w 1638471"/>
                <a:gd name="connsiteY205" fmla="*/ 408499 h 1196368"/>
                <a:gd name="connsiteX206" fmla="*/ 605581 w 1638471"/>
                <a:gd name="connsiteY206" fmla="*/ 430111 h 1196368"/>
                <a:gd name="connsiteX207" fmla="*/ 635022 w 1638471"/>
                <a:gd name="connsiteY207" fmla="*/ 429273 h 1196368"/>
                <a:gd name="connsiteX208" fmla="*/ 690143 w 1638471"/>
                <a:gd name="connsiteY208" fmla="*/ 437388 h 1196368"/>
                <a:gd name="connsiteX209" fmla="*/ 725662 w 1638471"/>
                <a:gd name="connsiteY209" fmla="*/ 432359 h 1196368"/>
                <a:gd name="connsiteX210" fmla="*/ 752027 w 1638471"/>
                <a:gd name="connsiteY210" fmla="*/ 437740 h 1196368"/>
                <a:gd name="connsiteX211" fmla="*/ 791537 w 1638471"/>
                <a:gd name="connsiteY211" fmla="*/ 459562 h 1196368"/>
                <a:gd name="connsiteX212" fmla="*/ 823855 w 1638471"/>
                <a:gd name="connsiteY212" fmla="*/ 459534 h 1196368"/>
                <a:gd name="connsiteX213" fmla="*/ 835676 w 1638471"/>
                <a:gd name="connsiteY213" fmla="*/ 470621 h 1196368"/>
                <a:gd name="connsiteX214" fmla="*/ 866775 w 1638471"/>
                <a:gd name="connsiteY214" fmla="*/ 451438 h 1196368"/>
                <a:gd name="connsiteX215" fmla="*/ 909914 w 1638471"/>
                <a:gd name="connsiteY215" fmla="*/ 438941 h 1196368"/>
                <a:gd name="connsiteX216" fmla="*/ 949937 w 1638471"/>
                <a:gd name="connsiteY216" fmla="*/ 437569 h 1196368"/>
                <a:gd name="connsiteX217" fmla="*/ 981141 w 1638471"/>
                <a:gd name="connsiteY217" fmla="*/ 424834 h 1196368"/>
                <a:gd name="connsiteX218" fmla="*/ 1000306 w 1638471"/>
                <a:gd name="connsiteY218" fmla="*/ 405299 h 1196368"/>
                <a:gd name="connsiteX219" fmla="*/ 1019004 w 1638471"/>
                <a:gd name="connsiteY219" fmla="*/ 392944 h 1196368"/>
                <a:gd name="connsiteX220" fmla="*/ 1014679 w 1638471"/>
                <a:gd name="connsiteY220" fmla="*/ 380752 h 1196368"/>
                <a:gd name="connsiteX221" fmla="*/ 1006144 w 1638471"/>
                <a:gd name="connsiteY221" fmla="*/ 366474 h 1196368"/>
                <a:gd name="connsiteX222" fmla="*/ 1020175 w 1638471"/>
                <a:gd name="connsiteY222" fmla="*/ 342300 h 1196368"/>
                <a:gd name="connsiteX223" fmla="*/ 1035196 w 1638471"/>
                <a:gd name="connsiteY223" fmla="*/ 345710 h 1196368"/>
                <a:gd name="connsiteX224" fmla="*/ 1062647 w 1638471"/>
                <a:gd name="connsiteY224" fmla="*/ 353330 h 1196368"/>
                <a:gd name="connsiteX225" fmla="*/ 1089260 w 1638471"/>
                <a:gd name="connsiteY225" fmla="*/ 333318 h 1196368"/>
                <a:gd name="connsiteX226" fmla="*/ 1129979 w 1638471"/>
                <a:gd name="connsiteY226" fmla="*/ 318592 h 1196368"/>
                <a:gd name="connsiteX227" fmla="*/ 1149553 w 1638471"/>
                <a:gd name="connsiteY227" fmla="*/ 293237 h 1196368"/>
                <a:gd name="connsiteX228" fmla="*/ 1168355 w 1638471"/>
                <a:gd name="connsiteY228" fmla="*/ 282226 h 1196368"/>
                <a:gd name="connsiteX229" fmla="*/ 1207141 w 1638471"/>
                <a:gd name="connsiteY229" fmla="*/ 277073 h 1196368"/>
                <a:gd name="connsiteX230" fmla="*/ 1228220 w 1638471"/>
                <a:gd name="connsiteY230" fmla="*/ 281445 h 1196368"/>
                <a:gd name="connsiteX231" fmla="*/ 1231144 w 1638471"/>
                <a:gd name="connsiteY231" fmla="*/ 267605 h 1196368"/>
                <a:gd name="connsiteX232" fmla="*/ 1206942 w 1638471"/>
                <a:gd name="connsiteY232" fmla="*/ 240106 h 1196368"/>
                <a:gd name="connsiteX233" fmla="*/ 1185510 w 1638471"/>
                <a:gd name="connsiteY233" fmla="*/ 227409 h 1196368"/>
                <a:gd name="connsiteX234" fmla="*/ 1164984 w 1638471"/>
                <a:gd name="connsiteY234" fmla="*/ 242059 h 1196368"/>
                <a:gd name="connsiteX235" fmla="*/ 1138638 w 1638471"/>
                <a:gd name="connsiteY235" fmla="*/ 235896 h 1196368"/>
                <a:gd name="connsiteX236" fmla="*/ 1123521 w 1638471"/>
                <a:gd name="connsiteY236" fmla="*/ 240925 h 1196368"/>
                <a:gd name="connsiteX237" fmla="*/ 1116635 w 1638471"/>
                <a:gd name="connsiteY237" fmla="*/ 224676 h 1196368"/>
                <a:gd name="connsiteX238" fmla="*/ 1135504 w 1638471"/>
                <a:gd name="connsiteY238" fmla="*/ 184404 h 1196368"/>
                <a:gd name="connsiteX239" fmla="*/ 1148506 w 1638471"/>
                <a:gd name="connsiteY239" fmla="*/ 153476 h 1196368"/>
                <a:gd name="connsiteX240" fmla="*/ 1180557 w 1638471"/>
                <a:gd name="connsiteY240" fmla="*/ 169021 h 1196368"/>
                <a:gd name="connsiteX241" fmla="*/ 1218200 w 1638471"/>
                <a:gd name="connsiteY241" fmla="*/ 142932 h 1196368"/>
                <a:gd name="connsiteX242" fmla="*/ 1217952 w 1638471"/>
                <a:gd name="connsiteY242" fmla="*/ 124558 h 1196368"/>
                <a:gd name="connsiteX243" fmla="*/ 1242060 w 1638471"/>
                <a:gd name="connsiteY243" fmla="*/ 79553 h 1196368"/>
                <a:gd name="connsiteX244" fmla="*/ 1256919 w 1638471"/>
                <a:gd name="connsiteY244" fmla="*/ 65742 h 1196368"/>
                <a:gd name="connsiteX245" fmla="*/ 1256586 w 1638471"/>
                <a:gd name="connsiteY245" fmla="*/ 41720 h 1196368"/>
                <a:gd name="connsiteX246" fmla="*/ 1241936 w 1638471"/>
                <a:gd name="connsiteY246" fmla="*/ 31290 h 1196368"/>
                <a:gd name="connsiteX247" fmla="*/ 1263986 w 1638471"/>
                <a:gd name="connsiteY247" fmla="*/ 9258 h 1196368"/>
                <a:gd name="connsiteX248" fmla="*/ 1297171 w 1638471"/>
                <a:gd name="connsiteY248" fmla="*/ 1210 h 1196368"/>
                <a:gd name="connsiteX249" fmla="*/ 1332586 w 1638471"/>
                <a:gd name="connsiteY249" fmla="*/ 0 h 1196368"/>
                <a:gd name="connsiteX250" fmla="*/ 1372552 w 1638471"/>
                <a:gd name="connsiteY250" fmla="*/ 13278 h 1196368"/>
                <a:gd name="connsiteX251" fmla="*/ 1396003 w 1638471"/>
                <a:gd name="connsiteY251" fmla="*/ 29575 h 1196368"/>
                <a:gd name="connsiteX252" fmla="*/ 1412510 w 1638471"/>
                <a:gd name="connsiteY252" fmla="*/ 73495 h 1196368"/>
                <a:gd name="connsiteX253" fmla="*/ 1422521 w 1638471"/>
                <a:gd name="connsiteY253" fmla="*/ 91945 h 1196368"/>
                <a:gd name="connsiteX254" fmla="*/ 1431827 w 1638471"/>
                <a:gd name="connsiteY254" fmla="*/ 117958 h 1196368"/>
                <a:gd name="connsiteX255" fmla="*/ 1441666 w 1638471"/>
                <a:gd name="connsiteY255" fmla="*/ 158791 h 119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</a:cxnLst>
              <a:rect l="l" t="t" r="r" b="b"/>
              <a:pathLst>
                <a:path w="1638471" h="1196368">
                  <a:moveTo>
                    <a:pt x="979151" y="1182919"/>
                  </a:moveTo>
                  <a:lnTo>
                    <a:pt x="956072" y="1196369"/>
                  </a:lnTo>
                  <a:lnTo>
                    <a:pt x="934174" y="1187701"/>
                  </a:lnTo>
                  <a:lnTo>
                    <a:pt x="933402" y="1163555"/>
                  </a:lnTo>
                  <a:lnTo>
                    <a:pt x="946566" y="1150782"/>
                  </a:lnTo>
                  <a:lnTo>
                    <a:pt x="975741" y="1142867"/>
                  </a:lnTo>
                  <a:lnTo>
                    <a:pt x="991095" y="1143543"/>
                  </a:lnTo>
                  <a:lnTo>
                    <a:pt x="997067" y="1154316"/>
                  </a:lnTo>
                  <a:lnTo>
                    <a:pt x="985332" y="1166708"/>
                  </a:lnTo>
                  <a:lnTo>
                    <a:pt x="979151" y="1182919"/>
                  </a:lnTo>
                  <a:close/>
                  <a:moveTo>
                    <a:pt x="1441666" y="158791"/>
                  </a:moveTo>
                  <a:lnTo>
                    <a:pt x="1488148" y="171926"/>
                  </a:lnTo>
                  <a:lnTo>
                    <a:pt x="1519781" y="200835"/>
                  </a:lnTo>
                  <a:lnTo>
                    <a:pt x="1530591" y="238411"/>
                  </a:lnTo>
                  <a:lnTo>
                    <a:pt x="1571177" y="238458"/>
                  </a:lnTo>
                  <a:lnTo>
                    <a:pt x="1594332" y="222771"/>
                  </a:lnTo>
                  <a:lnTo>
                    <a:pt x="1638472" y="210969"/>
                  </a:lnTo>
                  <a:lnTo>
                    <a:pt x="1624432" y="246793"/>
                  </a:lnTo>
                  <a:lnTo>
                    <a:pt x="1614059" y="261195"/>
                  </a:lnTo>
                  <a:lnTo>
                    <a:pt x="1604905" y="303695"/>
                  </a:lnTo>
                  <a:lnTo>
                    <a:pt x="1586941" y="340728"/>
                  </a:lnTo>
                  <a:lnTo>
                    <a:pt x="1554537" y="334032"/>
                  </a:lnTo>
                  <a:lnTo>
                    <a:pt x="1531611" y="347367"/>
                  </a:lnTo>
                  <a:lnTo>
                    <a:pt x="1538649" y="379343"/>
                  </a:lnTo>
                  <a:lnTo>
                    <a:pt x="1534801" y="422710"/>
                  </a:lnTo>
                  <a:lnTo>
                    <a:pt x="1521161" y="423691"/>
                  </a:lnTo>
                  <a:lnTo>
                    <a:pt x="1521323" y="442065"/>
                  </a:lnTo>
                  <a:lnTo>
                    <a:pt x="1504073" y="420691"/>
                  </a:lnTo>
                  <a:lnTo>
                    <a:pt x="1493463" y="440979"/>
                  </a:lnTo>
                  <a:lnTo>
                    <a:pt x="1452220" y="456457"/>
                  </a:lnTo>
                  <a:lnTo>
                    <a:pt x="1456391" y="475269"/>
                  </a:lnTo>
                  <a:lnTo>
                    <a:pt x="1433303" y="473974"/>
                  </a:lnTo>
                  <a:lnTo>
                    <a:pt x="1420625" y="462810"/>
                  </a:lnTo>
                  <a:lnTo>
                    <a:pt x="1402270" y="487994"/>
                  </a:lnTo>
                  <a:lnTo>
                    <a:pt x="1372838" y="506892"/>
                  </a:lnTo>
                  <a:lnTo>
                    <a:pt x="1351093" y="529247"/>
                  </a:lnTo>
                  <a:lnTo>
                    <a:pt x="1313755" y="539315"/>
                  </a:lnTo>
                  <a:lnTo>
                    <a:pt x="1294095" y="555403"/>
                  </a:lnTo>
                  <a:lnTo>
                    <a:pt x="1265329" y="564747"/>
                  </a:lnTo>
                  <a:lnTo>
                    <a:pt x="1279522" y="548859"/>
                  </a:lnTo>
                  <a:lnTo>
                    <a:pt x="1273930" y="535419"/>
                  </a:lnTo>
                  <a:lnTo>
                    <a:pt x="1295086" y="512045"/>
                  </a:lnTo>
                  <a:lnTo>
                    <a:pt x="1280979" y="493662"/>
                  </a:lnTo>
                  <a:lnTo>
                    <a:pt x="1257700" y="506063"/>
                  </a:lnTo>
                  <a:lnTo>
                    <a:pt x="1227553" y="530295"/>
                  </a:lnTo>
                  <a:lnTo>
                    <a:pt x="1211094" y="552583"/>
                  </a:lnTo>
                  <a:lnTo>
                    <a:pt x="1184900" y="554231"/>
                  </a:lnTo>
                  <a:lnTo>
                    <a:pt x="1171270" y="570195"/>
                  </a:lnTo>
                  <a:lnTo>
                    <a:pt x="1185357" y="593141"/>
                  </a:lnTo>
                  <a:lnTo>
                    <a:pt x="1207208" y="598684"/>
                  </a:lnTo>
                  <a:lnTo>
                    <a:pt x="1208113" y="613763"/>
                  </a:lnTo>
                  <a:lnTo>
                    <a:pt x="1229239" y="623526"/>
                  </a:lnTo>
                  <a:lnTo>
                    <a:pt x="1259176" y="599589"/>
                  </a:lnTo>
                  <a:lnTo>
                    <a:pt x="1282884" y="612677"/>
                  </a:lnTo>
                  <a:lnTo>
                    <a:pt x="1300153" y="613563"/>
                  </a:lnTo>
                  <a:lnTo>
                    <a:pt x="1304487" y="631050"/>
                  </a:lnTo>
                  <a:lnTo>
                    <a:pt x="1266673" y="640328"/>
                  </a:lnTo>
                  <a:lnTo>
                    <a:pt x="1254185" y="658159"/>
                  </a:lnTo>
                  <a:lnTo>
                    <a:pt x="1228211" y="674618"/>
                  </a:lnTo>
                  <a:lnTo>
                    <a:pt x="1214504" y="697411"/>
                  </a:lnTo>
                  <a:lnTo>
                    <a:pt x="1243260" y="715166"/>
                  </a:lnTo>
                  <a:lnTo>
                    <a:pt x="1253757" y="746665"/>
                  </a:lnTo>
                  <a:lnTo>
                    <a:pt x="1270006" y="775678"/>
                  </a:lnTo>
                  <a:lnTo>
                    <a:pt x="1288142" y="799767"/>
                  </a:lnTo>
                  <a:lnTo>
                    <a:pt x="1287703" y="822875"/>
                  </a:lnTo>
                  <a:lnTo>
                    <a:pt x="1270940" y="831323"/>
                  </a:lnTo>
                  <a:lnTo>
                    <a:pt x="1277331" y="847754"/>
                  </a:lnTo>
                  <a:lnTo>
                    <a:pt x="1293047" y="857279"/>
                  </a:lnTo>
                  <a:lnTo>
                    <a:pt x="1288942" y="882129"/>
                  </a:lnTo>
                  <a:lnTo>
                    <a:pt x="1282160" y="906113"/>
                  </a:lnTo>
                  <a:lnTo>
                    <a:pt x="1267234" y="908818"/>
                  </a:lnTo>
                  <a:lnTo>
                    <a:pt x="1247737" y="941270"/>
                  </a:lnTo>
                  <a:lnTo>
                    <a:pt x="1226105" y="980189"/>
                  </a:lnTo>
                  <a:lnTo>
                    <a:pt x="1201302" y="1015203"/>
                  </a:lnTo>
                  <a:lnTo>
                    <a:pt x="1164584" y="1042045"/>
                  </a:lnTo>
                  <a:lnTo>
                    <a:pt x="1127436" y="1066362"/>
                  </a:lnTo>
                  <a:lnTo>
                    <a:pt x="1097346" y="1069667"/>
                  </a:lnTo>
                  <a:lnTo>
                    <a:pt x="1081021" y="1082431"/>
                  </a:lnTo>
                  <a:lnTo>
                    <a:pt x="1071782" y="1073106"/>
                  </a:lnTo>
                  <a:lnTo>
                    <a:pt x="1056675" y="1087374"/>
                  </a:lnTo>
                  <a:lnTo>
                    <a:pt x="1019347" y="1101700"/>
                  </a:lnTo>
                  <a:lnTo>
                    <a:pt x="991085" y="1106072"/>
                  </a:lnTo>
                  <a:lnTo>
                    <a:pt x="981970" y="1136085"/>
                  </a:lnTo>
                  <a:lnTo>
                    <a:pt x="967168" y="1137742"/>
                  </a:lnTo>
                  <a:lnTo>
                    <a:pt x="960168" y="1117149"/>
                  </a:lnTo>
                  <a:lnTo>
                    <a:pt x="966492" y="1106129"/>
                  </a:lnTo>
                  <a:lnTo>
                    <a:pt x="930659" y="1096994"/>
                  </a:lnTo>
                  <a:lnTo>
                    <a:pt x="918038" y="1101643"/>
                  </a:lnTo>
                  <a:lnTo>
                    <a:pt x="891149" y="1094232"/>
                  </a:lnTo>
                  <a:lnTo>
                    <a:pt x="878434" y="1082593"/>
                  </a:lnTo>
                  <a:lnTo>
                    <a:pt x="882653" y="1066038"/>
                  </a:lnTo>
                  <a:lnTo>
                    <a:pt x="858241" y="1060771"/>
                  </a:lnTo>
                  <a:lnTo>
                    <a:pt x="845362" y="1049931"/>
                  </a:lnTo>
                  <a:lnTo>
                    <a:pt x="822598" y="1065314"/>
                  </a:lnTo>
                  <a:lnTo>
                    <a:pt x="796633" y="1068639"/>
                  </a:lnTo>
                  <a:lnTo>
                    <a:pt x="775335" y="1068486"/>
                  </a:lnTo>
                  <a:lnTo>
                    <a:pt x="761000" y="1075506"/>
                  </a:lnTo>
                  <a:lnTo>
                    <a:pt x="747160" y="1079716"/>
                  </a:lnTo>
                  <a:lnTo>
                    <a:pt x="751198" y="1112415"/>
                  </a:lnTo>
                  <a:lnTo>
                    <a:pt x="736959" y="1111634"/>
                  </a:lnTo>
                  <a:lnTo>
                    <a:pt x="734558" y="1104938"/>
                  </a:lnTo>
                  <a:lnTo>
                    <a:pt x="733749" y="1093127"/>
                  </a:lnTo>
                  <a:lnTo>
                    <a:pt x="714156" y="1101452"/>
                  </a:lnTo>
                  <a:lnTo>
                    <a:pt x="702593" y="1096194"/>
                  </a:lnTo>
                  <a:lnTo>
                    <a:pt x="682761" y="1085450"/>
                  </a:lnTo>
                  <a:lnTo>
                    <a:pt x="690534" y="1061571"/>
                  </a:lnTo>
                  <a:lnTo>
                    <a:pt x="673627" y="1055980"/>
                  </a:lnTo>
                  <a:lnTo>
                    <a:pt x="667255" y="1029300"/>
                  </a:lnTo>
                  <a:lnTo>
                    <a:pt x="639060" y="1034120"/>
                  </a:lnTo>
                  <a:lnTo>
                    <a:pt x="642271" y="999497"/>
                  </a:lnTo>
                  <a:lnTo>
                    <a:pt x="667559" y="974922"/>
                  </a:lnTo>
                  <a:lnTo>
                    <a:pt x="668636" y="950481"/>
                  </a:lnTo>
                  <a:lnTo>
                    <a:pt x="667845" y="927640"/>
                  </a:lnTo>
                  <a:lnTo>
                    <a:pt x="656187" y="920496"/>
                  </a:lnTo>
                  <a:lnTo>
                    <a:pt x="647262" y="902780"/>
                  </a:lnTo>
                  <a:lnTo>
                    <a:pt x="631631" y="905018"/>
                  </a:lnTo>
                  <a:lnTo>
                    <a:pt x="602837" y="900503"/>
                  </a:lnTo>
                  <a:lnTo>
                    <a:pt x="611857" y="887797"/>
                  </a:lnTo>
                  <a:lnTo>
                    <a:pt x="599341" y="868880"/>
                  </a:lnTo>
                  <a:lnTo>
                    <a:pt x="580301" y="881701"/>
                  </a:lnTo>
                  <a:lnTo>
                    <a:pt x="557898" y="874224"/>
                  </a:lnTo>
                  <a:lnTo>
                    <a:pt x="527113" y="893559"/>
                  </a:lnTo>
                  <a:lnTo>
                    <a:pt x="502805" y="915991"/>
                  </a:lnTo>
                  <a:lnTo>
                    <a:pt x="481260" y="919753"/>
                  </a:lnTo>
                  <a:lnTo>
                    <a:pt x="469563" y="911666"/>
                  </a:lnTo>
                  <a:lnTo>
                    <a:pt x="455466" y="910933"/>
                  </a:lnTo>
                  <a:lnTo>
                    <a:pt x="436378" y="903961"/>
                  </a:lnTo>
                  <a:lnTo>
                    <a:pt x="421948" y="911609"/>
                  </a:lnTo>
                  <a:lnTo>
                    <a:pt x="404289" y="933907"/>
                  </a:lnTo>
                  <a:lnTo>
                    <a:pt x="402050" y="910276"/>
                  </a:lnTo>
                  <a:lnTo>
                    <a:pt x="385763" y="916610"/>
                  </a:lnTo>
                  <a:lnTo>
                    <a:pt x="354616" y="913667"/>
                  </a:lnTo>
                  <a:lnTo>
                    <a:pt x="324402" y="906761"/>
                  </a:lnTo>
                  <a:lnTo>
                    <a:pt x="302733" y="893493"/>
                  </a:lnTo>
                  <a:lnTo>
                    <a:pt x="281978" y="887521"/>
                  </a:lnTo>
                  <a:lnTo>
                    <a:pt x="273015" y="872919"/>
                  </a:lnTo>
                  <a:lnTo>
                    <a:pt x="258013" y="868547"/>
                  </a:lnTo>
                  <a:lnTo>
                    <a:pt x="231048" y="848601"/>
                  </a:lnTo>
                  <a:lnTo>
                    <a:pt x="209635" y="839143"/>
                  </a:lnTo>
                  <a:lnTo>
                    <a:pt x="198568" y="846506"/>
                  </a:lnTo>
                  <a:lnTo>
                    <a:pt x="161458" y="824932"/>
                  </a:lnTo>
                  <a:lnTo>
                    <a:pt x="135217" y="805263"/>
                  </a:lnTo>
                  <a:lnTo>
                    <a:pt x="127730" y="770697"/>
                  </a:lnTo>
                  <a:lnTo>
                    <a:pt x="146895" y="774935"/>
                  </a:lnTo>
                  <a:lnTo>
                    <a:pt x="150466" y="774059"/>
                  </a:lnTo>
                  <a:lnTo>
                    <a:pt x="155620" y="769696"/>
                  </a:lnTo>
                  <a:lnTo>
                    <a:pt x="156810" y="765725"/>
                  </a:lnTo>
                  <a:lnTo>
                    <a:pt x="151847" y="759771"/>
                  </a:lnTo>
                  <a:lnTo>
                    <a:pt x="151447" y="748655"/>
                  </a:lnTo>
                  <a:lnTo>
                    <a:pt x="144503" y="748056"/>
                  </a:lnTo>
                  <a:lnTo>
                    <a:pt x="139741" y="744084"/>
                  </a:lnTo>
                  <a:lnTo>
                    <a:pt x="139141" y="737140"/>
                  </a:lnTo>
                  <a:lnTo>
                    <a:pt x="143313" y="736940"/>
                  </a:lnTo>
                  <a:lnTo>
                    <a:pt x="139941" y="725824"/>
                  </a:lnTo>
                  <a:lnTo>
                    <a:pt x="141732" y="723843"/>
                  </a:lnTo>
                  <a:lnTo>
                    <a:pt x="152048" y="724443"/>
                  </a:lnTo>
                  <a:lnTo>
                    <a:pt x="169316" y="699840"/>
                  </a:lnTo>
                  <a:lnTo>
                    <a:pt x="175470" y="677618"/>
                  </a:lnTo>
                  <a:lnTo>
                    <a:pt x="165345" y="669284"/>
                  </a:lnTo>
                  <a:lnTo>
                    <a:pt x="148476" y="664121"/>
                  </a:lnTo>
                  <a:lnTo>
                    <a:pt x="133398" y="667103"/>
                  </a:lnTo>
                  <a:lnTo>
                    <a:pt x="111147" y="678409"/>
                  </a:lnTo>
                  <a:lnTo>
                    <a:pt x="80610" y="668493"/>
                  </a:lnTo>
                  <a:lnTo>
                    <a:pt x="77438" y="659168"/>
                  </a:lnTo>
                  <a:lnTo>
                    <a:pt x="63551" y="653415"/>
                  </a:lnTo>
                  <a:lnTo>
                    <a:pt x="59321" y="639823"/>
                  </a:lnTo>
                  <a:lnTo>
                    <a:pt x="39595" y="624326"/>
                  </a:lnTo>
                  <a:lnTo>
                    <a:pt x="34842" y="614734"/>
                  </a:lnTo>
                  <a:lnTo>
                    <a:pt x="30832" y="595570"/>
                  </a:lnTo>
                  <a:lnTo>
                    <a:pt x="31766" y="582416"/>
                  </a:lnTo>
                  <a:lnTo>
                    <a:pt x="15544" y="574682"/>
                  </a:lnTo>
                  <a:lnTo>
                    <a:pt x="6772" y="578101"/>
                  </a:lnTo>
                  <a:lnTo>
                    <a:pt x="0" y="546440"/>
                  </a:lnTo>
                  <a:lnTo>
                    <a:pt x="7601" y="538544"/>
                  </a:lnTo>
                  <a:lnTo>
                    <a:pt x="3915" y="530447"/>
                  </a:lnTo>
                  <a:lnTo>
                    <a:pt x="29413" y="514007"/>
                  </a:lnTo>
                  <a:lnTo>
                    <a:pt x="47873" y="507168"/>
                  </a:lnTo>
                  <a:lnTo>
                    <a:pt x="76142" y="511855"/>
                  </a:lnTo>
                  <a:lnTo>
                    <a:pt x="86249" y="489433"/>
                  </a:lnTo>
                  <a:lnTo>
                    <a:pt x="120510" y="485242"/>
                  </a:lnTo>
                  <a:lnTo>
                    <a:pt x="130026" y="471164"/>
                  </a:lnTo>
                  <a:lnTo>
                    <a:pt x="172117" y="451818"/>
                  </a:lnTo>
                  <a:lnTo>
                    <a:pt x="175870" y="443694"/>
                  </a:lnTo>
                  <a:lnTo>
                    <a:pt x="173736" y="423072"/>
                  </a:lnTo>
                  <a:lnTo>
                    <a:pt x="192062" y="413595"/>
                  </a:lnTo>
                  <a:lnTo>
                    <a:pt x="168021" y="349263"/>
                  </a:lnTo>
                  <a:lnTo>
                    <a:pt x="220932" y="334194"/>
                  </a:lnTo>
                  <a:lnTo>
                    <a:pt x="234610" y="325755"/>
                  </a:lnTo>
                  <a:lnTo>
                    <a:pt x="253869" y="256585"/>
                  </a:lnTo>
                  <a:lnTo>
                    <a:pt x="306857" y="269472"/>
                  </a:lnTo>
                  <a:lnTo>
                    <a:pt x="321716" y="251755"/>
                  </a:lnTo>
                  <a:lnTo>
                    <a:pt x="322993" y="211884"/>
                  </a:lnTo>
                  <a:lnTo>
                    <a:pt x="345176" y="208121"/>
                  </a:lnTo>
                  <a:lnTo>
                    <a:pt x="365503" y="181156"/>
                  </a:lnTo>
                  <a:lnTo>
                    <a:pt x="375961" y="177803"/>
                  </a:lnTo>
                  <a:lnTo>
                    <a:pt x="382971" y="206093"/>
                  </a:lnTo>
                  <a:lnTo>
                    <a:pt x="405412" y="227333"/>
                  </a:lnTo>
                  <a:lnTo>
                    <a:pt x="443503" y="242240"/>
                  </a:lnTo>
                  <a:lnTo>
                    <a:pt x="461934" y="273853"/>
                  </a:lnTo>
                  <a:lnTo>
                    <a:pt x="451656" y="318888"/>
                  </a:lnTo>
                  <a:lnTo>
                    <a:pt x="461267" y="335356"/>
                  </a:lnTo>
                  <a:lnTo>
                    <a:pt x="493004" y="341814"/>
                  </a:lnTo>
                  <a:lnTo>
                    <a:pt x="528971" y="347072"/>
                  </a:lnTo>
                  <a:lnTo>
                    <a:pt x="561241" y="370389"/>
                  </a:lnTo>
                  <a:lnTo>
                    <a:pt x="577739" y="374513"/>
                  </a:lnTo>
                  <a:lnTo>
                    <a:pt x="589902" y="408499"/>
                  </a:lnTo>
                  <a:lnTo>
                    <a:pt x="605581" y="430111"/>
                  </a:lnTo>
                  <a:lnTo>
                    <a:pt x="635022" y="429273"/>
                  </a:lnTo>
                  <a:lnTo>
                    <a:pt x="690143" y="437388"/>
                  </a:lnTo>
                  <a:lnTo>
                    <a:pt x="725662" y="432359"/>
                  </a:lnTo>
                  <a:lnTo>
                    <a:pt x="752027" y="437740"/>
                  </a:lnTo>
                  <a:lnTo>
                    <a:pt x="791537" y="459562"/>
                  </a:lnTo>
                  <a:lnTo>
                    <a:pt x="823855" y="459534"/>
                  </a:lnTo>
                  <a:lnTo>
                    <a:pt x="835676" y="470621"/>
                  </a:lnTo>
                  <a:lnTo>
                    <a:pt x="866775" y="451438"/>
                  </a:lnTo>
                  <a:lnTo>
                    <a:pt x="909914" y="438941"/>
                  </a:lnTo>
                  <a:lnTo>
                    <a:pt x="949937" y="437569"/>
                  </a:lnTo>
                  <a:lnTo>
                    <a:pt x="981141" y="424834"/>
                  </a:lnTo>
                  <a:lnTo>
                    <a:pt x="1000306" y="405299"/>
                  </a:lnTo>
                  <a:lnTo>
                    <a:pt x="1019004" y="392944"/>
                  </a:lnTo>
                  <a:lnTo>
                    <a:pt x="1014679" y="380752"/>
                  </a:lnTo>
                  <a:lnTo>
                    <a:pt x="1006144" y="366474"/>
                  </a:lnTo>
                  <a:lnTo>
                    <a:pt x="1020175" y="342300"/>
                  </a:lnTo>
                  <a:lnTo>
                    <a:pt x="1035196" y="345710"/>
                  </a:lnTo>
                  <a:lnTo>
                    <a:pt x="1062647" y="353330"/>
                  </a:lnTo>
                  <a:lnTo>
                    <a:pt x="1089260" y="333318"/>
                  </a:lnTo>
                  <a:lnTo>
                    <a:pt x="1129979" y="318592"/>
                  </a:lnTo>
                  <a:lnTo>
                    <a:pt x="1149553" y="293237"/>
                  </a:lnTo>
                  <a:lnTo>
                    <a:pt x="1168355" y="282226"/>
                  </a:lnTo>
                  <a:lnTo>
                    <a:pt x="1207141" y="277073"/>
                  </a:lnTo>
                  <a:lnTo>
                    <a:pt x="1228220" y="281445"/>
                  </a:lnTo>
                  <a:lnTo>
                    <a:pt x="1231144" y="267605"/>
                  </a:lnTo>
                  <a:lnTo>
                    <a:pt x="1206942" y="240106"/>
                  </a:lnTo>
                  <a:lnTo>
                    <a:pt x="1185510" y="227409"/>
                  </a:lnTo>
                  <a:lnTo>
                    <a:pt x="1164984" y="242059"/>
                  </a:lnTo>
                  <a:lnTo>
                    <a:pt x="1138638" y="235896"/>
                  </a:lnTo>
                  <a:lnTo>
                    <a:pt x="1123521" y="240925"/>
                  </a:lnTo>
                  <a:lnTo>
                    <a:pt x="1116635" y="224676"/>
                  </a:lnTo>
                  <a:lnTo>
                    <a:pt x="1135504" y="184404"/>
                  </a:lnTo>
                  <a:lnTo>
                    <a:pt x="1148506" y="153476"/>
                  </a:lnTo>
                  <a:lnTo>
                    <a:pt x="1180557" y="169021"/>
                  </a:lnTo>
                  <a:lnTo>
                    <a:pt x="1218200" y="142932"/>
                  </a:lnTo>
                  <a:lnTo>
                    <a:pt x="1217952" y="124558"/>
                  </a:lnTo>
                  <a:lnTo>
                    <a:pt x="1242060" y="79553"/>
                  </a:lnTo>
                  <a:lnTo>
                    <a:pt x="1256919" y="65742"/>
                  </a:lnTo>
                  <a:lnTo>
                    <a:pt x="1256586" y="41720"/>
                  </a:lnTo>
                  <a:lnTo>
                    <a:pt x="1241936" y="31290"/>
                  </a:lnTo>
                  <a:lnTo>
                    <a:pt x="1263986" y="9258"/>
                  </a:lnTo>
                  <a:lnTo>
                    <a:pt x="1297171" y="1210"/>
                  </a:lnTo>
                  <a:lnTo>
                    <a:pt x="1332586" y="0"/>
                  </a:lnTo>
                  <a:lnTo>
                    <a:pt x="1372552" y="13278"/>
                  </a:lnTo>
                  <a:lnTo>
                    <a:pt x="1396003" y="29575"/>
                  </a:lnTo>
                  <a:lnTo>
                    <a:pt x="1412510" y="73495"/>
                  </a:lnTo>
                  <a:lnTo>
                    <a:pt x="1422521" y="91945"/>
                  </a:lnTo>
                  <a:lnTo>
                    <a:pt x="1431827" y="117958"/>
                  </a:lnTo>
                  <a:lnTo>
                    <a:pt x="1441666" y="158791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66" name="Forme libre : forme 5685">
              <a:extLst>
                <a:ext uri="{FF2B5EF4-FFF2-40B4-BE49-F238E27FC236}">
                  <a16:creationId xmlns:a16="http://schemas.microsoft.com/office/drawing/2014/main" id="{69B1E986-1521-CFD6-A907-1B1BF5B45E1C}"/>
                </a:ext>
              </a:extLst>
            </p:cNvPr>
            <p:cNvSpPr/>
            <p:nvPr/>
          </p:nvSpPr>
          <p:spPr>
            <a:xfrm>
              <a:off x="3711311" y="4410060"/>
              <a:ext cx="323545" cy="446722"/>
            </a:xfrm>
            <a:custGeom>
              <a:avLst/>
              <a:gdLst>
                <a:gd name="connsiteX0" fmla="*/ 96612 w 323545"/>
                <a:gd name="connsiteY0" fmla="*/ 336632 h 446722"/>
                <a:gd name="connsiteX1" fmla="*/ 85182 w 323545"/>
                <a:gd name="connsiteY1" fmla="*/ 330346 h 446722"/>
                <a:gd name="connsiteX2" fmla="*/ 72076 w 323545"/>
                <a:gd name="connsiteY2" fmla="*/ 321564 h 446722"/>
                <a:gd name="connsiteX3" fmla="*/ 64484 w 323545"/>
                <a:gd name="connsiteY3" fmla="*/ 325774 h 446722"/>
                <a:gd name="connsiteX4" fmla="*/ 41824 w 323545"/>
                <a:gd name="connsiteY4" fmla="*/ 322097 h 446722"/>
                <a:gd name="connsiteX5" fmla="*/ 35309 w 323545"/>
                <a:gd name="connsiteY5" fmla="*/ 310686 h 446722"/>
                <a:gd name="connsiteX6" fmla="*/ 30337 w 323545"/>
                <a:gd name="connsiteY6" fmla="*/ 311105 h 446722"/>
                <a:gd name="connsiteX7" fmla="*/ 3620 w 323545"/>
                <a:gd name="connsiteY7" fmla="*/ 295961 h 446722"/>
                <a:gd name="connsiteX8" fmla="*/ 0 w 323545"/>
                <a:gd name="connsiteY8" fmla="*/ 287722 h 446722"/>
                <a:gd name="connsiteX9" fmla="*/ 9963 w 323545"/>
                <a:gd name="connsiteY9" fmla="*/ 285731 h 446722"/>
                <a:gd name="connsiteX10" fmla="*/ 8782 w 323545"/>
                <a:gd name="connsiteY10" fmla="*/ 272434 h 446722"/>
                <a:gd name="connsiteX11" fmla="*/ 15050 w 323545"/>
                <a:gd name="connsiteY11" fmla="*/ 262814 h 446722"/>
                <a:gd name="connsiteX12" fmla="*/ 28299 w 323545"/>
                <a:gd name="connsiteY12" fmla="*/ 261033 h 446722"/>
                <a:gd name="connsiteX13" fmla="*/ 39538 w 323545"/>
                <a:gd name="connsiteY13" fmla="*/ 244345 h 446722"/>
                <a:gd name="connsiteX14" fmla="*/ 49758 w 323545"/>
                <a:gd name="connsiteY14" fmla="*/ 230391 h 446722"/>
                <a:gd name="connsiteX15" fmla="*/ 39919 w 323545"/>
                <a:gd name="connsiteY15" fmla="*/ 224066 h 446722"/>
                <a:gd name="connsiteX16" fmla="*/ 44958 w 323545"/>
                <a:gd name="connsiteY16" fmla="*/ 208626 h 446722"/>
                <a:gd name="connsiteX17" fmla="*/ 38929 w 323545"/>
                <a:gd name="connsiteY17" fmla="*/ 184261 h 446722"/>
                <a:gd name="connsiteX18" fmla="*/ 44653 w 323545"/>
                <a:gd name="connsiteY18" fmla="*/ 177260 h 446722"/>
                <a:gd name="connsiteX19" fmla="*/ 40443 w 323545"/>
                <a:gd name="connsiteY19" fmla="*/ 154686 h 446722"/>
                <a:gd name="connsiteX20" fmla="*/ 29632 w 323545"/>
                <a:gd name="connsiteY20" fmla="*/ 140446 h 446722"/>
                <a:gd name="connsiteX21" fmla="*/ 33052 w 323545"/>
                <a:gd name="connsiteY21" fmla="*/ 127444 h 446722"/>
                <a:gd name="connsiteX22" fmla="*/ 41653 w 323545"/>
                <a:gd name="connsiteY22" fmla="*/ 129359 h 446722"/>
                <a:gd name="connsiteX23" fmla="*/ 46691 w 323545"/>
                <a:gd name="connsiteY23" fmla="*/ 121406 h 446722"/>
                <a:gd name="connsiteX24" fmla="*/ 40491 w 323545"/>
                <a:gd name="connsiteY24" fmla="*/ 105613 h 446722"/>
                <a:gd name="connsiteX25" fmla="*/ 43739 w 323545"/>
                <a:gd name="connsiteY25" fmla="*/ 101689 h 446722"/>
                <a:gd name="connsiteX26" fmla="*/ 57531 w 323545"/>
                <a:gd name="connsiteY26" fmla="*/ 102536 h 446722"/>
                <a:gd name="connsiteX27" fmla="*/ 77572 w 323545"/>
                <a:gd name="connsiteY27" fmla="*/ 83791 h 446722"/>
                <a:gd name="connsiteX28" fmla="*/ 88573 w 323545"/>
                <a:gd name="connsiteY28" fmla="*/ 80924 h 446722"/>
                <a:gd name="connsiteX29" fmla="*/ 88830 w 323545"/>
                <a:gd name="connsiteY29" fmla="*/ 72028 h 446722"/>
                <a:gd name="connsiteX30" fmla="*/ 93755 w 323545"/>
                <a:gd name="connsiteY30" fmla="*/ 49244 h 446722"/>
                <a:gd name="connsiteX31" fmla="*/ 109071 w 323545"/>
                <a:gd name="connsiteY31" fmla="*/ 36709 h 446722"/>
                <a:gd name="connsiteX32" fmla="*/ 125901 w 323545"/>
                <a:gd name="connsiteY32" fmla="*/ 36195 h 446722"/>
                <a:gd name="connsiteX33" fmla="*/ 128025 w 323545"/>
                <a:gd name="connsiteY33" fmla="*/ 30556 h 446722"/>
                <a:gd name="connsiteX34" fmla="*/ 148923 w 323545"/>
                <a:gd name="connsiteY34" fmla="*/ 32813 h 446722"/>
                <a:gd name="connsiteX35" fmla="*/ 169935 w 323545"/>
                <a:gd name="connsiteY35" fmla="*/ 19145 h 446722"/>
                <a:gd name="connsiteX36" fmla="*/ 180346 w 323545"/>
                <a:gd name="connsiteY36" fmla="*/ 13078 h 446722"/>
                <a:gd name="connsiteX37" fmla="*/ 193272 w 323545"/>
                <a:gd name="connsiteY37" fmla="*/ 0 h 446722"/>
                <a:gd name="connsiteX38" fmla="*/ 202740 w 323545"/>
                <a:gd name="connsiteY38" fmla="*/ 1667 h 446722"/>
                <a:gd name="connsiteX39" fmla="*/ 209741 w 323545"/>
                <a:gd name="connsiteY39" fmla="*/ 8811 h 446722"/>
                <a:gd name="connsiteX40" fmla="*/ 204559 w 323545"/>
                <a:gd name="connsiteY40" fmla="*/ 17945 h 446722"/>
                <a:gd name="connsiteX41" fmla="*/ 187404 w 323545"/>
                <a:gd name="connsiteY41" fmla="*/ 22488 h 446722"/>
                <a:gd name="connsiteX42" fmla="*/ 180623 w 323545"/>
                <a:gd name="connsiteY42" fmla="*/ 36014 h 446722"/>
                <a:gd name="connsiteX43" fmla="*/ 170288 w 323545"/>
                <a:gd name="connsiteY43" fmla="*/ 43767 h 446722"/>
                <a:gd name="connsiteX44" fmla="*/ 162525 w 323545"/>
                <a:gd name="connsiteY44" fmla="*/ 53797 h 446722"/>
                <a:gd name="connsiteX45" fmla="*/ 159258 w 323545"/>
                <a:gd name="connsiteY45" fmla="*/ 73028 h 446722"/>
                <a:gd name="connsiteX46" fmla="*/ 151857 w 323545"/>
                <a:gd name="connsiteY46" fmla="*/ 88763 h 446722"/>
                <a:gd name="connsiteX47" fmla="*/ 165640 w 323545"/>
                <a:gd name="connsiteY47" fmla="*/ 90564 h 446722"/>
                <a:gd name="connsiteX48" fmla="*/ 169059 w 323545"/>
                <a:gd name="connsiteY48" fmla="*/ 102908 h 446722"/>
                <a:gd name="connsiteX49" fmla="*/ 174955 w 323545"/>
                <a:gd name="connsiteY49" fmla="*/ 108804 h 446722"/>
                <a:gd name="connsiteX50" fmla="*/ 177070 w 323545"/>
                <a:gd name="connsiteY50" fmla="*/ 119596 h 446722"/>
                <a:gd name="connsiteX51" fmla="*/ 173898 w 323545"/>
                <a:gd name="connsiteY51" fmla="*/ 129511 h 446722"/>
                <a:gd name="connsiteX52" fmla="*/ 174831 w 323545"/>
                <a:gd name="connsiteY52" fmla="*/ 135093 h 446722"/>
                <a:gd name="connsiteX53" fmla="*/ 181404 w 323545"/>
                <a:gd name="connsiteY53" fmla="*/ 137331 h 446722"/>
                <a:gd name="connsiteX54" fmla="*/ 187766 w 323545"/>
                <a:gd name="connsiteY54" fmla="*/ 146656 h 446722"/>
                <a:gd name="connsiteX55" fmla="*/ 222113 w 323545"/>
                <a:gd name="connsiteY55" fmla="*/ 144085 h 446722"/>
                <a:gd name="connsiteX56" fmla="*/ 237630 w 323545"/>
                <a:gd name="connsiteY56" fmla="*/ 147485 h 446722"/>
                <a:gd name="connsiteX57" fmla="*/ 256423 w 323545"/>
                <a:gd name="connsiteY57" fmla="*/ 170469 h 446722"/>
                <a:gd name="connsiteX58" fmla="*/ 267214 w 323545"/>
                <a:gd name="connsiteY58" fmla="*/ 167611 h 446722"/>
                <a:gd name="connsiteX59" fmla="*/ 286455 w 323545"/>
                <a:gd name="connsiteY59" fmla="*/ 169040 h 446722"/>
                <a:gd name="connsiteX60" fmla="*/ 301676 w 323545"/>
                <a:gd name="connsiteY60" fmla="*/ 166002 h 446722"/>
                <a:gd name="connsiteX61" fmla="*/ 311124 w 323545"/>
                <a:gd name="connsiteY61" fmla="*/ 170583 h 446722"/>
                <a:gd name="connsiteX62" fmla="*/ 306315 w 323545"/>
                <a:gd name="connsiteY62" fmla="*/ 184947 h 446722"/>
                <a:gd name="connsiteX63" fmla="*/ 300352 w 323545"/>
                <a:gd name="connsiteY63" fmla="*/ 193891 h 446722"/>
                <a:gd name="connsiteX64" fmla="*/ 298256 w 323545"/>
                <a:gd name="connsiteY64" fmla="*/ 212988 h 446722"/>
                <a:gd name="connsiteX65" fmla="*/ 303628 w 323545"/>
                <a:gd name="connsiteY65" fmla="*/ 230667 h 446722"/>
                <a:gd name="connsiteX66" fmla="*/ 311220 w 323545"/>
                <a:gd name="connsiteY66" fmla="*/ 238563 h 446722"/>
                <a:gd name="connsiteX67" fmla="*/ 312144 w 323545"/>
                <a:gd name="connsiteY67" fmla="*/ 244516 h 446722"/>
                <a:gd name="connsiteX68" fmla="*/ 298609 w 323545"/>
                <a:gd name="connsiteY68" fmla="*/ 257737 h 446722"/>
                <a:gd name="connsiteX69" fmla="*/ 308296 w 323545"/>
                <a:gd name="connsiteY69" fmla="*/ 263595 h 446722"/>
                <a:gd name="connsiteX70" fmla="*/ 315401 w 323545"/>
                <a:gd name="connsiteY70" fmla="*/ 272872 h 446722"/>
                <a:gd name="connsiteX71" fmla="*/ 323545 w 323545"/>
                <a:gd name="connsiteY71" fmla="*/ 299342 h 446722"/>
                <a:gd name="connsiteX72" fmla="*/ 318497 w 323545"/>
                <a:gd name="connsiteY72" fmla="*/ 302609 h 446722"/>
                <a:gd name="connsiteX73" fmla="*/ 313296 w 323545"/>
                <a:gd name="connsiteY73" fmla="*/ 286960 h 446722"/>
                <a:gd name="connsiteX74" fmla="*/ 305876 w 323545"/>
                <a:gd name="connsiteY74" fmla="*/ 278539 h 446722"/>
                <a:gd name="connsiteX75" fmla="*/ 297037 w 323545"/>
                <a:gd name="connsiteY75" fmla="*/ 287693 h 446722"/>
                <a:gd name="connsiteX76" fmla="*/ 245012 w 323545"/>
                <a:gd name="connsiteY76" fmla="*/ 287093 h 446722"/>
                <a:gd name="connsiteX77" fmla="*/ 245335 w 323545"/>
                <a:gd name="connsiteY77" fmla="*/ 303704 h 446722"/>
                <a:gd name="connsiteX78" fmla="*/ 260985 w 323545"/>
                <a:gd name="connsiteY78" fmla="*/ 306448 h 446722"/>
                <a:gd name="connsiteX79" fmla="*/ 260080 w 323545"/>
                <a:gd name="connsiteY79" fmla="*/ 316611 h 446722"/>
                <a:gd name="connsiteX80" fmla="*/ 254746 w 323545"/>
                <a:gd name="connsiteY80" fmla="*/ 313858 h 446722"/>
                <a:gd name="connsiteX81" fmla="*/ 239697 w 323545"/>
                <a:gd name="connsiteY81" fmla="*/ 318230 h 446722"/>
                <a:gd name="connsiteX82" fmla="*/ 239563 w 323545"/>
                <a:gd name="connsiteY82" fmla="*/ 337509 h 446722"/>
                <a:gd name="connsiteX83" fmla="*/ 251412 w 323545"/>
                <a:gd name="connsiteY83" fmla="*/ 347186 h 446722"/>
                <a:gd name="connsiteX84" fmla="*/ 255594 w 323545"/>
                <a:gd name="connsiteY84" fmla="*/ 362378 h 446722"/>
                <a:gd name="connsiteX85" fmla="*/ 254965 w 323545"/>
                <a:gd name="connsiteY85" fmla="*/ 373885 h 446722"/>
                <a:gd name="connsiteX86" fmla="*/ 242964 w 323545"/>
                <a:gd name="connsiteY86" fmla="*/ 446722 h 446722"/>
                <a:gd name="connsiteX87" fmla="*/ 229590 w 323545"/>
                <a:gd name="connsiteY87" fmla="*/ 432587 h 446722"/>
                <a:gd name="connsiteX88" fmla="*/ 221618 w 323545"/>
                <a:gd name="connsiteY88" fmla="*/ 431959 h 446722"/>
                <a:gd name="connsiteX89" fmla="*/ 238849 w 323545"/>
                <a:gd name="connsiteY89" fmla="*/ 404917 h 446722"/>
                <a:gd name="connsiteX90" fmla="*/ 218399 w 323545"/>
                <a:gd name="connsiteY90" fmla="*/ 392478 h 446722"/>
                <a:gd name="connsiteX91" fmla="*/ 202368 w 323545"/>
                <a:gd name="connsiteY91" fmla="*/ 394763 h 446722"/>
                <a:gd name="connsiteX92" fmla="*/ 192719 w 323545"/>
                <a:gd name="connsiteY92" fmla="*/ 390172 h 446722"/>
                <a:gd name="connsiteX93" fmla="*/ 178003 w 323545"/>
                <a:gd name="connsiteY93" fmla="*/ 397192 h 446722"/>
                <a:gd name="connsiteX94" fmla="*/ 158125 w 323545"/>
                <a:gd name="connsiteY94" fmla="*/ 393859 h 446722"/>
                <a:gd name="connsiteX95" fmla="*/ 142389 w 323545"/>
                <a:gd name="connsiteY95" fmla="*/ 366036 h 446722"/>
                <a:gd name="connsiteX96" fmla="*/ 130026 w 323545"/>
                <a:gd name="connsiteY96" fmla="*/ 359197 h 446722"/>
                <a:gd name="connsiteX97" fmla="*/ 121501 w 323545"/>
                <a:gd name="connsiteY97" fmla="*/ 346681 h 446722"/>
                <a:gd name="connsiteX98" fmla="*/ 103737 w 323545"/>
                <a:gd name="connsiteY98" fmla="*/ 334108 h 44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323545" h="446722">
                  <a:moveTo>
                    <a:pt x="96612" y="336632"/>
                  </a:moveTo>
                  <a:lnTo>
                    <a:pt x="85182" y="330346"/>
                  </a:lnTo>
                  <a:lnTo>
                    <a:pt x="72076" y="321564"/>
                  </a:lnTo>
                  <a:lnTo>
                    <a:pt x="64484" y="325774"/>
                  </a:lnTo>
                  <a:lnTo>
                    <a:pt x="41824" y="322097"/>
                  </a:lnTo>
                  <a:lnTo>
                    <a:pt x="35309" y="310686"/>
                  </a:lnTo>
                  <a:lnTo>
                    <a:pt x="30337" y="311105"/>
                  </a:lnTo>
                  <a:lnTo>
                    <a:pt x="3620" y="295961"/>
                  </a:lnTo>
                  <a:lnTo>
                    <a:pt x="0" y="287722"/>
                  </a:lnTo>
                  <a:lnTo>
                    <a:pt x="9963" y="285731"/>
                  </a:lnTo>
                  <a:lnTo>
                    <a:pt x="8782" y="272434"/>
                  </a:lnTo>
                  <a:lnTo>
                    <a:pt x="15050" y="262814"/>
                  </a:lnTo>
                  <a:lnTo>
                    <a:pt x="28299" y="261033"/>
                  </a:lnTo>
                  <a:lnTo>
                    <a:pt x="39538" y="244345"/>
                  </a:lnTo>
                  <a:lnTo>
                    <a:pt x="49758" y="230391"/>
                  </a:lnTo>
                  <a:lnTo>
                    <a:pt x="39919" y="224066"/>
                  </a:lnTo>
                  <a:lnTo>
                    <a:pt x="44958" y="208626"/>
                  </a:lnTo>
                  <a:lnTo>
                    <a:pt x="38929" y="184261"/>
                  </a:lnTo>
                  <a:lnTo>
                    <a:pt x="44653" y="177260"/>
                  </a:lnTo>
                  <a:lnTo>
                    <a:pt x="40443" y="154686"/>
                  </a:lnTo>
                  <a:lnTo>
                    <a:pt x="29632" y="140446"/>
                  </a:lnTo>
                  <a:lnTo>
                    <a:pt x="33052" y="127444"/>
                  </a:lnTo>
                  <a:lnTo>
                    <a:pt x="41653" y="129359"/>
                  </a:lnTo>
                  <a:lnTo>
                    <a:pt x="46691" y="121406"/>
                  </a:lnTo>
                  <a:lnTo>
                    <a:pt x="40491" y="105613"/>
                  </a:lnTo>
                  <a:lnTo>
                    <a:pt x="43739" y="101689"/>
                  </a:lnTo>
                  <a:lnTo>
                    <a:pt x="57531" y="102536"/>
                  </a:lnTo>
                  <a:lnTo>
                    <a:pt x="77572" y="83791"/>
                  </a:lnTo>
                  <a:lnTo>
                    <a:pt x="88573" y="80924"/>
                  </a:lnTo>
                  <a:lnTo>
                    <a:pt x="88830" y="72028"/>
                  </a:lnTo>
                  <a:lnTo>
                    <a:pt x="93755" y="49244"/>
                  </a:lnTo>
                  <a:lnTo>
                    <a:pt x="109071" y="36709"/>
                  </a:lnTo>
                  <a:lnTo>
                    <a:pt x="125901" y="36195"/>
                  </a:lnTo>
                  <a:lnTo>
                    <a:pt x="128025" y="30556"/>
                  </a:lnTo>
                  <a:lnTo>
                    <a:pt x="148923" y="32813"/>
                  </a:lnTo>
                  <a:lnTo>
                    <a:pt x="169935" y="19145"/>
                  </a:lnTo>
                  <a:lnTo>
                    <a:pt x="180346" y="13078"/>
                  </a:lnTo>
                  <a:lnTo>
                    <a:pt x="193272" y="0"/>
                  </a:lnTo>
                  <a:lnTo>
                    <a:pt x="202740" y="1667"/>
                  </a:lnTo>
                  <a:lnTo>
                    <a:pt x="209741" y="8811"/>
                  </a:lnTo>
                  <a:lnTo>
                    <a:pt x="204559" y="17945"/>
                  </a:lnTo>
                  <a:lnTo>
                    <a:pt x="187404" y="22488"/>
                  </a:lnTo>
                  <a:lnTo>
                    <a:pt x="180623" y="36014"/>
                  </a:lnTo>
                  <a:lnTo>
                    <a:pt x="170288" y="43767"/>
                  </a:lnTo>
                  <a:lnTo>
                    <a:pt x="162525" y="53797"/>
                  </a:lnTo>
                  <a:lnTo>
                    <a:pt x="159258" y="73028"/>
                  </a:lnTo>
                  <a:lnTo>
                    <a:pt x="151857" y="88763"/>
                  </a:lnTo>
                  <a:lnTo>
                    <a:pt x="165640" y="90564"/>
                  </a:lnTo>
                  <a:lnTo>
                    <a:pt x="169059" y="102908"/>
                  </a:lnTo>
                  <a:lnTo>
                    <a:pt x="174955" y="108804"/>
                  </a:lnTo>
                  <a:lnTo>
                    <a:pt x="177070" y="119596"/>
                  </a:lnTo>
                  <a:lnTo>
                    <a:pt x="173898" y="129511"/>
                  </a:lnTo>
                  <a:lnTo>
                    <a:pt x="174831" y="135093"/>
                  </a:lnTo>
                  <a:lnTo>
                    <a:pt x="181404" y="137331"/>
                  </a:lnTo>
                  <a:lnTo>
                    <a:pt x="187766" y="146656"/>
                  </a:lnTo>
                  <a:lnTo>
                    <a:pt x="222113" y="144085"/>
                  </a:lnTo>
                  <a:lnTo>
                    <a:pt x="237630" y="147485"/>
                  </a:lnTo>
                  <a:lnTo>
                    <a:pt x="256423" y="170469"/>
                  </a:lnTo>
                  <a:lnTo>
                    <a:pt x="267214" y="167611"/>
                  </a:lnTo>
                  <a:lnTo>
                    <a:pt x="286455" y="169040"/>
                  </a:lnTo>
                  <a:lnTo>
                    <a:pt x="301676" y="166002"/>
                  </a:lnTo>
                  <a:lnTo>
                    <a:pt x="311124" y="170583"/>
                  </a:lnTo>
                  <a:lnTo>
                    <a:pt x="306315" y="184947"/>
                  </a:lnTo>
                  <a:lnTo>
                    <a:pt x="300352" y="193891"/>
                  </a:lnTo>
                  <a:lnTo>
                    <a:pt x="298256" y="212988"/>
                  </a:lnTo>
                  <a:lnTo>
                    <a:pt x="303628" y="230667"/>
                  </a:lnTo>
                  <a:lnTo>
                    <a:pt x="311220" y="238563"/>
                  </a:lnTo>
                  <a:lnTo>
                    <a:pt x="312144" y="244516"/>
                  </a:lnTo>
                  <a:lnTo>
                    <a:pt x="298609" y="257737"/>
                  </a:lnTo>
                  <a:lnTo>
                    <a:pt x="308296" y="263595"/>
                  </a:lnTo>
                  <a:lnTo>
                    <a:pt x="315401" y="272872"/>
                  </a:lnTo>
                  <a:lnTo>
                    <a:pt x="323545" y="299342"/>
                  </a:lnTo>
                  <a:lnTo>
                    <a:pt x="318497" y="302609"/>
                  </a:lnTo>
                  <a:lnTo>
                    <a:pt x="313296" y="286960"/>
                  </a:lnTo>
                  <a:lnTo>
                    <a:pt x="305876" y="278539"/>
                  </a:lnTo>
                  <a:lnTo>
                    <a:pt x="297037" y="287693"/>
                  </a:lnTo>
                  <a:lnTo>
                    <a:pt x="245012" y="287093"/>
                  </a:lnTo>
                  <a:lnTo>
                    <a:pt x="245335" y="303704"/>
                  </a:lnTo>
                  <a:lnTo>
                    <a:pt x="260985" y="306448"/>
                  </a:lnTo>
                  <a:lnTo>
                    <a:pt x="260080" y="316611"/>
                  </a:lnTo>
                  <a:lnTo>
                    <a:pt x="254746" y="313858"/>
                  </a:lnTo>
                  <a:lnTo>
                    <a:pt x="239697" y="318230"/>
                  </a:lnTo>
                  <a:lnTo>
                    <a:pt x="239563" y="337509"/>
                  </a:lnTo>
                  <a:lnTo>
                    <a:pt x="251412" y="347186"/>
                  </a:lnTo>
                  <a:lnTo>
                    <a:pt x="255594" y="362378"/>
                  </a:lnTo>
                  <a:lnTo>
                    <a:pt x="254965" y="373885"/>
                  </a:lnTo>
                  <a:lnTo>
                    <a:pt x="242964" y="446722"/>
                  </a:lnTo>
                  <a:lnTo>
                    <a:pt x="229590" y="432587"/>
                  </a:lnTo>
                  <a:lnTo>
                    <a:pt x="221618" y="431959"/>
                  </a:lnTo>
                  <a:lnTo>
                    <a:pt x="238849" y="404917"/>
                  </a:lnTo>
                  <a:lnTo>
                    <a:pt x="218399" y="392478"/>
                  </a:lnTo>
                  <a:lnTo>
                    <a:pt x="202368" y="394763"/>
                  </a:lnTo>
                  <a:lnTo>
                    <a:pt x="192719" y="390172"/>
                  </a:lnTo>
                  <a:lnTo>
                    <a:pt x="178003" y="397192"/>
                  </a:lnTo>
                  <a:lnTo>
                    <a:pt x="158125" y="393859"/>
                  </a:lnTo>
                  <a:lnTo>
                    <a:pt x="142389" y="366036"/>
                  </a:lnTo>
                  <a:lnTo>
                    <a:pt x="130026" y="359197"/>
                  </a:lnTo>
                  <a:lnTo>
                    <a:pt x="121501" y="346681"/>
                  </a:lnTo>
                  <a:lnTo>
                    <a:pt x="103737" y="3341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67" name="Forme libre : forme 5686">
              <a:extLst>
                <a:ext uri="{FF2B5EF4-FFF2-40B4-BE49-F238E27FC236}">
                  <a16:creationId xmlns:a16="http://schemas.microsoft.com/office/drawing/2014/main" id="{D5665F92-D804-686E-D254-BF6458001192}"/>
                </a:ext>
              </a:extLst>
            </p:cNvPr>
            <p:cNvSpPr/>
            <p:nvPr/>
          </p:nvSpPr>
          <p:spPr>
            <a:xfrm>
              <a:off x="3525678" y="4443140"/>
              <a:ext cx="90687" cy="80552"/>
            </a:xfrm>
            <a:custGeom>
              <a:avLst/>
              <a:gdLst>
                <a:gd name="connsiteX0" fmla="*/ 79477 w 90687"/>
                <a:gd name="connsiteY0" fmla="*/ 80553 h 80552"/>
                <a:gd name="connsiteX1" fmla="*/ 64979 w 90687"/>
                <a:gd name="connsiteY1" fmla="*/ 74609 h 80552"/>
                <a:gd name="connsiteX2" fmla="*/ 59569 w 90687"/>
                <a:gd name="connsiteY2" fmla="*/ 68980 h 80552"/>
                <a:gd name="connsiteX3" fmla="*/ 62636 w 90687"/>
                <a:gd name="connsiteY3" fmla="*/ 64313 h 80552"/>
                <a:gd name="connsiteX4" fmla="*/ 61665 w 90687"/>
                <a:gd name="connsiteY4" fmla="*/ 58379 h 80552"/>
                <a:gd name="connsiteX5" fmla="*/ 54264 w 90687"/>
                <a:gd name="connsiteY5" fmla="*/ 51949 h 80552"/>
                <a:gd name="connsiteX6" fmla="*/ 43758 w 90687"/>
                <a:gd name="connsiteY6" fmla="*/ 46663 h 80552"/>
                <a:gd name="connsiteX7" fmla="*/ 34566 w 90687"/>
                <a:gd name="connsiteY7" fmla="*/ 43215 h 80552"/>
                <a:gd name="connsiteX8" fmla="*/ 32804 w 90687"/>
                <a:gd name="connsiteY8" fmla="*/ 35338 h 80552"/>
                <a:gd name="connsiteX9" fmla="*/ 25803 w 90687"/>
                <a:gd name="connsiteY9" fmla="*/ 30527 h 80552"/>
                <a:gd name="connsiteX10" fmla="*/ 27518 w 90687"/>
                <a:gd name="connsiteY10" fmla="*/ 38357 h 80552"/>
                <a:gd name="connsiteX11" fmla="*/ 22184 w 90687"/>
                <a:gd name="connsiteY11" fmla="*/ 44787 h 80552"/>
                <a:gd name="connsiteX12" fmla="*/ 16088 w 90687"/>
                <a:gd name="connsiteY12" fmla="*/ 37319 h 80552"/>
                <a:gd name="connsiteX13" fmla="*/ 7506 w 90687"/>
                <a:gd name="connsiteY13" fmla="*/ 34662 h 80552"/>
                <a:gd name="connsiteX14" fmla="*/ 3848 w 90687"/>
                <a:gd name="connsiteY14" fmla="*/ 29223 h 80552"/>
                <a:gd name="connsiteX15" fmla="*/ 4010 w 90687"/>
                <a:gd name="connsiteY15" fmla="*/ 21012 h 80552"/>
                <a:gd name="connsiteX16" fmla="*/ 7544 w 90687"/>
                <a:gd name="connsiteY16" fmla="*/ 12516 h 80552"/>
                <a:gd name="connsiteX17" fmla="*/ 0 w 90687"/>
                <a:gd name="connsiteY17" fmla="*/ 8706 h 80552"/>
                <a:gd name="connsiteX18" fmla="*/ 6124 w 90687"/>
                <a:gd name="connsiteY18" fmla="*/ 3486 h 80552"/>
                <a:gd name="connsiteX19" fmla="*/ 10144 w 90687"/>
                <a:gd name="connsiteY19" fmla="*/ 0 h 80552"/>
                <a:gd name="connsiteX20" fmla="*/ 27737 w 90687"/>
                <a:gd name="connsiteY20" fmla="*/ 7163 h 80552"/>
                <a:gd name="connsiteX21" fmla="*/ 33880 w 90687"/>
                <a:gd name="connsiteY21" fmla="*/ 3638 h 80552"/>
                <a:gd name="connsiteX22" fmla="*/ 42348 w 90687"/>
                <a:gd name="connsiteY22" fmla="*/ 5896 h 80552"/>
                <a:gd name="connsiteX23" fmla="*/ 46777 w 90687"/>
                <a:gd name="connsiteY23" fmla="*/ 11459 h 80552"/>
                <a:gd name="connsiteX24" fmla="*/ 54654 w 90687"/>
                <a:gd name="connsiteY24" fmla="*/ 13259 h 80552"/>
                <a:gd name="connsiteX25" fmla="*/ 61055 w 90687"/>
                <a:gd name="connsiteY25" fmla="*/ 7525 h 80552"/>
                <a:gd name="connsiteX26" fmla="*/ 67818 w 90687"/>
                <a:gd name="connsiteY26" fmla="*/ 22203 h 80552"/>
                <a:gd name="connsiteX27" fmla="*/ 78143 w 90687"/>
                <a:gd name="connsiteY27" fmla="*/ 33052 h 80552"/>
                <a:gd name="connsiteX28" fmla="*/ 90687 w 90687"/>
                <a:gd name="connsiteY28" fmla="*/ 44539 h 80552"/>
                <a:gd name="connsiteX29" fmla="*/ 80353 w 90687"/>
                <a:gd name="connsiteY29" fmla="*/ 46949 h 80552"/>
                <a:gd name="connsiteX30" fmla="*/ 80505 w 90687"/>
                <a:gd name="connsiteY30" fmla="*/ 57769 h 80552"/>
                <a:gd name="connsiteX31" fmla="*/ 86068 w 90687"/>
                <a:gd name="connsiteY31" fmla="*/ 61760 h 80552"/>
                <a:gd name="connsiteX32" fmla="*/ 82067 w 90687"/>
                <a:gd name="connsiteY32" fmla="*/ 64941 h 80552"/>
                <a:gd name="connsiteX33" fmla="*/ 83115 w 90687"/>
                <a:gd name="connsiteY33" fmla="*/ 69799 h 80552"/>
                <a:gd name="connsiteX34" fmla="*/ 80886 w 90687"/>
                <a:gd name="connsiteY34" fmla="*/ 75238 h 80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90687" h="80552">
                  <a:moveTo>
                    <a:pt x="79477" y="80553"/>
                  </a:moveTo>
                  <a:lnTo>
                    <a:pt x="64979" y="74609"/>
                  </a:lnTo>
                  <a:lnTo>
                    <a:pt x="59569" y="68980"/>
                  </a:lnTo>
                  <a:lnTo>
                    <a:pt x="62636" y="64313"/>
                  </a:lnTo>
                  <a:lnTo>
                    <a:pt x="61665" y="58379"/>
                  </a:lnTo>
                  <a:lnTo>
                    <a:pt x="54264" y="51949"/>
                  </a:lnTo>
                  <a:lnTo>
                    <a:pt x="43758" y="46663"/>
                  </a:lnTo>
                  <a:lnTo>
                    <a:pt x="34566" y="43215"/>
                  </a:lnTo>
                  <a:lnTo>
                    <a:pt x="32804" y="35338"/>
                  </a:lnTo>
                  <a:lnTo>
                    <a:pt x="25803" y="30527"/>
                  </a:lnTo>
                  <a:lnTo>
                    <a:pt x="27518" y="38357"/>
                  </a:lnTo>
                  <a:lnTo>
                    <a:pt x="22184" y="44787"/>
                  </a:lnTo>
                  <a:lnTo>
                    <a:pt x="16088" y="37319"/>
                  </a:lnTo>
                  <a:lnTo>
                    <a:pt x="7506" y="34662"/>
                  </a:lnTo>
                  <a:lnTo>
                    <a:pt x="3848" y="29223"/>
                  </a:lnTo>
                  <a:lnTo>
                    <a:pt x="4010" y="21012"/>
                  </a:lnTo>
                  <a:lnTo>
                    <a:pt x="7544" y="12516"/>
                  </a:lnTo>
                  <a:lnTo>
                    <a:pt x="0" y="8706"/>
                  </a:lnTo>
                  <a:lnTo>
                    <a:pt x="6124" y="3486"/>
                  </a:lnTo>
                  <a:lnTo>
                    <a:pt x="10144" y="0"/>
                  </a:lnTo>
                  <a:lnTo>
                    <a:pt x="27737" y="7163"/>
                  </a:lnTo>
                  <a:lnTo>
                    <a:pt x="33880" y="3638"/>
                  </a:lnTo>
                  <a:lnTo>
                    <a:pt x="42348" y="5896"/>
                  </a:lnTo>
                  <a:lnTo>
                    <a:pt x="46777" y="11459"/>
                  </a:lnTo>
                  <a:lnTo>
                    <a:pt x="54654" y="13259"/>
                  </a:lnTo>
                  <a:lnTo>
                    <a:pt x="61055" y="7525"/>
                  </a:lnTo>
                  <a:lnTo>
                    <a:pt x="67818" y="22203"/>
                  </a:lnTo>
                  <a:lnTo>
                    <a:pt x="78143" y="33052"/>
                  </a:lnTo>
                  <a:lnTo>
                    <a:pt x="90687" y="44539"/>
                  </a:lnTo>
                  <a:lnTo>
                    <a:pt x="80353" y="46949"/>
                  </a:lnTo>
                  <a:lnTo>
                    <a:pt x="80505" y="57769"/>
                  </a:lnTo>
                  <a:lnTo>
                    <a:pt x="86068" y="61760"/>
                  </a:lnTo>
                  <a:lnTo>
                    <a:pt x="82067" y="64941"/>
                  </a:lnTo>
                  <a:lnTo>
                    <a:pt x="83115" y="69799"/>
                  </a:lnTo>
                  <a:lnTo>
                    <a:pt x="80886" y="7523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68" name="Forme libre : forme 5687">
              <a:extLst>
                <a:ext uri="{FF2B5EF4-FFF2-40B4-BE49-F238E27FC236}">
                  <a16:creationId xmlns:a16="http://schemas.microsoft.com/office/drawing/2014/main" id="{62D0360C-B20D-328A-D656-8FB11E7378CC}"/>
                </a:ext>
              </a:extLst>
            </p:cNvPr>
            <p:cNvSpPr/>
            <p:nvPr/>
          </p:nvSpPr>
          <p:spPr>
            <a:xfrm>
              <a:off x="3551500" y="4109765"/>
              <a:ext cx="288350" cy="95154"/>
            </a:xfrm>
            <a:custGeom>
              <a:avLst/>
              <a:gdLst>
                <a:gd name="connsiteX0" fmla="*/ 72285 w 288350"/>
                <a:gd name="connsiteY0" fmla="*/ 0 h 95154"/>
                <a:gd name="connsiteX1" fmla="*/ 95355 w 288350"/>
                <a:gd name="connsiteY1" fmla="*/ 2057 h 95154"/>
                <a:gd name="connsiteX2" fmla="*/ 116338 w 288350"/>
                <a:gd name="connsiteY2" fmla="*/ 2381 h 95154"/>
                <a:gd name="connsiteX3" fmla="*/ 141418 w 288350"/>
                <a:gd name="connsiteY3" fmla="*/ 12211 h 95154"/>
                <a:gd name="connsiteX4" fmla="*/ 152048 w 288350"/>
                <a:gd name="connsiteY4" fmla="*/ 22736 h 95154"/>
                <a:gd name="connsiteX5" fmla="*/ 176994 w 288350"/>
                <a:gd name="connsiteY5" fmla="*/ 19488 h 95154"/>
                <a:gd name="connsiteX6" fmla="*/ 186452 w 288350"/>
                <a:gd name="connsiteY6" fmla="*/ 26241 h 95154"/>
                <a:gd name="connsiteX7" fmla="*/ 209074 w 288350"/>
                <a:gd name="connsiteY7" fmla="*/ 43977 h 95154"/>
                <a:gd name="connsiteX8" fmla="*/ 225695 w 288350"/>
                <a:gd name="connsiteY8" fmla="*/ 56836 h 95154"/>
                <a:gd name="connsiteX9" fmla="*/ 234487 w 288350"/>
                <a:gd name="connsiteY9" fmla="*/ 56445 h 95154"/>
                <a:gd name="connsiteX10" fmla="*/ 250422 w 288350"/>
                <a:gd name="connsiteY10" fmla="*/ 62256 h 95154"/>
                <a:gd name="connsiteX11" fmla="*/ 248479 w 288350"/>
                <a:gd name="connsiteY11" fmla="*/ 70247 h 95154"/>
                <a:gd name="connsiteX12" fmla="*/ 268157 w 288350"/>
                <a:gd name="connsiteY12" fmla="*/ 71418 h 95154"/>
                <a:gd name="connsiteX13" fmla="*/ 288350 w 288350"/>
                <a:gd name="connsiteY13" fmla="*/ 83020 h 95154"/>
                <a:gd name="connsiteX14" fmla="*/ 285179 w 288350"/>
                <a:gd name="connsiteY14" fmla="*/ 89649 h 95154"/>
                <a:gd name="connsiteX15" fmla="*/ 267424 w 288350"/>
                <a:gd name="connsiteY15" fmla="*/ 93240 h 95154"/>
                <a:gd name="connsiteX16" fmla="*/ 249450 w 288350"/>
                <a:gd name="connsiteY16" fmla="*/ 94631 h 95154"/>
                <a:gd name="connsiteX17" fmla="*/ 231048 w 288350"/>
                <a:gd name="connsiteY17" fmla="*/ 92402 h 95154"/>
                <a:gd name="connsiteX18" fmla="*/ 192805 w 288350"/>
                <a:gd name="connsiteY18" fmla="*/ 95155 h 95154"/>
                <a:gd name="connsiteX19" fmla="*/ 210712 w 288350"/>
                <a:gd name="connsiteY19" fmla="*/ 79372 h 95154"/>
                <a:gd name="connsiteX20" fmla="*/ 199825 w 288350"/>
                <a:gd name="connsiteY20" fmla="*/ 72009 h 95154"/>
                <a:gd name="connsiteX21" fmla="*/ 182604 w 288350"/>
                <a:gd name="connsiteY21" fmla="*/ 70113 h 95154"/>
                <a:gd name="connsiteX22" fmla="*/ 173384 w 288350"/>
                <a:gd name="connsiteY22" fmla="*/ 61913 h 95154"/>
                <a:gd name="connsiteX23" fmla="*/ 167049 w 288350"/>
                <a:gd name="connsiteY23" fmla="*/ 45682 h 95154"/>
                <a:gd name="connsiteX24" fmla="*/ 151962 w 288350"/>
                <a:gd name="connsiteY24" fmla="*/ 46796 h 95154"/>
                <a:gd name="connsiteX25" fmla="*/ 127054 w 288350"/>
                <a:gd name="connsiteY25" fmla="*/ 39129 h 95154"/>
                <a:gd name="connsiteX26" fmla="*/ 119043 w 288350"/>
                <a:gd name="connsiteY26" fmla="*/ 33128 h 95154"/>
                <a:gd name="connsiteX27" fmla="*/ 84230 w 288350"/>
                <a:gd name="connsiteY27" fmla="*/ 28680 h 95154"/>
                <a:gd name="connsiteX28" fmla="*/ 74905 w 288350"/>
                <a:gd name="connsiteY28" fmla="*/ 23089 h 95154"/>
                <a:gd name="connsiteX29" fmla="*/ 84925 w 288350"/>
                <a:gd name="connsiteY29" fmla="*/ 15907 h 95154"/>
                <a:gd name="connsiteX30" fmla="*/ 58731 w 288350"/>
                <a:gd name="connsiteY30" fmla="*/ 14430 h 95154"/>
                <a:gd name="connsiteX31" fmla="*/ 39538 w 288350"/>
                <a:gd name="connsiteY31" fmla="*/ 29356 h 95154"/>
                <a:gd name="connsiteX32" fmla="*/ 28470 w 288350"/>
                <a:gd name="connsiteY32" fmla="*/ 29756 h 95154"/>
                <a:gd name="connsiteX33" fmla="*/ 24641 w 288350"/>
                <a:gd name="connsiteY33" fmla="*/ 36747 h 95154"/>
                <a:gd name="connsiteX34" fmla="*/ 11421 w 288350"/>
                <a:gd name="connsiteY34" fmla="*/ 39872 h 95154"/>
                <a:gd name="connsiteX35" fmla="*/ 0 w 288350"/>
                <a:gd name="connsiteY35" fmla="*/ 37167 h 95154"/>
                <a:gd name="connsiteX36" fmla="*/ 14097 w 288350"/>
                <a:gd name="connsiteY36" fmla="*/ 28318 h 95154"/>
                <a:gd name="connsiteX37" fmla="*/ 19879 w 288350"/>
                <a:gd name="connsiteY37" fmla="*/ 17955 h 95154"/>
                <a:gd name="connsiteX38" fmla="*/ 31956 w 288350"/>
                <a:gd name="connsiteY38" fmla="*/ 11554 h 95154"/>
                <a:gd name="connsiteX39" fmla="*/ 45596 w 288350"/>
                <a:gd name="connsiteY39" fmla="*/ 5934 h 95154"/>
                <a:gd name="connsiteX40" fmla="*/ 65818 w 288350"/>
                <a:gd name="connsiteY40" fmla="*/ 3172 h 95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88350" h="95154">
                  <a:moveTo>
                    <a:pt x="72285" y="0"/>
                  </a:moveTo>
                  <a:lnTo>
                    <a:pt x="95355" y="2057"/>
                  </a:lnTo>
                  <a:lnTo>
                    <a:pt x="116338" y="2381"/>
                  </a:lnTo>
                  <a:lnTo>
                    <a:pt x="141418" y="12211"/>
                  </a:lnTo>
                  <a:lnTo>
                    <a:pt x="152048" y="22736"/>
                  </a:lnTo>
                  <a:lnTo>
                    <a:pt x="176994" y="19488"/>
                  </a:lnTo>
                  <a:lnTo>
                    <a:pt x="186452" y="26241"/>
                  </a:lnTo>
                  <a:lnTo>
                    <a:pt x="209074" y="43977"/>
                  </a:lnTo>
                  <a:lnTo>
                    <a:pt x="225695" y="56836"/>
                  </a:lnTo>
                  <a:lnTo>
                    <a:pt x="234487" y="56445"/>
                  </a:lnTo>
                  <a:lnTo>
                    <a:pt x="250422" y="62256"/>
                  </a:lnTo>
                  <a:lnTo>
                    <a:pt x="248479" y="70247"/>
                  </a:lnTo>
                  <a:lnTo>
                    <a:pt x="268157" y="71418"/>
                  </a:lnTo>
                  <a:lnTo>
                    <a:pt x="288350" y="83020"/>
                  </a:lnTo>
                  <a:lnTo>
                    <a:pt x="285179" y="89649"/>
                  </a:lnTo>
                  <a:lnTo>
                    <a:pt x="267424" y="93240"/>
                  </a:lnTo>
                  <a:lnTo>
                    <a:pt x="249450" y="94631"/>
                  </a:lnTo>
                  <a:lnTo>
                    <a:pt x="231048" y="92402"/>
                  </a:lnTo>
                  <a:lnTo>
                    <a:pt x="192805" y="95155"/>
                  </a:lnTo>
                  <a:lnTo>
                    <a:pt x="210712" y="79372"/>
                  </a:lnTo>
                  <a:lnTo>
                    <a:pt x="199825" y="72009"/>
                  </a:lnTo>
                  <a:lnTo>
                    <a:pt x="182604" y="70113"/>
                  </a:lnTo>
                  <a:lnTo>
                    <a:pt x="173384" y="61913"/>
                  </a:lnTo>
                  <a:lnTo>
                    <a:pt x="167049" y="45682"/>
                  </a:lnTo>
                  <a:lnTo>
                    <a:pt x="151962" y="46796"/>
                  </a:lnTo>
                  <a:lnTo>
                    <a:pt x="127054" y="39129"/>
                  </a:lnTo>
                  <a:lnTo>
                    <a:pt x="119043" y="33128"/>
                  </a:lnTo>
                  <a:lnTo>
                    <a:pt x="84230" y="28680"/>
                  </a:lnTo>
                  <a:lnTo>
                    <a:pt x="74905" y="23089"/>
                  </a:lnTo>
                  <a:lnTo>
                    <a:pt x="84925" y="15907"/>
                  </a:lnTo>
                  <a:lnTo>
                    <a:pt x="58731" y="14430"/>
                  </a:lnTo>
                  <a:lnTo>
                    <a:pt x="39538" y="29356"/>
                  </a:lnTo>
                  <a:lnTo>
                    <a:pt x="28470" y="29756"/>
                  </a:lnTo>
                  <a:lnTo>
                    <a:pt x="24641" y="36747"/>
                  </a:lnTo>
                  <a:lnTo>
                    <a:pt x="11421" y="39872"/>
                  </a:lnTo>
                  <a:lnTo>
                    <a:pt x="0" y="37167"/>
                  </a:lnTo>
                  <a:lnTo>
                    <a:pt x="14097" y="28318"/>
                  </a:lnTo>
                  <a:lnTo>
                    <a:pt x="19879" y="17955"/>
                  </a:lnTo>
                  <a:lnTo>
                    <a:pt x="31956" y="11554"/>
                  </a:lnTo>
                  <a:lnTo>
                    <a:pt x="45596" y="5934"/>
                  </a:lnTo>
                  <a:lnTo>
                    <a:pt x="65818" y="317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69" name="Forme libre : forme 5688">
              <a:extLst>
                <a:ext uri="{FF2B5EF4-FFF2-40B4-BE49-F238E27FC236}">
                  <a16:creationId xmlns:a16="http://schemas.microsoft.com/office/drawing/2014/main" id="{76673022-660A-0DB8-BBE0-1B273DE12029}"/>
                </a:ext>
              </a:extLst>
            </p:cNvPr>
            <p:cNvSpPr/>
            <p:nvPr/>
          </p:nvSpPr>
          <p:spPr>
            <a:xfrm>
              <a:off x="6682368" y="3727689"/>
              <a:ext cx="61950" cy="35747"/>
            </a:xfrm>
            <a:custGeom>
              <a:avLst/>
              <a:gdLst>
                <a:gd name="connsiteX0" fmla="*/ 43911 w 61950"/>
                <a:gd name="connsiteY0" fmla="*/ 13897 h 35747"/>
                <a:gd name="connsiteX1" fmla="*/ 61951 w 61950"/>
                <a:gd name="connsiteY1" fmla="*/ 0 h 35747"/>
                <a:gd name="connsiteX2" fmla="*/ 37672 w 61950"/>
                <a:gd name="connsiteY2" fmla="*/ 9754 h 35747"/>
                <a:gd name="connsiteX3" fmla="*/ 18431 w 61950"/>
                <a:gd name="connsiteY3" fmla="*/ 9306 h 35747"/>
                <a:gd name="connsiteX4" fmla="*/ 14574 w 61950"/>
                <a:gd name="connsiteY4" fmla="*/ 17164 h 35747"/>
                <a:gd name="connsiteX5" fmla="*/ 12688 w 61950"/>
                <a:gd name="connsiteY5" fmla="*/ 17336 h 35747"/>
                <a:gd name="connsiteX6" fmla="*/ 0 w 61950"/>
                <a:gd name="connsiteY6" fmla="*/ 18536 h 35747"/>
                <a:gd name="connsiteX7" fmla="*/ 6239 w 61950"/>
                <a:gd name="connsiteY7" fmla="*/ 31557 h 35747"/>
                <a:gd name="connsiteX8" fmla="*/ 19317 w 61950"/>
                <a:gd name="connsiteY8" fmla="*/ 35747 h 35747"/>
                <a:gd name="connsiteX9" fmla="*/ 46692 w 61950"/>
                <a:gd name="connsiteY9" fmla="*/ 22603 h 35747"/>
                <a:gd name="connsiteX10" fmla="*/ 45854 w 61950"/>
                <a:gd name="connsiteY10" fmla="*/ 19993 h 35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950" h="35747">
                  <a:moveTo>
                    <a:pt x="43911" y="13897"/>
                  </a:moveTo>
                  <a:lnTo>
                    <a:pt x="61951" y="0"/>
                  </a:lnTo>
                  <a:lnTo>
                    <a:pt x="37672" y="9754"/>
                  </a:lnTo>
                  <a:lnTo>
                    <a:pt x="18431" y="9306"/>
                  </a:lnTo>
                  <a:lnTo>
                    <a:pt x="14574" y="17164"/>
                  </a:lnTo>
                  <a:lnTo>
                    <a:pt x="12688" y="17336"/>
                  </a:lnTo>
                  <a:lnTo>
                    <a:pt x="0" y="18536"/>
                  </a:lnTo>
                  <a:lnTo>
                    <a:pt x="6239" y="31557"/>
                  </a:lnTo>
                  <a:lnTo>
                    <a:pt x="19317" y="35747"/>
                  </a:lnTo>
                  <a:lnTo>
                    <a:pt x="46692" y="22603"/>
                  </a:lnTo>
                  <a:lnTo>
                    <a:pt x="45854" y="199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0" name="Forme libre : forme 5689">
              <a:extLst>
                <a:ext uri="{FF2B5EF4-FFF2-40B4-BE49-F238E27FC236}">
                  <a16:creationId xmlns:a16="http://schemas.microsoft.com/office/drawing/2014/main" id="{4DE8EFFF-0D17-34DF-E4AB-B7DE5510D5FD}"/>
                </a:ext>
              </a:extLst>
            </p:cNvPr>
            <p:cNvSpPr/>
            <p:nvPr/>
          </p:nvSpPr>
          <p:spPr>
            <a:xfrm>
              <a:off x="6147787" y="3157141"/>
              <a:ext cx="176612" cy="105822"/>
            </a:xfrm>
            <a:custGeom>
              <a:avLst/>
              <a:gdLst>
                <a:gd name="connsiteX0" fmla="*/ 126064 w 176612"/>
                <a:gd name="connsiteY0" fmla="*/ 104146 h 105822"/>
                <a:gd name="connsiteX1" fmla="*/ 113757 w 176612"/>
                <a:gd name="connsiteY1" fmla="*/ 96526 h 105822"/>
                <a:gd name="connsiteX2" fmla="*/ 101213 w 176612"/>
                <a:gd name="connsiteY2" fmla="*/ 98622 h 105822"/>
                <a:gd name="connsiteX3" fmla="*/ 80477 w 176612"/>
                <a:gd name="connsiteY3" fmla="*/ 86258 h 105822"/>
                <a:gd name="connsiteX4" fmla="*/ 71076 w 176612"/>
                <a:gd name="connsiteY4" fmla="*/ 89297 h 105822"/>
                <a:gd name="connsiteX5" fmla="*/ 56054 w 176612"/>
                <a:gd name="connsiteY5" fmla="*/ 105823 h 105822"/>
                <a:gd name="connsiteX6" fmla="*/ 36214 w 176612"/>
                <a:gd name="connsiteY6" fmla="*/ 92831 h 105822"/>
                <a:gd name="connsiteX7" fmla="*/ 21136 w 176612"/>
                <a:gd name="connsiteY7" fmla="*/ 75343 h 105822"/>
                <a:gd name="connsiteX8" fmla="*/ 7506 w 176612"/>
                <a:gd name="connsiteY8" fmla="*/ 65503 h 105822"/>
                <a:gd name="connsiteX9" fmla="*/ 4677 w 176612"/>
                <a:gd name="connsiteY9" fmla="*/ 48120 h 105822"/>
                <a:gd name="connsiteX10" fmla="*/ 0 w 176612"/>
                <a:gd name="connsiteY10" fmla="*/ 35776 h 105822"/>
                <a:gd name="connsiteX11" fmla="*/ 19412 w 176612"/>
                <a:gd name="connsiteY11" fmla="*/ 26689 h 105822"/>
                <a:gd name="connsiteX12" fmla="*/ 29328 w 176612"/>
                <a:gd name="connsiteY12" fmla="*/ 16231 h 105822"/>
                <a:gd name="connsiteX13" fmla="*/ 48511 w 176612"/>
                <a:gd name="connsiteY13" fmla="*/ 8058 h 105822"/>
                <a:gd name="connsiteX14" fmla="*/ 55207 w 176612"/>
                <a:gd name="connsiteY14" fmla="*/ 0 h 105822"/>
                <a:gd name="connsiteX15" fmla="*/ 62246 w 176612"/>
                <a:gd name="connsiteY15" fmla="*/ 4867 h 105822"/>
                <a:gd name="connsiteX16" fmla="*/ 74161 w 176612"/>
                <a:gd name="connsiteY16" fmla="*/ 448 h 105822"/>
                <a:gd name="connsiteX17" fmla="*/ 86830 w 176612"/>
                <a:gd name="connsiteY17" fmla="*/ 14059 h 105822"/>
                <a:gd name="connsiteX18" fmla="*/ 106794 w 176612"/>
                <a:gd name="connsiteY18" fmla="*/ 17726 h 105822"/>
                <a:gd name="connsiteX19" fmla="*/ 105128 w 176612"/>
                <a:gd name="connsiteY19" fmla="*/ 29261 h 105822"/>
                <a:gd name="connsiteX20" fmla="*/ 119634 w 176612"/>
                <a:gd name="connsiteY20" fmla="*/ 37881 h 105822"/>
                <a:gd name="connsiteX21" fmla="*/ 123615 w 176612"/>
                <a:gd name="connsiteY21" fmla="*/ 27108 h 105822"/>
                <a:gd name="connsiteX22" fmla="*/ 141942 w 176612"/>
                <a:gd name="connsiteY22" fmla="*/ 31785 h 105822"/>
                <a:gd name="connsiteX23" fmla="*/ 144466 w 176612"/>
                <a:gd name="connsiteY23" fmla="*/ 44806 h 105822"/>
                <a:gd name="connsiteX24" fmla="*/ 164325 w 176612"/>
                <a:gd name="connsiteY24" fmla="*/ 47320 h 105822"/>
                <a:gd name="connsiteX25" fmla="*/ 176613 w 176612"/>
                <a:gd name="connsiteY25" fmla="*/ 67608 h 105822"/>
                <a:gd name="connsiteX26" fmla="*/ 168650 w 176612"/>
                <a:gd name="connsiteY26" fmla="*/ 67656 h 105822"/>
                <a:gd name="connsiteX27" fmla="*/ 164516 w 176612"/>
                <a:gd name="connsiteY27" fmla="*/ 75028 h 105822"/>
                <a:gd name="connsiteX28" fmla="*/ 158382 w 176612"/>
                <a:gd name="connsiteY28" fmla="*/ 76800 h 105822"/>
                <a:gd name="connsiteX29" fmla="*/ 156639 w 176612"/>
                <a:gd name="connsiteY29" fmla="*/ 86068 h 105822"/>
                <a:gd name="connsiteX30" fmla="*/ 151524 w 176612"/>
                <a:gd name="connsiteY30" fmla="*/ 87992 h 105822"/>
                <a:gd name="connsiteX31" fmla="*/ 150800 w 176612"/>
                <a:gd name="connsiteY31" fmla="*/ 91764 h 105822"/>
                <a:gd name="connsiteX32" fmla="*/ 141685 w 176612"/>
                <a:gd name="connsiteY32" fmla="*/ 95945 h 105822"/>
                <a:gd name="connsiteX33" fmla="*/ 129855 w 176612"/>
                <a:gd name="connsiteY33" fmla="*/ 95269 h 105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6612" h="105822">
                  <a:moveTo>
                    <a:pt x="126064" y="104146"/>
                  </a:moveTo>
                  <a:lnTo>
                    <a:pt x="113757" y="96526"/>
                  </a:lnTo>
                  <a:lnTo>
                    <a:pt x="101213" y="98622"/>
                  </a:lnTo>
                  <a:lnTo>
                    <a:pt x="80477" y="86258"/>
                  </a:lnTo>
                  <a:lnTo>
                    <a:pt x="71076" y="89297"/>
                  </a:lnTo>
                  <a:lnTo>
                    <a:pt x="56054" y="105823"/>
                  </a:lnTo>
                  <a:lnTo>
                    <a:pt x="36214" y="92831"/>
                  </a:lnTo>
                  <a:lnTo>
                    <a:pt x="21136" y="75343"/>
                  </a:lnTo>
                  <a:lnTo>
                    <a:pt x="7506" y="65503"/>
                  </a:lnTo>
                  <a:lnTo>
                    <a:pt x="4677" y="48120"/>
                  </a:lnTo>
                  <a:lnTo>
                    <a:pt x="0" y="35776"/>
                  </a:lnTo>
                  <a:lnTo>
                    <a:pt x="19412" y="26689"/>
                  </a:lnTo>
                  <a:lnTo>
                    <a:pt x="29328" y="16231"/>
                  </a:lnTo>
                  <a:lnTo>
                    <a:pt x="48511" y="8058"/>
                  </a:lnTo>
                  <a:lnTo>
                    <a:pt x="55207" y="0"/>
                  </a:lnTo>
                  <a:lnTo>
                    <a:pt x="62246" y="4867"/>
                  </a:lnTo>
                  <a:lnTo>
                    <a:pt x="74161" y="448"/>
                  </a:lnTo>
                  <a:lnTo>
                    <a:pt x="86830" y="14059"/>
                  </a:lnTo>
                  <a:lnTo>
                    <a:pt x="106794" y="17726"/>
                  </a:lnTo>
                  <a:lnTo>
                    <a:pt x="105128" y="29261"/>
                  </a:lnTo>
                  <a:lnTo>
                    <a:pt x="119634" y="37881"/>
                  </a:lnTo>
                  <a:lnTo>
                    <a:pt x="123615" y="27108"/>
                  </a:lnTo>
                  <a:lnTo>
                    <a:pt x="141942" y="31785"/>
                  </a:lnTo>
                  <a:lnTo>
                    <a:pt x="144466" y="44806"/>
                  </a:lnTo>
                  <a:lnTo>
                    <a:pt x="164325" y="47320"/>
                  </a:lnTo>
                  <a:lnTo>
                    <a:pt x="176613" y="67608"/>
                  </a:lnTo>
                  <a:lnTo>
                    <a:pt x="168650" y="67656"/>
                  </a:lnTo>
                  <a:lnTo>
                    <a:pt x="164516" y="75028"/>
                  </a:lnTo>
                  <a:lnTo>
                    <a:pt x="158382" y="76800"/>
                  </a:lnTo>
                  <a:lnTo>
                    <a:pt x="156639" y="86068"/>
                  </a:lnTo>
                  <a:lnTo>
                    <a:pt x="151524" y="87992"/>
                  </a:lnTo>
                  <a:lnTo>
                    <a:pt x="150800" y="91764"/>
                  </a:lnTo>
                  <a:lnTo>
                    <a:pt x="141685" y="95945"/>
                  </a:lnTo>
                  <a:lnTo>
                    <a:pt x="129855" y="9526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1" name="Forme libre : forme 5690">
              <a:extLst>
                <a:ext uri="{FF2B5EF4-FFF2-40B4-BE49-F238E27FC236}">
                  <a16:creationId xmlns:a16="http://schemas.microsoft.com/office/drawing/2014/main" id="{0C07D090-6B27-0B8E-3DC4-13536C04FD1C}"/>
                </a:ext>
              </a:extLst>
            </p:cNvPr>
            <p:cNvSpPr/>
            <p:nvPr/>
          </p:nvSpPr>
          <p:spPr>
            <a:xfrm>
              <a:off x="5980833" y="2985653"/>
              <a:ext cx="241115" cy="327098"/>
            </a:xfrm>
            <a:custGeom>
              <a:avLst/>
              <a:gdLst>
                <a:gd name="connsiteX0" fmla="*/ 105042 w 241115"/>
                <a:gd name="connsiteY0" fmla="*/ 0 h 327098"/>
                <a:gd name="connsiteX1" fmla="*/ 105518 w 241115"/>
                <a:gd name="connsiteY1" fmla="*/ 17859 h 327098"/>
                <a:gd name="connsiteX2" fmla="*/ 132512 w 241115"/>
                <a:gd name="connsiteY2" fmla="*/ 28547 h 327098"/>
                <a:gd name="connsiteX3" fmla="*/ 132226 w 241115"/>
                <a:gd name="connsiteY3" fmla="*/ 44710 h 327098"/>
                <a:gd name="connsiteX4" fmla="*/ 159372 w 241115"/>
                <a:gd name="connsiteY4" fmla="*/ 36176 h 327098"/>
                <a:gd name="connsiteX5" fmla="*/ 174393 w 241115"/>
                <a:gd name="connsiteY5" fmla="*/ 23660 h 327098"/>
                <a:gd name="connsiteX6" fmla="*/ 204549 w 241115"/>
                <a:gd name="connsiteY6" fmla="*/ 41681 h 327098"/>
                <a:gd name="connsiteX7" fmla="*/ 217151 w 241115"/>
                <a:gd name="connsiteY7" fmla="*/ 56093 h 327098"/>
                <a:gd name="connsiteX8" fmla="*/ 223399 w 241115"/>
                <a:gd name="connsiteY8" fmla="*/ 78886 h 327098"/>
                <a:gd name="connsiteX9" fmla="*/ 215951 w 241115"/>
                <a:gd name="connsiteY9" fmla="*/ 90735 h 327098"/>
                <a:gd name="connsiteX10" fmla="*/ 225647 w 241115"/>
                <a:gd name="connsiteY10" fmla="*/ 106442 h 327098"/>
                <a:gd name="connsiteX11" fmla="*/ 232257 w 241115"/>
                <a:gd name="connsiteY11" fmla="*/ 129769 h 327098"/>
                <a:gd name="connsiteX12" fmla="*/ 230171 w 241115"/>
                <a:gd name="connsiteY12" fmla="*/ 144656 h 327098"/>
                <a:gd name="connsiteX13" fmla="*/ 241116 w 241115"/>
                <a:gd name="connsiteY13" fmla="*/ 171936 h 327098"/>
                <a:gd name="connsiteX14" fmla="*/ 229200 w 241115"/>
                <a:gd name="connsiteY14" fmla="*/ 176355 h 327098"/>
                <a:gd name="connsiteX15" fmla="*/ 222161 w 241115"/>
                <a:gd name="connsiteY15" fmla="*/ 171488 h 327098"/>
                <a:gd name="connsiteX16" fmla="*/ 215465 w 241115"/>
                <a:gd name="connsiteY16" fmla="*/ 179546 h 327098"/>
                <a:gd name="connsiteX17" fmla="*/ 196282 w 241115"/>
                <a:gd name="connsiteY17" fmla="*/ 187719 h 327098"/>
                <a:gd name="connsiteX18" fmla="*/ 186366 w 241115"/>
                <a:gd name="connsiteY18" fmla="*/ 198177 h 327098"/>
                <a:gd name="connsiteX19" fmla="*/ 166954 w 241115"/>
                <a:gd name="connsiteY19" fmla="*/ 207264 h 327098"/>
                <a:gd name="connsiteX20" fmla="*/ 171631 w 241115"/>
                <a:gd name="connsiteY20" fmla="*/ 219608 h 327098"/>
                <a:gd name="connsiteX21" fmla="*/ 174460 w 241115"/>
                <a:gd name="connsiteY21" fmla="*/ 236991 h 327098"/>
                <a:gd name="connsiteX22" fmla="*/ 188090 w 241115"/>
                <a:gd name="connsiteY22" fmla="*/ 246831 h 327098"/>
                <a:gd name="connsiteX23" fmla="*/ 203168 w 241115"/>
                <a:gd name="connsiteY23" fmla="*/ 264319 h 327098"/>
                <a:gd name="connsiteX24" fmla="*/ 193748 w 241115"/>
                <a:gd name="connsiteY24" fmla="*/ 282902 h 327098"/>
                <a:gd name="connsiteX25" fmla="*/ 184156 w 241115"/>
                <a:gd name="connsiteY25" fmla="*/ 287988 h 327098"/>
                <a:gd name="connsiteX26" fmla="*/ 187938 w 241115"/>
                <a:gd name="connsiteY26" fmla="*/ 313896 h 327098"/>
                <a:gd name="connsiteX27" fmla="*/ 185452 w 241115"/>
                <a:gd name="connsiteY27" fmla="*/ 320602 h 327098"/>
                <a:gd name="connsiteX28" fmla="*/ 177127 w 241115"/>
                <a:gd name="connsiteY28" fmla="*/ 312515 h 327098"/>
                <a:gd name="connsiteX29" fmla="*/ 164316 w 241115"/>
                <a:gd name="connsiteY29" fmla="*/ 311305 h 327098"/>
                <a:gd name="connsiteX30" fmla="*/ 145227 w 241115"/>
                <a:gd name="connsiteY30" fmla="*/ 318392 h 327098"/>
                <a:gd name="connsiteX31" fmla="*/ 121672 w 241115"/>
                <a:gd name="connsiteY31" fmla="*/ 316706 h 327098"/>
                <a:gd name="connsiteX32" fmla="*/ 117872 w 241115"/>
                <a:gd name="connsiteY32" fmla="*/ 327098 h 327098"/>
                <a:gd name="connsiteX33" fmla="*/ 104356 w 241115"/>
                <a:gd name="connsiteY33" fmla="*/ 316163 h 327098"/>
                <a:gd name="connsiteX34" fmla="*/ 96298 w 241115"/>
                <a:gd name="connsiteY34" fmla="*/ 318335 h 327098"/>
                <a:gd name="connsiteX35" fmla="*/ 67675 w 241115"/>
                <a:gd name="connsiteY35" fmla="*/ 306248 h 327098"/>
                <a:gd name="connsiteX36" fmla="*/ 62189 w 241115"/>
                <a:gd name="connsiteY36" fmla="*/ 314849 h 327098"/>
                <a:gd name="connsiteX37" fmla="*/ 39471 w 241115"/>
                <a:gd name="connsiteY37" fmla="*/ 314573 h 327098"/>
                <a:gd name="connsiteX38" fmla="*/ 42863 w 241115"/>
                <a:gd name="connsiteY38" fmla="*/ 286236 h 327098"/>
                <a:gd name="connsiteX39" fmla="*/ 56369 w 241115"/>
                <a:gd name="connsiteY39" fmla="*/ 258613 h 327098"/>
                <a:gd name="connsiteX40" fmla="*/ 17888 w 241115"/>
                <a:gd name="connsiteY40" fmla="*/ 251127 h 327098"/>
                <a:gd name="connsiteX41" fmla="*/ 5286 w 241115"/>
                <a:gd name="connsiteY41" fmla="*/ 240430 h 327098"/>
                <a:gd name="connsiteX42" fmla="*/ 6791 w 241115"/>
                <a:gd name="connsiteY42" fmla="*/ 222380 h 327098"/>
                <a:gd name="connsiteX43" fmla="*/ 1457 w 241115"/>
                <a:gd name="connsiteY43" fmla="*/ 213017 h 327098"/>
                <a:gd name="connsiteX44" fmla="*/ 4486 w 241115"/>
                <a:gd name="connsiteY44" fmla="*/ 184747 h 327098"/>
                <a:gd name="connsiteX45" fmla="*/ 0 w 241115"/>
                <a:gd name="connsiteY45" fmla="*/ 140075 h 327098"/>
                <a:gd name="connsiteX46" fmla="*/ 16050 w 241115"/>
                <a:gd name="connsiteY46" fmla="*/ 140056 h 327098"/>
                <a:gd name="connsiteX47" fmla="*/ 22812 w 241115"/>
                <a:gd name="connsiteY47" fmla="*/ 123758 h 327098"/>
                <a:gd name="connsiteX48" fmla="*/ 29470 w 241115"/>
                <a:gd name="connsiteY48" fmla="*/ 83515 h 327098"/>
                <a:gd name="connsiteX49" fmla="*/ 24479 w 241115"/>
                <a:gd name="connsiteY49" fmla="*/ 68437 h 327098"/>
                <a:gd name="connsiteX50" fmla="*/ 29699 w 241115"/>
                <a:gd name="connsiteY50" fmla="*/ 58931 h 327098"/>
                <a:gd name="connsiteX51" fmla="*/ 52016 w 241115"/>
                <a:gd name="connsiteY51" fmla="*/ 56483 h 327098"/>
                <a:gd name="connsiteX52" fmla="*/ 56969 w 241115"/>
                <a:gd name="connsiteY52" fmla="*/ 66389 h 327098"/>
                <a:gd name="connsiteX53" fmla="*/ 75104 w 241115"/>
                <a:gd name="connsiteY53" fmla="*/ 44167 h 327098"/>
                <a:gd name="connsiteX54" fmla="*/ 68999 w 241115"/>
                <a:gd name="connsiteY54" fmla="*/ 27089 h 327098"/>
                <a:gd name="connsiteX55" fmla="*/ 67770 w 241115"/>
                <a:gd name="connsiteY55" fmla="*/ 943 h 327098"/>
                <a:gd name="connsiteX56" fmla="*/ 87954 w 241115"/>
                <a:gd name="connsiteY56" fmla="*/ 7058 h 327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41115" h="327098">
                  <a:moveTo>
                    <a:pt x="105042" y="0"/>
                  </a:moveTo>
                  <a:lnTo>
                    <a:pt x="105518" y="17859"/>
                  </a:lnTo>
                  <a:lnTo>
                    <a:pt x="132512" y="28547"/>
                  </a:lnTo>
                  <a:lnTo>
                    <a:pt x="132226" y="44710"/>
                  </a:lnTo>
                  <a:lnTo>
                    <a:pt x="159372" y="36176"/>
                  </a:lnTo>
                  <a:lnTo>
                    <a:pt x="174393" y="23660"/>
                  </a:lnTo>
                  <a:lnTo>
                    <a:pt x="204549" y="41681"/>
                  </a:lnTo>
                  <a:lnTo>
                    <a:pt x="217151" y="56093"/>
                  </a:lnTo>
                  <a:lnTo>
                    <a:pt x="223399" y="78886"/>
                  </a:lnTo>
                  <a:lnTo>
                    <a:pt x="215951" y="90735"/>
                  </a:lnTo>
                  <a:lnTo>
                    <a:pt x="225647" y="106442"/>
                  </a:lnTo>
                  <a:lnTo>
                    <a:pt x="232257" y="129769"/>
                  </a:lnTo>
                  <a:lnTo>
                    <a:pt x="230171" y="144656"/>
                  </a:lnTo>
                  <a:lnTo>
                    <a:pt x="241116" y="171936"/>
                  </a:lnTo>
                  <a:lnTo>
                    <a:pt x="229200" y="176355"/>
                  </a:lnTo>
                  <a:lnTo>
                    <a:pt x="222161" y="171488"/>
                  </a:lnTo>
                  <a:lnTo>
                    <a:pt x="215465" y="179546"/>
                  </a:lnTo>
                  <a:lnTo>
                    <a:pt x="196282" y="187719"/>
                  </a:lnTo>
                  <a:lnTo>
                    <a:pt x="186366" y="198177"/>
                  </a:lnTo>
                  <a:lnTo>
                    <a:pt x="166954" y="207264"/>
                  </a:lnTo>
                  <a:lnTo>
                    <a:pt x="171631" y="219608"/>
                  </a:lnTo>
                  <a:lnTo>
                    <a:pt x="174460" y="236991"/>
                  </a:lnTo>
                  <a:lnTo>
                    <a:pt x="188090" y="246831"/>
                  </a:lnTo>
                  <a:lnTo>
                    <a:pt x="203168" y="264319"/>
                  </a:lnTo>
                  <a:lnTo>
                    <a:pt x="193748" y="282902"/>
                  </a:lnTo>
                  <a:lnTo>
                    <a:pt x="184156" y="287988"/>
                  </a:lnTo>
                  <a:lnTo>
                    <a:pt x="187938" y="313896"/>
                  </a:lnTo>
                  <a:lnTo>
                    <a:pt x="185452" y="320602"/>
                  </a:lnTo>
                  <a:lnTo>
                    <a:pt x="177127" y="312515"/>
                  </a:lnTo>
                  <a:lnTo>
                    <a:pt x="164316" y="311305"/>
                  </a:lnTo>
                  <a:lnTo>
                    <a:pt x="145227" y="318392"/>
                  </a:lnTo>
                  <a:lnTo>
                    <a:pt x="121672" y="316706"/>
                  </a:lnTo>
                  <a:lnTo>
                    <a:pt x="117872" y="327098"/>
                  </a:lnTo>
                  <a:lnTo>
                    <a:pt x="104356" y="316163"/>
                  </a:lnTo>
                  <a:lnTo>
                    <a:pt x="96298" y="318335"/>
                  </a:lnTo>
                  <a:lnTo>
                    <a:pt x="67675" y="306248"/>
                  </a:lnTo>
                  <a:lnTo>
                    <a:pt x="62189" y="314849"/>
                  </a:lnTo>
                  <a:lnTo>
                    <a:pt x="39471" y="314573"/>
                  </a:lnTo>
                  <a:lnTo>
                    <a:pt x="42863" y="286236"/>
                  </a:lnTo>
                  <a:lnTo>
                    <a:pt x="56369" y="258613"/>
                  </a:lnTo>
                  <a:lnTo>
                    <a:pt x="17888" y="251127"/>
                  </a:lnTo>
                  <a:lnTo>
                    <a:pt x="5286" y="240430"/>
                  </a:lnTo>
                  <a:lnTo>
                    <a:pt x="6791" y="222380"/>
                  </a:lnTo>
                  <a:lnTo>
                    <a:pt x="1457" y="213017"/>
                  </a:lnTo>
                  <a:lnTo>
                    <a:pt x="4486" y="184747"/>
                  </a:lnTo>
                  <a:lnTo>
                    <a:pt x="0" y="140075"/>
                  </a:lnTo>
                  <a:lnTo>
                    <a:pt x="16050" y="140056"/>
                  </a:lnTo>
                  <a:lnTo>
                    <a:pt x="22812" y="123758"/>
                  </a:lnTo>
                  <a:lnTo>
                    <a:pt x="29470" y="83515"/>
                  </a:lnTo>
                  <a:lnTo>
                    <a:pt x="24479" y="68437"/>
                  </a:lnTo>
                  <a:lnTo>
                    <a:pt x="29699" y="58931"/>
                  </a:lnTo>
                  <a:lnTo>
                    <a:pt x="52016" y="56483"/>
                  </a:lnTo>
                  <a:lnTo>
                    <a:pt x="56969" y="66389"/>
                  </a:lnTo>
                  <a:lnTo>
                    <a:pt x="75104" y="44167"/>
                  </a:lnTo>
                  <a:lnTo>
                    <a:pt x="68999" y="27089"/>
                  </a:lnTo>
                  <a:lnTo>
                    <a:pt x="67770" y="943"/>
                  </a:lnTo>
                  <a:lnTo>
                    <a:pt x="87954" y="7058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2" name="Forme libre : forme 5691">
              <a:extLst>
                <a:ext uri="{FF2B5EF4-FFF2-40B4-BE49-F238E27FC236}">
                  <a16:creationId xmlns:a16="http://schemas.microsoft.com/office/drawing/2014/main" id="{14C12634-B601-53C7-E0C4-62B670B31602}"/>
                </a:ext>
              </a:extLst>
            </p:cNvPr>
            <p:cNvSpPr/>
            <p:nvPr/>
          </p:nvSpPr>
          <p:spPr>
            <a:xfrm>
              <a:off x="6933542" y="4402935"/>
              <a:ext cx="44234" cy="48053"/>
            </a:xfrm>
            <a:custGeom>
              <a:avLst/>
              <a:gdLst>
                <a:gd name="connsiteX0" fmla="*/ 37910 w 44234"/>
                <a:gd name="connsiteY0" fmla="*/ 0 h 48053"/>
                <a:gd name="connsiteX1" fmla="*/ 44235 w 44234"/>
                <a:gd name="connsiteY1" fmla="*/ 8411 h 48053"/>
                <a:gd name="connsiteX2" fmla="*/ 43396 w 44234"/>
                <a:gd name="connsiteY2" fmla="*/ 19679 h 48053"/>
                <a:gd name="connsiteX3" fmla="*/ 28156 w 44234"/>
                <a:gd name="connsiteY3" fmla="*/ 26165 h 48053"/>
                <a:gd name="connsiteX4" fmla="*/ 39624 w 44234"/>
                <a:gd name="connsiteY4" fmla="*/ 33585 h 48053"/>
                <a:gd name="connsiteX5" fmla="*/ 29785 w 44234"/>
                <a:gd name="connsiteY5" fmla="*/ 48054 h 48053"/>
                <a:gd name="connsiteX6" fmla="*/ 23860 w 44234"/>
                <a:gd name="connsiteY6" fmla="*/ 43234 h 48053"/>
                <a:gd name="connsiteX7" fmla="*/ 17431 w 44234"/>
                <a:gd name="connsiteY7" fmla="*/ 45158 h 48053"/>
                <a:gd name="connsiteX8" fmla="*/ 2515 w 44234"/>
                <a:gd name="connsiteY8" fmla="*/ 44701 h 48053"/>
                <a:gd name="connsiteX9" fmla="*/ 2086 w 44234"/>
                <a:gd name="connsiteY9" fmla="*/ 36471 h 48053"/>
                <a:gd name="connsiteX10" fmla="*/ 0 w 44234"/>
                <a:gd name="connsiteY10" fmla="*/ 29004 h 48053"/>
                <a:gd name="connsiteX11" fmla="*/ 9040 w 44234"/>
                <a:gd name="connsiteY11" fmla="*/ 16288 h 48053"/>
                <a:gd name="connsiteX12" fmla="*/ 18422 w 44234"/>
                <a:gd name="connsiteY12" fmla="*/ 4277 h 48053"/>
                <a:gd name="connsiteX13" fmla="*/ 29861 w 44234"/>
                <a:gd name="connsiteY13" fmla="*/ 6639 h 48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234" h="48053">
                  <a:moveTo>
                    <a:pt x="37910" y="0"/>
                  </a:moveTo>
                  <a:lnTo>
                    <a:pt x="44235" y="8411"/>
                  </a:lnTo>
                  <a:lnTo>
                    <a:pt x="43396" y="19679"/>
                  </a:lnTo>
                  <a:lnTo>
                    <a:pt x="28156" y="26165"/>
                  </a:lnTo>
                  <a:lnTo>
                    <a:pt x="39624" y="33585"/>
                  </a:lnTo>
                  <a:lnTo>
                    <a:pt x="29785" y="48054"/>
                  </a:lnTo>
                  <a:lnTo>
                    <a:pt x="23860" y="43234"/>
                  </a:lnTo>
                  <a:lnTo>
                    <a:pt x="17431" y="45158"/>
                  </a:lnTo>
                  <a:lnTo>
                    <a:pt x="2515" y="44701"/>
                  </a:lnTo>
                  <a:lnTo>
                    <a:pt x="2086" y="36471"/>
                  </a:lnTo>
                  <a:lnTo>
                    <a:pt x="0" y="29004"/>
                  </a:lnTo>
                  <a:lnTo>
                    <a:pt x="9040" y="16288"/>
                  </a:lnTo>
                  <a:lnTo>
                    <a:pt x="18422" y="4277"/>
                  </a:lnTo>
                  <a:lnTo>
                    <a:pt x="29861" y="66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3" name="Forme libre : forme 5692">
              <a:extLst>
                <a:ext uri="{FF2B5EF4-FFF2-40B4-BE49-F238E27FC236}">
                  <a16:creationId xmlns:a16="http://schemas.microsoft.com/office/drawing/2014/main" id="{E16FFF24-1767-391B-11E7-BD451F6435C4}"/>
                </a:ext>
              </a:extLst>
            </p:cNvPr>
            <p:cNvSpPr/>
            <p:nvPr/>
          </p:nvSpPr>
          <p:spPr>
            <a:xfrm>
              <a:off x="6036954" y="2853446"/>
              <a:ext cx="122853" cy="140693"/>
            </a:xfrm>
            <a:custGeom>
              <a:avLst/>
              <a:gdLst>
                <a:gd name="connsiteX0" fmla="*/ 122854 w 122853"/>
                <a:gd name="connsiteY0" fmla="*/ 102870 h 140693"/>
                <a:gd name="connsiteX1" fmla="*/ 106823 w 122853"/>
                <a:gd name="connsiteY1" fmla="*/ 140694 h 140693"/>
                <a:gd name="connsiteX2" fmla="*/ 78877 w 122853"/>
                <a:gd name="connsiteY2" fmla="*/ 114395 h 140693"/>
                <a:gd name="connsiteX3" fmla="*/ 75152 w 122853"/>
                <a:gd name="connsiteY3" fmla="*/ 94831 h 140693"/>
                <a:gd name="connsiteX4" fmla="*/ 114328 w 122853"/>
                <a:gd name="connsiteY4" fmla="*/ 79057 h 140693"/>
                <a:gd name="connsiteX5" fmla="*/ 122854 w 122853"/>
                <a:gd name="connsiteY5" fmla="*/ 102870 h 140693"/>
                <a:gd name="connsiteX6" fmla="*/ 75371 w 122853"/>
                <a:gd name="connsiteY6" fmla="*/ 62379 h 140693"/>
                <a:gd name="connsiteX7" fmla="*/ 68847 w 122853"/>
                <a:gd name="connsiteY7" fmla="*/ 80486 h 140693"/>
                <a:gd name="connsiteX8" fmla="*/ 60893 w 122853"/>
                <a:gd name="connsiteY8" fmla="*/ 75295 h 140693"/>
                <a:gd name="connsiteX9" fmla="*/ 41662 w 122853"/>
                <a:gd name="connsiteY9" fmla="*/ 109461 h 140693"/>
                <a:gd name="connsiteX10" fmla="*/ 48920 w 122853"/>
                <a:gd name="connsiteY10" fmla="*/ 132217 h 140693"/>
                <a:gd name="connsiteX11" fmla="*/ 31833 w 122853"/>
                <a:gd name="connsiteY11" fmla="*/ 139275 h 140693"/>
                <a:gd name="connsiteX12" fmla="*/ 11649 w 122853"/>
                <a:gd name="connsiteY12" fmla="*/ 133160 h 140693"/>
                <a:gd name="connsiteX13" fmla="*/ 810 w 122853"/>
                <a:gd name="connsiteY13" fmla="*/ 107223 h 140693"/>
                <a:gd name="connsiteX14" fmla="*/ 0 w 122853"/>
                <a:gd name="connsiteY14" fmla="*/ 58455 h 140693"/>
                <a:gd name="connsiteX15" fmla="*/ 4448 w 122853"/>
                <a:gd name="connsiteY15" fmla="*/ 45358 h 140693"/>
                <a:gd name="connsiteX16" fmla="*/ 12106 w 122853"/>
                <a:gd name="connsiteY16" fmla="*/ 30690 h 140693"/>
                <a:gd name="connsiteX17" fmla="*/ 35633 w 122853"/>
                <a:gd name="connsiteY17" fmla="*/ 27642 h 140693"/>
                <a:gd name="connsiteX18" fmla="*/ 45006 w 122853"/>
                <a:gd name="connsiteY18" fmla="*/ 14030 h 140693"/>
                <a:gd name="connsiteX19" fmla="*/ 66494 w 122853"/>
                <a:gd name="connsiteY19" fmla="*/ 0 h 140693"/>
                <a:gd name="connsiteX20" fmla="*/ 65589 w 122853"/>
                <a:gd name="connsiteY20" fmla="*/ 25489 h 140693"/>
                <a:gd name="connsiteX21" fmla="*/ 57683 w 122853"/>
                <a:gd name="connsiteY21" fmla="*/ 41453 h 140693"/>
                <a:gd name="connsiteX22" fmla="*/ 60884 w 122853"/>
                <a:gd name="connsiteY22" fmla="*/ 55064 h 140693"/>
                <a:gd name="connsiteX23" fmla="*/ 75371 w 122853"/>
                <a:gd name="connsiteY23" fmla="*/ 62379 h 140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2853" h="140693">
                  <a:moveTo>
                    <a:pt x="122854" y="102870"/>
                  </a:moveTo>
                  <a:lnTo>
                    <a:pt x="106823" y="140694"/>
                  </a:lnTo>
                  <a:lnTo>
                    <a:pt x="78877" y="114395"/>
                  </a:lnTo>
                  <a:lnTo>
                    <a:pt x="75152" y="94831"/>
                  </a:lnTo>
                  <a:lnTo>
                    <a:pt x="114328" y="79057"/>
                  </a:lnTo>
                  <a:lnTo>
                    <a:pt x="122854" y="102870"/>
                  </a:lnTo>
                  <a:close/>
                  <a:moveTo>
                    <a:pt x="75371" y="62379"/>
                  </a:moveTo>
                  <a:lnTo>
                    <a:pt x="68847" y="80486"/>
                  </a:lnTo>
                  <a:lnTo>
                    <a:pt x="60893" y="75295"/>
                  </a:lnTo>
                  <a:lnTo>
                    <a:pt x="41662" y="109461"/>
                  </a:lnTo>
                  <a:lnTo>
                    <a:pt x="48920" y="132217"/>
                  </a:lnTo>
                  <a:lnTo>
                    <a:pt x="31833" y="139275"/>
                  </a:lnTo>
                  <a:lnTo>
                    <a:pt x="11649" y="133160"/>
                  </a:lnTo>
                  <a:lnTo>
                    <a:pt x="810" y="107223"/>
                  </a:lnTo>
                  <a:lnTo>
                    <a:pt x="0" y="58455"/>
                  </a:lnTo>
                  <a:lnTo>
                    <a:pt x="4448" y="45358"/>
                  </a:lnTo>
                  <a:lnTo>
                    <a:pt x="12106" y="30690"/>
                  </a:lnTo>
                  <a:lnTo>
                    <a:pt x="35633" y="27642"/>
                  </a:lnTo>
                  <a:lnTo>
                    <a:pt x="45006" y="14030"/>
                  </a:lnTo>
                  <a:lnTo>
                    <a:pt x="66494" y="0"/>
                  </a:lnTo>
                  <a:lnTo>
                    <a:pt x="65589" y="25489"/>
                  </a:lnTo>
                  <a:lnTo>
                    <a:pt x="57683" y="41453"/>
                  </a:lnTo>
                  <a:lnTo>
                    <a:pt x="60884" y="55064"/>
                  </a:lnTo>
                  <a:lnTo>
                    <a:pt x="75371" y="62379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4" name="Forme libre : forme 5693">
              <a:extLst>
                <a:ext uri="{FF2B5EF4-FFF2-40B4-BE49-F238E27FC236}">
                  <a16:creationId xmlns:a16="http://schemas.microsoft.com/office/drawing/2014/main" id="{942BB7DA-8C34-9E7C-0F83-B66DAB1F130A}"/>
                </a:ext>
              </a:extLst>
            </p:cNvPr>
            <p:cNvSpPr/>
            <p:nvPr/>
          </p:nvSpPr>
          <p:spPr>
            <a:xfrm>
              <a:off x="3899477" y="4204091"/>
              <a:ext cx="96878" cy="64093"/>
            </a:xfrm>
            <a:custGeom>
              <a:avLst/>
              <a:gdLst>
                <a:gd name="connsiteX0" fmla="*/ 6220 w 96878"/>
                <a:gd name="connsiteY0" fmla="*/ 4810 h 64093"/>
                <a:gd name="connsiteX1" fmla="*/ 9563 w 96878"/>
                <a:gd name="connsiteY1" fmla="*/ 0 h 64093"/>
                <a:gd name="connsiteX2" fmla="*/ 30404 w 96878"/>
                <a:gd name="connsiteY2" fmla="*/ 124 h 64093"/>
                <a:gd name="connsiteX3" fmla="*/ 46225 w 96878"/>
                <a:gd name="connsiteY3" fmla="*/ 7391 h 64093"/>
                <a:gd name="connsiteX4" fmla="*/ 53264 w 96878"/>
                <a:gd name="connsiteY4" fmla="*/ 6677 h 64093"/>
                <a:gd name="connsiteX5" fmla="*/ 58112 w 96878"/>
                <a:gd name="connsiteY5" fmla="*/ 16669 h 64093"/>
                <a:gd name="connsiteX6" fmla="*/ 72733 w 96878"/>
                <a:gd name="connsiteY6" fmla="*/ 16107 h 64093"/>
                <a:gd name="connsiteX7" fmla="*/ 71866 w 96878"/>
                <a:gd name="connsiteY7" fmla="*/ 24479 h 64093"/>
                <a:gd name="connsiteX8" fmla="*/ 83744 w 96878"/>
                <a:gd name="connsiteY8" fmla="*/ 25498 h 64093"/>
                <a:gd name="connsiteX9" fmla="*/ 96879 w 96878"/>
                <a:gd name="connsiteY9" fmla="*/ 35786 h 64093"/>
                <a:gd name="connsiteX10" fmla="*/ 86954 w 96878"/>
                <a:gd name="connsiteY10" fmla="*/ 47168 h 64093"/>
                <a:gd name="connsiteX11" fmla="*/ 74257 w 96878"/>
                <a:gd name="connsiteY11" fmla="*/ 41091 h 64093"/>
                <a:gd name="connsiteX12" fmla="*/ 61998 w 96878"/>
                <a:gd name="connsiteY12" fmla="*/ 42263 h 64093"/>
                <a:gd name="connsiteX13" fmla="*/ 53207 w 96878"/>
                <a:gd name="connsiteY13" fmla="*/ 40929 h 64093"/>
                <a:gd name="connsiteX14" fmla="*/ 48396 w 96878"/>
                <a:gd name="connsiteY14" fmla="*/ 46034 h 64093"/>
                <a:gd name="connsiteX15" fmla="*/ 38138 w 96878"/>
                <a:gd name="connsiteY15" fmla="*/ 47749 h 64093"/>
                <a:gd name="connsiteX16" fmla="*/ 34071 w 96878"/>
                <a:gd name="connsiteY16" fmla="*/ 40977 h 64093"/>
                <a:gd name="connsiteX17" fmla="*/ 25251 w 96878"/>
                <a:gd name="connsiteY17" fmla="*/ 44987 h 64093"/>
                <a:gd name="connsiteX18" fmla="*/ 14554 w 96878"/>
                <a:gd name="connsiteY18" fmla="*/ 64094 h 64093"/>
                <a:gd name="connsiteX19" fmla="*/ 7677 w 96878"/>
                <a:gd name="connsiteY19" fmla="*/ 59665 h 64093"/>
                <a:gd name="connsiteX20" fmla="*/ 6325 w 96878"/>
                <a:gd name="connsiteY20" fmla="*/ 51645 h 64093"/>
                <a:gd name="connsiteX21" fmla="*/ 6877 w 96878"/>
                <a:gd name="connsiteY21" fmla="*/ 44053 h 64093"/>
                <a:gd name="connsiteX22" fmla="*/ 0 w 96878"/>
                <a:gd name="connsiteY22" fmla="*/ 35652 h 64093"/>
                <a:gd name="connsiteX23" fmla="*/ 6515 w 96878"/>
                <a:gd name="connsiteY23" fmla="*/ 30928 h 64093"/>
                <a:gd name="connsiteX24" fmla="*/ 8554 w 96878"/>
                <a:gd name="connsiteY24" fmla="*/ 20136 h 6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6878" h="64093">
                  <a:moveTo>
                    <a:pt x="6220" y="4810"/>
                  </a:moveTo>
                  <a:lnTo>
                    <a:pt x="9563" y="0"/>
                  </a:lnTo>
                  <a:lnTo>
                    <a:pt x="30404" y="124"/>
                  </a:lnTo>
                  <a:lnTo>
                    <a:pt x="46225" y="7391"/>
                  </a:lnTo>
                  <a:lnTo>
                    <a:pt x="53264" y="6677"/>
                  </a:lnTo>
                  <a:lnTo>
                    <a:pt x="58112" y="16669"/>
                  </a:lnTo>
                  <a:lnTo>
                    <a:pt x="72733" y="16107"/>
                  </a:lnTo>
                  <a:lnTo>
                    <a:pt x="71866" y="24479"/>
                  </a:lnTo>
                  <a:lnTo>
                    <a:pt x="83744" y="25498"/>
                  </a:lnTo>
                  <a:lnTo>
                    <a:pt x="96879" y="35786"/>
                  </a:lnTo>
                  <a:lnTo>
                    <a:pt x="86954" y="47168"/>
                  </a:lnTo>
                  <a:lnTo>
                    <a:pt x="74257" y="41091"/>
                  </a:lnTo>
                  <a:lnTo>
                    <a:pt x="61998" y="42263"/>
                  </a:lnTo>
                  <a:lnTo>
                    <a:pt x="53207" y="40929"/>
                  </a:lnTo>
                  <a:lnTo>
                    <a:pt x="48396" y="46034"/>
                  </a:lnTo>
                  <a:lnTo>
                    <a:pt x="38138" y="47749"/>
                  </a:lnTo>
                  <a:lnTo>
                    <a:pt x="34071" y="40977"/>
                  </a:lnTo>
                  <a:lnTo>
                    <a:pt x="25251" y="44987"/>
                  </a:lnTo>
                  <a:lnTo>
                    <a:pt x="14554" y="64094"/>
                  </a:lnTo>
                  <a:lnTo>
                    <a:pt x="7677" y="59665"/>
                  </a:lnTo>
                  <a:lnTo>
                    <a:pt x="6325" y="51645"/>
                  </a:lnTo>
                  <a:lnTo>
                    <a:pt x="6877" y="44053"/>
                  </a:lnTo>
                  <a:lnTo>
                    <a:pt x="0" y="35652"/>
                  </a:lnTo>
                  <a:lnTo>
                    <a:pt x="6515" y="30928"/>
                  </a:lnTo>
                  <a:lnTo>
                    <a:pt x="8554" y="201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5" name="Forme libre : forme 5694">
              <a:extLst>
                <a:ext uri="{FF2B5EF4-FFF2-40B4-BE49-F238E27FC236}">
                  <a16:creationId xmlns:a16="http://schemas.microsoft.com/office/drawing/2014/main" id="{B8E4B62E-F9E3-8EB8-D104-EAA985378C4C}"/>
                </a:ext>
              </a:extLst>
            </p:cNvPr>
            <p:cNvSpPr/>
            <p:nvPr/>
          </p:nvSpPr>
          <p:spPr>
            <a:xfrm>
              <a:off x="5588965" y="3679892"/>
              <a:ext cx="552402" cy="547497"/>
            </a:xfrm>
            <a:custGeom>
              <a:avLst/>
              <a:gdLst>
                <a:gd name="connsiteX0" fmla="*/ 552402 w 552402"/>
                <a:gd name="connsiteY0" fmla="*/ 421691 h 547497"/>
                <a:gd name="connsiteX1" fmla="*/ 460886 w 552402"/>
                <a:gd name="connsiteY1" fmla="*/ 476479 h 547497"/>
                <a:gd name="connsiteX2" fmla="*/ 383562 w 552402"/>
                <a:gd name="connsiteY2" fmla="*/ 532200 h 547497"/>
                <a:gd name="connsiteX3" fmla="*/ 345900 w 552402"/>
                <a:gd name="connsiteY3" fmla="*/ 544744 h 547497"/>
                <a:gd name="connsiteX4" fmla="*/ 316278 w 552402"/>
                <a:gd name="connsiteY4" fmla="*/ 547497 h 547497"/>
                <a:gd name="connsiteX5" fmla="*/ 315973 w 552402"/>
                <a:gd name="connsiteY5" fmla="*/ 529590 h 547497"/>
                <a:gd name="connsiteX6" fmla="*/ 303600 w 552402"/>
                <a:gd name="connsiteY6" fmla="*/ 525009 h 547497"/>
                <a:gd name="connsiteX7" fmla="*/ 286979 w 552402"/>
                <a:gd name="connsiteY7" fmla="*/ 516922 h 547497"/>
                <a:gd name="connsiteX8" fmla="*/ 280625 w 552402"/>
                <a:gd name="connsiteY8" fmla="*/ 503654 h 547497"/>
                <a:gd name="connsiteX9" fmla="*/ 190538 w 552402"/>
                <a:gd name="connsiteY9" fmla="*/ 441293 h 547497"/>
                <a:gd name="connsiteX10" fmla="*/ 100451 w 552402"/>
                <a:gd name="connsiteY10" fmla="*/ 377914 h 547497"/>
                <a:gd name="connsiteX11" fmla="*/ 0 w 552402"/>
                <a:gd name="connsiteY11" fmla="*/ 306238 h 547497"/>
                <a:gd name="connsiteX12" fmla="*/ 514 w 552402"/>
                <a:gd name="connsiteY12" fmla="*/ 300447 h 547497"/>
                <a:gd name="connsiteX13" fmla="*/ 505 w 552402"/>
                <a:gd name="connsiteY13" fmla="*/ 298437 h 547497"/>
                <a:gd name="connsiteX14" fmla="*/ 276 w 552402"/>
                <a:gd name="connsiteY14" fmla="*/ 262700 h 547497"/>
                <a:gd name="connsiteX15" fmla="*/ 43405 w 552402"/>
                <a:gd name="connsiteY15" fmla="*/ 240230 h 547497"/>
                <a:gd name="connsiteX16" fmla="*/ 70075 w 552402"/>
                <a:gd name="connsiteY16" fmla="*/ 235572 h 547497"/>
                <a:gd name="connsiteX17" fmla="*/ 91935 w 552402"/>
                <a:gd name="connsiteY17" fmla="*/ 227333 h 547497"/>
                <a:gd name="connsiteX18" fmla="*/ 102146 w 552402"/>
                <a:gd name="connsiteY18" fmla="*/ 211931 h 547497"/>
                <a:gd name="connsiteX19" fmla="*/ 133369 w 552402"/>
                <a:gd name="connsiteY19" fmla="*/ 199701 h 547497"/>
                <a:gd name="connsiteX20" fmla="*/ 134521 w 552402"/>
                <a:gd name="connsiteY20" fmla="*/ 176679 h 547497"/>
                <a:gd name="connsiteX21" fmla="*/ 149971 w 552402"/>
                <a:gd name="connsiteY21" fmla="*/ 173955 h 547497"/>
                <a:gd name="connsiteX22" fmla="*/ 162058 w 552402"/>
                <a:gd name="connsiteY22" fmla="*/ 162373 h 547497"/>
                <a:gd name="connsiteX23" fmla="*/ 197005 w 552402"/>
                <a:gd name="connsiteY23" fmla="*/ 157086 h 547497"/>
                <a:gd name="connsiteX24" fmla="*/ 201901 w 552402"/>
                <a:gd name="connsiteY24" fmla="*/ 144847 h 547497"/>
                <a:gd name="connsiteX25" fmla="*/ 194862 w 552402"/>
                <a:gd name="connsiteY25" fmla="*/ 138132 h 547497"/>
                <a:gd name="connsiteX26" fmla="*/ 185642 w 552402"/>
                <a:gd name="connsiteY26" fmla="*/ 104518 h 547497"/>
                <a:gd name="connsiteX27" fmla="*/ 184052 w 552402"/>
                <a:gd name="connsiteY27" fmla="*/ 84963 h 547497"/>
                <a:gd name="connsiteX28" fmla="*/ 173984 w 552402"/>
                <a:gd name="connsiteY28" fmla="*/ 64218 h 547497"/>
                <a:gd name="connsiteX29" fmla="*/ 199654 w 552402"/>
                <a:gd name="connsiteY29" fmla="*/ 46377 h 547497"/>
                <a:gd name="connsiteX30" fmla="*/ 228533 w 552402"/>
                <a:gd name="connsiteY30" fmla="*/ 40681 h 547497"/>
                <a:gd name="connsiteX31" fmla="*/ 245392 w 552402"/>
                <a:gd name="connsiteY31" fmla="*/ 27108 h 547497"/>
                <a:gd name="connsiteX32" fmla="*/ 271110 w 552402"/>
                <a:gd name="connsiteY32" fmla="*/ 17040 h 547497"/>
                <a:gd name="connsiteX33" fmla="*/ 316373 w 552402"/>
                <a:gd name="connsiteY33" fmla="*/ 11135 h 547497"/>
                <a:gd name="connsiteX34" fmla="*/ 360550 w 552402"/>
                <a:gd name="connsiteY34" fmla="*/ 8430 h 547497"/>
                <a:gd name="connsiteX35" fmla="*/ 374018 w 552402"/>
                <a:gd name="connsiteY35" fmla="*/ 13364 h 547497"/>
                <a:gd name="connsiteX36" fmla="*/ 399164 w 552402"/>
                <a:gd name="connsiteY36" fmla="*/ 257 h 547497"/>
                <a:gd name="connsiteX37" fmla="*/ 427701 w 552402"/>
                <a:gd name="connsiteY37" fmla="*/ 0 h 547497"/>
                <a:gd name="connsiteX38" fmla="*/ 438569 w 552402"/>
                <a:gd name="connsiteY38" fmla="*/ 7753 h 547497"/>
                <a:gd name="connsiteX39" fmla="*/ 456829 w 552402"/>
                <a:gd name="connsiteY39" fmla="*/ 5725 h 547497"/>
                <a:gd name="connsiteX40" fmla="*/ 451399 w 552402"/>
                <a:gd name="connsiteY40" fmla="*/ 22746 h 547497"/>
                <a:gd name="connsiteX41" fmla="*/ 455638 w 552402"/>
                <a:gd name="connsiteY41" fmla="*/ 54064 h 547497"/>
                <a:gd name="connsiteX42" fmla="*/ 449351 w 552402"/>
                <a:gd name="connsiteY42" fmla="*/ 80848 h 547497"/>
                <a:gd name="connsiteX43" fmla="*/ 432892 w 552402"/>
                <a:gd name="connsiteY43" fmla="*/ 98822 h 547497"/>
                <a:gd name="connsiteX44" fmla="*/ 435245 w 552402"/>
                <a:gd name="connsiteY44" fmla="*/ 122892 h 547497"/>
                <a:gd name="connsiteX45" fmla="*/ 457085 w 552402"/>
                <a:gd name="connsiteY45" fmla="*/ 141789 h 547497"/>
                <a:gd name="connsiteX46" fmla="*/ 457314 w 552402"/>
                <a:gd name="connsiteY46" fmla="*/ 149428 h 547497"/>
                <a:gd name="connsiteX47" fmla="*/ 473783 w 552402"/>
                <a:gd name="connsiteY47" fmla="*/ 162116 h 547497"/>
                <a:gd name="connsiteX48" fmla="*/ 485165 w 552402"/>
                <a:gd name="connsiteY48" fmla="*/ 217904 h 547497"/>
                <a:gd name="connsiteX49" fmla="*/ 493814 w 552402"/>
                <a:gd name="connsiteY49" fmla="*/ 244955 h 547497"/>
                <a:gd name="connsiteX50" fmla="*/ 495262 w 552402"/>
                <a:gd name="connsiteY50" fmla="*/ 259099 h 547497"/>
                <a:gd name="connsiteX51" fmla="*/ 490556 w 552402"/>
                <a:gd name="connsiteY51" fmla="*/ 283769 h 547497"/>
                <a:gd name="connsiteX52" fmla="*/ 492490 w 552402"/>
                <a:gd name="connsiteY52" fmla="*/ 297485 h 547497"/>
                <a:gd name="connsiteX53" fmla="*/ 489090 w 552402"/>
                <a:gd name="connsiteY53" fmla="*/ 313858 h 547497"/>
                <a:gd name="connsiteX54" fmla="*/ 491423 w 552402"/>
                <a:gd name="connsiteY54" fmla="*/ 332575 h 547497"/>
                <a:gd name="connsiteX55" fmla="*/ 480822 w 552402"/>
                <a:gd name="connsiteY55" fmla="*/ 344957 h 547497"/>
                <a:gd name="connsiteX56" fmla="*/ 496614 w 552402"/>
                <a:gd name="connsiteY56" fmla="*/ 366446 h 547497"/>
                <a:gd name="connsiteX57" fmla="*/ 497614 w 552402"/>
                <a:gd name="connsiteY57" fmla="*/ 379019 h 547497"/>
                <a:gd name="connsiteX58" fmla="*/ 507121 w 552402"/>
                <a:gd name="connsiteY58" fmla="*/ 395316 h 547497"/>
                <a:gd name="connsiteX59" fmla="*/ 519598 w 552402"/>
                <a:gd name="connsiteY59" fmla="*/ 389973 h 547497"/>
                <a:gd name="connsiteX60" fmla="*/ 540677 w 552402"/>
                <a:gd name="connsiteY60" fmla="*/ 403508 h 547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552402" h="547497">
                  <a:moveTo>
                    <a:pt x="552402" y="421691"/>
                  </a:moveTo>
                  <a:lnTo>
                    <a:pt x="460886" y="476479"/>
                  </a:lnTo>
                  <a:lnTo>
                    <a:pt x="383562" y="532200"/>
                  </a:lnTo>
                  <a:lnTo>
                    <a:pt x="345900" y="544744"/>
                  </a:lnTo>
                  <a:lnTo>
                    <a:pt x="316278" y="547497"/>
                  </a:lnTo>
                  <a:lnTo>
                    <a:pt x="315973" y="529590"/>
                  </a:lnTo>
                  <a:lnTo>
                    <a:pt x="303600" y="525009"/>
                  </a:lnTo>
                  <a:lnTo>
                    <a:pt x="286979" y="516922"/>
                  </a:lnTo>
                  <a:lnTo>
                    <a:pt x="280625" y="503654"/>
                  </a:lnTo>
                  <a:lnTo>
                    <a:pt x="190538" y="441293"/>
                  </a:lnTo>
                  <a:lnTo>
                    <a:pt x="100451" y="377914"/>
                  </a:lnTo>
                  <a:lnTo>
                    <a:pt x="0" y="306238"/>
                  </a:lnTo>
                  <a:lnTo>
                    <a:pt x="514" y="300447"/>
                  </a:lnTo>
                  <a:lnTo>
                    <a:pt x="505" y="298437"/>
                  </a:lnTo>
                  <a:lnTo>
                    <a:pt x="276" y="262700"/>
                  </a:lnTo>
                  <a:lnTo>
                    <a:pt x="43405" y="240230"/>
                  </a:lnTo>
                  <a:lnTo>
                    <a:pt x="70075" y="235572"/>
                  </a:lnTo>
                  <a:lnTo>
                    <a:pt x="91935" y="227333"/>
                  </a:lnTo>
                  <a:lnTo>
                    <a:pt x="102146" y="211931"/>
                  </a:lnTo>
                  <a:lnTo>
                    <a:pt x="133369" y="199701"/>
                  </a:lnTo>
                  <a:lnTo>
                    <a:pt x="134521" y="176679"/>
                  </a:lnTo>
                  <a:lnTo>
                    <a:pt x="149971" y="173955"/>
                  </a:lnTo>
                  <a:lnTo>
                    <a:pt x="162058" y="162373"/>
                  </a:lnTo>
                  <a:lnTo>
                    <a:pt x="197005" y="157086"/>
                  </a:lnTo>
                  <a:lnTo>
                    <a:pt x="201901" y="144847"/>
                  </a:lnTo>
                  <a:lnTo>
                    <a:pt x="194862" y="138132"/>
                  </a:lnTo>
                  <a:lnTo>
                    <a:pt x="185642" y="104518"/>
                  </a:lnTo>
                  <a:lnTo>
                    <a:pt x="184052" y="84963"/>
                  </a:lnTo>
                  <a:lnTo>
                    <a:pt x="173984" y="64218"/>
                  </a:lnTo>
                  <a:lnTo>
                    <a:pt x="199654" y="46377"/>
                  </a:lnTo>
                  <a:lnTo>
                    <a:pt x="228533" y="40681"/>
                  </a:lnTo>
                  <a:lnTo>
                    <a:pt x="245392" y="27108"/>
                  </a:lnTo>
                  <a:lnTo>
                    <a:pt x="271110" y="17040"/>
                  </a:lnTo>
                  <a:lnTo>
                    <a:pt x="316373" y="11135"/>
                  </a:lnTo>
                  <a:lnTo>
                    <a:pt x="360550" y="8430"/>
                  </a:lnTo>
                  <a:lnTo>
                    <a:pt x="374018" y="13364"/>
                  </a:lnTo>
                  <a:lnTo>
                    <a:pt x="399164" y="257"/>
                  </a:lnTo>
                  <a:lnTo>
                    <a:pt x="427701" y="0"/>
                  </a:lnTo>
                  <a:lnTo>
                    <a:pt x="438569" y="7753"/>
                  </a:lnTo>
                  <a:lnTo>
                    <a:pt x="456829" y="5725"/>
                  </a:lnTo>
                  <a:lnTo>
                    <a:pt x="451399" y="22746"/>
                  </a:lnTo>
                  <a:lnTo>
                    <a:pt x="455638" y="54064"/>
                  </a:lnTo>
                  <a:lnTo>
                    <a:pt x="449351" y="80848"/>
                  </a:lnTo>
                  <a:lnTo>
                    <a:pt x="432892" y="98822"/>
                  </a:lnTo>
                  <a:lnTo>
                    <a:pt x="435245" y="122892"/>
                  </a:lnTo>
                  <a:lnTo>
                    <a:pt x="457085" y="141789"/>
                  </a:lnTo>
                  <a:lnTo>
                    <a:pt x="457314" y="149428"/>
                  </a:lnTo>
                  <a:lnTo>
                    <a:pt x="473783" y="162116"/>
                  </a:lnTo>
                  <a:lnTo>
                    <a:pt x="485165" y="217904"/>
                  </a:lnTo>
                  <a:lnTo>
                    <a:pt x="493814" y="244955"/>
                  </a:lnTo>
                  <a:lnTo>
                    <a:pt x="495262" y="259099"/>
                  </a:lnTo>
                  <a:lnTo>
                    <a:pt x="490556" y="283769"/>
                  </a:lnTo>
                  <a:lnTo>
                    <a:pt x="492490" y="297485"/>
                  </a:lnTo>
                  <a:lnTo>
                    <a:pt x="489090" y="313858"/>
                  </a:lnTo>
                  <a:lnTo>
                    <a:pt x="491423" y="332575"/>
                  </a:lnTo>
                  <a:lnTo>
                    <a:pt x="480822" y="344957"/>
                  </a:lnTo>
                  <a:lnTo>
                    <a:pt x="496614" y="366446"/>
                  </a:lnTo>
                  <a:lnTo>
                    <a:pt x="497614" y="379019"/>
                  </a:lnTo>
                  <a:lnTo>
                    <a:pt x="507121" y="395316"/>
                  </a:lnTo>
                  <a:lnTo>
                    <a:pt x="519598" y="389973"/>
                  </a:lnTo>
                  <a:lnTo>
                    <a:pt x="540677" y="4035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6" name="Forme libre : forme 5695">
              <a:extLst>
                <a:ext uri="{FF2B5EF4-FFF2-40B4-BE49-F238E27FC236}">
                  <a16:creationId xmlns:a16="http://schemas.microsoft.com/office/drawing/2014/main" id="{C1689A04-C750-399D-61B5-556E79856AC4}"/>
                </a:ext>
              </a:extLst>
            </p:cNvPr>
            <p:cNvSpPr/>
            <p:nvPr/>
          </p:nvSpPr>
          <p:spPr>
            <a:xfrm>
              <a:off x="3658514" y="4706020"/>
              <a:ext cx="153142" cy="168354"/>
            </a:xfrm>
            <a:custGeom>
              <a:avLst/>
              <a:gdLst>
                <a:gd name="connsiteX0" fmla="*/ 17774 w 153142"/>
                <a:gd name="connsiteY0" fmla="*/ 127016 h 168354"/>
                <a:gd name="connsiteX1" fmla="*/ 31985 w 153142"/>
                <a:gd name="connsiteY1" fmla="*/ 107156 h 168354"/>
                <a:gd name="connsiteX2" fmla="*/ 26203 w 153142"/>
                <a:gd name="connsiteY2" fmla="*/ 95564 h 168354"/>
                <a:gd name="connsiteX3" fmla="*/ 16002 w 153142"/>
                <a:gd name="connsiteY3" fmla="*/ 107890 h 168354"/>
                <a:gd name="connsiteX4" fmla="*/ 0 w 153142"/>
                <a:gd name="connsiteY4" fmla="*/ 96260 h 168354"/>
                <a:gd name="connsiteX5" fmla="*/ 5420 w 153142"/>
                <a:gd name="connsiteY5" fmla="*/ 88773 h 168354"/>
                <a:gd name="connsiteX6" fmla="*/ 914 w 153142"/>
                <a:gd name="connsiteY6" fmla="*/ 64694 h 168354"/>
                <a:gd name="connsiteX7" fmla="*/ 10268 w 153142"/>
                <a:gd name="connsiteY7" fmla="*/ 60684 h 168354"/>
                <a:gd name="connsiteX8" fmla="*/ 15183 w 153142"/>
                <a:gd name="connsiteY8" fmla="*/ 44158 h 168354"/>
                <a:gd name="connsiteX9" fmla="*/ 25289 w 153142"/>
                <a:gd name="connsiteY9" fmla="*/ 27079 h 168354"/>
                <a:gd name="connsiteX10" fmla="*/ 23431 w 153142"/>
                <a:gd name="connsiteY10" fmla="*/ 16250 h 168354"/>
                <a:gd name="connsiteX11" fmla="*/ 38062 w 153142"/>
                <a:gd name="connsiteY11" fmla="*/ 10554 h 168354"/>
                <a:gd name="connsiteX12" fmla="*/ 56417 w 153142"/>
                <a:gd name="connsiteY12" fmla="*/ 0 h 168354"/>
                <a:gd name="connsiteX13" fmla="*/ 83134 w 153142"/>
                <a:gd name="connsiteY13" fmla="*/ 15145 h 168354"/>
                <a:gd name="connsiteX14" fmla="*/ 88106 w 153142"/>
                <a:gd name="connsiteY14" fmla="*/ 14726 h 168354"/>
                <a:gd name="connsiteX15" fmla="*/ 94621 w 153142"/>
                <a:gd name="connsiteY15" fmla="*/ 26136 h 168354"/>
                <a:gd name="connsiteX16" fmla="*/ 117281 w 153142"/>
                <a:gd name="connsiteY16" fmla="*/ 29813 h 168354"/>
                <a:gd name="connsiteX17" fmla="*/ 124873 w 153142"/>
                <a:gd name="connsiteY17" fmla="*/ 25603 h 168354"/>
                <a:gd name="connsiteX18" fmla="*/ 137979 w 153142"/>
                <a:gd name="connsiteY18" fmla="*/ 34385 h 168354"/>
                <a:gd name="connsiteX19" fmla="*/ 149409 w 153142"/>
                <a:gd name="connsiteY19" fmla="*/ 40672 h 168354"/>
                <a:gd name="connsiteX20" fmla="*/ 153143 w 153142"/>
                <a:gd name="connsiteY20" fmla="*/ 60817 h 168354"/>
                <a:gd name="connsiteX21" fmla="*/ 144828 w 153142"/>
                <a:gd name="connsiteY21" fmla="*/ 78067 h 168354"/>
                <a:gd name="connsiteX22" fmla="*/ 115700 w 153142"/>
                <a:gd name="connsiteY22" fmla="*/ 105861 h 168354"/>
                <a:gd name="connsiteX23" fmla="*/ 83591 w 153142"/>
                <a:gd name="connsiteY23" fmla="*/ 116338 h 168354"/>
                <a:gd name="connsiteX24" fmla="*/ 67227 w 153142"/>
                <a:gd name="connsiteY24" fmla="*/ 139465 h 168354"/>
                <a:gd name="connsiteX25" fmla="*/ 62170 w 153142"/>
                <a:gd name="connsiteY25" fmla="*/ 157401 h 168354"/>
                <a:gd name="connsiteX26" fmla="*/ 47073 w 153142"/>
                <a:gd name="connsiteY26" fmla="*/ 168354 h 168354"/>
                <a:gd name="connsiteX27" fmla="*/ 35862 w 153142"/>
                <a:gd name="connsiteY27" fmla="*/ 154915 h 168354"/>
                <a:gd name="connsiteX28" fmla="*/ 25079 w 153142"/>
                <a:gd name="connsiteY28" fmla="*/ 152038 h 168354"/>
                <a:gd name="connsiteX29" fmla="*/ 14040 w 153142"/>
                <a:gd name="connsiteY29" fmla="*/ 154162 h 168354"/>
                <a:gd name="connsiteX30" fmla="*/ 13316 w 153142"/>
                <a:gd name="connsiteY30" fmla="*/ 144409 h 168354"/>
                <a:gd name="connsiteX31" fmla="*/ 20936 w 153142"/>
                <a:gd name="connsiteY31" fmla="*/ 138074 h 16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53142" h="168354">
                  <a:moveTo>
                    <a:pt x="17774" y="127016"/>
                  </a:moveTo>
                  <a:lnTo>
                    <a:pt x="31985" y="107156"/>
                  </a:lnTo>
                  <a:lnTo>
                    <a:pt x="26203" y="95564"/>
                  </a:lnTo>
                  <a:lnTo>
                    <a:pt x="16002" y="107890"/>
                  </a:lnTo>
                  <a:lnTo>
                    <a:pt x="0" y="96260"/>
                  </a:lnTo>
                  <a:lnTo>
                    <a:pt x="5420" y="88773"/>
                  </a:lnTo>
                  <a:lnTo>
                    <a:pt x="914" y="64694"/>
                  </a:lnTo>
                  <a:lnTo>
                    <a:pt x="10268" y="60684"/>
                  </a:lnTo>
                  <a:lnTo>
                    <a:pt x="15183" y="44158"/>
                  </a:lnTo>
                  <a:lnTo>
                    <a:pt x="25289" y="27079"/>
                  </a:lnTo>
                  <a:lnTo>
                    <a:pt x="23431" y="16250"/>
                  </a:lnTo>
                  <a:lnTo>
                    <a:pt x="38062" y="10554"/>
                  </a:lnTo>
                  <a:lnTo>
                    <a:pt x="56417" y="0"/>
                  </a:lnTo>
                  <a:lnTo>
                    <a:pt x="83134" y="15145"/>
                  </a:lnTo>
                  <a:lnTo>
                    <a:pt x="88106" y="14726"/>
                  </a:lnTo>
                  <a:lnTo>
                    <a:pt x="94621" y="26136"/>
                  </a:lnTo>
                  <a:lnTo>
                    <a:pt x="117281" y="29813"/>
                  </a:lnTo>
                  <a:lnTo>
                    <a:pt x="124873" y="25603"/>
                  </a:lnTo>
                  <a:lnTo>
                    <a:pt x="137979" y="34385"/>
                  </a:lnTo>
                  <a:lnTo>
                    <a:pt x="149409" y="40672"/>
                  </a:lnTo>
                  <a:lnTo>
                    <a:pt x="153143" y="60817"/>
                  </a:lnTo>
                  <a:lnTo>
                    <a:pt x="144828" y="78067"/>
                  </a:lnTo>
                  <a:lnTo>
                    <a:pt x="115700" y="105861"/>
                  </a:lnTo>
                  <a:lnTo>
                    <a:pt x="83591" y="116338"/>
                  </a:lnTo>
                  <a:lnTo>
                    <a:pt x="67227" y="139465"/>
                  </a:lnTo>
                  <a:lnTo>
                    <a:pt x="62170" y="157401"/>
                  </a:lnTo>
                  <a:lnTo>
                    <a:pt x="47073" y="168354"/>
                  </a:lnTo>
                  <a:lnTo>
                    <a:pt x="35862" y="154915"/>
                  </a:lnTo>
                  <a:lnTo>
                    <a:pt x="25079" y="152038"/>
                  </a:lnTo>
                  <a:lnTo>
                    <a:pt x="14040" y="154162"/>
                  </a:lnTo>
                  <a:lnTo>
                    <a:pt x="13316" y="144409"/>
                  </a:lnTo>
                  <a:lnTo>
                    <a:pt x="20936" y="1380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7" name="Forme libre : forme 5696">
              <a:extLst>
                <a:ext uri="{FF2B5EF4-FFF2-40B4-BE49-F238E27FC236}">
                  <a16:creationId xmlns:a16="http://schemas.microsoft.com/office/drawing/2014/main" id="{F13DD445-CD90-E344-C479-BE2EC4C52F13}"/>
                </a:ext>
              </a:extLst>
            </p:cNvPr>
            <p:cNvSpPr/>
            <p:nvPr/>
          </p:nvSpPr>
          <p:spPr>
            <a:xfrm>
              <a:off x="6444224" y="2756977"/>
              <a:ext cx="127978" cy="109175"/>
            </a:xfrm>
            <a:custGeom>
              <a:avLst/>
              <a:gdLst>
                <a:gd name="connsiteX0" fmla="*/ 25994 w 127978"/>
                <a:gd name="connsiteY0" fmla="*/ 93297 h 109175"/>
                <a:gd name="connsiteX1" fmla="*/ 29090 w 127978"/>
                <a:gd name="connsiteY1" fmla="*/ 63541 h 109175"/>
                <a:gd name="connsiteX2" fmla="*/ 19269 w 127978"/>
                <a:gd name="connsiteY2" fmla="*/ 69942 h 109175"/>
                <a:gd name="connsiteX3" fmla="*/ 2324 w 127978"/>
                <a:gd name="connsiteY3" fmla="*/ 51845 h 109175"/>
                <a:gd name="connsiteX4" fmla="*/ 0 w 127978"/>
                <a:gd name="connsiteY4" fmla="*/ 22193 h 109175"/>
                <a:gd name="connsiteX5" fmla="*/ 33776 w 127978"/>
                <a:gd name="connsiteY5" fmla="*/ 7639 h 109175"/>
                <a:gd name="connsiteX6" fmla="*/ 67418 w 127978"/>
                <a:gd name="connsiteY6" fmla="*/ 0 h 109175"/>
                <a:gd name="connsiteX7" fmla="*/ 96394 w 127978"/>
                <a:gd name="connsiteY7" fmla="*/ 8687 h 109175"/>
                <a:gd name="connsiteX8" fmla="*/ 123959 w 127978"/>
                <a:gd name="connsiteY8" fmla="*/ 7134 h 109175"/>
                <a:gd name="connsiteX9" fmla="*/ 127978 w 127978"/>
                <a:gd name="connsiteY9" fmla="*/ 16278 h 109175"/>
                <a:gd name="connsiteX10" fmla="*/ 108976 w 127978"/>
                <a:gd name="connsiteY10" fmla="*/ 46111 h 109175"/>
                <a:gd name="connsiteX11" fmla="*/ 116891 w 127978"/>
                <a:gd name="connsiteY11" fmla="*/ 93374 h 109175"/>
                <a:gd name="connsiteX12" fmla="*/ 105452 w 127978"/>
                <a:gd name="connsiteY12" fmla="*/ 109176 h 109175"/>
                <a:gd name="connsiteX13" fmla="*/ 83430 w 127978"/>
                <a:gd name="connsiteY13" fmla="*/ 109090 h 109175"/>
                <a:gd name="connsiteX14" fmla="*/ 60446 w 127978"/>
                <a:gd name="connsiteY14" fmla="*/ 90592 h 109175"/>
                <a:gd name="connsiteX15" fmla="*/ 48739 w 127978"/>
                <a:gd name="connsiteY15" fmla="*/ 84439 h 10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7978" h="109175">
                  <a:moveTo>
                    <a:pt x="25994" y="93297"/>
                  </a:moveTo>
                  <a:lnTo>
                    <a:pt x="29090" y="63541"/>
                  </a:lnTo>
                  <a:lnTo>
                    <a:pt x="19269" y="69942"/>
                  </a:lnTo>
                  <a:lnTo>
                    <a:pt x="2324" y="51845"/>
                  </a:lnTo>
                  <a:lnTo>
                    <a:pt x="0" y="22193"/>
                  </a:lnTo>
                  <a:lnTo>
                    <a:pt x="33776" y="7639"/>
                  </a:lnTo>
                  <a:lnTo>
                    <a:pt x="67418" y="0"/>
                  </a:lnTo>
                  <a:lnTo>
                    <a:pt x="96394" y="8687"/>
                  </a:lnTo>
                  <a:lnTo>
                    <a:pt x="123959" y="7134"/>
                  </a:lnTo>
                  <a:lnTo>
                    <a:pt x="127978" y="16278"/>
                  </a:lnTo>
                  <a:lnTo>
                    <a:pt x="108976" y="46111"/>
                  </a:lnTo>
                  <a:lnTo>
                    <a:pt x="116891" y="93374"/>
                  </a:lnTo>
                  <a:lnTo>
                    <a:pt x="105452" y="109176"/>
                  </a:lnTo>
                  <a:lnTo>
                    <a:pt x="83430" y="109090"/>
                  </a:lnTo>
                  <a:lnTo>
                    <a:pt x="60446" y="90592"/>
                  </a:lnTo>
                  <a:lnTo>
                    <a:pt x="48739" y="844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8" name="Forme libre : forme 5697">
              <a:extLst>
                <a:ext uri="{FF2B5EF4-FFF2-40B4-BE49-F238E27FC236}">
                  <a16:creationId xmlns:a16="http://schemas.microsoft.com/office/drawing/2014/main" id="{8A4033EC-CCC2-D4B1-A6F1-D74F6FEA1005}"/>
                </a:ext>
              </a:extLst>
            </p:cNvPr>
            <p:cNvSpPr/>
            <p:nvPr/>
          </p:nvSpPr>
          <p:spPr>
            <a:xfrm>
              <a:off x="6480552" y="3858181"/>
              <a:ext cx="324926" cy="285768"/>
            </a:xfrm>
            <a:custGeom>
              <a:avLst/>
              <a:gdLst>
                <a:gd name="connsiteX0" fmla="*/ 273015 w 324926"/>
                <a:gd name="connsiteY0" fmla="*/ 64322 h 285768"/>
                <a:gd name="connsiteX1" fmla="*/ 265509 w 324926"/>
                <a:gd name="connsiteY1" fmla="*/ 76571 h 285768"/>
                <a:gd name="connsiteX2" fmla="*/ 259766 w 324926"/>
                <a:gd name="connsiteY2" fmla="*/ 99460 h 285768"/>
                <a:gd name="connsiteX3" fmla="*/ 252499 w 324926"/>
                <a:gd name="connsiteY3" fmla="*/ 115138 h 285768"/>
                <a:gd name="connsiteX4" fmla="*/ 246269 w 324926"/>
                <a:gd name="connsiteY4" fmla="*/ 120377 h 285768"/>
                <a:gd name="connsiteX5" fmla="*/ 237373 w 324926"/>
                <a:gd name="connsiteY5" fmla="*/ 110680 h 285768"/>
                <a:gd name="connsiteX6" fmla="*/ 225323 w 324926"/>
                <a:gd name="connsiteY6" fmla="*/ 97231 h 285768"/>
                <a:gd name="connsiteX7" fmla="*/ 206264 w 324926"/>
                <a:gd name="connsiteY7" fmla="*/ 53626 h 285768"/>
                <a:gd name="connsiteX8" fmla="*/ 203521 w 324926"/>
                <a:gd name="connsiteY8" fmla="*/ 56407 h 285768"/>
                <a:gd name="connsiteX9" fmla="*/ 214589 w 324926"/>
                <a:gd name="connsiteY9" fmla="*/ 88535 h 285768"/>
                <a:gd name="connsiteX10" fmla="*/ 230981 w 324926"/>
                <a:gd name="connsiteY10" fmla="*/ 118843 h 285768"/>
                <a:gd name="connsiteX11" fmla="*/ 251165 w 324926"/>
                <a:gd name="connsiteY11" fmla="*/ 165249 h 285768"/>
                <a:gd name="connsiteX12" fmla="*/ 261033 w 324926"/>
                <a:gd name="connsiteY12" fmla="*/ 181299 h 285768"/>
                <a:gd name="connsiteX13" fmla="*/ 269605 w 324926"/>
                <a:gd name="connsiteY13" fmla="*/ 197891 h 285768"/>
                <a:gd name="connsiteX14" fmla="*/ 293570 w 324926"/>
                <a:gd name="connsiteY14" fmla="*/ 230200 h 285768"/>
                <a:gd name="connsiteX15" fmla="*/ 288264 w 324926"/>
                <a:gd name="connsiteY15" fmla="*/ 235267 h 285768"/>
                <a:gd name="connsiteX16" fmla="*/ 289122 w 324926"/>
                <a:gd name="connsiteY16" fmla="*/ 254070 h 285768"/>
                <a:gd name="connsiteX17" fmla="*/ 320230 w 324926"/>
                <a:gd name="connsiteY17" fmla="*/ 279902 h 285768"/>
                <a:gd name="connsiteX18" fmla="*/ 324926 w 324926"/>
                <a:gd name="connsiteY18" fmla="*/ 285769 h 285768"/>
                <a:gd name="connsiteX19" fmla="*/ 218999 w 324926"/>
                <a:gd name="connsiteY19" fmla="*/ 285769 h 285768"/>
                <a:gd name="connsiteX20" fmla="*/ 115376 w 324926"/>
                <a:gd name="connsiteY20" fmla="*/ 285769 h 285768"/>
                <a:gd name="connsiteX21" fmla="*/ 8011 w 324926"/>
                <a:gd name="connsiteY21" fmla="*/ 285769 h 285768"/>
                <a:gd name="connsiteX22" fmla="*/ 8011 w 324926"/>
                <a:gd name="connsiteY22" fmla="*/ 178822 h 285768"/>
                <a:gd name="connsiteX23" fmla="*/ 8011 w 324926"/>
                <a:gd name="connsiteY23" fmla="*/ 72333 h 285768"/>
                <a:gd name="connsiteX24" fmla="*/ 0 w 324926"/>
                <a:gd name="connsiteY24" fmla="*/ 47701 h 285768"/>
                <a:gd name="connsiteX25" fmla="*/ 6877 w 324926"/>
                <a:gd name="connsiteY25" fmla="*/ 28689 h 285768"/>
                <a:gd name="connsiteX26" fmla="*/ 2743 w 324926"/>
                <a:gd name="connsiteY26" fmla="*/ 15449 h 285768"/>
                <a:gd name="connsiteX27" fmla="*/ 12421 w 324926"/>
                <a:gd name="connsiteY27" fmla="*/ 524 h 285768"/>
                <a:gd name="connsiteX28" fmla="*/ 47949 w 324926"/>
                <a:gd name="connsiteY28" fmla="*/ 0 h 285768"/>
                <a:gd name="connsiteX29" fmla="*/ 73647 w 324926"/>
                <a:gd name="connsiteY29" fmla="*/ 8239 h 285768"/>
                <a:gd name="connsiteX30" fmla="*/ 100165 w 324926"/>
                <a:gd name="connsiteY30" fmla="*/ 17421 h 285768"/>
                <a:gd name="connsiteX31" fmla="*/ 112529 w 324926"/>
                <a:gd name="connsiteY31" fmla="*/ 22241 h 285768"/>
                <a:gd name="connsiteX32" fmla="*/ 133093 w 324926"/>
                <a:gd name="connsiteY32" fmla="*/ 12420 h 285768"/>
                <a:gd name="connsiteX33" fmla="*/ 144085 w 324926"/>
                <a:gd name="connsiteY33" fmla="*/ 3505 h 285768"/>
                <a:gd name="connsiteX34" fmla="*/ 167640 w 324926"/>
                <a:gd name="connsiteY34" fmla="*/ 933 h 285768"/>
                <a:gd name="connsiteX35" fmla="*/ 186633 w 324926"/>
                <a:gd name="connsiteY35" fmla="*/ 4867 h 285768"/>
                <a:gd name="connsiteX36" fmla="*/ 193900 w 324926"/>
                <a:gd name="connsiteY36" fmla="*/ 20279 h 285768"/>
                <a:gd name="connsiteX37" fmla="*/ 200101 w 324926"/>
                <a:gd name="connsiteY37" fmla="*/ 10135 h 285768"/>
                <a:gd name="connsiteX38" fmla="*/ 221504 w 324926"/>
                <a:gd name="connsiteY38" fmla="*/ 17469 h 285768"/>
                <a:gd name="connsiteX39" fmla="*/ 242325 w 324926"/>
                <a:gd name="connsiteY39" fmla="*/ 19231 h 285768"/>
                <a:gd name="connsiteX40" fmla="*/ 255461 w 324926"/>
                <a:gd name="connsiteY40" fmla="*/ 11411 h 285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4926" h="285768">
                  <a:moveTo>
                    <a:pt x="273015" y="64322"/>
                  </a:moveTo>
                  <a:lnTo>
                    <a:pt x="265509" y="76571"/>
                  </a:lnTo>
                  <a:lnTo>
                    <a:pt x="259766" y="99460"/>
                  </a:lnTo>
                  <a:lnTo>
                    <a:pt x="252499" y="115138"/>
                  </a:lnTo>
                  <a:lnTo>
                    <a:pt x="246269" y="120377"/>
                  </a:lnTo>
                  <a:lnTo>
                    <a:pt x="237373" y="110680"/>
                  </a:lnTo>
                  <a:lnTo>
                    <a:pt x="225323" y="97231"/>
                  </a:lnTo>
                  <a:lnTo>
                    <a:pt x="206264" y="53626"/>
                  </a:lnTo>
                  <a:lnTo>
                    <a:pt x="203521" y="56407"/>
                  </a:lnTo>
                  <a:lnTo>
                    <a:pt x="214589" y="88535"/>
                  </a:lnTo>
                  <a:lnTo>
                    <a:pt x="230981" y="118843"/>
                  </a:lnTo>
                  <a:lnTo>
                    <a:pt x="251165" y="165249"/>
                  </a:lnTo>
                  <a:lnTo>
                    <a:pt x="261033" y="181299"/>
                  </a:lnTo>
                  <a:lnTo>
                    <a:pt x="269605" y="197891"/>
                  </a:lnTo>
                  <a:lnTo>
                    <a:pt x="293570" y="230200"/>
                  </a:lnTo>
                  <a:lnTo>
                    <a:pt x="288264" y="235267"/>
                  </a:lnTo>
                  <a:lnTo>
                    <a:pt x="289122" y="254070"/>
                  </a:lnTo>
                  <a:lnTo>
                    <a:pt x="320230" y="279902"/>
                  </a:lnTo>
                  <a:lnTo>
                    <a:pt x="324926" y="285769"/>
                  </a:lnTo>
                  <a:lnTo>
                    <a:pt x="218999" y="285769"/>
                  </a:lnTo>
                  <a:lnTo>
                    <a:pt x="115376" y="285769"/>
                  </a:lnTo>
                  <a:lnTo>
                    <a:pt x="8011" y="285769"/>
                  </a:lnTo>
                  <a:lnTo>
                    <a:pt x="8011" y="178822"/>
                  </a:lnTo>
                  <a:lnTo>
                    <a:pt x="8011" y="72333"/>
                  </a:lnTo>
                  <a:lnTo>
                    <a:pt x="0" y="47701"/>
                  </a:lnTo>
                  <a:lnTo>
                    <a:pt x="6877" y="28689"/>
                  </a:lnTo>
                  <a:lnTo>
                    <a:pt x="2743" y="15449"/>
                  </a:lnTo>
                  <a:lnTo>
                    <a:pt x="12421" y="524"/>
                  </a:lnTo>
                  <a:lnTo>
                    <a:pt x="47949" y="0"/>
                  </a:lnTo>
                  <a:lnTo>
                    <a:pt x="73647" y="8239"/>
                  </a:lnTo>
                  <a:lnTo>
                    <a:pt x="100165" y="17421"/>
                  </a:lnTo>
                  <a:lnTo>
                    <a:pt x="112529" y="22241"/>
                  </a:lnTo>
                  <a:lnTo>
                    <a:pt x="133093" y="12420"/>
                  </a:lnTo>
                  <a:lnTo>
                    <a:pt x="144085" y="3505"/>
                  </a:lnTo>
                  <a:lnTo>
                    <a:pt x="167640" y="933"/>
                  </a:lnTo>
                  <a:lnTo>
                    <a:pt x="186633" y="4867"/>
                  </a:lnTo>
                  <a:lnTo>
                    <a:pt x="193900" y="20279"/>
                  </a:lnTo>
                  <a:lnTo>
                    <a:pt x="200101" y="10135"/>
                  </a:lnTo>
                  <a:lnTo>
                    <a:pt x="221504" y="17469"/>
                  </a:lnTo>
                  <a:lnTo>
                    <a:pt x="242325" y="19231"/>
                  </a:lnTo>
                  <a:lnTo>
                    <a:pt x="255461" y="114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9" name="Forme libre : forme 5698">
              <a:extLst>
                <a:ext uri="{FF2B5EF4-FFF2-40B4-BE49-F238E27FC236}">
                  <a16:creationId xmlns:a16="http://schemas.microsoft.com/office/drawing/2014/main" id="{36CCBF4B-ECF1-E72E-AF11-563BE600487E}"/>
                </a:ext>
              </a:extLst>
            </p:cNvPr>
            <p:cNvSpPr/>
            <p:nvPr/>
          </p:nvSpPr>
          <p:spPr>
            <a:xfrm>
              <a:off x="6790972" y="4257041"/>
              <a:ext cx="180479" cy="152533"/>
            </a:xfrm>
            <a:custGeom>
              <a:avLst/>
              <a:gdLst>
                <a:gd name="connsiteX0" fmla="*/ 160991 w 180479"/>
                <a:gd name="connsiteY0" fmla="*/ 150171 h 152533"/>
                <a:gd name="connsiteX1" fmla="*/ 151866 w 180479"/>
                <a:gd name="connsiteY1" fmla="*/ 141370 h 152533"/>
                <a:gd name="connsiteX2" fmla="*/ 140884 w 180479"/>
                <a:gd name="connsiteY2" fmla="*/ 125387 h 152533"/>
                <a:gd name="connsiteX3" fmla="*/ 129044 w 180479"/>
                <a:gd name="connsiteY3" fmla="*/ 116624 h 152533"/>
                <a:gd name="connsiteX4" fmla="*/ 122139 w 180479"/>
                <a:gd name="connsiteY4" fmla="*/ 107175 h 152533"/>
                <a:gd name="connsiteX5" fmla="*/ 98888 w 180479"/>
                <a:gd name="connsiteY5" fmla="*/ 96193 h 152533"/>
                <a:gd name="connsiteX6" fmla="*/ 80581 w 180479"/>
                <a:gd name="connsiteY6" fmla="*/ 95869 h 152533"/>
                <a:gd name="connsiteX7" fmla="*/ 74143 w 180479"/>
                <a:gd name="connsiteY7" fmla="*/ 90135 h 152533"/>
                <a:gd name="connsiteX8" fmla="*/ 58483 w 180479"/>
                <a:gd name="connsiteY8" fmla="*/ 96583 h 152533"/>
                <a:gd name="connsiteX9" fmla="*/ 42272 w 180479"/>
                <a:gd name="connsiteY9" fmla="*/ 84125 h 152533"/>
                <a:gd name="connsiteX10" fmla="*/ 33928 w 180479"/>
                <a:gd name="connsiteY10" fmla="*/ 104594 h 152533"/>
                <a:gd name="connsiteX11" fmla="*/ 2838 w 180479"/>
                <a:gd name="connsiteY11" fmla="*/ 98870 h 152533"/>
                <a:gd name="connsiteX12" fmla="*/ 0 w 180479"/>
                <a:gd name="connsiteY12" fmla="*/ 87887 h 152533"/>
                <a:gd name="connsiteX13" fmla="*/ 11496 w 180479"/>
                <a:gd name="connsiteY13" fmla="*/ 47396 h 152533"/>
                <a:gd name="connsiteX14" fmla="*/ 14135 w 180479"/>
                <a:gd name="connsiteY14" fmla="*/ 28994 h 152533"/>
                <a:gd name="connsiteX15" fmla="*/ 22546 w 180479"/>
                <a:gd name="connsiteY15" fmla="*/ 20479 h 152533"/>
                <a:gd name="connsiteX16" fmla="*/ 42215 w 180479"/>
                <a:gd name="connsiteY16" fmla="*/ 15907 h 152533"/>
                <a:gd name="connsiteX17" fmla="*/ 55730 w 180479"/>
                <a:gd name="connsiteY17" fmla="*/ 0 h 152533"/>
                <a:gd name="connsiteX18" fmla="*/ 71238 w 180479"/>
                <a:gd name="connsiteY18" fmla="*/ 32204 h 152533"/>
                <a:gd name="connsiteX19" fmla="*/ 78600 w 180479"/>
                <a:gd name="connsiteY19" fmla="*/ 57598 h 152533"/>
                <a:gd name="connsiteX20" fmla="*/ 93230 w 180479"/>
                <a:gd name="connsiteY20" fmla="*/ 71028 h 152533"/>
                <a:gd name="connsiteX21" fmla="*/ 129683 w 180479"/>
                <a:gd name="connsiteY21" fmla="*/ 96974 h 152533"/>
                <a:gd name="connsiteX22" fmla="*/ 144523 w 180479"/>
                <a:gd name="connsiteY22" fmla="*/ 112585 h 152533"/>
                <a:gd name="connsiteX23" fmla="*/ 159001 w 180479"/>
                <a:gd name="connsiteY23" fmla="*/ 128340 h 152533"/>
                <a:gd name="connsiteX24" fmla="*/ 167354 w 180479"/>
                <a:gd name="connsiteY24" fmla="*/ 137703 h 152533"/>
                <a:gd name="connsiteX25" fmla="*/ 180480 w 180479"/>
                <a:gd name="connsiteY25" fmla="*/ 145894 h 152533"/>
                <a:gd name="connsiteX26" fmla="*/ 172431 w 180479"/>
                <a:gd name="connsiteY26" fmla="*/ 152533 h 152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0479" h="152533">
                  <a:moveTo>
                    <a:pt x="160991" y="150171"/>
                  </a:moveTo>
                  <a:lnTo>
                    <a:pt x="151866" y="141370"/>
                  </a:lnTo>
                  <a:lnTo>
                    <a:pt x="140884" y="125387"/>
                  </a:lnTo>
                  <a:lnTo>
                    <a:pt x="129044" y="116624"/>
                  </a:lnTo>
                  <a:lnTo>
                    <a:pt x="122139" y="107175"/>
                  </a:lnTo>
                  <a:lnTo>
                    <a:pt x="98888" y="96193"/>
                  </a:lnTo>
                  <a:lnTo>
                    <a:pt x="80581" y="95869"/>
                  </a:lnTo>
                  <a:lnTo>
                    <a:pt x="74143" y="90135"/>
                  </a:lnTo>
                  <a:lnTo>
                    <a:pt x="58483" y="96583"/>
                  </a:lnTo>
                  <a:lnTo>
                    <a:pt x="42272" y="84125"/>
                  </a:lnTo>
                  <a:lnTo>
                    <a:pt x="33928" y="104594"/>
                  </a:lnTo>
                  <a:lnTo>
                    <a:pt x="2838" y="98870"/>
                  </a:lnTo>
                  <a:lnTo>
                    <a:pt x="0" y="87887"/>
                  </a:lnTo>
                  <a:lnTo>
                    <a:pt x="11496" y="47396"/>
                  </a:lnTo>
                  <a:lnTo>
                    <a:pt x="14135" y="28994"/>
                  </a:lnTo>
                  <a:lnTo>
                    <a:pt x="22546" y="20479"/>
                  </a:lnTo>
                  <a:lnTo>
                    <a:pt x="42215" y="15907"/>
                  </a:lnTo>
                  <a:lnTo>
                    <a:pt x="55730" y="0"/>
                  </a:lnTo>
                  <a:lnTo>
                    <a:pt x="71238" y="32204"/>
                  </a:lnTo>
                  <a:lnTo>
                    <a:pt x="78600" y="57598"/>
                  </a:lnTo>
                  <a:lnTo>
                    <a:pt x="93230" y="71028"/>
                  </a:lnTo>
                  <a:lnTo>
                    <a:pt x="129683" y="96974"/>
                  </a:lnTo>
                  <a:lnTo>
                    <a:pt x="144523" y="112585"/>
                  </a:lnTo>
                  <a:lnTo>
                    <a:pt x="159001" y="128340"/>
                  </a:lnTo>
                  <a:lnTo>
                    <a:pt x="167354" y="137703"/>
                  </a:lnTo>
                  <a:lnTo>
                    <a:pt x="180480" y="145894"/>
                  </a:lnTo>
                  <a:lnTo>
                    <a:pt x="172431" y="15253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80" name="Forme libre : forme 5699">
              <a:extLst>
                <a:ext uri="{FF2B5EF4-FFF2-40B4-BE49-F238E27FC236}">
                  <a16:creationId xmlns:a16="http://schemas.microsoft.com/office/drawing/2014/main" id="{056BA7E1-8B6E-CA3E-0B82-D676A78505B3}"/>
                </a:ext>
              </a:extLst>
            </p:cNvPr>
            <p:cNvSpPr/>
            <p:nvPr/>
          </p:nvSpPr>
          <p:spPr>
            <a:xfrm>
              <a:off x="5570048" y="3447854"/>
              <a:ext cx="332022" cy="270805"/>
            </a:xfrm>
            <a:custGeom>
              <a:avLst/>
              <a:gdLst>
                <a:gd name="connsiteX0" fmla="*/ 9563 w 332022"/>
                <a:gd name="connsiteY0" fmla="*/ 67761 h 270805"/>
                <a:gd name="connsiteX1" fmla="*/ 10906 w 332022"/>
                <a:gd name="connsiteY1" fmla="*/ 42167 h 270805"/>
                <a:gd name="connsiteX2" fmla="*/ 0 w 332022"/>
                <a:gd name="connsiteY2" fmla="*/ 26432 h 270805"/>
                <a:gd name="connsiteX3" fmla="*/ 37776 w 332022"/>
                <a:gd name="connsiteY3" fmla="*/ 0 h 270805"/>
                <a:gd name="connsiteX4" fmla="*/ 70456 w 332022"/>
                <a:gd name="connsiteY4" fmla="*/ 6639 h 270805"/>
                <a:gd name="connsiteX5" fmla="*/ 106318 w 332022"/>
                <a:gd name="connsiteY5" fmla="*/ 6410 h 270805"/>
                <a:gd name="connsiteX6" fmla="*/ 134741 w 332022"/>
                <a:gd name="connsiteY6" fmla="*/ 12668 h 270805"/>
                <a:gd name="connsiteX7" fmla="*/ 156906 w 332022"/>
                <a:gd name="connsiteY7" fmla="*/ 10744 h 270805"/>
                <a:gd name="connsiteX8" fmla="*/ 200073 w 332022"/>
                <a:gd name="connsiteY8" fmla="*/ 11964 h 270805"/>
                <a:gd name="connsiteX9" fmla="*/ 210722 w 332022"/>
                <a:gd name="connsiteY9" fmla="*/ 26156 h 270805"/>
                <a:gd name="connsiteX10" fmla="*/ 259880 w 332022"/>
                <a:gd name="connsiteY10" fmla="*/ 42643 h 270805"/>
                <a:gd name="connsiteX11" fmla="*/ 269586 w 332022"/>
                <a:gd name="connsiteY11" fmla="*/ 34823 h 270805"/>
                <a:gd name="connsiteX12" fmla="*/ 299638 w 332022"/>
                <a:gd name="connsiteY12" fmla="*/ 51159 h 270805"/>
                <a:gd name="connsiteX13" fmla="*/ 330594 w 332022"/>
                <a:gd name="connsiteY13" fmla="*/ 46492 h 270805"/>
                <a:gd name="connsiteX14" fmla="*/ 332022 w 332022"/>
                <a:gd name="connsiteY14" fmla="*/ 67351 h 270805"/>
                <a:gd name="connsiteX15" fmla="*/ 306715 w 332022"/>
                <a:gd name="connsiteY15" fmla="*/ 91030 h 270805"/>
                <a:gd name="connsiteX16" fmla="*/ 272491 w 332022"/>
                <a:gd name="connsiteY16" fmla="*/ 98498 h 270805"/>
                <a:gd name="connsiteX17" fmla="*/ 270110 w 332022"/>
                <a:gd name="connsiteY17" fmla="*/ 110328 h 270805"/>
                <a:gd name="connsiteX18" fmla="*/ 253698 w 332022"/>
                <a:gd name="connsiteY18" fmla="*/ 129692 h 270805"/>
                <a:gd name="connsiteX19" fmla="*/ 243411 w 332022"/>
                <a:gd name="connsiteY19" fmla="*/ 157848 h 270805"/>
                <a:gd name="connsiteX20" fmla="*/ 253822 w 332022"/>
                <a:gd name="connsiteY20" fmla="*/ 177413 h 270805"/>
                <a:gd name="connsiteX21" fmla="*/ 238373 w 332022"/>
                <a:gd name="connsiteY21" fmla="*/ 192576 h 270805"/>
                <a:gd name="connsiteX22" fmla="*/ 232601 w 332022"/>
                <a:gd name="connsiteY22" fmla="*/ 214503 h 270805"/>
                <a:gd name="connsiteX23" fmla="*/ 212436 w 332022"/>
                <a:gd name="connsiteY23" fmla="*/ 221190 h 270805"/>
                <a:gd name="connsiteX24" fmla="*/ 193520 w 332022"/>
                <a:gd name="connsiteY24" fmla="*/ 246812 h 270805"/>
                <a:gd name="connsiteX25" fmla="*/ 159630 w 332022"/>
                <a:gd name="connsiteY25" fmla="*/ 247317 h 270805"/>
                <a:gd name="connsiteX26" fmla="*/ 134169 w 332022"/>
                <a:gd name="connsiteY26" fmla="*/ 246688 h 270805"/>
                <a:gd name="connsiteX27" fmla="*/ 117443 w 332022"/>
                <a:gd name="connsiteY27" fmla="*/ 258366 h 270805"/>
                <a:gd name="connsiteX28" fmla="*/ 107242 w 332022"/>
                <a:gd name="connsiteY28" fmla="*/ 270805 h 270805"/>
                <a:gd name="connsiteX29" fmla="*/ 94174 w 332022"/>
                <a:gd name="connsiteY29" fmla="*/ 268081 h 270805"/>
                <a:gd name="connsiteX30" fmla="*/ 84287 w 332022"/>
                <a:gd name="connsiteY30" fmla="*/ 256947 h 270805"/>
                <a:gd name="connsiteX31" fmla="*/ 76715 w 332022"/>
                <a:gd name="connsiteY31" fmla="*/ 237887 h 270805"/>
                <a:gd name="connsiteX32" fmla="*/ 51788 w 332022"/>
                <a:gd name="connsiteY32" fmla="*/ 232724 h 270805"/>
                <a:gd name="connsiteX33" fmla="*/ 49559 w 332022"/>
                <a:gd name="connsiteY33" fmla="*/ 221666 h 270805"/>
                <a:gd name="connsiteX34" fmla="*/ 59455 w 332022"/>
                <a:gd name="connsiteY34" fmla="*/ 209074 h 270805"/>
                <a:gd name="connsiteX35" fmla="*/ 63122 w 332022"/>
                <a:gd name="connsiteY35" fmla="*/ 199901 h 270805"/>
                <a:gd name="connsiteX36" fmla="*/ 53912 w 332022"/>
                <a:gd name="connsiteY36" fmla="*/ 189833 h 270805"/>
                <a:gd name="connsiteX37" fmla="*/ 61284 w 332022"/>
                <a:gd name="connsiteY37" fmla="*/ 167450 h 270805"/>
                <a:gd name="connsiteX38" fmla="*/ 50587 w 332022"/>
                <a:gd name="connsiteY38" fmla="*/ 146828 h 270805"/>
                <a:gd name="connsiteX39" fmla="*/ 62122 w 332022"/>
                <a:gd name="connsiteY39" fmla="*/ 143980 h 270805"/>
                <a:gd name="connsiteX40" fmla="*/ 63198 w 332022"/>
                <a:gd name="connsiteY40" fmla="*/ 127587 h 270805"/>
                <a:gd name="connsiteX41" fmla="*/ 67532 w 332022"/>
                <a:gd name="connsiteY41" fmla="*/ 122482 h 270805"/>
                <a:gd name="connsiteX42" fmla="*/ 67875 w 332022"/>
                <a:gd name="connsiteY42" fmla="*/ 95098 h 270805"/>
                <a:gd name="connsiteX43" fmla="*/ 80220 w 332022"/>
                <a:gd name="connsiteY43" fmla="*/ 85515 h 270805"/>
                <a:gd name="connsiteX44" fmla="*/ 72752 w 332022"/>
                <a:gd name="connsiteY44" fmla="*/ 67666 h 270805"/>
                <a:gd name="connsiteX45" fmla="*/ 57188 w 332022"/>
                <a:gd name="connsiteY45" fmla="*/ 66408 h 270805"/>
                <a:gd name="connsiteX46" fmla="*/ 52616 w 332022"/>
                <a:gd name="connsiteY46" fmla="*/ 70923 h 270805"/>
                <a:gd name="connsiteX47" fmla="*/ 36843 w 332022"/>
                <a:gd name="connsiteY47" fmla="*/ 70961 h 270805"/>
                <a:gd name="connsiteX48" fmla="*/ 30156 w 332022"/>
                <a:gd name="connsiteY48" fmla="*/ 53426 h 270805"/>
                <a:gd name="connsiteX49" fmla="*/ 19250 w 332022"/>
                <a:gd name="connsiteY49" fmla="*/ 58664 h 270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32022" h="270805">
                  <a:moveTo>
                    <a:pt x="9563" y="67761"/>
                  </a:moveTo>
                  <a:lnTo>
                    <a:pt x="10906" y="42167"/>
                  </a:lnTo>
                  <a:lnTo>
                    <a:pt x="0" y="26432"/>
                  </a:lnTo>
                  <a:lnTo>
                    <a:pt x="37776" y="0"/>
                  </a:lnTo>
                  <a:lnTo>
                    <a:pt x="70456" y="6639"/>
                  </a:lnTo>
                  <a:lnTo>
                    <a:pt x="106318" y="6410"/>
                  </a:lnTo>
                  <a:lnTo>
                    <a:pt x="134741" y="12668"/>
                  </a:lnTo>
                  <a:lnTo>
                    <a:pt x="156906" y="10744"/>
                  </a:lnTo>
                  <a:lnTo>
                    <a:pt x="200073" y="11964"/>
                  </a:lnTo>
                  <a:lnTo>
                    <a:pt x="210722" y="26156"/>
                  </a:lnTo>
                  <a:lnTo>
                    <a:pt x="259880" y="42643"/>
                  </a:lnTo>
                  <a:lnTo>
                    <a:pt x="269586" y="34823"/>
                  </a:lnTo>
                  <a:lnTo>
                    <a:pt x="299638" y="51159"/>
                  </a:lnTo>
                  <a:lnTo>
                    <a:pt x="330594" y="46492"/>
                  </a:lnTo>
                  <a:lnTo>
                    <a:pt x="332022" y="67351"/>
                  </a:lnTo>
                  <a:lnTo>
                    <a:pt x="306715" y="91030"/>
                  </a:lnTo>
                  <a:lnTo>
                    <a:pt x="272491" y="98498"/>
                  </a:lnTo>
                  <a:lnTo>
                    <a:pt x="270110" y="110328"/>
                  </a:lnTo>
                  <a:lnTo>
                    <a:pt x="253698" y="129692"/>
                  </a:lnTo>
                  <a:lnTo>
                    <a:pt x="243411" y="157848"/>
                  </a:lnTo>
                  <a:lnTo>
                    <a:pt x="253822" y="177413"/>
                  </a:lnTo>
                  <a:lnTo>
                    <a:pt x="238373" y="192576"/>
                  </a:lnTo>
                  <a:lnTo>
                    <a:pt x="232601" y="214503"/>
                  </a:lnTo>
                  <a:lnTo>
                    <a:pt x="212436" y="221190"/>
                  </a:lnTo>
                  <a:lnTo>
                    <a:pt x="193520" y="246812"/>
                  </a:lnTo>
                  <a:lnTo>
                    <a:pt x="159630" y="247317"/>
                  </a:lnTo>
                  <a:lnTo>
                    <a:pt x="134169" y="246688"/>
                  </a:lnTo>
                  <a:lnTo>
                    <a:pt x="117443" y="258366"/>
                  </a:lnTo>
                  <a:lnTo>
                    <a:pt x="107242" y="270805"/>
                  </a:lnTo>
                  <a:lnTo>
                    <a:pt x="94174" y="268081"/>
                  </a:lnTo>
                  <a:lnTo>
                    <a:pt x="84287" y="256947"/>
                  </a:lnTo>
                  <a:lnTo>
                    <a:pt x="76715" y="237887"/>
                  </a:lnTo>
                  <a:lnTo>
                    <a:pt x="51788" y="232724"/>
                  </a:lnTo>
                  <a:lnTo>
                    <a:pt x="49559" y="221666"/>
                  </a:lnTo>
                  <a:lnTo>
                    <a:pt x="59455" y="209074"/>
                  </a:lnTo>
                  <a:lnTo>
                    <a:pt x="63122" y="199901"/>
                  </a:lnTo>
                  <a:lnTo>
                    <a:pt x="53912" y="189833"/>
                  </a:lnTo>
                  <a:lnTo>
                    <a:pt x="61284" y="167450"/>
                  </a:lnTo>
                  <a:lnTo>
                    <a:pt x="50587" y="146828"/>
                  </a:lnTo>
                  <a:lnTo>
                    <a:pt x="62122" y="143980"/>
                  </a:lnTo>
                  <a:lnTo>
                    <a:pt x="63198" y="127587"/>
                  </a:lnTo>
                  <a:lnTo>
                    <a:pt x="67532" y="122482"/>
                  </a:lnTo>
                  <a:lnTo>
                    <a:pt x="67875" y="95098"/>
                  </a:lnTo>
                  <a:lnTo>
                    <a:pt x="80220" y="85515"/>
                  </a:lnTo>
                  <a:lnTo>
                    <a:pt x="72752" y="67666"/>
                  </a:lnTo>
                  <a:lnTo>
                    <a:pt x="57188" y="66408"/>
                  </a:lnTo>
                  <a:lnTo>
                    <a:pt x="52616" y="70923"/>
                  </a:lnTo>
                  <a:lnTo>
                    <a:pt x="36843" y="70961"/>
                  </a:lnTo>
                  <a:lnTo>
                    <a:pt x="30156" y="53426"/>
                  </a:lnTo>
                  <a:lnTo>
                    <a:pt x="19250" y="58664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81" name="Forme libre : forme 5700">
              <a:extLst>
                <a:ext uri="{FF2B5EF4-FFF2-40B4-BE49-F238E27FC236}">
                  <a16:creationId xmlns:a16="http://schemas.microsoft.com/office/drawing/2014/main" id="{3562091B-B012-9494-2974-8FC45AB2D3D0}"/>
                </a:ext>
              </a:extLst>
            </p:cNvPr>
            <p:cNvSpPr/>
            <p:nvPr/>
          </p:nvSpPr>
          <p:spPr>
            <a:xfrm>
              <a:off x="6700989" y="4341165"/>
              <a:ext cx="396211" cy="310657"/>
            </a:xfrm>
            <a:custGeom>
              <a:avLst/>
              <a:gdLst>
                <a:gd name="connsiteX0" fmla="*/ 132255 w 396211"/>
                <a:gd name="connsiteY0" fmla="*/ 0 h 310657"/>
                <a:gd name="connsiteX1" fmla="*/ 148466 w 396211"/>
                <a:gd name="connsiteY1" fmla="*/ 12459 h 310657"/>
                <a:gd name="connsiteX2" fmla="*/ 164125 w 396211"/>
                <a:gd name="connsiteY2" fmla="*/ 6010 h 310657"/>
                <a:gd name="connsiteX3" fmla="*/ 170564 w 396211"/>
                <a:gd name="connsiteY3" fmla="*/ 11744 h 310657"/>
                <a:gd name="connsiteX4" fmla="*/ 188871 w 396211"/>
                <a:gd name="connsiteY4" fmla="*/ 12068 h 310657"/>
                <a:gd name="connsiteX5" fmla="*/ 212122 w 396211"/>
                <a:gd name="connsiteY5" fmla="*/ 23050 h 310657"/>
                <a:gd name="connsiteX6" fmla="*/ 219027 w 396211"/>
                <a:gd name="connsiteY6" fmla="*/ 32499 h 310657"/>
                <a:gd name="connsiteX7" fmla="*/ 230867 w 396211"/>
                <a:gd name="connsiteY7" fmla="*/ 41262 h 310657"/>
                <a:gd name="connsiteX8" fmla="*/ 241849 w 396211"/>
                <a:gd name="connsiteY8" fmla="*/ 57245 h 310657"/>
                <a:gd name="connsiteX9" fmla="*/ 250974 w 396211"/>
                <a:gd name="connsiteY9" fmla="*/ 66046 h 310657"/>
                <a:gd name="connsiteX10" fmla="*/ 241592 w 396211"/>
                <a:gd name="connsiteY10" fmla="*/ 78057 h 310657"/>
                <a:gd name="connsiteX11" fmla="*/ 232553 w 396211"/>
                <a:gd name="connsiteY11" fmla="*/ 90773 h 310657"/>
                <a:gd name="connsiteX12" fmla="*/ 234639 w 396211"/>
                <a:gd name="connsiteY12" fmla="*/ 98241 h 310657"/>
                <a:gd name="connsiteX13" fmla="*/ 235068 w 396211"/>
                <a:gd name="connsiteY13" fmla="*/ 106470 h 310657"/>
                <a:gd name="connsiteX14" fmla="*/ 249984 w 396211"/>
                <a:gd name="connsiteY14" fmla="*/ 106927 h 310657"/>
                <a:gd name="connsiteX15" fmla="*/ 256413 w 396211"/>
                <a:gd name="connsiteY15" fmla="*/ 105003 h 310657"/>
                <a:gd name="connsiteX16" fmla="*/ 262337 w 396211"/>
                <a:gd name="connsiteY16" fmla="*/ 109823 h 310657"/>
                <a:gd name="connsiteX17" fmla="*/ 256517 w 396211"/>
                <a:gd name="connsiteY17" fmla="*/ 119396 h 310657"/>
                <a:gd name="connsiteX18" fmla="*/ 266376 w 396211"/>
                <a:gd name="connsiteY18" fmla="*/ 134245 h 310657"/>
                <a:gd name="connsiteX19" fmla="*/ 276225 w 396211"/>
                <a:gd name="connsiteY19" fmla="*/ 147209 h 310657"/>
                <a:gd name="connsiteX20" fmla="*/ 286426 w 396211"/>
                <a:gd name="connsiteY20" fmla="*/ 156801 h 310657"/>
                <a:gd name="connsiteX21" fmla="*/ 373742 w 396211"/>
                <a:gd name="connsiteY21" fmla="*/ 188652 h 310657"/>
                <a:gd name="connsiteX22" fmla="*/ 396211 w 396211"/>
                <a:gd name="connsiteY22" fmla="*/ 188481 h 310657"/>
                <a:gd name="connsiteX23" fmla="*/ 320735 w 396211"/>
                <a:gd name="connsiteY23" fmla="*/ 268643 h 310657"/>
                <a:gd name="connsiteX24" fmla="*/ 285950 w 396211"/>
                <a:gd name="connsiteY24" fmla="*/ 269815 h 310657"/>
                <a:gd name="connsiteX25" fmla="*/ 262147 w 396211"/>
                <a:gd name="connsiteY25" fmla="*/ 288569 h 310657"/>
                <a:gd name="connsiteX26" fmla="*/ 245021 w 396211"/>
                <a:gd name="connsiteY26" fmla="*/ 289065 h 310657"/>
                <a:gd name="connsiteX27" fmla="*/ 237715 w 396211"/>
                <a:gd name="connsiteY27" fmla="*/ 297447 h 310657"/>
                <a:gd name="connsiteX28" fmla="*/ 219466 w 396211"/>
                <a:gd name="connsiteY28" fmla="*/ 297437 h 310657"/>
                <a:gd name="connsiteX29" fmla="*/ 208702 w 396211"/>
                <a:gd name="connsiteY29" fmla="*/ 288455 h 310657"/>
                <a:gd name="connsiteX30" fmla="*/ 184299 w 396211"/>
                <a:gd name="connsiteY30" fmla="*/ 299580 h 310657"/>
                <a:gd name="connsiteX31" fmla="*/ 176412 w 396211"/>
                <a:gd name="connsiteY31" fmla="*/ 310658 h 310657"/>
                <a:gd name="connsiteX32" fmla="*/ 158601 w 396211"/>
                <a:gd name="connsiteY32" fmla="*/ 308562 h 310657"/>
                <a:gd name="connsiteX33" fmla="*/ 152686 w 396211"/>
                <a:gd name="connsiteY33" fmla="*/ 305495 h 310657"/>
                <a:gd name="connsiteX34" fmla="*/ 146428 w 396211"/>
                <a:gd name="connsiteY34" fmla="*/ 306229 h 310657"/>
                <a:gd name="connsiteX35" fmla="*/ 137989 w 396211"/>
                <a:gd name="connsiteY35" fmla="*/ 305962 h 310657"/>
                <a:gd name="connsiteX36" fmla="*/ 104184 w 396211"/>
                <a:gd name="connsiteY36" fmla="*/ 283378 h 310657"/>
                <a:gd name="connsiteX37" fmla="*/ 85601 w 396211"/>
                <a:gd name="connsiteY37" fmla="*/ 283378 h 310657"/>
                <a:gd name="connsiteX38" fmla="*/ 76476 w 396211"/>
                <a:gd name="connsiteY38" fmla="*/ 274615 h 310657"/>
                <a:gd name="connsiteX39" fmla="*/ 76476 w 396211"/>
                <a:gd name="connsiteY39" fmla="*/ 259670 h 310657"/>
                <a:gd name="connsiteX40" fmla="*/ 62608 w 396211"/>
                <a:gd name="connsiteY40" fmla="*/ 255194 h 310657"/>
                <a:gd name="connsiteX41" fmla="*/ 46815 w 396211"/>
                <a:gd name="connsiteY41" fmla="*/ 226171 h 310657"/>
                <a:gd name="connsiteX42" fmla="*/ 34623 w 396211"/>
                <a:gd name="connsiteY42" fmla="*/ 219970 h 310657"/>
                <a:gd name="connsiteX43" fmla="*/ 29937 w 396211"/>
                <a:gd name="connsiteY43" fmla="*/ 209283 h 310657"/>
                <a:gd name="connsiteX44" fmla="*/ 16412 w 396211"/>
                <a:gd name="connsiteY44" fmla="*/ 196244 h 310657"/>
                <a:gd name="connsiteX45" fmla="*/ 0 w 396211"/>
                <a:gd name="connsiteY45" fmla="*/ 194320 h 310657"/>
                <a:gd name="connsiteX46" fmla="*/ 9097 w 396211"/>
                <a:gd name="connsiteY46" fmla="*/ 179060 h 310657"/>
                <a:gd name="connsiteX47" fmla="*/ 23279 w 396211"/>
                <a:gd name="connsiteY47" fmla="*/ 178403 h 310657"/>
                <a:gd name="connsiteX48" fmla="*/ 27270 w 396211"/>
                <a:gd name="connsiteY48" fmla="*/ 170212 h 310657"/>
                <a:gd name="connsiteX49" fmla="*/ 26918 w 396211"/>
                <a:gd name="connsiteY49" fmla="*/ 146047 h 310657"/>
                <a:gd name="connsiteX50" fmla="*/ 34814 w 396211"/>
                <a:gd name="connsiteY50" fmla="*/ 117843 h 310657"/>
                <a:gd name="connsiteX51" fmla="*/ 47463 w 396211"/>
                <a:gd name="connsiteY51" fmla="*/ 110280 h 310657"/>
                <a:gd name="connsiteX52" fmla="*/ 50149 w 396211"/>
                <a:gd name="connsiteY52" fmla="*/ 99222 h 310657"/>
                <a:gd name="connsiteX53" fmla="*/ 61598 w 396211"/>
                <a:gd name="connsiteY53" fmla="*/ 78524 h 310657"/>
                <a:gd name="connsiteX54" fmla="*/ 77705 w 396211"/>
                <a:gd name="connsiteY54" fmla="*/ 65065 h 310657"/>
                <a:gd name="connsiteX55" fmla="*/ 88563 w 396211"/>
                <a:gd name="connsiteY55" fmla="*/ 38233 h 310657"/>
                <a:gd name="connsiteX56" fmla="*/ 92821 w 396211"/>
                <a:gd name="connsiteY56" fmla="*/ 14745 h 310657"/>
                <a:gd name="connsiteX57" fmla="*/ 123910 w 396211"/>
                <a:gd name="connsiteY57" fmla="*/ 20469 h 31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96211" h="310657">
                  <a:moveTo>
                    <a:pt x="132255" y="0"/>
                  </a:moveTo>
                  <a:lnTo>
                    <a:pt x="148466" y="12459"/>
                  </a:lnTo>
                  <a:lnTo>
                    <a:pt x="164125" y="6010"/>
                  </a:lnTo>
                  <a:lnTo>
                    <a:pt x="170564" y="11744"/>
                  </a:lnTo>
                  <a:lnTo>
                    <a:pt x="188871" y="12068"/>
                  </a:lnTo>
                  <a:lnTo>
                    <a:pt x="212122" y="23050"/>
                  </a:lnTo>
                  <a:lnTo>
                    <a:pt x="219027" y="32499"/>
                  </a:lnTo>
                  <a:lnTo>
                    <a:pt x="230867" y="41262"/>
                  </a:lnTo>
                  <a:lnTo>
                    <a:pt x="241849" y="57245"/>
                  </a:lnTo>
                  <a:lnTo>
                    <a:pt x="250974" y="66046"/>
                  </a:lnTo>
                  <a:lnTo>
                    <a:pt x="241592" y="78057"/>
                  </a:lnTo>
                  <a:lnTo>
                    <a:pt x="232553" y="90773"/>
                  </a:lnTo>
                  <a:lnTo>
                    <a:pt x="234639" y="98241"/>
                  </a:lnTo>
                  <a:lnTo>
                    <a:pt x="235068" y="106470"/>
                  </a:lnTo>
                  <a:lnTo>
                    <a:pt x="249984" y="106927"/>
                  </a:lnTo>
                  <a:lnTo>
                    <a:pt x="256413" y="105003"/>
                  </a:lnTo>
                  <a:lnTo>
                    <a:pt x="262337" y="109823"/>
                  </a:lnTo>
                  <a:lnTo>
                    <a:pt x="256517" y="119396"/>
                  </a:lnTo>
                  <a:lnTo>
                    <a:pt x="266376" y="134245"/>
                  </a:lnTo>
                  <a:lnTo>
                    <a:pt x="276225" y="147209"/>
                  </a:lnTo>
                  <a:lnTo>
                    <a:pt x="286426" y="156801"/>
                  </a:lnTo>
                  <a:lnTo>
                    <a:pt x="373742" y="188652"/>
                  </a:lnTo>
                  <a:lnTo>
                    <a:pt x="396211" y="188481"/>
                  </a:lnTo>
                  <a:lnTo>
                    <a:pt x="320735" y="268643"/>
                  </a:lnTo>
                  <a:lnTo>
                    <a:pt x="285950" y="269815"/>
                  </a:lnTo>
                  <a:lnTo>
                    <a:pt x="262147" y="288569"/>
                  </a:lnTo>
                  <a:lnTo>
                    <a:pt x="245021" y="289065"/>
                  </a:lnTo>
                  <a:lnTo>
                    <a:pt x="237715" y="297447"/>
                  </a:lnTo>
                  <a:lnTo>
                    <a:pt x="219466" y="297437"/>
                  </a:lnTo>
                  <a:lnTo>
                    <a:pt x="208702" y="288455"/>
                  </a:lnTo>
                  <a:lnTo>
                    <a:pt x="184299" y="299580"/>
                  </a:lnTo>
                  <a:lnTo>
                    <a:pt x="176412" y="310658"/>
                  </a:lnTo>
                  <a:lnTo>
                    <a:pt x="158601" y="308562"/>
                  </a:lnTo>
                  <a:lnTo>
                    <a:pt x="152686" y="305495"/>
                  </a:lnTo>
                  <a:lnTo>
                    <a:pt x="146428" y="306229"/>
                  </a:lnTo>
                  <a:lnTo>
                    <a:pt x="137989" y="305962"/>
                  </a:lnTo>
                  <a:lnTo>
                    <a:pt x="104184" y="283378"/>
                  </a:lnTo>
                  <a:lnTo>
                    <a:pt x="85601" y="283378"/>
                  </a:lnTo>
                  <a:lnTo>
                    <a:pt x="76476" y="274615"/>
                  </a:lnTo>
                  <a:lnTo>
                    <a:pt x="76476" y="259670"/>
                  </a:lnTo>
                  <a:lnTo>
                    <a:pt x="62608" y="255194"/>
                  </a:lnTo>
                  <a:lnTo>
                    <a:pt x="46815" y="226171"/>
                  </a:lnTo>
                  <a:lnTo>
                    <a:pt x="34623" y="219970"/>
                  </a:lnTo>
                  <a:lnTo>
                    <a:pt x="29937" y="209283"/>
                  </a:lnTo>
                  <a:lnTo>
                    <a:pt x="16412" y="196244"/>
                  </a:lnTo>
                  <a:lnTo>
                    <a:pt x="0" y="194320"/>
                  </a:lnTo>
                  <a:lnTo>
                    <a:pt x="9097" y="179060"/>
                  </a:lnTo>
                  <a:lnTo>
                    <a:pt x="23279" y="178403"/>
                  </a:lnTo>
                  <a:lnTo>
                    <a:pt x="27270" y="170212"/>
                  </a:lnTo>
                  <a:lnTo>
                    <a:pt x="26918" y="146047"/>
                  </a:lnTo>
                  <a:lnTo>
                    <a:pt x="34814" y="117843"/>
                  </a:lnTo>
                  <a:lnTo>
                    <a:pt x="47463" y="110280"/>
                  </a:lnTo>
                  <a:lnTo>
                    <a:pt x="50149" y="99222"/>
                  </a:lnTo>
                  <a:lnTo>
                    <a:pt x="61598" y="78524"/>
                  </a:lnTo>
                  <a:lnTo>
                    <a:pt x="77705" y="65065"/>
                  </a:lnTo>
                  <a:lnTo>
                    <a:pt x="88563" y="38233"/>
                  </a:lnTo>
                  <a:lnTo>
                    <a:pt x="92821" y="14745"/>
                  </a:lnTo>
                  <a:lnTo>
                    <a:pt x="123910" y="2046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82" name="Forme libre : forme 5701">
              <a:extLst>
                <a:ext uri="{FF2B5EF4-FFF2-40B4-BE49-F238E27FC236}">
                  <a16:creationId xmlns:a16="http://schemas.microsoft.com/office/drawing/2014/main" id="{EE98F7D8-0E73-EC6C-DFAD-C31F60270257}"/>
                </a:ext>
              </a:extLst>
            </p:cNvPr>
            <p:cNvSpPr/>
            <p:nvPr/>
          </p:nvSpPr>
          <p:spPr>
            <a:xfrm>
              <a:off x="4186447" y="6327442"/>
              <a:ext cx="92144" cy="51577"/>
            </a:xfrm>
            <a:custGeom>
              <a:avLst/>
              <a:gdLst>
                <a:gd name="connsiteX0" fmla="*/ 0 w 92144"/>
                <a:gd name="connsiteY0" fmla="*/ 32070 h 51577"/>
                <a:gd name="connsiteX1" fmla="*/ 32052 w 92144"/>
                <a:gd name="connsiteY1" fmla="*/ 6372 h 51577"/>
                <a:gd name="connsiteX2" fmla="*/ 54750 w 92144"/>
                <a:gd name="connsiteY2" fmla="*/ 17040 h 51577"/>
                <a:gd name="connsiteX3" fmla="*/ 70771 w 92144"/>
                <a:gd name="connsiteY3" fmla="*/ 0 h 51577"/>
                <a:gd name="connsiteX4" fmla="*/ 92145 w 92144"/>
                <a:gd name="connsiteY4" fmla="*/ 19174 h 51577"/>
                <a:gd name="connsiteX5" fmla="*/ 84125 w 92144"/>
                <a:gd name="connsiteY5" fmla="*/ 34223 h 51577"/>
                <a:gd name="connsiteX6" fmla="*/ 48073 w 92144"/>
                <a:gd name="connsiteY6" fmla="*/ 47224 h 51577"/>
                <a:gd name="connsiteX7" fmla="*/ 36052 w 92144"/>
                <a:gd name="connsiteY7" fmla="*/ 32070 h 51577"/>
                <a:gd name="connsiteX8" fmla="*/ 13354 w 92144"/>
                <a:gd name="connsiteY8" fmla="*/ 51578 h 51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144" h="51577">
                  <a:moveTo>
                    <a:pt x="0" y="32070"/>
                  </a:moveTo>
                  <a:lnTo>
                    <a:pt x="32052" y="6372"/>
                  </a:lnTo>
                  <a:lnTo>
                    <a:pt x="54750" y="17040"/>
                  </a:lnTo>
                  <a:lnTo>
                    <a:pt x="70771" y="0"/>
                  </a:lnTo>
                  <a:lnTo>
                    <a:pt x="92145" y="19174"/>
                  </a:lnTo>
                  <a:lnTo>
                    <a:pt x="84125" y="34223"/>
                  </a:lnTo>
                  <a:lnTo>
                    <a:pt x="48073" y="47224"/>
                  </a:lnTo>
                  <a:lnTo>
                    <a:pt x="36052" y="32070"/>
                  </a:lnTo>
                  <a:lnTo>
                    <a:pt x="13354" y="5157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83" name="Forme libre : forme 5702">
              <a:extLst>
                <a:ext uri="{FF2B5EF4-FFF2-40B4-BE49-F238E27FC236}">
                  <a16:creationId xmlns:a16="http://schemas.microsoft.com/office/drawing/2014/main" id="{34144EFD-7875-4E7C-47A2-1649E42873A2}"/>
                </a:ext>
              </a:extLst>
            </p:cNvPr>
            <p:cNvSpPr/>
            <p:nvPr/>
          </p:nvSpPr>
          <p:spPr>
            <a:xfrm>
              <a:off x="6372272" y="2083940"/>
              <a:ext cx="290321" cy="660587"/>
            </a:xfrm>
            <a:custGeom>
              <a:avLst/>
              <a:gdLst>
                <a:gd name="connsiteX0" fmla="*/ 212217 w 290321"/>
                <a:gd name="connsiteY0" fmla="*/ 84239 h 660587"/>
                <a:gd name="connsiteX1" fmla="*/ 208321 w 290321"/>
                <a:gd name="connsiteY1" fmla="*/ 135712 h 660587"/>
                <a:gd name="connsiteX2" fmla="*/ 249221 w 290321"/>
                <a:gd name="connsiteY2" fmla="*/ 183242 h 660587"/>
                <a:gd name="connsiteX3" fmla="*/ 224580 w 290321"/>
                <a:gd name="connsiteY3" fmla="*/ 235420 h 660587"/>
                <a:gd name="connsiteX4" fmla="*/ 255641 w 290321"/>
                <a:gd name="connsiteY4" fmla="*/ 311210 h 660587"/>
                <a:gd name="connsiteX5" fmla="*/ 237658 w 290321"/>
                <a:gd name="connsiteY5" fmla="*/ 366103 h 660587"/>
                <a:gd name="connsiteX6" fmla="*/ 261699 w 290321"/>
                <a:gd name="connsiteY6" fmla="*/ 412347 h 660587"/>
                <a:gd name="connsiteX7" fmla="*/ 250784 w 290321"/>
                <a:gd name="connsiteY7" fmla="*/ 451828 h 660587"/>
                <a:gd name="connsiteX8" fmla="*/ 290322 w 290321"/>
                <a:gd name="connsiteY8" fmla="*/ 492366 h 660587"/>
                <a:gd name="connsiteX9" fmla="*/ 280273 w 290321"/>
                <a:gd name="connsiteY9" fmla="*/ 521941 h 660587"/>
                <a:gd name="connsiteX10" fmla="*/ 255461 w 290321"/>
                <a:gd name="connsiteY10" fmla="*/ 554822 h 660587"/>
                <a:gd name="connsiteX11" fmla="*/ 198282 w 290321"/>
                <a:gd name="connsiteY11" fmla="*/ 625364 h 660587"/>
                <a:gd name="connsiteX12" fmla="*/ 149819 w 290321"/>
                <a:gd name="connsiteY12" fmla="*/ 629660 h 660587"/>
                <a:gd name="connsiteX13" fmla="*/ 102851 w 290321"/>
                <a:gd name="connsiteY13" fmla="*/ 649357 h 660587"/>
                <a:gd name="connsiteX14" fmla="*/ 59398 w 290321"/>
                <a:gd name="connsiteY14" fmla="*/ 660587 h 660587"/>
                <a:gd name="connsiteX15" fmla="*/ 43939 w 290321"/>
                <a:gd name="connsiteY15" fmla="*/ 631393 h 660587"/>
                <a:gd name="connsiteX16" fmla="*/ 18079 w 290321"/>
                <a:gd name="connsiteY16" fmla="*/ 613591 h 660587"/>
                <a:gd name="connsiteX17" fmla="*/ 24022 w 290321"/>
                <a:gd name="connsiteY17" fmla="*/ 559032 h 660587"/>
                <a:gd name="connsiteX18" fmla="*/ 11049 w 290321"/>
                <a:gd name="connsiteY18" fmla="*/ 507520 h 660587"/>
                <a:gd name="connsiteX19" fmla="*/ 23784 w 290321"/>
                <a:gd name="connsiteY19" fmla="*/ 473431 h 660587"/>
                <a:gd name="connsiteX20" fmla="*/ 47996 w 290321"/>
                <a:gd name="connsiteY20" fmla="*/ 435883 h 660587"/>
                <a:gd name="connsiteX21" fmla="*/ 109099 w 290321"/>
                <a:gd name="connsiteY21" fmla="*/ 369017 h 660587"/>
                <a:gd name="connsiteX22" fmla="*/ 126921 w 290321"/>
                <a:gd name="connsiteY22" fmla="*/ 355816 h 660587"/>
                <a:gd name="connsiteX23" fmla="*/ 124149 w 290321"/>
                <a:gd name="connsiteY23" fmla="*/ 328793 h 660587"/>
                <a:gd name="connsiteX24" fmla="*/ 87001 w 290321"/>
                <a:gd name="connsiteY24" fmla="*/ 298075 h 660587"/>
                <a:gd name="connsiteX25" fmla="*/ 77991 w 290321"/>
                <a:gd name="connsiteY25" fmla="*/ 272358 h 660587"/>
                <a:gd name="connsiteX26" fmla="*/ 77286 w 290321"/>
                <a:gd name="connsiteY26" fmla="*/ 166440 h 660587"/>
                <a:gd name="connsiteX27" fmla="*/ 35595 w 290321"/>
                <a:gd name="connsiteY27" fmla="*/ 117358 h 660587"/>
                <a:gd name="connsiteX28" fmla="*/ 0 w 290321"/>
                <a:gd name="connsiteY28" fmla="*/ 81143 h 660587"/>
                <a:gd name="connsiteX29" fmla="*/ 16011 w 290321"/>
                <a:gd name="connsiteY29" fmla="*/ 61255 h 660587"/>
                <a:gd name="connsiteX30" fmla="*/ 45691 w 290321"/>
                <a:gd name="connsiteY30" fmla="*/ 100813 h 660587"/>
                <a:gd name="connsiteX31" fmla="*/ 80563 w 290321"/>
                <a:gd name="connsiteY31" fmla="*/ 97155 h 660587"/>
                <a:gd name="connsiteX32" fmla="*/ 109232 w 290321"/>
                <a:gd name="connsiteY32" fmla="*/ 114957 h 660587"/>
                <a:gd name="connsiteX33" fmla="*/ 134702 w 290321"/>
                <a:gd name="connsiteY33" fmla="*/ 82201 h 660587"/>
                <a:gd name="connsiteX34" fmla="*/ 147799 w 290321"/>
                <a:gd name="connsiteY34" fmla="*/ 26432 h 660587"/>
                <a:gd name="connsiteX35" fmla="*/ 189262 w 290321"/>
                <a:gd name="connsiteY35" fmla="*/ 0 h 660587"/>
                <a:gd name="connsiteX36" fmla="*/ 223532 w 290321"/>
                <a:gd name="connsiteY36" fmla="*/ 30975 h 660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90321" h="660587">
                  <a:moveTo>
                    <a:pt x="212217" y="84239"/>
                  </a:moveTo>
                  <a:lnTo>
                    <a:pt x="208321" y="135712"/>
                  </a:lnTo>
                  <a:lnTo>
                    <a:pt x="249221" y="183242"/>
                  </a:lnTo>
                  <a:lnTo>
                    <a:pt x="224580" y="235420"/>
                  </a:lnTo>
                  <a:lnTo>
                    <a:pt x="255641" y="311210"/>
                  </a:lnTo>
                  <a:lnTo>
                    <a:pt x="237658" y="366103"/>
                  </a:lnTo>
                  <a:lnTo>
                    <a:pt x="261699" y="412347"/>
                  </a:lnTo>
                  <a:lnTo>
                    <a:pt x="250784" y="451828"/>
                  </a:lnTo>
                  <a:lnTo>
                    <a:pt x="290322" y="492366"/>
                  </a:lnTo>
                  <a:lnTo>
                    <a:pt x="280273" y="521941"/>
                  </a:lnTo>
                  <a:lnTo>
                    <a:pt x="255461" y="554822"/>
                  </a:lnTo>
                  <a:lnTo>
                    <a:pt x="198282" y="625364"/>
                  </a:lnTo>
                  <a:lnTo>
                    <a:pt x="149819" y="629660"/>
                  </a:lnTo>
                  <a:lnTo>
                    <a:pt x="102851" y="649357"/>
                  </a:lnTo>
                  <a:lnTo>
                    <a:pt x="59398" y="660587"/>
                  </a:lnTo>
                  <a:lnTo>
                    <a:pt x="43939" y="631393"/>
                  </a:lnTo>
                  <a:lnTo>
                    <a:pt x="18079" y="613591"/>
                  </a:lnTo>
                  <a:lnTo>
                    <a:pt x="24022" y="559032"/>
                  </a:lnTo>
                  <a:lnTo>
                    <a:pt x="11049" y="507520"/>
                  </a:lnTo>
                  <a:lnTo>
                    <a:pt x="23784" y="473431"/>
                  </a:lnTo>
                  <a:lnTo>
                    <a:pt x="47996" y="435883"/>
                  </a:lnTo>
                  <a:lnTo>
                    <a:pt x="109099" y="369017"/>
                  </a:lnTo>
                  <a:lnTo>
                    <a:pt x="126921" y="355816"/>
                  </a:lnTo>
                  <a:lnTo>
                    <a:pt x="124149" y="328793"/>
                  </a:lnTo>
                  <a:lnTo>
                    <a:pt x="87001" y="298075"/>
                  </a:lnTo>
                  <a:lnTo>
                    <a:pt x="77991" y="272358"/>
                  </a:lnTo>
                  <a:lnTo>
                    <a:pt x="77286" y="166440"/>
                  </a:lnTo>
                  <a:lnTo>
                    <a:pt x="35595" y="117358"/>
                  </a:lnTo>
                  <a:lnTo>
                    <a:pt x="0" y="81143"/>
                  </a:lnTo>
                  <a:lnTo>
                    <a:pt x="16011" y="61255"/>
                  </a:lnTo>
                  <a:lnTo>
                    <a:pt x="45691" y="100813"/>
                  </a:lnTo>
                  <a:lnTo>
                    <a:pt x="80563" y="97155"/>
                  </a:lnTo>
                  <a:lnTo>
                    <a:pt x="109232" y="114957"/>
                  </a:lnTo>
                  <a:lnTo>
                    <a:pt x="134702" y="82201"/>
                  </a:lnTo>
                  <a:lnTo>
                    <a:pt x="147799" y="26432"/>
                  </a:lnTo>
                  <a:lnTo>
                    <a:pt x="189262" y="0"/>
                  </a:lnTo>
                  <a:lnTo>
                    <a:pt x="223532" y="3097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84" name="Forme libre : forme 5703">
              <a:extLst>
                <a:ext uri="{FF2B5EF4-FFF2-40B4-BE49-F238E27FC236}">
                  <a16:creationId xmlns:a16="http://schemas.microsoft.com/office/drawing/2014/main" id="{42117F2E-6BB8-58E0-A3DC-5B0D14EACEBC}"/>
                </a:ext>
              </a:extLst>
            </p:cNvPr>
            <p:cNvSpPr/>
            <p:nvPr/>
          </p:nvSpPr>
          <p:spPr>
            <a:xfrm>
              <a:off x="10555595" y="5173374"/>
              <a:ext cx="78019" cy="62988"/>
            </a:xfrm>
            <a:custGeom>
              <a:avLst/>
              <a:gdLst>
                <a:gd name="connsiteX0" fmla="*/ 78020 w 78019"/>
                <a:gd name="connsiteY0" fmla="*/ 0 h 62988"/>
                <a:gd name="connsiteX1" fmla="*/ 74705 w 78019"/>
                <a:gd name="connsiteY1" fmla="*/ 13297 h 62988"/>
                <a:gd name="connsiteX2" fmla="*/ 72504 w 78019"/>
                <a:gd name="connsiteY2" fmla="*/ 14773 h 62988"/>
                <a:gd name="connsiteX3" fmla="*/ 55531 w 78019"/>
                <a:gd name="connsiteY3" fmla="*/ 21593 h 62988"/>
                <a:gd name="connsiteX4" fmla="*/ 38462 w 78019"/>
                <a:gd name="connsiteY4" fmla="*/ 27432 h 62988"/>
                <a:gd name="connsiteX5" fmla="*/ 35033 w 78019"/>
                <a:gd name="connsiteY5" fmla="*/ 17097 h 62988"/>
                <a:gd name="connsiteX6" fmla="*/ 48378 w 78019"/>
                <a:gd name="connsiteY6" fmla="*/ 11420 h 62988"/>
                <a:gd name="connsiteX7" fmla="*/ 56845 w 78019"/>
                <a:gd name="connsiteY7" fmla="*/ 9896 h 62988"/>
                <a:gd name="connsiteX8" fmla="*/ 72514 w 78019"/>
                <a:gd name="connsiteY8" fmla="*/ 1276 h 62988"/>
                <a:gd name="connsiteX9" fmla="*/ 78020 w 78019"/>
                <a:gd name="connsiteY9" fmla="*/ 0 h 62988"/>
                <a:gd name="connsiteX10" fmla="*/ 22441 w 78019"/>
                <a:gd name="connsiteY10" fmla="*/ 41138 h 62988"/>
                <a:gd name="connsiteX11" fmla="*/ 10306 w 78019"/>
                <a:gd name="connsiteY11" fmla="*/ 37700 h 62988"/>
                <a:gd name="connsiteX12" fmla="*/ 0 w 78019"/>
                <a:gd name="connsiteY12" fmla="*/ 47263 h 62988"/>
                <a:gd name="connsiteX13" fmla="*/ 2581 w 78019"/>
                <a:gd name="connsiteY13" fmla="*/ 59531 h 62988"/>
                <a:gd name="connsiteX14" fmla="*/ 17307 w 78019"/>
                <a:gd name="connsiteY14" fmla="*/ 62989 h 62988"/>
                <a:gd name="connsiteX15" fmla="*/ 33861 w 78019"/>
                <a:gd name="connsiteY15" fmla="*/ 59150 h 62988"/>
                <a:gd name="connsiteX16" fmla="*/ 38272 w 78019"/>
                <a:gd name="connsiteY16" fmla="*/ 44587 h 62988"/>
                <a:gd name="connsiteX17" fmla="*/ 29080 w 78019"/>
                <a:gd name="connsiteY17" fmla="*/ 36557 h 62988"/>
                <a:gd name="connsiteX18" fmla="*/ 22441 w 78019"/>
                <a:gd name="connsiteY18" fmla="*/ 41138 h 62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019" h="62988">
                  <a:moveTo>
                    <a:pt x="78020" y="0"/>
                  </a:moveTo>
                  <a:lnTo>
                    <a:pt x="74705" y="13297"/>
                  </a:lnTo>
                  <a:lnTo>
                    <a:pt x="72504" y="14773"/>
                  </a:lnTo>
                  <a:lnTo>
                    <a:pt x="55531" y="21593"/>
                  </a:lnTo>
                  <a:lnTo>
                    <a:pt x="38462" y="27432"/>
                  </a:lnTo>
                  <a:lnTo>
                    <a:pt x="35033" y="17097"/>
                  </a:lnTo>
                  <a:lnTo>
                    <a:pt x="48378" y="11420"/>
                  </a:lnTo>
                  <a:lnTo>
                    <a:pt x="56845" y="9896"/>
                  </a:lnTo>
                  <a:lnTo>
                    <a:pt x="72514" y="1276"/>
                  </a:lnTo>
                  <a:lnTo>
                    <a:pt x="78020" y="0"/>
                  </a:lnTo>
                  <a:close/>
                  <a:moveTo>
                    <a:pt x="22441" y="41138"/>
                  </a:moveTo>
                  <a:lnTo>
                    <a:pt x="10306" y="37700"/>
                  </a:lnTo>
                  <a:lnTo>
                    <a:pt x="0" y="47263"/>
                  </a:lnTo>
                  <a:lnTo>
                    <a:pt x="2581" y="59531"/>
                  </a:lnTo>
                  <a:lnTo>
                    <a:pt x="17307" y="62989"/>
                  </a:lnTo>
                  <a:lnTo>
                    <a:pt x="33861" y="59150"/>
                  </a:lnTo>
                  <a:lnTo>
                    <a:pt x="38272" y="44587"/>
                  </a:lnTo>
                  <a:lnTo>
                    <a:pt x="29080" y="36557"/>
                  </a:lnTo>
                  <a:lnTo>
                    <a:pt x="22441" y="4113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85" name="Forme libre : forme 5704">
              <a:extLst>
                <a:ext uri="{FF2B5EF4-FFF2-40B4-BE49-F238E27FC236}">
                  <a16:creationId xmlns:a16="http://schemas.microsoft.com/office/drawing/2014/main" id="{7C2806DC-EE35-1637-D753-F23E4892C1F4}"/>
                </a:ext>
              </a:extLst>
            </p:cNvPr>
            <p:cNvSpPr/>
            <p:nvPr/>
          </p:nvSpPr>
          <p:spPr>
            <a:xfrm>
              <a:off x="5698235" y="3155817"/>
              <a:ext cx="377980" cy="377618"/>
            </a:xfrm>
            <a:custGeom>
              <a:avLst/>
              <a:gdLst>
                <a:gd name="connsiteX0" fmla="*/ 377981 w 377980"/>
                <a:gd name="connsiteY0" fmla="*/ 350063 h 377618"/>
                <a:gd name="connsiteX1" fmla="*/ 369160 w 377980"/>
                <a:gd name="connsiteY1" fmla="*/ 377619 h 377618"/>
                <a:gd name="connsiteX2" fmla="*/ 357035 w 377980"/>
                <a:gd name="connsiteY2" fmla="*/ 370389 h 377618"/>
                <a:gd name="connsiteX3" fmla="*/ 350853 w 377980"/>
                <a:gd name="connsiteY3" fmla="*/ 346329 h 377618"/>
                <a:gd name="connsiteX4" fmla="*/ 356245 w 377980"/>
                <a:gd name="connsiteY4" fmla="*/ 332927 h 377618"/>
                <a:gd name="connsiteX5" fmla="*/ 373447 w 377980"/>
                <a:gd name="connsiteY5" fmla="*/ 319069 h 377618"/>
                <a:gd name="connsiteX6" fmla="*/ 377981 w 377980"/>
                <a:gd name="connsiteY6" fmla="*/ 350063 h 377618"/>
                <a:gd name="connsiteX7" fmla="*/ 218484 w 377980"/>
                <a:gd name="connsiteY7" fmla="*/ 32404 h 377618"/>
                <a:gd name="connsiteX8" fmla="*/ 237125 w 377980"/>
                <a:gd name="connsiteY8" fmla="*/ 51997 h 377618"/>
                <a:gd name="connsiteX9" fmla="*/ 250831 w 377980"/>
                <a:gd name="connsiteY9" fmla="*/ 48778 h 377618"/>
                <a:gd name="connsiteX10" fmla="*/ 274196 w 377980"/>
                <a:gd name="connsiteY10" fmla="*/ 67570 h 377618"/>
                <a:gd name="connsiteX11" fmla="*/ 280168 w 377980"/>
                <a:gd name="connsiteY11" fmla="*/ 71133 h 377618"/>
                <a:gd name="connsiteX12" fmla="*/ 287874 w 377980"/>
                <a:gd name="connsiteY12" fmla="*/ 70266 h 377618"/>
                <a:gd name="connsiteX13" fmla="*/ 300476 w 377980"/>
                <a:gd name="connsiteY13" fmla="*/ 80963 h 377618"/>
                <a:gd name="connsiteX14" fmla="*/ 338957 w 377980"/>
                <a:gd name="connsiteY14" fmla="*/ 88459 h 377618"/>
                <a:gd name="connsiteX15" fmla="*/ 325460 w 377980"/>
                <a:gd name="connsiteY15" fmla="*/ 116072 h 377618"/>
                <a:gd name="connsiteX16" fmla="*/ 322069 w 377980"/>
                <a:gd name="connsiteY16" fmla="*/ 144409 h 377618"/>
                <a:gd name="connsiteX17" fmla="*/ 314735 w 377980"/>
                <a:gd name="connsiteY17" fmla="*/ 151143 h 377618"/>
                <a:gd name="connsiteX18" fmla="*/ 302562 w 377980"/>
                <a:gd name="connsiteY18" fmla="*/ 147514 h 377618"/>
                <a:gd name="connsiteX19" fmla="*/ 303419 w 377980"/>
                <a:gd name="connsiteY19" fmla="*/ 157515 h 377618"/>
                <a:gd name="connsiteX20" fmla="*/ 283883 w 377980"/>
                <a:gd name="connsiteY20" fmla="*/ 179451 h 377618"/>
                <a:gd name="connsiteX21" fmla="*/ 283493 w 377980"/>
                <a:gd name="connsiteY21" fmla="*/ 196958 h 377618"/>
                <a:gd name="connsiteX22" fmla="*/ 296246 w 377980"/>
                <a:gd name="connsiteY22" fmla="*/ 190919 h 377618"/>
                <a:gd name="connsiteX23" fmla="*/ 305419 w 377980"/>
                <a:gd name="connsiteY23" fmla="*/ 207788 h 377618"/>
                <a:gd name="connsiteX24" fmla="*/ 304314 w 377980"/>
                <a:gd name="connsiteY24" fmla="*/ 218589 h 377618"/>
                <a:gd name="connsiteX25" fmla="*/ 312172 w 377980"/>
                <a:gd name="connsiteY25" fmla="*/ 232858 h 377618"/>
                <a:gd name="connsiteX26" fmla="*/ 302914 w 377980"/>
                <a:gd name="connsiteY26" fmla="*/ 244364 h 377618"/>
                <a:gd name="connsiteX27" fmla="*/ 309801 w 377980"/>
                <a:gd name="connsiteY27" fmla="*/ 273310 h 377618"/>
                <a:gd name="connsiteX28" fmla="*/ 324279 w 377980"/>
                <a:gd name="connsiteY28" fmla="*/ 278016 h 377618"/>
                <a:gd name="connsiteX29" fmla="*/ 321221 w 377980"/>
                <a:gd name="connsiteY29" fmla="*/ 294056 h 377618"/>
                <a:gd name="connsiteX30" fmla="*/ 297028 w 377980"/>
                <a:gd name="connsiteY30" fmla="*/ 314754 h 377618"/>
                <a:gd name="connsiteX31" fmla="*/ 244354 w 377980"/>
                <a:gd name="connsiteY31" fmla="*/ 304857 h 377618"/>
                <a:gd name="connsiteX32" fmla="*/ 205464 w 377980"/>
                <a:gd name="connsiteY32" fmla="*/ 316706 h 377618"/>
                <a:gd name="connsiteX33" fmla="*/ 202406 w 377980"/>
                <a:gd name="connsiteY33" fmla="*/ 338537 h 377618"/>
                <a:gd name="connsiteX34" fmla="*/ 171450 w 377980"/>
                <a:gd name="connsiteY34" fmla="*/ 343205 h 377618"/>
                <a:gd name="connsiteX35" fmla="*/ 141399 w 377980"/>
                <a:gd name="connsiteY35" fmla="*/ 326860 h 377618"/>
                <a:gd name="connsiteX36" fmla="*/ 131683 w 377980"/>
                <a:gd name="connsiteY36" fmla="*/ 334680 h 377618"/>
                <a:gd name="connsiteX37" fmla="*/ 82525 w 377980"/>
                <a:gd name="connsiteY37" fmla="*/ 318202 h 377618"/>
                <a:gd name="connsiteX38" fmla="*/ 71876 w 377980"/>
                <a:gd name="connsiteY38" fmla="*/ 304000 h 377618"/>
                <a:gd name="connsiteX39" fmla="*/ 85687 w 377980"/>
                <a:gd name="connsiteY39" fmla="*/ 281912 h 377618"/>
                <a:gd name="connsiteX40" fmla="*/ 90773 w 377980"/>
                <a:gd name="connsiteY40" fmla="*/ 206883 h 377618"/>
                <a:gd name="connsiteX41" fmla="*/ 63208 w 377980"/>
                <a:gd name="connsiteY41" fmla="*/ 166268 h 377618"/>
                <a:gd name="connsiteX42" fmla="*/ 43510 w 377980"/>
                <a:gd name="connsiteY42" fmla="*/ 146399 h 377618"/>
                <a:gd name="connsiteX43" fmla="*/ 2695 w 377980"/>
                <a:gd name="connsiteY43" fmla="*/ 131169 h 377618"/>
                <a:gd name="connsiteX44" fmla="*/ 0 w 377980"/>
                <a:gd name="connsiteY44" fmla="*/ 101965 h 377618"/>
                <a:gd name="connsiteX45" fmla="*/ 34633 w 377980"/>
                <a:gd name="connsiteY45" fmla="*/ 93174 h 377618"/>
                <a:gd name="connsiteX46" fmla="*/ 79477 w 377980"/>
                <a:gd name="connsiteY46" fmla="*/ 103565 h 377618"/>
                <a:gd name="connsiteX47" fmla="*/ 71009 w 377980"/>
                <a:gd name="connsiteY47" fmla="*/ 57417 h 377618"/>
                <a:gd name="connsiteX48" fmla="*/ 96221 w 377980"/>
                <a:gd name="connsiteY48" fmla="*/ 75029 h 377618"/>
                <a:gd name="connsiteX49" fmla="*/ 158401 w 377980"/>
                <a:gd name="connsiteY49" fmla="*/ 42891 h 377618"/>
                <a:gd name="connsiteX50" fmla="*/ 166421 w 377980"/>
                <a:gd name="connsiteY50" fmla="*/ 8554 h 377618"/>
                <a:gd name="connsiteX51" fmla="*/ 189776 w 377980"/>
                <a:gd name="connsiteY51" fmla="*/ 0 h 377618"/>
                <a:gd name="connsiteX52" fmla="*/ 193643 w 377980"/>
                <a:gd name="connsiteY52" fmla="*/ 14878 h 377618"/>
                <a:gd name="connsiteX53" fmla="*/ 206054 w 377980"/>
                <a:gd name="connsiteY53" fmla="*/ 15573 h 377618"/>
                <a:gd name="connsiteX54" fmla="*/ 218484 w 377980"/>
                <a:gd name="connsiteY54" fmla="*/ 32404 h 37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77980" h="377618">
                  <a:moveTo>
                    <a:pt x="377981" y="350063"/>
                  </a:moveTo>
                  <a:lnTo>
                    <a:pt x="369160" y="377619"/>
                  </a:lnTo>
                  <a:lnTo>
                    <a:pt x="357035" y="370389"/>
                  </a:lnTo>
                  <a:lnTo>
                    <a:pt x="350853" y="346329"/>
                  </a:lnTo>
                  <a:lnTo>
                    <a:pt x="356245" y="332927"/>
                  </a:lnTo>
                  <a:lnTo>
                    <a:pt x="373447" y="319069"/>
                  </a:lnTo>
                  <a:lnTo>
                    <a:pt x="377981" y="350063"/>
                  </a:lnTo>
                  <a:close/>
                  <a:moveTo>
                    <a:pt x="218484" y="32404"/>
                  </a:moveTo>
                  <a:lnTo>
                    <a:pt x="237125" y="51997"/>
                  </a:lnTo>
                  <a:lnTo>
                    <a:pt x="250831" y="48778"/>
                  </a:lnTo>
                  <a:lnTo>
                    <a:pt x="274196" y="67570"/>
                  </a:lnTo>
                  <a:lnTo>
                    <a:pt x="280168" y="71133"/>
                  </a:lnTo>
                  <a:lnTo>
                    <a:pt x="287874" y="70266"/>
                  </a:lnTo>
                  <a:lnTo>
                    <a:pt x="300476" y="80963"/>
                  </a:lnTo>
                  <a:lnTo>
                    <a:pt x="338957" y="88459"/>
                  </a:lnTo>
                  <a:lnTo>
                    <a:pt x="325460" y="116072"/>
                  </a:lnTo>
                  <a:lnTo>
                    <a:pt x="322069" y="144409"/>
                  </a:lnTo>
                  <a:lnTo>
                    <a:pt x="314735" y="151143"/>
                  </a:lnTo>
                  <a:lnTo>
                    <a:pt x="302562" y="147514"/>
                  </a:lnTo>
                  <a:lnTo>
                    <a:pt x="303419" y="157515"/>
                  </a:lnTo>
                  <a:lnTo>
                    <a:pt x="283883" y="179451"/>
                  </a:lnTo>
                  <a:lnTo>
                    <a:pt x="283493" y="196958"/>
                  </a:lnTo>
                  <a:lnTo>
                    <a:pt x="296246" y="190919"/>
                  </a:lnTo>
                  <a:lnTo>
                    <a:pt x="305419" y="207788"/>
                  </a:lnTo>
                  <a:lnTo>
                    <a:pt x="304314" y="218589"/>
                  </a:lnTo>
                  <a:lnTo>
                    <a:pt x="312172" y="232858"/>
                  </a:lnTo>
                  <a:lnTo>
                    <a:pt x="302914" y="244364"/>
                  </a:lnTo>
                  <a:lnTo>
                    <a:pt x="309801" y="273310"/>
                  </a:lnTo>
                  <a:lnTo>
                    <a:pt x="324279" y="278016"/>
                  </a:lnTo>
                  <a:lnTo>
                    <a:pt x="321221" y="294056"/>
                  </a:lnTo>
                  <a:lnTo>
                    <a:pt x="297028" y="314754"/>
                  </a:lnTo>
                  <a:lnTo>
                    <a:pt x="244354" y="304857"/>
                  </a:lnTo>
                  <a:lnTo>
                    <a:pt x="205464" y="316706"/>
                  </a:lnTo>
                  <a:lnTo>
                    <a:pt x="202406" y="338537"/>
                  </a:lnTo>
                  <a:lnTo>
                    <a:pt x="171450" y="343205"/>
                  </a:lnTo>
                  <a:lnTo>
                    <a:pt x="141399" y="326860"/>
                  </a:lnTo>
                  <a:lnTo>
                    <a:pt x="131683" y="334680"/>
                  </a:lnTo>
                  <a:lnTo>
                    <a:pt x="82525" y="318202"/>
                  </a:lnTo>
                  <a:lnTo>
                    <a:pt x="71876" y="304000"/>
                  </a:lnTo>
                  <a:lnTo>
                    <a:pt x="85687" y="281912"/>
                  </a:lnTo>
                  <a:lnTo>
                    <a:pt x="90773" y="206883"/>
                  </a:lnTo>
                  <a:lnTo>
                    <a:pt x="63208" y="166268"/>
                  </a:lnTo>
                  <a:lnTo>
                    <a:pt x="43510" y="146399"/>
                  </a:lnTo>
                  <a:lnTo>
                    <a:pt x="2695" y="131169"/>
                  </a:lnTo>
                  <a:lnTo>
                    <a:pt x="0" y="101965"/>
                  </a:lnTo>
                  <a:lnTo>
                    <a:pt x="34633" y="93174"/>
                  </a:lnTo>
                  <a:lnTo>
                    <a:pt x="79477" y="103565"/>
                  </a:lnTo>
                  <a:lnTo>
                    <a:pt x="71009" y="57417"/>
                  </a:lnTo>
                  <a:lnTo>
                    <a:pt x="96221" y="75029"/>
                  </a:lnTo>
                  <a:lnTo>
                    <a:pt x="158401" y="42891"/>
                  </a:lnTo>
                  <a:lnTo>
                    <a:pt x="166421" y="8554"/>
                  </a:lnTo>
                  <a:lnTo>
                    <a:pt x="189776" y="0"/>
                  </a:lnTo>
                  <a:lnTo>
                    <a:pt x="193643" y="14878"/>
                  </a:lnTo>
                  <a:lnTo>
                    <a:pt x="206054" y="15573"/>
                  </a:lnTo>
                  <a:lnTo>
                    <a:pt x="218484" y="32404"/>
                  </a:lnTo>
                  <a:close/>
                </a:path>
              </a:pathLst>
            </a:custGeom>
            <a:gradFill>
              <a:gsLst>
                <a:gs pos="14000">
                  <a:srgbClr val="8B1D82"/>
                </a:gs>
                <a:gs pos="0">
                  <a:srgbClr val="4D1D82"/>
                </a:gs>
                <a:gs pos="50000">
                  <a:srgbClr val="CF022B"/>
                </a:gs>
                <a:gs pos="100000">
                  <a:srgbClr val="F07D00"/>
                </a:gs>
              </a:gsLst>
              <a:lin ang="2400000" scaled="0"/>
            </a:gra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EEEEED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186" name="Forme libre : forme 5705">
              <a:extLst>
                <a:ext uri="{FF2B5EF4-FFF2-40B4-BE49-F238E27FC236}">
                  <a16:creationId xmlns:a16="http://schemas.microsoft.com/office/drawing/2014/main" id="{37B73D70-5E5A-E3DC-7BCA-E4E9E26CA497}"/>
                </a:ext>
              </a:extLst>
            </p:cNvPr>
            <p:cNvSpPr/>
            <p:nvPr/>
          </p:nvSpPr>
          <p:spPr>
            <a:xfrm>
              <a:off x="6055861" y="4680913"/>
              <a:ext cx="150295" cy="167382"/>
            </a:xfrm>
            <a:custGeom>
              <a:avLst/>
              <a:gdLst>
                <a:gd name="connsiteX0" fmla="*/ 61313 w 150295"/>
                <a:gd name="connsiteY0" fmla="*/ 167383 h 167382"/>
                <a:gd name="connsiteX1" fmla="*/ 33871 w 150295"/>
                <a:gd name="connsiteY1" fmla="*/ 140551 h 167382"/>
                <a:gd name="connsiteX2" fmla="*/ 16221 w 150295"/>
                <a:gd name="connsiteY2" fmla="*/ 118634 h 167382"/>
                <a:gd name="connsiteX3" fmla="*/ 0 w 150295"/>
                <a:gd name="connsiteY3" fmla="*/ 91221 h 167382"/>
                <a:gd name="connsiteX4" fmla="*/ 857 w 150295"/>
                <a:gd name="connsiteY4" fmla="*/ 82410 h 167382"/>
                <a:gd name="connsiteX5" fmla="*/ 6696 w 150295"/>
                <a:gd name="connsiteY5" fmla="*/ 73933 h 167382"/>
                <a:gd name="connsiteX6" fmla="*/ 13183 w 150295"/>
                <a:gd name="connsiteY6" fmla="*/ 54616 h 167382"/>
                <a:gd name="connsiteX7" fmla="*/ 18564 w 150295"/>
                <a:gd name="connsiteY7" fmla="*/ 34947 h 167382"/>
                <a:gd name="connsiteX8" fmla="*/ 27565 w 150295"/>
                <a:gd name="connsiteY8" fmla="*/ 33414 h 167382"/>
                <a:gd name="connsiteX9" fmla="*/ 66427 w 150295"/>
                <a:gd name="connsiteY9" fmla="*/ 33680 h 167382"/>
                <a:gd name="connsiteX10" fmla="*/ 66199 w 150295"/>
                <a:gd name="connsiteY10" fmla="*/ 1743 h 167382"/>
                <a:gd name="connsiteX11" fmla="*/ 78886 w 150295"/>
                <a:gd name="connsiteY11" fmla="*/ 0 h 167382"/>
                <a:gd name="connsiteX12" fmla="*/ 95117 w 150295"/>
                <a:gd name="connsiteY12" fmla="*/ 3553 h 167382"/>
                <a:gd name="connsiteX13" fmla="*/ 110919 w 150295"/>
                <a:gd name="connsiteY13" fmla="*/ 133 h 167382"/>
                <a:gd name="connsiteX14" fmla="*/ 114252 w 150295"/>
                <a:gd name="connsiteY14" fmla="*/ 1581 h 167382"/>
                <a:gd name="connsiteX15" fmla="*/ 112309 w 150295"/>
                <a:gd name="connsiteY15" fmla="*/ 13163 h 167382"/>
                <a:gd name="connsiteX16" fmla="*/ 119777 w 150295"/>
                <a:gd name="connsiteY16" fmla="*/ 26879 h 167382"/>
                <a:gd name="connsiteX17" fmla="*/ 139646 w 150295"/>
                <a:gd name="connsiteY17" fmla="*/ 24717 h 167382"/>
                <a:gd name="connsiteX18" fmla="*/ 146304 w 150295"/>
                <a:gd name="connsiteY18" fmla="*/ 29985 h 167382"/>
                <a:gd name="connsiteX19" fmla="*/ 134741 w 150295"/>
                <a:gd name="connsiteY19" fmla="*/ 60712 h 167382"/>
                <a:gd name="connsiteX20" fmla="*/ 147380 w 150295"/>
                <a:gd name="connsiteY20" fmla="*/ 76400 h 167382"/>
                <a:gd name="connsiteX21" fmla="*/ 150295 w 150295"/>
                <a:gd name="connsiteY21" fmla="*/ 97117 h 167382"/>
                <a:gd name="connsiteX22" fmla="*/ 146923 w 150295"/>
                <a:gd name="connsiteY22" fmla="*/ 114767 h 167382"/>
                <a:gd name="connsiteX23" fmla="*/ 138722 w 150295"/>
                <a:gd name="connsiteY23" fmla="*/ 127311 h 167382"/>
                <a:gd name="connsiteX24" fmla="*/ 115148 w 150295"/>
                <a:gd name="connsiteY24" fmla="*/ 126187 h 167382"/>
                <a:gd name="connsiteX25" fmla="*/ 100879 w 150295"/>
                <a:gd name="connsiteY25" fmla="*/ 113442 h 167382"/>
                <a:gd name="connsiteX26" fmla="*/ 98755 w 150295"/>
                <a:gd name="connsiteY26" fmla="*/ 125206 h 167382"/>
                <a:gd name="connsiteX27" fmla="*/ 80734 w 150295"/>
                <a:gd name="connsiteY27" fmla="*/ 128464 h 167382"/>
                <a:gd name="connsiteX28" fmla="*/ 71581 w 150295"/>
                <a:gd name="connsiteY28" fmla="*/ 135141 h 167382"/>
                <a:gd name="connsiteX29" fmla="*/ 81649 w 150295"/>
                <a:gd name="connsiteY29" fmla="*/ 152705 h 167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0295" h="167382">
                  <a:moveTo>
                    <a:pt x="61313" y="167383"/>
                  </a:moveTo>
                  <a:lnTo>
                    <a:pt x="33871" y="140551"/>
                  </a:lnTo>
                  <a:lnTo>
                    <a:pt x="16221" y="118634"/>
                  </a:lnTo>
                  <a:lnTo>
                    <a:pt x="0" y="91221"/>
                  </a:lnTo>
                  <a:lnTo>
                    <a:pt x="857" y="82410"/>
                  </a:lnTo>
                  <a:lnTo>
                    <a:pt x="6696" y="73933"/>
                  </a:lnTo>
                  <a:lnTo>
                    <a:pt x="13183" y="54616"/>
                  </a:lnTo>
                  <a:lnTo>
                    <a:pt x="18564" y="34947"/>
                  </a:lnTo>
                  <a:lnTo>
                    <a:pt x="27565" y="33414"/>
                  </a:lnTo>
                  <a:lnTo>
                    <a:pt x="66427" y="33680"/>
                  </a:lnTo>
                  <a:lnTo>
                    <a:pt x="66199" y="1743"/>
                  </a:lnTo>
                  <a:lnTo>
                    <a:pt x="78886" y="0"/>
                  </a:lnTo>
                  <a:lnTo>
                    <a:pt x="95117" y="3553"/>
                  </a:lnTo>
                  <a:lnTo>
                    <a:pt x="110919" y="133"/>
                  </a:lnTo>
                  <a:lnTo>
                    <a:pt x="114252" y="1581"/>
                  </a:lnTo>
                  <a:lnTo>
                    <a:pt x="112309" y="13163"/>
                  </a:lnTo>
                  <a:lnTo>
                    <a:pt x="119777" y="26879"/>
                  </a:lnTo>
                  <a:lnTo>
                    <a:pt x="139646" y="24717"/>
                  </a:lnTo>
                  <a:lnTo>
                    <a:pt x="146304" y="29985"/>
                  </a:lnTo>
                  <a:lnTo>
                    <a:pt x="134741" y="60712"/>
                  </a:lnTo>
                  <a:lnTo>
                    <a:pt x="147380" y="76400"/>
                  </a:lnTo>
                  <a:lnTo>
                    <a:pt x="150295" y="97117"/>
                  </a:lnTo>
                  <a:lnTo>
                    <a:pt x="146923" y="114767"/>
                  </a:lnTo>
                  <a:lnTo>
                    <a:pt x="138722" y="127311"/>
                  </a:lnTo>
                  <a:lnTo>
                    <a:pt x="115148" y="126187"/>
                  </a:lnTo>
                  <a:lnTo>
                    <a:pt x="100879" y="113442"/>
                  </a:lnTo>
                  <a:lnTo>
                    <a:pt x="98755" y="125206"/>
                  </a:lnTo>
                  <a:lnTo>
                    <a:pt x="80734" y="128464"/>
                  </a:lnTo>
                  <a:lnTo>
                    <a:pt x="71581" y="135141"/>
                  </a:lnTo>
                  <a:lnTo>
                    <a:pt x="81649" y="1527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87" name="Forme libre : forme 5706">
              <a:extLst>
                <a:ext uri="{FF2B5EF4-FFF2-40B4-BE49-F238E27FC236}">
                  <a16:creationId xmlns:a16="http://schemas.microsoft.com/office/drawing/2014/main" id="{AA5EBC4B-27E0-53F2-AEF5-B2F70CAEC090}"/>
                </a:ext>
              </a:extLst>
            </p:cNvPr>
            <p:cNvSpPr/>
            <p:nvPr/>
          </p:nvSpPr>
          <p:spPr>
            <a:xfrm>
              <a:off x="5618673" y="2807688"/>
              <a:ext cx="247116" cy="397944"/>
            </a:xfrm>
            <a:custGeom>
              <a:avLst/>
              <a:gdLst>
                <a:gd name="connsiteX0" fmla="*/ 51016 w 247116"/>
                <a:gd name="connsiteY0" fmla="*/ 197758 h 397944"/>
                <a:gd name="connsiteX1" fmla="*/ 36700 w 247116"/>
                <a:gd name="connsiteY1" fmla="*/ 229067 h 397944"/>
                <a:gd name="connsiteX2" fmla="*/ 16516 w 247116"/>
                <a:gd name="connsiteY2" fmla="*/ 219732 h 397944"/>
                <a:gd name="connsiteX3" fmla="*/ 0 w 247116"/>
                <a:gd name="connsiteY3" fmla="*/ 220351 h 397944"/>
                <a:gd name="connsiteX4" fmla="*/ 5505 w 247116"/>
                <a:gd name="connsiteY4" fmla="*/ 195862 h 397944"/>
                <a:gd name="connsiteX5" fmla="*/ 0 w 247116"/>
                <a:gd name="connsiteY5" fmla="*/ 171059 h 397944"/>
                <a:gd name="connsiteX6" fmla="*/ 22393 w 247116"/>
                <a:gd name="connsiteY6" fmla="*/ 169135 h 397944"/>
                <a:gd name="connsiteX7" fmla="*/ 51016 w 247116"/>
                <a:gd name="connsiteY7" fmla="*/ 197758 h 397944"/>
                <a:gd name="connsiteX8" fmla="*/ 121968 w 247116"/>
                <a:gd name="connsiteY8" fmla="*/ 0 h 397944"/>
                <a:gd name="connsiteX9" fmla="*/ 93421 w 247116"/>
                <a:gd name="connsiteY9" fmla="*/ 54568 h 397944"/>
                <a:gd name="connsiteX10" fmla="*/ 120625 w 247116"/>
                <a:gd name="connsiteY10" fmla="*/ 47749 h 397944"/>
                <a:gd name="connsiteX11" fmla="*/ 149885 w 247116"/>
                <a:gd name="connsiteY11" fmla="*/ 48006 h 397944"/>
                <a:gd name="connsiteX12" fmla="*/ 142923 w 247116"/>
                <a:gd name="connsiteY12" fmla="*/ 88182 h 397944"/>
                <a:gd name="connsiteX13" fmla="*/ 118910 w 247116"/>
                <a:gd name="connsiteY13" fmla="*/ 131378 h 397944"/>
                <a:gd name="connsiteX14" fmla="*/ 146523 w 247116"/>
                <a:gd name="connsiteY14" fmla="*/ 134407 h 397944"/>
                <a:gd name="connsiteX15" fmla="*/ 148647 w 247116"/>
                <a:gd name="connsiteY15" fmla="*/ 139398 h 397944"/>
                <a:gd name="connsiteX16" fmla="*/ 172431 w 247116"/>
                <a:gd name="connsiteY16" fmla="*/ 194520 h 397944"/>
                <a:gd name="connsiteX17" fmla="*/ 190710 w 247116"/>
                <a:gd name="connsiteY17" fmla="*/ 201892 h 397944"/>
                <a:gd name="connsiteX18" fmla="*/ 207150 w 247116"/>
                <a:gd name="connsiteY18" fmla="*/ 253412 h 397944"/>
                <a:gd name="connsiteX19" fmla="*/ 214760 w 247116"/>
                <a:gd name="connsiteY19" fmla="*/ 270948 h 397944"/>
                <a:gd name="connsiteX20" fmla="*/ 247117 w 247116"/>
                <a:gd name="connsiteY20" fmla="*/ 279349 h 397944"/>
                <a:gd name="connsiteX21" fmla="*/ 243869 w 247116"/>
                <a:gd name="connsiteY21" fmla="*/ 307286 h 397944"/>
                <a:gd name="connsiteX22" fmla="*/ 230267 w 247116"/>
                <a:gd name="connsiteY22" fmla="*/ 319964 h 397944"/>
                <a:gd name="connsiteX23" fmla="*/ 240935 w 247116"/>
                <a:gd name="connsiteY23" fmla="*/ 342128 h 397944"/>
                <a:gd name="connsiteX24" fmla="*/ 216913 w 247116"/>
                <a:gd name="connsiteY24" fmla="*/ 364302 h 397944"/>
                <a:gd name="connsiteX25" fmla="*/ 181185 w 247116"/>
                <a:gd name="connsiteY25" fmla="*/ 363912 h 397944"/>
                <a:gd name="connsiteX26" fmla="*/ 135722 w 247116"/>
                <a:gd name="connsiteY26" fmla="*/ 375456 h 397944"/>
                <a:gd name="connsiteX27" fmla="*/ 123263 w 247116"/>
                <a:gd name="connsiteY27" fmla="*/ 367198 h 397944"/>
                <a:gd name="connsiteX28" fmla="*/ 105604 w 247116"/>
                <a:gd name="connsiteY28" fmla="*/ 386801 h 397944"/>
                <a:gd name="connsiteX29" fmla="*/ 80896 w 247116"/>
                <a:gd name="connsiteY29" fmla="*/ 382067 h 397944"/>
                <a:gd name="connsiteX30" fmla="*/ 62132 w 247116"/>
                <a:gd name="connsiteY30" fmla="*/ 397945 h 397944"/>
                <a:gd name="connsiteX31" fmla="*/ 47930 w 247116"/>
                <a:gd name="connsiteY31" fmla="*/ 389658 h 397944"/>
                <a:gd name="connsiteX32" fmla="*/ 87096 w 247116"/>
                <a:gd name="connsiteY32" fmla="*/ 345500 h 397944"/>
                <a:gd name="connsiteX33" fmla="*/ 111004 w 247116"/>
                <a:gd name="connsiteY33" fmla="*/ 336299 h 397944"/>
                <a:gd name="connsiteX34" fmla="*/ 110795 w 247116"/>
                <a:gd name="connsiteY34" fmla="*/ 336261 h 397944"/>
                <a:gd name="connsiteX35" fmla="*/ 69085 w 247116"/>
                <a:gd name="connsiteY35" fmla="*/ 329127 h 397944"/>
                <a:gd name="connsiteX36" fmla="*/ 61531 w 247116"/>
                <a:gd name="connsiteY36" fmla="*/ 311991 h 397944"/>
                <a:gd name="connsiteX37" fmla="*/ 89440 w 247116"/>
                <a:gd name="connsiteY37" fmla="*/ 298532 h 397944"/>
                <a:gd name="connsiteX38" fmla="*/ 74809 w 247116"/>
                <a:gd name="connsiteY38" fmla="*/ 274920 h 397944"/>
                <a:gd name="connsiteX39" fmla="*/ 79886 w 247116"/>
                <a:gd name="connsiteY39" fmla="*/ 245811 h 397944"/>
                <a:gd name="connsiteX40" fmla="*/ 119577 w 247116"/>
                <a:gd name="connsiteY40" fmla="*/ 249860 h 397944"/>
                <a:gd name="connsiteX41" fmla="*/ 119624 w 247116"/>
                <a:gd name="connsiteY41" fmla="*/ 249860 h 397944"/>
                <a:gd name="connsiteX42" fmla="*/ 123558 w 247116"/>
                <a:gd name="connsiteY42" fmla="*/ 223733 h 397944"/>
                <a:gd name="connsiteX43" fmla="*/ 105670 w 247116"/>
                <a:gd name="connsiteY43" fmla="*/ 195615 h 397944"/>
                <a:gd name="connsiteX44" fmla="*/ 105270 w 247116"/>
                <a:gd name="connsiteY44" fmla="*/ 194967 h 397944"/>
                <a:gd name="connsiteX45" fmla="*/ 72838 w 247116"/>
                <a:gd name="connsiteY45" fmla="*/ 186852 h 397944"/>
                <a:gd name="connsiteX46" fmla="*/ 66475 w 247116"/>
                <a:gd name="connsiteY46" fmla="*/ 174298 h 397944"/>
                <a:gd name="connsiteX47" fmla="*/ 76181 w 247116"/>
                <a:gd name="connsiteY47" fmla="*/ 153390 h 397944"/>
                <a:gd name="connsiteX48" fmla="*/ 67399 w 247116"/>
                <a:gd name="connsiteY48" fmla="*/ 140379 h 397944"/>
                <a:gd name="connsiteX49" fmla="*/ 53016 w 247116"/>
                <a:gd name="connsiteY49" fmla="*/ 162649 h 397944"/>
                <a:gd name="connsiteX50" fmla="*/ 51454 w 247116"/>
                <a:gd name="connsiteY50" fmla="*/ 116957 h 397944"/>
                <a:gd name="connsiteX51" fmla="*/ 37967 w 247116"/>
                <a:gd name="connsiteY51" fmla="*/ 92316 h 397944"/>
                <a:gd name="connsiteX52" fmla="*/ 47663 w 247116"/>
                <a:gd name="connsiteY52" fmla="*/ 41300 h 397944"/>
                <a:gd name="connsiteX53" fmla="*/ 68409 w 247116"/>
                <a:gd name="connsiteY53" fmla="*/ 238 h 397944"/>
                <a:gd name="connsiteX54" fmla="*/ 89735 w 247116"/>
                <a:gd name="connsiteY54" fmla="*/ 4286 h 397944"/>
                <a:gd name="connsiteX55" fmla="*/ 121968 w 247116"/>
                <a:gd name="connsiteY55" fmla="*/ 0 h 397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47116" h="397944">
                  <a:moveTo>
                    <a:pt x="51016" y="197758"/>
                  </a:moveTo>
                  <a:lnTo>
                    <a:pt x="36700" y="229067"/>
                  </a:lnTo>
                  <a:lnTo>
                    <a:pt x="16516" y="219732"/>
                  </a:lnTo>
                  <a:lnTo>
                    <a:pt x="0" y="220351"/>
                  </a:lnTo>
                  <a:lnTo>
                    <a:pt x="5505" y="195862"/>
                  </a:lnTo>
                  <a:lnTo>
                    <a:pt x="0" y="171059"/>
                  </a:lnTo>
                  <a:lnTo>
                    <a:pt x="22393" y="169135"/>
                  </a:lnTo>
                  <a:lnTo>
                    <a:pt x="51016" y="197758"/>
                  </a:lnTo>
                  <a:close/>
                  <a:moveTo>
                    <a:pt x="121968" y="0"/>
                  </a:moveTo>
                  <a:lnTo>
                    <a:pt x="93421" y="54568"/>
                  </a:lnTo>
                  <a:lnTo>
                    <a:pt x="120625" y="47749"/>
                  </a:lnTo>
                  <a:lnTo>
                    <a:pt x="149885" y="48006"/>
                  </a:lnTo>
                  <a:lnTo>
                    <a:pt x="142923" y="88182"/>
                  </a:lnTo>
                  <a:lnTo>
                    <a:pt x="118910" y="131378"/>
                  </a:lnTo>
                  <a:lnTo>
                    <a:pt x="146523" y="134407"/>
                  </a:lnTo>
                  <a:lnTo>
                    <a:pt x="148647" y="139398"/>
                  </a:lnTo>
                  <a:lnTo>
                    <a:pt x="172431" y="194520"/>
                  </a:lnTo>
                  <a:lnTo>
                    <a:pt x="190710" y="201892"/>
                  </a:lnTo>
                  <a:lnTo>
                    <a:pt x="207150" y="253412"/>
                  </a:lnTo>
                  <a:lnTo>
                    <a:pt x="214760" y="270948"/>
                  </a:lnTo>
                  <a:lnTo>
                    <a:pt x="247117" y="279349"/>
                  </a:lnTo>
                  <a:lnTo>
                    <a:pt x="243869" y="307286"/>
                  </a:lnTo>
                  <a:lnTo>
                    <a:pt x="230267" y="319964"/>
                  </a:lnTo>
                  <a:lnTo>
                    <a:pt x="240935" y="342128"/>
                  </a:lnTo>
                  <a:lnTo>
                    <a:pt x="216913" y="364302"/>
                  </a:lnTo>
                  <a:lnTo>
                    <a:pt x="181185" y="363912"/>
                  </a:lnTo>
                  <a:lnTo>
                    <a:pt x="135722" y="375456"/>
                  </a:lnTo>
                  <a:lnTo>
                    <a:pt x="123263" y="367198"/>
                  </a:lnTo>
                  <a:lnTo>
                    <a:pt x="105604" y="386801"/>
                  </a:lnTo>
                  <a:lnTo>
                    <a:pt x="80896" y="382067"/>
                  </a:lnTo>
                  <a:lnTo>
                    <a:pt x="62132" y="397945"/>
                  </a:lnTo>
                  <a:lnTo>
                    <a:pt x="47930" y="389658"/>
                  </a:lnTo>
                  <a:lnTo>
                    <a:pt x="87096" y="345500"/>
                  </a:lnTo>
                  <a:lnTo>
                    <a:pt x="111004" y="336299"/>
                  </a:lnTo>
                  <a:lnTo>
                    <a:pt x="110795" y="336261"/>
                  </a:lnTo>
                  <a:lnTo>
                    <a:pt x="69085" y="329127"/>
                  </a:lnTo>
                  <a:lnTo>
                    <a:pt x="61531" y="311991"/>
                  </a:lnTo>
                  <a:lnTo>
                    <a:pt x="89440" y="298532"/>
                  </a:lnTo>
                  <a:lnTo>
                    <a:pt x="74809" y="274920"/>
                  </a:lnTo>
                  <a:lnTo>
                    <a:pt x="79886" y="245811"/>
                  </a:lnTo>
                  <a:lnTo>
                    <a:pt x="119577" y="249860"/>
                  </a:lnTo>
                  <a:lnTo>
                    <a:pt x="119624" y="249860"/>
                  </a:lnTo>
                  <a:lnTo>
                    <a:pt x="123558" y="223733"/>
                  </a:lnTo>
                  <a:lnTo>
                    <a:pt x="105670" y="195615"/>
                  </a:lnTo>
                  <a:lnTo>
                    <a:pt x="105270" y="194967"/>
                  </a:lnTo>
                  <a:lnTo>
                    <a:pt x="72838" y="186852"/>
                  </a:lnTo>
                  <a:lnTo>
                    <a:pt x="66475" y="174298"/>
                  </a:lnTo>
                  <a:lnTo>
                    <a:pt x="76181" y="153390"/>
                  </a:lnTo>
                  <a:lnTo>
                    <a:pt x="67399" y="140379"/>
                  </a:lnTo>
                  <a:lnTo>
                    <a:pt x="53016" y="162649"/>
                  </a:lnTo>
                  <a:lnTo>
                    <a:pt x="51454" y="116957"/>
                  </a:lnTo>
                  <a:lnTo>
                    <a:pt x="37967" y="92316"/>
                  </a:lnTo>
                  <a:lnTo>
                    <a:pt x="47663" y="41300"/>
                  </a:lnTo>
                  <a:lnTo>
                    <a:pt x="68409" y="238"/>
                  </a:lnTo>
                  <a:lnTo>
                    <a:pt x="89735" y="4286"/>
                  </a:lnTo>
                  <a:lnTo>
                    <a:pt x="121968" y="0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88" name="Forme libre : forme 5707">
              <a:extLst>
                <a:ext uri="{FF2B5EF4-FFF2-40B4-BE49-F238E27FC236}">
                  <a16:creationId xmlns:a16="http://schemas.microsoft.com/office/drawing/2014/main" id="{236B12F8-6A0B-2090-BC39-C1C5249D8F27}"/>
                </a:ext>
              </a:extLst>
            </p:cNvPr>
            <p:cNvSpPr/>
            <p:nvPr/>
          </p:nvSpPr>
          <p:spPr>
            <a:xfrm>
              <a:off x="6887965" y="3455036"/>
              <a:ext cx="178479" cy="89554"/>
            </a:xfrm>
            <a:custGeom>
              <a:avLst/>
              <a:gdLst>
                <a:gd name="connsiteX0" fmla="*/ 42710 w 178479"/>
                <a:gd name="connsiteY0" fmla="*/ 72876 h 89554"/>
                <a:gd name="connsiteX1" fmla="*/ 46691 w 178479"/>
                <a:gd name="connsiteY1" fmla="*/ 57636 h 89554"/>
                <a:gd name="connsiteX2" fmla="*/ 40014 w 178479"/>
                <a:gd name="connsiteY2" fmla="*/ 33090 h 89554"/>
                <a:gd name="connsiteX3" fmla="*/ 24584 w 178479"/>
                <a:gd name="connsiteY3" fmla="*/ 19717 h 89554"/>
                <a:gd name="connsiteX4" fmla="*/ 9782 w 178479"/>
                <a:gd name="connsiteY4" fmla="*/ 15535 h 89554"/>
                <a:gd name="connsiteX5" fmla="*/ 0 w 178479"/>
                <a:gd name="connsiteY5" fmla="*/ 4334 h 89554"/>
                <a:gd name="connsiteX6" fmla="*/ 3257 w 178479"/>
                <a:gd name="connsiteY6" fmla="*/ 0 h 89554"/>
                <a:gd name="connsiteX7" fmla="*/ 25832 w 178479"/>
                <a:gd name="connsiteY7" fmla="*/ 6267 h 89554"/>
                <a:gd name="connsiteX8" fmla="*/ 65151 w 178479"/>
                <a:gd name="connsiteY8" fmla="*/ 12182 h 89554"/>
                <a:gd name="connsiteX9" fmla="*/ 101508 w 178479"/>
                <a:gd name="connsiteY9" fmla="*/ 29632 h 89554"/>
                <a:gd name="connsiteX10" fmla="*/ 106194 w 178479"/>
                <a:gd name="connsiteY10" fmla="*/ 36357 h 89554"/>
                <a:gd name="connsiteX11" fmla="*/ 122387 w 178479"/>
                <a:gd name="connsiteY11" fmla="*/ 30671 h 89554"/>
                <a:gd name="connsiteX12" fmla="*/ 147295 w 178479"/>
                <a:gd name="connsiteY12" fmla="*/ 38233 h 89554"/>
                <a:gd name="connsiteX13" fmla="*/ 155477 w 178479"/>
                <a:gd name="connsiteY13" fmla="*/ 52997 h 89554"/>
                <a:gd name="connsiteX14" fmla="*/ 172260 w 178479"/>
                <a:gd name="connsiteY14" fmla="*/ 61293 h 89554"/>
                <a:gd name="connsiteX15" fmla="*/ 165325 w 178479"/>
                <a:gd name="connsiteY15" fmla="*/ 66208 h 89554"/>
                <a:gd name="connsiteX16" fmla="*/ 178479 w 178479"/>
                <a:gd name="connsiteY16" fmla="*/ 85420 h 89554"/>
                <a:gd name="connsiteX17" fmla="*/ 174841 w 178479"/>
                <a:gd name="connsiteY17" fmla="*/ 89554 h 89554"/>
                <a:gd name="connsiteX18" fmla="*/ 160439 w 178479"/>
                <a:gd name="connsiteY18" fmla="*/ 87459 h 89554"/>
                <a:gd name="connsiteX19" fmla="*/ 140541 w 178479"/>
                <a:gd name="connsiteY19" fmla="*/ 77286 h 89554"/>
                <a:gd name="connsiteX20" fmla="*/ 133998 w 178479"/>
                <a:gd name="connsiteY20" fmla="*/ 83068 h 89554"/>
                <a:gd name="connsiteX21" fmla="*/ 96888 w 178479"/>
                <a:gd name="connsiteY21" fmla="*/ 88583 h 89554"/>
                <a:gd name="connsiteX22" fmla="*/ 71161 w 178479"/>
                <a:gd name="connsiteY22" fmla="*/ 71180 h 89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8479" h="89554">
                  <a:moveTo>
                    <a:pt x="42710" y="72876"/>
                  </a:moveTo>
                  <a:lnTo>
                    <a:pt x="46691" y="57636"/>
                  </a:lnTo>
                  <a:lnTo>
                    <a:pt x="40014" y="33090"/>
                  </a:lnTo>
                  <a:lnTo>
                    <a:pt x="24584" y="19717"/>
                  </a:lnTo>
                  <a:lnTo>
                    <a:pt x="9782" y="15535"/>
                  </a:lnTo>
                  <a:lnTo>
                    <a:pt x="0" y="4334"/>
                  </a:lnTo>
                  <a:lnTo>
                    <a:pt x="3257" y="0"/>
                  </a:lnTo>
                  <a:lnTo>
                    <a:pt x="25832" y="6267"/>
                  </a:lnTo>
                  <a:lnTo>
                    <a:pt x="65151" y="12182"/>
                  </a:lnTo>
                  <a:lnTo>
                    <a:pt x="101508" y="29632"/>
                  </a:lnTo>
                  <a:lnTo>
                    <a:pt x="106194" y="36357"/>
                  </a:lnTo>
                  <a:lnTo>
                    <a:pt x="122387" y="30671"/>
                  </a:lnTo>
                  <a:lnTo>
                    <a:pt x="147295" y="38233"/>
                  </a:lnTo>
                  <a:lnTo>
                    <a:pt x="155477" y="52997"/>
                  </a:lnTo>
                  <a:lnTo>
                    <a:pt x="172260" y="61293"/>
                  </a:lnTo>
                  <a:lnTo>
                    <a:pt x="165325" y="66208"/>
                  </a:lnTo>
                  <a:lnTo>
                    <a:pt x="178479" y="85420"/>
                  </a:lnTo>
                  <a:lnTo>
                    <a:pt x="174841" y="89554"/>
                  </a:lnTo>
                  <a:lnTo>
                    <a:pt x="160439" y="87459"/>
                  </a:lnTo>
                  <a:lnTo>
                    <a:pt x="140541" y="77286"/>
                  </a:lnTo>
                  <a:lnTo>
                    <a:pt x="133998" y="83068"/>
                  </a:lnTo>
                  <a:lnTo>
                    <a:pt x="96888" y="88583"/>
                  </a:lnTo>
                  <a:lnTo>
                    <a:pt x="71161" y="7118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89" name="Forme libre : forme 5708">
              <a:extLst>
                <a:ext uri="{FF2B5EF4-FFF2-40B4-BE49-F238E27FC236}">
                  <a16:creationId xmlns:a16="http://schemas.microsoft.com/office/drawing/2014/main" id="{22D3BC99-667A-1043-1BB5-51B23F2CF746}"/>
                </a:ext>
              </a:extLst>
            </p:cNvPr>
            <p:cNvSpPr/>
            <p:nvPr/>
          </p:nvSpPr>
          <p:spPr>
            <a:xfrm>
              <a:off x="4364726" y="4589682"/>
              <a:ext cx="76552" cy="98488"/>
            </a:xfrm>
            <a:custGeom>
              <a:avLst/>
              <a:gdLst>
                <a:gd name="connsiteX0" fmla="*/ 52569 w 76552"/>
                <a:gd name="connsiteY0" fmla="*/ 86506 h 98488"/>
                <a:gd name="connsiteX1" fmla="*/ 42329 w 76552"/>
                <a:gd name="connsiteY1" fmla="*/ 96593 h 98488"/>
                <a:gd name="connsiteX2" fmla="*/ 29547 w 76552"/>
                <a:gd name="connsiteY2" fmla="*/ 98488 h 98488"/>
                <a:gd name="connsiteX3" fmla="*/ 25908 w 76552"/>
                <a:gd name="connsiteY3" fmla="*/ 91011 h 98488"/>
                <a:gd name="connsiteX4" fmla="*/ 19936 w 76552"/>
                <a:gd name="connsiteY4" fmla="*/ 89897 h 98488"/>
                <a:gd name="connsiteX5" fmla="*/ 11668 w 76552"/>
                <a:gd name="connsiteY5" fmla="*/ 97098 h 98488"/>
                <a:gd name="connsiteX6" fmla="*/ 0 w 76552"/>
                <a:gd name="connsiteY6" fmla="*/ 91621 h 98488"/>
                <a:gd name="connsiteX7" fmla="*/ 6772 w 76552"/>
                <a:gd name="connsiteY7" fmla="*/ 80286 h 98488"/>
                <a:gd name="connsiteX8" fmla="*/ 9097 w 76552"/>
                <a:gd name="connsiteY8" fmla="*/ 68189 h 98488"/>
                <a:gd name="connsiteX9" fmla="*/ 13706 w 76552"/>
                <a:gd name="connsiteY9" fmla="*/ 56807 h 98488"/>
                <a:gd name="connsiteX10" fmla="*/ 3343 w 76552"/>
                <a:gd name="connsiteY10" fmla="*/ 41119 h 98488"/>
                <a:gd name="connsiteX11" fmla="*/ 1229 w 76552"/>
                <a:gd name="connsiteY11" fmla="*/ 22908 h 98488"/>
                <a:gd name="connsiteX12" fmla="*/ 15126 w 76552"/>
                <a:gd name="connsiteY12" fmla="*/ 0 h 98488"/>
                <a:gd name="connsiteX13" fmla="*/ 24194 w 76552"/>
                <a:gd name="connsiteY13" fmla="*/ 2934 h 98488"/>
                <a:gd name="connsiteX14" fmla="*/ 43863 w 76552"/>
                <a:gd name="connsiteY14" fmla="*/ 9239 h 98488"/>
                <a:gd name="connsiteX15" fmla="*/ 72133 w 76552"/>
                <a:gd name="connsiteY15" fmla="*/ 31718 h 98488"/>
                <a:gd name="connsiteX16" fmla="*/ 76553 w 76552"/>
                <a:gd name="connsiteY16" fmla="*/ 42615 h 98488"/>
                <a:gd name="connsiteX17" fmla="*/ 60751 w 76552"/>
                <a:gd name="connsiteY17" fmla="*/ 66942 h 98488"/>
                <a:gd name="connsiteX18" fmla="*/ 52569 w 76552"/>
                <a:gd name="connsiteY18" fmla="*/ 86506 h 9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6552" h="98488">
                  <a:moveTo>
                    <a:pt x="52569" y="86506"/>
                  </a:moveTo>
                  <a:lnTo>
                    <a:pt x="42329" y="96593"/>
                  </a:lnTo>
                  <a:lnTo>
                    <a:pt x="29547" y="98488"/>
                  </a:lnTo>
                  <a:lnTo>
                    <a:pt x="25908" y="91011"/>
                  </a:lnTo>
                  <a:lnTo>
                    <a:pt x="19936" y="89897"/>
                  </a:lnTo>
                  <a:lnTo>
                    <a:pt x="11668" y="97098"/>
                  </a:lnTo>
                  <a:lnTo>
                    <a:pt x="0" y="91621"/>
                  </a:lnTo>
                  <a:lnTo>
                    <a:pt x="6772" y="80286"/>
                  </a:lnTo>
                  <a:lnTo>
                    <a:pt x="9097" y="68189"/>
                  </a:lnTo>
                  <a:lnTo>
                    <a:pt x="13706" y="56807"/>
                  </a:lnTo>
                  <a:lnTo>
                    <a:pt x="3343" y="41119"/>
                  </a:lnTo>
                  <a:lnTo>
                    <a:pt x="1229" y="22908"/>
                  </a:lnTo>
                  <a:lnTo>
                    <a:pt x="15126" y="0"/>
                  </a:lnTo>
                  <a:lnTo>
                    <a:pt x="24194" y="2934"/>
                  </a:lnTo>
                  <a:lnTo>
                    <a:pt x="43863" y="9239"/>
                  </a:lnTo>
                  <a:lnTo>
                    <a:pt x="72133" y="31718"/>
                  </a:lnTo>
                  <a:lnTo>
                    <a:pt x="76553" y="42615"/>
                  </a:lnTo>
                  <a:lnTo>
                    <a:pt x="60751" y="66942"/>
                  </a:lnTo>
                  <a:lnTo>
                    <a:pt x="52569" y="865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0" name="Forme libre : forme 5709">
              <a:extLst>
                <a:ext uri="{FF2B5EF4-FFF2-40B4-BE49-F238E27FC236}">
                  <a16:creationId xmlns:a16="http://schemas.microsoft.com/office/drawing/2014/main" id="{95D94EAB-ECE7-7CED-A599-63832DA2F338}"/>
                </a:ext>
              </a:extLst>
            </p:cNvPr>
            <p:cNvSpPr/>
            <p:nvPr/>
          </p:nvSpPr>
          <p:spPr>
            <a:xfrm>
              <a:off x="5734249" y="4446360"/>
              <a:ext cx="114966" cy="171192"/>
            </a:xfrm>
            <a:custGeom>
              <a:avLst/>
              <a:gdLst>
                <a:gd name="connsiteX0" fmla="*/ 114967 w 114966"/>
                <a:gd name="connsiteY0" fmla="*/ 138731 h 171192"/>
                <a:gd name="connsiteX1" fmla="*/ 73095 w 114966"/>
                <a:gd name="connsiteY1" fmla="*/ 154333 h 171192"/>
                <a:gd name="connsiteX2" fmla="*/ 58245 w 114966"/>
                <a:gd name="connsiteY2" fmla="*/ 163468 h 171192"/>
                <a:gd name="connsiteX3" fmla="*/ 34176 w 114966"/>
                <a:gd name="connsiteY3" fmla="*/ 171193 h 171192"/>
                <a:gd name="connsiteX4" fmla="*/ 10373 w 114966"/>
                <a:gd name="connsiteY4" fmla="*/ 163630 h 171192"/>
                <a:gd name="connsiteX5" fmla="*/ 11582 w 114966"/>
                <a:gd name="connsiteY5" fmla="*/ 153124 h 171192"/>
                <a:gd name="connsiteX6" fmla="*/ 0 w 114966"/>
                <a:gd name="connsiteY6" fmla="*/ 130149 h 171192"/>
                <a:gd name="connsiteX7" fmla="*/ 6963 w 114966"/>
                <a:gd name="connsiteY7" fmla="*/ 99974 h 171192"/>
                <a:gd name="connsiteX8" fmla="*/ 18221 w 114966"/>
                <a:gd name="connsiteY8" fmla="*/ 77486 h 171192"/>
                <a:gd name="connsiteX9" fmla="*/ 11135 w 114966"/>
                <a:gd name="connsiteY9" fmla="*/ 39271 h 171192"/>
                <a:gd name="connsiteX10" fmla="*/ 7486 w 114966"/>
                <a:gd name="connsiteY10" fmla="*/ 18983 h 171192"/>
                <a:gd name="connsiteX11" fmla="*/ 8115 w 114966"/>
                <a:gd name="connsiteY11" fmla="*/ 3667 h 171192"/>
                <a:gd name="connsiteX12" fmla="*/ 54512 w 114966"/>
                <a:gd name="connsiteY12" fmla="*/ 2391 h 171192"/>
                <a:gd name="connsiteX13" fmla="*/ 66313 w 114966"/>
                <a:gd name="connsiteY13" fmla="*/ 4362 h 171192"/>
                <a:gd name="connsiteX14" fmla="*/ 74933 w 114966"/>
                <a:gd name="connsiteY14" fmla="*/ 0 h 171192"/>
                <a:gd name="connsiteX15" fmla="*/ 87287 w 114966"/>
                <a:gd name="connsiteY15" fmla="*/ 2152 h 171192"/>
                <a:gd name="connsiteX16" fmla="*/ 85315 w 114966"/>
                <a:gd name="connsiteY16" fmla="*/ 10573 h 171192"/>
                <a:gd name="connsiteX17" fmla="*/ 96469 w 114966"/>
                <a:gd name="connsiteY17" fmla="*/ 24489 h 171192"/>
                <a:gd name="connsiteX18" fmla="*/ 96421 w 114966"/>
                <a:gd name="connsiteY18" fmla="*/ 44044 h 171192"/>
                <a:gd name="connsiteX19" fmla="*/ 98965 w 114966"/>
                <a:gd name="connsiteY19" fmla="*/ 65208 h 171192"/>
                <a:gd name="connsiteX20" fmla="*/ 105670 w 114966"/>
                <a:gd name="connsiteY20" fmla="*/ 74990 h 171192"/>
                <a:gd name="connsiteX21" fmla="*/ 99755 w 114966"/>
                <a:gd name="connsiteY21" fmla="*/ 99117 h 171192"/>
                <a:gd name="connsiteX22" fmla="*/ 101879 w 114966"/>
                <a:gd name="connsiteY22" fmla="*/ 112423 h 171192"/>
                <a:gd name="connsiteX23" fmla="*/ 109004 w 114966"/>
                <a:gd name="connsiteY23" fmla="*/ 129359 h 17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4966" h="171192">
                  <a:moveTo>
                    <a:pt x="114967" y="138731"/>
                  </a:moveTo>
                  <a:lnTo>
                    <a:pt x="73095" y="154333"/>
                  </a:lnTo>
                  <a:lnTo>
                    <a:pt x="58245" y="163468"/>
                  </a:lnTo>
                  <a:lnTo>
                    <a:pt x="34176" y="171193"/>
                  </a:lnTo>
                  <a:lnTo>
                    <a:pt x="10373" y="163630"/>
                  </a:lnTo>
                  <a:lnTo>
                    <a:pt x="11582" y="153124"/>
                  </a:lnTo>
                  <a:lnTo>
                    <a:pt x="0" y="130149"/>
                  </a:lnTo>
                  <a:lnTo>
                    <a:pt x="6963" y="99974"/>
                  </a:lnTo>
                  <a:lnTo>
                    <a:pt x="18221" y="77486"/>
                  </a:lnTo>
                  <a:lnTo>
                    <a:pt x="11135" y="39271"/>
                  </a:lnTo>
                  <a:lnTo>
                    <a:pt x="7486" y="18983"/>
                  </a:lnTo>
                  <a:lnTo>
                    <a:pt x="8115" y="3667"/>
                  </a:lnTo>
                  <a:lnTo>
                    <a:pt x="54512" y="2391"/>
                  </a:lnTo>
                  <a:lnTo>
                    <a:pt x="66313" y="4362"/>
                  </a:lnTo>
                  <a:lnTo>
                    <a:pt x="74933" y="0"/>
                  </a:lnTo>
                  <a:lnTo>
                    <a:pt x="87287" y="2152"/>
                  </a:lnTo>
                  <a:lnTo>
                    <a:pt x="85315" y="10573"/>
                  </a:lnTo>
                  <a:lnTo>
                    <a:pt x="96469" y="24489"/>
                  </a:lnTo>
                  <a:lnTo>
                    <a:pt x="96421" y="44044"/>
                  </a:lnTo>
                  <a:lnTo>
                    <a:pt x="98965" y="65208"/>
                  </a:lnTo>
                  <a:lnTo>
                    <a:pt x="105670" y="74990"/>
                  </a:lnTo>
                  <a:lnTo>
                    <a:pt x="99755" y="99117"/>
                  </a:lnTo>
                  <a:lnTo>
                    <a:pt x="101879" y="112423"/>
                  </a:lnTo>
                  <a:lnTo>
                    <a:pt x="109004" y="12935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1" name="Forme libre : forme 5710">
              <a:extLst>
                <a:ext uri="{FF2B5EF4-FFF2-40B4-BE49-F238E27FC236}">
                  <a16:creationId xmlns:a16="http://schemas.microsoft.com/office/drawing/2014/main" id="{44456017-188C-921C-4A93-27C21EEB8084}"/>
                </a:ext>
              </a:extLst>
            </p:cNvPr>
            <p:cNvSpPr/>
            <p:nvPr/>
          </p:nvSpPr>
          <p:spPr>
            <a:xfrm>
              <a:off x="3863378" y="328912"/>
              <a:ext cx="1631470" cy="2405481"/>
            </a:xfrm>
            <a:custGeom>
              <a:avLst/>
              <a:gdLst>
                <a:gd name="connsiteX0" fmla="*/ 708612 w 1631470"/>
                <a:gd name="connsiteY0" fmla="*/ 227714 h 2405481"/>
                <a:gd name="connsiteX1" fmla="*/ 798281 w 1631470"/>
                <a:gd name="connsiteY1" fmla="*/ 98127 h 2405481"/>
                <a:gd name="connsiteX2" fmla="*/ 891987 w 1631470"/>
                <a:gd name="connsiteY2" fmla="*/ 108280 h 2405481"/>
                <a:gd name="connsiteX3" fmla="*/ 926049 w 1631470"/>
                <a:gd name="connsiteY3" fmla="*/ 23012 h 2405481"/>
                <a:gd name="connsiteX4" fmla="*/ 1020442 w 1631470"/>
                <a:gd name="connsiteY4" fmla="*/ 0 h 2405481"/>
                <a:gd name="connsiteX5" fmla="*/ 1233754 w 1631470"/>
                <a:gd name="connsiteY5" fmla="*/ 29975 h 2405481"/>
                <a:gd name="connsiteX6" fmla="*/ 1400813 w 1631470"/>
                <a:gd name="connsiteY6" fmla="*/ 207026 h 2405481"/>
                <a:gd name="connsiteX7" fmla="*/ 1351493 w 1631470"/>
                <a:gd name="connsiteY7" fmla="*/ 286179 h 2405481"/>
                <a:gd name="connsiteX8" fmla="*/ 1249328 w 1631470"/>
                <a:gd name="connsiteY8" fmla="*/ 294970 h 2405481"/>
                <a:gd name="connsiteX9" fmla="*/ 1105576 w 1631470"/>
                <a:gd name="connsiteY9" fmla="*/ 314306 h 2405481"/>
                <a:gd name="connsiteX10" fmla="*/ 1119025 w 1631470"/>
                <a:gd name="connsiteY10" fmla="*/ 349025 h 2405481"/>
                <a:gd name="connsiteX11" fmla="*/ 1213561 w 1631470"/>
                <a:gd name="connsiteY11" fmla="*/ 327660 h 2405481"/>
                <a:gd name="connsiteX12" fmla="*/ 1294009 w 1631470"/>
                <a:gd name="connsiteY12" fmla="*/ 393506 h 2405481"/>
                <a:gd name="connsiteX13" fmla="*/ 1345854 w 1631470"/>
                <a:gd name="connsiteY13" fmla="*/ 335175 h 2405481"/>
                <a:gd name="connsiteX14" fmla="*/ 1368057 w 1631470"/>
                <a:gd name="connsiteY14" fmla="*/ 403279 h 2405481"/>
                <a:gd name="connsiteX15" fmla="*/ 1338739 w 1631470"/>
                <a:gd name="connsiteY15" fmla="*/ 507740 h 2405481"/>
                <a:gd name="connsiteX16" fmla="*/ 1406728 w 1631470"/>
                <a:gd name="connsiteY16" fmla="*/ 441779 h 2405481"/>
                <a:gd name="connsiteX17" fmla="*/ 1536411 w 1631470"/>
                <a:gd name="connsiteY17" fmla="*/ 369865 h 2405481"/>
                <a:gd name="connsiteX18" fmla="*/ 1616469 w 1631470"/>
                <a:gd name="connsiteY18" fmla="*/ 406184 h 2405481"/>
                <a:gd name="connsiteX19" fmla="*/ 1631471 w 1631470"/>
                <a:gd name="connsiteY19" fmla="*/ 483441 h 2405481"/>
                <a:gd name="connsiteX20" fmla="*/ 1522590 w 1631470"/>
                <a:gd name="connsiteY20" fmla="*/ 604104 h 2405481"/>
                <a:gd name="connsiteX21" fmla="*/ 1507512 w 1631470"/>
                <a:gd name="connsiteY21" fmla="*/ 641185 h 2405481"/>
                <a:gd name="connsiteX22" fmla="*/ 1422149 w 1631470"/>
                <a:gd name="connsiteY22" fmla="*/ 668484 h 2405481"/>
                <a:gd name="connsiteX23" fmla="*/ 1484005 w 1631470"/>
                <a:gd name="connsiteY23" fmla="*/ 675970 h 2405481"/>
                <a:gd name="connsiteX24" fmla="*/ 1452763 w 1631470"/>
                <a:gd name="connsiteY24" fmla="*/ 785584 h 2405481"/>
                <a:gd name="connsiteX25" fmla="*/ 1431264 w 1631470"/>
                <a:gd name="connsiteY25" fmla="*/ 877005 h 2405481"/>
                <a:gd name="connsiteX26" fmla="*/ 1432103 w 1631470"/>
                <a:gd name="connsiteY26" fmla="*/ 1022328 h 2405481"/>
                <a:gd name="connsiteX27" fmla="*/ 1464173 w 1631470"/>
                <a:gd name="connsiteY27" fmla="*/ 1101709 h 2405481"/>
                <a:gd name="connsiteX28" fmla="*/ 1422454 w 1631470"/>
                <a:gd name="connsiteY28" fmla="*/ 1106596 h 2405481"/>
                <a:gd name="connsiteX29" fmla="*/ 1378534 w 1631470"/>
                <a:gd name="connsiteY29" fmla="*/ 1143552 h 2405481"/>
                <a:gd name="connsiteX30" fmla="*/ 1427816 w 1631470"/>
                <a:gd name="connsiteY30" fmla="*/ 1203560 h 2405481"/>
                <a:gd name="connsiteX31" fmla="*/ 1434093 w 1631470"/>
                <a:gd name="connsiteY31" fmla="*/ 1295248 h 2405481"/>
                <a:gd name="connsiteX32" fmla="*/ 1405538 w 1631470"/>
                <a:gd name="connsiteY32" fmla="*/ 1304925 h 2405481"/>
                <a:gd name="connsiteX33" fmla="*/ 1440142 w 1631470"/>
                <a:gd name="connsiteY33" fmla="*/ 1392117 h 2405481"/>
                <a:gd name="connsiteX34" fmla="*/ 1380811 w 1631470"/>
                <a:gd name="connsiteY34" fmla="*/ 1399184 h 2405481"/>
                <a:gd name="connsiteX35" fmla="*/ 1411786 w 1631470"/>
                <a:gd name="connsiteY35" fmla="*/ 1438618 h 2405481"/>
                <a:gd name="connsiteX36" fmla="*/ 1403032 w 1631470"/>
                <a:gd name="connsiteY36" fmla="*/ 1472041 h 2405481"/>
                <a:gd name="connsiteX37" fmla="*/ 1365371 w 1631470"/>
                <a:gd name="connsiteY37" fmla="*/ 1486500 h 2405481"/>
                <a:gd name="connsiteX38" fmla="*/ 1328156 w 1631470"/>
                <a:gd name="connsiteY38" fmla="*/ 1486767 h 2405481"/>
                <a:gd name="connsiteX39" fmla="*/ 1361608 w 1631470"/>
                <a:gd name="connsiteY39" fmla="*/ 1548498 h 2405481"/>
                <a:gd name="connsiteX40" fmla="*/ 1361980 w 1631470"/>
                <a:gd name="connsiteY40" fmla="*/ 1587818 h 2405481"/>
                <a:gd name="connsiteX41" fmla="*/ 1309125 w 1631470"/>
                <a:gd name="connsiteY41" fmla="*/ 1551308 h 2405481"/>
                <a:gd name="connsiteX42" fmla="*/ 1295381 w 1631470"/>
                <a:gd name="connsiteY42" fmla="*/ 1575016 h 2405481"/>
                <a:gd name="connsiteX43" fmla="*/ 1331433 w 1631470"/>
                <a:gd name="connsiteY43" fmla="*/ 1596857 h 2405481"/>
                <a:gd name="connsiteX44" fmla="*/ 1366428 w 1631470"/>
                <a:gd name="connsiteY44" fmla="*/ 1649016 h 2405481"/>
                <a:gd name="connsiteX45" fmla="*/ 1376553 w 1631470"/>
                <a:gd name="connsiteY45" fmla="*/ 1715262 h 2405481"/>
                <a:gd name="connsiteX46" fmla="*/ 1328947 w 1631470"/>
                <a:gd name="connsiteY46" fmla="*/ 1730721 h 2405481"/>
                <a:gd name="connsiteX47" fmla="*/ 1308364 w 1631470"/>
                <a:gd name="connsiteY47" fmla="*/ 1699641 h 2405481"/>
                <a:gd name="connsiteX48" fmla="*/ 1275340 w 1631470"/>
                <a:gd name="connsiteY48" fmla="*/ 1652207 h 2405481"/>
                <a:gd name="connsiteX49" fmla="*/ 1284475 w 1631470"/>
                <a:gd name="connsiteY49" fmla="*/ 1708109 h 2405481"/>
                <a:gd name="connsiteX50" fmla="*/ 1253452 w 1631470"/>
                <a:gd name="connsiteY50" fmla="*/ 1750124 h 2405481"/>
                <a:gd name="connsiteX51" fmla="*/ 1323842 w 1631470"/>
                <a:gd name="connsiteY51" fmla="*/ 1753467 h 2405481"/>
                <a:gd name="connsiteX52" fmla="*/ 1360656 w 1631470"/>
                <a:gd name="connsiteY52" fmla="*/ 1757763 h 2405481"/>
                <a:gd name="connsiteX53" fmla="*/ 1289075 w 1631470"/>
                <a:gd name="connsiteY53" fmla="*/ 1824714 h 2405481"/>
                <a:gd name="connsiteX54" fmla="*/ 1216485 w 1631470"/>
                <a:gd name="connsiteY54" fmla="*/ 1883064 h 2405481"/>
                <a:gd name="connsiteX55" fmla="*/ 1138333 w 1631470"/>
                <a:gd name="connsiteY55" fmla="*/ 1907981 h 2405481"/>
                <a:gd name="connsiteX56" fmla="*/ 1108872 w 1631470"/>
                <a:gd name="connsiteY56" fmla="*/ 1908296 h 2405481"/>
                <a:gd name="connsiteX57" fmla="*/ 1081249 w 1631470"/>
                <a:gd name="connsiteY57" fmla="*/ 1935652 h 2405481"/>
                <a:gd name="connsiteX58" fmla="*/ 1044092 w 1631470"/>
                <a:gd name="connsiteY58" fmla="*/ 2008375 h 2405481"/>
                <a:gd name="connsiteX59" fmla="*/ 986657 w 1631470"/>
                <a:gd name="connsiteY59" fmla="*/ 2054943 h 2405481"/>
                <a:gd name="connsiteX60" fmla="*/ 968207 w 1631470"/>
                <a:gd name="connsiteY60" fmla="*/ 2057638 h 2405481"/>
                <a:gd name="connsiteX61" fmla="*/ 932650 w 1631470"/>
                <a:gd name="connsiteY61" fmla="*/ 2073631 h 2405481"/>
                <a:gd name="connsiteX62" fmla="*/ 894264 w 1631470"/>
                <a:gd name="connsiteY62" fmla="*/ 2088709 h 2405481"/>
                <a:gd name="connsiteX63" fmla="*/ 871385 w 1631470"/>
                <a:gd name="connsiteY63" fmla="*/ 2127971 h 2405481"/>
                <a:gd name="connsiteX64" fmla="*/ 871023 w 1631470"/>
                <a:gd name="connsiteY64" fmla="*/ 2171386 h 2405481"/>
                <a:gd name="connsiteX65" fmla="*/ 857507 w 1631470"/>
                <a:gd name="connsiteY65" fmla="*/ 2211067 h 2405481"/>
                <a:gd name="connsiteX66" fmla="*/ 813959 w 1631470"/>
                <a:gd name="connsiteY66" fmla="*/ 2258206 h 2405481"/>
                <a:gd name="connsiteX67" fmla="*/ 824712 w 1631470"/>
                <a:gd name="connsiteY67" fmla="*/ 2303021 h 2405481"/>
                <a:gd name="connsiteX68" fmla="*/ 812711 w 1631470"/>
                <a:gd name="connsiteY68" fmla="*/ 2349217 h 2405481"/>
                <a:gd name="connsiteX69" fmla="*/ 799024 w 1631470"/>
                <a:gd name="connsiteY69" fmla="*/ 2402224 h 2405481"/>
                <a:gd name="connsiteX70" fmla="*/ 761390 w 1631470"/>
                <a:gd name="connsiteY70" fmla="*/ 2405482 h 2405481"/>
                <a:gd name="connsiteX71" fmla="*/ 721976 w 1631470"/>
                <a:gd name="connsiteY71" fmla="*/ 2361343 h 2405481"/>
                <a:gd name="connsiteX72" fmla="*/ 668579 w 1631470"/>
                <a:gd name="connsiteY72" fmla="*/ 2361067 h 2405481"/>
                <a:gd name="connsiteX73" fmla="*/ 642661 w 1631470"/>
                <a:gd name="connsiteY73" fmla="*/ 2330777 h 2405481"/>
                <a:gd name="connsiteX74" fmla="*/ 624849 w 1631470"/>
                <a:gd name="connsiteY74" fmla="*/ 2275484 h 2405481"/>
                <a:gd name="connsiteX75" fmla="*/ 578567 w 1631470"/>
                <a:gd name="connsiteY75" fmla="*/ 2202418 h 2405481"/>
                <a:gd name="connsiteX76" fmla="*/ 565032 w 1631470"/>
                <a:gd name="connsiteY76" fmla="*/ 2162832 h 2405481"/>
                <a:gd name="connsiteX77" fmla="*/ 561384 w 1631470"/>
                <a:gd name="connsiteY77" fmla="*/ 2106711 h 2405481"/>
                <a:gd name="connsiteX78" fmla="*/ 524389 w 1631470"/>
                <a:gd name="connsiteY78" fmla="*/ 2047018 h 2405481"/>
                <a:gd name="connsiteX79" fmla="*/ 534010 w 1631470"/>
                <a:gd name="connsiteY79" fmla="*/ 1997774 h 2405481"/>
                <a:gd name="connsiteX80" fmla="*/ 516188 w 1631470"/>
                <a:gd name="connsiteY80" fmla="*/ 1973694 h 2405481"/>
                <a:gd name="connsiteX81" fmla="*/ 542592 w 1631470"/>
                <a:gd name="connsiteY81" fmla="*/ 1891246 h 2405481"/>
                <a:gd name="connsiteX82" fmla="*/ 582787 w 1631470"/>
                <a:gd name="connsiteY82" fmla="*/ 1864119 h 2405481"/>
                <a:gd name="connsiteX83" fmla="*/ 593331 w 1631470"/>
                <a:gd name="connsiteY83" fmla="*/ 1833058 h 2405481"/>
                <a:gd name="connsiteX84" fmla="*/ 598922 w 1631470"/>
                <a:gd name="connsiteY84" fmla="*/ 1773412 h 2405481"/>
                <a:gd name="connsiteX85" fmla="*/ 568414 w 1631470"/>
                <a:gd name="connsiteY85" fmla="*/ 1800720 h 2405481"/>
                <a:gd name="connsiteX86" fmla="*/ 553869 w 1631470"/>
                <a:gd name="connsiteY86" fmla="*/ 1812055 h 2405481"/>
                <a:gd name="connsiteX87" fmla="*/ 529885 w 1631470"/>
                <a:gd name="connsiteY87" fmla="*/ 1822847 h 2405481"/>
                <a:gd name="connsiteX88" fmla="*/ 497109 w 1631470"/>
                <a:gd name="connsiteY88" fmla="*/ 1798034 h 2405481"/>
                <a:gd name="connsiteX89" fmla="*/ 495329 w 1631470"/>
                <a:gd name="connsiteY89" fmla="*/ 1745161 h 2405481"/>
                <a:gd name="connsiteX90" fmla="*/ 505777 w 1631470"/>
                <a:gd name="connsiteY90" fmla="*/ 1702508 h 2405481"/>
                <a:gd name="connsiteX91" fmla="*/ 530542 w 1631470"/>
                <a:gd name="connsiteY91" fmla="*/ 1701336 h 2405481"/>
                <a:gd name="connsiteX92" fmla="*/ 585063 w 1631470"/>
                <a:gd name="connsiteY92" fmla="*/ 1722815 h 2405481"/>
                <a:gd name="connsiteX93" fmla="*/ 539144 w 1631470"/>
                <a:gd name="connsiteY93" fmla="*/ 1671047 h 2405481"/>
                <a:gd name="connsiteX94" fmla="*/ 515245 w 1631470"/>
                <a:gd name="connsiteY94" fmla="*/ 1642434 h 2405481"/>
                <a:gd name="connsiteX95" fmla="*/ 488651 w 1631470"/>
                <a:gd name="connsiteY95" fmla="*/ 1654254 h 2405481"/>
                <a:gd name="connsiteX96" fmla="*/ 466363 w 1631470"/>
                <a:gd name="connsiteY96" fmla="*/ 1633366 h 2405481"/>
                <a:gd name="connsiteX97" fmla="*/ 496176 w 1631470"/>
                <a:gd name="connsiteY97" fmla="*/ 1552346 h 2405481"/>
                <a:gd name="connsiteX98" fmla="*/ 479936 w 1631470"/>
                <a:gd name="connsiteY98" fmla="*/ 1518790 h 2405481"/>
                <a:gd name="connsiteX99" fmla="*/ 458743 w 1631470"/>
                <a:gd name="connsiteY99" fmla="*/ 1454563 h 2405481"/>
                <a:gd name="connsiteX100" fmla="*/ 426596 w 1631470"/>
                <a:gd name="connsiteY100" fmla="*/ 1350683 h 2405481"/>
                <a:gd name="connsiteX101" fmla="*/ 392592 w 1631470"/>
                <a:gd name="connsiteY101" fmla="*/ 1310878 h 2405481"/>
                <a:gd name="connsiteX102" fmla="*/ 392906 w 1631470"/>
                <a:gd name="connsiteY102" fmla="*/ 1266806 h 2405481"/>
                <a:gd name="connsiteX103" fmla="*/ 321240 w 1631470"/>
                <a:gd name="connsiteY103" fmla="*/ 1203084 h 2405481"/>
                <a:gd name="connsiteX104" fmla="*/ 264538 w 1631470"/>
                <a:gd name="connsiteY104" fmla="*/ 1194968 h 2405481"/>
                <a:gd name="connsiteX105" fmla="*/ 193167 w 1631470"/>
                <a:gd name="connsiteY105" fmla="*/ 1199464 h 2405481"/>
                <a:gd name="connsiteX106" fmla="*/ 127997 w 1631470"/>
                <a:gd name="connsiteY106" fmla="*/ 1207627 h 2405481"/>
                <a:gd name="connsiteX107" fmla="*/ 97003 w 1631470"/>
                <a:gd name="connsiteY107" fmla="*/ 1171947 h 2405481"/>
                <a:gd name="connsiteX108" fmla="*/ 50597 w 1631470"/>
                <a:gd name="connsiteY108" fmla="*/ 1098985 h 2405481"/>
                <a:gd name="connsiteX109" fmla="*/ 120720 w 1631470"/>
                <a:gd name="connsiteY109" fmla="*/ 1061180 h 2405481"/>
                <a:gd name="connsiteX110" fmla="*/ 174479 w 1631470"/>
                <a:gd name="connsiteY110" fmla="*/ 1054741 h 2405481"/>
                <a:gd name="connsiteX111" fmla="*/ 60198 w 1631470"/>
                <a:gd name="connsiteY111" fmla="*/ 1022652 h 2405481"/>
                <a:gd name="connsiteX112" fmla="*/ 0 w 1631470"/>
                <a:gd name="connsiteY112" fmla="*/ 970902 h 2405481"/>
                <a:gd name="connsiteX113" fmla="*/ 3677 w 1631470"/>
                <a:gd name="connsiteY113" fmla="*/ 920010 h 2405481"/>
                <a:gd name="connsiteX114" fmla="*/ 104784 w 1631470"/>
                <a:gd name="connsiteY114" fmla="*/ 854593 h 2405481"/>
                <a:gd name="connsiteX115" fmla="*/ 202606 w 1631470"/>
                <a:gd name="connsiteY115" fmla="*/ 786403 h 2405481"/>
                <a:gd name="connsiteX116" fmla="*/ 212931 w 1631470"/>
                <a:gd name="connsiteY116" fmla="*/ 732711 h 2405481"/>
                <a:gd name="connsiteX117" fmla="*/ 140846 w 1631470"/>
                <a:gd name="connsiteY117" fmla="*/ 677828 h 2405481"/>
                <a:gd name="connsiteX118" fmla="*/ 164135 w 1631470"/>
                <a:gd name="connsiteY118" fmla="*/ 614543 h 2405481"/>
                <a:gd name="connsiteX119" fmla="*/ 256594 w 1631470"/>
                <a:gd name="connsiteY119" fmla="*/ 497072 h 2405481"/>
                <a:gd name="connsiteX120" fmla="*/ 295446 w 1631470"/>
                <a:gd name="connsiteY120" fmla="*/ 478222 h 2405481"/>
                <a:gd name="connsiteX121" fmla="*/ 284312 w 1631470"/>
                <a:gd name="connsiteY121" fmla="*/ 396592 h 2405481"/>
                <a:gd name="connsiteX122" fmla="*/ 347577 w 1631470"/>
                <a:gd name="connsiteY122" fmla="*/ 346691 h 2405481"/>
                <a:gd name="connsiteX123" fmla="*/ 429701 w 1631470"/>
                <a:gd name="connsiteY123" fmla="*/ 316116 h 2405481"/>
                <a:gd name="connsiteX124" fmla="*/ 511768 w 1631470"/>
                <a:gd name="connsiteY124" fmla="*/ 314373 h 2405481"/>
                <a:gd name="connsiteX125" fmla="*/ 540906 w 1631470"/>
                <a:gd name="connsiteY125" fmla="*/ 374437 h 2405481"/>
                <a:gd name="connsiteX126" fmla="*/ 611753 w 1631470"/>
                <a:gd name="connsiteY126" fmla="*/ 266576 h 2405481"/>
                <a:gd name="connsiteX127" fmla="*/ 675494 w 1631470"/>
                <a:gd name="connsiteY127" fmla="*/ 340681 h 2405481"/>
                <a:gd name="connsiteX128" fmla="*/ 712994 w 1631470"/>
                <a:gd name="connsiteY128" fmla="*/ 355854 h 2405481"/>
                <a:gd name="connsiteX129" fmla="*/ 768458 w 1631470"/>
                <a:gd name="connsiteY129" fmla="*/ 416928 h 2405481"/>
                <a:gd name="connsiteX130" fmla="*/ 704955 w 1631470"/>
                <a:gd name="connsiteY130" fmla="*/ 314344 h 2405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631470" h="2405481">
                  <a:moveTo>
                    <a:pt x="708612" y="227714"/>
                  </a:moveTo>
                  <a:lnTo>
                    <a:pt x="798281" y="98127"/>
                  </a:lnTo>
                  <a:lnTo>
                    <a:pt x="891987" y="108280"/>
                  </a:lnTo>
                  <a:lnTo>
                    <a:pt x="926049" y="23012"/>
                  </a:lnTo>
                  <a:lnTo>
                    <a:pt x="1020442" y="0"/>
                  </a:lnTo>
                  <a:lnTo>
                    <a:pt x="1233754" y="29975"/>
                  </a:lnTo>
                  <a:lnTo>
                    <a:pt x="1400813" y="207026"/>
                  </a:lnTo>
                  <a:lnTo>
                    <a:pt x="1351493" y="286179"/>
                  </a:lnTo>
                  <a:lnTo>
                    <a:pt x="1249328" y="294970"/>
                  </a:lnTo>
                  <a:lnTo>
                    <a:pt x="1105576" y="314306"/>
                  </a:lnTo>
                  <a:lnTo>
                    <a:pt x="1119025" y="349025"/>
                  </a:lnTo>
                  <a:lnTo>
                    <a:pt x="1213561" y="327660"/>
                  </a:lnTo>
                  <a:lnTo>
                    <a:pt x="1294009" y="393506"/>
                  </a:lnTo>
                  <a:lnTo>
                    <a:pt x="1345854" y="335175"/>
                  </a:lnTo>
                  <a:lnTo>
                    <a:pt x="1368057" y="403279"/>
                  </a:lnTo>
                  <a:lnTo>
                    <a:pt x="1338739" y="507740"/>
                  </a:lnTo>
                  <a:lnTo>
                    <a:pt x="1406728" y="441779"/>
                  </a:lnTo>
                  <a:lnTo>
                    <a:pt x="1536411" y="369865"/>
                  </a:lnTo>
                  <a:lnTo>
                    <a:pt x="1616469" y="406184"/>
                  </a:lnTo>
                  <a:lnTo>
                    <a:pt x="1631471" y="483441"/>
                  </a:lnTo>
                  <a:lnTo>
                    <a:pt x="1522590" y="604104"/>
                  </a:lnTo>
                  <a:lnTo>
                    <a:pt x="1507512" y="641185"/>
                  </a:lnTo>
                  <a:lnTo>
                    <a:pt x="1422149" y="668484"/>
                  </a:lnTo>
                  <a:lnTo>
                    <a:pt x="1484005" y="675970"/>
                  </a:lnTo>
                  <a:lnTo>
                    <a:pt x="1452763" y="785584"/>
                  </a:lnTo>
                  <a:lnTo>
                    <a:pt x="1431264" y="877005"/>
                  </a:lnTo>
                  <a:lnTo>
                    <a:pt x="1432103" y="1022328"/>
                  </a:lnTo>
                  <a:lnTo>
                    <a:pt x="1464173" y="1101709"/>
                  </a:lnTo>
                  <a:lnTo>
                    <a:pt x="1422454" y="1106596"/>
                  </a:lnTo>
                  <a:lnTo>
                    <a:pt x="1378534" y="1143552"/>
                  </a:lnTo>
                  <a:lnTo>
                    <a:pt x="1427816" y="1203560"/>
                  </a:lnTo>
                  <a:lnTo>
                    <a:pt x="1434093" y="1295248"/>
                  </a:lnTo>
                  <a:lnTo>
                    <a:pt x="1405538" y="1304925"/>
                  </a:lnTo>
                  <a:lnTo>
                    <a:pt x="1440142" y="1392117"/>
                  </a:lnTo>
                  <a:lnTo>
                    <a:pt x="1380811" y="1399184"/>
                  </a:lnTo>
                  <a:lnTo>
                    <a:pt x="1411786" y="1438618"/>
                  </a:lnTo>
                  <a:lnTo>
                    <a:pt x="1403032" y="1472041"/>
                  </a:lnTo>
                  <a:lnTo>
                    <a:pt x="1365371" y="1486500"/>
                  </a:lnTo>
                  <a:lnTo>
                    <a:pt x="1328156" y="1486767"/>
                  </a:lnTo>
                  <a:lnTo>
                    <a:pt x="1361608" y="1548498"/>
                  </a:lnTo>
                  <a:lnTo>
                    <a:pt x="1361980" y="1587818"/>
                  </a:lnTo>
                  <a:lnTo>
                    <a:pt x="1309125" y="1551308"/>
                  </a:lnTo>
                  <a:lnTo>
                    <a:pt x="1295381" y="1575016"/>
                  </a:lnTo>
                  <a:lnTo>
                    <a:pt x="1331433" y="1596857"/>
                  </a:lnTo>
                  <a:lnTo>
                    <a:pt x="1366428" y="1649016"/>
                  </a:lnTo>
                  <a:lnTo>
                    <a:pt x="1376553" y="1715262"/>
                  </a:lnTo>
                  <a:lnTo>
                    <a:pt x="1328947" y="1730721"/>
                  </a:lnTo>
                  <a:lnTo>
                    <a:pt x="1308364" y="1699641"/>
                  </a:lnTo>
                  <a:lnTo>
                    <a:pt x="1275340" y="1652207"/>
                  </a:lnTo>
                  <a:lnTo>
                    <a:pt x="1284475" y="1708109"/>
                  </a:lnTo>
                  <a:lnTo>
                    <a:pt x="1253452" y="1750124"/>
                  </a:lnTo>
                  <a:lnTo>
                    <a:pt x="1323842" y="1753467"/>
                  </a:lnTo>
                  <a:lnTo>
                    <a:pt x="1360656" y="1757763"/>
                  </a:lnTo>
                  <a:lnTo>
                    <a:pt x="1289075" y="1824714"/>
                  </a:lnTo>
                  <a:lnTo>
                    <a:pt x="1216485" y="1883064"/>
                  </a:lnTo>
                  <a:lnTo>
                    <a:pt x="1138333" y="1907981"/>
                  </a:lnTo>
                  <a:lnTo>
                    <a:pt x="1108872" y="1908296"/>
                  </a:lnTo>
                  <a:lnTo>
                    <a:pt x="1081249" y="1935652"/>
                  </a:lnTo>
                  <a:lnTo>
                    <a:pt x="1044092" y="2008375"/>
                  </a:lnTo>
                  <a:lnTo>
                    <a:pt x="986657" y="2054943"/>
                  </a:lnTo>
                  <a:lnTo>
                    <a:pt x="968207" y="2057638"/>
                  </a:lnTo>
                  <a:lnTo>
                    <a:pt x="932650" y="2073631"/>
                  </a:lnTo>
                  <a:lnTo>
                    <a:pt x="894264" y="2088709"/>
                  </a:lnTo>
                  <a:lnTo>
                    <a:pt x="871385" y="2127971"/>
                  </a:lnTo>
                  <a:lnTo>
                    <a:pt x="871023" y="2171386"/>
                  </a:lnTo>
                  <a:lnTo>
                    <a:pt x="857507" y="2211067"/>
                  </a:lnTo>
                  <a:lnTo>
                    <a:pt x="813959" y="2258206"/>
                  </a:lnTo>
                  <a:lnTo>
                    <a:pt x="824712" y="2303021"/>
                  </a:lnTo>
                  <a:lnTo>
                    <a:pt x="812711" y="2349217"/>
                  </a:lnTo>
                  <a:lnTo>
                    <a:pt x="799024" y="2402224"/>
                  </a:lnTo>
                  <a:lnTo>
                    <a:pt x="761390" y="2405482"/>
                  </a:lnTo>
                  <a:lnTo>
                    <a:pt x="721976" y="2361343"/>
                  </a:lnTo>
                  <a:lnTo>
                    <a:pt x="668579" y="2361067"/>
                  </a:lnTo>
                  <a:lnTo>
                    <a:pt x="642661" y="2330777"/>
                  </a:lnTo>
                  <a:lnTo>
                    <a:pt x="624849" y="2275484"/>
                  </a:lnTo>
                  <a:lnTo>
                    <a:pt x="578567" y="2202418"/>
                  </a:lnTo>
                  <a:lnTo>
                    <a:pt x="565032" y="2162832"/>
                  </a:lnTo>
                  <a:lnTo>
                    <a:pt x="561384" y="2106711"/>
                  </a:lnTo>
                  <a:lnTo>
                    <a:pt x="524389" y="2047018"/>
                  </a:lnTo>
                  <a:lnTo>
                    <a:pt x="534010" y="1997774"/>
                  </a:lnTo>
                  <a:lnTo>
                    <a:pt x="516188" y="1973694"/>
                  </a:lnTo>
                  <a:lnTo>
                    <a:pt x="542592" y="1891246"/>
                  </a:lnTo>
                  <a:lnTo>
                    <a:pt x="582787" y="1864119"/>
                  </a:lnTo>
                  <a:lnTo>
                    <a:pt x="593331" y="1833058"/>
                  </a:lnTo>
                  <a:lnTo>
                    <a:pt x="598922" y="1773412"/>
                  </a:lnTo>
                  <a:lnTo>
                    <a:pt x="568414" y="1800720"/>
                  </a:lnTo>
                  <a:lnTo>
                    <a:pt x="553869" y="1812055"/>
                  </a:lnTo>
                  <a:lnTo>
                    <a:pt x="529885" y="1822847"/>
                  </a:lnTo>
                  <a:lnTo>
                    <a:pt x="497109" y="1798034"/>
                  </a:lnTo>
                  <a:lnTo>
                    <a:pt x="495329" y="1745161"/>
                  </a:lnTo>
                  <a:lnTo>
                    <a:pt x="505777" y="1702508"/>
                  </a:lnTo>
                  <a:lnTo>
                    <a:pt x="530542" y="1701336"/>
                  </a:lnTo>
                  <a:lnTo>
                    <a:pt x="585063" y="1722815"/>
                  </a:lnTo>
                  <a:lnTo>
                    <a:pt x="539144" y="1671047"/>
                  </a:lnTo>
                  <a:lnTo>
                    <a:pt x="515245" y="1642434"/>
                  </a:lnTo>
                  <a:lnTo>
                    <a:pt x="488651" y="1654254"/>
                  </a:lnTo>
                  <a:lnTo>
                    <a:pt x="466363" y="1633366"/>
                  </a:lnTo>
                  <a:lnTo>
                    <a:pt x="496176" y="1552346"/>
                  </a:lnTo>
                  <a:lnTo>
                    <a:pt x="479936" y="1518790"/>
                  </a:lnTo>
                  <a:lnTo>
                    <a:pt x="458743" y="1454563"/>
                  </a:lnTo>
                  <a:lnTo>
                    <a:pt x="426596" y="1350683"/>
                  </a:lnTo>
                  <a:lnTo>
                    <a:pt x="392592" y="1310878"/>
                  </a:lnTo>
                  <a:lnTo>
                    <a:pt x="392906" y="1266806"/>
                  </a:lnTo>
                  <a:lnTo>
                    <a:pt x="321240" y="1203084"/>
                  </a:lnTo>
                  <a:lnTo>
                    <a:pt x="264538" y="1194968"/>
                  </a:lnTo>
                  <a:lnTo>
                    <a:pt x="193167" y="1199464"/>
                  </a:lnTo>
                  <a:lnTo>
                    <a:pt x="127997" y="1207627"/>
                  </a:lnTo>
                  <a:lnTo>
                    <a:pt x="97003" y="1171947"/>
                  </a:lnTo>
                  <a:lnTo>
                    <a:pt x="50597" y="1098985"/>
                  </a:lnTo>
                  <a:lnTo>
                    <a:pt x="120720" y="1061180"/>
                  </a:lnTo>
                  <a:lnTo>
                    <a:pt x="174479" y="1054741"/>
                  </a:lnTo>
                  <a:lnTo>
                    <a:pt x="60198" y="1022652"/>
                  </a:lnTo>
                  <a:lnTo>
                    <a:pt x="0" y="970902"/>
                  </a:lnTo>
                  <a:lnTo>
                    <a:pt x="3677" y="920010"/>
                  </a:lnTo>
                  <a:lnTo>
                    <a:pt x="104784" y="854593"/>
                  </a:lnTo>
                  <a:lnTo>
                    <a:pt x="202606" y="786403"/>
                  </a:lnTo>
                  <a:lnTo>
                    <a:pt x="212931" y="732711"/>
                  </a:lnTo>
                  <a:lnTo>
                    <a:pt x="140846" y="677828"/>
                  </a:lnTo>
                  <a:lnTo>
                    <a:pt x="164135" y="614543"/>
                  </a:lnTo>
                  <a:lnTo>
                    <a:pt x="256594" y="497072"/>
                  </a:lnTo>
                  <a:lnTo>
                    <a:pt x="295446" y="478222"/>
                  </a:lnTo>
                  <a:lnTo>
                    <a:pt x="284312" y="396592"/>
                  </a:lnTo>
                  <a:lnTo>
                    <a:pt x="347577" y="346691"/>
                  </a:lnTo>
                  <a:lnTo>
                    <a:pt x="429701" y="316116"/>
                  </a:lnTo>
                  <a:lnTo>
                    <a:pt x="511768" y="314373"/>
                  </a:lnTo>
                  <a:lnTo>
                    <a:pt x="540906" y="374437"/>
                  </a:lnTo>
                  <a:lnTo>
                    <a:pt x="611753" y="266576"/>
                  </a:lnTo>
                  <a:lnTo>
                    <a:pt x="675494" y="340681"/>
                  </a:lnTo>
                  <a:lnTo>
                    <a:pt x="712994" y="355854"/>
                  </a:lnTo>
                  <a:lnTo>
                    <a:pt x="768458" y="416928"/>
                  </a:lnTo>
                  <a:lnTo>
                    <a:pt x="704955" y="3143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2" name="Forme libre : forme 5711">
              <a:extLst>
                <a:ext uri="{FF2B5EF4-FFF2-40B4-BE49-F238E27FC236}">
                  <a16:creationId xmlns:a16="http://schemas.microsoft.com/office/drawing/2014/main" id="{3002C6F9-7677-78B5-FDFC-FC976609487D}"/>
                </a:ext>
              </a:extLst>
            </p:cNvPr>
            <p:cNvSpPr/>
            <p:nvPr/>
          </p:nvSpPr>
          <p:spPr>
            <a:xfrm>
              <a:off x="5371118" y="4370845"/>
              <a:ext cx="80028" cy="20364"/>
            </a:xfrm>
            <a:custGeom>
              <a:avLst/>
              <a:gdLst>
                <a:gd name="connsiteX0" fmla="*/ 0 w 80028"/>
                <a:gd name="connsiteY0" fmla="*/ 19783 h 20364"/>
                <a:gd name="connsiteX1" fmla="*/ 3410 w 80028"/>
                <a:gd name="connsiteY1" fmla="*/ 7687 h 20364"/>
                <a:gd name="connsiteX2" fmla="*/ 32499 w 80028"/>
                <a:gd name="connsiteY2" fmla="*/ 6906 h 20364"/>
                <a:gd name="connsiteX3" fmla="*/ 38528 w 80028"/>
                <a:gd name="connsiteY3" fmla="*/ 438 h 20364"/>
                <a:gd name="connsiteX4" fmla="*/ 46996 w 80028"/>
                <a:gd name="connsiteY4" fmla="*/ 0 h 20364"/>
                <a:gd name="connsiteX5" fmla="*/ 57540 w 80028"/>
                <a:gd name="connsiteY5" fmla="*/ 6725 h 20364"/>
                <a:gd name="connsiteX6" fmla="*/ 65827 w 80028"/>
                <a:gd name="connsiteY6" fmla="*/ 6848 h 20364"/>
                <a:gd name="connsiteX7" fmla="*/ 74628 w 80028"/>
                <a:gd name="connsiteY7" fmla="*/ 2248 h 20364"/>
                <a:gd name="connsiteX8" fmla="*/ 80029 w 80028"/>
                <a:gd name="connsiteY8" fmla="*/ 10144 h 20364"/>
                <a:gd name="connsiteX9" fmla="*/ 68466 w 80028"/>
                <a:gd name="connsiteY9" fmla="*/ 16269 h 20364"/>
                <a:gd name="connsiteX10" fmla="*/ 56864 w 80028"/>
                <a:gd name="connsiteY10" fmla="*/ 15783 h 20364"/>
                <a:gd name="connsiteX11" fmla="*/ 45406 w 80028"/>
                <a:gd name="connsiteY11" fmla="*/ 10020 h 20364"/>
                <a:gd name="connsiteX12" fmla="*/ 35509 w 80028"/>
                <a:gd name="connsiteY12" fmla="*/ 16316 h 20364"/>
                <a:gd name="connsiteX13" fmla="*/ 30727 w 80028"/>
                <a:gd name="connsiteY13" fmla="*/ 16545 h 20364"/>
                <a:gd name="connsiteX14" fmla="*/ 24308 w 80028"/>
                <a:gd name="connsiteY14" fmla="*/ 20364 h 2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28" h="20364">
                  <a:moveTo>
                    <a:pt x="0" y="19783"/>
                  </a:moveTo>
                  <a:lnTo>
                    <a:pt x="3410" y="7687"/>
                  </a:lnTo>
                  <a:lnTo>
                    <a:pt x="32499" y="6906"/>
                  </a:lnTo>
                  <a:lnTo>
                    <a:pt x="38528" y="438"/>
                  </a:lnTo>
                  <a:lnTo>
                    <a:pt x="46996" y="0"/>
                  </a:lnTo>
                  <a:lnTo>
                    <a:pt x="57540" y="6725"/>
                  </a:lnTo>
                  <a:lnTo>
                    <a:pt x="65827" y="6848"/>
                  </a:lnTo>
                  <a:lnTo>
                    <a:pt x="74628" y="2248"/>
                  </a:lnTo>
                  <a:lnTo>
                    <a:pt x="80029" y="10144"/>
                  </a:lnTo>
                  <a:lnTo>
                    <a:pt x="68466" y="16269"/>
                  </a:lnTo>
                  <a:lnTo>
                    <a:pt x="56864" y="15783"/>
                  </a:lnTo>
                  <a:lnTo>
                    <a:pt x="45406" y="10020"/>
                  </a:lnTo>
                  <a:lnTo>
                    <a:pt x="35509" y="16316"/>
                  </a:lnTo>
                  <a:lnTo>
                    <a:pt x="30727" y="16545"/>
                  </a:lnTo>
                  <a:lnTo>
                    <a:pt x="24308" y="203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3" name="Forme libre : forme 5712">
              <a:extLst>
                <a:ext uri="{FF2B5EF4-FFF2-40B4-BE49-F238E27FC236}">
                  <a16:creationId xmlns:a16="http://schemas.microsoft.com/office/drawing/2014/main" id="{EE2A154A-CA9A-5B3E-1BD7-605A91926D89}"/>
                </a:ext>
              </a:extLst>
            </p:cNvPr>
            <p:cNvSpPr/>
            <p:nvPr/>
          </p:nvSpPr>
          <p:spPr>
            <a:xfrm>
              <a:off x="5416819" y="4406011"/>
              <a:ext cx="194910" cy="142217"/>
            </a:xfrm>
            <a:custGeom>
              <a:avLst/>
              <a:gdLst>
                <a:gd name="connsiteX0" fmla="*/ 178689 w 194910"/>
                <a:gd name="connsiteY0" fmla="*/ 132131 h 142217"/>
                <a:gd name="connsiteX1" fmla="*/ 171136 w 194910"/>
                <a:gd name="connsiteY1" fmla="*/ 131436 h 142217"/>
                <a:gd name="connsiteX2" fmla="*/ 165697 w 194910"/>
                <a:gd name="connsiteY2" fmla="*/ 142218 h 142217"/>
                <a:gd name="connsiteX3" fmla="*/ 158144 w 194910"/>
                <a:gd name="connsiteY3" fmla="*/ 142085 h 142217"/>
                <a:gd name="connsiteX4" fmla="*/ 152943 w 194910"/>
                <a:gd name="connsiteY4" fmla="*/ 136388 h 142217"/>
                <a:gd name="connsiteX5" fmla="*/ 154715 w 194910"/>
                <a:gd name="connsiteY5" fmla="*/ 125635 h 142217"/>
                <a:gd name="connsiteX6" fmla="*/ 143542 w 194910"/>
                <a:gd name="connsiteY6" fmla="*/ 109214 h 142217"/>
                <a:gd name="connsiteX7" fmla="*/ 136570 w 194910"/>
                <a:gd name="connsiteY7" fmla="*/ 112233 h 142217"/>
                <a:gd name="connsiteX8" fmla="*/ 130864 w 194910"/>
                <a:gd name="connsiteY8" fmla="*/ 112833 h 142217"/>
                <a:gd name="connsiteX9" fmla="*/ 123511 w 194910"/>
                <a:gd name="connsiteY9" fmla="*/ 114367 h 142217"/>
                <a:gd name="connsiteX10" fmla="*/ 123816 w 194910"/>
                <a:gd name="connsiteY10" fmla="*/ 104527 h 142217"/>
                <a:gd name="connsiteX11" fmla="*/ 119520 w 194910"/>
                <a:gd name="connsiteY11" fmla="*/ 97507 h 142217"/>
                <a:gd name="connsiteX12" fmla="*/ 120387 w 194910"/>
                <a:gd name="connsiteY12" fmla="*/ 89688 h 142217"/>
                <a:gd name="connsiteX13" fmla="*/ 114595 w 194910"/>
                <a:gd name="connsiteY13" fmla="*/ 78381 h 142217"/>
                <a:gd name="connsiteX14" fmla="*/ 107166 w 194910"/>
                <a:gd name="connsiteY14" fmla="*/ 68752 h 142217"/>
                <a:gd name="connsiteX15" fmla="*/ 85811 w 194910"/>
                <a:gd name="connsiteY15" fmla="*/ 68723 h 142217"/>
                <a:gd name="connsiteX16" fmla="*/ 79581 w 194910"/>
                <a:gd name="connsiteY16" fmla="*/ 73800 h 142217"/>
                <a:gd name="connsiteX17" fmla="*/ 72228 w 194910"/>
                <a:gd name="connsiteY17" fmla="*/ 74409 h 142217"/>
                <a:gd name="connsiteX18" fmla="*/ 67666 w 194910"/>
                <a:gd name="connsiteY18" fmla="*/ 80220 h 142217"/>
                <a:gd name="connsiteX19" fmla="*/ 64579 w 194910"/>
                <a:gd name="connsiteY19" fmla="*/ 87678 h 142217"/>
                <a:gd name="connsiteX20" fmla="*/ 50311 w 194910"/>
                <a:gd name="connsiteY20" fmla="*/ 99498 h 142217"/>
                <a:gd name="connsiteX21" fmla="*/ 38595 w 194910"/>
                <a:gd name="connsiteY21" fmla="*/ 83591 h 142217"/>
                <a:gd name="connsiteX22" fmla="*/ 28213 w 194910"/>
                <a:gd name="connsiteY22" fmla="*/ 73057 h 142217"/>
                <a:gd name="connsiteX23" fmla="*/ 21374 w 194910"/>
                <a:gd name="connsiteY23" fmla="*/ 69571 h 142217"/>
                <a:gd name="connsiteX24" fmla="*/ 14707 w 194910"/>
                <a:gd name="connsiteY24" fmla="*/ 64208 h 142217"/>
                <a:gd name="connsiteX25" fmla="*/ 11668 w 194910"/>
                <a:gd name="connsiteY25" fmla="*/ 52292 h 142217"/>
                <a:gd name="connsiteX26" fmla="*/ 7763 w 194910"/>
                <a:gd name="connsiteY26" fmla="*/ 46339 h 142217"/>
                <a:gd name="connsiteX27" fmla="*/ 0 w 194910"/>
                <a:gd name="connsiteY27" fmla="*/ 41910 h 142217"/>
                <a:gd name="connsiteX28" fmla="*/ 11878 w 194910"/>
                <a:gd name="connsiteY28" fmla="*/ 28728 h 142217"/>
                <a:gd name="connsiteX29" fmla="*/ 19974 w 194910"/>
                <a:gd name="connsiteY29" fmla="*/ 29223 h 142217"/>
                <a:gd name="connsiteX30" fmla="*/ 26946 w 194910"/>
                <a:gd name="connsiteY30" fmla="*/ 24679 h 142217"/>
                <a:gd name="connsiteX31" fmla="*/ 32833 w 194910"/>
                <a:gd name="connsiteY31" fmla="*/ 24632 h 142217"/>
                <a:gd name="connsiteX32" fmla="*/ 37043 w 194910"/>
                <a:gd name="connsiteY32" fmla="*/ 21041 h 142217"/>
                <a:gd name="connsiteX33" fmla="*/ 34766 w 194910"/>
                <a:gd name="connsiteY33" fmla="*/ 12059 h 142217"/>
                <a:gd name="connsiteX34" fmla="*/ 37700 w 194910"/>
                <a:gd name="connsiteY34" fmla="*/ 9220 h 142217"/>
                <a:gd name="connsiteX35" fmla="*/ 38186 w 194910"/>
                <a:gd name="connsiteY35" fmla="*/ 0 h 142217"/>
                <a:gd name="connsiteX36" fmla="*/ 51073 w 194910"/>
                <a:gd name="connsiteY36" fmla="*/ 286 h 142217"/>
                <a:gd name="connsiteX37" fmla="*/ 70276 w 194910"/>
                <a:gd name="connsiteY37" fmla="*/ 6915 h 142217"/>
                <a:gd name="connsiteX38" fmla="*/ 76162 w 194910"/>
                <a:gd name="connsiteY38" fmla="*/ 6306 h 142217"/>
                <a:gd name="connsiteX39" fmla="*/ 78162 w 194910"/>
                <a:gd name="connsiteY39" fmla="*/ 3277 h 142217"/>
                <a:gd name="connsiteX40" fmla="*/ 92726 w 194910"/>
                <a:gd name="connsiteY40" fmla="*/ 5429 h 142217"/>
                <a:gd name="connsiteX41" fmla="*/ 96584 w 194910"/>
                <a:gd name="connsiteY41" fmla="*/ 3896 h 142217"/>
                <a:gd name="connsiteX42" fmla="*/ 98117 w 194910"/>
                <a:gd name="connsiteY42" fmla="*/ 13840 h 142217"/>
                <a:gd name="connsiteX43" fmla="*/ 102356 w 194910"/>
                <a:gd name="connsiteY43" fmla="*/ 13811 h 142217"/>
                <a:gd name="connsiteX44" fmla="*/ 109328 w 194910"/>
                <a:gd name="connsiteY44" fmla="*/ 10192 h 142217"/>
                <a:gd name="connsiteX45" fmla="*/ 113757 w 194910"/>
                <a:gd name="connsiteY45" fmla="*/ 11097 h 142217"/>
                <a:gd name="connsiteX46" fmla="*/ 121168 w 194910"/>
                <a:gd name="connsiteY46" fmla="*/ 17983 h 142217"/>
                <a:gd name="connsiteX47" fmla="*/ 132598 w 194910"/>
                <a:gd name="connsiteY47" fmla="*/ 20155 h 142217"/>
                <a:gd name="connsiteX48" fmla="*/ 139922 w 194910"/>
                <a:gd name="connsiteY48" fmla="*/ 14288 h 142217"/>
                <a:gd name="connsiteX49" fmla="*/ 148552 w 194910"/>
                <a:gd name="connsiteY49" fmla="*/ 10649 h 142217"/>
                <a:gd name="connsiteX50" fmla="*/ 154972 w 194910"/>
                <a:gd name="connsiteY50" fmla="*/ 6848 h 142217"/>
                <a:gd name="connsiteX51" fmla="*/ 160316 w 194910"/>
                <a:gd name="connsiteY51" fmla="*/ 7563 h 142217"/>
                <a:gd name="connsiteX52" fmla="*/ 166249 w 194910"/>
                <a:gd name="connsiteY52" fmla="*/ 13526 h 142217"/>
                <a:gd name="connsiteX53" fmla="*/ 169431 w 194910"/>
                <a:gd name="connsiteY53" fmla="*/ 21012 h 142217"/>
                <a:gd name="connsiteX54" fmla="*/ 180375 w 194910"/>
                <a:gd name="connsiteY54" fmla="*/ 32356 h 142217"/>
                <a:gd name="connsiteX55" fmla="*/ 174898 w 194910"/>
                <a:gd name="connsiteY55" fmla="*/ 39319 h 142217"/>
                <a:gd name="connsiteX56" fmla="*/ 173860 w 194910"/>
                <a:gd name="connsiteY56" fmla="*/ 48111 h 142217"/>
                <a:gd name="connsiteX57" fmla="*/ 179546 w 194910"/>
                <a:gd name="connsiteY57" fmla="*/ 45453 h 142217"/>
                <a:gd name="connsiteX58" fmla="*/ 182880 w 194910"/>
                <a:gd name="connsiteY58" fmla="*/ 48606 h 142217"/>
                <a:gd name="connsiteX59" fmla="*/ 181470 w 194910"/>
                <a:gd name="connsiteY59" fmla="*/ 56645 h 142217"/>
                <a:gd name="connsiteX60" fmla="*/ 189624 w 194910"/>
                <a:gd name="connsiteY60" fmla="*/ 64427 h 142217"/>
                <a:gd name="connsiteX61" fmla="*/ 184299 w 194910"/>
                <a:gd name="connsiteY61" fmla="*/ 66513 h 142217"/>
                <a:gd name="connsiteX62" fmla="*/ 182156 w 194910"/>
                <a:gd name="connsiteY62" fmla="*/ 75657 h 142217"/>
                <a:gd name="connsiteX63" fmla="*/ 188309 w 194910"/>
                <a:gd name="connsiteY63" fmla="*/ 86782 h 142217"/>
                <a:gd name="connsiteX64" fmla="*/ 194910 w 194910"/>
                <a:gd name="connsiteY64" fmla="*/ 108280 h 142217"/>
                <a:gd name="connsiteX65" fmla="*/ 184985 w 194910"/>
                <a:gd name="connsiteY65" fmla="*/ 111509 h 142217"/>
                <a:gd name="connsiteX66" fmla="*/ 182432 w 194910"/>
                <a:gd name="connsiteY66" fmla="*/ 115234 h 142217"/>
                <a:gd name="connsiteX67" fmla="*/ 184500 w 194910"/>
                <a:gd name="connsiteY67" fmla="*/ 120415 h 142217"/>
                <a:gd name="connsiteX68" fmla="*/ 182928 w 194910"/>
                <a:gd name="connsiteY68" fmla="*/ 132093 h 142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94910" h="142217">
                  <a:moveTo>
                    <a:pt x="178689" y="132131"/>
                  </a:moveTo>
                  <a:lnTo>
                    <a:pt x="171136" y="131436"/>
                  </a:lnTo>
                  <a:lnTo>
                    <a:pt x="165697" y="142218"/>
                  </a:lnTo>
                  <a:lnTo>
                    <a:pt x="158144" y="142085"/>
                  </a:lnTo>
                  <a:lnTo>
                    <a:pt x="152943" y="136388"/>
                  </a:lnTo>
                  <a:lnTo>
                    <a:pt x="154715" y="125635"/>
                  </a:lnTo>
                  <a:lnTo>
                    <a:pt x="143542" y="109214"/>
                  </a:lnTo>
                  <a:lnTo>
                    <a:pt x="136570" y="112233"/>
                  </a:lnTo>
                  <a:lnTo>
                    <a:pt x="130864" y="112833"/>
                  </a:lnTo>
                  <a:lnTo>
                    <a:pt x="123511" y="114367"/>
                  </a:lnTo>
                  <a:lnTo>
                    <a:pt x="123816" y="104527"/>
                  </a:lnTo>
                  <a:lnTo>
                    <a:pt x="119520" y="97507"/>
                  </a:lnTo>
                  <a:lnTo>
                    <a:pt x="120387" y="89688"/>
                  </a:lnTo>
                  <a:lnTo>
                    <a:pt x="114595" y="78381"/>
                  </a:lnTo>
                  <a:lnTo>
                    <a:pt x="107166" y="68752"/>
                  </a:lnTo>
                  <a:lnTo>
                    <a:pt x="85811" y="68723"/>
                  </a:lnTo>
                  <a:lnTo>
                    <a:pt x="79581" y="73800"/>
                  </a:lnTo>
                  <a:lnTo>
                    <a:pt x="72228" y="74409"/>
                  </a:lnTo>
                  <a:lnTo>
                    <a:pt x="67666" y="80220"/>
                  </a:lnTo>
                  <a:lnTo>
                    <a:pt x="64579" y="87678"/>
                  </a:lnTo>
                  <a:lnTo>
                    <a:pt x="50311" y="99498"/>
                  </a:lnTo>
                  <a:lnTo>
                    <a:pt x="38595" y="83591"/>
                  </a:lnTo>
                  <a:lnTo>
                    <a:pt x="28213" y="73057"/>
                  </a:lnTo>
                  <a:lnTo>
                    <a:pt x="21374" y="69571"/>
                  </a:lnTo>
                  <a:lnTo>
                    <a:pt x="14707" y="64208"/>
                  </a:lnTo>
                  <a:lnTo>
                    <a:pt x="11668" y="52292"/>
                  </a:lnTo>
                  <a:lnTo>
                    <a:pt x="7763" y="46339"/>
                  </a:lnTo>
                  <a:lnTo>
                    <a:pt x="0" y="41910"/>
                  </a:lnTo>
                  <a:lnTo>
                    <a:pt x="11878" y="28728"/>
                  </a:lnTo>
                  <a:lnTo>
                    <a:pt x="19974" y="29223"/>
                  </a:lnTo>
                  <a:lnTo>
                    <a:pt x="26946" y="24679"/>
                  </a:lnTo>
                  <a:lnTo>
                    <a:pt x="32833" y="24632"/>
                  </a:lnTo>
                  <a:lnTo>
                    <a:pt x="37043" y="21041"/>
                  </a:lnTo>
                  <a:lnTo>
                    <a:pt x="34766" y="12059"/>
                  </a:lnTo>
                  <a:lnTo>
                    <a:pt x="37700" y="9220"/>
                  </a:lnTo>
                  <a:lnTo>
                    <a:pt x="38186" y="0"/>
                  </a:lnTo>
                  <a:lnTo>
                    <a:pt x="51073" y="286"/>
                  </a:lnTo>
                  <a:lnTo>
                    <a:pt x="70276" y="6915"/>
                  </a:lnTo>
                  <a:lnTo>
                    <a:pt x="76162" y="6306"/>
                  </a:lnTo>
                  <a:lnTo>
                    <a:pt x="78162" y="3277"/>
                  </a:lnTo>
                  <a:lnTo>
                    <a:pt x="92726" y="5429"/>
                  </a:lnTo>
                  <a:lnTo>
                    <a:pt x="96584" y="3896"/>
                  </a:lnTo>
                  <a:lnTo>
                    <a:pt x="98117" y="13840"/>
                  </a:lnTo>
                  <a:lnTo>
                    <a:pt x="102356" y="13811"/>
                  </a:lnTo>
                  <a:lnTo>
                    <a:pt x="109328" y="10192"/>
                  </a:lnTo>
                  <a:lnTo>
                    <a:pt x="113757" y="11097"/>
                  </a:lnTo>
                  <a:lnTo>
                    <a:pt x="121168" y="17983"/>
                  </a:lnTo>
                  <a:lnTo>
                    <a:pt x="132598" y="20155"/>
                  </a:lnTo>
                  <a:lnTo>
                    <a:pt x="139922" y="14288"/>
                  </a:lnTo>
                  <a:lnTo>
                    <a:pt x="148552" y="10649"/>
                  </a:lnTo>
                  <a:lnTo>
                    <a:pt x="154972" y="6848"/>
                  </a:lnTo>
                  <a:lnTo>
                    <a:pt x="160316" y="7563"/>
                  </a:lnTo>
                  <a:lnTo>
                    <a:pt x="166249" y="13526"/>
                  </a:lnTo>
                  <a:lnTo>
                    <a:pt x="169431" y="21012"/>
                  </a:lnTo>
                  <a:lnTo>
                    <a:pt x="180375" y="32356"/>
                  </a:lnTo>
                  <a:lnTo>
                    <a:pt x="174898" y="39319"/>
                  </a:lnTo>
                  <a:lnTo>
                    <a:pt x="173860" y="48111"/>
                  </a:lnTo>
                  <a:lnTo>
                    <a:pt x="179546" y="45453"/>
                  </a:lnTo>
                  <a:lnTo>
                    <a:pt x="182880" y="48606"/>
                  </a:lnTo>
                  <a:lnTo>
                    <a:pt x="181470" y="56645"/>
                  </a:lnTo>
                  <a:lnTo>
                    <a:pt x="189624" y="64427"/>
                  </a:lnTo>
                  <a:lnTo>
                    <a:pt x="184299" y="66513"/>
                  </a:lnTo>
                  <a:lnTo>
                    <a:pt x="182156" y="75657"/>
                  </a:lnTo>
                  <a:lnTo>
                    <a:pt x="188309" y="86782"/>
                  </a:lnTo>
                  <a:lnTo>
                    <a:pt x="194910" y="108280"/>
                  </a:lnTo>
                  <a:lnTo>
                    <a:pt x="184985" y="111509"/>
                  </a:lnTo>
                  <a:lnTo>
                    <a:pt x="182432" y="115234"/>
                  </a:lnTo>
                  <a:lnTo>
                    <a:pt x="184500" y="120415"/>
                  </a:lnTo>
                  <a:lnTo>
                    <a:pt x="182928" y="1320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4" name="Forme libre : forme 5713">
              <a:extLst>
                <a:ext uri="{FF2B5EF4-FFF2-40B4-BE49-F238E27FC236}">
                  <a16:creationId xmlns:a16="http://schemas.microsoft.com/office/drawing/2014/main" id="{00A1BF29-5D3A-B71C-81FC-93564F6EA18A}"/>
                </a:ext>
              </a:extLst>
            </p:cNvPr>
            <p:cNvSpPr/>
            <p:nvPr/>
          </p:nvSpPr>
          <p:spPr>
            <a:xfrm>
              <a:off x="6069425" y="4682046"/>
              <a:ext cx="52863" cy="33813"/>
            </a:xfrm>
            <a:custGeom>
              <a:avLst/>
              <a:gdLst>
                <a:gd name="connsiteX0" fmla="*/ 5001 w 52863"/>
                <a:gd name="connsiteY0" fmla="*/ 33814 h 33813"/>
                <a:gd name="connsiteX1" fmla="*/ 0 w 52863"/>
                <a:gd name="connsiteY1" fmla="*/ 29813 h 33813"/>
                <a:gd name="connsiteX2" fmla="*/ 9173 w 52863"/>
                <a:gd name="connsiteY2" fmla="*/ 0 h 33813"/>
                <a:gd name="connsiteX3" fmla="*/ 52635 w 52863"/>
                <a:gd name="connsiteY3" fmla="*/ 610 h 33813"/>
                <a:gd name="connsiteX4" fmla="*/ 52864 w 52863"/>
                <a:gd name="connsiteY4" fmla="*/ 32547 h 33813"/>
                <a:gd name="connsiteX5" fmla="*/ 14002 w 52863"/>
                <a:gd name="connsiteY5" fmla="*/ 32280 h 33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863" h="33813">
                  <a:moveTo>
                    <a:pt x="5001" y="33814"/>
                  </a:moveTo>
                  <a:lnTo>
                    <a:pt x="0" y="29813"/>
                  </a:lnTo>
                  <a:lnTo>
                    <a:pt x="9173" y="0"/>
                  </a:lnTo>
                  <a:lnTo>
                    <a:pt x="52635" y="610"/>
                  </a:lnTo>
                  <a:lnTo>
                    <a:pt x="52864" y="32547"/>
                  </a:lnTo>
                  <a:lnTo>
                    <a:pt x="14002" y="3228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5" name="Forme libre : forme 5714">
              <a:extLst>
                <a:ext uri="{FF2B5EF4-FFF2-40B4-BE49-F238E27FC236}">
                  <a16:creationId xmlns:a16="http://schemas.microsoft.com/office/drawing/2014/main" id="{1702FDB1-E2B4-A3F0-9CEC-FA70FFD851C5}"/>
                </a:ext>
              </a:extLst>
            </p:cNvPr>
            <p:cNvSpPr/>
            <p:nvPr/>
          </p:nvSpPr>
          <p:spPr>
            <a:xfrm>
              <a:off x="6359071" y="3517481"/>
              <a:ext cx="172335" cy="234696"/>
            </a:xfrm>
            <a:custGeom>
              <a:avLst/>
              <a:gdLst>
                <a:gd name="connsiteX0" fmla="*/ 94773 w 172335"/>
                <a:gd name="connsiteY0" fmla="*/ 209112 h 234696"/>
                <a:gd name="connsiteX1" fmla="*/ 109375 w 172335"/>
                <a:gd name="connsiteY1" fmla="*/ 220123 h 234696"/>
                <a:gd name="connsiteX2" fmla="*/ 130159 w 172335"/>
                <a:gd name="connsiteY2" fmla="*/ 218265 h 234696"/>
                <a:gd name="connsiteX3" fmla="*/ 150028 w 172335"/>
                <a:gd name="connsiteY3" fmla="*/ 220580 h 234696"/>
                <a:gd name="connsiteX4" fmla="*/ 149390 w 172335"/>
                <a:gd name="connsiteY4" fmla="*/ 226247 h 234696"/>
                <a:gd name="connsiteX5" fmla="*/ 163944 w 172335"/>
                <a:gd name="connsiteY5" fmla="*/ 222342 h 234696"/>
                <a:gd name="connsiteX6" fmla="*/ 160601 w 172335"/>
                <a:gd name="connsiteY6" fmla="*/ 231934 h 234696"/>
                <a:gd name="connsiteX7" fmla="*/ 122139 w 172335"/>
                <a:gd name="connsiteY7" fmla="*/ 234696 h 234696"/>
                <a:gd name="connsiteX8" fmla="*/ 122405 w 172335"/>
                <a:gd name="connsiteY8" fmla="*/ 229333 h 234696"/>
                <a:gd name="connsiteX9" fmla="*/ 89821 w 172335"/>
                <a:gd name="connsiteY9" fmla="*/ 222990 h 234696"/>
                <a:gd name="connsiteX10" fmla="*/ 94773 w 172335"/>
                <a:gd name="connsiteY10" fmla="*/ 209112 h 234696"/>
                <a:gd name="connsiteX11" fmla="*/ 172335 w 172335"/>
                <a:gd name="connsiteY11" fmla="*/ 9487 h 234696"/>
                <a:gd name="connsiteX12" fmla="*/ 164068 w 172335"/>
                <a:gd name="connsiteY12" fmla="*/ 31633 h 234696"/>
                <a:gd name="connsiteX13" fmla="*/ 157724 w 172335"/>
                <a:gd name="connsiteY13" fmla="*/ 35576 h 234696"/>
                <a:gd name="connsiteX14" fmla="*/ 141455 w 172335"/>
                <a:gd name="connsiteY14" fmla="*/ 34585 h 234696"/>
                <a:gd name="connsiteX15" fmla="*/ 127521 w 172335"/>
                <a:gd name="connsiteY15" fmla="*/ 31252 h 234696"/>
                <a:gd name="connsiteX16" fmla="*/ 95173 w 172335"/>
                <a:gd name="connsiteY16" fmla="*/ 40386 h 234696"/>
                <a:gd name="connsiteX17" fmla="*/ 113690 w 172335"/>
                <a:gd name="connsiteY17" fmla="*/ 60027 h 234696"/>
                <a:gd name="connsiteX18" fmla="*/ 100126 w 172335"/>
                <a:gd name="connsiteY18" fmla="*/ 65684 h 234696"/>
                <a:gd name="connsiteX19" fmla="*/ 85248 w 172335"/>
                <a:gd name="connsiteY19" fmla="*/ 65722 h 234696"/>
                <a:gd name="connsiteX20" fmla="*/ 71123 w 172335"/>
                <a:gd name="connsiteY20" fmla="*/ 47777 h 234696"/>
                <a:gd name="connsiteX21" fmla="*/ 66113 w 172335"/>
                <a:gd name="connsiteY21" fmla="*/ 55436 h 234696"/>
                <a:gd name="connsiteX22" fmla="*/ 72075 w 172335"/>
                <a:gd name="connsiteY22" fmla="*/ 76162 h 234696"/>
                <a:gd name="connsiteX23" fmla="*/ 85439 w 172335"/>
                <a:gd name="connsiteY23" fmla="*/ 92326 h 234696"/>
                <a:gd name="connsiteX24" fmla="*/ 75371 w 172335"/>
                <a:gd name="connsiteY24" fmla="*/ 99832 h 234696"/>
                <a:gd name="connsiteX25" fmla="*/ 90249 w 172335"/>
                <a:gd name="connsiteY25" fmla="*/ 115548 h 234696"/>
                <a:gd name="connsiteX26" fmla="*/ 103470 w 172335"/>
                <a:gd name="connsiteY26" fmla="*/ 125387 h 234696"/>
                <a:gd name="connsiteX27" fmla="*/ 103870 w 172335"/>
                <a:gd name="connsiteY27" fmla="*/ 144437 h 234696"/>
                <a:gd name="connsiteX28" fmla="*/ 90935 w 172335"/>
                <a:gd name="connsiteY28" fmla="*/ 133522 h 234696"/>
                <a:gd name="connsiteX29" fmla="*/ 79162 w 172335"/>
                <a:gd name="connsiteY29" fmla="*/ 135512 h 234696"/>
                <a:gd name="connsiteX30" fmla="*/ 87039 w 172335"/>
                <a:gd name="connsiteY30" fmla="*/ 152648 h 234696"/>
                <a:gd name="connsiteX31" fmla="*/ 78305 w 172335"/>
                <a:gd name="connsiteY31" fmla="*/ 154457 h 234696"/>
                <a:gd name="connsiteX32" fmla="*/ 68780 w 172335"/>
                <a:gd name="connsiteY32" fmla="*/ 147847 h 234696"/>
                <a:gd name="connsiteX33" fmla="*/ 80210 w 172335"/>
                <a:gd name="connsiteY33" fmla="*/ 185490 h 234696"/>
                <a:gd name="connsiteX34" fmla="*/ 74656 w 172335"/>
                <a:gd name="connsiteY34" fmla="*/ 185623 h 234696"/>
                <a:gd name="connsiteX35" fmla="*/ 70408 w 172335"/>
                <a:gd name="connsiteY35" fmla="*/ 173593 h 234696"/>
                <a:gd name="connsiteX36" fmla="*/ 64951 w 172335"/>
                <a:gd name="connsiteY36" fmla="*/ 173355 h 234696"/>
                <a:gd name="connsiteX37" fmla="*/ 62474 w 172335"/>
                <a:gd name="connsiteY37" fmla="*/ 185909 h 234696"/>
                <a:gd name="connsiteX38" fmla="*/ 58150 w 172335"/>
                <a:gd name="connsiteY38" fmla="*/ 183061 h 234696"/>
                <a:gd name="connsiteX39" fmla="*/ 59121 w 172335"/>
                <a:gd name="connsiteY39" fmla="*/ 176022 h 234696"/>
                <a:gd name="connsiteX40" fmla="*/ 53778 w 172335"/>
                <a:gd name="connsiteY40" fmla="*/ 166068 h 234696"/>
                <a:gd name="connsiteX41" fmla="*/ 47710 w 172335"/>
                <a:gd name="connsiteY41" fmla="*/ 166068 h 234696"/>
                <a:gd name="connsiteX42" fmla="*/ 48834 w 172335"/>
                <a:gd name="connsiteY42" fmla="*/ 174098 h 234696"/>
                <a:gd name="connsiteX43" fmla="*/ 46453 w 172335"/>
                <a:gd name="connsiteY43" fmla="*/ 176641 h 234696"/>
                <a:gd name="connsiteX44" fmla="*/ 40586 w 172335"/>
                <a:gd name="connsiteY44" fmla="*/ 171498 h 234696"/>
                <a:gd name="connsiteX45" fmla="*/ 36938 w 172335"/>
                <a:gd name="connsiteY45" fmla="*/ 161773 h 234696"/>
                <a:gd name="connsiteX46" fmla="*/ 41881 w 172335"/>
                <a:gd name="connsiteY46" fmla="*/ 156353 h 234696"/>
                <a:gd name="connsiteX47" fmla="*/ 38481 w 172335"/>
                <a:gd name="connsiteY47" fmla="*/ 149305 h 234696"/>
                <a:gd name="connsiteX48" fmla="*/ 34594 w 172335"/>
                <a:gd name="connsiteY48" fmla="*/ 145666 h 234696"/>
                <a:gd name="connsiteX49" fmla="*/ 30566 w 172335"/>
                <a:gd name="connsiteY49" fmla="*/ 144771 h 234696"/>
                <a:gd name="connsiteX50" fmla="*/ 25889 w 172335"/>
                <a:gd name="connsiteY50" fmla="*/ 135789 h 234696"/>
                <a:gd name="connsiteX51" fmla="*/ 31442 w 172335"/>
                <a:gd name="connsiteY51" fmla="*/ 130845 h 234696"/>
                <a:gd name="connsiteX52" fmla="*/ 34842 w 172335"/>
                <a:gd name="connsiteY52" fmla="*/ 126235 h 234696"/>
                <a:gd name="connsiteX53" fmla="*/ 40186 w 172335"/>
                <a:gd name="connsiteY53" fmla="*/ 127206 h 234696"/>
                <a:gd name="connsiteX54" fmla="*/ 42576 w 172335"/>
                <a:gd name="connsiteY54" fmla="*/ 123301 h 234696"/>
                <a:gd name="connsiteX55" fmla="*/ 48196 w 172335"/>
                <a:gd name="connsiteY55" fmla="*/ 121749 h 234696"/>
                <a:gd name="connsiteX56" fmla="*/ 54702 w 172335"/>
                <a:gd name="connsiteY56" fmla="*/ 126140 h 234696"/>
                <a:gd name="connsiteX57" fmla="*/ 59969 w 172335"/>
                <a:gd name="connsiteY57" fmla="*/ 127749 h 234696"/>
                <a:gd name="connsiteX58" fmla="*/ 63646 w 172335"/>
                <a:gd name="connsiteY58" fmla="*/ 121825 h 234696"/>
                <a:gd name="connsiteX59" fmla="*/ 54711 w 172335"/>
                <a:gd name="connsiteY59" fmla="*/ 121025 h 234696"/>
                <a:gd name="connsiteX60" fmla="*/ 49425 w 172335"/>
                <a:gd name="connsiteY60" fmla="*/ 119177 h 234696"/>
                <a:gd name="connsiteX61" fmla="*/ 37519 w 172335"/>
                <a:gd name="connsiteY61" fmla="*/ 121844 h 234696"/>
                <a:gd name="connsiteX62" fmla="*/ 25908 w 172335"/>
                <a:gd name="connsiteY62" fmla="*/ 122301 h 234696"/>
                <a:gd name="connsiteX63" fmla="*/ 15497 w 172335"/>
                <a:gd name="connsiteY63" fmla="*/ 106671 h 234696"/>
                <a:gd name="connsiteX64" fmla="*/ 13773 w 172335"/>
                <a:gd name="connsiteY64" fmla="*/ 104251 h 234696"/>
                <a:gd name="connsiteX65" fmla="*/ 15364 w 172335"/>
                <a:gd name="connsiteY65" fmla="*/ 98136 h 234696"/>
                <a:gd name="connsiteX66" fmla="*/ 1809 w 172335"/>
                <a:gd name="connsiteY66" fmla="*/ 87135 h 234696"/>
                <a:gd name="connsiteX67" fmla="*/ 0 w 172335"/>
                <a:gd name="connsiteY67" fmla="*/ 77324 h 234696"/>
                <a:gd name="connsiteX68" fmla="*/ 12420 w 172335"/>
                <a:gd name="connsiteY68" fmla="*/ 60512 h 234696"/>
                <a:gd name="connsiteX69" fmla="*/ 14021 w 172335"/>
                <a:gd name="connsiteY69" fmla="*/ 49178 h 234696"/>
                <a:gd name="connsiteX70" fmla="*/ 22698 w 172335"/>
                <a:gd name="connsiteY70" fmla="*/ 44101 h 234696"/>
                <a:gd name="connsiteX71" fmla="*/ 23231 w 172335"/>
                <a:gd name="connsiteY71" fmla="*/ 34881 h 234696"/>
                <a:gd name="connsiteX72" fmla="*/ 40700 w 172335"/>
                <a:gd name="connsiteY72" fmla="*/ 31766 h 234696"/>
                <a:gd name="connsiteX73" fmla="*/ 50882 w 172335"/>
                <a:gd name="connsiteY73" fmla="*/ 24051 h 234696"/>
                <a:gd name="connsiteX74" fmla="*/ 65361 w 172335"/>
                <a:gd name="connsiteY74" fmla="*/ 24737 h 234696"/>
                <a:gd name="connsiteX75" fmla="*/ 69752 w 172335"/>
                <a:gd name="connsiteY75" fmla="*/ 18574 h 234696"/>
                <a:gd name="connsiteX76" fmla="*/ 74838 w 172335"/>
                <a:gd name="connsiteY76" fmla="*/ 17393 h 234696"/>
                <a:gd name="connsiteX77" fmla="*/ 94592 w 172335"/>
                <a:gd name="connsiteY77" fmla="*/ 18412 h 234696"/>
                <a:gd name="connsiteX78" fmla="*/ 115976 w 172335"/>
                <a:gd name="connsiteY78" fmla="*/ 8658 h 234696"/>
                <a:gd name="connsiteX79" fmla="*/ 134798 w 172335"/>
                <a:gd name="connsiteY79" fmla="*/ 21050 h 234696"/>
                <a:gd name="connsiteX80" fmla="*/ 159067 w 172335"/>
                <a:gd name="connsiteY80" fmla="*/ 17707 h 234696"/>
                <a:gd name="connsiteX81" fmla="*/ 159362 w 172335"/>
                <a:gd name="connsiteY81" fmla="*/ 0 h 234696"/>
                <a:gd name="connsiteX82" fmla="*/ 172335 w 172335"/>
                <a:gd name="connsiteY82" fmla="*/ 9487 h 23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72335" h="234696">
                  <a:moveTo>
                    <a:pt x="94773" y="209112"/>
                  </a:moveTo>
                  <a:lnTo>
                    <a:pt x="109375" y="220123"/>
                  </a:lnTo>
                  <a:lnTo>
                    <a:pt x="130159" y="218265"/>
                  </a:lnTo>
                  <a:lnTo>
                    <a:pt x="150028" y="220580"/>
                  </a:lnTo>
                  <a:lnTo>
                    <a:pt x="149390" y="226247"/>
                  </a:lnTo>
                  <a:lnTo>
                    <a:pt x="163944" y="222342"/>
                  </a:lnTo>
                  <a:lnTo>
                    <a:pt x="160601" y="231934"/>
                  </a:lnTo>
                  <a:lnTo>
                    <a:pt x="122139" y="234696"/>
                  </a:lnTo>
                  <a:lnTo>
                    <a:pt x="122405" y="229333"/>
                  </a:lnTo>
                  <a:lnTo>
                    <a:pt x="89821" y="222990"/>
                  </a:lnTo>
                  <a:lnTo>
                    <a:pt x="94773" y="209112"/>
                  </a:lnTo>
                  <a:close/>
                  <a:moveTo>
                    <a:pt x="172335" y="9487"/>
                  </a:moveTo>
                  <a:lnTo>
                    <a:pt x="164068" y="31633"/>
                  </a:lnTo>
                  <a:lnTo>
                    <a:pt x="157724" y="35576"/>
                  </a:lnTo>
                  <a:lnTo>
                    <a:pt x="141455" y="34585"/>
                  </a:lnTo>
                  <a:lnTo>
                    <a:pt x="127521" y="31252"/>
                  </a:lnTo>
                  <a:lnTo>
                    <a:pt x="95173" y="40386"/>
                  </a:lnTo>
                  <a:lnTo>
                    <a:pt x="113690" y="60027"/>
                  </a:lnTo>
                  <a:lnTo>
                    <a:pt x="100126" y="65684"/>
                  </a:lnTo>
                  <a:lnTo>
                    <a:pt x="85248" y="65722"/>
                  </a:lnTo>
                  <a:lnTo>
                    <a:pt x="71123" y="47777"/>
                  </a:lnTo>
                  <a:lnTo>
                    <a:pt x="66113" y="55436"/>
                  </a:lnTo>
                  <a:lnTo>
                    <a:pt x="72075" y="76162"/>
                  </a:lnTo>
                  <a:lnTo>
                    <a:pt x="85439" y="92326"/>
                  </a:lnTo>
                  <a:lnTo>
                    <a:pt x="75371" y="99832"/>
                  </a:lnTo>
                  <a:lnTo>
                    <a:pt x="90249" y="115548"/>
                  </a:lnTo>
                  <a:lnTo>
                    <a:pt x="103470" y="125387"/>
                  </a:lnTo>
                  <a:lnTo>
                    <a:pt x="103870" y="144437"/>
                  </a:lnTo>
                  <a:lnTo>
                    <a:pt x="90935" y="133522"/>
                  </a:lnTo>
                  <a:lnTo>
                    <a:pt x="79162" y="135512"/>
                  </a:lnTo>
                  <a:lnTo>
                    <a:pt x="87039" y="152648"/>
                  </a:lnTo>
                  <a:lnTo>
                    <a:pt x="78305" y="154457"/>
                  </a:lnTo>
                  <a:lnTo>
                    <a:pt x="68780" y="147847"/>
                  </a:lnTo>
                  <a:lnTo>
                    <a:pt x="80210" y="185490"/>
                  </a:lnTo>
                  <a:lnTo>
                    <a:pt x="74656" y="185623"/>
                  </a:lnTo>
                  <a:lnTo>
                    <a:pt x="70408" y="173593"/>
                  </a:lnTo>
                  <a:lnTo>
                    <a:pt x="64951" y="173355"/>
                  </a:lnTo>
                  <a:lnTo>
                    <a:pt x="62474" y="185909"/>
                  </a:lnTo>
                  <a:lnTo>
                    <a:pt x="58150" y="183061"/>
                  </a:lnTo>
                  <a:lnTo>
                    <a:pt x="59121" y="176022"/>
                  </a:lnTo>
                  <a:lnTo>
                    <a:pt x="53778" y="166068"/>
                  </a:lnTo>
                  <a:lnTo>
                    <a:pt x="47710" y="166068"/>
                  </a:lnTo>
                  <a:lnTo>
                    <a:pt x="48834" y="174098"/>
                  </a:lnTo>
                  <a:lnTo>
                    <a:pt x="46453" y="176641"/>
                  </a:lnTo>
                  <a:lnTo>
                    <a:pt x="40586" y="171498"/>
                  </a:lnTo>
                  <a:lnTo>
                    <a:pt x="36938" y="161773"/>
                  </a:lnTo>
                  <a:lnTo>
                    <a:pt x="41881" y="156353"/>
                  </a:lnTo>
                  <a:lnTo>
                    <a:pt x="38481" y="149305"/>
                  </a:lnTo>
                  <a:lnTo>
                    <a:pt x="34594" y="145666"/>
                  </a:lnTo>
                  <a:lnTo>
                    <a:pt x="30566" y="144771"/>
                  </a:lnTo>
                  <a:lnTo>
                    <a:pt x="25889" y="135789"/>
                  </a:lnTo>
                  <a:lnTo>
                    <a:pt x="31442" y="130845"/>
                  </a:lnTo>
                  <a:lnTo>
                    <a:pt x="34842" y="126235"/>
                  </a:lnTo>
                  <a:lnTo>
                    <a:pt x="40186" y="127206"/>
                  </a:lnTo>
                  <a:lnTo>
                    <a:pt x="42576" y="123301"/>
                  </a:lnTo>
                  <a:lnTo>
                    <a:pt x="48196" y="121749"/>
                  </a:lnTo>
                  <a:lnTo>
                    <a:pt x="54702" y="126140"/>
                  </a:lnTo>
                  <a:lnTo>
                    <a:pt x="59969" y="127749"/>
                  </a:lnTo>
                  <a:lnTo>
                    <a:pt x="63646" y="121825"/>
                  </a:lnTo>
                  <a:lnTo>
                    <a:pt x="54711" y="121025"/>
                  </a:lnTo>
                  <a:lnTo>
                    <a:pt x="49425" y="119177"/>
                  </a:lnTo>
                  <a:lnTo>
                    <a:pt x="37519" y="121844"/>
                  </a:lnTo>
                  <a:lnTo>
                    <a:pt x="25908" y="122301"/>
                  </a:lnTo>
                  <a:lnTo>
                    <a:pt x="15497" y="106671"/>
                  </a:lnTo>
                  <a:lnTo>
                    <a:pt x="13773" y="104251"/>
                  </a:lnTo>
                  <a:lnTo>
                    <a:pt x="15364" y="98136"/>
                  </a:lnTo>
                  <a:lnTo>
                    <a:pt x="1809" y="87135"/>
                  </a:lnTo>
                  <a:lnTo>
                    <a:pt x="0" y="77324"/>
                  </a:lnTo>
                  <a:lnTo>
                    <a:pt x="12420" y="60512"/>
                  </a:lnTo>
                  <a:lnTo>
                    <a:pt x="14021" y="49178"/>
                  </a:lnTo>
                  <a:lnTo>
                    <a:pt x="22698" y="44101"/>
                  </a:lnTo>
                  <a:lnTo>
                    <a:pt x="23231" y="34881"/>
                  </a:lnTo>
                  <a:lnTo>
                    <a:pt x="40700" y="31766"/>
                  </a:lnTo>
                  <a:lnTo>
                    <a:pt x="50882" y="24051"/>
                  </a:lnTo>
                  <a:lnTo>
                    <a:pt x="65361" y="24737"/>
                  </a:lnTo>
                  <a:lnTo>
                    <a:pt x="69752" y="18574"/>
                  </a:lnTo>
                  <a:lnTo>
                    <a:pt x="74838" y="17393"/>
                  </a:lnTo>
                  <a:lnTo>
                    <a:pt x="94592" y="18412"/>
                  </a:lnTo>
                  <a:lnTo>
                    <a:pt x="115976" y="8658"/>
                  </a:lnTo>
                  <a:lnTo>
                    <a:pt x="134798" y="21050"/>
                  </a:lnTo>
                  <a:lnTo>
                    <a:pt x="159067" y="17707"/>
                  </a:lnTo>
                  <a:lnTo>
                    <a:pt x="159362" y="0"/>
                  </a:lnTo>
                  <a:lnTo>
                    <a:pt x="172335" y="94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6" name="Forme libre : forme 5715">
              <a:extLst>
                <a:ext uri="{FF2B5EF4-FFF2-40B4-BE49-F238E27FC236}">
                  <a16:creationId xmlns:a16="http://schemas.microsoft.com/office/drawing/2014/main" id="{F5978C3C-8E75-4761-6481-0D48C646C4B1}"/>
                </a:ext>
              </a:extLst>
            </p:cNvPr>
            <p:cNvSpPr/>
            <p:nvPr/>
          </p:nvSpPr>
          <p:spPr>
            <a:xfrm>
              <a:off x="3357762" y="4262032"/>
              <a:ext cx="106937" cy="112661"/>
            </a:xfrm>
            <a:custGeom>
              <a:avLst/>
              <a:gdLst>
                <a:gd name="connsiteX0" fmla="*/ 56979 w 106937"/>
                <a:gd name="connsiteY0" fmla="*/ 112662 h 112661"/>
                <a:gd name="connsiteX1" fmla="*/ 43282 w 106937"/>
                <a:gd name="connsiteY1" fmla="*/ 107899 h 112661"/>
                <a:gd name="connsiteX2" fmla="*/ 26622 w 106937"/>
                <a:gd name="connsiteY2" fmla="*/ 107404 h 112661"/>
                <a:gd name="connsiteX3" fmla="*/ 14402 w 106937"/>
                <a:gd name="connsiteY3" fmla="*/ 101975 h 112661"/>
                <a:gd name="connsiteX4" fmla="*/ 38 w 106937"/>
                <a:gd name="connsiteY4" fmla="*/ 90678 h 112661"/>
                <a:gd name="connsiteX5" fmla="*/ 695 w 106937"/>
                <a:gd name="connsiteY5" fmla="*/ 82687 h 112661"/>
                <a:gd name="connsiteX6" fmla="*/ 3791 w 106937"/>
                <a:gd name="connsiteY6" fmla="*/ 76248 h 112661"/>
                <a:gd name="connsiteX7" fmla="*/ 0 w 106937"/>
                <a:gd name="connsiteY7" fmla="*/ 71104 h 112661"/>
                <a:gd name="connsiteX8" fmla="*/ 12849 w 106937"/>
                <a:gd name="connsiteY8" fmla="*/ 48635 h 112661"/>
                <a:gd name="connsiteX9" fmla="*/ 47130 w 106937"/>
                <a:gd name="connsiteY9" fmla="*/ 48549 h 112661"/>
                <a:gd name="connsiteX10" fmla="*/ 47815 w 106937"/>
                <a:gd name="connsiteY10" fmla="*/ 39138 h 112661"/>
                <a:gd name="connsiteX11" fmla="*/ 43491 w 106937"/>
                <a:gd name="connsiteY11" fmla="*/ 37462 h 112661"/>
                <a:gd name="connsiteX12" fmla="*/ 40519 w 106937"/>
                <a:gd name="connsiteY12" fmla="*/ 31461 h 112661"/>
                <a:gd name="connsiteX13" fmla="*/ 30651 w 106937"/>
                <a:gd name="connsiteY13" fmla="*/ 25060 h 112661"/>
                <a:gd name="connsiteX14" fmla="*/ 20707 w 106937"/>
                <a:gd name="connsiteY14" fmla="*/ 15783 h 112661"/>
                <a:gd name="connsiteX15" fmla="*/ 32766 w 106937"/>
                <a:gd name="connsiteY15" fmla="*/ 15716 h 112661"/>
                <a:gd name="connsiteX16" fmla="*/ 32785 w 106937"/>
                <a:gd name="connsiteY16" fmla="*/ 48 h 112661"/>
                <a:gd name="connsiteX17" fmla="*/ 57721 w 106937"/>
                <a:gd name="connsiteY17" fmla="*/ 0 h 112661"/>
                <a:gd name="connsiteX18" fmla="*/ 82420 w 106937"/>
                <a:gd name="connsiteY18" fmla="*/ 305 h 112661"/>
                <a:gd name="connsiteX19" fmla="*/ 82210 w 106937"/>
                <a:gd name="connsiteY19" fmla="*/ 22355 h 112661"/>
                <a:gd name="connsiteX20" fmla="*/ 80124 w 106937"/>
                <a:gd name="connsiteY20" fmla="*/ 53597 h 112661"/>
                <a:gd name="connsiteX21" fmla="*/ 88097 w 106937"/>
                <a:gd name="connsiteY21" fmla="*/ 53588 h 112661"/>
                <a:gd name="connsiteX22" fmla="*/ 96803 w 106937"/>
                <a:gd name="connsiteY22" fmla="*/ 58579 h 112661"/>
                <a:gd name="connsiteX23" fmla="*/ 99108 w 106937"/>
                <a:gd name="connsiteY23" fmla="*/ 54473 h 112661"/>
                <a:gd name="connsiteX24" fmla="*/ 106937 w 106937"/>
                <a:gd name="connsiteY24" fmla="*/ 57988 h 112661"/>
                <a:gd name="connsiteX25" fmla="*/ 94764 w 106937"/>
                <a:gd name="connsiteY25" fmla="*/ 68494 h 112661"/>
                <a:gd name="connsiteX26" fmla="*/ 82105 w 106937"/>
                <a:gd name="connsiteY26" fmla="*/ 76190 h 112661"/>
                <a:gd name="connsiteX27" fmla="*/ 80229 w 106937"/>
                <a:gd name="connsiteY27" fmla="*/ 81467 h 112661"/>
                <a:gd name="connsiteX28" fmla="*/ 82353 w 106937"/>
                <a:gd name="connsiteY28" fmla="*/ 86859 h 112661"/>
                <a:gd name="connsiteX29" fmla="*/ 76800 w 106937"/>
                <a:gd name="connsiteY29" fmla="*/ 93821 h 112661"/>
                <a:gd name="connsiteX30" fmla="*/ 70552 w 106937"/>
                <a:gd name="connsiteY30" fmla="*/ 95507 h 112661"/>
                <a:gd name="connsiteX31" fmla="*/ 71971 w 106937"/>
                <a:gd name="connsiteY31" fmla="*/ 98736 h 112661"/>
                <a:gd name="connsiteX32" fmla="*/ 66961 w 106937"/>
                <a:gd name="connsiteY32" fmla="*/ 101756 h 112661"/>
                <a:gd name="connsiteX33" fmla="*/ 57807 w 106937"/>
                <a:gd name="connsiteY33" fmla="*/ 108661 h 11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937" h="112661">
                  <a:moveTo>
                    <a:pt x="56979" y="112662"/>
                  </a:moveTo>
                  <a:lnTo>
                    <a:pt x="43282" y="107899"/>
                  </a:lnTo>
                  <a:lnTo>
                    <a:pt x="26622" y="107404"/>
                  </a:lnTo>
                  <a:lnTo>
                    <a:pt x="14402" y="101975"/>
                  </a:lnTo>
                  <a:lnTo>
                    <a:pt x="38" y="90678"/>
                  </a:lnTo>
                  <a:lnTo>
                    <a:pt x="695" y="82687"/>
                  </a:lnTo>
                  <a:lnTo>
                    <a:pt x="3791" y="76248"/>
                  </a:lnTo>
                  <a:lnTo>
                    <a:pt x="0" y="71104"/>
                  </a:lnTo>
                  <a:lnTo>
                    <a:pt x="12849" y="48635"/>
                  </a:lnTo>
                  <a:lnTo>
                    <a:pt x="47130" y="48549"/>
                  </a:lnTo>
                  <a:lnTo>
                    <a:pt x="47815" y="39138"/>
                  </a:lnTo>
                  <a:lnTo>
                    <a:pt x="43491" y="37462"/>
                  </a:lnTo>
                  <a:lnTo>
                    <a:pt x="40519" y="31461"/>
                  </a:lnTo>
                  <a:lnTo>
                    <a:pt x="30651" y="25060"/>
                  </a:lnTo>
                  <a:lnTo>
                    <a:pt x="20707" y="15783"/>
                  </a:lnTo>
                  <a:lnTo>
                    <a:pt x="32766" y="15716"/>
                  </a:lnTo>
                  <a:lnTo>
                    <a:pt x="32785" y="48"/>
                  </a:lnTo>
                  <a:lnTo>
                    <a:pt x="57721" y="0"/>
                  </a:lnTo>
                  <a:lnTo>
                    <a:pt x="82420" y="305"/>
                  </a:lnTo>
                  <a:lnTo>
                    <a:pt x="82210" y="22355"/>
                  </a:lnTo>
                  <a:lnTo>
                    <a:pt x="80124" y="53597"/>
                  </a:lnTo>
                  <a:lnTo>
                    <a:pt x="88097" y="53588"/>
                  </a:lnTo>
                  <a:lnTo>
                    <a:pt x="96803" y="58579"/>
                  </a:lnTo>
                  <a:lnTo>
                    <a:pt x="99108" y="54473"/>
                  </a:lnTo>
                  <a:lnTo>
                    <a:pt x="106937" y="57988"/>
                  </a:lnTo>
                  <a:lnTo>
                    <a:pt x="94764" y="68494"/>
                  </a:lnTo>
                  <a:lnTo>
                    <a:pt x="82105" y="76190"/>
                  </a:lnTo>
                  <a:lnTo>
                    <a:pt x="80229" y="81467"/>
                  </a:lnTo>
                  <a:lnTo>
                    <a:pt x="82353" y="86859"/>
                  </a:lnTo>
                  <a:lnTo>
                    <a:pt x="76800" y="93821"/>
                  </a:lnTo>
                  <a:lnTo>
                    <a:pt x="70552" y="95507"/>
                  </a:lnTo>
                  <a:lnTo>
                    <a:pt x="71971" y="98736"/>
                  </a:lnTo>
                  <a:lnTo>
                    <a:pt x="66961" y="101756"/>
                  </a:lnTo>
                  <a:lnTo>
                    <a:pt x="57807" y="10866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7" name="Forme libre : forme 5716">
              <a:extLst>
                <a:ext uri="{FF2B5EF4-FFF2-40B4-BE49-F238E27FC236}">
                  <a16:creationId xmlns:a16="http://schemas.microsoft.com/office/drawing/2014/main" id="{1339BC62-03D0-BFFF-E704-6F4C7A94C634}"/>
                </a:ext>
              </a:extLst>
            </p:cNvPr>
            <p:cNvSpPr/>
            <p:nvPr/>
          </p:nvSpPr>
          <p:spPr>
            <a:xfrm>
              <a:off x="5375500" y="4404878"/>
              <a:ext cx="79505" cy="43043"/>
            </a:xfrm>
            <a:custGeom>
              <a:avLst/>
              <a:gdLst>
                <a:gd name="connsiteX0" fmla="*/ 41319 w 79505"/>
                <a:gd name="connsiteY0" fmla="*/ 43043 h 43043"/>
                <a:gd name="connsiteX1" fmla="*/ 27061 w 79505"/>
                <a:gd name="connsiteY1" fmla="*/ 31737 h 43043"/>
                <a:gd name="connsiteX2" fmla="*/ 15812 w 79505"/>
                <a:gd name="connsiteY2" fmla="*/ 29937 h 43043"/>
                <a:gd name="connsiteX3" fmla="*/ 9687 w 79505"/>
                <a:gd name="connsiteY3" fmla="*/ 22308 h 43043"/>
                <a:gd name="connsiteX4" fmla="*/ 9839 w 79505"/>
                <a:gd name="connsiteY4" fmla="*/ 18183 h 43043"/>
                <a:gd name="connsiteX5" fmla="*/ 1696 w 79505"/>
                <a:gd name="connsiteY5" fmla="*/ 12420 h 43043"/>
                <a:gd name="connsiteX6" fmla="*/ 0 w 79505"/>
                <a:gd name="connsiteY6" fmla="*/ 6610 h 43043"/>
                <a:gd name="connsiteX7" fmla="*/ 14144 w 79505"/>
                <a:gd name="connsiteY7" fmla="*/ 2181 h 43043"/>
                <a:gd name="connsiteX8" fmla="*/ 22993 w 79505"/>
                <a:gd name="connsiteY8" fmla="*/ 3057 h 43043"/>
                <a:gd name="connsiteX9" fmla="*/ 30147 w 79505"/>
                <a:gd name="connsiteY9" fmla="*/ 0 h 43043"/>
                <a:gd name="connsiteX10" fmla="*/ 79505 w 79505"/>
                <a:gd name="connsiteY10" fmla="*/ 1133 h 43043"/>
                <a:gd name="connsiteX11" fmla="*/ 79019 w 79505"/>
                <a:gd name="connsiteY11" fmla="*/ 10354 h 43043"/>
                <a:gd name="connsiteX12" fmla="*/ 76086 w 79505"/>
                <a:gd name="connsiteY12" fmla="*/ 13192 h 43043"/>
                <a:gd name="connsiteX13" fmla="*/ 78362 w 79505"/>
                <a:gd name="connsiteY13" fmla="*/ 22174 h 43043"/>
                <a:gd name="connsiteX14" fmla="*/ 74152 w 79505"/>
                <a:gd name="connsiteY14" fmla="*/ 25765 h 43043"/>
                <a:gd name="connsiteX15" fmla="*/ 68266 w 79505"/>
                <a:gd name="connsiteY15" fmla="*/ 25813 h 43043"/>
                <a:gd name="connsiteX16" fmla="*/ 61293 w 79505"/>
                <a:gd name="connsiteY16" fmla="*/ 30356 h 43043"/>
                <a:gd name="connsiteX17" fmla="*/ 53197 w 79505"/>
                <a:gd name="connsiteY17" fmla="*/ 29861 h 43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505" h="43043">
                  <a:moveTo>
                    <a:pt x="41319" y="43043"/>
                  </a:moveTo>
                  <a:lnTo>
                    <a:pt x="27061" y="31737"/>
                  </a:lnTo>
                  <a:lnTo>
                    <a:pt x="15812" y="29937"/>
                  </a:lnTo>
                  <a:lnTo>
                    <a:pt x="9687" y="22308"/>
                  </a:lnTo>
                  <a:lnTo>
                    <a:pt x="9839" y="18183"/>
                  </a:lnTo>
                  <a:lnTo>
                    <a:pt x="1696" y="12420"/>
                  </a:lnTo>
                  <a:lnTo>
                    <a:pt x="0" y="6610"/>
                  </a:lnTo>
                  <a:lnTo>
                    <a:pt x="14144" y="2181"/>
                  </a:lnTo>
                  <a:lnTo>
                    <a:pt x="22993" y="3057"/>
                  </a:lnTo>
                  <a:lnTo>
                    <a:pt x="30147" y="0"/>
                  </a:lnTo>
                  <a:lnTo>
                    <a:pt x="79505" y="1133"/>
                  </a:lnTo>
                  <a:lnTo>
                    <a:pt x="79019" y="10354"/>
                  </a:lnTo>
                  <a:lnTo>
                    <a:pt x="76086" y="13192"/>
                  </a:lnTo>
                  <a:lnTo>
                    <a:pt x="78362" y="22174"/>
                  </a:lnTo>
                  <a:lnTo>
                    <a:pt x="74152" y="25765"/>
                  </a:lnTo>
                  <a:lnTo>
                    <a:pt x="68266" y="25813"/>
                  </a:lnTo>
                  <a:lnTo>
                    <a:pt x="61293" y="30356"/>
                  </a:lnTo>
                  <a:lnTo>
                    <a:pt x="53197" y="2986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8" name="Forme libre : forme 5717">
              <a:extLst>
                <a:ext uri="{FF2B5EF4-FFF2-40B4-BE49-F238E27FC236}">
                  <a16:creationId xmlns:a16="http://schemas.microsoft.com/office/drawing/2014/main" id="{DF87A5DA-A2AE-E1B0-BB72-97774CE61E38}"/>
                </a:ext>
              </a:extLst>
            </p:cNvPr>
            <p:cNvSpPr/>
            <p:nvPr/>
          </p:nvSpPr>
          <p:spPr>
            <a:xfrm>
              <a:off x="4180827" y="4519892"/>
              <a:ext cx="130092" cy="189118"/>
            </a:xfrm>
            <a:custGeom>
              <a:avLst/>
              <a:gdLst>
                <a:gd name="connsiteX0" fmla="*/ 44130 w 130092"/>
                <a:gd name="connsiteY0" fmla="*/ 0 h 189118"/>
                <a:gd name="connsiteX1" fmla="*/ 61665 w 130092"/>
                <a:gd name="connsiteY1" fmla="*/ 9858 h 189118"/>
                <a:gd name="connsiteX2" fmla="*/ 78181 w 130092"/>
                <a:gd name="connsiteY2" fmla="*/ 27299 h 189118"/>
                <a:gd name="connsiteX3" fmla="*/ 78934 w 130092"/>
                <a:gd name="connsiteY3" fmla="*/ 41072 h 189118"/>
                <a:gd name="connsiteX4" fmla="*/ 89002 w 130092"/>
                <a:gd name="connsiteY4" fmla="*/ 41701 h 189118"/>
                <a:gd name="connsiteX5" fmla="*/ 103308 w 130092"/>
                <a:gd name="connsiteY5" fmla="*/ 54731 h 189118"/>
                <a:gd name="connsiteX6" fmla="*/ 113852 w 130092"/>
                <a:gd name="connsiteY6" fmla="*/ 64018 h 189118"/>
                <a:gd name="connsiteX7" fmla="*/ 109585 w 130092"/>
                <a:gd name="connsiteY7" fmla="*/ 87992 h 189118"/>
                <a:gd name="connsiteX8" fmla="*/ 93374 w 130092"/>
                <a:gd name="connsiteY8" fmla="*/ 94945 h 189118"/>
                <a:gd name="connsiteX9" fmla="*/ 94812 w 130092"/>
                <a:gd name="connsiteY9" fmla="*/ 101222 h 189118"/>
                <a:gd name="connsiteX10" fmla="*/ 89888 w 130092"/>
                <a:gd name="connsiteY10" fmla="*/ 114948 h 189118"/>
                <a:gd name="connsiteX11" fmla="*/ 101727 w 130092"/>
                <a:gd name="connsiteY11" fmla="*/ 134255 h 189118"/>
                <a:gd name="connsiteX12" fmla="*/ 110280 w 130092"/>
                <a:gd name="connsiteY12" fmla="*/ 134284 h 189118"/>
                <a:gd name="connsiteX13" fmla="*/ 113786 w 130092"/>
                <a:gd name="connsiteY13" fmla="*/ 149276 h 189118"/>
                <a:gd name="connsiteX14" fmla="*/ 130093 w 130092"/>
                <a:gd name="connsiteY14" fmla="*/ 172364 h 189118"/>
                <a:gd name="connsiteX15" fmla="*/ 123587 w 130092"/>
                <a:gd name="connsiteY15" fmla="*/ 173317 h 189118"/>
                <a:gd name="connsiteX16" fmla="*/ 108823 w 130092"/>
                <a:gd name="connsiteY16" fmla="*/ 171060 h 189118"/>
                <a:gd name="connsiteX17" fmla="*/ 100136 w 130092"/>
                <a:gd name="connsiteY17" fmla="*/ 178118 h 189118"/>
                <a:gd name="connsiteX18" fmla="*/ 88059 w 130092"/>
                <a:gd name="connsiteY18" fmla="*/ 182775 h 189118"/>
                <a:gd name="connsiteX19" fmla="*/ 79610 w 130092"/>
                <a:gd name="connsiteY19" fmla="*/ 183928 h 189118"/>
                <a:gd name="connsiteX20" fmla="*/ 76657 w 130092"/>
                <a:gd name="connsiteY20" fmla="*/ 189119 h 189118"/>
                <a:gd name="connsiteX21" fmla="*/ 63551 w 130092"/>
                <a:gd name="connsiteY21" fmla="*/ 187805 h 189118"/>
                <a:gd name="connsiteX22" fmla="*/ 47120 w 130092"/>
                <a:gd name="connsiteY22" fmla="*/ 175355 h 189118"/>
                <a:gd name="connsiteX23" fmla="*/ 45187 w 130092"/>
                <a:gd name="connsiteY23" fmla="*/ 163068 h 189118"/>
                <a:gd name="connsiteX24" fmla="*/ 38348 w 130092"/>
                <a:gd name="connsiteY24" fmla="*/ 149638 h 189118"/>
                <a:gd name="connsiteX25" fmla="*/ 42606 w 130092"/>
                <a:gd name="connsiteY25" fmla="*/ 127026 h 189118"/>
                <a:gd name="connsiteX26" fmla="*/ 50006 w 130092"/>
                <a:gd name="connsiteY26" fmla="*/ 117663 h 189118"/>
                <a:gd name="connsiteX27" fmla="*/ 43882 w 130092"/>
                <a:gd name="connsiteY27" fmla="*/ 105299 h 189118"/>
                <a:gd name="connsiteX28" fmla="*/ 34700 w 130092"/>
                <a:gd name="connsiteY28" fmla="*/ 101270 h 189118"/>
                <a:gd name="connsiteX29" fmla="*/ 38176 w 130092"/>
                <a:gd name="connsiteY29" fmla="*/ 89573 h 189118"/>
                <a:gd name="connsiteX30" fmla="*/ 31966 w 130092"/>
                <a:gd name="connsiteY30" fmla="*/ 83439 h 189118"/>
                <a:gd name="connsiteX31" fmla="*/ 18079 w 130092"/>
                <a:gd name="connsiteY31" fmla="*/ 84620 h 189118"/>
                <a:gd name="connsiteX32" fmla="*/ 0 w 130092"/>
                <a:gd name="connsiteY32" fmla="*/ 64389 h 189118"/>
                <a:gd name="connsiteX33" fmla="*/ 7239 w 130092"/>
                <a:gd name="connsiteY33" fmla="*/ 57045 h 189118"/>
                <a:gd name="connsiteX34" fmla="*/ 6706 w 130092"/>
                <a:gd name="connsiteY34" fmla="*/ 44720 h 189118"/>
                <a:gd name="connsiteX35" fmla="*/ 23146 w 130092"/>
                <a:gd name="connsiteY35" fmla="*/ 40434 h 189118"/>
                <a:gd name="connsiteX36" fmla="*/ 29775 w 130092"/>
                <a:gd name="connsiteY36" fmla="*/ 35424 h 189118"/>
                <a:gd name="connsiteX37" fmla="*/ 20631 w 130092"/>
                <a:gd name="connsiteY37" fmla="*/ 25498 h 189118"/>
                <a:gd name="connsiteX38" fmla="*/ 22965 w 130092"/>
                <a:gd name="connsiteY38" fmla="*/ 15735 h 18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30092" h="189118">
                  <a:moveTo>
                    <a:pt x="44130" y="0"/>
                  </a:moveTo>
                  <a:lnTo>
                    <a:pt x="61665" y="9858"/>
                  </a:lnTo>
                  <a:lnTo>
                    <a:pt x="78181" y="27299"/>
                  </a:lnTo>
                  <a:lnTo>
                    <a:pt x="78934" y="41072"/>
                  </a:lnTo>
                  <a:lnTo>
                    <a:pt x="89002" y="41701"/>
                  </a:lnTo>
                  <a:lnTo>
                    <a:pt x="103308" y="54731"/>
                  </a:lnTo>
                  <a:lnTo>
                    <a:pt x="113852" y="64018"/>
                  </a:lnTo>
                  <a:lnTo>
                    <a:pt x="109585" y="87992"/>
                  </a:lnTo>
                  <a:lnTo>
                    <a:pt x="93374" y="94945"/>
                  </a:lnTo>
                  <a:lnTo>
                    <a:pt x="94812" y="101222"/>
                  </a:lnTo>
                  <a:lnTo>
                    <a:pt x="89888" y="114948"/>
                  </a:lnTo>
                  <a:lnTo>
                    <a:pt x="101727" y="134255"/>
                  </a:lnTo>
                  <a:lnTo>
                    <a:pt x="110280" y="134284"/>
                  </a:lnTo>
                  <a:lnTo>
                    <a:pt x="113786" y="149276"/>
                  </a:lnTo>
                  <a:lnTo>
                    <a:pt x="130093" y="172364"/>
                  </a:lnTo>
                  <a:lnTo>
                    <a:pt x="123587" y="173317"/>
                  </a:lnTo>
                  <a:lnTo>
                    <a:pt x="108823" y="171060"/>
                  </a:lnTo>
                  <a:lnTo>
                    <a:pt x="100136" y="178118"/>
                  </a:lnTo>
                  <a:lnTo>
                    <a:pt x="88059" y="182775"/>
                  </a:lnTo>
                  <a:lnTo>
                    <a:pt x="79610" y="183928"/>
                  </a:lnTo>
                  <a:lnTo>
                    <a:pt x="76657" y="189119"/>
                  </a:lnTo>
                  <a:lnTo>
                    <a:pt x="63551" y="187805"/>
                  </a:lnTo>
                  <a:lnTo>
                    <a:pt x="47120" y="175355"/>
                  </a:lnTo>
                  <a:lnTo>
                    <a:pt x="45187" y="163068"/>
                  </a:lnTo>
                  <a:lnTo>
                    <a:pt x="38348" y="149638"/>
                  </a:lnTo>
                  <a:lnTo>
                    <a:pt x="42606" y="127026"/>
                  </a:lnTo>
                  <a:lnTo>
                    <a:pt x="50006" y="117663"/>
                  </a:lnTo>
                  <a:lnTo>
                    <a:pt x="43882" y="105299"/>
                  </a:lnTo>
                  <a:lnTo>
                    <a:pt x="34700" y="101270"/>
                  </a:lnTo>
                  <a:lnTo>
                    <a:pt x="38176" y="89573"/>
                  </a:lnTo>
                  <a:lnTo>
                    <a:pt x="31966" y="83439"/>
                  </a:lnTo>
                  <a:lnTo>
                    <a:pt x="18079" y="84620"/>
                  </a:lnTo>
                  <a:lnTo>
                    <a:pt x="0" y="64389"/>
                  </a:lnTo>
                  <a:lnTo>
                    <a:pt x="7239" y="57045"/>
                  </a:lnTo>
                  <a:lnTo>
                    <a:pt x="6706" y="44720"/>
                  </a:lnTo>
                  <a:lnTo>
                    <a:pt x="23146" y="40434"/>
                  </a:lnTo>
                  <a:lnTo>
                    <a:pt x="29775" y="35424"/>
                  </a:lnTo>
                  <a:lnTo>
                    <a:pt x="20631" y="25498"/>
                  </a:lnTo>
                  <a:lnTo>
                    <a:pt x="22965" y="1573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9" name="Forme libre : forme 5718">
              <a:extLst>
                <a:ext uri="{FF2B5EF4-FFF2-40B4-BE49-F238E27FC236}">
                  <a16:creationId xmlns:a16="http://schemas.microsoft.com/office/drawing/2014/main" id="{ACE58C38-E66D-2E65-8411-72CAE96D55D7}"/>
                </a:ext>
              </a:extLst>
            </p:cNvPr>
            <p:cNvSpPr/>
            <p:nvPr/>
          </p:nvSpPr>
          <p:spPr>
            <a:xfrm>
              <a:off x="3434562" y="4312352"/>
              <a:ext cx="165754" cy="82819"/>
            </a:xfrm>
            <a:custGeom>
              <a:avLst/>
              <a:gdLst>
                <a:gd name="connsiteX0" fmla="*/ 54397 w 165754"/>
                <a:gd name="connsiteY0" fmla="*/ 82820 h 82819"/>
                <a:gd name="connsiteX1" fmla="*/ 49787 w 165754"/>
                <a:gd name="connsiteY1" fmla="*/ 74295 h 82819"/>
                <a:gd name="connsiteX2" fmla="*/ 41672 w 165754"/>
                <a:gd name="connsiteY2" fmla="*/ 71923 h 82819"/>
                <a:gd name="connsiteX3" fmla="*/ 43529 w 165754"/>
                <a:gd name="connsiteY3" fmla="*/ 60988 h 82819"/>
                <a:gd name="connsiteX4" fmla="*/ 39900 w 165754"/>
                <a:gd name="connsiteY4" fmla="*/ 58026 h 82819"/>
                <a:gd name="connsiteX5" fmla="*/ 34404 w 165754"/>
                <a:gd name="connsiteY5" fmla="*/ 56083 h 82819"/>
                <a:gd name="connsiteX6" fmla="*/ 22689 w 165754"/>
                <a:gd name="connsiteY6" fmla="*/ 59331 h 82819"/>
                <a:gd name="connsiteX7" fmla="*/ 21698 w 165754"/>
                <a:gd name="connsiteY7" fmla="*/ 55654 h 82819"/>
                <a:gd name="connsiteX8" fmla="*/ 13630 w 165754"/>
                <a:gd name="connsiteY8" fmla="*/ 51263 h 82819"/>
                <a:gd name="connsiteX9" fmla="*/ 7877 w 165754"/>
                <a:gd name="connsiteY9" fmla="*/ 45806 h 82819"/>
                <a:gd name="connsiteX10" fmla="*/ 0 w 165754"/>
                <a:gd name="connsiteY10" fmla="*/ 43501 h 82819"/>
                <a:gd name="connsiteX11" fmla="*/ 5553 w 165754"/>
                <a:gd name="connsiteY11" fmla="*/ 36538 h 82819"/>
                <a:gd name="connsiteX12" fmla="*/ 3429 w 165754"/>
                <a:gd name="connsiteY12" fmla="*/ 31147 h 82819"/>
                <a:gd name="connsiteX13" fmla="*/ 5305 w 165754"/>
                <a:gd name="connsiteY13" fmla="*/ 25870 h 82819"/>
                <a:gd name="connsiteX14" fmla="*/ 17964 w 165754"/>
                <a:gd name="connsiteY14" fmla="*/ 18174 h 82819"/>
                <a:gd name="connsiteX15" fmla="*/ 30137 w 165754"/>
                <a:gd name="connsiteY15" fmla="*/ 7668 h 82819"/>
                <a:gd name="connsiteX16" fmla="*/ 32909 w 165754"/>
                <a:gd name="connsiteY16" fmla="*/ 8744 h 82819"/>
                <a:gd name="connsiteX17" fmla="*/ 38767 w 165754"/>
                <a:gd name="connsiteY17" fmla="*/ 3896 h 82819"/>
                <a:gd name="connsiteX18" fmla="*/ 46406 w 165754"/>
                <a:gd name="connsiteY18" fmla="*/ 3505 h 82819"/>
                <a:gd name="connsiteX19" fmla="*/ 48892 w 165754"/>
                <a:gd name="connsiteY19" fmla="*/ 5753 h 82819"/>
                <a:gd name="connsiteX20" fmla="*/ 53035 w 165754"/>
                <a:gd name="connsiteY20" fmla="*/ 4381 h 82819"/>
                <a:gd name="connsiteX21" fmla="*/ 65437 w 165754"/>
                <a:gd name="connsiteY21" fmla="*/ 6867 h 82819"/>
                <a:gd name="connsiteX22" fmla="*/ 77781 w 165754"/>
                <a:gd name="connsiteY22" fmla="*/ 6144 h 82819"/>
                <a:gd name="connsiteX23" fmla="*/ 86373 w 165754"/>
                <a:gd name="connsiteY23" fmla="*/ 3095 h 82819"/>
                <a:gd name="connsiteX24" fmla="*/ 89506 w 165754"/>
                <a:gd name="connsiteY24" fmla="*/ 0 h 82819"/>
                <a:gd name="connsiteX25" fmla="*/ 98022 w 165754"/>
                <a:gd name="connsiteY25" fmla="*/ 1429 h 82819"/>
                <a:gd name="connsiteX26" fmla="*/ 104413 w 165754"/>
                <a:gd name="connsiteY26" fmla="*/ 3315 h 82819"/>
                <a:gd name="connsiteX27" fmla="*/ 111395 w 165754"/>
                <a:gd name="connsiteY27" fmla="*/ 2667 h 82819"/>
                <a:gd name="connsiteX28" fmla="*/ 116700 w 165754"/>
                <a:gd name="connsiteY28" fmla="*/ 267 h 82819"/>
                <a:gd name="connsiteX29" fmla="*/ 128902 w 165754"/>
                <a:gd name="connsiteY29" fmla="*/ 4096 h 82819"/>
                <a:gd name="connsiteX30" fmla="*/ 133141 w 165754"/>
                <a:gd name="connsiteY30" fmla="*/ 4705 h 82819"/>
                <a:gd name="connsiteX31" fmla="*/ 141294 w 165754"/>
                <a:gd name="connsiteY31" fmla="*/ 9858 h 82819"/>
                <a:gd name="connsiteX32" fmla="*/ 149009 w 165754"/>
                <a:gd name="connsiteY32" fmla="*/ 16040 h 82819"/>
                <a:gd name="connsiteX33" fmla="*/ 158715 w 165754"/>
                <a:gd name="connsiteY33" fmla="*/ 20250 h 82819"/>
                <a:gd name="connsiteX34" fmla="*/ 165754 w 165754"/>
                <a:gd name="connsiteY34" fmla="*/ 27813 h 82819"/>
                <a:gd name="connsiteX35" fmla="*/ 156591 w 165754"/>
                <a:gd name="connsiteY35" fmla="*/ 27251 h 82819"/>
                <a:gd name="connsiteX36" fmla="*/ 152895 w 165754"/>
                <a:gd name="connsiteY36" fmla="*/ 30994 h 82819"/>
                <a:gd name="connsiteX37" fmla="*/ 143618 w 165754"/>
                <a:gd name="connsiteY37" fmla="*/ 34576 h 82819"/>
                <a:gd name="connsiteX38" fmla="*/ 136874 w 165754"/>
                <a:gd name="connsiteY38" fmla="*/ 34595 h 82819"/>
                <a:gd name="connsiteX39" fmla="*/ 130978 w 165754"/>
                <a:gd name="connsiteY39" fmla="*/ 38090 h 82819"/>
                <a:gd name="connsiteX40" fmla="*/ 125625 w 165754"/>
                <a:gd name="connsiteY40" fmla="*/ 36843 h 82819"/>
                <a:gd name="connsiteX41" fmla="*/ 121072 w 165754"/>
                <a:gd name="connsiteY41" fmla="*/ 32651 h 82819"/>
                <a:gd name="connsiteX42" fmla="*/ 118281 w 165754"/>
                <a:gd name="connsiteY42" fmla="*/ 33452 h 82819"/>
                <a:gd name="connsiteX43" fmla="*/ 114852 w 165754"/>
                <a:gd name="connsiteY43" fmla="*/ 40005 h 82819"/>
                <a:gd name="connsiteX44" fmla="*/ 112290 w 165754"/>
                <a:gd name="connsiteY44" fmla="*/ 39767 h 82819"/>
                <a:gd name="connsiteX45" fmla="*/ 111852 w 165754"/>
                <a:gd name="connsiteY45" fmla="*/ 45415 h 82819"/>
                <a:gd name="connsiteX46" fmla="*/ 102527 w 165754"/>
                <a:gd name="connsiteY46" fmla="*/ 52949 h 82819"/>
                <a:gd name="connsiteX47" fmla="*/ 97612 w 165754"/>
                <a:gd name="connsiteY47" fmla="*/ 56197 h 82819"/>
                <a:gd name="connsiteX48" fmla="*/ 94869 w 165754"/>
                <a:gd name="connsiteY48" fmla="*/ 59588 h 82819"/>
                <a:gd name="connsiteX49" fmla="*/ 86992 w 165754"/>
                <a:gd name="connsiteY49" fmla="*/ 54064 h 82819"/>
                <a:gd name="connsiteX50" fmla="*/ 81229 w 165754"/>
                <a:gd name="connsiteY50" fmla="*/ 61360 h 82819"/>
                <a:gd name="connsiteX51" fmla="*/ 75657 w 165754"/>
                <a:gd name="connsiteY51" fmla="*/ 61170 h 82819"/>
                <a:gd name="connsiteX52" fmla="*/ 69390 w 165754"/>
                <a:gd name="connsiteY52" fmla="*/ 61808 h 82819"/>
                <a:gd name="connsiteX53" fmla="*/ 69961 w 165754"/>
                <a:gd name="connsiteY53" fmla="*/ 75228 h 82819"/>
                <a:gd name="connsiteX54" fmla="*/ 66046 w 165754"/>
                <a:gd name="connsiteY54" fmla="*/ 75476 h 82819"/>
                <a:gd name="connsiteX55" fmla="*/ 62703 w 165754"/>
                <a:gd name="connsiteY55" fmla="*/ 81705 h 8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65754" h="82819">
                  <a:moveTo>
                    <a:pt x="54397" y="82820"/>
                  </a:moveTo>
                  <a:lnTo>
                    <a:pt x="49787" y="74295"/>
                  </a:lnTo>
                  <a:lnTo>
                    <a:pt x="41672" y="71923"/>
                  </a:lnTo>
                  <a:lnTo>
                    <a:pt x="43529" y="60988"/>
                  </a:lnTo>
                  <a:lnTo>
                    <a:pt x="39900" y="58026"/>
                  </a:lnTo>
                  <a:lnTo>
                    <a:pt x="34404" y="56083"/>
                  </a:lnTo>
                  <a:lnTo>
                    <a:pt x="22689" y="59331"/>
                  </a:lnTo>
                  <a:lnTo>
                    <a:pt x="21698" y="55654"/>
                  </a:lnTo>
                  <a:lnTo>
                    <a:pt x="13630" y="51263"/>
                  </a:lnTo>
                  <a:lnTo>
                    <a:pt x="7877" y="45806"/>
                  </a:lnTo>
                  <a:lnTo>
                    <a:pt x="0" y="43501"/>
                  </a:lnTo>
                  <a:lnTo>
                    <a:pt x="5553" y="36538"/>
                  </a:lnTo>
                  <a:lnTo>
                    <a:pt x="3429" y="31147"/>
                  </a:lnTo>
                  <a:lnTo>
                    <a:pt x="5305" y="25870"/>
                  </a:lnTo>
                  <a:lnTo>
                    <a:pt x="17964" y="18174"/>
                  </a:lnTo>
                  <a:lnTo>
                    <a:pt x="30137" y="7668"/>
                  </a:lnTo>
                  <a:lnTo>
                    <a:pt x="32909" y="8744"/>
                  </a:lnTo>
                  <a:lnTo>
                    <a:pt x="38767" y="3896"/>
                  </a:lnTo>
                  <a:lnTo>
                    <a:pt x="46406" y="3505"/>
                  </a:lnTo>
                  <a:lnTo>
                    <a:pt x="48892" y="5753"/>
                  </a:lnTo>
                  <a:lnTo>
                    <a:pt x="53035" y="4381"/>
                  </a:lnTo>
                  <a:lnTo>
                    <a:pt x="65437" y="6867"/>
                  </a:lnTo>
                  <a:lnTo>
                    <a:pt x="77781" y="6144"/>
                  </a:lnTo>
                  <a:lnTo>
                    <a:pt x="86373" y="3095"/>
                  </a:lnTo>
                  <a:lnTo>
                    <a:pt x="89506" y="0"/>
                  </a:lnTo>
                  <a:lnTo>
                    <a:pt x="98022" y="1429"/>
                  </a:lnTo>
                  <a:lnTo>
                    <a:pt x="104413" y="3315"/>
                  </a:lnTo>
                  <a:lnTo>
                    <a:pt x="111395" y="2667"/>
                  </a:lnTo>
                  <a:lnTo>
                    <a:pt x="116700" y="267"/>
                  </a:lnTo>
                  <a:lnTo>
                    <a:pt x="128902" y="4096"/>
                  </a:lnTo>
                  <a:lnTo>
                    <a:pt x="133141" y="4705"/>
                  </a:lnTo>
                  <a:lnTo>
                    <a:pt x="141294" y="9858"/>
                  </a:lnTo>
                  <a:lnTo>
                    <a:pt x="149009" y="16040"/>
                  </a:lnTo>
                  <a:lnTo>
                    <a:pt x="158715" y="20250"/>
                  </a:lnTo>
                  <a:lnTo>
                    <a:pt x="165754" y="27813"/>
                  </a:lnTo>
                  <a:lnTo>
                    <a:pt x="156591" y="27251"/>
                  </a:lnTo>
                  <a:lnTo>
                    <a:pt x="152895" y="30994"/>
                  </a:lnTo>
                  <a:lnTo>
                    <a:pt x="143618" y="34576"/>
                  </a:lnTo>
                  <a:lnTo>
                    <a:pt x="136874" y="34595"/>
                  </a:lnTo>
                  <a:lnTo>
                    <a:pt x="130978" y="38090"/>
                  </a:lnTo>
                  <a:lnTo>
                    <a:pt x="125625" y="36843"/>
                  </a:lnTo>
                  <a:lnTo>
                    <a:pt x="121072" y="32651"/>
                  </a:lnTo>
                  <a:lnTo>
                    <a:pt x="118281" y="33452"/>
                  </a:lnTo>
                  <a:lnTo>
                    <a:pt x="114852" y="40005"/>
                  </a:lnTo>
                  <a:lnTo>
                    <a:pt x="112290" y="39767"/>
                  </a:lnTo>
                  <a:lnTo>
                    <a:pt x="111852" y="45415"/>
                  </a:lnTo>
                  <a:lnTo>
                    <a:pt x="102527" y="52949"/>
                  </a:lnTo>
                  <a:lnTo>
                    <a:pt x="97612" y="56197"/>
                  </a:lnTo>
                  <a:lnTo>
                    <a:pt x="94869" y="59588"/>
                  </a:lnTo>
                  <a:lnTo>
                    <a:pt x="86992" y="54064"/>
                  </a:lnTo>
                  <a:lnTo>
                    <a:pt x="81229" y="61360"/>
                  </a:lnTo>
                  <a:lnTo>
                    <a:pt x="75657" y="61170"/>
                  </a:lnTo>
                  <a:lnTo>
                    <a:pt x="69390" y="61808"/>
                  </a:lnTo>
                  <a:lnTo>
                    <a:pt x="69961" y="75228"/>
                  </a:lnTo>
                  <a:lnTo>
                    <a:pt x="66046" y="75476"/>
                  </a:lnTo>
                  <a:lnTo>
                    <a:pt x="62703" y="817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0" name="Forme libre : forme 5719">
              <a:extLst>
                <a:ext uri="{FF2B5EF4-FFF2-40B4-BE49-F238E27FC236}">
                  <a16:creationId xmlns:a16="http://schemas.microsoft.com/office/drawing/2014/main" id="{11A04DBE-2255-C2A1-190E-6CB46817AAB8}"/>
                </a:ext>
              </a:extLst>
            </p:cNvPr>
            <p:cNvSpPr/>
            <p:nvPr/>
          </p:nvSpPr>
          <p:spPr>
            <a:xfrm>
              <a:off x="6185629" y="3343869"/>
              <a:ext cx="153123" cy="150228"/>
            </a:xfrm>
            <a:custGeom>
              <a:avLst/>
              <a:gdLst>
                <a:gd name="connsiteX0" fmla="*/ 138151 w 153123"/>
                <a:gd name="connsiteY0" fmla="*/ 22888 h 150228"/>
                <a:gd name="connsiteX1" fmla="*/ 144637 w 153123"/>
                <a:gd name="connsiteY1" fmla="*/ 37652 h 150228"/>
                <a:gd name="connsiteX2" fmla="*/ 153124 w 153123"/>
                <a:gd name="connsiteY2" fmla="*/ 48454 h 150228"/>
                <a:gd name="connsiteX3" fmla="*/ 142847 w 153123"/>
                <a:gd name="connsiteY3" fmla="*/ 62627 h 150228"/>
                <a:gd name="connsiteX4" fmla="*/ 130759 w 153123"/>
                <a:gd name="connsiteY4" fmla="*/ 54302 h 150228"/>
                <a:gd name="connsiteX5" fmla="*/ 112300 w 153123"/>
                <a:gd name="connsiteY5" fmla="*/ 54826 h 150228"/>
                <a:gd name="connsiteX6" fmla="*/ 89335 w 153123"/>
                <a:gd name="connsiteY6" fmla="*/ 48558 h 150228"/>
                <a:gd name="connsiteX7" fmla="*/ 76858 w 153123"/>
                <a:gd name="connsiteY7" fmla="*/ 49397 h 150228"/>
                <a:gd name="connsiteX8" fmla="*/ 71076 w 153123"/>
                <a:gd name="connsiteY8" fmla="*/ 57226 h 150228"/>
                <a:gd name="connsiteX9" fmla="*/ 61484 w 153123"/>
                <a:gd name="connsiteY9" fmla="*/ 48558 h 150228"/>
                <a:gd name="connsiteX10" fmla="*/ 55902 w 153123"/>
                <a:gd name="connsiteY10" fmla="*/ 64189 h 150228"/>
                <a:gd name="connsiteX11" fmla="*/ 68980 w 153123"/>
                <a:gd name="connsiteY11" fmla="*/ 81658 h 150228"/>
                <a:gd name="connsiteX12" fmla="*/ 74772 w 153123"/>
                <a:gd name="connsiteY12" fmla="*/ 93173 h 150228"/>
                <a:gd name="connsiteX13" fmla="*/ 87049 w 153123"/>
                <a:gd name="connsiteY13" fmla="*/ 106956 h 150228"/>
                <a:gd name="connsiteX14" fmla="*/ 97222 w 153123"/>
                <a:gd name="connsiteY14" fmla="*/ 115081 h 150228"/>
                <a:gd name="connsiteX15" fmla="*/ 107309 w 153123"/>
                <a:gd name="connsiteY15" fmla="*/ 130340 h 150228"/>
                <a:gd name="connsiteX16" fmla="*/ 130940 w 153123"/>
                <a:gd name="connsiteY16" fmla="*/ 144085 h 150228"/>
                <a:gd name="connsiteX17" fmla="*/ 128007 w 153123"/>
                <a:gd name="connsiteY17" fmla="*/ 150228 h 150228"/>
                <a:gd name="connsiteX18" fmla="*/ 102899 w 153123"/>
                <a:gd name="connsiteY18" fmla="*/ 136827 h 150228"/>
                <a:gd name="connsiteX19" fmla="*/ 87411 w 153123"/>
                <a:gd name="connsiteY19" fmla="*/ 123730 h 150228"/>
                <a:gd name="connsiteX20" fmla="*/ 62989 w 153123"/>
                <a:gd name="connsiteY20" fmla="*/ 112852 h 150228"/>
                <a:gd name="connsiteX21" fmla="*/ 40529 w 153123"/>
                <a:gd name="connsiteY21" fmla="*/ 85677 h 150228"/>
                <a:gd name="connsiteX22" fmla="*/ 45920 w 153123"/>
                <a:gd name="connsiteY22" fmla="*/ 82896 h 150228"/>
                <a:gd name="connsiteX23" fmla="*/ 33737 w 153123"/>
                <a:gd name="connsiteY23" fmla="*/ 67199 h 150228"/>
                <a:gd name="connsiteX24" fmla="*/ 33242 w 153123"/>
                <a:gd name="connsiteY24" fmla="*/ 54512 h 150228"/>
                <a:gd name="connsiteX25" fmla="*/ 16069 w 153123"/>
                <a:gd name="connsiteY25" fmla="*/ 48558 h 150228"/>
                <a:gd name="connsiteX26" fmla="*/ 7887 w 153123"/>
                <a:gd name="connsiteY26" fmla="*/ 64808 h 150228"/>
                <a:gd name="connsiteX27" fmla="*/ 0 w 153123"/>
                <a:gd name="connsiteY27" fmla="*/ 52216 h 150228"/>
                <a:gd name="connsiteX28" fmla="*/ 600 w 153123"/>
                <a:gd name="connsiteY28" fmla="*/ 39071 h 150228"/>
                <a:gd name="connsiteX29" fmla="*/ 1553 w 153123"/>
                <a:gd name="connsiteY29" fmla="*/ 38462 h 150228"/>
                <a:gd name="connsiteX30" fmla="*/ 20164 w 153123"/>
                <a:gd name="connsiteY30" fmla="*/ 39757 h 150228"/>
                <a:gd name="connsiteX31" fmla="*/ 25051 w 153123"/>
                <a:gd name="connsiteY31" fmla="*/ 33338 h 150228"/>
                <a:gd name="connsiteX32" fmla="*/ 34138 w 153123"/>
                <a:gd name="connsiteY32" fmla="*/ 39548 h 150228"/>
                <a:gd name="connsiteX33" fmla="*/ 44615 w 153123"/>
                <a:gd name="connsiteY33" fmla="*/ 40281 h 150228"/>
                <a:gd name="connsiteX34" fmla="*/ 44520 w 153123"/>
                <a:gd name="connsiteY34" fmla="*/ 29651 h 150228"/>
                <a:gd name="connsiteX35" fmla="*/ 53797 w 153123"/>
                <a:gd name="connsiteY35" fmla="*/ 25746 h 150228"/>
                <a:gd name="connsiteX36" fmla="*/ 56398 w 153123"/>
                <a:gd name="connsiteY36" fmla="*/ 10249 h 150228"/>
                <a:gd name="connsiteX37" fmla="*/ 77657 w 153123"/>
                <a:gd name="connsiteY37" fmla="*/ 0 h 150228"/>
                <a:gd name="connsiteX38" fmla="*/ 86144 w 153123"/>
                <a:gd name="connsiteY38" fmla="*/ 4763 h 150228"/>
                <a:gd name="connsiteX39" fmla="*/ 106109 w 153123"/>
                <a:gd name="connsiteY39" fmla="*/ 21250 h 150228"/>
                <a:gd name="connsiteX40" fmla="*/ 128168 w 153123"/>
                <a:gd name="connsiteY40" fmla="*/ 28594 h 15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53123" h="150228">
                  <a:moveTo>
                    <a:pt x="138151" y="22888"/>
                  </a:moveTo>
                  <a:lnTo>
                    <a:pt x="144637" y="37652"/>
                  </a:lnTo>
                  <a:lnTo>
                    <a:pt x="153124" y="48454"/>
                  </a:lnTo>
                  <a:lnTo>
                    <a:pt x="142847" y="62627"/>
                  </a:lnTo>
                  <a:lnTo>
                    <a:pt x="130759" y="54302"/>
                  </a:lnTo>
                  <a:lnTo>
                    <a:pt x="112300" y="54826"/>
                  </a:lnTo>
                  <a:lnTo>
                    <a:pt x="89335" y="48558"/>
                  </a:lnTo>
                  <a:lnTo>
                    <a:pt x="76858" y="49397"/>
                  </a:lnTo>
                  <a:lnTo>
                    <a:pt x="71076" y="57226"/>
                  </a:lnTo>
                  <a:lnTo>
                    <a:pt x="61484" y="48558"/>
                  </a:lnTo>
                  <a:lnTo>
                    <a:pt x="55902" y="64189"/>
                  </a:lnTo>
                  <a:lnTo>
                    <a:pt x="68980" y="81658"/>
                  </a:lnTo>
                  <a:lnTo>
                    <a:pt x="74772" y="93173"/>
                  </a:lnTo>
                  <a:lnTo>
                    <a:pt x="87049" y="106956"/>
                  </a:lnTo>
                  <a:lnTo>
                    <a:pt x="97222" y="115081"/>
                  </a:lnTo>
                  <a:lnTo>
                    <a:pt x="107309" y="130340"/>
                  </a:lnTo>
                  <a:lnTo>
                    <a:pt x="130940" y="144085"/>
                  </a:lnTo>
                  <a:lnTo>
                    <a:pt x="128007" y="150228"/>
                  </a:lnTo>
                  <a:lnTo>
                    <a:pt x="102899" y="136827"/>
                  </a:lnTo>
                  <a:lnTo>
                    <a:pt x="87411" y="123730"/>
                  </a:lnTo>
                  <a:lnTo>
                    <a:pt x="62989" y="112852"/>
                  </a:lnTo>
                  <a:lnTo>
                    <a:pt x="40529" y="85677"/>
                  </a:lnTo>
                  <a:lnTo>
                    <a:pt x="45920" y="82896"/>
                  </a:lnTo>
                  <a:lnTo>
                    <a:pt x="33737" y="67199"/>
                  </a:lnTo>
                  <a:lnTo>
                    <a:pt x="33242" y="54512"/>
                  </a:lnTo>
                  <a:lnTo>
                    <a:pt x="16069" y="48558"/>
                  </a:lnTo>
                  <a:lnTo>
                    <a:pt x="7887" y="64808"/>
                  </a:lnTo>
                  <a:lnTo>
                    <a:pt x="0" y="52216"/>
                  </a:lnTo>
                  <a:lnTo>
                    <a:pt x="600" y="39071"/>
                  </a:lnTo>
                  <a:lnTo>
                    <a:pt x="1553" y="38462"/>
                  </a:lnTo>
                  <a:lnTo>
                    <a:pt x="20164" y="39757"/>
                  </a:lnTo>
                  <a:lnTo>
                    <a:pt x="25051" y="33338"/>
                  </a:lnTo>
                  <a:lnTo>
                    <a:pt x="34138" y="39548"/>
                  </a:lnTo>
                  <a:lnTo>
                    <a:pt x="44615" y="40281"/>
                  </a:lnTo>
                  <a:lnTo>
                    <a:pt x="44520" y="29651"/>
                  </a:lnTo>
                  <a:lnTo>
                    <a:pt x="53797" y="25746"/>
                  </a:lnTo>
                  <a:lnTo>
                    <a:pt x="56398" y="10249"/>
                  </a:lnTo>
                  <a:lnTo>
                    <a:pt x="77657" y="0"/>
                  </a:lnTo>
                  <a:lnTo>
                    <a:pt x="86144" y="4763"/>
                  </a:lnTo>
                  <a:lnTo>
                    <a:pt x="106109" y="21250"/>
                  </a:lnTo>
                  <a:lnTo>
                    <a:pt x="128168" y="2859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1" name="Forme libre : forme 5720">
              <a:extLst>
                <a:ext uri="{FF2B5EF4-FFF2-40B4-BE49-F238E27FC236}">
                  <a16:creationId xmlns:a16="http://schemas.microsoft.com/office/drawing/2014/main" id="{312082E1-78A1-5CF5-30A7-E869D13C0B26}"/>
                </a:ext>
              </a:extLst>
            </p:cNvPr>
            <p:cNvSpPr/>
            <p:nvPr/>
          </p:nvSpPr>
          <p:spPr>
            <a:xfrm>
              <a:off x="3832364" y="4203215"/>
              <a:ext cx="75666" cy="52911"/>
            </a:xfrm>
            <a:custGeom>
              <a:avLst/>
              <a:gdLst>
                <a:gd name="connsiteX0" fmla="*/ 33880 w 75666"/>
                <a:gd name="connsiteY0" fmla="*/ 0 h 52911"/>
                <a:gd name="connsiteX1" fmla="*/ 50168 w 75666"/>
                <a:gd name="connsiteY1" fmla="*/ 1248 h 52911"/>
                <a:gd name="connsiteX2" fmla="*/ 73333 w 75666"/>
                <a:gd name="connsiteY2" fmla="*/ 5686 h 52911"/>
                <a:gd name="connsiteX3" fmla="*/ 75667 w 75666"/>
                <a:gd name="connsiteY3" fmla="*/ 21012 h 52911"/>
                <a:gd name="connsiteX4" fmla="*/ 73628 w 75666"/>
                <a:gd name="connsiteY4" fmla="*/ 31804 h 52911"/>
                <a:gd name="connsiteX5" fmla="*/ 67113 w 75666"/>
                <a:gd name="connsiteY5" fmla="*/ 36528 h 52911"/>
                <a:gd name="connsiteX6" fmla="*/ 73990 w 75666"/>
                <a:gd name="connsiteY6" fmla="*/ 44929 h 52911"/>
                <a:gd name="connsiteX7" fmla="*/ 73438 w 75666"/>
                <a:gd name="connsiteY7" fmla="*/ 52521 h 52911"/>
                <a:gd name="connsiteX8" fmla="*/ 55702 w 75666"/>
                <a:gd name="connsiteY8" fmla="*/ 47777 h 52911"/>
                <a:gd name="connsiteX9" fmla="*/ 43101 w 75666"/>
                <a:gd name="connsiteY9" fmla="*/ 49711 h 52911"/>
                <a:gd name="connsiteX10" fmla="*/ 26803 w 75666"/>
                <a:gd name="connsiteY10" fmla="*/ 47692 h 52911"/>
                <a:gd name="connsiteX11" fmla="*/ 14306 w 75666"/>
                <a:gd name="connsiteY11" fmla="*/ 52911 h 52911"/>
                <a:gd name="connsiteX12" fmla="*/ 0 w 75666"/>
                <a:gd name="connsiteY12" fmla="*/ 44205 h 52911"/>
                <a:gd name="connsiteX13" fmla="*/ 2353 w 75666"/>
                <a:gd name="connsiteY13" fmla="*/ 35185 h 52911"/>
                <a:gd name="connsiteX14" fmla="*/ 26946 w 75666"/>
                <a:gd name="connsiteY14" fmla="*/ 39071 h 52911"/>
                <a:gd name="connsiteX15" fmla="*/ 47092 w 75666"/>
                <a:gd name="connsiteY15" fmla="*/ 41319 h 52911"/>
                <a:gd name="connsiteX16" fmla="*/ 56712 w 75666"/>
                <a:gd name="connsiteY16" fmla="*/ 35090 h 52911"/>
                <a:gd name="connsiteX17" fmla="*/ 44510 w 75666"/>
                <a:gd name="connsiteY17" fmla="*/ 22927 h 52911"/>
                <a:gd name="connsiteX18" fmla="*/ 44710 w 75666"/>
                <a:gd name="connsiteY18" fmla="*/ 12182 h 52911"/>
                <a:gd name="connsiteX19" fmla="*/ 27861 w 75666"/>
                <a:gd name="connsiteY19" fmla="*/ 7791 h 5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5666" h="52911">
                  <a:moveTo>
                    <a:pt x="33880" y="0"/>
                  </a:moveTo>
                  <a:lnTo>
                    <a:pt x="50168" y="1248"/>
                  </a:lnTo>
                  <a:lnTo>
                    <a:pt x="73333" y="5686"/>
                  </a:lnTo>
                  <a:lnTo>
                    <a:pt x="75667" y="21012"/>
                  </a:lnTo>
                  <a:lnTo>
                    <a:pt x="73628" y="31804"/>
                  </a:lnTo>
                  <a:lnTo>
                    <a:pt x="67113" y="36528"/>
                  </a:lnTo>
                  <a:lnTo>
                    <a:pt x="73990" y="44929"/>
                  </a:lnTo>
                  <a:lnTo>
                    <a:pt x="73438" y="52521"/>
                  </a:lnTo>
                  <a:lnTo>
                    <a:pt x="55702" y="47777"/>
                  </a:lnTo>
                  <a:lnTo>
                    <a:pt x="43101" y="49711"/>
                  </a:lnTo>
                  <a:lnTo>
                    <a:pt x="26803" y="47692"/>
                  </a:lnTo>
                  <a:lnTo>
                    <a:pt x="14306" y="52911"/>
                  </a:lnTo>
                  <a:lnTo>
                    <a:pt x="0" y="44205"/>
                  </a:lnTo>
                  <a:lnTo>
                    <a:pt x="2353" y="35185"/>
                  </a:lnTo>
                  <a:lnTo>
                    <a:pt x="26946" y="39071"/>
                  </a:lnTo>
                  <a:lnTo>
                    <a:pt x="47092" y="41319"/>
                  </a:lnTo>
                  <a:lnTo>
                    <a:pt x="56712" y="35090"/>
                  </a:lnTo>
                  <a:lnTo>
                    <a:pt x="44510" y="22927"/>
                  </a:lnTo>
                  <a:lnTo>
                    <a:pt x="44710" y="12182"/>
                  </a:lnTo>
                  <a:lnTo>
                    <a:pt x="27861" y="77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2" name="Forme libre : forme 5721">
              <a:extLst>
                <a:ext uri="{FF2B5EF4-FFF2-40B4-BE49-F238E27FC236}">
                  <a16:creationId xmlns:a16="http://schemas.microsoft.com/office/drawing/2014/main" id="{58FE4C06-EAB6-03BF-83A9-0C777D1C9D4F}"/>
                </a:ext>
              </a:extLst>
            </p:cNvPr>
            <p:cNvSpPr/>
            <p:nvPr/>
          </p:nvSpPr>
          <p:spPr>
            <a:xfrm>
              <a:off x="6253610" y="3260202"/>
              <a:ext cx="173812" cy="112261"/>
            </a:xfrm>
            <a:custGeom>
              <a:avLst/>
              <a:gdLst>
                <a:gd name="connsiteX0" fmla="*/ 0 w 173812"/>
                <a:gd name="connsiteY0" fmla="*/ 70142 h 112261"/>
                <a:gd name="connsiteX1" fmla="*/ 8867 w 173812"/>
                <a:gd name="connsiteY1" fmla="*/ 44929 h 112261"/>
                <a:gd name="connsiteX2" fmla="*/ 3686 w 173812"/>
                <a:gd name="connsiteY2" fmla="*/ 36366 h 112261"/>
                <a:gd name="connsiteX3" fmla="*/ 18726 w 173812"/>
                <a:gd name="connsiteY3" fmla="*/ 36290 h 112261"/>
                <a:gd name="connsiteX4" fmla="*/ 20755 w 173812"/>
                <a:gd name="connsiteY4" fmla="*/ 20060 h 112261"/>
                <a:gd name="connsiteX5" fmla="*/ 34347 w 173812"/>
                <a:gd name="connsiteY5" fmla="*/ 30242 h 112261"/>
                <a:gd name="connsiteX6" fmla="*/ 44196 w 173812"/>
                <a:gd name="connsiteY6" fmla="*/ 34566 h 112261"/>
                <a:gd name="connsiteX7" fmla="*/ 66608 w 173812"/>
                <a:gd name="connsiteY7" fmla="*/ 29708 h 112261"/>
                <a:gd name="connsiteX8" fmla="*/ 68761 w 173812"/>
                <a:gd name="connsiteY8" fmla="*/ 21717 h 112261"/>
                <a:gd name="connsiteX9" fmla="*/ 79372 w 173812"/>
                <a:gd name="connsiteY9" fmla="*/ 20536 h 112261"/>
                <a:gd name="connsiteX10" fmla="*/ 92373 w 173812"/>
                <a:gd name="connsiteY10" fmla="*/ 14335 h 112261"/>
                <a:gd name="connsiteX11" fmla="*/ 95269 w 173812"/>
                <a:gd name="connsiteY11" fmla="*/ 16897 h 112261"/>
                <a:gd name="connsiteX12" fmla="*/ 107804 w 173812"/>
                <a:gd name="connsiteY12" fmla="*/ 11906 h 112261"/>
                <a:gd name="connsiteX13" fmla="*/ 114072 w 173812"/>
                <a:gd name="connsiteY13" fmla="*/ 2457 h 112261"/>
                <a:gd name="connsiteX14" fmla="*/ 122825 w 173812"/>
                <a:gd name="connsiteY14" fmla="*/ 0 h 112261"/>
                <a:gd name="connsiteX15" fmla="*/ 151429 w 173812"/>
                <a:gd name="connsiteY15" fmla="*/ 12202 h 112261"/>
                <a:gd name="connsiteX16" fmla="*/ 157124 w 173812"/>
                <a:gd name="connsiteY16" fmla="*/ 8106 h 112261"/>
                <a:gd name="connsiteX17" fmla="*/ 171945 w 173812"/>
                <a:gd name="connsiteY17" fmla="*/ 18993 h 112261"/>
                <a:gd name="connsiteX18" fmla="*/ 173812 w 173812"/>
                <a:gd name="connsiteY18" fmla="*/ 29661 h 112261"/>
                <a:gd name="connsiteX19" fmla="*/ 157496 w 173812"/>
                <a:gd name="connsiteY19" fmla="*/ 37967 h 112261"/>
                <a:gd name="connsiteX20" fmla="*/ 144866 w 173812"/>
                <a:gd name="connsiteY20" fmla="*/ 64618 h 112261"/>
                <a:gd name="connsiteX21" fmla="*/ 128711 w 173812"/>
                <a:gd name="connsiteY21" fmla="*/ 90916 h 112261"/>
                <a:gd name="connsiteX22" fmla="*/ 107299 w 173812"/>
                <a:gd name="connsiteY22" fmla="*/ 98174 h 112261"/>
                <a:gd name="connsiteX23" fmla="*/ 90631 w 173812"/>
                <a:gd name="connsiteY23" fmla="*/ 96469 h 112261"/>
                <a:gd name="connsiteX24" fmla="*/ 70171 w 173812"/>
                <a:gd name="connsiteY24" fmla="*/ 106556 h 112261"/>
                <a:gd name="connsiteX25" fmla="*/ 60188 w 173812"/>
                <a:gd name="connsiteY25" fmla="*/ 112261 h 112261"/>
                <a:gd name="connsiteX26" fmla="*/ 38128 w 173812"/>
                <a:gd name="connsiteY26" fmla="*/ 104918 h 112261"/>
                <a:gd name="connsiteX27" fmla="*/ 18164 w 173812"/>
                <a:gd name="connsiteY27" fmla="*/ 88430 h 112261"/>
                <a:gd name="connsiteX28" fmla="*/ 9677 w 173812"/>
                <a:gd name="connsiteY28" fmla="*/ 83668 h 112261"/>
                <a:gd name="connsiteX29" fmla="*/ 4486 w 173812"/>
                <a:gd name="connsiteY29" fmla="*/ 70571 h 112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3812" h="112261">
                  <a:moveTo>
                    <a:pt x="0" y="70142"/>
                  </a:moveTo>
                  <a:lnTo>
                    <a:pt x="8867" y="44929"/>
                  </a:lnTo>
                  <a:lnTo>
                    <a:pt x="3686" y="36366"/>
                  </a:lnTo>
                  <a:lnTo>
                    <a:pt x="18726" y="36290"/>
                  </a:lnTo>
                  <a:lnTo>
                    <a:pt x="20755" y="20060"/>
                  </a:lnTo>
                  <a:lnTo>
                    <a:pt x="34347" y="30242"/>
                  </a:lnTo>
                  <a:lnTo>
                    <a:pt x="44196" y="34566"/>
                  </a:lnTo>
                  <a:lnTo>
                    <a:pt x="66608" y="29708"/>
                  </a:lnTo>
                  <a:lnTo>
                    <a:pt x="68761" y="21717"/>
                  </a:lnTo>
                  <a:lnTo>
                    <a:pt x="79372" y="20536"/>
                  </a:lnTo>
                  <a:lnTo>
                    <a:pt x="92373" y="14335"/>
                  </a:lnTo>
                  <a:lnTo>
                    <a:pt x="95269" y="16897"/>
                  </a:lnTo>
                  <a:lnTo>
                    <a:pt x="107804" y="11906"/>
                  </a:lnTo>
                  <a:lnTo>
                    <a:pt x="114072" y="2457"/>
                  </a:lnTo>
                  <a:lnTo>
                    <a:pt x="122825" y="0"/>
                  </a:lnTo>
                  <a:lnTo>
                    <a:pt x="151429" y="12202"/>
                  </a:lnTo>
                  <a:lnTo>
                    <a:pt x="157124" y="8106"/>
                  </a:lnTo>
                  <a:lnTo>
                    <a:pt x="171945" y="18993"/>
                  </a:lnTo>
                  <a:lnTo>
                    <a:pt x="173812" y="29661"/>
                  </a:lnTo>
                  <a:lnTo>
                    <a:pt x="157496" y="37967"/>
                  </a:lnTo>
                  <a:lnTo>
                    <a:pt x="144866" y="64618"/>
                  </a:lnTo>
                  <a:lnTo>
                    <a:pt x="128711" y="90916"/>
                  </a:lnTo>
                  <a:lnTo>
                    <a:pt x="107299" y="98174"/>
                  </a:lnTo>
                  <a:lnTo>
                    <a:pt x="90631" y="96469"/>
                  </a:lnTo>
                  <a:lnTo>
                    <a:pt x="70171" y="106556"/>
                  </a:lnTo>
                  <a:lnTo>
                    <a:pt x="60188" y="112261"/>
                  </a:lnTo>
                  <a:lnTo>
                    <a:pt x="38128" y="104918"/>
                  </a:lnTo>
                  <a:lnTo>
                    <a:pt x="18164" y="88430"/>
                  </a:lnTo>
                  <a:lnTo>
                    <a:pt x="9677" y="83668"/>
                  </a:lnTo>
                  <a:lnTo>
                    <a:pt x="4486" y="705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3" name="Forme libre : forme 5722">
              <a:extLst>
                <a:ext uri="{FF2B5EF4-FFF2-40B4-BE49-F238E27FC236}">
                  <a16:creationId xmlns:a16="http://schemas.microsoft.com/office/drawing/2014/main" id="{64C9EC5F-6890-E3C2-E408-A89A5427F2F4}"/>
                </a:ext>
              </a:extLst>
            </p:cNvPr>
            <p:cNvSpPr/>
            <p:nvPr/>
          </p:nvSpPr>
          <p:spPr>
            <a:xfrm>
              <a:off x="8365864" y="4597074"/>
              <a:ext cx="1221581" cy="421938"/>
            </a:xfrm>
            <a:custGeom>
              <a:avLst/>
              <a:gdLst>
                <a:gd name="connsiteX0" fmla="*/ 678952 w 1221581"/>
                <a:gd name="connsiteY0" fmla="*/ 418690 h 421938"/>
                <a:gd name="connsiteX1" fmla="*/ 667712 w 1221581"/>
                <a:gd name="connsiteY1" fmla="*/ 419205 h 421938"/>
                <a:gd name="connsiteX2" fmla="*/ 632270 w 1221581"/>
                <a:gd name="connsiteY2" fmla="*/ 400336 h 421938"/>
                <a:gd name="connsiteX3" fmla="*/ 657168 w 1221581"/>
                <a:gd name="connsiteY3" fmla="*/ 395049 h 421938"/>
                <a:gd name="connsiteX4" fmla="*/ 671208 w 1221581"/>
                <a:gd name="connsiteY4" fmla="*/ 403241 h 421938"/>
                <a:gd name="connsiteX5" fmla="*/ 680542 w 1221581"/>
                <a:gd name="connsiteY5" fmla="*/ 411413 h 421938"/>
                <a:gd name="connsiteX6" fmla="*/ 678952 w 1221581"/>
                <a:gd name="connsiteY6" fmla="*/ 418690 h 421938"/>
                <a:gd name="connsiteX7" fmla="*/ 778307 w 1221581"/>
                <a:gd name="connsiteY7" fmla="*/ 416004 h 421938"/>
                <a:gd name="connsiteX8" fmla="*/ 755447 w 1221581"/>
                <a:gd name="connsiteY8" fmla="*/ 421938 h 421938"/>
                <a:gd name="connsiteX9" fmla="*/ 752247 w 1221581"/>
                <a:gd name="connsiteY9" fmla="*/ 418700 h 421938"/>
                <a:gd name="connsiteX10" fmla="*/ 754647 w 1221581"/>
                <a:gd name="connsiteY10" fmla="*/ 409537 h 421938"/>
                <a:gd name="connsiteX11" fmla="*/ 766134 w 1221581"/>
                <a:gd name="connsiteY11" fmla="*/ 393116 h 421938"/>
                <a:gd name="connsiteX12" fmla="*/ 792528 w 1221581"/>
                <a:gd name="connsiteY12" fmla="*/ 382448 h 421938"/>
                <a:gd name="connsiteX13" fmla="*/ 795233 w 1221581"/>
                <a:gd name="connsiteY13" fmla="*/ 387743 h 421938"/>
                <a:gd name="connsiteX14" fmla="*/ 795728 w 1221581"/>
                <a:gd name="connsiteY14" fmla="*/ 395897 h 421938"/>
                <a:gd name="connsiteX15" fmla="*/ 778307 w 1221581"/>
                <a:gd name="connsiteY15" fmla="*/ 416004 h 421938"/>
                <a:gd name="connsiteX16" fmla="*/ 603752 w 1221581"/>
                <a:gd name="connsiteY16" fmla="*/ 361074 h 421938"/>
                <a:gd name="connsiteX17" fmla="*/ 613382 w 1221581"/>
                <a:gd name="connsiteY17" fmla="*/ 368217 h 421938"/>
                <a:gd name="connsiteX18" fmla="*/ 629879 w 1221581"/>
                <a:gd name="connsiteY18" fmla="*/ 366027 h 421938"/>
                <a:gd name="connsiteX19" fmla="*/ 636499 w 1221581"/>
                <a:gd name="connsiteY19" fmla="*/ 377428 h 421938"/>
                <a:gd name="connsiteX20" fmla="*/ 605628 w 1221581"/>
                <a:gd name="connsiteY20" fmla="*/ 382819 h 421938"/>
                <a:gd name="connsiteX21" fmla="*/ 587130 w 1221581"/>
                <a:gd name="connsiteY21" fmla="*/ 386420 h 421938"/>
                <a:gd name="connsiteX22" fmla="*/ 572777 w 1221581"/>
                <a:gd name="connsiteY22" fmla="*/ 386210 h 421938"/>
                <a:gd name="connsiteX23" fmla="*/ 581949 w 1221581"/>
                <a:gd name="connsiteY23" fmla="*/ 370751 h 421938"/>
                <a:gd name="connsiteX24" fmla="*/ 596598 w 1221581"/>
                <a:gd name="connsiteY24" fmla="*/ 370541 h 421938"/>
                <a:gd name="connsiteX25" fmla="*/ 603752 w 1221581"/>
                <a:gd name="connsiteY25" fmla="*/ 361074 h 421938"/>
                <a:gd name="connsiteX26" fmla="*/ 737378 w 1221581"/>
                <a:gd name="connsiteY26" fmla="*/ 361036 h 421938"/>
                <a:gd name="connsiteX27" fmla="*/ 733463 w 1221581"/>
                <a:gd name="connsiteY27" fmla="*/ 375933 h 421938"/>
                <a:gd name="connsiteX28" fmla="*/ 693334 w 1221581"/>
                <a:gd name="connsiteY28" fmla="*/ 383552 h 421938"/>
                <a:gd name="connsiteX29" fmla="*/ 657816 w 1221581"/>
                <a:gd name="connsiteY29" fmla="*/ 380238 h 421938"/>
                <a:gd name="connsiteX30" fmla="*/ 657720 w 1221581"/>
                <a:gd name="connsiteY30" fmla="*/ 370427 h 421938"/>
                <a:gd name="connsiteX31" fmla="*/ 678942 w 1221581"/>
                <a:gd name="connsiteY31" fmla="*/ 364855 h 421938"/>
                <a:gd name="connsiteX32" fmla="*/ 695678 w 1221581"/>
                <a:gd name="connsiteY32" fmla="*/ 372894 h 421938"/>
                <a:gd name="connsiteX33" fmla="*/ 713451 w 1221581"/>
                <a:gd name="connsiteY33" fmla="*/ 370856 h 421938"/>
                <a:gd name="connsiteX34" fmla="*/ 737378 w 1221581"/>
                <a:gd name="connsiteY34" fmla="*/ 361036 h 421938"/>
                <a:gd name="connsiteX35" fmla="*/ 356007 w 1221581"/>
                <a:gd name="connsiteY35" fmla="*/ 325803 h 421938"/>
                <a:gd name="connsiteX36" fmla="*/ 407165 w 1221581"/>
                <a:gd name="connsiteY36" fmla="*/ 328470 h 421938"/>
                <a:gd name="connsiteX37" fmla="*/ 413052 w 1221581"/>
                <a:gd name="connsiteY37" fmla="*/ 317459 h 421938"/>
                <a:gd name="connsiteX38" fmla="*/ 462592 w 1221581"/>
                <a:gd name="connsiteY38" fmla="*/ 330308 h 421938"/>
                <a:gd name="connsiteX39" fmla="*/ 472317 w 1221581"/>
                <a:gd name="connsiteY39" fmla="*/ 347643 h 421938"/>
                <a:gd name="connsiteX40" fmla="*/ 512388 w 1221581"/>
                <a:gd name="connsiteY40" fmla="*/ 352530 h 421938"/>
                <a:gd name="connsiteX41" fmla="*/ 545135 w 1221581"/>
                <a:gd name="connsiteY41" fmla="*/ 368455 h 421938"/>
                <a:gd name="connsiteX42" fmla="*/ 514665 w 1221581"/>
                <a:gd name="connsiteY42" fmla="*/ 378676 h 421938"/>
                <a:gd name="connsiteX43" fmla="*/ 485299 w 1221581"/>
                <a:gd name="connsiteY43" fmla="*/ 367865 h 421938"/>
                <a:gd name="connsiteX44" fmla="*/ 461125 w 1221581"/>
                <a:gd name="connsiteY44" fmla="*/ 368598 h 421938"/>
                <a:gd name="connsiteX45" fmla="*/ 433416 w 1221581"/>
                <a:gd name="connsiteY45" fmla="*/ 366617 h 421938"/>
                <a:gd name="connsiteX46" fmla="*/ 408423 w 1221581"/>
                <a:gd name="connsiteY46" fmla="*/ 361807 h 421938"/>
                <a:gd name="connsiteX47" fmla="*/ 377486 w 1221581"/>
                <a:gd name="connsiteY47" fmla="*/ 351577 h 421938"/>
                <a:gd name="connsiteX48" fmla="*/ 357874 w 1221581"/>
                <a:gd name="connsiteY48" fmla="*/ 348929 h 421938"/>
                <a:gd name="connsiteX49" fmla="*/ 346767 w 1221581"/>
                <a:gd name="connsiteY49" fmla="*/ 352282 h 421938"/>
                <a:gd name="connsiteX50" fmla="*/ 298066 w 1221581"/>
                <a:gd name="connsiteY50" fmla="*/ 341261 h 421938"/>
                <a:gd name="connsiteX51" fmla="*/ 293437 w 1221581"/>
                <a:gd name="connsiteY51" fmla="*/ 329765 h 421938"/>
                <a:gd name="connsiteX52" fmla="*/ 269005 w 1221581"/>
                <a:gd name="connsiteY52" fmla="*/ 327803 h 421938"/>
                <a:gd name="connsiteX53" fmla="*/ 287331 w 1221581"/>
                <a:gd name="connsiteY53" fmla="*/ 302295 h 421938"/>
                <a:gd name="connsiteX54" fmla="*/ 319726 w 1221581"/>
                <a:gd name="connsiteY54" fmla="*/ 303876 h 421938"/>
                <a:gd name="connsiteX55" fmla="*/ 341290 w 1221581"/>
                <a:gd name="connsiteY55" fmla="*/ 314306 h 421938"/>
                <a:gd name="connsiteX56" fmla="*/ 352359 w 1221581"/>
                <a:gd name="connsiteY56" fmla="*/ 316344 h 421938"/>
                <a:gd name="connsiteX57" fmla="*/ 356007 w 1221581"/>
                <a:gd name="connsiteY57" fmla="*/ 325803 h 421938"/>
                <a:gd name="connsiteX58" fmla="*/ 1053084 w 1221581"/>
                <a:gd name="connsiteY58" fmla="*/ 310772 h 421938"/>
                <a:gd name="connsiteX59" fmla="*/ 1039349 w 1221581"/>
                <a:gd name="connsiteY59" fmla="*/ 328955 h 421938"/>
                <a:gd name="connsiteX60" fmla="*/ 1036749 w 1221581"/>
                <a:gd name="connsiteY60" fmla="*/ 308858 h 421938"/>
                <a:gd name="connsiteX61" fmla="*/ 1041492 w 1221581"/>
                <a:gd name="connsiteY61" fmla="*/ 299266 h 421938"/>
                <a:gd name="connsiteX62" fmla="*/ 1047083 w 1221581"/>
                <a:gd name="connsiteY62" fmla="*/ 290255 h 421938"/>
                <a:gd name="connsiteX63" fmla="*/ 1053160 w 1221581"/>
                <a:gd name="connsiteY63" fmla="*/ 298056 h 421938"/>
                <a:gd name="connsiteX64" fmla="*/ 1053084 w 1221581"/>
                <a:gd name="connsiteY64" fmla="*/ 310772 h 421938"/>
                <a:gd name="connsiteX65" fmla="*/ 853440 w 1221581"/>
                <a:gd name="connsiteY65" fmla="*/ 237401 h 421938"/>
                <a:gd name="connsiteX66" fmla="*/ 843439 w 1221581"/>
                <a:gd name="connsiteY66" fmla="*/ 246221 h 421938"/>
                <a:gd name="connsiteX67" fmla="*/ 824979 w 1221581"/>
                <a:gd name="connsiteY67" fmla="*/ 241335 h 421938"/>
                <a:gd name="connsiteX68" fmla="*/ 819779 w 1221581"/>
                <a:gd name="connsiteY68" fmla="*/ 229905 h 421938"/>
                <a:gd name="connsiteX69" fmla="*/ 846792 w 1221581"/>
                <a:gd name="connsiteY69" fmla="*/ 228628 h 421938"/>
                <a:gd name="connsiteX70" fmla="*/ 853440 w 1221581"/>
                <a:gd name="connsiteY70" fmla="*/ 237401 h 421938"/>
                <a:gd name="connsiteX71" fmla="*/ 939489 w 1221581"/>
                <a:gd name="connsiteY71" fmla="*/ 227695 h 421938"/>
                <a:gd name="connsiteX72" fmla="*/ 949204 w 1221581"/>
                <a:gd name="connsiteY72" fmla="*/ 248021 h 421938"/>
                <a:gd name="connsiteX73" fmla="*/ 926659 w 1221581"/>
                <a:gd name="connsiteY73" fmla="*/ 237068 h 421938"/>
                <a:gd name="connsiteX74" fmla="*/ 904342 w 1221581"/>
                <a:gd name="connsiteY74" fmla="*/ 234848 h 421938"/>
                <a:gd name="connsiteX75" fmla="*/ 889273 w 1221581"/>
                <a:gd name="connsiteY75" fmla="*/ 236601 h 421938"/>
                <a:gd name="connsiteX76" fmla="*/ 870795 w 1221581"/>
                <a:gd name="connsiteY76" fmla="*/ 235667 h 421938"/>
                <a:gd name="connsiteX77" fmla="*/ 877129 w 1221581"/>
                <a:gd name="connsiteY77" fmla="*/ 221056 h 421938"/>
                <a:gd name="connsiteX78" fmla="*/ 910114 w 1221581"/>
                <a:gd name="connsiteY78" fmla="*/ 219951 h 421938"/>
                <a:gd name="connsiteX79" fmla="*/ 939489 w 1221581"/>
                <a:gd name="connsiteY79" fmla="*/ 227695 h 421938"/>
                <a:gd name="connsiteX80" fmla="*/ 1037558 w 1221581"/>
                <a:gd name="connsiteY80" fmla="*/ 176136 h 421938"/>
                <a:gd name="connsiteX81" fmla="*/ 1045016 w 1221581"/>
                <a:gd name="connsiteY81" fmla="*/ 219065 h 421938"/>
                <a:gd name="connsiteX82" fmla="*/ 1072649 w 1221581"/>
                <a:gd name="connsiteY82" fmla="*/ 234963 h 421938"/>
                <a:gd name="connsiteX83" fmla="*/ 1094975 w 1221581"/>
                <a:gd name="connsiteY83" fmla="*/ 206788 h 421938"/>
                <a:gd name="connsiteX84" fmla="*/ 1125617 w 1221581"/>
                <a:gd name="connsiteY84" fmla="*/ 190767 h 421938"/>
                <a:gd name="connsiteX85" fmla="*/ 1149363 w 1221581"/>
                <a:gd name="connsiteY85" fmla="*/ 190748 h 421938"/>
                <a:gd name="connsiteX86" fmla="*/ 1172194 w 1221581"/>
                <a:gd name="connsiteY86" fmla="*/ 200006 h 421938"/>
                <a:gd name="connsiteX87" fmla="*/ 1192006 w 1221581"/>
                <a:gd name="connsiteY87" fmla="*/ 209502 h 421938"/>
                <a:gd name="connsiteX88" fmla="*/ 1220677 w 1221581"/>
                <a:gd name="connsiteY88" fmla="*/ 214579 h 421938"/>
                <a:gd name="connsiteX89" fmla="*/ 1221124 w 1221581"/>
                <a:gd name="connsiteY89" fmla="*/ 301285 h 421938"/>
                <a:gd name="connsiteX90" fmla="*/ 1221581 w 1221581"/>
                <a:gd name="connsiteY90" fmla="*/ 388506 h 421938"/>
                <a:gd name="connsiteX91" fmla="*/ 1197797 w 1221581"/>
                <a:gd name="connsiteY91" fmla="*/ 366474 h 421938"/>
                <a:gd name="connsiteX92" fmla="*/ 1170670 w 1221581"/>
                <a:gd name="connsiteY92" fmla="*/ 361083 h 421938"/>
                <a:gd name="connsiteX93" fmla="*/ 1164098 w 1221581"/>
                <a:gd name="connsiteY93" fmla="*/ 368722 h 421938"/>
                <a:gd name="connsiteX94" fmla="*/ 1130256 w 1221581"/>
                <a:gd name="connsiteY94" fmla="*/ 369541 h 421938"/>
                <a:gd name="connsiteX95" fmla="*/ 1141591 w 1221581"/>
                <a:gd name="connsiteY95" fmla="*/ 347739 h 421938"/>
                <a:gd name="connsiteX96" fmla="*/ 1158412 w 1221581"/>
                <a:gd name="connsiteY96" fmla="*/ 340309 h 421938"/>
                <a:gd name="connsiteX97" fmla="*/ 1151449 w 1221581"/>
                <a:gd name="connsiteY97" fmla="*/ 311258 h 421938"/>
                <a:gd name="connsiteX98" fmla="*/ 1138628 w 1221581"/>
                <a:gd name="connsiteY98" fmla="*/ 288874 h 421938"/>
                <a:gd name="connsiteX99" fmla="*/ 1086851 w 1221581"/>
                <a:gd name="connsiteY99" fmla="*/ 266319 h 421938"/>
                <a:gd name="connsiteX100" fmla="*/ 1064819 w 1221581"/>
                <a:gd name="connsiteY100" fmla="*/ 264100 h 421938"/>
                <a:gd name="connsiteX101" fmla="*/ 1024719 w 1221581"/>
                <a:gd name="connsiteY101" fmla="*/ 239525 h 421938"/>
                <a:gd name="connsiteX102" fmla="*/ 1016832 w 1221581"/>
                <a:gd name="connsiteY102" fmla="*/ 252441 h 421938"/>
                <a:gd name="connsiteX103" fmla="*/ 1006583 w 1221581"/>
                <a:gd name="connsiteY103" fmla="*/ 254784 h 421938"/>
                <a:gd name="connsiteX104" fmla="*/ 1000516 w 1221581"/>
                <a:gd name="connsiteY104" fmla="*/ 245030 h 421938"/>
                <a:gd name="connsiteX105" fmla="*/ 1000430 w 1221581"/>
                <a:gd name="connsiteY105" fmla="*/ 233486 h 421938"/>
                <a:gd name="connsiteX106" fmla="*/ 980027 w 1221581"/>
                <a:gd name="connsiteY106" fmla="*/ 220437 h 421938"/>
                <a:gd name="connsiteX107" fmla="*/ 1008793 w 1221581"/>
                <a:gd name="connsiteY107" fmla="*/ 210874 h 421938"/>
                <a:gd name="connsiteX108" fmla="*/ 1027843 w 1221581"/>
                <a:gd name="connsiteY108" fmla="*/ 211388 h 421938"/>
                <a:gd name="connsiteX109" fmla="*/ 1025605 w 1221581"/>
                <a:gd name="connsiteY109" fmla="*/ 204340 h 421938"/>
                <a:gd name="connsiteX110" fmla="*/ 986514 w 1221581"/>
                <a:gd name="connsiteY110" fmla="*/ 204292 h 421938"/>
                <a:gd name="connsiteX111" fmla="*/ 975941 w 1221581"/>
                <a:gd name="connsiteY111" fmla="*/ 188490 h 421938"/>
                <a:gd name="connsiteX112" fmla="*/ 952081 w 1221581"/>
                <a:gd name="connsiteY112" fmla="*/ 183594 h 421938"/>
                <a:gd name="connsiteX113" fmla="*/ 940775 w 1221581"/>
                <a:gd name="connsiteY113" fmla="*/ 170469 h 421938"/>
                <a:gd name="connsiteX114" fmla="*/ 976770 w 1221581"/>
                <a:gd name="connsiteY114" fmla="*/ 164039 h 421938"/>
                <a:gd name="connsiteX115" fmla="*/ 990467 w 1221581"/>
                <a:gd name="connsiteY115" fmla="*/ 155391 h 421938"/>
                <a:gd name="connsiteX116" fmla="*/ 1033339 w 1221581"/>
                <a:gd name="connsiteY116" fmla="*/ 166287 h 421938"/>
                <a:gd name="connsiteX117" fmla="*/ 1037558 w 1221581"/>
                <a:gd name="connsiteY117" fmla="*/ 176136 h 421938"/>
                <a:gd name="connsiteX118" fmla="*/ 799795 w 1221581"/>
                <a:gd name="connsiteY118" fmla="*/ 107918 h 421938"/>
                <a:gd name="connsiteX119" fmla="*/ 778336 w 1221581"/>
                <a:gd name="connsiteY119" fmla="*/ 134236 h 421938"/>
                <a:gd name="connsiteX120" fmla="*/ 758267 w 1221581"/>
                <a:gd name="connsiteY120" fmla="*/ 139341 h 421938"/>
                <a:gd name="connsiteX121" fmla="*/ 732568 w 1221581"/>
                <a:gd name="connsiteY121" fmla="*/ 134160 h 421938"/>
                <a:gd name="connsiteX122" fmla="*/ 688057 w 1221581"/>
                <a:gd name="connsiteY122" fmla="*/ 135484 h 421938"/>
                <a:gd name="connsiteX123" fmla="*/ 664731 w 1221581"/>
                <a:gd name="connsiteY123" fmla="*/ 139303 h 421938"/>
                <a:gd name="connsiteX124" fmla="*/ 660940 w 1221581"/>
                <a:gd name="connsiteY124" fmla="*/ 159382 h 421938"/>
                <a:gd name="connsiteX125" fmla="*/ 684848 w 1221581"/>
                <a:gd name="connsiteY125" fmla="*/ 182975 h 421938"/>
                <a:gd name="connsiteX126" fmla="*/ 699268 w 1221581"/>
                <a:gd name="connsiteY126" fmla="*/ 170955 h 421938"/>
                <a:gd name="connsiteX127" fmla="*/ 749075 w 1221581"/>
                <a:gd name="connsiteY127" fmla="*/ 161925 h 421938"/>
                <a:gd name="connsiteX128" fmla="*/ 746884 w 1221581"/>
                <a:gd name="connsiteY128" fmla="*/ 174145 h 421938"/>
                <a:gd name="connsiteX129" fmla="*/ 735245 w 1221581"/>
                <a:gd name="connsiteY129" fmla="*/ 170288 h 421938"/>
                <a:gd name="connsiteX130" fmla="*/ 723643 w 1221581"/>
                <a:gd name="connsiteY130" fmla="*/ 185833 h 421938"/>
                <a:gd name="connsiteX131" fmla="*/ 700135 w 1221581"/>
                <a:gd name="connsiteY131" fmla="*/ 196120 h 421938"/>
                <a:gd name="connsiteX132" fmla="*/ 725405 w 1221581"/>
                <a:gd name="connsiteY132" fmla="*/ 230153 h 421938"/>
                <a:gd name="connsiteX133" fmla="*/ 720519 w 1221581"/>
                <a:gd name="connsiteY133" fmla="*/ 239277 h 421938"/>
                <a:gd name="connsiteX134" fmla="*/ 744531 w 1221581"/>
                <a:gd name="connsiteY134" fmla="*/ 269977 h 421938"/>
                <a:gd name="connsiteX135" fmla="*/ 744303 w 1221581"/>
                <a:gd name="connsiteY135" fmla="*/ 287474 h 421938"/>
                <a:gd name="connsiteX136" fmla="*/ 730044 w 1221581"/>
                <a:gd name="connsiteY136" fmla="*/ 295304 h 421938"/>
                <a:gd name="connsiteX137" fmla="*/ 719567 w 1221581"/>
                <a:gd name="connsiteY137" fmla="*/ 285931 h 421938"/>
                <a:gd name="connsiteX138" fmla="*/ 732473 w 1221581"/>
                <a:gd name="connsiteY138" fmla="*/ 264128 h 421938"/>
                <a:gd name="connsiteX139" fmla="*/ 706260 w 1221581"/>
                <a:gd name="connsiteY139" fmla="*/ 274434 h 421938"/>
                <a:gd name="connsiteX140" fmla="*/ 699621 w 1221581"/>
                <a:gd name="connsiteY140" fmla="*/ 267072 h 421938"/>
                <a:gd name="connsiteX141" fmla="*/ 703079 w 1221581"/>
                <a:gd name="connsiteY141" fmla="*/ 256794 h 421938"/>
                <a:gd name="connsiteX142" fmla="*/ 683829 w 1221581"/>
                <a:gd name="connsiteY142" fmla="*/ 241202 h 421938"/>
                <a:gd name="connsiteX143" fmla="*/ 685810 w 1221581"/>
                <a:gd name="connsiteY143" fmla="*/ 215312 h 421938"/>
                <a:gd name="connsiteX144" fmla="*/ 667998 w 1221581"/>
                <a:gd name="connsiteY144" fmla="*/ 223390 h 421938"/>
                <a:gd name="connsiteX145" fmla="*/ 670256 w 1221581"/>
                <a:gd name="connsiteY145" fmla="*/ 254375 h 421938"/>
                <a:gd name="connsiteX146" fmla="*/ 671341 w 1221581"/>
                <a:gd name="connsiteY146" fmla="*/ 292465 h 421938"/>
                <a:gd name="connsiteX147" fmla="*/ 654406 w 1221581"/>
                <a:gd name="connsiteY147" fmla="*/ 296332 h 421938"/>
                <a:gd name="connsiteX148" fmla="*/ 642938 w 1221581"/>
                <a:gd name="connsiteY148" fmla="*/ 288512 h 421938"/>
                <a:gd name="connsiteX149" fmla="*/ 650596 w 1221581"/>
                <a:gd name="connsiteY149" fmla="*/ 264004 h 421938"/>
                <a:gd name="connsiteX150" fmla="*/ 646462 w 1221581"/>
                <a:gd name="connsiteY150" fmla="*/ 238344 h 421938"/>
                <a:gd name="connsiteX151" fmla="*/ 635222 w 1221581"/>
                <a:gd name="connsiteY151" fmla="*/ 238144 h 421938"/>
                <a:gd name="connsiteX152" fmla="*/ 626926 w 1221581"/>
                <a:gd name="connsiteY152" fmla="*/ 219942 h 421938"/>
                <a:gd name="connsiteX153" fmla="*/ 637966 w 1221581"/>
                <a:gd name="connsiteY153" fmla="*/ 202549 h 421938"/>
                <a:gd name="connsiteX154" fmla="*/ 641766 w 1221581"/>
                <a:gd name="connsiteY154" fmla="*/ 181480 h 421938"/>
                <a:gd name="connsiteX155" fmla="*/ 655187 w 1221581"/>
                <a:gd name="connsiteY155" fmla="*/ 141484 h 421938"/>
                <a:gd name="connsiteX156" fmla="*/ 660788 w 1221581"/>
                <a:gd name="connsiteY156" fmla="*/ 130550 h 421938"/>
                <a:gd name="connsiteX157" fmla="*/ 683495 w 1221581"/>
                <a:gd name="connsiteY157" fmla="*/ 110842 h 421938"/>
                <a:gd name="connsiteX158" fmla="*/ 704345 w 1221581"/>
                <a:gd name="connsiteY158" fmla="*/ 118681 h 421938"/>
                <a:gd name="connsiteX159" fmla="*/ 738016 w 1221581"/>
                <a:gd name="connsiteY159" fmla="*/ 122368 h 421938"/>
                <a:gd name="connsiteX160" fmla="*/ 768735 w 1221581"/>
                <a:gd name="connsiteY160" fmla="*/ 121253 h 421938"/>
                <a:gd name="connsiteX161" fmla="*/ 795128 w 1221581"/>
                <a:gd name="connsiteY161" fmla="*/ 101984 h 421938"/>
                <a:gd name="connsiteX162" fmla="*/ 799795 w 1221581"/>
                <a:gd name="connsiteY162" fmla="*/ 107918 h 421938"/>
                <a:gd name="connsiteX163" fmla="*/ 891873 w 1221581"/>
                <a:gd name="connsiteY163" fmla="*/ 115538 h 421938"/>
                <a:gd name="connsiteX164" fmla="*/ 890483 w 1221581"/>
                <a:gd name="connsiteY164" fmla="*/ 138722 h 421938"/>
                <a:gd name="connsiteX165" fmla="*/ 876710 w 1221581"/>
                <a:gd name="connsiteY165" fmla="*/ 136131 h 421938"/>
                <a:gd name="connsiteX166" fmla="*/ 872643 w 1221581"/>
                <a:gd name="connsiteY166" fmla="*/ 152276 h 421938"/>
                <a:gd name="connsiteX167" fmla="*/ 883644 w 1221581"/>
                <a:gd name="connsiteY167" fmla="*/ 166278 h 421938"/>
                <a:gd name="connsiteX168" fmla="*/ 876167 w 1221581"/>
                <a:gd name="connsiteY168" fmla="*/ 169459 h 421938"/>
                <a:gd name="connsiteX169" fmla="*/ 865384 w 1221581"/>
                <a:gd name="connsiteY169" fmla="*/ 152657 h 421938"/>
                <a:gd name="connsiteX170" fmla="*/ 857450 w 1221581"/>
                <a:gd name="connsiteY170" fmla="*/ 118738 h 421938"/>
                <a:gd name="connsiteX171" fmla="*/ 862822 w 1221581"/>
                <a:gd name="connsiteY171" fmla="*/ 97536 h 421938"/>
                <a:gd name="connsiteX172" fmla="*/ 871681 w 1221581"/>
                <a:gd name="connsiteY172" fmla="*/ 87877 h 421938"/>
                <a:gd name="connsiteX173" fmla="*/ 873605 w 1221581"/>
                <a:gd name="connsiteY173" fmla="*/ 102375 h 421938"/>
                <a:gd name="connsiteX174" fmla="*/ 889368 w 1221581"/>
                <a:gd name="connsiteY174" fmla="*/ 104699 h 421938"/>
                <a:gd name="connsiteX175" fmla="*/ 891873 w 1221581"/>
                <a:gd name="connsiteY175" fmla="*/ 115538 h 421938"/>
                <a:gd name="connsiteX176" fmla="*/ 603104 w 1221581"/>
                <a:gd name="connsiteY176" fmla="*/ 97088 h 421938"/>
                <a:gd name="connsiteX177" fmla="*/ 633051 w 1221581"/>
                <a:gd name="connsiteY177" fmla="*/ 121644 h 421938"/>
                <a:gd name="connsiteX178" fmla="*/ 601409 w 1221581"/>
                <a:gd name="connsiteY178" fmla="*/ 124777 h 421938"/>
                <a:gd name="connsiteX179" fmla="*/ 592494 w 1221581"/>
                <a:gd name="connsiteY179" fmla="*/ 142856 h 421938"/>
                <a:gd name="connsiteX180" fmla="*/ 593656 w 1221581"/>
                <a:gd name="connsiteY180" fmla="*/ 166897 h 421938"/>
                <a:gd name="connsiteX181" fmla="*/ 567976 w 1221581"/>
                <a:gd name="connsiteY181" fmla="*/ 185042 h 421938"/>
                <a:gd name="connsiteX182" fmla="*/ 567271 w 1221581"/>
                <a:gd name="connsiteY182" fmla="*/ 211474 h 421938"/>
                <a:gd name="connsiteX183" fmla="*/ 556975 w 1221581"/>
                <a:gd name="connsiteY183" fmla="*/ 252108 h 421938"/>
                <a:gd name="connsiteX184" fmla="*/ 553041 w 1221581"/>
                <a:gd name="connsiteY184" fmla="*/ 242649 h 421938"/>
                <a:gd name="connsiteX185" fmla="*/ 522694 w 1221581"/>
                <a:gd name="connsiteY185" fmla="*/ 254613 h 421938"/>
                <a:gd name="connsiteX186" fmla="*/ 512121 w 1221581"/>
                <a:gd name="connsiteY186" fmla="*/ 238353 h 421938"/>
                <a:gd name="connsiteX187" fmla="*/ 493081 w 1221581"/>
                <a:gd name="connsiteY187" fmla="*/ 236849 h 421938"/>
                <a:gd name="connsiteX188" fmla="*/ 479765 w 1221581"/>
                <a:gd name="connsiteY188" fmla="*/ 228333 h 421938"/>
                <a:gd name="connsiteX189" fmla="*/ 448018 w 1221581"/>
                <a:gd name="connsiteY189" fmla="*/ 237887 h 421938"/>
                <a:gd name="connsiteX190" fmla="*/ 438274 w 1221581"/>
                <a:gd name="connsiteY190" fmla="*/ 225028 h 421938"/>
                <a:gd name="connsiteX191" fmla="*/ 420786 w 1221581"/>
                <a:gd name="connsiteY191" fmla="*/ 226495 h 421938"/>
                <a:gd name="connsiteX192" fmla="*/ 398765 w 1221581"/>
                <a:gd name="connsiteY192" fmla="*/ 223428 h 421938"/>
                <a:gd name="connsiteX193" fmla="*/ 394678 w 1221581"/>
                <a:gd name="connsiteY193" fmla="*/ 187823 h 421938"/>
                <a:gd name="connsiteX194" fmla="*/ 381353 w 1221581"/>
                <a:gd name="connsiteY194" fmla="*/ 180451 h 421938"/>
                <a:gd name="connsiteX195" fmla="*/ 368532 w 1221581"/>
                <a:gd name="connsiteY195" fmla="*/ 157753 h 421938"/>
                <a:gd name="connsiteX196" fmla="*/ 364808 w 1221581"/>
                <a:gd name="connsiteY196" fmla="*/ 134541 h 421938"/>
                <a:gd name="connsiteX197" fmla="*/ 367913 w 1221581"/>
                <a:gd name="connsiteY197" fmla="*/ 109956 h 421938"/>
                <a:gd name="connsiteX198" fmla="*/ 383781 w 1221581"/>
                <a:gd name="connsiteY198" fmla="*/ 92316 h 421938"/>
                <a:gd name="connsiteX199" fmla="*/ 388249 w 1221581"/>
                <a:gd name="connsiteY199" fmla="*/ 110052 h 421938"/>
                <a:gd name="connsiteX200" fmla="*/ 406508 w 1221581"/>
                <a:gd name="connsiteY200" fmla="*/ 125044 h 421938"/>
                <a:gd name="connsiteX201" fmla="*/ 423739 w 1221581"/>
                <a:gd name="connsiteY201" fmla="*/ 119653 h 421938"/>
                <a:gd name="connsiteX202" fmla="*/ 440789 w 1221581"/>
                <a:gd name="connsiteY202" fmla="*/ 121568 h 421938"/>
                <a:gd name="connsiteX203" fmla="*/ 456352 w 1221581"/>
                <a:gd name="connsiteY203" fmla="*/ 108147 h 421938"/>
                <a:gd name="connsiteX204" fmla="*/ 469164 w 1221581"/>
                <a:gd name="connsiteY204" fmla="*/ 105823 h 421938"/>
                <a:gd name="connsiteX205" fmla="*/ 494424 w 1221581"/>
                <a:gd name="connsiteY205" fmla="*/ 113262 h 421938"/>
                <a:gd name="connsiteX206" fmla="*/ 516207 w 1221581"/>
                <a:gd name="connsiteY206" fmla="*/ 107604 h 421938"/>
                <a:gd name="connsiteX207" fmla="*/ 529904 w 1221581"/>
                <a:gd name="connsiteY207" fmla="*/ 70685 h 421938"/>
                <a:gd name="connsiteX208" fmla="*/ 540182 w 1221581"/>
                <a:gd name="connsiteY208" fmla="*/ 61446 h 421938"/>
                <a:gd name="connsiteX209" fmla="*/ 549440 w 1221581"/>
                <a:gd name="connsiteY209" fmla="*/ 31204 h 421938"/>
                <a:gd name="connsiteX210" fmla="*/ 580149 w 1221581"/>
                <a:gd name="connsiteY210" fmla="*/ 31213 h 421938"/>
                <a:gd name="connsiteX211" fmla="*/ 603295 w 1221581"/>
                <a:gd name="connsiteY211" fmla="*/ 35700 h 421938"/>
                <a:gd name="connsiteX212" fmla="*/ 588103 w 1221581"/>
                <a:gd name="connsiteY212" fmla="*/ 59712 h 421938"/>
                <a:gd name="connsiteX213" fmla="*/ 607743 w 1221581"/>
                <a:gd name="connsiteY213" fmla="*/ 84858 h 421938"/>
                <a:gd name="connsiteX214" fmla="*/ 603104 w 1221581"/>
                <a:gd name="connsiteY214" fmla="*/ 97088 h 421938"/>
                <a:gd name="connsiteX215" fmla="*/ 281074 w 1221581"/>
                <a:gd name="connsiteY215" fmla="*/ 301104 h 421938"/>
                <a:gd name="connsiteX216" fmla="*/ 251508 w 1221581"/>
                <a:gd name="connsiteY216" fmla="*/ 301666 h 421938"/>
                <a:gd name="connsiteX217" fmla="*/ 229019 w 1221581"/>
                <a:gd name="connsiteY217" fmla="*/ 279387 h 421938"/>
                <a:gd name="connsiteX218" fmla="*/ 194720 w 1221581"/>
                <a:gd name="connsiteY218" fmla="*/ 257642 h 421938"/>
                <a:gd name="connsiteX219" fmla="*/ 183290 w 1221581"/>
                <a:gd name="connsiteY219" fmla="*/ 241525 h 421938"/>
                <a:gd name="connsiteX220" fmla="*/ 163078 w 1221581"/>
                <a:gd name="connsiteY220" fmla="*/ 219894 h 421938"/>
                <a:gd name="connsiteX221" fmla="*/ 149809 w 1221581"/>
                <a:gd name="connsiteY221" fmla="*/ 199996 h 421938"/>
                <a:gd name="connsiteX222" fmla="*/ 129493 w 1221581"/>
                <a:gd name="connsiteY222" fmla="*/ 162849 h 421938"/>
                <a:gd name="connsiteX223" fmla="*/ 106042 w 1221581"/>
                <a:gd name="connsiteY223" fmla="*/ 140741 h 421938"/>
                <a:gd name="connsiteX224" fmla="*/ 98193 w 1221581"/>
                <a:gd name="connsiteY224" fmla="*/ 117929 h 421938"/>
                <a:gd name="connsiteX225" fmla="*/ 88354 w 1221581"/>
                <a:gd name="connsiteY225" fmla="*/ 97212 h 421938"/>
                <a:gd name="connsiteX226" fmla="*/ 64275 w 1221581"/>
                <a:gd name="connsiteY226" fmla="*/ 80496 h 421938"/>
                <a:gd name="connsiteX227" fmla="*/ 50311 w 1221581"/>
                <a:gd name="connsiteY227" fmla="*/ 57769 h 421938"/>
                <a:gd name="connsiteX228" fmla="*/ 30204 w 1221581"/>
                <a:gd name="connsiteY228" fmla="*/ 42881 h 421938"/>
                <a:gd name="connsiteX229" fmla="*/ 2343 w 1221581"/>
                <a:gd name="connsiteY229" fmla="*/ 13563 h 421938"/>
                <a:gd name="connsiteX230" fmla="*/ 0 w 1221581"/>
                <a:gd name="connsiteY230" fmla="*/ 0 h 421938"/>
                <a:gd name="connsiteX231" fmla="*/ 17202 w 1221581"/>
                <a:gd name="connsiteY231" fmla="*/ 1076 h 421938"/>
                <a:gd name="connsiteX232" fmla="*/ 58541 w 1221581"/>
                <a:gd name="connsiteY232" fmla="*/ 6229 h 421938"/>
                <a:gd name="connsiteX233" fmla="*/ 82153 w 1221581"/>
                <a:gd name="connsiteY233" fmla="*/ 32261 h 421938"/>
                <a:gd name="connsiteX234" fmla="*/ 102813 w 1221581"/>
                <a:gd name="connsiteY234" fmla="*/ 50292 h 421938"/>
                <a:gd name="connsiteX235" fmla="*/ 117539 w 1221581"/>
                <a:gd name="connsiteY235" fmla="*/ 61350 h 421938"/>
                <a:gd name="connsiteX236" fmla="*/ 142837 w 1221581"/>
                <a:gd name="connsiteY236" fmla="*/ 89897 h 421938"/>
                <a:gd name="connsiteX237" fmla="*/ 169993 w 1221581"/>
                <a:gd name="connsiteY237" fmla="*/ 90306 h 421938"/>
                <a:gd name="connsiteX238" fmla="*/ 192424 w 1221581"/>
                <a:gd name="connsiteY238" fmla="*/ 108490 h 421938"/>
                <a:gd name="connsiteX239" fmla="*/ 207883 w 1221581"/>
                <a:gd name="connsiteY239" fmla="*/ 130712 h 421938"/>
                <a:gd name="connsiteX240" fmla="*/ 228219 w 1221581"/>
                <a:gd name="connsiteY240" fmla="*/ 142827 h 421938"/>
                <a:gd name="connsiteX241" fmla="*/ 217523 w 1221581"/>
                <a:gd name="connsiteY241" fmla="*/ 164487 h 421938"/>
                <a:gd name="connsiteX242" fmla="*/ 232820 w 1221581"/>
                <a:gd name="connsiteY242" fmla="*/ 173698 h 421938"/>
                <a:gd name="connsiteX243" fmla="*/ 242411 w 1221581"/>
                <a:gd name="connsiteY243" fmla="*/ 174374 h 421938"/>
                <a:gd name="connsiteX244" fmla="*/ 246945 w 1221581"/>
                <a:gd name="connsiteY244" fmla="*/ 192881 h 421938"/>
                <a:gd name="connsiteX245" fmla="*/ 256251 w 1221581"/>
                <a:gd name="connsiteY245" fmla="*/ 207693 h 421938"/>
                <a:gd name="connsiteX246" fmla="*/ 275863 w 1221581"/>
                <a:gd name="connsiteY246" fmla="*/ 210045 h 421938"/>
                <a:gd name="connsiteX247" fmla="*/ 288856 w 1221581"/>
                <a:gd name="connsiteY247" fmla="*/ 226857 h 421938"/>
                <a:gd name="connsiteX248" fmla="*/ 282150 w 1221581"/>
                <a:gd name="connsiteY248" fmla="*/ 259918 h 421938"/>
                <a:gd name="connsiteX249" fmla="*/ 281074 w 1221581"/>
                <a:gd name="connsiteY249" fmla="*/ 301104 h 42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</a:cxnLst>
              <a:rect l="l" t="t" r="r" b="b"/>
              <a:pathLst>
                <a:path w="1221581" h="421938">
                  <a:moveTo>
                    <a:pt x="678952" y="418690"/>
                  </a:moveTo>
                  <a:lnTo>
                    <a:pt x="667712" y="419205"/>
                  </a:lnTo>
                  <a:lnTo>
                    <a:pt x="632270" y="400336"/>
                  </a:lnTo>
                  <a:lnTo>
                    <a:pt x="657168" y="395049"/>
                  </a:lnTo>
                  <a:lnTo>
                    <a:pt x="671208" y="403241"/>
                  </a:lnTo>
                  <a:lnTo>
                    <a:pt x="680542" y="411413"/>
                  </a:lnTo>
                  <a:lnTo>
                    <a:pt x="678952" y="418690"/>
                  </a:lnTo>
                  <a:close/>
                  <a:moveTo>
                    <a:pt x="778307" y="416004"/>
                  </a:moveTo>
                  <a:lnTo>
                    <a:pt x="755447" y="421938"/>
                  </a:lnTo>
                  <a:lnTo>
                    <a:pt x="752247" y="418700"/>
                  </a:lnTo>
                  <a:lnTo>
                    <a:pt x="754647" y="409537"/>
                  </a:lnTo>
                  <a:lnTo>
                    <a:pt x="766134" y="393116"/>
                  </a:lnTo>
                  <a:lnTo>
                    <a:pt x="792528" y="382448"/>
                  </a:lnTo>
                  <a:lnTo>
                    <a:pt x="795233" y="387743"/>
                  </a:lnTo>
                  <a:lnTo>
                    <a:pt x="795728" y="395897"/>
                  </a:lnTo>
                  <a:lnTo>
                    <a:pt x="778307" y="416004"/>
                  </a:lnTo>
                  <a:close/>
                  <a:moveTo>
                    <a:pt x="603752" y="361074"/>
                  </a:moveTo>
                  <a:lnTo>
                    <a:pt x="613382" y="368217"/>
                  </a:lnTo>
                  <a:lnTo>
                    <a:pt x="629879" y="366027"/>
                  </a:lnTo>
                  <a:lnTo>
                    <a:pt x="636499" y="377428"/>
                  </a:lnTo>
                  <a:lnTo>
                    <a:pt x="605628" y="382819"/>
                  </a:lnTo>
                  <a:lnTo>
                    <a:pt x="587130" y="386420"/>
                  </a:lnTo>
                  <a:lnTo>
                    <a:pt x="572777" y="386210"/>
                  </a:lnTo>
                  <a:lnTo>
                    <a:pt x="581949" y="370751"/>
                  </a:lnTo>
                  <a:lnTo>
                    <a:pt x="596598" y="370541"/>
                  </a:lnTo>
                  <a:lnTo>
                    <a:pt x="603752" y="361074"/>
                  </a:lnTo>
                  <a:close/>
                  <a:moveTo>
                    <a:pt x="737378" y="361036"/>
                  </a:moveTo>
                  <a:lnTo>
                    <a:pt x="733463" y="375933"/>
                  </a:lnTo>
                  <a:lnTo>
                    <a:pt x="693334" y="383552"/>
                  </a:lnTo>
                  <a:lnTo>
                    <a:pt x="657816" y="380238"/>
                  </a:lnTo>
                  <a:lnTo>
                    <a:pt x="657720" y="370427"/>
                  </a:lnTo>
                  <a:lnTo>
                    <a:pt x="678942" y="364855"/>
                  </a:lnTo>
                  <a:lnTo>
                    <a:pt x="695678" y="372894"/>
                  </a:lnTo>
                  <a:lnTo>
                    <a:pt x="713451" y="370856"/>
                  </a:lnTo>
                  <a:lnTo>
                    <a:pt x="737378" y="361036"/>
                  </a:lnTo>
                  <a:close/>
                  <a:moveTo>
                    <a:pt x="356007" y="325803"/>
                  </a:moveTo>
                  <a:lnTo>
                    <a:pt x="407165" y="328470"/>
                  </a:lnTo>
                  <a:lnTo>
                    <a:pt x="413052" y="317459"/>
                  </a:lnTo>
                  <a:lnTo>
                    <a:pt x="462592" y="330308"/>
                  </a:lnTo>
                  <a:lnTo>
                    <a:pt x="472317" y="347643"/>
                  </a:lnTo>
                  <a:lnTo>
                    <a:pt x="512388" y="352530"/>
                  </a:lnTo>
                  <a:lnTo>
                    <a:pt x="545135" y="368455"/>
                  </a:lnTo>
                  <a:lnTo>
                    <a:pt x="514665" y="378676"/>
                  </a:lnTo>
                  <a:lnTo>
                    <a:pt x="485299" y="367865"/>
                  </a:lnTo>
                  <a:lnTo>
                    <a:pt x="461125" y="368598"/>
                  </a:lnTo>
                  <a:lnTo>
                    <a:pt x="433416" y="366617"/>
                  </a:lnTo>
                  <a:lnTo>
                    <a:pt x="408423" y="361807"/>
                  </a:lnTo>
                  <a:lnTo>
                    <a:pt x="377486" y="351577"/>
                  </a:lnTo>
                  <a:lnTo>
                    <a:pt x="357874" y="348929"/>
                  </a:lnTo>
                  <a:lnTo>
                    <a:pt x="346767" y="352282"/>
                  </a:lnTo>
                  <a:lnTo>
                    <a:pt x="298066" y="341261"/>
                  </a:lnTo>
                  <a:lnTo>
                    <a:pt x="293437" y="329765"/>
                  </a:lnTo>
                  <a:lnTo>
                    <a:pt x="269005" y="327803"/>
                  </a:lnTo>
                  <a:lnTo>
                    <a:pt x="287331" y="302295"/>
                  </a:lnTo>
                  <a:lnTo>
                    <a:pt x="319726" y="303876"/>
                  </a:lnTo>
                  <a:lnTo>
                    <a:pt x="341290" y="314306"/>
                  </a:lnTo>
                  <a:lnTo>
                    <a:pt x="352359" y="316344"/>
                  </a:lnTo>
                  <a:lnTo>
                    <a:pt x="356007" y="325803"/>
                  </a:lnTo>
                  <a:close/>
                  <a:moveTo>
                    <a:pt x="1053084" y="310772"/>
                  </a:moveTo>
                  <a:lnTo>
                    <a:pt x="1039349" y="328955"/>
                  </a:lnTo>
                  <a:lnTo>
                    <a:pt x="1036749" y="308858"/>
                  </a:lnTo>
                  <a:lnTo>
                    <a:pt x="1041492" y="299266"/>
                  </a:lnTo>
                  <a:lnTo>
                    <a:pt x="1047083" y="290255"/>
                  </a:lnTo>
                  <a:lnTo>
                    <a:pt x="1053160" y="298056"/>
                  </a:lnTo>
                  <a:lnTo>
                    <a:pt x="1053084" y="310772"/>
                  </a:lnTo>
                  <a:close/>
                  <a:moveTo>
                    <a:pt x="853440" y="237401"/>
                  </a:moveTo>
                  <a:lnTo>
                    <a:pt x="843439" y="246221"/>
                  </a:lnTo>
                  <a:lnTo>
                    <a:pt x="824979" y="241335"/>
                  </a:lnTo>
                  <a:lnTo>
                    <a:pt x="819779" y="229905"/>
                  </a:lnTo>
                  <a:lnTo>
                    <a:pt x="846792" y="228628"/>
                  </a:lnTo>
                  <a:lnTo>
                    <a:pt x="853440" y="237401"/>
                  </a:lnTo>
                  <a:close/>
                  <a:moveTo>
                    <a:pt x="939489" y="227695"/>
                  </a:moveTo>
                  <a:lnTo>
                    <a:pt x="949204" y="248021"/>
                  </a:lnTo>
                  <a:lnTo>
                    <a:pt x="926659" y="237068"/>
                  </a:lnTo>
                  <a:lnTo>
                    <a:pt x="904342" y="234848"/>
                  </a:lnTo>
                  <a:lnTo>
                    <a:pt x="889273" y="236601"/>
                  </a:lnTo>
                  <a:lnTo>
                    <a:pt x="870795" y="235667"/>
                  </a:lnTo>
                  <a:lnTo>
                    <a:pt x="877129" y="221056"/>
                  </a:lnTo>
                  <a:lnTo>
                    <a:pt x="910114" y="219951"/>
                  </a:lnTo>
                  <a:lnTo>
                    <a:pt x="939489" y="227695"/>
                  </a:lnTo>
                  <a:close/>
                  <a:moveTo>
                    <a:pt x="1037558" y="176136"/>
                  </a:moveTo>
                  <a:lnTo>
                    <a:pt x="1045016" y="219065"/>
                  </a:lnTo>
                  <a:lnTo>
                    <a:pt x="1072649" y="234963"/>
                  </a:lnTo>
                  <a:lnTo>
                    <a:pt x="1094975" y="206788"/>
                  </a:lnTo>
                  <a:lnTo>
                    <a:pt x="1125617" y="190767"/>
                  </a:lnTo>
                  <a:lnTo>
                    <a:pt x="1149363" y="190748"/>
                  </a:lnTo>
                  <a:lnTo>
                    <a:pt x="1172194" y="200006"/>
                  </a:lnTo>
                  <a:lnTo>
                    <a:pt x="1192006" y="209502"/>
                  </a:lnTo>
                  <a:lnTo>
                    <a:pt x="1220677" y="214579"/>
                  </a:lnTo>
                  <a:lnTo>
                    <a:pt x="1221124" y="301285"/>
                  </a:lnTo>
                  <a:lnTo>
                    <a:pt x="1221581" y="388506"/>
                  </a:lnTo>
                  <a:lnTo>
                    <a:pt x="1197797" y="366474"/>
                  </a:lnTo>
                  <a:lnTo>
                    <a:pt x="1170670" y="361083"/>
                  </a:lnTo>
                  <a:lnTo>
                    <a:pt x="1164098" y="368722"/>
                  </a:lnTo>
                  <a:lnTo>
                    <a:pt x="1130256" y="369541"/>
                  </a:lnTo>
                  <a:lnTo>
                    <a:pt x="1141591" y="347739"/>
                  </a:lnTo>
                  <a:lnTo>
                    <a:pt x="1158412" y="340309"/>
                  </a:lnTo>
                  <a:lnTo>
                    <a:pt x="1151449" y="311258"/>
                  </a:lnTo>
                  <a:lnTo>
                    <a:pt x="1138628" y="288874"/>
                  </a:lnTo>
                  <a:lnTo>
                    <a:pt x="1086851" y="266319"/>
                  </a:lnTo>
                  <a:lnTo>
                    <a:pt x="1064819" y="264100"/>
                  </a:lnTo>
                  <a:lnTo>
                    <a:pt x="1024719" y="239525"/>
                  </a:lnTo>
                  <a:lnTo>
                    <a:pt x="1016832" y="252441"/>
                  </a:lnTo>
                  <a:lnTo>
                    <a:pt x="1006583" y="254784"/>
                  </a:lnTo>
                  <a:lnTo>
                    <a:pt x="1000516" y="245030"/>
                  </a:lnTo>
                  <a:lnTo>
                    <a:pt x="1000430" y="233486"/>
                  </a:lnTo>
                  <a:lnTo>
                    <a:pt x="980027" y="220437"/>
                  </a:lnTo>
                  <a:lnTo>
                    <a:pt x="1008793" y="210874"/>
                  </a:lnTo>
                  <a:lnTo>
                    <a:pt x="1027843" y="211388"/>
                  </a:lnTo>
                  <a:lnTo>
                    <a:pt x="1025605" y="204340"/>
                  </a:lnTo>
                  <a:lnTo>
                    <a:pt x="986514" y="204292"/>
                  </a:lnTo>
                  <a:lnTo>
                    <a:pt x="975941" y="188490"/>
                  </a:lnTo>
                  <a:lnTo>
                    <a:pt x="952081" y="183594"/>
                  </a:lnTo>
                  <a:lnTo>
                    <a:pt x="940775" y="170469"/>
                  </a:lnTo>
                  <a:lnTo>
                    <a:pt x="976770" y="164039"/>
                  </a:lnTo>
                  <a:lnTo>
                    <a:pt x="990467" y="155391"/>
                  </a:lnTo>
                  <a:lnTo>
                    <a:pt x="1033339" y="166287"/>
                  </a:lnTo>
                  <a:lnTo>
                    <a:pt x="1037558" y="176136"/>
                  </a:lnTo>
                  <a:close/>
                  <a:moveTo>
                    <a:pt x="799795" y="107918"/>
                  </a:moveTo>
                  <a:lnTo>
                    <a:pt x="778336" y="134236"/>
                  </a:lnTo>
                  <a:lnTo>
                    <a:pt x="758267" y="139341"/>
                  </a:lnTo>
                  <a:lnTo>
                    <a:pt x="732568" y="134160"/>
                  </a:lnTo>
                  <a:lnTo>
                    <a:pt x="688057" y="135484"/>
                  </a:lnTo>
                  <a:lnTo>
                    <a:pt x="664731" y="139303"/>
                  </a:lnTo>
                  <a:lnTo>
                    <a:pt x="660940" y="159382"/>
                  </a:lnTo>
                  <a:lnTo>
                    <a:pt x="684848" y="182975"/>
                  </a:lnTo>
                  <a:lnTo>
                    <a:pt x="699268" y="170955"/>
                  </a:lnTo>
                  <a:lnTo>
                    <a:pt x="749075" y="161925"/>
                  </a:lnTo>
                  <a:lnTo>
                    <a:pt x="746884" y="174145"/>
                  </a:lnTo>
                  <a:lnTo>
                    <a:pt x="735245" y="170288"/>
                  </a:lnTo>
                  <a:lnTo>
                    <a:pt x="723643" y="185833"/>
                  </a:lnTo>
                  <a:lnTo>
                    <a:pt x="700135" y="196120"/>
                  </a:lnTo>
                  <a:lnTo>
                    <a:pt x="725405" y="230153"/>
                  </a:lnTo>
                  <a:lnTo>
                    <a:pt x="720519" y="239277"/>
                  </a:lnTo>
                  <a:lnTo>
                    <a:pt x="744531" y="269977"/>
                  </a:lnTo>
                  <a:lnTo>
                    <a:pt x="744303" y="287474"/>
                  </a:lnTo>
                  <a:lnTo>
                    <a:pt x="730044" y="295304"/>
                  </a:lnTo>
                  <a:lnTo>
                    <a:pt x="719567" y="285931"/>
                  </a:lnTo>
                  <a:lnTo>
                    <a:pt x="732473" y="264128"/>
                  </a:lnTo>
                  <a:lnTo>
                    <a:pt x="706260" y="274434"/>
                  </a:lnTo>
                  <a:lnTo>
                    <a:pt x="699621" y="267072"/>
                  </a:lnTo>
                  <a:lnTo>
                    <a:pt x="703079" y="256794"/>
                  </a:lnTo>
                  <a:lnTo>
                    <a:pt x="683829" y="241202"/>
                  </a:lnTo>
                  <a:lnTo>
                    <a:pt x="685810" y="215312"/>
                  </a:lnTo>
                  <a:lnTo>
                    <a:pt x="667998" y="223390"/>
                  </a:lnTo>
                  <a:lnTo>
                    <a:pt x="670256" y="254375"/>
                  </a:lnTo>
                  <a:lnTo>
                    <a:pt x="671341" y="292465"/>
                  </a:lnTo>
                  <a:lnTo>
                    <a:pt x="654406" y="296332"/>
                  </a:lnTo>
                  <a:lnTo>
                    <a:pt x="642938" y="288512"/>
                  </a:lnTo>
                  <a:lnTo>
                    <a:pt x="650596" y="264004"/>
                  </a:lnTo>
                  <a:lnTo>
                    <a:pt x="646462" y="238344"/>
                  </a:lnTo>
                  <a:lnTo>
                    <a:pt x="635222" y="238144"/>
                  </a:lnTo>
                  <a:lnTo>
                    <a:pt x="626926" y="219942"/>
                  </a:lnTo>
                  <a:lnTo>
                    <a:pt x="637966" y="202549"/>
                  </a:lnTo>
                  <a:lnTo>
                    <a:pt x="641766" y="181480"/>
                  </a:lnTo>
                  <a:lnTo>
                    <a:pt x="655187" y="141484"/>
                  </a:lnTo>
                  <a:lnTo>
                    <a:pt x="660788" y="130550"/>
                  </a:lnTo>
                  <a:lnTo>
                    <a:pt x="683495" y="110842"/>
                  </a:lnTo>
                  <a:lnTo>
                    <a:pt x="704345" y="118681"/>
                  </a:lnTo>
                  <a:lnTo>
                    <a:pt x="738016" y="122368"/>
                  </a:lnTo>
                  <a:lnTo>
                    <a:pt x="768735" y="121253"/>
                  </a:lnTo>
                  <a:lnTo>
                    <a:pt x="795128" y="101984"/>
                  </a:lnTo>
                  <a:lnTo>
                    <a:pt x="799795" y="107918"/>
                  </a:lnTo>
                  <a:close/>
                  <a:moveTo>
                    <a:pt x="891873" y="115538"/>
                  </a:moveTo>
                  <a:lnTo>
                    <a:pt x="890483" y="138722"/>
                  </a:lnTo>
                  <a:lnTo>
                    <a:pt x="876710" y="136131"/>
                  </a:lnTo>
                  <a:lnTo>
                    <a:pt x="872643" y="152276"/>
                  </a:lnTo>
                  <a:lnTo>
                    <a:pt x="883644" y="166278"/>
                  </a:lnTo>
                  <a:lnTo>
                    <a:pt x="876167" y="169459"/>
                  </a:lnTo>
                  <a:lnTo>
                    <a:pt x="865384" y="152657"/>
                  </a:lnTo>
                  <a:lnTo>
                    <a:pt x="857450" y="118738"/>
                  </a:lnTo>
                  <a:lnTo>
                    <a:pt x="862822" y="97536"/>
                  </a:lnTo>
                  <a:lnTo>
                    <a:pt x="871681" y="87877"/>
                  </a:lnTo>
                  <a:lnTo>
                    <a:pt x="873605" y="102375"/>
                  </a:lnTo>
                  <a:lnTo>
                    <a:pt x="889368" y="104699"/>
                  </a:lnTo>
                  <a:lnTo>
                    <a:pt x="891873" y="115538"/>
                  </a:lnTo>
                  <a:close/>
                  <a:moveTo>
                    <a:pt x="603104" y="97088"/>
                  </a:moveTo>
                  <a:lnTo>
                    <a:pt x="633051" y="121644"/>
                  </a:lnTo>
                  <a:lnTo>
                    <a:pt x="601409" y="124777"/>
                  </a:lnTo>
                  <a:lnTo>
                    <a:pt x="592494" y="142856"/>
                  </a:lnTo>
                  <a:lnTo>
                    <a:pt x="593656" y="166897"/>
                  </a:lnTo>
                  <a:lnTo>
                    <a:pt x="567976" y="185042"/>
                  </a:lnTo>
                  <a:lnTo>
                    <a:pt x="567271" y="211474"/>
                  </a:lnTo>
                  <a:lnTo>
                    <a:pt x="556975" y="252108"/>
                  </a:lnTo>
                  <a:lnTo>
                    <a:pt x="553041" y="242649"/>
                  </a:lnTo>
                  <a:lnTo>
                    <a:pt x="522694" y="254613"/>
                  </a:lnTo>
                  <a:lnTo>
                    <a:pt x="512121" y="238353"/>
                  </a:lnTo>
                  <a:lnTo>
                    <a:pt x="493081" y="236849"/>
                  </a:lnTo>
                  <a:lnTo>
                    <a:pt x="479765" y="228333"/>
                  </a:lnTo>
                  <a:lnTo>
                    <a:pt x="448018" y="237887"/>
                  </a:lnTo>
                  <a:lnTo>
                    <a:pt x="438274" y="225028"/>
                  </a:lnTo>
                  <a:lnTo>
                    <a:pt x="420786" y="226495"/>
                  </a:lnTo>
                  <a:lnTo>
                    <a:pt x="398765" y="223428"/>
                  </a:lnTo>
                  <a:lnTo>
                    <a:pt x="394678" y="187823"/>
                  </a:lnTo>
                  <a:lnTo>
                    <a:pt x="381353" y="180451"/>
                  </a:lnTo>
                  <a:lnTo>
                    <a:pt x="368532" y="157753"/>
                  </a:lnTo>
                  <a:lnTo>
                    <a:pt x="364808" y="134541"/>
                  </a:lnTo>
                  <a:lnTo>
                    <a:pt x="367913" y="109956"/>
                  </a:lnTo>
                  <a:lnTo>
                    <a:pt x="383781" y="92316"/>
                  </a:lnTo>
                  <a:lnTo>
                    <a:pt x="388249" y="110052"/>
                  </a:lnTo>
                  <a:lnTo>
                    <a:pt x="406508" y="125044"/>
                  </a:lnTo>
                  <a:lnTo>
                    <a:pt x="423739" y="119653"/>
                  </a:lnTo>
                  <a:lnTo>
                    <a:pt x="440789" y="121568"/>
                  </a:lnTo>
                  <a:lnTo>
                    <a:pt x="456352" y="108147"/>
                  </a:lnTo>
                  <a:lnTo>
                    <a:pt x="469164" y="105823"/>
                  </a:lnTo>
                  <a:lnTo>
                    <a:pt x="494424" y="113262"/>
                  </a:lnTo>
                  <a:lnTo>
                    <a:pt x="516207" y="107604"/>
                  </a:lnTo>
                  <a:lnTo>
                    <a:pt x="529904" y="70685"/>
                  </a:lnTo>
                  <a:lnTo>
                    <a:pt x="540182" y="61446"/>
                  </a:lnTo>
                  <a:lnTo>
                    <a:pt x="549440" y="31204"/>
                  </a:lnTo>
                  <a:lnTo>
                    <a:pt x="580149" y="31213"/>
                  </a:lnTo>
                  <a:lnTo>
                    <a:pt x="603295" y="35700"/>
                  </a:lnTo>
                  <a:lnTo>
                    <a:pt x="588103" y="59712"/>
                  </a:lnTo>
                  <a:lnTo>
                    <a:pt x="607743" y="84858"/>
                  </a:lnTo>
                  <a:lnTo>
                    <a:pt x="603104" y="97088"/>
                  </a:lnTo>
                  <a:close/>
                  <a:moveTo>
                    <a:pt x="281074" y="301104"/>
                  </a:moveTo>
                  <a:lnTo>
                    <a:pt x="251508" y="301666"/>
                  </a:lnTo>
                  <a:lnTo>
                    <a:pt x="229019" y="279387"/>
                  </a:lnTo>
                  <a:lnTo>
                    <a:pt x="194720" y="257642"/>
                  </a:lnTo>
                  <a:lnTo>
                    <a:pt x="183290" y="241525"/>
                  </a:lnTo>
                  <a:lnTo>
                    <a:pt x="163078" y="219894"/>
                  </a:lnTo>
                  <a:lnTo>
                    <a:pt x="149809" y="199996"/>
                  </a:lnTo>
                  <a:lnTo>
                    <a:pt x="129493" y="162849"/>
                  </a:lnTo>
                  <a:lnTo>
                    <a:pt x="106042" y="140741"/>
                  </a:lnTo>
                  <a:lnTo>
                    <a:pt x="98193" y="117929"/>
                  </a:lnTo>
                  <a:lnTo>
                    <a:pt x="88354" y="97212"/>
                  </a:lnTo>
                  <a:lnTo>
                    <a:pt x="64275" y="80496"/>
                  </a:lnTo>
                  <a:lnTo>
                    <a:pt x="50311" y="57769"/>
                  </a:lnTo>
                  <a:lnTo>
                    <a:pt x="30204" y="42881"/>
                  </a:lnTo>
                  <a:lnTo>
                    <a:pt x="2343" y="13563"/>
                  </a:lnTo>
                  <a:lnTo>
                    <a:pt x="0" y="0"/>
                  </a:lnTo>
                  <a:lnTo>
                    <a:pt x="17202" y="1076"/>
                  </a:lnTo>
                  <a:lnTo>
                    <a:pt x="58541" y="6229"/>
                  </a:lnTo>
                  <a:lnTo>
                    <a:pt x="82153" y="32261"/>
                  </a:lnTo>
                  <a:lnTo>
                    <a:pt x="102813" y="50292"/>
                  </a:lnTo>
                  <a:lnTo>
                    <a:pt x="117539" y="61350"/>
                  </a:lnTo>
                  <a:lnTo>
                    <a:pt x="142837" y="89897"/>
                  </a:lnTo>
                  <a:lnTo>
                    <a:pt x="169993" y="90306"/>
                  </a:lnTo>
                  <a:lnTo>
                    <a:pt x="192424" y="108490"/>
                  </a:lnTo>
                  <a:lnTo>
                    <a:pt x="207883" y="130712"/>
                  </a:lnTo>
                  <a:lnTo>
                    <a:pt x="228219" y="142827"/>
                  </a:lnTo>
                  <a:lnTo>
                    <a:pt x="217523" y="164487"/>
                  </a:lnTo>
                  <a:lnTo>
                    <a:pt x="232820" y="173698"/>
                  </a:lnTo>
                  <a:lnTo>
                    <a:pt x="242411" y="174374"/>
                  </a:lnTo>
                  <a:lnTo>
                    <a:pt x="246945" y="192881"/>
                  </a:lnTo>
                  <a:lnTo>
                    <a:pt x="256251" y="207693"/>
                  </a:lnTo>
                  <a:lnTo>
                    <a:pt x="275863" y="210045"/>
                  </a:lnTo>
                  <a:lnTo>
                    <a:pt x="288856" y="226857"/>
                  </a:lnTo>
                  <a:lnTo>
                    <a:pt x="282150" y="259918"/>
                  </a:lnTo>
                  <a:lnTo>
                    <a:pt x="281074" y="3011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4" name="Forme libre : forme 5723">
              <a:extLst>
                <a:ext uri="{FF2B5EF4-FFF2-40B4-BE49-F238E27FC236}">
                  <a16:creationId xmlns:a16="http://schemas.microsoft.com/office/drawing/2014/main" id="{01670266-9967-3B57-261B-E08BCBB9B8DF}"/>
                </a:ext>
              </a:extLst>
            </p:cNvPr>
            <p:cNvSpPr/>
            <p:nvPr/>
          </p:nvSpPr>
          <p:spPr>
            <a:xfrm>
              <a:off x="5554446" y="2978747"/>
              <a:ext cx="105327" cy="154828"/>
            </a:xfrm>
            <a:custGeom>
              <a:avLst/>
              <a:gdLst>
                <a:gd name="connsiteX0" fmla="*/ 100927 w 105327"/>
                <a:gd name="connsiteY0" fmla="*/ 58007 h 154828"/>
                <a:gd name="connsiteX1" fmla="*/ 105328 w 105327"/>
                <a:gd name="connsiteY1" fmla="*/ 90011 h 154828"/>
                <a:gd name="connsiteX2" fmla="*/ 85144 w 105327"/>
                <a:gd name="connsiteY2" fmla="*/ 129283 h 154828"/>
                <a:gd name="connsiteX3" fmla="*/ 37805 w 105327"/>
                <a:gd name="connsiteY3" fmla="*/ 154829 h 154828"/>
                <a:gd name="connsiteX4" fmla="*/ 0 w 105327"/>
                <a:gd name="connsiteY4" fmla="*/ 148323 h 154828"/>
                <a:gd name="connsiteX5" fmla="*/ 21650 w 105327"/>
                <a:gd name="connsiteY5" fmla="*/ 102794 h 154828"/>
                <a:gd name="connsiteX6" fmla="*/ 7706 w 105327"/>
                <a:gd name="connsiteY6" fmla="*/ 57388 h 154828"/>
                <a:gd name="connsiteX7" fmla="*/ 44034 w 105327"/>
                <a:gd name="connsiteY7" fmla="*/ 21641 h 154828"/>
                <a:gd name="connsiteX8" fmla="*/ 64218 w 105327"/>
                <a:gd name="connsiteY8" fmla="*/ 0 h 154828"/>
                <a:gd name="connsiteX9" fmla="*/ 69733 w 105327"/>
                <a:gd name="connsiteY9" fmla="*/ 24803 h 154828"/>
                <a:gd name="connsiteX10" fmla="*/ 64218 w 105327"/>
                <a:gd name="connsiteY10" fmla="*/ 49292 h 154828"/>
                <a:gd name="connsiteX11" fmla="*/ 80744 w 105327"/>
                <a:gd name="connsiteY11" fmla="*/ 48673 h 154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327" h="154828">
                  <a:moveTo>
                    <a:pt x="100927" y="58007"/>
                  </a:moveTo>
                  <a:lnTo>
                    <a:pt x="105328" y="90011"/>
                  </a:lnTo>
                  <a:lnTo>
                    <a:pt x="85144" y="129283"/>
                  </a:lnTo>
                  <a:lnTo>
                    <a:pt x="37805" y="154829"/>
                  </a:lnTo>
                  <a:lnTo>
                    <a:pt x="0" y="148323"/>
                  </a:lnTo>
                  <a:lnTo>
                    <a:pt x="21650" y="102794"/>
                  </a:lnTo>
                  <a:lnTo>
                    <a:pt x="7706" y="57388"/>
                  </a:lnTo>
                  <a:lnTo>
                    <a:pt x="44034" y="21641"/>
                  </a:lnTo>
                  <a:lnTo>
                    <a:pt x="64218" y="0"/>
                  </a:lnTo>
                  <a:lnTo>
                    <a:pt x="69733" y="24803"/>
                  </a:lnTo>
                  <a:lnTo>
                    <a:pt x="64218" y="49292"/>
                  </a:lnTo>
                  <a:lnTo>
                    <a:pt x="80744" y="486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5" name="Forme libre : forme 5724">
              <a:extLst>
                <a:ext uri="{FF2B5EF4-FFF2-40B4-BE49-F238E27FC236}">
                  <a16:creationId xmlns:a16="http://schemas.microsoft.com/office/drawing/2014/main" id="{4673B975-C444-28CE-84C6-8F779336144A}"/>
                </a:ext>
              </a:extLst>
            </p:cNvPr>
            <p:cNvSpPr/>
            <p:nvPr/>
          </p:nvSpPr>
          <p:spPr>
            <a:xfrm>
              <a:off x="6736013" y="3804908"/>
              <a:ext cx="41957" cy="117595"/>
            </a:xfrm>
            <a:custGeom>
              <a:avLst/>
              <a:gdLst>
                <a:gd name="connsiteX0" fmla="*/ 38843 w 41957"/>
                <a:gd name="connsiteY0" fmla="*/ 18012 h 117595"/>
                <a:gd name="connsiteX1" fmla="*/ 34195 w 41957"/>
                <a:gd name="connsiteY1" fmla="*/ 27947 h 117595"/>
                <a:gd name="connsiteX2" fmla="*/ 24527 w 41957"/>
                <a:gd name="connsiteY2" fmla="*/ 23584 h 117595"/>
                <a:gd name="connsiteX3" fmla="*/ 18945 w 41957"/>
                <a:gd name="connsiteY3" fmla="*/ 44501 h 117595"/>
                <a:gd name="connsiteX4" fmla="*/ 25651 w 41957"/>
                <a:gd name="connsiteY4" fmla="*/ 48016 h 117595"/>
                <a:gd name="connsiteX5" fmla="*/ 18831 w 41957"/>
                <a:gd name="connsiteY5" fmla="*/ 52311 h 117595"/>
                <a:gd name="connsiteX6" fmla="*/ 17679 w 41957"/>
                <a:gd name="connsiteY6" fmla="*/ 60512 h 117595"/>
                <a:gd name="connsiteX7" fmla="*/ 30232 w 41957"/>
                <a:gd name="connsiteY7" fmla="*/ 56293 h 117595"/>
                <a:gd name="connsiteX8" fmla="*/ 30861 w 41957"/>
                <a:gd name="connsiteY8" fmla="*/ 68390 h 117595"/>
                <a:gd name="connsiteX9" fmla="*/ 17555 w 41957"/>
                <a:gd name="connsiteY9" fmla="*/ 117596 h 117595"/>
                <a:gd name="connsiteX10" fmla="*/ 0 w 41957"/>
                <a:gd name="connsiteY10" fmla="*/ 64684 h 117595"/>
                <a:gd name="connsiteX11" fmla="*/ 7772 w 41957"/>
                <a:gd name="connsiteY11" fmla="*/ 54426 h 117595"/>
                <a:gd name="connsiteX12" fmla="*/ 5953 w 41957"/>
                <a:gd name="connsiteY12" fmla="*/ 52654 h 117595"/>
                <a:gd name="connsiteX13" fmla="*/ 13011 w 41957"/>
                <a:gd name="connsiteY13" fmla="*/ 38033 h 117595"/>
                <a:gd name="connsiteX14" fmla="*/ 18431 w 41957"/>
                <a:gd name="connsiteY14" fmla="*/ 14278 h 117595"/>
                <a:gd name="connsiteX15" fmla="*/ 22250 w 41957"/>
                <a:gd name="connsiteY15" fmla="*/ 6248 h 117595"/>
                <a:gd name="connsiteX16" fmla="*/ 22984 w 41957"/>
                <a:gd name="connsiteY16" fmla="*/ 5925 h 117595"/>
                <a:gd name="connsiteX17" fmla="*/ 31928 w 41957"/>
                <a:gd name="connsiteY17" fmla="*/ 5982 h 117595"/>
                <a:gd name="connsiteX18" fmla="*/ 34385 w 41957"/>
                <a:gd name="connsiteY18" fmla="*/ 419 h 117595"/>
                <a:gd name="connsiteX19" fmla="*/ 41548 w 41957"/>
                <a:gd name="connsiteY19" fmla="*/ 0 h 117595"/>
                <a:gd name="connsiteX20" fmla="*/ 41957 w 41957"/>
                <a:gd name="connsiteY20" fmla="*/ 12983 h 117595"/>
                <a:gd name="connsiteX21" fmla="*/ 38338 w 41957"/>
                <a:gd name="connsiteY21" fmla="*/ 17793 h 117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1957" h="117595">
                  <a:moveTo>
                    <a:pt x="38843" y="18012"/>
                  </a:moveTo>
                  <a:lnTo>
                    <a:pt x="34195" y="27947"/>
                  </a:lnTo>
                  <a:lnTo>
                    <a:pt x="24527" y="23584"/>
                  </a:lnTo>
                  <a:lnTo>
                    <a:pt x="18945" y="44501"/>
                  </a:lnTo>
                  <a:lnTo>
                    <a:pt x="25651" y="48016"/>
                  </a:lnTo>
                  <a:lnTo>
                    <a:pt x="18831" y="52311"/>
                  </a:lnTo>
                  <a:lnTo>
                    <a:pt x="17679" y="60512"/>
                  </a:lnTo>
                  <a:lnTo>
                    <a:pt x="30232" y="56293"/>
                  </a:lnTo>
                  <a:lnTo>
                    <a:pt x="30861" y="68390"/>
                  </a:lnTo>
                  <a:lnTo>
                    <a:pt x="17555" y="117596"/>
                  </a:lnTo>
                  <a:lnTo>
                    <a:pt x="0" y="64684"/>
                  </a:lnTo>
                  <a:lnTo>
                    <a:pt x="7772" y="54426"/>
                  </a:lnTo>
                  <a:lnTo>
                    <a:pt x="5953" y="52654"/>
                  </a:lnTo>
                  <a:lnTo>
                    <a:pt x="13011" y="38033"/>
                  </a:lnTo>
                  <a:lnTo>
                    <a:pt x="18431" y="14278"/>
                  </a:lnTo>
                  <a:lnTo>
                    <a:pt x="22250" y="6248"/>
                  </a:lnTo>
                  <a:lnTo>
                    <a:pt x="22984" y="5925"/>
                  </a:lnTo>
                  <a:lnTo>
                    <a:pt x="31928" y="5982"/>
                  </a:lnTo>
                  <a:lnTo>
                    <a:pt x="34385" y="419"/>
                  </a:lnTo>
                  <a:lnTo>
                    <a:pt x="41548" y="0"/>
                  </a:lnTo>
                  <a:lnTo>
                    <a:pt x="41957" y="12983"/>
                  </a:lnTo>
                  <a:lnTo>
                    <a:pt x="38338" y="177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6" name="Forme libre : forme 5725">
              <a:extLst>
                <a:ext uri="{FF2B5EF4-FFF2-40B4-BE49-F238E27FC236}">
                  <a16:creationId xmlns:a16="http://schemas.microsoft.com/office/drawing/2014/main" id="{F94C9B11-295B-DF60-44CA-DC8F52028530}"/>
                </a:ext>
              </a:extLst>
            </p:cNvPr>
            <p:cNvSpPr/>
            <p:nvPr/>
          </p:nvSpPr>
          <p:spPr>
            <a:xfrm>
              <a:off x="7641668" y="3679406"/>
              <a:ext cx="780526" cy="851249"/>
            </a:xfrm>
            <a:custGeom>
              <a:avLst/>
              <a:gdLst>
                <a:gd name="connsiteX0" fmla="*/ 258013 w 780526"/>
                <a:gd name="connsiteY0" fmla="*/ 54093 h 851249"/>
                <a:gd name="connsiteX1" fmla="*/ 280264 w 780526"/>
                <a:gd name="connsiteY1" fmla="*/ 42786 h 851249"/>
                <a:gd name="connsiteX2" fmla="*/ 295342 w 780526"/>
                <a:gd name="connsiteY2" fmla="*/ 39814 h 851249"/>
                <a:gd name="connsiteX3" fmla="*/ 312211 w 780526"/>
                <a:gd name="connsiteY3" fmla="*/ 44968 h 851249"/>
                <a:gd name="connsiteX4" fmla="*/ 322336 w 780526"/>
                <a:gd name="connsiteY4" fmla="*/ 53302 h 851249"/>
                <a:gd name="connsiteX5" fmla="*/ 316173 w 780526"/>
                <a:gd name="connsiteY5" fmla="*/ 75533 h 851249"/>
                <a:gd name="connsiteX6" fmla="*/ 298914 w 780526"/>
                <a:gd name="connsiteY6" fmla="*/ 100136 h 851249"/>
                <a:gd name="connsiteX7" fmla="*/ 288598 w 780526"/>
                <a:gd name="connsiteY7" fmla="*/ 99536 h 851249"/>
                <a:gd name="connsiteX8" fmla="*/ 286808 w 780526"/>
                <a:gd name="connsiteY8" fmla="*/ 101527 h 851249"/>
                <a:gd name="connsiteX9" fmla="*/ 290189 w 780526"/>
                <a:gd name="connsiteY9" fmla="*/ 112633 h 851249"/>
                <a:gd name="connsiteX10" fmla="*/ 286017 w 780526"/>
                <a:gd name="connsiteY10" fmla="*/ 112833 h 851249"/>
                <a:gd name="connsiteX11" fmla="*/ 286617 w 780526"/>
                <a:gd name="connsiteY11" fmla="*/ 119777 h 851249"/>
                <a:gd name="connsiteX12" fmla="*/ 291379 w 780526"/>
                <a:gd name="connsiteY12" fmla="*/ 123749 h 851249"/>
                <a:gd name="connsiteX13" fmla="*/ 298314 w 780526"/>
                <a:gd name="connsiteY13" fmla="*/ 124349 h 851249"/>
                <a:gd name="connsiteX14" fmla="*/ 298714 w 780526"/>
                <a:gd name="connsiteY14" fmla="*/ 135455 h 851249"/>
                <a:gd name="connsiteX15" fmla="*/ 303676 w 780526"/>
                <a:gd name="connsiteY15" fmla="*/ 141408 h 851249"/>
                <a:gd name="connsiteX16" fmla="*/ 302486 w 780526"/>
                <a:gd name="connsiteY16" fmla="*/ 145380 h 851249"/>
                <a:gd name="connsiteX17" fmla="*/ 297332 w 780526"/>
                <a:gd name="connsiteY17" fmla="*/ 149743 h 851249"/>
                <a:gd name="connsiteX18" fmla="*/ 293761 w 780526"/>
                <a:gd name="connsiteY18" fmla="*/ 150619 h 851249"/>
                <a:gd name="connsiteX19" fmla="*/ 274597 w 780526"/>
                <a:gd name="connsiteY19" fmla="*/ 146380 h 851249"/>
                <a:gd name="connsiteX20" fmla="*/ 282083 w 780526"/>
                <a:gd name="connsiteY20" fmla="*/ 180956 h 851249"/>
                <a:gd name="connsiteX21" fmla="*/ 308325 w 780526"/>
                <a:gd name="connsiteY21" fmla="*/ 200625 h 851249"/>
                <a:gd name="connsiteX22" fmla="*/ 345443 w 780526"/>
                <a:gd name="connsiteY22" fmla="*/ 222199 h 851249"/>
                <a:gd name="connsiteX23" fmla="*/ 328489 w 780526"/>
                <a:gd name="connsiteY23" fmla="*/ 236115 h 851249"/>
                <a:gd name="connsiteX24" fmla="*/ 318126 w 780526"/>
                <a:gd name="connsiteY24" fmla="*/ 264605 h 851249"/>
                <a:gd name="connsiteX25" fmla="*/ 343996 w 780526"/>
                <a:gd name="connsiteY25" fmla="*/ 276054 h 851249"/>
                <a:gd name="connsiteX26" fmla="*/ 369180 w 780526"/>
                <a:gd name="connsiteY26" fmla="*/ 290836 h 851249"/>
                <a:gd name="connsiteX27" fmla="*/ 404013 w 780526"/>
                <a:gd name="connsiteY27" fmla="*/ 307667 h 851249"/>
                <a:gd name="connsiteX28" fmla="*/ 440617 w 780526"/>
                <a:gd name="connsiteY28" fmla="*/ 311534 h 851249"/>
                <a:gd name="connsiteX29" fmla="*/ 456019 w 780526"/>
                <a:gd name="connsiteY29" fmla="*/ 326708 h 851249"/>
                <a:gd name="connsiteX30" fmla="*/ 476660 w 780526"/>
                <a:gd name="connsiteY30" fmla="*/ 329527 h 851249"/>
                <a:gd name="connsiteX31" fmla="*/ 508788 w 780526"/>
                <a:gd name="connsiteY31" fmla="*/ 336452 h 851249"/>
                <a:gd name="connsiteX32" fmla="*/ 531029 w 780526"/>
                <a:gd name="connsiteY32" fmla="*/ 335956 h 851249"/>
                <a:gd name="connsiteX33" fmla="*/ 534086 w 780526"/>
                <a:gd name="connsiteY33" fmla="*/ 324193 h 851249"/>
                <a:gd name="connsiteX34" fmla="*/ 530571 w 780526"/>
                <a:gd name="connsiteY34" fmla="*/ 305229 h 851249"/>
                <a:gd name="connsiteX35" fmla="*/ 532638 w 780526"/>
                <a:gd name="connsiteY35" fmla="*/ 292313 h 851249"/>
                <a:gd name="connsiteX36" fmla="*/ 548926 w 780526"/>
                <a:gd name="connsiteY36" fmla="*/ 285979 h 851249"/>
                <a:gd name="connsiteX37" fmla="*/ 551165 w 780526"/>
                <a:gd name="connsiteY37" fmla="*/ 309610 h 851249"/>
                <a:gd name="connsiteX38" fmla="*/ 551736 w 780526"/>
                <a:gd name="connsiteY38" fmla="*/ 315601 h 851249"/>
                <a:gd name="connsiteX39" fmla="*/ 576015 w 780526"/>
                <a:gd name="connsiteY39" fmla="*/ 326908 h 851249"/>
                <a:gd name="connsiteX40" fmla="*/ 592798 w 780526"/>
                <a:gd name="connsiteY40" fmla="*/ 322250 h 851249"/>
                <a:gd name="connsiteX41" fmla="*/ 615353 w 780526"/>
                <a:gd name="connsiteY41" fmla="*/ 324250 h 851249"/>
                <a:gd name="connsiteX42" fmla="*/ 637137 w 780526"/>
                <a:gd name="connsiteY42" fmla="*/ 323364 h 851249"/>
                <a:gd name="connsiteX43" fmla="*/ 639013 w 780526"/>
                <a:gd name="connsiteY43" fmla="*/ 305029 h 851249"/>
                <a:gd name="connsiteX44" fmla="*/ 628136 w 780526"/>
                <a:gd name="connsiteY44" fmla="*/ 295456 h 851249"/>
                <a:gd name="connsiteX45" fmla="*/ 649681 w 780526"/>
                <a:gd name="connsiteY45" fmla="*/ 291703 h 851249"/>
                <a:gd name="connsiteX46" fmla="*/ 673989 w 780526"/>
                <a:gd name="connsiteY46" fmla="*/ 269262 h 851249"/>
                <a:gd name="connsiteX47" fmla="*/ 704774 w 780526"/>
                <a:gd name="connsiteY47" fmla="*/ 249927 h 851249"/>
                <a:gd name="connsiteX48" fmla="*/ 727177 w 780526"/>
                <a:gd name="connsiteY48" fmla="*/ 257404 h 851249"/>
                <a:gd name="connsiteX49" fmla="*/ 746217 w 780526"/>
                <a:gd name="connsiteY49" fmla="*/ 244583 h 851249"/>
                <a:gd name="connsiteX50" fmla="*/ 758733 w 780526"/>
                <a:gd name="connsiteY50" fmla="*/ 263490 h 851249"/>
                <a:gd name="connsiteX51" fmla="*/ 749713 w 780526"/>
                <a:gd name="connsiteY51" fmla="*/ 276206 h 851249"/>
                <a:gd name="connsiteX52" fmla="*/ 778516 w 780526"/>
                <a:gd name="connsiteY52" fmla="*/ 280711 h 851249"/>
                <a:gd name="connsiteX53" fmla="*/ 780526 w 780526"/>
                <a:gd name="connsiteY53" fmla="*/ 292132 h 851249"/>
                <a:gd name="connsiteX54" fmla="*/ 771163 w 780526"/>
                <a:gd name="connsiteY54" fmla="*/ 297637 h 851249"/>
                <a:gd name="connsiteX55" fmla="*/ 773364 w 780526"/>
                <a:gd name="connsiteY55" fmla="*/ 316049 h 851249"/>
                <a:gd name="connsiteX56" fmla="*/ 754276 w 780526"/>
                <a:gd name="connsiteY56" fmla="*/ 310648 h 851249"/>
                <a:gd name="connsiteX57" fmla="*/ 719700 w 780526"/>
                <a:gd name="connsiteY57" fmla="*/ 331241 h 851249"/>
                <a:gd name="connsiteX58" fmla="*/ 720510 w 780526"/>
                <a:gd name="connsiteY58" fmla="*/ 348186 h 851249"/>
                <a:gd name="connsiteX59" fmla="*/ 705774 w 780526"/>
                <a:gd name="connsiteY59" fmla="*/ 372894 h 851249"/>
                <a:gd name="connsiteX60" fmla="*/ 704412 w 780526"/>
                <a:gd name="connsiteY60" fmla="*/ 387163 h 851249"/>
                <a:gd name="connsiteX61" fmla="*/ 692506 w 780526"/>
                <a:gd name="connsiteY61" fmla="*/ 411185 h 851249"/>
                <a:gd name="connsiteX62" fmla="*/ 671636 w 780526"/>
                <a:gd name="connsiteY62" fmla="*/ 404555 h 851249"/>
                <a:gd name="connsiteX63" fmla="*/ 670599 w 780526"/>
                <a:gd name="connsiteY63" fmla="*/ 434540 h 851249"/>
                <a:gd name="connsiteX64" fmla="*/ 664569 w 780526"/>
                <a:gd name="connsiteY64" fmla="*/ 444360 h 851249"/>
                <a:gd name="connsiteX65" fmla="*/ 667388 w 780526"/>
                <a:gd name="connsiteY65" fmla="*/ 456562 h 851249"/>
                <a:gd name="connsiteX66" fmla="*/ 654215 w 780526"/>
                <a:gd name="connsiteY66" fmla="*/ 463363 h 851249"/>
                <a:gd name="connsiteX67" fmla="*/ 640147 w 780526"/>
                <a:gd name="connsiteY67" fmla="*/ 417652 h 851249"/>
                <a:gd name="connsiteX68" fmla="*/ 632775 w 780526"/>
                <a:gd name="connsiteY68" fmla="*/ 417747 h 851249"/>
                <a:gd name="connsiteX69" fmla="*/ 628412 w 780526"/>
                <a:gd name="connsiteY69" fmla="*/ 436226 h 851249"/>
                <a:gd name="connsiteX70" fmla="*/ 613791 w 780526"/>
                <a:gd name="connsiteY70" fmla="*/ 421253 h 851249"/>
                <a:gd name="connsiteX71" fmla="*/ 622031 w 780526"/>
                <a:gd name="connsiteY71" fmla="*/ 404736 h 851249"/>
                <a:gd name="connsiteX72" fmla="*/ 633984 w 780526"/>
                <a:gd name="connsiteY72" fmla="*/ 403050 h 851249"/>
                <a:gd name="connsiteX73" fmla="*/ 646291 w 780526"/>
                <a:gd name="connsiteY73" fmla="*/ 378343 h 851249"/>
                <a:gd name="connsiteX74" fmla="*/ 630898 w 780526"/>
                <a:gd name="connsiteY74" fmla="*/ 373332 h 851249"/>
                <a:gd name="connsiteX75" fmla="*/ 606123 w 780526"/>
                <a:gd name="connsiteY75" fmla="*/ 373771 h 851249"/>
                <a:gd name="connsiteX76" fmla="*/ 580711 w 780526"/>
                <a:gd name="connsiteY76" fmla="*/ 369741 h 851249"/>
                <a:gd name="connsiteX77" fmla="*/ 578358 w 780526"/>
                <a:gd name="connsiteY77" fmla="*/ 349263 h 851249"/>
                <a:gd name="connsiteX78" fmla="*/ 565604 w 780526"/>
                <a:gd name="connsiteY78" fmla="*/ 347806 h 851249"/>
                <a:gd name="connsiteX79" fmla="*/ 544449 w 780526"/>
                <a:gd name="connsiteY79" fmla="*/ 335013 h 851249"/>
                <a:gd name="connsiteX80" fmla="*/ 535020 w 780526"/>
                <a:gd name="connsiteY80" fmla="*/ 355082 h 851249"/>
                <a:gd name="connsiteX81" fmla="*/ 554298 w 780526"/>
                <a:gd name="connsiteY81" fmla="*/ 370656 h 851249"/>
                <a:gd name="connsiteX82" fmla="*/ 537601 w 780526"/>
                <a:gd name="connsiteY82" fmla="*/ 381581 h 851249"/>
                <a:gd name="connsiteX83" fmla="*/ 531676 w 780526"/>
                <a:gd name="connsiteY83" fmla="*/ 392239 h 851249"/>
                <a:gd name="connsiteX84" fmla="*/ 548107 w 780526"/>
                <a:gd name="connsiteY84" fmla="*/ 400040 h 851249"/>
                <a:gd name="connsiteX85" fmla="*/ 543573 w 780526"/>
                <a:gd name="connsiteY85" fmla="*/ 417557 h 851249"/>
                <a:gd name="connsiteX86" fmla="*/ 552822 w 780526"/>
                <a:gd name="connsiteY86" fmla="*/ 439284 h 851249"/>
                <a:gd name="connsiteX87" fmla="*/ 556984 w 780526"/>
                <a:gd name="connsiteY87" fmla="*/ 462953 h 851249"/>
                <a:gd name="connsiteX88" fmla="*/ 553155 w 780526"/>
                <a:gd name="connsiteY88" fmla="*/ 473393 h 851249"/>
                <a:gd name="connsiteX89" fmla="*/ 534981 w 780526"/>
                <a:gd name="connsiteY89" fmla="*/ 473040 h 851249"/>
                <a:gd name="connsiteX90" fmla="*/ 502063 w 780526"/>
                <a:gd name="connsiteY90" fmla="*/ 478965 h 851249"/>
                <a:gd name="connsiteX91" fmla="*/ 503597 w 780526"/>
                <a:gd name="connsiteY91" fmla="*/ 500377 h 851249"/>
                <a:gd name="connsiteX92" fmla="*/ 489338 w 780526"/>
                <a:gd name="connsiteY92" fmla="*/ 517141 h 851249"/>
                <a:gd name="connsiteX93" fmla="*/ 450904 w 780526"/>
                <a:gd name="connsiteY93" fmla="*/ 536134 h 851249"/>
                <a:gd name="connsiteX94" fmla="*/ 421015 w 780526"/>
                <a:gd name="connsiteY94" fmla="*/ 569147 h 851249"/>
                <a:gd name="connsiteX95" fmla="*/ 400936 w 780526"/>
                <a:gd name="connsiteY95" fmla="*/ 586750 h 851249"/>
                <a:gd name="connsiteX96" fmla="*/ 374323 w 780526"/>
                <a:gd name="connsiteY96" fmla="*/ 604961 h 851249"/>
                <a:gd name="connsiteX97" fmla="*/ 374285 w 780526"/>
                <a:gd name="connsiteY97" fmla="*/ 617706 h 851249"/>
                <a:gd name="connsiteX98" fmla="*/ 360979 w 780526"/>
                <a:gd name="connsiteY98" fmla="*/ 624526 h 851249"/>
                <a:gd name="connsiteX99" fmla="*/ 336918 w 780526"/>
                <a:gd name="connsiteY99" fmla="*/ 634422 h 851249"/>
                <a:gd name="connsiteX100" fmla="*/ 324441 w 780526"/>
                <a:gd name="connsiteY100" fmla="*/ 635889 h 851249"/>
                <a:gd name="connsiteX101" fmla="*/ 316440 w 780526"/>
                <a:gd name="connsiteY101" fmla="*/ 656892 h 851249"/>
                <a:gd name="connsiteX102" fmla="*/ 321993 w 780526"/>
                <a:gd name="connsiteY102" fmla="*/ 692544 h 851249"/>
                <a:gd name="connsiteX103" fmla="*/ 323412 w 780526"/>
                <a:gd name="connsiteY103" fmla="*/ 715175 h 851249"/>
                <a:gd name="connsiteX104" fmla="*/ 312097 w 780526"/>
                <a:gd name="connsiteY104" fmla="*/ 741007 h 851249"/>
                <a:gd name="connsiteX105" fmla="*/ 311973 w 780526"/>
                <a:gd name="connsiteY105" fmla="*/ 786965 h 851249"/>
                <a:gd name="connsiteX106" fmla="*/ 298152 w 780526"/>
                <a:gd name="connsiteY106" fmla="*/ 788270 h 851249"/>
                <a:gd name="connsiteX107" fmla="*/ 285998 w 780526"/>
                <a:gd name="connsiteY107" fmla="*/ 808815 h 851249"/>
                <a:gd name="connsiteX108" fmla="*/ 294123 w 780526"/>
                <a:gd name="connsiteY108" fmla="*/ 817683 h 851249"/>
                <a:gd name="connsiteX109" fmla="*/ 269767 w 780526"/>
                <a:gd name="connsiteY109" fmla="*/ 825294 h 851249"/>
                <a:gd name="connsiteX110" fmla="*/ 260776 w 780526"/>
                <a:gd name="connsiteY110" fmla="*/ 843544 h 851249"/>
                <a:gd name="connsiteX111" fmla="*/ 250060 w 780526"/>
                <a:gd name="connsiteY111" fmla="*/ 851249 h 851249"/>
                <a:gd name="connsiteX112" fmla="*/ 224780 w 780526"/>
                <a:gd name="connsiteY112" fmla="*/ 826208 h 851249"/>
                <a:gd name="connsiteX113" fmla="*/ 212417 w 780526"/>
                <a:gd name="connsiteY113" fmla="*/ 788518 h 851249"/>
                <a:gd name="connsiteX114" fmla="*/ 202168 w 780526"/>
                <a:gd name="connsiteY114" fmla="*/ 761276 h 851249"/>
                <a:gd name="connsiteX115" fmla="*/ 192805 w 780526"/>
                <a:gd name="connsiteY115" fmla="*/ 748456 h 851249"/>
                <a:gd name="connsiteX116" fmla="*/ 178623 w 780526"/>
                <a:gd name="connsiteY116" fmla="*/ 722376 h 851249"/>
                <a:gd name="connsiteX117" fmla="*/ 171993 w 780526"/>
                <a:gd name="connsiteY117" fmla="*/ 688257 h 851249"/>
                <a:gd name="connsiteX118" fmla="*/ 167374 w 780526"/>
                <a:gd name="connsiteY118" fmla="*/ 671151 h 851249"/>
                <a:gd name="connsiteX119" fmla="*/ 143085 w 780526"/>
                <a:gd name="connsiteY119" fmla="*/ 633356 h 851249"/>
                <a:gd name="connsiteX120" fmla="*/ 132026 w 780526"/>
                <a:gd name="connsiteY120" fmla="*/ 579577 h 851249"/>
                <a:gd name="connsiteX121" fmla="*/ 124035 w 780526"/>
                <a:gd name="connsiteY121" fmla="*/ 543744 h 851249"/>
                <a:gd name="connsiteX122" fmla="*/ 124130 w 780526"/>
                <a:gd name="connsiteY122" fmla="*/ 509559 h 851249"/>
                <a:gd name="connsiteX123" fmla="*/ 118949 w 780526"/>
                <a:gd name="connsiteY123" fmla="*/ 482946 h 851249"/>
                <a:gd name="connsiteX124" fmla="*/ 80086 w 780526"/>
                <a:gd name="connsiteY124" fmla="*/ 499977 h 851249"/>
                <a:gd name="connsiteX125" fmla="*/ 61265 w 780526"/>
                <a:gd name="connsiteY125" fmla="*/ 496576 h 851249"/>
                <a:gd name="connsiteX126" fmla="*/ 26375 w 780526"/>
                <a:gd name="connsiteY126" fmla="*/ 461991 h 851249"/>
                <a:gd name="connsiteX127" fmla="*/ 39214 w 780526"/>
                <a:gd name="connsiteY127" fmla="*/ 451618 h 851249"/>
                <a:gd name="connsiteX128" fmla="*/ 31328 w 780526"/>
                <a:gd name="connsiteY128" fmla="*/ 440322 h 851249"/>
                <a:gd name="connsiteX129" fmla="*/ 0 w 780526"/>
                <a:gd name="connsiteY129" fmla="*/ 415795 h 851249"/>
                <a:gd name="connsiteX130" fmla="*/ 17783 w 780526"/>
                <a:gd name="connsiteY130" fmla="*/ 396392 h 851249"/>
                <a:gd name="connsiteX131" fmla="*/ 76553 w 780526"/>
                <a:gd name="connsiteY131" fmla="*/ 396469 h 851249"/>
                <a:gd name="connsiteX132" fmla="*/ 71257 w 780526"/>
                <a:gd name="connsiteY132" fmla="*/ 371351 h 851249"/>
                <a:gd name="connsiteX133" fmla="*/ 56245 w 780526"/>
                <a:gd name="connsiteY133" fmla="*/ 356435 h 851249"/>
                <a:gd name="connsiteX134" fmla="*/ 53207 w 780526"/>
                <a:gd name="connsiteY134" fmla="*/ 333661 h 851249"/>
                <a:gd name="connsiteX135" fmla="*/ 35729 w 780526"/>
                <a:gd name="connsiteY135" fmla="*/ 320307 h 851249"/>
                <a:gd name="connsiteX136" fmla="*/ 65161 w 780526"/>
                <a:gd name="connsiteY136" fmla="*/ 288922 h 851249"/>
                <a:gd name="connsiteX137" fmla="*/ 96174 w 780526"/>
                <a:gd name="connsiteY137" fmla="*/ 291208 h 851249"/>
                <a:gd name="connsiteX138" fmla="*/ 124111 w 780526"/>
                <a:gd name="connsiteY138" fmla="*/ 259528 h 851249"/>
                <a:gd name="connsiteX139" fmla="*/ 140847 w 780526"/>
                <a:gd name="connsiteY139" fmla="*/ 228562 h 851249"/>
                <a:gd name="connsiteX140" fmla="*/ 166783 w 780526"/>
                <a:gd name="connsiteY140" fmla="*/ 197615 h 851249"/>
                <a:gd name="connsiteX141" fmla="*/ 166364 w 780526"/>
                <a:gd name="connsiteY141" fmla="*/ 175441 h 851249"/>
                <a:gd name="connsiteX142" fmla="*/ 189148 w 780526"/>
                <a:gd name="connsiteY142" fmla="*/ 157315 h 851249"/>
                <a:gd name="connsiteX143" fmla="*/ 167583 w 780526"/>
                <a:gd name="connsiteY143" fmla="*/ 141751 h 851249"/>
                <a:gd name="connsiteX144" fmla="*/ 143742 w 780526"/>
                <a:gd name="connsiteY144" fmla="*/ 131293 h 851249"/>
                <a:gd name="connsiteX145" fmla="*/ 138770 w 780526"/>
                <a:gd name="connsiteY145" fmla="*/ 85849 h 851249"/>
                <a:gd name="connsiteX146" fmla="*/ 144532 w 780526"/>
                <a:gd name="connsiteY146" fmla="*/ 85649 h 851249"/>
                <a:gd name="connsiteX147" fmla="*/ 145523 w 780526"/>
                <a:gd name="connsiteY147" fmla="*/ 79296 h 851249"/>
                <a:gd name="connsiteX148" fmla="*/ 152467 w 780526"/>
                <a:gd name="connsiteY148" fmla="*/ 77114 h 851249"/>
                <a:gd name="connsiteX149" fmla="*/ 156439 w 780526"/>
                <a:gd name="connsiteY149" fmla="*/ 68980 h 851249"/>
                <a:gd name="connsiteX150" fmla="*/ 145523 w 780526"/>
                <a:gd name="connsiteY150" fmla="*/ 62627 h 851249"/>
                <a:gd name="connsiteX151" fmla="*/ 131036 w 780526"/>
                <a:gd name="connsiteY151" fmla="*/ 50530 h 851249"/>
                <a:gd name="connsiteX152" fmla="*/ 125282 w 780526"/>
                <a:gd name="connsiteY152" fmla="*/ 44377 h 851249"/>
                <a:gd name="connsiteX153" fmla="*/ 118529 w 780526"/>
                <a:gd name="connsiteY153" fmla="*/ 46158 h 851249"/>
                <a:gd name="connsiteX154" fmla="*/ 114567 w 780526"/>
                <a:gd name="connsiteY154" fmla="*/ 43186 h 851249"/>
                <a:gd name="connsiteX155" fmla="*/ 115167 w 780526"/>
                <a:gd name="connsiteY155" fmla="*/ 33461 h 851249"/>
                <a:gd name="connsiteX156" fmla="*/ 126683 w 780526"/>
                <a:gd name="connsiteY156" fmla="*/ 13735 h 851249"/>
                <a:gd name="connsiteX157" fmla="*/ 157334 w 780526"/>
                <a:gd name="connsiteY157" fmla="*/ 9878 h 851249"/>
                <a:gd name="connsiteX158" fmla="*/ 170908 w 780526"/>
                <a:gd name="connsiteY158" fmla="*/ 3734 h 851249"/>
                <a:gd name="connsiteX159" fmla="*/ 186452 w 780526"/>
                <a:gd name="connsiteY159" fmla="*/ 0 h 851249"/>
                <a:gd name="connsiteX160" fmla="*/ 206188 w 780526"/>
                <a:gd name="connsiteY160" fmla="*/ 15497 h 851249"/>
                <a:gd name="connsiteX161" fmla="*/ 210417 w 780526"/>
                <a:gd name="connsiteY161" fmla="*/ 29099 h 851249"/>
                <a:gd name="connsiteX162" fmla="*/ 224304 w 780526"/>
                <a:gd name="connsiteY162" fmla="*/ 34852 h 851249"/>
                <a:gd name="connsiteX163" fmla="*/ 227476 w 780526"/>
                <a:gd name="connsiteY163" fmla="*/ 44177 h 85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780526" h="851249">
                  <a:moveTo>
                    <a:pt x="258013" y="54093"/>
                  </a:moveTo>
                  <a:lnTo>
                    <a:pt x="280264" y="42786"/>
                  </a:lnTo>
                  <a:lnTo>
                    <a:pt x="295342" y="39814"/>
                  </a:lnTo>
                  <a:lnTo>
                    <a:pt x="312211" y="44968"/>
                  </a:lnTo>
                  <a:lnTo>
                    <a:pt x="322336" y="53302"/>
                  </a:lnTo>
                  <a:lnTo>
                    <a:pt x="316173" y="75533"/>
                  </a:lnTo>
                  <a:lnTo>
                    <a:pt x="298914" y="100136"/>
                  </a:lnTo>
                  <a:lnTo>
                    <a:pt x="288598" y="99536"/>
                  </a:lnTo>
                  <a:lnTo>
                    <a:pt x="286808" y="101527"/>
                  </a:lnTo>
                  <a:lnTo>
                    <a:pt x="290189" y="112633"/>
                  </a:lnTo>
                  <a:lnTo>
                    <a:pt x="286017" y="112833"/>
                  </a:lnTo>
                  <a:lnTo>
                    <a:pt x="286617" y="119777"/>
                  </a:lnTo>
                  <a:lnTo>
                    <a:pt x="291379" y="123749"/>
                  </a:lnTo>
                  <a:lnTo>
                    <a:pt x="298314" y="124349"/>
                  </a:lnTo>
                  <a:lnTo>
                    <a:pt x="298714" y="135455"/>
                  </a:lnTo>
                  <a:lnTo>
                    <a:pt x="303676" y="141408"/>
                  </a:lnTo>
                  <a:lnTo>
                    <a:pt x="302486" y="145380"/>
                  </a:lnTo>
                  <a:lnTo>
                    <a:pt x="297332" y="149743"/>
                  </a:lnTo>
                  <a:lnTo>
                    <a:pt x="293761" y="150619"/>
                  </a:lnTo>
                  <a:lnTo>
                    <a:pt x="274597" y="146380"/>
                  </a:lnTo>
                  <a:lnTo>
                    <a:pt x="282083" y="180956"/>
                  </a:lnTo>
                  <a:lnTo>
                    <a:pt x="308325" y="200625"/>
                  </a:lnTo>
                  <a:lnTo>
                    <a:pt x="345443" y="222199"/>
                  </a:lnTo>
                  <a:lnTo>
                    <a:pt x="328489" y="236115"/>
                  </a:lnTo>
                  <a:lnTo>
                    <a:pt x="318126" y="264605"/>
                  </a:lnTo>
                  <a:lnTo>
                    <a:pt x="343996" y="276054"/>
                  </a:lnTo>
                  <a:lnTo>
                    <a:pt x="369180" y="290836"/>
                  </a:lnTo>
                  <a:lnTo>
                    <a:pt x="404013" y="307667"/>
                  </a:lnTo>
                  <a:lnTo>
                    <a:pt x="440617" y="311534"/>
                  </a:lnTo>
                  <a:lnTo>
                    <a:pt x="456019" y="326708"/>
                  </a:lnTo>
                  <a:lnTo>
                    <a:pt x="476660" y="329527"/>
                  </a:lnTo>
                  <a:lnTo>
                    <a:pt x="508788" y="336452"/>
                  </a:lnTo>
                  <a:lnTo>
                    <a:pt x="531029" y="335956"/>
                  </a:lnTo>
                  <a:lnTo>
                    <a:pt x="534086" y="324193"/>
                  </a:lnTo>
                  <a:lnTo>
                    <a:pt x="530571" y="305229"/>
                  </a:lnTo>
                  <a:lnTo>
                    <a:pt x="532638" y="292313"/>
                  </a:lnTo>
                  <a:lnTo>
                    <a:pt x="548926" y="285979"/>
                  </a:lnTo>
                  <a:lnTo>
                    <a:pt x="551165" y="309610"/>
                  </a:lnTo>
                  <a:lnTo>
                    <a:pt x="551736" y="315601"/>
                  </a:lnTo>
                  <a:lnTo>
                    <a:pt x="576015" y="326908"/>
                  </a:lnTo>
                  <a:lnTo>
                    <a:pt x="592798" y="322250"/>
                  </a:lnTo>
                  <a:lnTo>
                    <a:pt x="615353" y="324250"/>
                  </a:lnTo>
                  <a:lnTo>
                    <a:pt x="637137" y="323364"/>
                  </a:lnTo>
                  <a:lnTo>
                    <a:pt x="639013" y="305029"/>
                  </a:lnTo>
                  <a:lnTo>
                    <a:pt x="628136" y="295456"/>
                  </a:lnTo>
                  <a:lnTo>
                    <a:pt x="649681" y="291703"/>
                  </a:lnTo>
                  <a:lnTo>
                    <a:pt x="673989" y="269262"/>
                  </a:lnTo>
                  <a:lnTo>
                    <a:pt x="704774" y="249927"/>
                  </a:lnTo>
                  <a:lnTo>
                    <a:pt x="727177" y="257404"/>
                  </a:lnTo>
                  <a:lnTo>
                    <a:pt x="746217" y="244583"/>
                  </a:lnTo>
                  <a:lnTo>
                    <a:pt x="758733" y="263490"/>
                  </a:lnTo>
                  <a:lnTo>
                    <a:pt x="749713" y="276206"/>
                  </a:lnTo>
                  <a:lnTo>
                    <a:pt x="778516" y="280711"/>
                  </a:lnTo>
                  <a:lnTo>
                    <a:pt x="780526" y="292132"/>
                  </a:lnTo>
                  <a:lnTo>
                    <a:pt x="771163" y="297637"/>
                  </a:lnTo>
                  <a:lnTo>
                    <a:pt x="773364" y="316049"/>
                  </a:lnTo>
                  <a:lnTo>
                    <a:pt x="754276" y="310648"/>
                  </a:lnTo>
                  <a:lnTo>
                    <a:pt x="719700" y="331241"/>
                  </a:lnTo>
                  <a:lnTo>
                    <a:pt x="720510" y="348186"/>
                  </a:lnTo>
                  <a:lnTo>
                    <a:pt x="705774" y="372894"/>
                  </a:lnTo>
                  <a:lnTo>
                    <a:pt x="704412" y="387163"/>
                  </a:lnTo>
                  <a:lnTo>
                    <a:pt x="692506" y="411185"/>
                  </a:lnTo>
                  <a:lnTo>
                    <a:pt x="671636" y="404555"/>
                  </a:lnTo>
                  <a:lnTo>
                    <a:pt x="670599" y="434540"/>
                  </a:lnTo>
                  <a:lnTo>
                    <a:pt x="664569" y="444360"/>
                  </a:lnTo>
                  <a:lnTo>
                    <a:pt x="667388" y="456562"/>
                  </a:lnTo>
                  <a:lnTo>
                    <a:pt x="654215" y="463363"/>
                  </a:lnTo>
                  <a:lnTo>
                    <a:pt x="640147" y="417652"/>
                  </a:lnTo>
                  <a:lnTo>
                    <a:pt x="632775" y="417747"/>
                  </a:lnTo>
                  <a:lnTo>
                    <a:pt x="628412" y="436226"/>
                  </a:lnTo>
                  <a:lnTo>
                    <a:pt x="613791" y="421253"/>
                  </a:lnTo>
                  <a:lnTo>
                    <a:pt x="622031" y="404736"/>
                  </a:lnTo>
                  <a:lnTo>
                    <a:pt x="633984" y="403050"/>
                  </a:lnTo>
                  <a:lnTo>
                    <a:pt x="646291" y="378343"/>
                  </a:lnTo>
                  <a:lnTo>
                    <a:pt x="630898" y="373332"/>
                  </a:lnTo>
                  <a:lnTo>
                    <a:pt x="606123" y="373771"/>
                  </a:lnTo>
                  <a:lnTo>
                    <a:pt x="580711" y="369741"/>
                  </a:lnTo>
                  <a:lnTo>
                    <a:pt x="578358" y="349263"/>
                  </a:lnTo>
                  <a:lnTo>
                    <a:pt x="565604" y="347806"/>
                  </a:lnTo>
                  <a:lnTo>
                    <a:pt x="544449" y="335013"/>
                  </a:lnTo>
                  <a:lnTo>
                    <a:pt x="535020" y="355082"/>
                  </a:lnTo>
                  <a:lnTo>
                    <a:pt x="554298" y="370656"/>
                  </a:lnTo>
                  <a:lnTo>
                    <a:pt x="537601" y="381581"/>
                  </a:lnTo>
                  <a:lnTo>
                    <a:pt x="531676" y="392239"/>
                  </a:lnTo>
                  <a:lnTo>
                    <a:pt x="548107" y="400040"/>
                  </a:lnTo>
                  <a:lnTo>
                    <a:pt x="543573" y="417557"/>
                  </a:lnTo>
                  <a:lnTo>
                    <a:pt x="552822" y="439284"/>
                  </a:lnTo>
                  <a:lnTo>
                    <a:pt x="556984" y="462953"/>
                  </a:lnTo>
                  <a:lnTo>
                    <a:pt x="553155" y="473393"/>
                  </a:lnTo>
                  <a:lnTo>
                    <a:pt x="534981" y="473040"/>
                  </a:lnTo>
                  <a:lnTo>
                    <a:pt x="502063" y="478965"/>
                  </a:lnTo>
                  <a:lnTo>
                    <a:pt x="503597" y="500377"/>
                  </a:lnTo>
                  <a:lnTo>
                    <a:pt x="489338" y="517141"/>
                  </a:lnTo>
                  <a:lnTo>
                    <a:pt x="450904" y="536134"/>
                  </a:lnTo>
                  <a:lnTo>
                    <a:pt x="421015" y="569147"/>
                  </a:lnTo>
                  <a:lnTo>
                    <a:pt x="400936" y="586750"/>
                  </a:lnTo>
                  <a:lnTo>
                    <a:pt x="374323" y="604961"/>
                  </a:lnTo>
                  <a:lnTo>
                    <a:pt x="374285" y="617706"/>
                  </a:lnTo>
                  <a:lnTo>
                    <a:pt x="360979" y="624526"/>
                  </a:lnTo>
                  <a:lnTo>
                    <a:pt x="336918" y="634422"/>
                  </a:lnTo>
                  <a:lnTo>
                    <a:pt x="324441" y="635889"/>
                  </a:lnTo>
                  <a:lnTo>
                    <a:pt x="316440" y="656892"/>
                  </a:lnTo>
                  <a:lnTo>
                    <a:pt x="321993" y="692544"/>
                  </a:lnTo>
                  <a:lnTo>
                    <a:pt x="323412" y="715175"/>
                  </a:lnTo>
                  <a:lnTo>
                    <a:pt x="312097" y="741007"/>
                  </a:lnTo>
                  <a:lnTo>
                    <a:pt x="311973" y="786965"/>
                  </a:lnTo>
                  <a:lnTo>
                    <a:pt x="298152" y="788270"/>
                  </a:lnTo>
                  <a:lnTo>
                    <a:pt x="285998" y="808815"/>
                  </a:lnTo>
                  <a:lnTo>
                    <a:pt x="294123" y="817683"/>
                  </a:lnTo>
                  <a:lnTo>
                    <a:pt x="269767" y="825294"/>
                  </a:lnTo>
                  <a:lnTo>
                    <a:pt x="260776" y="843544"/>
                  </a:lnTo>
                  <a:lnTo>
                    <a:pt x="250060" y="851249"/>
                  </a:lnTo>
                  <a:lnTo>
                    <a:pt x="224780" y="826208"/>
                  </a:lnTo>
                  <a:lnTo>
                    <a:pt x="212417" y="788518"/>
                  </a:lnTo>
                  <a:lnTo>
                    <a:pt x="202168" y="761276"/>
                  </a:lnTo>
                  <a:lnTo>
                    <a:pt x="192805" y="748456"/>
                  </a:lnTo>
                  <a:lnTo>
                    <a:pt x="178623" y="722376"/>
                  </a:lnTo>
                  <a:lnTo>
                    <a:pt x="171993" y="688257"/>
                  </a:lnTo>
                  <a:lnTo>
                    <a:pt x="167374" y="671151"/>
                  </a:lnTo>
                  <a:lnTo>
                    <a:pt x="143085" y="633356"/>
                  </a:lnTo>
                  <a:lnTo>
                    <a:pt x="132026" y="579577"/>
                  </a:lnTo>
                  <a:lnTo>
                    <a:pt x="124035" y="543744"/>
                  </a:lnTo>
                  <a:lnTo>
                    <a:pt x="124130" y="509559"/>
                  </a:lnTo>
                  <a:lnTo>
                    <a:pt x="118949" y="482946"/>
                  </a:lnTo>
                  <a:lnTo>
                    <a:pt x="80086" y="499977"/>
                  </a:lnTo>
                  <a:lnTo>
                    <a:pt x="61265" y="496576"/>
                  </a:lnTo>
                  <a:lnTo>
                    <a:pt x="26375" y="461991"/>
                  </a:lnTo>
                  <a:lnTo>
                    <a:pt x="39214" y="451618"/>
                  </a:lnTo>
                  <a:lnTo>
                    <a:pt x="31328" y="440322"/>
                  </a:lnTo>
                  <a:lnTo>
                    <a:pt x="0" y="415795"/>
                  </a:lnTo>
                  <a:lnTo>
                    <a:pt x="17783" y="396392"/>
                  </a:lnTo>
                  <a:lnTo>
                    <a:pt x="76553" y="396469"/>
                  </a:lnTo>
                  <a:lnTo>
                    <a:pt x="71257" y="371351"/>
                  </a:lnTo>
                  <a:lnTo>
                    <a:pt x="56245" y="356435"/>
                  </a:lnTo>
                  <a:lnTo>
                    <a:pt x="53207" y="333661"/>
                  </a:lnTo>
                  <a:lnTo>
                    <a:pt x="35729" y="320307"/>
                  </a:lnTo>
                  <a:lnTo>
                    <a:pt x="65161" y="288922"/>
                  </a:lnTo>
                  <a:lnTo>
                    <a:pt x="96174" y="291208"/>
                  </a:lnTo>
                  <a:lnTo>
                    <a:pt x="124111" y="259528"/>
                  </a:lnTo>
                  <a:lnTo>
                    <a:pt x="140847" y="228562"/>
                  </a:lnTo>
                  <a:lnTo>
                    <a:pt x="166783" y="197615"/>
                  </a:lnTo>
                  <a:lnTo>
                    <a:pt x="166364" y="175441"/>
                  </a:lnTo>
                  <a:lnTo>
                    <a:pt x="189148" y="157315"/>
                  </a:lnTo>
                  <a:lnTo>
                    <a:pt x="167583" y="141751"/>
                  </a:lnTo>
                  <a:lnTo>
                    <a:pt x="143742" y="131293"/>
                  </a:lnTo>
                  <a:lnTo>
                    <a:pt x="138770" y="85849"/>
                  </a:lnTo>
                  <a:lnTo>
                    <a:pt x="144532" y="85649"/>
                  </a:lnTo>
                  <a:lnTo>
                    <a:pt x="145523" y="79296"/>
                  </a:lnTo>
                  <a:lnTo>
                    <a:pt x="152467" y="77114"/>
                  </a:lnTo>
                  <a:lnTo>
                    <a:pt x="156439" y="68980"/>
                  </a:lnTo>
                  <a:lnTo>
                    <a:pt x="145523" y="62627"/>
                  </a:lnTo>
                  <a:lnTo>
                    <a:pt x="131036" y="50530"/>
                  </a:lnTo>
                  <a:lnTo>
                    <a:pt x="125282" y="44377"/>
                  </a:lnTo>
                  <a:lnTo>
                    <a:pt x="118529" y="46158"/>
                  </a:lnTo>
                  <a:lnTo>
                    <a:pt x="114567" y="43186"/>
                  </a:lnTo>
                  <a:lnTo>
                    <a:pt x="115167" y="33461"/>
                  </a:lnTo>
                  <a:lnTo>
                    <a:pt x="126683" y="13735"/>
                  </a:lnTo>
                  <a:lnTo>
                    <a:pt x="157334" y="9878"/>
                  </a:lnTo>
                  <a:lnTo>
                    <a:pt x="170908" y="3734"/>
                  </a:lnTo>
                  <a:lnTo>
                    <a:pt x="186452" y="0"/>
                  </a:lnTo>
                  <a:lnTo>
                    <a:pt x="206188" y="15497"/>
                  </a:lnTo>
                  <a:lnTo>
                    <a:pt x="210417" y="29099"/>
                  </a:lnTo>
                  <a:lnTo>
                    <a:pt x="224304" y="34852"/>
                  </a:lnTo>
                  <a:lnTo>
                    <a:pt x="227476" y="44177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7" name="Forme libre : forme 5726">
              <a:extLst>
                <a:ext uri="{FF2B5EF4-FFF2-40B4-BE49-F238E27FC236}">
                  <a16:creationId xmlns:a16="http://schemas.microsoft.com/office/drawing/2014/main" id="{E74AA330-81B8-9EAE-4AD3-456AF89A1BC0}"/>
                </a:ext>
              </a:extLst>
            </p:cNvPr>
            <p:cNvSpPr/>
            <p:nvPr/>
          </p:nvSpPr>
          <p:spPr>
            <a:xfrm>
              <a:off x="6856913" y="3670977"/>
              <a:ext cx="261070" cy="263785"/>
            </a:xfrm>
            <a:custGeom>
              <a:avLst/>
              <a:gdLst>
                <a:gd name="connsiteX0" fmla="*/ 177012 w 261070"/>
                <a:gd name="connsiteY0" fmla="*/ 46673 h 263785"/>
                <a:gd name="connsiteX1" fmla="*/ 194529 w 261070"/>
                <a:gd name="connsiteY1" fmla="*/ 56522 h 263785"/>
                <a:gd name="connsiteX2" fmla="*/ 196548 w 261070"/>
                <a:gd name="connsiteY2" fmla="*/ 75572 h 263785"/>
                <a:gd name="connsiteX3" fmla="*/ 183109 w 261070"/>
                <a:gd name="connsiteY3" fmla="*/ 86763 h 263785"/>
                <a:gd name="connsiteX4" fmla="*/ 176917 w 261070"/>
                <a:gd name="connsiteY4" fmla="*/ 111890 h 263785"/>
                <a:gd name="connsiteX5" fmla="*/ 195415 w 261070"/>
                <a:gd name="connsiteY5" fmla="*/ 142189 h 263785"/>
                <a:gd name="connsiteX6" fmla="*/ 228133 w 261070"/>
                <a:gd name="connsiteY6" fmla="*/ 159515 h 263785"/>
                <a:gd name="connsiteX7" fmla="*/ 241878 w 261070"/>
                <a:gd name="connsiteY7" fmla="*/ 183356 h 263785"/>
                <a:gd name="connsiteX8" fmla="*/ 237506 w 261070"/>
                <a:gd name="connsiteY8" fmla="*/ 205893 h 263785"/>
                <a:gd name="connsiteX9" fmla="*/ 246031 w 261070"/>
                <a:gd name="connsiteY9" fmla="*/ 205883 h 263785"/>
                <a:gd name="connsiteX10" fmla="*/ 246298 w 261070"/>
                <a:gd name="connsiteY10" fmla="*/ 222352 h 263785"/>
                <a:gd name="connsiteX11" fmla="*/ 261071 w 261070"/>
                <a:gd name="connsiteY11" fmla="*/ 238516 h 263785"/>
                <a:gd name="connsiteX12" fmla="*/ 245231 w 261070"/>
                <a:gd name="connsiteY12" fmla="*/ 237011 h 263785"/>
                <a:gd name="connsiteX13" fmla="*/ 227276 w 261070"/>
                <a:gd name="connsiteY13" fmla="*/ 234448 h 263785"/>
                <a:gd name="connsiteX14" fmla="*/ 207683 w 261070"/>
                <a:gd name="connsiteY14" fmla="*/ 263785 h 263785"/>
                <a:gd name="connsiteX15" fmla="*/ 158029 w 261070"/>
                <a:gd name="connsiteY15" fmla="*/ 261357 h 263785"/>
                <a:gd name="connsiteX16" fmla="*/ 82725 w 261070"/>
                <a:gd name="connsiteY16" fmla="*/ 199530 h 263785"/>
                <a:gd name="connsiteX17" fmla="*/ 42929 w 261070"/>
                <a:gd name="connsiteY17" fmla="*/ 177698 h 263785"/>
                <a:gd name="connsiteX18" fmla="*/ 10763 w 261070"/>
                <a:gd name="connsiteY18" fmla="*/ 169202 h 263785"/>
                <a:gd name="connsiteX19" fmla="*/ 0 w 261070"/>
                <a:gd name="connsiteY19" fmla="*/ 130712 h 263785"/>
                <a:gd name="connsiteX20" fmla="*/ 59122 w 261070"/>
                <a:gd name="connsiteY20" fmla="*/ 97384 h 263785"/>
                <a:gd name="connsiteX21" fmla="*/ 69218 w 261070"/>
                <a:gd name="connsiteY21" fmla="*/ 58131 h 263785"/>
                <a:gd name="connsiteX22" fmla="*/ 66694 w 261070"/>
                <a:gd name="connsiteY22" fmla="*/ 34119 h 263785"/>
                <a:gd name="connsiteX23" fmla="*/ 81315 w 261070"/>
                <a:gd name="connsiteY23" fmla="*/ 25956 h 263785"/>
                <a:gd name="connsiteX24" fmla="*/ 95002 w 261070"/>
                <a:gd name="connsiteY24" fmla="*/ 5191 h 263785"/>
                <a:gd name="connsiteX25" fmla="*/ 106470 w 261070"/>
                <a:gd name="connsiteY25" fmla="*/ 0 h 263785"/>
                <a:gd name="connsiteX26" fmla="*/ 137532 w 261070"/>
                <a:gd name="connsiteY26" fmla="*/ 4315 h 263785"/>
                <a:gd name="connsiteX27" fmla="*/ 146914 w 261070"/>
                <a:gd name="connsiteY27" fmla="*/ 12811 h 263785"/>
                <a:gd name="connsiteX28" fmla="*/ 159715 w 261070"/>
                <a:gd name="connsiteY28" fmla="*/ 7182 h 263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61070" h="263785">
                  <a:moveTo>
                    <a:pt x="177012" y="46673"/>
                  </a:moveTo>
                  <a:lnTo>
                    <a:pt x="194529" y="56522"/>
                  </a:lnTo>
                  <a:lnTo>
                    <a:pt x="196548" y="75572"/>
                  </a:lnTo>
                  <a:lnTo>
                    <a:pt x="183109" y="86763"/>
                  </a:lnTo>
                  <a:lnTo>
                    <a:pt x="176917" y="111890"/>
                  </a:lnTo>
                  <a:lnTo>
                    <a:pt x="195415" y="142189"/>
                  </a:lnTo>
                  <a:lnTo>
                    <a:pt x="228133" y="159515"/>
                  </a:lnTo>
                  <a:lnTo>
                    <a:pt x="241878" y="183356"/>
                  </a:lnTo>
                  <a:lnTo>
                    <a:pt x="237506" y="205893"/>
                  </a:lnTo>
                  <a:lnTo>
                    <a:pt x="246031" y="205883"/>
                  </a:lnTo>
                  <a:lnTo>
                    <a:pt x="246298" y="222352"/>
                  </a:lnTo>
                  <a:lnTo>
                    <a:pt x="261071" y="238516"/>
                  </a:lnTo>
                  <a:lnTo>
                    <a:pt x="245231" y="237011"/>
                  </a:lnTo>
                  <a:lnTo>
                    <a:pt x="227276" y="234448"/>
                  </a:lnTo>
                  <a:lnTo>
                    <a:pt x="207683" y="263785"/>
                  </a:lnTo>
                  <a:lnTo>
                    <a:pt x="158029" y="261357"/>
                  </a:lnTo>
                  <a:lnTo>
                    <a:pt x="82725" y="199530"/>
                  </a:lnTo>
                  <a:lnTo>
                    <a:pt x="42929" y="177698"/>
                  </a:lnTo>
                  <a:lnTo>
                    <a:pt x="10763" y="169202"/>
                  </a:lnTo>
                  <a:lnTo>
                    <a:pt x="0" y="130712"/>
                  </a:lnTo>
                  <a:lnTo>
                    <a:pt x="59122" y="97384"/>
                  </a:lnTo>
                  <a:lnTo>
                    <a:pt x="69218" y="58131"/>
                  </a:lnTo>
                  <a:lnTo>
                    <a:pt x="66694" y="34119"/>
                  </a:lnTo>
                  <a:lnTo>
                    <a:pt x="81315" y="25956"/>
                  </a:lnTo>
                  <a:lnTo>
                    <a:pt x="95002" y="5191"/>
                  </a:lnTo>
                  <a:lnTo>
                    <a:pt x="106470" y="0"/>
                  </a:lnTo>
                  <a:lnTo>
                    <a:pt x="137532" y="4315"/>
                  </a:lnTo>
                  <a:lnTo>
                    <a:pt x="146914" y="12811"/>
                  </a:lnTo>
                  <a:lnTo>
                    <a:pt x="159715" y="71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8" name="Forme libre : forme 5727">
              <a:extLst>
                <a:ext uri="{FF2B5EF4-FFF2-40B4-BE49-F238E27FC236}">
                  <a16:creationId xmlns:a16="http://schemas.microsoft.com/office/drawing/2014/main" id="{625ABA39-A9AB-6FCE-F491-879D020B1E18}"/>
                </a:ext>
              </a:extLst>
            </p:cNvPr>
            <p:cNvSpPr/>
            <p:nvPr/>
          </p:nvSpPr>
          <p:spPr>
            <a:xfrm>
              <a:off x="6998912" y="3591805"/>
              <a:ext cx="512959" cy="462972"/>
            </a:xfrm>
            <a:custGeom>
              <a:avLst/>
              <a:gdLst>
                <a:gd name="connsiteX0" fmla="*/ 262051 w 512959"/>
                <a:gd name="connsiteY0" fmla="*/ 85401 h 462972"/>
                <a:gd name="connsiteX1" fmla="*/ 285522 w 512959"/>
                <a:gd name="connsiteY1" fmla="*/ 78934 h 462972"/>
                <a:gd name="connsiteX2" fmla="*/ 304514 w 512959"/>
                <a:gd name="connsiteY2" fmla="*/ 59722 h 462972"/>
                <a:gd name="connsiteX3" fmla="*/ 322373 w 512959"/>
                <a:gd name="connsiteY3" fmla="*/ 60703 h 462972"/>
                <a:gd name="connsiteX4" fmla="*/ 334099 w 512959"/>
                <a:gd name="connsiteY4" fmla="*/ 54407 h 462972"/>
                <a:gd name="connsiteX5" fmla="*/ 353092 w 512959"/>
                <a:gd name="connsiteY5" fmla="*/ 57521 h 462972"/>
                <a:gd name="connsiteX6" fmla="*/ 382628 w 512959"/>
                <a:gd name="connsiteY6" fmla="*/ 74581 h 462972"/>
                <a:gd name="connsiteX7" fmla="*/ 403955 w 512959"/>
                <a:gd name="connsiteY7" fmla="*/ 78238 h 462972"/>
                <a:gd name="connsiteX8" fmla="*/ 434473 w 512959"/>
                <a:gd name="connsiteY8" fmla="*/ 107718 h 462972"/>
                <a:gd name="connsiteX9" fmla="*/ 454380 w 512959"/>
                <a:gd name="connsiteY9" fmla="*/ 108909 h 462972"/>
                <a:gd name="connsiteX10" fmla="*/ 456724 w 512959"/>
                <a:gd name="connsiteY10" fmla="*/ 136588 h 462972"/>
                <a:gd name="connsiteX11" fmla="*/ 445837 w 512959"/>
                <a:gd name="connsiteY11" fmla="*/ 177041 h 462972"/>
                <a:gd name="connsiteX12" fmla="*/ 438502 w 512959"/>
                <a:gd name="connsiteY12" fmla="*/ 200387 h 462972"/>
                <a:gd name="connsiteX13" fmla="*/ 450132 w 512959"/>
                <a:gd name="connsiteY13" fmla="*/ 205102 h 462972"/>
                <a:gd name="connsiteX14" fmla="*/ 438702 w 512959"/>
                <a:gd name="connsiteY14" fmla="*/ 222504 h 462972"/>
                <a:gd name="connsiteX15" fmla="*/ 447447 w 512959"/>
                <a:gd name="connsiteY15" fmla="*/ 247688 h 462972"/>
                <a:gd name="connsiteX16" fmla="*/ 449542 w 512959"/>
                <a:gd name="connsiteY16" fmla="*/ 267548 h 462972"/>
                <a:gd name="connsiteX17" fmla="*/ 469773 w 512959"/>
                <a:gd name="connsiteY17" fmla="*/ 272805 h 462972"/>
                <a:gd name="connsiteX18" fmla="*/ 471964 w 512959"/>
                <a:gd name="connsiteY18" fmla="*/ 292770 h 462972"/>
                <a:gd name="connsiteX19" fmla="*/ 447741 w 512959"/>
                <a:gd name="connsiteY19" fmla="*/ 320678 h 462972"/>
                <a:gd name="connsiteX20" fmla="*/ 460953 w 512959"/>
                <a:gd name="connsiteY20" fmla="*/ 336737 h 462972"/>
                <a:gd name="connsiteX21" fmla="*/ 471707 w 512959"/>
                <a:gd name="connsiteY21" fmla="*/ 355082 h 462972"/>
                <a:gd name="connsiteX22" fmla="*/ 497243 w 512959"/>
                <a:gd name="connsiteY22" fmla="*/ 368379 h 462972"/>
                <a:gd name="connsiteX23" fmla="*/ 497977 w 512959"/>
                <a:gd name="connsiteY23" fmla="*/ 394830 h 462972"/>
                <a:gd name="connsiteX24" fmla="*/ 510759 w 512959"/>
                <a:gd name="connsiteY24" fmla="*/ 399669 h 462972"/>
                <a:gd name="connsiteX25" fmla="*/ 512959 w 512959"/>
                <a:gd name="connsiteY25" fmla="*/ 413404 h 462972"/>
                <a:gd name="connsiteX26" fmla="*/ 474440 w 512959"/>
                <a:gd name="connsiteY26" fmla="*/ 428730 h 462972"/>
                <a:gd name="connsiteX27" fmla="*/ 464382 w 512959"/>
                <a:gd name="connsiteY27" fmla="*/ 462972 h 462972"/>
                <a:gd name="connsiteX28" fmla="*/ 414138 w 512959"/>
                <a:gd name="connsiteY28" fmla="*/ 454104 h 462972"/>
                <a:gd name="connsiteX29" fmla="*/ 385020 w 512959"/>
                <a:gd name="connsiteY29" fmla="*/ 447342 h 462972"/>
                <a:gd name="connsiteX30" fmla="*/ 354882 w 512959"/>
                <a:gd name="connsiteY30" fmla="*/ 443512 h 462972"/>
                <a:gd name="connsiteX31" fmla="*/ 343481 w 512959"/>
                <a:gd name="connsiteY31" fmla="*/ 407165 h 462972"/>
                <a:gd name="connsiteX32" fmla="*/ 330698 w 512959"/>
                <a:gd name="connsiteY32" fmla="*/ 401869 h 462972"/>
                <a:gd name="connsiteX33" fmla="*/ 310182 w 512959"/>
                <a:gd name="connsiteY33" fmla="*/ 407203 h 462972"/>
                <a:gd name="connsiteX34" fmla="*/ 283245 w 512959"/>
                <a:gd name="connsiteY34" fmla="*/ 421596 h 462972"/>
                <a:gd name="connsiteX35" fmla="*/ 250603 w 512959"/>
                <a:gd name="connsiteY35" fmla="*/ 411737 h 462972"/>
                <a:gd name="connsiteX36" fmla="*/ 223647 w 512959"/>
                <a:gd name="connsiteY36" fmla="*/ 388782 h 462972"/>
                <a:gd name="connsiteX37" fmla="*/ 197939 w 512959"/>
                <a:gd name="connsiteY37" fmla="*/ 380238 h 462972"/>
                <a:gd name="connsiteX38" fmla="*/ 180098 w 512959"/>
                <a:gd name="connsiteY38" fmla="*/ 351596 h 462972"/>
                <a:gd name="connsiteX39" fmla="*/ 160391 w 512959"/>
                <a:gd name="connsiteY39" fmla="*/ 310896 h 462972"/>
                <a:gd name="connsiteX40" fmla="*/ 146018 w 512959"/>
                <a:gd name="connsiteY40" fmla="*/ 315878 h 462972"/>
                <a:gd name="connsiteX41" fmla="*/ 129044 w 512959"/>
                <a:gd name="connsiteY41" fmla="*/ 305695 h 462972"/>
                <a:gd name="connsiteX42" fmla="*/ 119072 w 512959"/>
                <a:gd name="connsiteY42" fmla="*/ 317687 h 462972"/>
                <a:gd name="connsiteX43" fmla="*/ 104299 w 512959"/>
                <a:gd name="connsiteY43" fmla="*/ 301523 h 462972"/>
                <a:gd name="connsiteX44" fmla="*/ 104032 w 512959"/>
                <a:gd name="connsiteY44" fmla="*/ 285055 h 462972"/>
                <a:gd name="connsiteX45" fmla="*/ 95507 w 512959"/>
                <a:gd name="connsiteY45" fmla="*/ 285064 h 462972"/>
                <a:gd name="connsiteX46" fmla="*/ 99879 w 512959"/>
                <a:gd name="connsiteY46" fmla="*/ 262528 h 462972"/>
                <a:gd name="connsiteX47" fmla="*/ 86134 w 512959"/>
                <a:gd name="connsiteY47" fmla="*/ 238687 h 462972"/>
                <a:gd name="connsiteX48" fmla="*/ 53416 w 512959"/>
                <a:gd name="connsiteY48" fmla="*/ 221361 h 462972"/>
                <a:gd name="connsiteX49" fmla="*/ 34918 w 512959"/>
                <a:gd name="connsiteY49" fmla="*/ 191062 h 462972"/>
                <a:gd name="connsiteX50" fmla="*/ 41110 w 512959"/>
                <a:gd name="connsiteY50" fmla="*/ 165935 h 462972"/>
                <a:gd name="connsiteX51" fmla="*/ 54550 w 512959"/>
                <a:gd name="connsiteY51" fmla="*/ 154743 h 462972"/>
                <a:gd name="connsiteX52" fmla="*/ 52530 w 512959"/>
                <a:gd name="connsiteY52" fmla="*/ 135693 h 462972"/>
                <a:gd name="connsiteX53" fmla="*/ 35014 w 512959"/>
                <a:gd name="connsiteY53" fmla="*/ 125844 h 462972"/>
                <a:gd name="connsiteX54" fmla="*/ 17716 w 512959"/>
                <a:gd name="connsiteY54" fmla="*/ 86344 h 462972"/>
                <a:gd name="connsiteX55" fmla="*/ 3105 w 512959"/>
                <a:gd name="connsiteY55" fmla="*/ 59474 h 462972"/>
                <a:gd name="connsiteX56" fmla="*/ 8334 w 512959"/>
                <a:gd name="connsiteY56" fmla="*/ 48996 h 462972"/>
                <a:gd name="connsiteX57" fmla="*/ 0 w 512959"/>
                <a:gd name="connsiteY57" fmla="*/ 9830 h 462972"/>
                <a:gd name="connsiteX58" fmla="*/ 18288 w 512959"/>
                <a:gd name="connsiteY58" fmla="*/ 0 h 462972"/>
                <a:gd name="connsiteX59" fmla="*/ 22517 w 512959"/>
                <a:gd name="connsiteY59" fmla="*/ 13002 h 462972"/>
                <a:gd name="connsiteX60" fmla="*/ 36014 w 512959"/>
                <a:gd name="connsiteY60" fmla="*/ 28823 h 462972"/>
                <a:gd name="connsiteX61" fmla="*/ 54330 w 512959"/>
                <a:gd name="connsiteY61" fmla="*/ 33366 h 462972"/>
                <a:gd name="connsiteX62" fmla="*/ 63998 w 512959"/>
                <a:gd name="connsiteY62" fmla="*/ 32356 h 462972"/>
                <a:gd name="connsiteX63" fmla="*/ 95498 w 512959"/>
                <a:gd name="connsiteY63" fmla="*/ 7058 h 462972"/>
                <a:gd name="connsiteX64" fmla="*/ 105508 w 512959"/>
                <a:gd name="connsiteY64" fmla="*/ 4515 h 462972"/>
                <a:gd name="connsiteX65" fmla="*/ 113405 w 512959"/>
                <a:gd name="connsiteY65" fmla="*/ 14621 h 462972"/>
                <a:gd name="connsiteX66" fmla="*/ 104194 w 512959"/>
                <a:gd name="connsiteY66" fmla="*/ 31566 h 462972"/>
                <a:gd name="connsiteX67" fmla="*/ 120853 w 512959"/>
                <a:gd name="connsiteY67" fmla="*/ 49368 h 462972"/>
                <a:gd name="connsiteX68" fmla="*/ 127492 w 512959"/>
                <a:gd name="connsiteY68" fmla="*/ 47673 h 462972"/>
                <a:gd name="connsiteX69" fmla="*/ 135941 w 512959"/>
                <a:gd name="connsiteY69" fmla="*/ 72552 h 462972"/>
                <a:gd name="connsiteX70" fmla="*/ 161267 w 512959"/>
                <a:gd name="connsiteY70" fmla="*/ 79534 h 462972"/>
                <a:gd name="connsiteX71" fmla="*/ 179822 w 512959"/>
                <a:gd name="connsiteY71" fmla="*/ 96260 h 462972"/>
                <a:gd name="connsiteX72" fmla="*/ 217789 w 512959"/>
                <a:gd name="connsiteY72" fmla="*/ 101994 h 462972"/>
                <a:gd name="connsiteX73" fmla="*/ 259499 w 512959"/>
                <a:gd name="connsiteY73" fmla="*/ 93193 h 462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512959" h="462972">
                  <a:moveTo>
                    <a:pt x="262051" y="85401"/>
                  </a:moveTo>
                  <a:lnTo>
                    <a:pt x="285522" y="78934"/>
                  </a:lnTo>
                  <a:lnTo>
                    <a:pt x="304514" y="59722"/>
                  </a:lnTo>
                  <a:lnTo>
                    <a:pt x="322373" y="60703"/>
                  </a:lnTo>
                  <a:lnTo>
                    <a:pt x="334099" y="54407"/>
                  </a:lnTo>
                  <a:lnTo>
                    <a:pt x="353092" y="57521"/>
                  </a:lnTo>
                  <a:lnTo>
                    <a:pt x="382628" y="74581"/>
                  </a:lnTo>
                  <a:lnTo>
                    <a:pt x="403955" y="78238"/>
                  </a:lnTo>
                  <a:lnTo>
                    <a:pt x="434473" y="107718"/>
                  </a:lnTo>
                  <a:lnTo>
                    <a:pt x="454380" y="108909"/>
                  </a:lnTo>
                  <a:lnTo>
                    <a:pt x="456724" y="136588"/>
                  </a:lnTo>
                  <a:lnTo>
                    <a:pt x="445837" y="177041"/>
                  </a:lnTo>
                  <a:lnTo>
                    <a:pt x="438502" y="200387"/>
                  </a:lnTo>
                  <a:lnTo>
                    <a:pt x="450132" y="205102"/>
                  </a:lnTo>
                  <a:lnTo>
                    <a:pt x="438702" y="222504"/>
                  </a:lnTo>
                  <a:lnTo>
                    <a:pt x="447447" y="247688"/>
                  </a:lnTo>
                  <a:lnTo>
                    <a:pt x="449542" y="267548"/>
                  </a:lnTo>
                  <a:lnTo>
                    <a:pt x="469773" y="272805"/>
                  </a:lnTo>
                  <a:lnTo>
                    <a:pt x="471964" y="292770"/>
                  </a:lnTo>
                  <a:lnTo>
                    <a:pt x="447741" y="320678"/>
                  </a:lnTo>
                  <a:lnTo>
                    <a:pt x="460953" y="336737"/>
                  </a:lnTo>
                  <a:lnTo>
                    <a:pt x="471707" y="355082"/>
                  </a:lnTo>
                  <a:lnTo>
                    <a:pt x="497243" y="368379"/>
                  </a:lnTo>
                  <a:lnTo>
                    <a:pt x="497977" y="394830"/>
                  </a:lnTo>
                  <a:lnTo>
                    <a:pt x="510759" y="399669"/>
                  </a:lnTo>
                  <a:lnTo>
                    <a:pt x="512959" y="413404"/>
                  </a:lnTo>
                  <a:lnTo>
                    <a:pt x="474440" y="428730"/>
                  </a:lnTo>
                  <a:lnTo>
                    <a:pt x="464382" y="462972"/>
                  </a:lnTo>
                  <a:lnTo>
                    <a:pt x="414138" y="454104"/>
                  </a:lnTo>
                  <a:lnTo>
                    <a:pt x="385020" y="447342"/>
                  </a:lnTo>
                  <a:lnTo>
                    <a:pt x="354882" y="443512"/>
                  </a:lnTo>
                  <a:lnTo>
                    <a:pt x="343481" y="407165"/>
                  </a:lnTo>
                  <a:lnTo>
                    <a:pt x="330698" y="401869"/>
                  </a:lnTo>
                  <a:lnTo>
                    <a:pt x="310182" y="407203"/>
                  </a:lnTo>
                  <a:lnTo>
                    <a:pt x="283245" y="421596"/>
                  </a:lnTo>
                  <a:lnTo>
                    <a:pt x="250603" y="411737"/>
                  </a:lnTo>
                  <a:lnTo>
                    <a:pt x="223647" y="388782"/>
                  </a:lnTo>
                  <a:lnTo>
                    <a:pt x="197939" y="380238"/>
                  </a:lnTo>
                  <a:lnTo>
                    <a:pt x="180098" y="351596"/>
                  </a:lnTo>
                  <a:lnTo>
                    <a:pt x="160391" y="310896"/>
                  </a:lnTo>
                  <a:lnTo>
                    <a:pt x="146018" y="315878"/>
                  </a:lnTo>
                  <a:lnTo>
                    <a:pt x="129044" y="305695"/>
                  </a:lnTo>
                  <a:lnTo>
                    <a:pt x="119072" y="317687"/>
                  </a:lnTo>
                  <a:lnTo>
                    <a:pt x="104299" y="301523"/>
                  </a:lnTo>
                  <a:lnTo>
                    <a:pt x="104032" y="285055"/>
                  </a:lnTo>
                  <a:lnTo>
                    <a:pt x="95507" y="285064"/>
                  </a:lnTo>
                  <a:lnTo>
                    <a:pt x="99879" y="262528"/>
                  </a:lnTo>
                  <a:lnTo>
                    <a:pt x="86134" y="238687"/>
                  </a:lnTo>
                  <a:lnTo>
                    <a:pt x="53416" y="221361"/>
                  </a:lnTo>
                  <a:lnTo>
                    <a:pt x="34918" y="191062"/>
                  </a:lnTo>
                  <a:lnTo>
                    <a:pt x="41110" y="165935"/>
                  </a:lnTo>
                  <a:lnTo>
                    <a:pt x="54550" y="154743"/>
                  </a:lnTo>
                  <a:lnTo>
                    <a:pt x="52530" y="135693"/>
                  </a:lnTo>
                  <a:lnTo>
                    <a:pt x="35014" y="125844"/>
                  </a:lnTo>
                  <a:lnTo>
                    <a:pt x="17716" y="86344"/>
                  </a:lnTo>
                  <a:lnTo>
                    <a:pt x="3105" y="59474"/>
                  </a:lnTo>
                  <a:lnTo>
                    <a:pt x="8334" y="48996"/>
                  </a:lnTo>
                  <a:lnTo>
                    <a:pt x="0" y="9830"/>
                  </a:lnTo>
                  <a:lnTo>
                    <a:pt x="18288" y="0"/>
                  </a:lnTo>
                  <a:lnTo>
                    <a:pt x="22517" y="13002"/>
                  </a:lnTo>
                  <a:lnTo>
                    <a:pt x="36014" y="28823"/>
                  </a:lnTo>
                  <a:lnTo>
                    <a:pt x="54330" y="33366"/>
                  </a:lnTo>
                  <a:lnTo>
                    <a:pt x="63998" y="32356"/>
                  </a:lnTo>
                  <a:lnTo>
                    <a:pt x="95498" y="7058"/>
                  </a:lnTo>
                  <a:lnTo>
                    <a:pt x="105508" y="4515"/>
                  </a:lnTo>
                  <a:lnTo>
                    <a:pt x="113405" y="14621"/>
                  </a:lnTo>
                  <a:lnTo>
                    <a:pt x="104194" y="31566"/>
                  </a:lnTo>
                  <a:lnTo>
                    <a:pt x="120853" y="49368"/>
                  </a:lnTo>
                  <a:lnTo>
                    <a:pt x="127492" y="47673"/>
                  </a:lnTo>
                  <a:lnTo>
                    <a:pt x="135941" y="72552"/>
                  </a:lnTo>
                  <a:lnTo>
                    <a:pt x="161267" y="79534"/>
                  </a:lnTo>
                  <a:lnTo>
                    <a:pt x="179822" y="96260"/>
                  </a:lnTo>
                  <a:lnTo>
                    <a:pt x="217789" y="101994"/>
                  </a:lnTo>
                  <a:lnTo>
                    <a:pt x="259499" y="931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9" name="Forme libre : forme 5728">
              <a:extLst>
                <a:ext uri="{FF2B5EF4-FFF2-40B4-BE49-F238E27FC236}">
                  <a16:creationId xmlns:a16="http://schemas.microsoft.com/office/drawing/2014/main" id="{9F7AB672-F66F-21DB-5C7D-810394750379}"/>
                </a:ext>
              </a:extLst>
            </p:cNvPr>
            <p:cNvSpPr/>
            <p:nvPr/>
          </p:nvSpPr>
          <p:spPr>
            <a:xfrm>
              <a:off x="5171227" y="2347564"/>
              <a:ext cx="286197" cy="191576"/>
            </a:xfrm>
            <a:custGeom>
              <a:avLst/>
              <a:gdLst>
                <a:gd name="connsiteX0" fmla="*/ 262195 w 286197"/>
                <a:gd name="connsiteY0" fmla="*/ 4734 h 191576"/>
                <a:gd name="connsiteX1" fmla="*/ 256022 w 286197"/>
                <a:gd name="connsiteY1" fmla="*/ 47406 h 191576"/>
                <a:gd name="connsiteX2" fmla="*/ 286198 w 286197"/>
                <a:gd name="connsiteY2" fmla="*/ 91230 h 191576"/>
                <a:gd name="connsiteX3" fmla="*/ 251479 w 286197"/>
                <a:gd name="connsiteY3" fmla="*/ 138913 h 191576"/>
                <a:gd name="connsiteX4" fmla="*/ 174441 w 286197"/>
                <a:gd name="connsiteY4" fmla="*/ 180642 h 191576"/>
                <a:gd name="connsiteX5" fmla="*/ 151419 w 286197"/>
                <a:gd name="connsiteY5" fmla="*/ 191576 h 191576"/>
                <a:gd name="connsiteX6" fmla="*/ 116262 w 286197"/>
                <a:gd name="connsiteY6" fmla="*/ 182756 h 191576"/>
                <a:gd name="connsiteX7" fmla="*/ 41748 w 286197"/>
                <a:gd name="connsiteY7" fmla="*/ 163630 h 191576"/>
                <a:gd name="connsiteX8" fmla="*/ 68037 w 286197"/>
                <a:gd name="connsiteY8" fmla="*/ 136569 h 191576"/>
                <a:gd name="connsiteX9" fmla="*/ 9906 w 286197"/>
                <a:gd name="connsiteY9" fmla="*/ 106099 h 191576"/>
                <a:gd name="connsiteX10" fmla="*/ 57198 w 286197"/>
                <a:gd name="connsiteY10" fmla="*/ 93878 h 191576"/>
                <a:gd name="connsiteX11" fmla="*/ 56055 w 286197"/>
                <a:gd name="connsiteY11" fmla="*/ 75181 h 191576"/>
                <a:gd name="connsiteX12" fmla="*/ 0 w 286197"/>
                <a:gd name="connsiteY12" fmla="*/ 60217 h 191576"/>
                <a:gd name="connsiteX13" fmla="*/ 18040 w 286197"/>
                <a:gd name="connsiteY13" fmla="*/ 17602 h 191576"/>
                <a:gd name="connsiteX14" fmla="*/ 58522 w 286197"/>
                <a:gd name="connsiteY14" fmla="*/ 7772 h 191576"/>
                <a:gd name="connsiteX15" fmla="*/ 100146 w 286197"/>
                <a:gd name="connsiteY15" fmla="*/ 52388 h 191576"/>
                <a:gd name="connsiteX16" fmla="*/ 140723 w 286197"/>
                <a:gd name="connsiteY16" fmla="*/ 16669 h 191576"/>
                <a:gd name="connsiteX17" fmla="*/ 174327 w 286197"/>
                <a:gd name="connsiteY17" fmla="*/ 35309 h 191576"/>
                <a:gd name="connsiteX18" fmla="*/ 217884 w 286197"/>
                <a:gd name="connsiteY18" fmla="*/ 0 h 19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6197" h="191576">
                  <a:moveTo>
                    <a:pt x="262195" y="4734"/>
                  </a:moveTo>
                  <a:lnTo>
                    <a:pt x="256022" y="47406"/>
                  </a:lnTo>
                  <a:lnTo>
                    <a:pt x="286198" y="91230"/>
                  </a:lnTo>
                  <a:lnTo>
                    <a:pt x="251479" y="138913"/>
                  </a:lnTo>
                  <a:lnTo>
                    <a:pt x="174441" y="180642"/>
                  </a:lnTo>
                  <a:lnTo>
                    <a:pt x="151419" y="191576"/>
                  </a:lnTo>
                  <a:lnTo>
                    <a:pt x="116262" y="182756"/>
                  </a:lnTo>
                  <a:lnTo>
                    <a:pt x="41748" y="163630"/>
                  </a:lnTo>
                  <a:lnTo>
                    <a:pt x="68037" y="136569"/>
                  </a:lnTo>
                  <a:lnTo>
                    <a:pt x="9906" y="106099"/>
                  </a:lnTo>
                  <a:lnTo>
                    <a:pt x="57198" y="93878"/>
                  </a:lnTo>
                  <a:lnTo>
                    <a:pt x="56055" y="75181"/>
                  </a:lnTo>
                  <a:lnTo>
                    <a:pt x="0" y="60217"/>
                  </a:lnTo>
                  <a:lnTo>
                    <a:pt x="18040" y="17602"/>
                  </a:lnTo>
                  <a:lnTo>
                    <a:pt x="58522" y="7772"/>
                  </a:lnTo>
                  <a:lnTo>
                    <a:pt x="100146" y="52388"/>
                  </a:lnTo>
                  <a:lnTo>
                    <a:pt x="140723" y="16669"/>
                  </a:lnTo>
                  <a:lnTo>
                    <a:pt x="174327" y="35309"/>
                  </a:lnTo>
                  <a:lnTo>
                    <a:pt x="217884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0" name="Forme libre : forme 5729">
              <a:extLst>
                <a:ext uri="{FF2B5EF4-FFF2-40B4-BE49-F238E27FC236}">
                  <a16:creationId xmlns:a16="http://schemas.microsoft.com/office/drawing/2014/main" id="{B4C2F93A-10E7-D63F-AB39-4666805840BA}"/>
                </a:ext>
              </a:extLst>
            </p:cNvPr>
            <p:cNvSpPr/>
            <p:nvPr/>
          </p:nvSpPr>
          <p:spPr>
            <a:xfrm>
              <a:off x="6001149" y="3320076"/>
              <a:ext cx="313286" cy="376380"/>
            </a:xfrm>
            <a:custGeom>
              <a:avLst/>
              <a:gdLst>
                <a:gd name="connsiteX0" fmla="*/ 234249 w 313286"/>
                <a:gd name="connsiteY0" fmla="*/ 322421 h 376380"/>
                <a:gd name="connsiteX1" fmla="*/ 224628 w 313286"/>
                <a:gd name="connsiteY1" fmla="*/ 348929 h 376380"/>
                <a:gd name="connsiteX2" fmla="*/ 228619 w 313286"/>
                <a:gd name="connsiteY2" fmla="*/ 359283 h 376380"/>
                <a:gd name="connsiteX3" fmla="*/ 223018 w 313286"/>
                <a:gd name="connsiteY3" fmla="*/ 376381 h 376380"/>
                <a:gd name="connsiteX4" fmla="*/ 202587 w 313286"/>
                <a:gd name="connsiteY4" fmla="*/ 363874 h 376380"/>
                <a:gd name="connsiteX5" fmla="*/ 189005 w 313286"/>
                <a:gd name="connsiteY5" fmla="*/ 360283 h 376380"/>
                <a:gd name="connsiteX6" fmla="*/ 151724 w 313286"/>
                <a:gd name="connsiteY6" fmla="*/ 343272 h 376380"/>
                <a:gd name="connsiteX7" fmla="*/ 155467 w 313286"/>
                <a:gd name="connsiteY7" fmla="*/ 325974 h 376380"/>
                <a:gd name="connsiteX8" fmla="*/ 186719 w 313286"/>
                <a:gd name="connsiteY8" fmla="*/ 329060 h 376380"/>
                <a:gd name="connsiteX9" fmla="*/ 213960 w 313286"/>
                <a:gd name="connsiteY9" fmla="*/ 325374 h 376380"/>
                <a:gd name="connsiteX10" fmla="*/ 234249 w 313286"/>
                <a:gd name="connsiteY10" fmla="*/ 322421 h 376380"/>
                <a:gd name="connsiteX11" fmla="*/ 65722 w 313286"/>
                <a:gd name="connsiteY11" fmla="*/ 219380 h 376380"/>
                <a:gd name="connsiteX12" fmla="*/ 81744 w 313286"/>
                <a:gd name="connsiteY12" fmla="*/ 244355 h 376380"/>
                <a:gd name="connsiteX13" fmla="*/ 77991 w 313286"/>
                <a:gd name="connsiteY13" fmla="*/ 290179 h 376380"/>
                <a:gd name="connsiteX14" fmla="*/ 65846 w 313286"/>
                <a:gd name="connsiteY14" fmla="*/ 288007 h 376380"/>
                <a:gd name="connsiteX15" fmla="*/ 54950 w 313286"/>
                <a:gd name="connsiteY15" fmla="*/ 299447 h 376380"/>
                <a:gd name="connsiteX16" fmla="*/ 44834 w 313286"/>
                <a:gd name="connsiteY16" fmla="*/ 290360 h 376380"/>
                <a:gd name="connsiteX17" fmla="*/ 43767 w 313286"/>
                <a:gd name="connsiteY17" fmla="*/ 248603 h 376380"/>
                <a:gd name="connsiteX18" fmla="*/ 37671 w 313286"/>
                <a:gd name="connsiteY18" fmla="*/ 228553 h 376380"/>
                <a:gd name="connsiteX19" fmla="*/ 52359 w 313286"/>
                <a:gd name="connsiteY19" fmla="*/ 230315 h 376380"/>
                <a:gd name="connsiteX20" fmla="*/ 65722 w 313286"/>
                <a:gd name="connsiteY20" fmla="*/ 219380 h 376380"/>
                <a:gd name="connsiteX21" fmla="*/ 150285 w 313286"/>
                <a:gd name="connsiteY21" fmla="*/ 13573 h 376380"/>
                <a:gd name="connsiteX22" fmla="*/ 188481 w 313286"/>
                <a:gd name="connsiteY22" fmla="*/ 23584 h 376380"/>
                <a:gd name="connsiteX23" fmla="*/ 185585 w 313286"/>
                <a:gd name="connsiteY23" fmla="*/ 42548 h 376380"/>
                <a:gd name="connsiteX24" fmla="*/ 191976 w 313286"/>
                <a:gd name="connsiteY24" fmla="*/ 58807 h 376380"/>
                <a:gd name="connsiteX25" fmla="*/ 170716 w 313286"/>
                <a:gd name="connsiteY25" fmla="*/ 53254 h 376380"/>
                <a:gd name="connsiteX26" fmla="*/ 149000 w 313286"/>
                <a:gd name="connsiteY26" fmla="*/ 66751 h 376380"/>
                <a:gd name="connsiteX27" fmla="*/ 150476 w 313286"/>
                <a:gd name="connsiteY27" fmla="*/ 85477 h 376380"/>
                <a:gd name="connsiteX28" fmla="*/ 147209 w 313286"/>
                <a:gd name="connsiteY28" fmla="*/ 96155 h 376380"/>
                <a:gd name="connsiteX29" fmla="*/ 155962 w 313286"/>
                <a:gd name="connsiteY29" fmla="*/ 115100 h 376380"/>
                <a:gd name="connsiteX30" fmla="*/ 181003 w 313286"/>
                <a:gd name="connsiteY30" fmla="*/ 133683 h 376380"/>
                <a:gd name="connsiteX31" fmla="*/ 194434 w 313286"/>
                <a:gd name="connsiteY31" fmla="*/ 163849 h 376380"/>
                <a:gd name="connsiteX32" fmla="*/ 224152 w 313286"/>
                <a:gd name="connsiteY32" fmla="*/ 192872 h 376380"/>
                <a:gd name="connsiteX33" fmla="*/ 245078 w 313286"/>
                <a:gd name="connsiteY33" fmla="*/ 192653 h 376380"/>
                <a:gd name="connsiteX34" fmla="*/ 251584 w 313286"/>
                <a:gd name="connsiteY34" fmla="*/ 200549 h 376380"/>
                <a:gd name="connsiteX35" fmla="*/ 244087 w 313286"/>
                <a:gd name="connsiteY35" fmla="*/ 207645 h 376380"/>
                <a:gd name="connsiteX36" fmla="*/ 268005 w 313286"/>
                <a:gd name="connsiteY36" fmla="*/ 220456 h 376380"/>
                <a:gd name="connsiteX37" fmla="*/ 287617 w 313286"/>
                <a:gd name="connsiteY37" fmla="*/ 231124 h 376380"/>
                <a:gd name="connsiteX38" fmla="*/ 310515 w 313286"/>
                <a:gd name="connsiteY38" fmla="*/ 249403 h 376380"/>
                <a:gd name="connsiteX39" fmla="*/ 313287 w 313286"/>
                <a:gd name="connsiteY39" fmla="*/ 255908 h 376380"/>
                <a:gd name="connsiteX40" fmla="*/ 308296 w 313286"/>
                <a:gd name="connsiteY40" fmla="*/ 268348 h 376380"/>
                <a:gd name="connsiteX41" fmla="*/ 293475 w 313286"/>
                <a:gd name="connsiteY41" fmla="*/ 252117 h 376380"/>
                <a:gd name="connsiteX42" fmla="*/ 270272 w 313286"/>
                <a:gd name="connsiteY42" fmla="*/ 246374 h 376380"/>
                <a:gd name="connsiteX43" fmla="*/ 259032 w 313286"/>
                <a:gd name="connsiteY43" fmla="*/ 268872 h 376380"/>
                <a:gd name="connsiteX44" fmla="*/ 278330 w 313286"/>
                <a:gd name="connsiteY44" fmla="*/ 281674 h 376380"/>
                <a:gd name="connsiteX45" fmla="*/ 275158 w 313286"/>
                <a:gd name="connsiteY45" fmla="*/ 299571 h 376380"/>
                <a:gd name="connsiteX46" fmla="*/ 264004 w 313286"/>
                <a:gd name="connsiteY46" fmla="*/ 301600 h 376380"/>
                <a:gd name="connsiteX47" fmla="*/ 249736 w 313286"/>
                <a:gd name="connsiteY47" fmla="*/ 330718 h 376380"/>
                <a:gd name="connsiteX48" fmla="*/ 238611 w 313286"/>
                <a:gd name="connsiteY48" fmla="*/ 333308 h 376380"/>
                <a:gd name="connsiteX49" fmla="*/ 238716 w 313286"/>
                <a:gd name="connsiteY49" fmla="*/ 322983 h 376380"/>
                <a:gd name="connsiteX50" fmla="*/ 244164 w 313286"/>
                <a:gd name="connsiteY50" fmla="*/ 304762 h 376380"/>
                <a:gd name="connsiteX51" fmla="*/ 249964 w 313286"/>
                <a:gd name="connsiteY51" fmla="*/ 297466 h 376380"/>
                <a:gd name="connsiteX52" fmla="*/ 239535 w 313286"/>
                <a:gd name="connsiteY52" fmla="*/ 277559 h 376380"/>
                <a:gd name="connsiteX53" fmla="*/ 231391 w 313286"/>
                <a:gd name="connsiteY53" fmla="*/ 260099 h 376380"/>
                <a:gd name="connsiteX54" fmla="*/ 220304 w 313286"/>
                <a:gd name="connsiteY54" fmla="*/ 255766 h 376380"/>
                <a:gd name="connsiteX55" fmla="*/ 212417 w 313286"/>
                <a:gd name="connsiteY55" fmla="*/ 240687 h 376380"/>
                <a:gd name="connsiteX56" fmla="*/ 195253 w 313286"/>
                <a:gd name="connsiteY56" fmla="*/ 234305 h 376380"/>
                <a:gd name="connsiteX57" fmla="*/ 183699 w 313286"/>
                <a:gd name="connsiteY57" fmla="*/ 220142 h 376380"/>
                <a:gd name="connsiteX58" fmla="*/ 163935 w 313286"/>
                <a:gd name="connsiteY58" fmla="*/ 217846 h 376380"/>
                <a:gd name="connsiteX59" fmla="*/ 143065 w 313286"/>
                <a:gd name="connsiteY59" fmla="*/ 201816 h 376380"/>
                <a:gd name="connsiteX60" fmla="*/ 118634 w 313286"/>
                <a:gd name="connsiteY60" fmla="*/ 178499 h 376380"/>
                <a:gd name="connsiteX61" fmla="*/ 100479 w 313286"/>
                <a:gd name="connsiteY61" fmla="*/ 157658 h 376380"/>
                <a:gd name="connsiteX62" fmla="*/ 92145 w 313286"/>
                <a:gd name="connsiteY62" fmla="*/ 121434 h 376380"/>
                <a:gd name="connsiteX63" fmla="*/ 78857 w 313286"/>
                <a:gd name="connsiteY63" fmla="*/ 117129 h 376380"/>
                <a:gd name="connsiteX64" fmla="*/ 57131 w 313286"/>
                <a:gd name="connsiteY64" fmla="*/ 104870 h 376380"/>
                <a:gd name="connsiteX65" fmla="*/ 44834 w 313286"/>
                <a:gd name="connsiteY65" fmla="*/ 109900 h 376380"/>
                <a:gd name="connsiteX66" fmla="*/ 29404 w 313286"/>
                <a:gd name="connsiteY66" fmla="*/ 127063 h 376380"/>
                <a:gd name="connsiteX67" fmla="*/ 18307 w 313286"/>
                <a:gd name="connsiteY67" fmla="*/ 129769 h 376380"/>
                <a:gd name="connsiteX68" fmla="*/ 21365 w 313286"/>
                <a:gd name="connsiteY68" fmla="*/ 113729 h 376380"/>
                <a:gd name="connsiteX69" fmla="*/ 6886 w 313286"/>
                <a:gd name="connsiteY69" fmla="*/ 109023 h 376380"/>
                <a:gd name="connsiteX70" fmla="*/ 0 w 313286"/>
                <a:gd name="connsiteY70" fmla="*/ 80077 h 376380"/>
                <a:gd name="connsiteX71" fmla="*/ 9258 w 313286"/>
                <a:gd name="connsiteY71" fmla="*/ 68571 h 376380"/>
                <a:gd name="connsiteX72" fmla="*/ 1400 w 313286"/>
                <a:gd name="connsiteY72" fmla="*/ 54302 h 376380"/>
                <a:gd name="connsiteX73" fmla="*/ 2505 w 313286"/>
                <a:gd name="connsiteY73" fmla="*/ 43501 h 376380"/>
                <a:gd name="connsiteX74" fmla="*/ 14002 w 313286"/>
                <a:gd name="connsiteY74" fmla="*/ 51692 h 376380"/>
                <a:gd name="connsiteX75" fmla="*/ 26879 w 313286"/>
                <a:gd name="connsiteY75" fmla="*/ 49882 h 376380"/>
                <a:gd name="connsiteX76" fmla="*/ 41853 w 313286"/>
                <a:gd name="connsiteY76" fmla="*/ 36890 h 376380"/>
                <a:gd name="connsiteX77" fmla="*/ 46482 w 313286"/>
                <a:gd name="connsiteY77" fmla="*/ 42977 h 376380"/>
                <a:gd name="connsiteX78" fmla="*/ 59198 w 313286"/>
                <a:gd name="connsiteY78" fmla="*/ 41758 h 376380"/>
                <a:gd name="connsiteX79" fmla="*/ 64979 w 313286"/>
                <a:gd name="connsiteY79" fmla="*/ 26232 h 376380"/>
                <a:gd name="connsiteX80" fmla="*/ 84744 w 313286"/>
                <a:gd name="connsiteY80" fmla="*/ 31071 h 376380"/>
                <a:gd name="connsiteX81" fmla="*/ 96507 w 313286"/>
                <a:gd name="connsiteY81" fmla="*/ 24555 h 376380"/>
                <a:gd name="connsiteX82" fmla="*/ 98622 w 313286"/>
                <a:gd name="connsiteY82" fmla="*/ 8649 h 376380"/>
                <a:gd name="connsiteX83" fmla="*/ 114805 w 313286"/>
                <a:gd name="connsiteY83" fmla="*/ 14183 h 376380"/>
                <a:gd name="connsiteX84" fmla="*/ 117910 w 313286"/>
                <a:gd name="connsiteY84" fmla="*/ 6782 h 376380"/>
                <a:gd name="connsiteX85" fmla="*/ 144304 w 313286"/>
                <a:gd name="connsiteY85" fmla="*/ 0 h 376380"/>
                <a:gd name="connsiteX86" fmla="*/ 150285 w 313286"/>
                <a:gd name="connsiteY86" fmla="*/ 13573 h 37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13286" h="376380">
                  <a:moveTo>
                    <a:pt x="234249" y="322421"/>
                  </a:moveTo>
                  <a:lnTo>
                    <a:pt x="224628" y="348929"/>
                  </a:lnTo>
                  <a:lnTo>
                    <a:pt x="228619" y="359283"/>
                  </a:lnTo>
                  <a:lnTo>
                    <a:pt x="223018" y="376381"/>
                  </a:lnTo>
                  <a:lnTo>
                    <a:pt x="202587" y="363874"/>
                  </a:lnTo>
                  <a:lnTo>
                    <a:pt x="189005" y="360283"/>
                  </a:lnTo>
                  <a:lnTo>
                    <a:pt x="151724" y="343272"/>
                  </a:lnTo>
                  <a:lnTo>
                    <a:pt x="155467" y="325974"/>
                  </a:lnTo>
                  <a:lnTo>
                    <a:pt x="186719" y="329060"/>
                  </a:lnTo>
                  <a:lnTo>
                    <a:pt x="213960" y="325374"/>
                  </a:lnTo>
                  <a:lnTo>
                    <a:pt x="234249" y="322421"/>
                  </a:lnTo>
                  <a:close/>
                  <a:moveTo>
                    <a:pt x="65722" y="219380"/>
                  </a:moveTo>
                  <a:lnTo>
                    <a:pt x="81744" y="244355"/>
                  </a:lnTo>
                  <a:lnTo>
                    <a:pt x="77991" y="290179"/>
                  </a:lnTo>
                  <a:lnTo>
                    <a:pt x="65846" y="288007"/>
                  </a:lnTo>
                  <a:lnTo>
                    <a:pt x="54950" y="299447"/>
                  </a:lnTo>
                  <a:lnTo>
                    <a:pt x="44834" y="290360"/>
                  </a:lnTo>
                  <a:lnTo>
                    <a:pt x="43767" y="248603"/>
                  </a:lnTo>
                  <a:lnTo>
                    <a:pt x="37671" y="228553"/>
                  </a:lnTo>
                  <a:lnTo>
                    <a:pt x="52359" y="230315"/>
                  </a:lnTo>
                  <a:lnTo>
                    <a:pt x="65722" y="219380"/>
                  </a:lnTo>
                  <a:close/>
                  <a:moveTo>
                    <a:pt x="150285" y="13573"/>
                  </a:moveTo>
                  <a:lnTo>
                    <a:pt x="188481" y="23584"/>
                  </a:lnTo>
                  <a:lnTo>
                    <a:pt x="185585" y="42548"/>
                  </a:lnTo>
                  <a:lnTo>
                    <a:pt x="191976" y="58807"/>
                  </a:lnTo>
                  <a:lnTo>
                    <a:pt x="170716" y="53254"/>
                  </a:lnTo>
                  <a:lnTo>
                    <a:pt x="149000" y="66751"/>
                  </a:lnTo>
                  <a:lnTo>
                    <a:pt x="150476" y="85477"/>
                  </a:lnTo>
                  <a:lnTo>
                    <a:pt x="147209" y="96155"/>
                  </a:lnTo>
                  <a:lnTo>
                    <a:pt x="155962" y="115100"/>
                  </a:lnTo>
                  <a:lnTo>
                    <a:pt x="181003" y="133683"/>
                  </a:lnTo>
                  <a:lnTo>
                    <a:pt x="194434" y="163849"/>
                  </a:lnTo>
                  <a:lnTo>
                    <a:pt x="224152" y="192872"/>
                  </a:lnTo>
                  <a:lnTo>
                    <a:pt x="245078" y="192653"/>
                  </a:lnTo>
                  <a:lnTo>
                    <a:pt x="251584" y="200549"/>
                  </a:lnTo>
                  <a:lnTo>
                    <a:pt x="244087" y="207645"/>
                  </a:lnTo>
                  <a:lnTo>
                    <a:pt x="268005" y="220456"/>
                  </a:lnTo>
                  <a:lnTo>
                    <a:pt x="287617" y="231124"/>
                  </a:lnTo>
                  <a:lnTo>
                    <a:pt x="310515" y="249403"/>
                  </a:lnTo>
                  <a:lnTo>
                    <a:pt x="313287" y="255908"/>
                  </a:lnTo>
                  <a:lnTo>
                    <a:pt x="308296" y="268348"/>
                  </a:lnTo>
                  <a:lnTo>
                    <a:pt x="293475" y="252117"/>
                  </a:lnTo>
                  <a:lnTo>
                    <a:pt x="270272" y="246374"/>
                  </a:lnTo>
                  <a:lnTo>
                    <a:pt x="259032" y="268872"/>
                  </a:lnTo>
                  <a:lnTo>
                    <a:pt x="278330" y="281674"/>
                  </a:lnTo>
                  <a:lnTo>
                    <a:pt x="275158" y="299571"/>
                  </a:lnTo>
                  <a:lnTo>
                    <a:pt x="264004" y="301600"/>
                  </a:lnTo>
                  <a:lnTo>
                    <a:pt x="249736" y="330718"/>
                  </a:lnTo>
                  <a:lnTo>
                    <a:pt x="238611" y="333308"/>
                  </a:lnTo>
                  <a:lnTo>
                    <a:pt x="238716" y="322983"/>
                  </a:lnTo>
                  <a:lnTo>
                    <a:pt x="244164" y="304762"/>
                  </a:lnTo>
                  <a:lnTo>
                    <a:pt x="249964" y="297466"/>
                  </a:lnTo>
                  <a:lnTo>
                    <a:pt x="239535" y="277559"/>
                  </a:lnTo>
                  <a:lnTo>
                    <a:pt x="231391" y="260099"/>
                  </a:lnTo>
                  <a:lnTo>
                    <a:pt x="220304" y="255766"/>
                  </a:lnTo>
                  <a:lnTo>
                    <a:pt x="212417" y="240687"/>
                  </a:lnTo>
                  <a:lnTo>
                    <a:pt x="195253" y="234305"/>
                  </a:lnTo>
                  <a:lnTo>
                    <a:pt x="183699" y="220142"/>
                  </a:lnTo>
                  <a:lnTo>
                    <a:pt x="163935" y="217846"/>
                  </a:lnTo>
                  <a:lnTo>
                    <a:pt x="143065" y="201816"/>
                  </a:lnTo>
                  <a:lnTo>
                    <a:pt x="118634" y="178499"/>
                  </a:lnTo>
                  <a:lnTo>
                    <a:pt x="100479" y="157658"/>
                  </a:lnTo>
                  <a:lnTo>
                    <a:pt x="92145" y="121434"/>
                  </a:lnTo>
                  <a:lnTo>
                    <a:pt x="78857" y="117129"/>
                  </a:lnTo>
                  <a:lnTo>
                    <a:pt x="57131" y="104870"/>
                  </a:lnTo>
                  <a:lnTo>
                    <a:pt x="44834" y="109900"/>
                  </a:lnTo>
                  <a:lnTo>
                    <a:pt x="29404" y="127063"/>
                  </a:lnTo>
                  <a:lnTo>
                    <a:pt x="18307" y="129769"/>
                  </a:lnTo>
                  <a:lnTo>
                    <a:pt x="21365" y="113729"/>
                  </a:lnTo>
                  <a:lnTo>
                    <a:pt x="6886" y="109023"/>
                  </a:lnTo>
                  <a:lnTo>
                    <a:pt x="0" y="80077"/>
                  </a:lnTo>
                  <a:lnTo>
                    <a:pt x="9258" y="68571"/>
                  </a:lnTo>
                  <a:lnTo>
                    <a:pt x="1400" y="54302"/>
                  </a:lnTo>
                  <a:lnTo>
                    <a:pt x="2505" y="43501"/>
                  </a:lnTo>
                  <a:lnTo>
                    <a:pt x="14002" y="51692"/>
                  </a:lnTo>
                  <a:lnTo>
                    <a:pt x="26879" y="49882"/>
                  </a:lnTo>
                  <a:lnTo>
                    <a:pt x="41853" y="36890"/>
                  </a:lnTo>
                  <a:lnTo>
                    <a:pt x="46482" y="42977"/>
                  </a:lnTo>
                  <a:lnTo>
                    <a:pt x="59198" y="41758"/>
                  </a:lnTo>
                  <a:lnTo>
                    <a:pt x="64979" y="26232"/>
                  </a:lnTo>
                  <a:lnTo>
                    <a:pt x="84744" y="31071"/>
                  </a:lnTo>
                  <a:lnTo>
                    <a:pt x="96507" y="24555"/>
                  </a:lnTo>
                  <a:lnTo>
                    <a:pt x="98622" y="8649"/>
                  </a:lnTo>
                  <a:lnTo>
                    <a:pt x="114805" y="14183"/>
                  </a:lnTo>
                  <a:lnTo>
                    <a:pt x="117910" y="6782"/>
                  </a:lnTo>
                  <a:lnTo>
                    <a:pt x="144304" y="0"/>
                  </a:lnTo>
                  <a:lnTo>
                    <a:pt x="150285" y="13573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1" name="Forme libre : forme 5730">
              <a:extLst>
                <a:ext uri="{FF2B5EF4-FFF2-40B4-BE49-F238E27FC236}">
                  <a16:creationId xmlns:a16="http://schemas.microsoft.com/office/drawing/2014/main" id="{68581B4C-57EC-77BC-DB85-46E50FA5E198}"/>
                </a:ext>
              </a:extLst>
            </p:cNvPr>
            <p:cNvSpPr/>
            <p:nvPr/>
          </p:nvSpPr>
          <p:spPr>
            <a:xfrm>
              <a:off x="3728751" y="4242334"/>
              <a:ext cx="57112" cy="22993"/>
            </a:xfrm>
            <a:custGeom>
              <a:avLst/>
              <a:gdLst>
                <a:gd name="connsiteX0" fmla="*/ 20517 w 57112"/>
                <a:gd name="connsiteY0" fmla="*/ 953 h 22993"/>
                <a:gd name="connsiteX1" fmla="*/ 38491 w 57112"/>
                <a:gd name="connsiteY1" fmla="*/ 3458 h 22993"/>
                <a:gd name="connsiteX2" fmla="*/ 52683 w 57112"/>
                <a:gd name="connsiteY2" fmla="*/ 10173 h 22993"/>
                <a:gd name="connsiteX3" fmla="*/ 57112 w 57112"/>
                <a:gd name="connsiteY3" fmla="*/ 17821 h 22993"/>
                <a:gd name="connsiteX4" fmla="*/ 38329 w 57112"/>
                <a:gd name="connsiteY4" fmla="*/ 18336 h 22993"/>
                <a:gd name="connsiteX5" fmla="*/ 30223 w 57112"/>
                <a:gd name="connsiteY5" fmla="*/ 22993 h 22993"/>
                <a:gd name="connsiteX6" fmla="*/ 15269 w 57112"/>
                <a:gd name="connsiteY6" fmla="*/ 18517 h 22993"/>
                <a:gd name="connsiteX7" fmla="*/ 0 w 57112"/>
                <a:gd name="connsiteY7" fmla="*/ 8344 h 22993"/>
                <a:gd name="connsiteX8" fmla="*/ 3210 w 57112"/>
                <a:gd name="connsiteY8" fmla="*/ 1952 h 22993"/>
                <a:gd name="connsiteX9" fmla="*/ 14440 w 57112"/>
                <a:gd name="connsiteY9" fmla="*/ 0 h 2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112" h="22993">
                  <a:moveTo>
                    <a:pt x="20517" y="953"/>
                  </a:moveTo>
                  <a:lnTo>
                    <a:pt x="38491" y="3458"/>
                  </a:lnTo>
                  <a:lnTo>
                    <a:pt x="52683" y="10173"/>
                  </a:lnTo>
                  <a:lnTo>
                    <a:pt x="57112" y="17821"/>
                  </a:lnTo>
                  <a:lnTo>
                    <a:pt x="38329" y="18336"/>
                  </a:lnTo>
                  <a:lnTo>
                    <a:pt x="30223" y="22993"/>
                  </a:lnTo>
                  <a:lnTo>
                    <a:pt x="15269" y="18517"/>
                  </a:lnTo>
                  <a:lnTo>
                    <a:pt x="0" y="8344"/>
                  </a:lnTo>
                  <a:lnTo>
                    <a:pt x="3210" y="1952"/>
                  </a:lnTo>
                  <a:lnTo>
                    <a:pt x="14440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2" name="Forme libre : forme 5731">
              <a:extLst>
                <a:ext uri="{FF2B5EF4-FFF2-40B4-BE49-F238E27FC236}">
                  <a16:creationId xmlns:a16="http://schemas.microsoft.com/office/drawing/2014/main" id="{E997A4AE-B567-8A5F-D620-5369E2C61215}"/>
                </a:ext>
              </a:extLst>
            </p:cNvPr>
            <p:cNvSpPr/>
            <p:nvPr/>
          </p:nvSpPr>
          <p:spPr>
            <a:xfrm>
              <a:off x="6753567" y="3801688"/>
              <a:ext cx="114109" cy="130073"/>
            </a:xfrm>
            <a:custGeom>
              <a:avLst/>
              <a:gdLst>
                <a:gd name="connsiteX0" fmla="*/ 16640 w 114109"/>
                <a:gd name="connsiteY0" fmla="*/ 31166 h 130073"/>
                <a:gd name="connsiteX1" fmla="*/ 21288 w 114109"/>
                <a:gd name="connsiteY1" fmla="*/ 21231 h 130073"/>
                <a:gd name="connsiteX2" fmla="*/ 51045 w 114109"/>
                <a:gd name="connsiteY2" fmla="*/ 33718 h 130073"/>
                <a:gd name="connsiteX3" fmla="*/ 103346 w 114109"/>
                <a:gd name="connsiteY3" fmla="*/ 0 h 130073"/>
                <a:gd name="connsiteX4" fmla="*/ 114109 w 114109"/>
                <a:gd name="connsiteY4" fmla="*/ 38490 h 130073"/>
                <a:gd name="connsiteX5" fmla="*/ 109023 w 114109"/>
                <a:gd name="connsiteY5" fmla="*/ 43224 h 130073"/>
                <a:gd name="connsiteX6" fmla="*/ 55530 w 114109"/>
                <a:gd name="connsiteY6" fmla="*/ 58903 h 130073"/>
                <a:gd name="connsiteX7" fmla="*/ 82153 w 114109"/>
                <a:gd name="connsiteY7" fmla="*/ 89916 h 130073"/>
                <a:gd name="connsiteX8" fmla="*/ 73323 w 114109"/>
                <a:gd name="connsiteY8" fmla="*/ 95145 h 130073"/>
                <a:gd name="connsiteX9" fmla="*/ 68923 w 114109"/>
                <a:gd name="connsiteY9" fmla="*/ 105442 h 130073"/>
                <a:gd name="connsiteX10" fmla="*/ 48549 w 114109"/>
                <a:gd name="connsiteY10" fmla="*/ 109680 h 130073"/>
                <a:gd name="connsiteX11" fmla="*/ 42157 w 114109"/>
                <a:gd name="connsiteY11" fmla="*/ 120701 h 130073"/>
                <a:gd name="connsiteX12" fmla="*/ 30613 w 114109"/>
                <a:gd name="connsiteY12" fmla="*/ 130073 h 130073"/>
                <a:gd name="connsiteX13" fmla="*/ 895 w 114109"/>
                <a:gd name="connsiteY13" fmla="*/ 125235 h 130073"/>
                <a:gd name="connsiteX14" fmla="*/ 0 w 114109"/>
                <a:gd name="connsiteY14" fmla="*/ 120815 h 130073"/>
                <a:gd name="connsiteX15" fmla="*/ 13306 w 114109"/>
                <a:gd name="connsiteY15" fmla="*/ 71609 h 130073"/>
                <a:gd name="connsiteX16" fmla="*/ 12678 w 114109"/>
                <a:gd name="connsiteY16" fmla="*/ 59512 h 130073"/>
                <a:gd name="connsiteX17" fmla="*/ 16630 w 114109"/>
                <a:gd name="connsiteY17" fmla="*/ 50349 h 130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4109" h="130073">
                  <a:moveTo>
                    <a:pt x="16640" y="31166"/>
                  </a:moveTo>
                  <a:lnTo>
                    <a:pt x="21288" y="21231"/>
                  </a:lnTo>
                  <a:lnTo>
                    <a:pt x="51045" y="33718"/>
                  </a:lnTo>
                  <a:lnTo>
                    <a:pt x="103346" y="0"/>
                  </a:lnTo>
                  <a:lnTo>
                    <a:pt x="114109" y="38490"/>
                  </a:lnTo>
                  <a:lnTo>
                    <a:pt x="109023" y="43224"/>
                  </a:lnTo>
                  <a:lnTo>
                    <a:pt x="55530" y="58903"/>
                  </a:lnTo>
                  <a:lnTo>
                    <a:pt x="82153" y="89916"/>
                  </a:lnTo>
                  <a:lnTo>
                    <a:pt x="73323" y="95145"/>
                  </a:lnTo>
                  <a:lnTo>
                    <a:pt x="68923" y="105442"/>
                  </a:lnTo>
                  <a:lnTo>
                    <a:pt x="48549" y="109680"/>
                  </a:lnTo>
                  <a:lnTo>
                    <a:pt x="42157" y="120701"/>
                  </a:lnTo>
                  <a:lnTo>
                    <a:pt x="30613" y="130073"/>
                  </a:lnTo>
                  <a:lnTo>
                    <a:pt x="895" y="125235"/>
                  </a:lnTo>
                  <a:lnTo>
                    <a:pt x="0" y="120815"/>
                  </a:lnTo>
                  <a:lnTo>
                    <a:pt x="13306" y="71609"/>
                  </a:lnTo>
                  <a:lnTo>
                    <a:pt x="12678" y="59512"/>
                  </a:lnTo>
                  <a:lnTo>
                    <a:pt x="16630" y="503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3" name="Forme libre : forme 5732">
              <a:extLst>
                <a:ext uri="{FF2B5EF4-FFF2-40B4-BE49-F238E27FC236}">
                  <a16:creationId xmlns:a16="http://schemas.microsoft.com/office/drawing/2014/main" id="{F62B49CE-724F-C947-0624-12C0F77EC3DE}"/>
                </a:ext>
              </a:extLst>
            </p:cNvPr>
            <p:cNvSpPr/>
            <p:nvPr/>
          </p:nvSpPr>
          <p:spPr>
            <a:xfrm>
              <a:off x="9276978" y="3380398"/>
              <a:ext cx="430891" cy="495080"/>
            </a:xfrm>
            <a:custGeom>
              <a:avLst/>
              <a:gdLst>
                <a:gd name="connsiteX0" fmla="*/ 139675 w 430891"/>
                <a:gd name="connsiteY0" fmla="*/ 396650 h 495080"/>
                <a:gd name="connsiteX1" fmla="*/ 143084 w 430891"/>
                <a:gd name="connsiteY1" fmla="*/ 407641 h 495080"/>
                <a:gd name="connsiteX2" fmla="*/ 128045 w 430891"/>
                <a:gd name="connsiteY2" fmla="*/ 426929 h 495080"/>
                <a:gd name="connsiteX3" fmla="*/ 117091 w 430891"/>
                <a:gd name="connsiteY3" fmla="*/ 416719 h 495080"/>
                <a:gd name="connsiteX4" fmla="*/ 103394 w 430891"/>
                <a:gd name="connsiteY4" fmla="*/ 424120 h 495080"/>
                <a:gd name="connsiteX5" fmla="*/ 96307 w 430891"/>
                <a:gd name="connsiteY5" fmla="*/ 442655 h 495080"/>
                <a:gd name="connsiteX6" fmla="*/ 78905 w 430891"/>
                <a:gd name="connsiteY6" fmla="*/ 433645 h 495080"/>
                <a:gd name="connsiteX7" fmla="*/ 79114 w 430891"/>
                <a:gd name="connsiteY7" fmla="*/ 418567 h 495080"/>
                <a:gd name="connsiteX8" fmla="*/ 93888 w 430891"/>
                <a:gd name="connsiteY8" fmla="*/ 399488 h 495080"/>
                <a:gd name="connsiteX9" fmla="*/ 109080 w 430891"/>
                <a:gd name="connsiteY9" fmla="*/ 403203 h 495080"/>
                <a:gd name="connsiteX10" fmla="*/ 120053 w 430891"/>
                <a:gd name="connsiteY10" fmla="*/ 389706 h 495080"/>
                <a:gd name="connsiteX11" fmla="*/ 139675 w 430891"/>
                <a:gd name="connsiteY11" fmla="*/ 396650 h 495080"/>
                <a:gd name="connsiteX12" fmla="*/ 308934 w 430891"/>
                <a:gd name="connsiteY12" fmla="*/ 298704 h 495080"/>
                <a:gd name="connsiteX13" fmla="*/ 298866 w 430891"/>
                <a:gd name="connsiteY13" fmla="*/ 325193 h 495080"/>
                <a:gd name="connsiteX14" fmla="*/ 303523 w 430891"/>
                <a:gd name="connsiteY14" fmla="*/ 341681 h 495080"/>
                <a:gd name="connsiteX15" fmla="*/ 289607 w 430891"/>
                <a:gd name="connsiteY15" fmla="*/ 364693 h 495080"/>
                <a:gd name="connsiteX16" fmla="*/ 255489 w 430891"/>
                <a:gd name="connsiteY16" fmla="*/ 379952 h 495080"/>
                <a:gd name="connsiteX17" fmla="*/ 208540 w 430891"/>
                <a:gd name="connsiteY17" fmla="*/ 381933 h 495080"/>
                <a:gd name="connsiteX18" fmla="*/ 170488 w 430891"/>
                <a:gd name="connsiteY18" fmla="*/ 418548 h 495080"/>
                <a:gd name="connsiteX19" fmla="*/ 152543 w 430891"/>
                <a:gd name="connsiteY19" fmla="*/ 406279 h 495080"/>
                <a:gd name="connsiteX20" fmla="*/ 151438 w 430891"/>
                <a:gd name="connsiteY20" fmla="*/ 382248 h 495080"/>
                <a:gd name="connsiteX21" fmla="*/ 104984 w 430891"/>
                <a:gd name="connsiteY21" fmla="*/ 389363 h 495080"/>
                <a:gd name="connsiteX22" fmla="*/ 73380 w 430891"/>
                <a:gd name="connsiteY22" fmla="*/ 404489 h 495080"/>
                <a:gd name="connsiteX23" fmla="*/ 42120 w 430891"/>
                <a:gd name="connsiteY23" fmla="*/ 405098 h 495080"/>
                <a:gd name="connsiteX24" fmla="*/ 69199 w 430891"/>
                <a:gd name="connsiteY24" fmla="*/ 428558 h 495080"/>
                <a:gd name="connsiteX25" fmla="*/ 51378 w 430891"/>
                <a:gd name="connsiteY25" fmla="*/ 482003 h 495080"/>
                <a:gd name="connsiteX26" fmla="*/ 34109 w 430891"/>
                <a:gd name="connsiteY26" fmla="*/ 495081 h 495080"/>
                <a:gd name="connsiteX27" fmla="*/ 21193 w 430891"/>
                <a:gd name="connsiteY27" fmla="*/ 483003 h 495080"/>
                <a:gd name="connsiteX28" fmla="*/ 27746 w 430891"/>
                <a:gd name="connsiteY28" fmla="*/ 454800 h 495080"/>
                <a:gd name="connsiteX29" fmla="*/ 10849 w 430891"/>
                <a:gd name="connsiteY29" fmla="*/ 445637 h 495080"/>
                <a:gd name="connsiteX30" fmla="*/ 0 w 430891"/>
                <a:gd name="connsiteY30" fmla="*/ 423910 h 495080"/>
                <a:gd name="connsiteX31" fmla="*/ 25241 w 430891"/>
                <a:gd name="connsiteY31" fmla="*/ 414099 h 495080"/>
                <a:gd name="connsiteX32" fmla="*/ 39252 w 430891"/>
                <a:gd name="connsiteY32" fmla="*/ 393963 h 495080"/>
                <a:gd name="connsiteX33" fmla="*/ 66113 w 430891"/>
                <a:gd name="connsiteY33" fmla="*/ 377295 h 495080"/>
                <a:gd name="connsiteX34" fmla="*/ 85706 w 430891"/>
                <a:gd name="connsiteY34" fmla="*/ 355073 h 495080"/>
                <a:gd name="connsiteX35" fmla="*/ 138865 w 430891"/>
                <a:gd name="connsiteY35" fmla="*/ 345329 h 495080"/>
                <a:gd name="connsiteX36" fmla="*/ 167421 w 430891"/>
                <a:gd name="connsiteY36" fmla="*/ 352015 h 495080"/>
                <a:gd name="connsiteX37" fmla="*/ 195367 w 430891"/>
                <a:gd name="connsiteY37" fmla="*/ 293265 h 495080"/>
                <a:gd name="connsiteX38" fmla="*/ 213170 w 430891"/>
                <a:gd name="connsiteY38" fmla="*/ 309181 h 495080"/>
                <a:gd name="connsiteX39" fmla="*/ 252346 w 430891"/>
                <a:gd name="connsiteY39" fmla="*/ 275730 h 495080"/>
                <a:gd name="connsiteX40" fmla="*/ 267538 w 430891"/>
                <a:gd name="connsiteY40" fmla="*/ 262614 h 495080"/>
                <a:gd name="connsiteX41" fmla="*/ 284331 w 430891"/>
                <a:gd name="connsiteY41" fmla="*/ 220866 h 495080"/>
                <a:gd name="connsiteX42" fmla="*/ 279749 w 430891"/>
                <a:gd name="connsiteY42" fmla="*/ 181813 h 495080"/>
                <a:gd name="connsiteX43" fmla="*/ 291036 w 430891"/>
                <a:gd name="connsiteY43" fmla="*/ 159591 h 495080"/>
                <a:gd name="connsiteX44" fmla="*/ 319431 w 430891"/>
                <a:gd name="connsiteY44" fmla="*/ 153095 h 495080"/>
                <a:gd name="connsiteX45" fmla="*/ 333984 w 430891"/>
                <a:gd name="connsiteY45" fmla="*/ 201749 h 495080"/>
                <a:gd name="connsiteX46" fmla="*/ 333194 w 430891"/>
                <a:gd name="connsiteY46" fmla="*/ 229733 h 495080"/>
                <a:gd name="connsiteX47" fmla="*/ 308486 w 430891"/>
                <a:gd name="connsiteY47" fmla="*/ 264043 h 495080"/>
                <a:gd name="connsiteX48" fmla="*/ 308934 w 430891"/>
                <a:gd name="connsiteY48" fmla="*/ 298704 h 495080"/>
                <a:gd name="connsiteX49" fmla="*/ 387286 w 430891"/>
                <a:gd name="connsiteY49" fmla="*/ 51711 h 495080"/>
                <a:gd name="connsiteX50" fmla="*/ 406070 w 430891"/>
                <a:gd name="connsiteY50" fmla="*/ 59607 h 495080"/>
                <a:gd name="connsiteX51" fmla="*/ 424958 w 430891"/>
                <a:gd name="connsiteY51" fmla="*/ 43882 h 495080"/>
                <a:gd name="connsiteX52" fmla="*/ 430892 w 430891"/>
                <a:gd name="connsiteY52" fmla="*/ 85297 h 495080"/>
                <a:gd name="connsiteX53" fmla="*/ 391277 w 430891"/>
                <a:gd name="connsiteY53" fmla="*/ 95278 h 495080"/>
                <a:gd name="connsiteX54" fmla="*/ 367893 w 430891"/>
                <a:gd name="connsiteY54" fmla="*/ 131121 h 495080"/>
                <a:gd name="connsiteX55" fmla="*/ 325898 w 430891"/>
                <a:gd name="connsiteY55" fmla="*/ 106518 h 495080"/>
                <a:gd name="connsiteX56" fmla="*/ 311372 w 430891"/>
                <a:gd name="connsiteY56" fmla="*/ 145780 h 495080"/>
                <a:gd name="connsiteX57" fmla="*/ 281664 w 430891"/>
                <a:gd name="connsiteY57" fmla="*/ 146313 h 495080"/>
                <a:gd name="connsiteX58" fmla="*/ 277987 w 430891"/>
                <a:gd name="connsiteY58" fmla="*/ 110680 h 495080"/>
                <a:gd name="connsiteX59" fmla="*/ 291199 w 430891"/>
                <a:gd name="connsiteY59" fmla="*/ 82706 h 495080"/>
                <a:gd name="connsiteX60" fmla="*/ 319735 w 430891"/>
                <a:gd name="connsiteY60" fmla="*/ 80677 h 495080"/>
                <a:gd name="connsiteX61" fmla="*/ 327517 w 430891"/>
                <a:gd name="connsiteY61" fmla="*/ 29423 h 495080"/>
                <a:gd name="connsiteX62" fmla="*/ 335413 w 430891"/>
                <a:gd name="connsiteY62" fmla="*/ 0 h 495080"/>
                <a:gd name="connsiteX63" fmla="*/ 366798 w 430891"/>
                <a:gd name="connsiteY63" fmla="*/ 39214 h 495080"/>
                <a:gd name="connsiteX64" fmla="*/ 387286 w 430891"/>
                <a:gd name="connsiteY64" fmla="*/ 51711 h 495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30891" h="495080">
                  <a:moveTo>
                    <a:pt x="139675" y="396650"/>
                  </a:moveTo>
                  <a:lnTo>
                    <a:pt x="143084" y="407641"/>
                  </a:lnTo>
                  <a:lnTo>
                    <a:pt x="128045" y="426929"/>
                  </a:lnTo>
                  <a:lnTo>
                    <a:pt x="117091" y="416719"/>
                  </a:lnTo>
                  <a:lnTo>
                    <a:pt x="103394" y="424120"/>
                  </a:lnTo>
                  <a:lnTo>
                    <a:pt x="96307" y="442655"/>
                  </a:lnTo>
                  <a:lnTo>
                    <a:pt x="78905" y="433645"/>
                  </a:lnTo>
                  <a:lnTo>
                    <a:pt x="79114" y="418567"/>
                  </a:lnTo>
                  <a:lnTo>
                    <a:pt x="93888" y="399488"/>
                  </a:lnTo>
                  <a:lnTo>
                    <a:pt x="109080" y="403203"/>
                  </a:lnTo>
                  <a:lnTo>
                    <a:pt x="120053" y="389706"/>
                  </a:lnTo>
                  <a:lnTo>
                    <a:pt x="139675" y="396650"/>
                  </a:lnTo>
                  <a:close/>
                  <a:moveTo>
                    <a:pt x="308934" y="298704"/>
                  </a:moveTo>
                  <a:lnTo>
                    <a:pt x="298866" y="325193"/>
                  </a:lnTo>
                  <a:lnTo>
                    <a:pt x="303523" y="341681"/>
                  </a:lnTo>
                  <a:lnTo>
                    <a:pt x="289607" y="364693"/>
                  </a:lnTo>
                  <a:lnTo>
                    <a:pt x="255489" y="379952"/>
                  </a:lnTo>
                  <a:lnTo>
                    <a:pt x="208540" y="381933"/>
                  </a:lnTo>
                  <a:lnTo>
                    <a:pt x="170488" y="418548"/>
                  </a:lnTo>
                  <a:lnTo>
                    <a:pt x="152543" y="406279"/>
                  </a:lnTo>
                  <a:lnTo>
                    <a:pt x="151438" y="382248"/>
                  </a:lnTo>
                  <a:lnTo>
                    <a:pt x="104984" y="389363"/>
                  </a:lnTo>
                  <a:lnTo>
                    <a:pt x="73380" y="404489"/>
                  </a:lnTo>
                  <a:lnTo>
                    <a:pt x="42120" y="405098"/>
                  </a:lnTo>
                  <a:lnTo>
                    <a:pt x="69199" y="428558"/>
                  </a:lnTo>
                  <a:lnTo>
                    <a:pt x="51378" y="482003"/>
                  </a:lnTo>
                  <a:lnTo>
                    <a:pt x="34109" y="495081"/>
                  </a:lnTo>
                  <a:lnTo>
                    <a:pt x="21193" y="483003"/>
                  </a:lnTo>
                  <a:lnTo>
                    <a:pt x="27746" y="454800"/>
                  </a:lnTo>
                  <a:lnTo>
                    <a:pt x="10849" y="445637"/>
                  </a:lnTo>
                  <a:lnTo>
                    <a:pt x="0" y="423910"/>
                  </a:lnTo>
                  <a:lnTo>
                    <a:pt x="25241" y="414099"/>
                  </a:lnTo>
                  <a:lnTo>
                    <a:pt x="39252" y="393963"/>
                  </a:lnTo>
                  <a:lnTo>
                    <a:pt x="66113" y="377295"/>
                  </a:lnTo>
                  <a:lnTo>
                    <a:pt x="85706" y="355073"/>
                  </a:lnTo>
                  <a:lnTo>
                    <a:pt x="138865" y="345329"/>
                  </a:lnTo>
                  <a:lnTo>
                    <a:pt x="167421" y="352015"/>
                  </a:lnTo>
                  <a:lnTo>
                    <a:pt x="195367" y="293265"/>
                  </a:lnTo>
                  <a:lnTo>
                    <a:pt x="213170" y="309181"/>
                  </a:lnTo>
                  <a:lnTo>
                    <a:pt x="252346" y="275730"/>
                  </a:lnTo>
                  <a:lnTo>
                    <a:pt x="267538" y="262614"/>
                  </a:lnTo>
                  <a:lnTo>
                    <a:pt x="284331" y="220866"/>
                  </a:lnTo>
                  <a:lnTo>
                    <a:pt x="279749" y="181813"/>
                  </a:lnTo>
                  <a:lnTo>
                    <a:pt x="291036" y="159591"/>
                  </a:lnTo>
                  <a:lnTo>
                    <a:pt x="319431" y="153095"/>
                  </a:lnTo>
                  <a:lnTo>
                    <a:pt x="333984" y="201749"/>
                  </a:lnTo>
                  <a:lnTo>
                    <a:pt x="333194" y="229733"/>
                  </a:lnTo>
                  <a:lnTo>
                    <a:pt x="308486" y="264043"/>
                  </a:lnTo>
                  <a:lnTo>
                    <a:pt x="308934" y="298704"/>
                  </a:lnTo>
                  <a:close/>
                  <a:moveTo>
                    <a:pt x="387286" y="51711"/>
                  </a:moveTo>
                  <a:lnTo>
                    <a:pt x="406070" y="59607"/>
                  </a:lnTo>
                  <a:lnTo>
                    <a:pt x="424958" y="43882"/>
                  </a:lnTo>
                  <a:lnTo>
                    <a:pt x="430892" y="85297"/>
                  </a:lnTo>
                  <a:lnTo>
                    <a:pt x="391277" y="95278"/>
                  </a:lnTo>
                  <a:lnTo>
                    <a:pt x="367893" y="131121"/>
                  </a:lnTo>
                  <a:lnTo>
                    <a:pt x="325898" y="106518"/>
                  </a:lnTo>
                  <a:lnTo>
                    <a:pt x="311372" y="145780"/>
                  </a:lnTo>
                  <a:lnTo>
                    <a:pt x="281664" y="146313"/>
                  </a:lnTo>
                  <a:lnTo>
                    <a:pt x="277987" y="110680"/>
                  </a:lnTo>
                  <a:lnTo>
                    <a:pt x="291199" y="82706"/>
                  </a:lnTo>
                  <a:lnTo>
                    <a:pt x="319735" y="80677"/>
                  </a:lnTo>
                  <a:lnTo>
                    <a:pt x="327517" y="29423"/>
                  </a:lnTo>
                  <a:lnTo>
                    <a:pt x="335413" y="0"/>
                  </a:lnTo>
                  <a:lnTo>
                    <a:pt x="366798" y="39214"/>
                  </a:lnTo>
                  <a:lnTo>
                    <a:pt x="387286" y="517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4" name="Forme libre : forme 5733">
              <a:extLst>
                <a:ext uri="{FF2B5EF4-FFF2-40B4-BE49-F238E27FC236}">
                  <a16:creationId xmlns:a16="http://schemas.microsoft.com/office/drawing/2014/main" id="{8A7DF6AC-C139-165F-2945-80E424C9B331}"/>
                </a:ext>
              </a:extLst>
            </p:cNvPr>
            <p:cNvSpPr/>
            <p:nvPr/>
          </p:nvSpPr>
          <p:spPr>
            <a:xfrm>
              <a:off x="6726088" y="4596359"/>
              <a:ext cx="212616" cy="270500"/>
            </a:xfrm>
            <a:custGeom>
              <a:avLst/>
              <a:gdLst>
                <a:gd name="connsiteX0" fmla="*/ 189595 w 212616"/>
                <a:gd name="connsiteY0" fmla="*/ 169059 h 270500"/>
                <a:gd name="connsiteX1" fmla="*/ 205416 w 212616"/>
                <a:gd name="connsiteY1" fmla="*/ 190957 h 270500"/>
                <a:gd name="connsiteX2" fmla="*/ 186709 w 212616"/>
                <a:gd name="connsiteY2" fmla="*/ 201559 h 270500"/>
                <a:gd name="connsiteX3" fmla="*/ 180108 w 212616"/>
                <a:gd name="connsiteY3" fmla="*/ 212636 h 270500"/>
                <a:gd name="connsiteX4" fmla="*/ 170107 w 212616"/>
                <a:gd name="connsiteY4" fmla="*/ 214579 h 270500"/>
                <a:gd name="connsiteX5" fmla="*/ 166316 w 212616"/>
                <a:gd name="connsiteY5" fmla="*/ 233296 h 270500"/>
                <a:gd name="connsiteX6" fmla="*/ 157743 w 212616"/>
                <a:gd name="connsiteY6" fmla="*/ 244021 h 270500"/>
                <a:gd name="connsiteX7" fmla="*/ 152524 w 212616"/>
                <a:gd name="connsiteY7" fmla="*/ 261709 h 270500"/>
                <a:gd name="connsiteX8" fmla="*/ 141770 w 212616"/>
                <a:gd name="connsiteY8" fmla="*/ 270500 h 270500"/>
                <a:gd name="connsiteX9" fmla="*/ 103441 w 212616"/>
                <a:gd name="connsiteY9" fmla="*/ 243907 h 270500"/>
                <a:gd name="connsiteX10" fmla="*/ 101622 w 212616"/>
                <a:gd name="connsiteY10" fmla="*/ 228495 h 270500"/>
                <a:gd name="connsiteX11" fmla="*/ 4782 w 212616"/>
                <a:gd name="connsiteY11" fmla="*/ 174412 h 270500"/>
                <a:gd name="connsiteX12" fmla="*/ 267 w 212616"/>
                <a:gd name="connsiteY12" fmla="*/ 171498 h 270500"/>
                <a:gd name="connsiteX13" fmla="*/ 0 w 212616"/>
                <a:gd name="connsiteY13" fmla="*/ 143380 h 270500"/>
                <a:gd name="connsiteX14" fmla="*/ 7648 w 212616"/>
                <a:gd name="connsiteY14" fmla="*/ 132636 h 270500"/>
                <a:gd name="connsiteX15" fmla="*/ 20784 w 212616"/>
                <a:gd name="connsiteY15" fmla="*/ 115071 h 270500"/>
                <a:gd name="connsiteX16" fmla="*/ 30509 w 212616"/>
                <a:gd name="connsiteY16" fmla="*/ 95726 h 270500"/>
                <a:gd name="connsiteX17" fmla="*/ 18755 w 212616"/>
                <a:gd name="connsiteY17" fmla="*/ 65246 h 270500"/>
                <a:gd name="connsiteX18" fmla="*/ 15630 w 212616"/>
                <a:gd name="connsiteY18" fmla="*/ 51911 h 270500"/>
                <a:gd name="connsiteX19" fmla="*/ 2972 w 212616"/>
                <a:gd name="connsiteY19" fmla="*/ 33452 h 270500"/>
                <a:gd name="connsiteX20" fmla="*/ 19402 w 212616"/>
                <a:gd name="connsiteY20" fmla="*/ 17554 h 270500"/>
                <a:gd name="connsiteX21" fmla="*/ 37509 w 212616"/>
                <a:gd name="connsiteY21" fmla="*/ 0 h 270500"/>
                <a:gd name="connsiteX22" fmla="*/ 51378 w 212616"/>
                <a:gd name="connsiteY22" fmla="*/ 4477 h 270500"/>
                <a:gd name="connsiteX23" fmla="*/ 51378 w 212616"/>
                <a:gd name="connsiteY23" fmla="*/ 19421 h 270500"/>
                <a:gd name="connsiteX24" fmla="*/ 60503 w 212616"/>
                <a:gd name="connsiteY24" fmla="*/ 28184 h 270500"/>
                <a:gd name="connsiteX25" fmla="*/ 79086 w 212616"/>
                <a:gd name="connsiteY25" fmla="*/ 28184 h 270500"/>
                <a:gd name="connsiteX26" fmla="*/ 112890 w 212616"/>
                <a:gd name="connsiteY26" fmla="*/ 50768 h 270500"/>
                <a:gd name="connsiteX27" fmla="*/ 121329 w 212616"/>
                <a:gd name="connsiteY27" fmla="*/ 51035 h 270500"/>
                <a:gd name="connsiteX28" fmla="*/ 127588 w 212616"/>
                <a:gd name="connsiteY28" fmla="*/ 50302 h 270500"/>
                <a:gd name="connsiteX29" fmla="*/ 133502 w 212616"/>
                <a:gd name="connsiteY29" fmla="*/ 53369 h 270500"/>
                <a:gd name="connsiteX30" fmla="*/ 151314 w 212616"/>
                <a:gd name="connsiteY30" fmla="*/ 55464 h 270500"/>
                <a:gd name="connsiteX31" fmla="*/ 159201 w 212616"/>
                <a:gd name="connsiteY31" fmla="*/ 44387 h 270500"/>
                <a:gd name="connsiteX32" fmla="*/ 183604 w 212616"/>
                <a:gd name="connsiteY32" fmla="*/ 33261 h 270500"/>
                <a:gd name="connsiteX33" fmla="*/ 194367 w 212616"/>
                <a:gd name="connsiteY33" fmla="*/ 42243 h 270500"/>
                <a:gd name="connsiteX34" fmla="*/ 212617 w 212616"/>
                <a:gd name="connsiteY34" fmla="*/ 42253 h 270500"/>
                <a:gd name="connsiteX35" fmla="*/ 189281 w 212616"/>
                <a:gd name="connsiteY35" fmla="*/ 72400 h 27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2616" h="270500">
                  <a:moveTo>
                    <a:pt x="189595" y="169059"/>
                  </a:moveTo>
                  <a:lnTo>
                    <a:pt x="205416" y="190957"/>
                  </a:lnTo>
                  <a:lnTo>
                    <a:pt x="186709" y="201559"/>
                  </a:lnTo>
                  <a:lnTo>
                    <a:pt x="180108" y="212636"/>
                  </a:lnTo>
                  <a:lnTo>
                    <a:pt x="170107" y="214579"/>
                  </a:lnTo>
                  <a:lnTo>
                    <a:pt x="166316" y="233296"/>
                  </a:lnTo>
                  <a:lnTo>
                    <a:pt x="157743" y="244021"/>
                  </a:lnTo>
                  <a:lnTo>
                    <a:pt x="152524" y="261709"/>
                  </a:lnTo>
                  <a:lnTo>
                    <a:pt x="141770" y="270500"/>
                  </a:lnTo>
                  <a:lnTo>
                    <a:pt x="103441" y="243907"/>
                  </a:lnTo>
                  <a:lnTo>
                    <a:pt x="101622" y="228495"/>
                  </a:lnTo>
                  <a:lnTo>
                    <a:pt x="4782" y="174412"/>
                  </a:lnTo>
                  <a:lnTo>
                    <a:pt x="267" y="171498"/>
                  </a:lnTo>
                  <a:lnTo>
                    <a:pt x="0" y="143380"/>
                  </a:lnTo>
                  <a:lnTo>
                    <a:pt x="7648" y="132636"/>
                  </a:lnTo>
                  <a:lnTo>
                    <a:pt x="20784" y="115071"/>
                  </a:lnTo>
                  <a:lnTo>
                    <a:pt x="30509" y="95726"/>
                  </a:lnTo>
                  <a:lnTo>
                    <a:pt x="18755" y="65246"/>
                  </a:lnTo>
                  <a:lnTo>
                    <a:pt x="15630" y="51911"/>
                  </a:lnTo>
                  <a:lnTo>
                    <a:pt x="2972" y="33452"/>
                  </a:lnTo>
                  <a:lnTo>
                    <a:pt x="19402" y="17554"/>
                  </a:lnTo>
                  <a:lnTo>
                    <a:pt x="37509" y="0"/>
                  </a:lnTo>
                  <a:lnTo>
                    <a:pt x="51378" y="4477"/>
                  </a:lnTo>
                  <a:lnTo>
                    <a:pt x="51378" y="19421"/>
                  </a:lnTo>
                  <a:lnTo>
                    <a:pt x="60503" y="28184"/>
                  </a:lnTo>
                  <a:lnTo>
                    <a:pt x="79086" y="28184"/>
                  </a:lnTo>
                  <a:lnTo>
                    <a:pt x="112890" y="50768"/>
                  </a:lnTo>
                  <a:lnTo>
                    <a:pt x="121329" y="51035"/>
                  </a:lnTo>
                  <a:lnTo>
                    <a:pt x="127588" y="50302"/>
                  </a:lnTo>
                  <a:lnTo>
                    <a:pt x="133502" y="53369"/>
                  </a:lnTo>
                  <a:lnTo>
                    <a:pt x="151314" y="55464"/>
                  </a:lnTo>
                  <a:lnTo>
                    <a:pt x="159201" y="44387"/>
                  </a:lnTo>
                  <a:lnTo>
                    <a:pt x="183604" y="33261"/>
                  </a:lnTo>
                  <a:lnTo>
                    <a:pt x="194367" y="42243"/>
                  </a:lnTo>
                  <a:lnTo>
                    <a:pt x="212617" y="42253"/>
                  </a:lnTo>
                  <a:lnTo>
                    <a:pt x="189281" y="7240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5" name="Forme libre : forme 5734">
              <a:extLst>
                <a:ext uri="{FF2B5EF4-FFF2-40B4-BE49-F238E27FC236}">
                  <a16:creationId xmlns:a16="http://schemas.microsoft.com/office/drawing/2014/main" id="{F8A49575-E1F3-F169-ADFC-A5377C71F75C}"/>
                </a:ext>
              </a:extLst>
            </p:cNvPr>
            <p:cNvSpPr/>
            <p:nvPr/>
          </p:nvSpPr>
          <p:spPr>
            <a:xfrm>
              <a:off x="7676073" y="3464370"/>
              <a:ext cx="288302" cy="142370"/>
            </a:xfrm>
            <a:custGeom>
              <a:avLst/>
              <a:gdLst>
                <a:gd name="connsiteX0" fmla="*/ 39996 w 288302"/>
                <a:gd name="connsiteY0" fmla="*/ 37424 h 142370"/>
                <a:gd name="connsiteX1" fmla="*/ 45977 w 288302"/>
                <a:gd name="connsiteY1" fmla="*/ 21612 h 142370"/>
                <a:gd name="connsiteX2" fmla="*/ 63551 w 288302"/>
                <a:gd name="connsiteY2" fmla="*/ 16497 h 142370"/>
                <a:gd name="connsiteX3" fmla="*/ 107499 w 288302"/>
                <a:gd name="connsiteY3" fmla="*/ 28965 h 142370"/>
                <a:gd name="connsiteX4" fmla="*/ 111643 w 288302"/>
                <a:gd name="connsiteY4" fmla="*/ 7563 h 142370"/>
                <a:gd name="connsiteX5" fmla="*/ 126807 w 288302"/>
                <a:gd name="connsiteY5" fmla="*/ 0 h 142370"/>
                <a:gd name="connsiteX6" fmla="*/ 164840 w 288302"/>
                <a:gd name="connsiteY6" fmla="*/ 15326 h 142370"/>
                <a:gd name="connsiteX7" fmla="*/ 174546 w 288302"/>
                <a:gd name="connsiteY7" fmla="*/ 11316 h 142370"/>
                <a:gd name="connsiteX8" fmla="*/ 218827 w 288302"/>
                <a:gd name="connsiteY8" fmla="*/ 12316 h 142370"/>
                <a:gd name="connsiteX9" fmla="*/ 258452 w 288302"/>
                <a:gd name="connsiteY9" fmla="*/ 16116 h 142370"/>
                <a:gd name="connsiteX10" fmla="*/ 271853 w 288302"/>
                <a:gd name="connsiteY10" fmla="*/ 29118 h 142370"/>
                <a:gd name="connsiteX11" fmla="*/ 288303 w 288302"/>
                <a:gd name="connsiteY11" fmla="*/ 34404 h 142370"/>
                <a:gd name="connsiteX12" fmla="*/ 284550 w 288302"/>
                <a:gd name="connsiteY12" fmla="*/ 42529 h 142370"/>
                <a:gd name="connsiteX13" fmla="*/ 242469 w 288302"/>
                <a:gd name="connsiteY13" fmla="*/ 61884 h 142370"/>
                <a:gd name="connsiteX14" fmla="*/ 232953 w 288302"/>
                <a:gd name="connsiteY14" fmla="*/ 75962 h 142370"/>
                <a:gd name="connsiteX15" fmla="*/ 198692 w 288302"/>
                <a:gd name="connsiteY15" fmla="*/ 80153 h 142370"/>
                <a:gd name="connsiteX16" fmla="*/ 188586 w 288302"/>
                <a:gd name="connsiteY16" fmla="*/ 102575 h 142370"/>
                <a:gd name="connsiteX17" fmla="*/ 160325 w 288302"/>
                <a:gd name="connsiteY17" fmla="*/ 97889 h 142370"/>
                <a:gd name="connsiteX18" fmla="*/ 141866 w 288302"/>
                <a:gd name="connsiteY18" fmla="*/ 104727 h 142370"/>
                <a:gd name="connsiteX19" fmla="*/ 116367 w 288302"/>
                <a:gd name="connsiteY19" fmla="*/ 121168 h 142370"/>
                <a:gd name="connsiteX20" fmla="*/ 120053 w 288302"/>
                <a:gd name="connsiteY20" fmla="*/ 129264 h 142370"/>
                <a:gd name="connsiteX21" fmla="*/ 112452 w 288302"/>
                <a:gd name="connsiteY21" fmla="*/ 137160 h 142370"/>
                <a:gd name="connsiteX22" fmla="*/ 61951 w 288302"/>
                <a:gd name="connsiteY22" fmla="*/ 142370 h 142370"/>
                <a:gd name="connsiteX23" fmla="*/ 28966 w 288302"/>
                <a:gd name="connsiteY23" fmla="*/ 131188 h 142370"/>
                <a:gd name="connsiteX24" fmla="*/ 0 w 288302"/>
                <a:gd name="connsiteY24" fmla="*/ 133864 h 142370"/>
                <a:gd name="connsiteX25" fmla="*/ 2534 w 288302"/>
                <a:gd name="connsiteY25" fmla="*/ 113900 h 142370"/>
                <a:gd name="connsiteX26" fmla="*/ 31604 w 288302"/>
                <a:gd name="connsiteY26" fmla="*/ 119710 h 142370"/>
                <a:gd name="connsiteX27" fmla="*/ 41377 w 288302"/>
                <a:gd name="connsiteY27" fmla="*/ 108985 h 142370"/>
                <a:gd name="connsiteX28" fmla="*/ 61694 w 288302"/>
                <a:gd name="connsiteY28" fmla="*/ 112414 h 142370"/>
                <a:gd name="connsiteX29" fmla="*/ 95898 w 288302"/>
                <a:gd name="connsiteY29" fmla="*/ 87220 h 142370"/>
                <a:gd name="connsiteX30" fmla="*/ 64247 w 288302"/>
                <a:gd name="connsiteY30" fmla="*/ 68609 h 142370"/>
                <a:gd name="connsiteX31" fmla="*/ 45225 w 288302"/>
                <a:gd name="connsiteY31" fmla="*/ 77438 h 142370"/>
                <a:gd name="connsiteX32" fmla="*/ 25508 w 288302"/>
                <a:gd name="connsiteY32" fmla="*/ 64094 h 142370"/>
                <a:gd name="connsiteX33" fmla="*/ 47930 w 288302"/>
                <a:gd name="connsiteY33" fmla="*/ 40957 h 14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88302" h="142370">
                  <a:moveTo>
                    <a:pt x="39996" y="37424"/>
                  </a:moveTo>
                  <a:lnTo>
                    <a:pt x="45977" y="21612"/>
                  </a:lnTo>
                  <a:lnTo>
                    <a:pt x="63551" y="16497"/>
                  </a:lnTo>
                  <a:lnTo>
                    <a:pt x="107499" y="28965"/>
                  </a:lnTo>
                  <a:lnTo>
                    <a:pt x="111643" y="7563"/>
                  </a:lnTo>
                  <a:lnTo>
                    <a:pt x="126807" y="0"/>
                  </a:lnTo>
                  <a:lnTo>
                    <a:pt x="164840" y="15326"/>
                  </a:lnTo>
                  <a:lnTo>
                    <a:pt x="174546" y="11316"/>
                  </a:lnTo>
                  <a:lnTo>
                    <a:pt x="218827" y="12316"/>
                  </a:lnTo>
                  <a:lnTo>
                    <a:pt x="258452" y="16116"/>
                  </a:lnTo>
                  <a:lnTo>
                    <a:pt x="271853" y="29118"/>
                  </a:lnTo>
                  <a:lnTo>
                    <a:pt x="288303" y="34404"/>
                  </a:lnTo>
                  <a:lnTo>
                    <a:pt x="284550" y="42529"/>
                  </a:lnTo>
                  <a:lnTo>
                    <a:pt x="242469" y="61884"/>
                  </a:lnTo>
                  <a:lnTo>
                    <a:pt x="232953" y="75962"/>
                  </a:lnTo>
                  <a:lnTo>
                    <a:pt x="198692" y="80153"/>
                  </a:lnTo>
                  <a:lnTo>
                    <a:pt x="188586" y="102575"/>
                  </a:lnTo>
                  <a:lnTo>
                    <a:pt x="160325" y="97889"/>
                  </a:lnTo>
                  <a:lnTo>
                    <a:pt x="141866" y="104727"/>
                  </a:lnTo>
                  <a:lnTo>
                    <a:pt x="116367" y="121168"/>
                  </a:lnTo>
                  <a:lnTo>
                    <a:pt x="120053" y="129264"/>
                  </a:lnTo>
                  <a:lnTo>
                    <a:pt x="112452" y="137160"/>
                  </a:lnTo>
                  <a:lnTo>
                    <a:pt x="61951" y="142370"/>
                  </a:lnTo>
                  <a:lnTo>
                    <a:pt x="28966" y="131188"/>
                  </a:lnTo>
                  <a:lnTo>
                    <a:pt x="0" y="133864"/>
                  </a:lnTo>
                  <a:lnTo>
                    <a:pt x="2534" y="113900"/>
                  </a:lnTo>
                  <a:lnTo>
                    <a:pt x="31604" y="119710"/>
                  </a:lnTo>
                  <a:lnTo>
                    <a:pt x="41377" y="108985"/>
                  </a:lnTo>
                  <a:lnTo>
                    <a:pt x="61694" y="112414"/>
                  </a:lnTo>
                  <a:lnTo>
                    <a:pt x="95898" y="87220"/>
                  </a:lnTo>
                  <a:lnTo>
                    <a:pt x="64247" y="68609"/>
                  </a:lnTo>
                  <a:lnTo>
                    <a:pt x="45225" y="77438"/>
                  </a:lnTo>
                  <a:lnTo>
                    <a:pt x="25508" y="64094"/>
                  </a:lnTo>
                  <a:lnTo>
                    <a:pt x="47930" y="4095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6" name="Forme libre : forme 5735">
              <a:extLst>
                <a:ext uri="{FF2B5EF4-FFF2-40B4-BE49-F238E27FC236}">
                  <a16:creationId xmlns:a16="http://schemas.microsoft.com/office/drawing/2014/main" id="{6E6FEE98-6C5B-2CE9-4F96-7126E009E1A6}"/>
                </a:ext>
              </a:extLst>
            </p:cNvPr>
            <p:cNvSpPr/>
            <p:nvPr/>
          </p:nvSpPr>
          <p:spPr>
            <a:xfrm>
              <a:off x="8554278" y="4351833"/>
              <a:ext cx="140646" cy="111051"/>
            </a:xfrm>
            <a:custGeom>
              <a:avLst/>
              <a:gdLst>
                <a:gd name="connsiteX0" fmla="*/ 30689 w 140646"/>
                <a:gd name="connsiteY0" fmla="*/ 107109 h 111051"/>
                <a:gd name="connsiteX1" fmla="*/ 19831 w 140646"/>
                <a:gd name="connsiteY1" fmla="*/ 93031 h 111051"/>
                <a:gd name="connsiteX2" fmla="*/ 6325 w 140646"/>
                <a:gd name="connsiteY2" fmla="*/ 65037 h 111051"/>
                <a:gd name="connsiteX3" fmla="*/ 0 w 140646"/>
                <a:gd name="connsiteY3" fmla="*/ 32175 h 111051"/>
                <a:gd name="connsiteX4" fmla="*/ 17107 w 140646"/>
                <a:gd name="connsiteY4" fmla="*/ 9458 h 111051"/>
                <a:gd name="connsiteX5" fmla="*/ 51635 w 140646"/>
                <a:gd name="connsiteY5" fmla="*/ 4220 h 111051"/>
                <a:gd name="connsiteX6" fmla="*/ 76667 w 140646"/>
                <a:gd name="connsiteY6" fmla="*/ 8153 h 111051"/>
                <a:gd name="connsiteX7" fmla="*/ 98708 w 140646"/>
                <a:gd name="connsiteY7" fmla="*/ 18878 h 111051"/>
                <a:gd name="connsiteX8" fmla="*/ 110795 w 140646"/>
                <a:gd name="connsiteY8" fmla="*/ 0 h 111051"/>
                <a:gd name="connsiteX9" fmla="*/ 134455 w 140646"/>
                <a:gd name="connsiteY9" fmla="*/ 10087 h 111051"/>
                <a:gd name="connsiteX10" fmla="*/ 140646 w 140646"/>
                <a:gd name="connsiteY10" fmla="*/ 28318 h 111051"/>
                <a:gd name="connsiteX11" fmla="*/ 137360 w 140646"/>
                <a:gd name="connsiteY11" fmla="*/ 60950 h 111051"/>
                <a:gd name="connsiteX12" fmla="*/ 92469 w 140646"/>
                <a:gd name="connsiteY12" fmla="*/ 81820 h 111051"/>
                <a:gd name="connsiteX13" fmla="*/ 104194 w 140646"/>
                <a:gd name="connsiteY13" fmla="*/ 98212 h 111051"/>
                <a:gd name="connsiteX14" fmla="*/ 76162 w 140646"/>
                <a:gd name="connsiteY14" fmla="*/ 100174 h 111051"/>
                <a:gd name="connsiteX15" fmla="*/ 53045 w 140646"/>
                <a:gd name="connsiteY15" fmla="*/ 111052 h 111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0646" h="111051">
                  <a:moveTo>
                    <a:pt x="30689" y="107109"/>
                  </a:moveTo>
                  <a:lnTo>
                    <a:pt x="19831" y="93031"/>
                  </a:lnTo>
                  <a:lnTo>
                    <a:pt x="6325" y="65037"/>
                  </a:lnTo>
                  <a:lnTo>
                    <a:pt x="0" y="32175"/>
                  </a:lnTo>
                  <a:lnTo>
                    <a:pt x="17107" y="9458"/>
                  </a:lnTo>
                  <a:lnTo>
                    <a:pt x="51635" y="4220"/>
                  </a:lnTo>
                  <a:lnTo>
                    <a:pt x="76667" y="8153"/>
                  </a:lnTo>
                  <a:lnTo>
                    <a:pt x="98708" y="18878"/>
                  </a:lnTo>
                  <a:lnTo>
                    <a:pt x="110795" y="0"/>
                  </a:lnTo>
                  <a:lnTo>
                    <a:pt x="134455" y="10087"/>
                  </a:lnTo>
                  <a:lnTo>
                    <a:pt x="140646" y="28318"/>
                  </a:lnTo>
                  <a:lnTo>
                    <a:pt x="137360" y="60950"/>
                  </a:lnTo>
                  <a:lnTo>
                    <a:pt x="92469" y="81820"/>
                  </a:lnTo>
                  <a:lnTo>
                    <a:pt x="104194" y="98212"/>
                  </a:lnTo>
                  <a:lnTo>
                    <a:pt x="76162" y="100174"/>
                  </a:lnTo>
                  <a:lnTo>
                    <a:pt x="53045" y="11105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7" name="Forme libre : forme 5736">
              <a:extLst>
                <a:ext uri="{FF2B5EF4-FFF2-40B4-BE49-F238E27FC236}">
                  <a16:creationId xmlns:a16="http://schemas.microsoft.com/office/drawing/2014/main" id="{73EDDCA5-D378-DE61-3B8E-D67DF293407F}"/>
                </a:ext>
              </a:extLst>
            </p:cNvPr>
            <p:cNvSpPr/>
            <p:nvPr/>
          </p:nvSpPr>
          <p:spPr>
            <a:xfrm>
              <a:off x="9139628" y="3475781"/>
              <a:ext cx="173964" cy="185680"/>
            </a:xfrm>
            <a:custGeom>
              <a:avLst/>
              <a:gdLst>
                <a:gd name="connsiteX0" fmla="*/ 170230 w 173964"/>
                <a:gd name="connsiteY0" fmla="*/ 21374 h 185680"/>
                <a:gd name="connsiteX1" fmla="*/ 173964 w 173964"/>
                <a:gd name="connsiteY1" fmla="*/ 27670 h 185680"/>
                <a:gd name="connsiteX2" fmla="*/ 163820 w 173964"/>
                <a:gd name="connsiteY2" fmla="*/ 25517 h 185680"/>
                <a:gd name="connsiteX3" fmla="*/ 152229 w 173964"/>
                <a:gd name="connsiteY3" fmla="*/ 37662 h 185680"/>
                <a:gd name="connsiteX4" fmla="*/ 144256 w 173964"/>
                <a:gd name="connsiteY4" fmla="*/ 49797 h 185680"/>
                <a:gd name="connsiteX5" fmla="*/ 145266 w 173964"/>
                <a:gd name="connsiteY5" fmla="*/ 75209 h 185680"/>
                <a:gd name="connsiteX6" fmla="*/ 131464 w 173964"/>
                <a:gd name="connsiteY6" fmla="*/ 82982 h 185680"/>
                <a:gd name="connsiteX7" fmla="*/ 126711 w 173964"/>
                <a:gd name="connsiteY7" fmla="*/ 89154 h 185680"/>
                <a:gd name="connsiteX8" fmla="*/ 116643 w 173964"/>
                <a:gd name="connsiteY8" fmla="*/ 99470 h 185680"/>
                <a:gd name="connsiteX9" fmla="*/ 98860 w 173964"/>
                <a:gd name="connsiteY9" fmla="*/ 105194 h 185680"/>
                <a:gd name="connsiteX10" fmla="*/ 87268 w 173964"/>
                <a:gd name="connsiteY10" fmla="*/ 114500 h 185680"/>
                <a:gd name="connsiteX11" fmla="*/ 86430 w 173964"/>
                <a:gd name="connsiteY11" fmla="*/ 129435 h 185680"/>
                <a:gd name="connsiteX12" fmla="*/ 83315 w 173964"/>
                <a:gd name="connsiteY12" fmla="*/ 133236 h 185680"/>
                <a:gd name="connsiteX13" fmla="*/ 93945 w 173964"/>
                <a:gd name="connsiteY13" fmla="*/ 138808 h 185680"/>
                <a:gd name="connsiteX14" fmla="*/ 109071 w 173964"/>
                <a:gd name="connsiteY14" fmla="*/ 153781 h 185680"/>
                <a:gd name="connsiteX15" fmla="*/ 105223 w 173964"/>
                <a:gd name="connsiteY15" fmla="*/ 162001 h 185680"/>
                <a:gd name="connsiteX16" fmla="*/ 93850 w 173964"/>
                <a:gd name="connsiteY16" fmla="*/ 164239 h 185680"/>
                <a:gd name="connsiteX17" fmla="*/ 74980 w 173964"/>
                <a:gd name="connsiteY17" fmla="*/ 165878 h 185680"/>
                <a:gd name="connsiteX18" fmla="*/ 64570 w 173964"/>
                <a:gd name="connsiteY18" fmla="*/ 181118 h 185680"/>
                <a:gd name="connsiteX19" fmla="*/ 52654 w 173964"/>
                <a:gd name="connsiteY19" fmla="*/ 179918 h 185680"/>
                <a:gd name="connsiteX20" fmla="*/ 50978 w 173964"/>
                <a:gd name="connsiteY20" fmla="*/ 182966 h 185680"/>
                <a:gd name="connsiteX21" fmla="*/ 38014 w 173964"/>
                <a:gd name="connsiteY21" fmla="*/ 176565 h 185680"/>
                <a:gd name="connsiteX22" fmla="*/ 34785 w 173964"/>
                <a:gd name="connsiteY22" fmla="*/ 182889 h 185680"/>
                <a:gd name="connsiteX23" fmla="*/ 26965 w 173964"/>
                <a:gd name="connsiteY23" fmla="*/ 185680 h 185680"/>
                <a:gd name="connsiteX24" fmla="*/ 26022 w 173964"/>
                <a:gd name="connsiteY24" fmla="*/ 179346 h 185680"/>
                <a:gd name="connsiteX25" fmla="*/ 19107 w 173964"/>
                <a:gd name="connsiteY25" fmla="*/ 176260 h 185680"/>
                <a:gd name="connsiteX26" fmla="*/ 11925 w 173964"/>
                <a:gd name="connsiteY26" fmla="*/ 170879 h 185680"/>
                <a:gd name="connsiteX27" fmla="*/ 19231 w 173964"/>
                <a:gd name="connsiteY27" fmla="*/ 155953 h 185680"/>
                <a:gd name="connsiteX28" fmla="*/ 25527 w 173964"/>
                <a:gd name="connsiteY28" fmla="*/ 151952 h 185680"/>
                <a:gd name="connsiteX29" fmla="*/ 23155 w 173964"/>
                <a:gd name="connsiteY29" fmla="*/ 145723 h 185680"/>
                <a:gd name="connsiteX30" fmla="*/ 29927 w 173964"/>
                <a:gd name="connsiteY30" fmla="*/ 127235 h 185680"/>
                <a:gd name="connsiteX31" fmla="*/ 28184 w 173964"/>
                <a:gd name="connsiteY31" fmla="*/ 121596 h 185680"/>
                <a:gd name="connsiteX32" fmla="*/ 12592 w 173964"/>
                <a:gd name="connsiteY32" fmla="*/ 117843 h 185680"/>
                <a:gd name="connsiteX33" fmla="*/ 0 w 173964"/>
                <a:gd name="connsiteY33" fmla="*/ 108556 h 185680"/>
                <a:gd name="connsiteX34" fmla="*/ 21745 w 173964"/>
                <a:gd name="connsiteY34" fmla="*/ 86201 h 185680"/>
                <a:gd name="connsiteX35" fmla="*/ 51178 w 173964"/>
                <a:gd name="connsiteY35" fmla="*/ 67304 h 185680"/>
                <a:gd name="connsiteX36" fmla="*/ 69532 w 173964"/>
                <a:gd name="connsiteY36" fmla="*/ 42120 h 185680"/>
                <a:gd name="connsiteX37" fmla="*/ 82210 w 173964"/>
                <a:gd name="connsiteY37" fmla="*/ 53283 h 185680"/>
                <a:gd name="connsiteX38" fmla="*/ 105289 w 173964"/>
                <a:gd name="connsiteY38" fmla="*/ 54578 h 185680"/>
                <a:gd name="connsiteX39" fmla="*/ 101127 w 173964"/>
                <a:gd name="connsiteY39" fmla="*/ 35766 h 185680"/>
                <a:gd name="connsiteX40" fmla="*/ 142370 w 173964"/>
                <a:gd name="connsiteY40" fmla="*/ 20298 h 185680"/>
                <a:gd name="connsiteX41" fmla="*/ 152981 w 173964"/>
                <a:gd name="connsiteY41" fmla="*/ 0 h 18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73964" h="185680">
                  <a:moveTo>
                    <a:pt x="170230" y="21374"/>
                  </a:moveTo>
                  <a:lnTo>
                    <a:pt x="173964" y="27670"/>
                  </a:lnTo>
                  <a:lnTo>
                    <a:pt x="163820" y="25517"/>
                  </a:lnTo>
                  <a:lnTo>
                    <a:pt x="152229" y="37662"/>
                  </a:lnTo>
                  <a:lnTo>
                    <a:pt x="144256" y="49797"/>
                  </a:lnTo>
                  <a:lnTo>
                    <a:pt x="145266" y="75209"/>
                  </a:lnTo>
                  <a:lnTo>
                    <a:pt x="131464" y="82982"/>
                  </a:lnTo>
                  <a:lnTo>
                    <a:pt x="126711" y="89154"/>
                  </a:lnTo>
                  <a:lnTo>
                    <a:pt x="116643" y="99470"/>
                  </a:lnTo>
                  <a:lnTo>
                    <a:pt x="98860" y="105194"/>
                  </a:lnTo>
                  <a:lnTo>
                    <a:pt x="87268" y="114500"/>
                  </a:lnTo>
                  <a:lnTo>
                    <a:pt x="86430" y="129435"/>
                  </a:lnTo>
                  <a:lnTo>
                    <a:pt x="83315" y="133236"/>
                  </a:lnTo>
                  <a:lnTo>
                    <a:pt x="93945" y="138808"/>
                  </a:lnTo>
                  <a:lnTo>
                    <a:pt x="109071" y="153781"/>
                  </a:lnTo>
                  <a:lnTo>
                    <a:pt x="105223" y="162001"/>
                  </a:lnTo>
                  <a:lnTo>
                    <a:pt x="93850" y="164239"/>
                  </a:lnTo>
                  <a:lnTo>
                    <a:pt x="74980" y="165878"/>
                  </a:lnTo>
                  <a:lnTo>
                    <a:pt x="64570" y="181118"/>
                  </a:lnTo>
                  <a:lnTo>
                    <a:pt x="52654" y="179918"/>
                  </a:lnTo>
                  <a:lnTo>
                    <a:pt x="50978" y="182966"/>
                  </a:lnTo>
                  <a:lnTo>
                    <a:pt x="38014" y="176565"/>
                  </a:lnTo>
                  <a:lnTo>
                    <a:pt x="34785" y="182889"/>
                  </a:lnTo>
                  <a:lnTo>
                    <a:pt x="26965" y="185680"/>
                  </a:lnTo>
                  <a:lnTo>
                    <a:pt x="26022" y="179346"/>
                  </a:lnTo>
                  <a:lnTo>
                    <a:pt x="19107" y="176260"/>
                  </a:lnTo>
                  <a:lnTo>
                    <a:pt x="11925" y="170879"/>
                  </a:lnTo>
                  <a:lnTo>
                    <a:pt x="19231" y="155953"/>
                  </a:lnTo>
                  <a:lnTo>
                    <a:pt x="25527" y="151952"/>
                  </a:lnTo>
                  <a:lnTo>
                    <a:pt x="23155" y="145723"/>
                  </a:lnTo>
                  <a:lnTo>
                    <a:pt x="29927" y="127235"/>
                  </a:lnTo>
                  <a:lnTo>
                    <a:pt x="28184" y="121596"/>
                  </a:lnTo>
                  <a:lnTo>
                    <a:pt x="12592" y="117843"/>
                  </a:lnTo>
                  <a:lnTo>
                    <a:pt x="0" y="108556"/>
                  </a:lnTo>
                  <a:lnTo>
                    <a:pt x="21745" y="86201"/>
                  </a:lnTo>
                  <a:lnTo>
                    <a:pt x="51178" y="67304"/>
                  </a:lnTo>
                  <a:lnTo>
                    <a:pt x="69532" y="42120"/>
                  </a:lnTo>
                  <a:lnTo>
                    <a:pt x="82210" y="53283"/>
                  </a:lnTo>
                  <a:lnTo>
                    <a:pt x="105289" y="54578"/>
                  </a:lnTo>
                  <a:lnTo>
                    <a:pt x="101127" y="35766"/>
                  </a:lnTo>
                  <a:lnTo>
                    <a:pt x="142370" y="20298"/>
                  </a:lnTo>
                  <a:lnTo>
                    <a:pt x="152981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8" name="Forme libre : forme 5737">
              <a:extLst>
                <a:ext uri="{FF2B5EF4-FFF2-40B4-BE49-F238E27FC236}">
                  <a16:creationId xmlns:a16="http://schemas.microsoft.com/office/drawing/2014/main" id="{2CF9160D-9DB3-6D91-63FC-5D8D03CB4DE8}"/>
                </a:ext>
              </a:extLst>
            </p:cNvPr>
            <p:cNvSpPr/>
            <p:nvPr/>
          </p:nvSpPr>
          <p:spPr>
            <a:xfrm>
              <a:off x="9189072" y="3629562"/>
              <a:ext cx="89496" cy="139741"/>
            </a:xfrm>
            <a:custGeom>
              <a:avLst/>
              <a:gdLst>
                <a:gd name="connsiteX0" fmla="*/ 59627 w 89496"/>
                <a:gd name="connsiteY0" fmla="*/ 0 h 139741"/>
                <a:gd name="connsiteX1" fmla="*/ 82677 w 89496"/>
                <a:gd name="connsiteY1" fmla="*/ 39834 h 139741"/>
                <a:gd name="connsiteX2" fmla="*/ 89288 w 89496"/>
                <a:gd name="connsiteY2" fmla="*/ 61455 h 139741"/>
                <a:gd name="connsiteX3" fmla="*/ 89497 w 89496"/>
                <a:gd name="connsiteY3" fmla="*/ 99413 h 139741"/>
                <a:gd name="connsiteX4" fmla="*/ 79429 w 89496"/>
                <a:gd name="connsiteY4" fmla="*/ 117338 h 139741"/>
                <a:gd name="connsiteX5" fmla="*/ 55245 w 89496"/>
                <a:gd name="connsiteY5" fmla="*/ 123568 h 139741"/>
                <a:gd name="connsiteX6" fmla="*/ 33900 w 89496"/>
                <a:gd name="connsiteY6" fmla="*/ 136979 h 139741"/>
                <a:gd name="connsiteX7" fmla="*/ 9840 w 89496"/>
                <a:gd name="connsiteY7" fmla="*/ 139741 h 139741"/>
                <a:gd name="connsiteX8" fmla="*/ 6858 w 89496"/>
                <a:gd name="connsiteY8" fmla="*/ 122139 h 139741"/>
                <a:gd name="connsiteX9" fmla="*/ 11802 w 89496"/>
                <a:gd name="connsiteY9" fmla="*/ 97698 h 139741"/>
                <a:gd name="connsiteX10" fmla="*/ 0 w 89496"/>
                <a:gd name="connsiteY10" fmla="*/ 63398 h 139741"/>
                <a:gd name="connsiteX11" fmla="*/ 19841 w 89496"/>
                <a:gd name="connsiteY11" fmla="*/ 57807 h 139741"/>
                <a:gd name="connsiteX12" fmla="*/ 1534 w 89496"/>
                <a:gd name="connsiteY12" fmla="*/ 29185 h 139741"/>
                <a:gd name="connsiteX13" fmla="*/ 3210 w 89496"/>
                <a:gd name="connsiteY13" fmla="*/ 26137 h 139741"/>
                <a:gd name="connsiteX14" fmla="*/ 15126 w 89496"/>
                <a:gd name="connsiteY14" fmla="*/ 27337 h 139741"/>
                <a:gd name="connsiteX15" fmla="*/ 25536 w 89496"/>
                <a:gd name="connsiteY15" fmla="*/ 12097 h 139741"/>
                <a:gd name="connsiteX16" fmla="*/ 44405 w 89496"/>
                <a:gd name="connsiteY16" fmla="*/ 10458 h 139741"/>
                <a:gd name="connsiteX17" fmla="*/ 55779 w 89496"/>
                <a:gd name="connsiteY17" fmla="*/ 8220 h 13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496" h="139741">
                  <a:moveTo>
                    <a:pt x="59627" y="0"/>
                  </a:moveTo>
                  <a:lnTo>
                    <a:pt x="82677" y="39834"/>
                  </a:lnTo>
                  <a:lnTo>
                    <a:pt x="89288" y="61455"/>
                  </a:lnTo>
                  <a:lnTo>
                    <a:pt x="89497" y="99413"/>
                  </a:lnTo>
                  <a:lnTo>
                    <a:pt x="79429" y="117338"/>
                  </a:lnTo>
                  <a:lnTo>
                    <a:pt x="55245" y="123568"/>
                  </a:lnTo>
                  <a:lnTo>
                    <a:pt x="33900" y="136979"/>
                  </a:lnTo>
                  <a:lnTo>
                    <a:pt x="9840" y="139741"/>
                  </a:lnTo>
                  <a:lnTo>
                    <a:pt x="6858" y="122139"/>
                  </a:lnTo>
                  <a:lnTo>
                    <a:pt x="11802" y="97698"/>
                  </a:lnTo>
                  <a:lnTo>
                    <a:pt x="0" y="63398"/>
                  </a:lnTo>
                  <a:lnTo>
                    <a:pt x="19841" y="57807"/>
                  </a:lnTo>
                  <a:lnTo>
                    <a:pt x="1534" y="29185"/>
                  </a:lnTo>
                  <a:lnTo>
                    <a:pt x="3210" y="26137"/>
                  </a:lnTo>
                  <a:lnTo>
                    <a:pt x="15126" y="27337"/>
                  </a:lnTo>
                  <a:lnTo>
                    <a:pt x="25536" y="12097"/>
                  </a:lnTo>
                  <a:lnTo>
                    <a:pt x="44405" y="10458"/>
                  </a:lnTo>
                  <a:lnTo>
                    <a:pt x="55779" y="822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9" name="Forme libre : forme 5738">
              <a:extLst>
                <a:ext uri="{FF2B5EF4-FFF2-40B4-BE49-F238E27FC236}">
                  <a16:creationId xmlns:a16="http://schemas.microsoft.com/office/drawing/2014/main" id="{44D7E7A6-CF25-DA91-EA8D-7AA27DDA22B1}"/>
                </a:ext>
              </a:extLst>
            </p:cNvPr>
            <p:cNvSpPr/>
            <p:nvPr/>
          </p:nvSpPr>
          <p:spPr>
            <a:xfrm>
              <a:off x="6356918" y="3465332"/>
              <a:ext cx="45519" cy="51482"/>
            </a:xfrm>
            <a:custGeom>
              <a:avLst/>
              <a:gdLst>
                <a:gd name="connsiteX0" fmla="*/ 18469 w 45519"/>
                <a:gd name="connsiteY0" fmla="*/ 44148 h 51482"/>
                <a:gd name="connsiteX1" fmla="*/ 17269 w 45519"/>
                <a:gd name="connsiteY1" fmla="*/ 51483 h 51482"/>
                <a:gd name="connsiteX2" fmla="*/ 13878 w 45519"/>
                <a:gd name="connsiteY2" fmla="*/ 51188 h 51482"/>
                <a:gd name="connsiteX3" fmla="*/ 12078 w 45519"/>
                <a:gd name="connsiteY3" fmla="*/ 38195 h 51482"/>
                <a:gd name="connsiteX4" fmla="*/ 5686 w 45519"/>
                <a:gd name="connsiteY4" fmla="*/ 34519 h 51482"/>
                <a:gd name="connsiteX5" fmla="*/ 0 w 45519"/>
                <a:gd name="connsiteY5" fmla="*/ 24841 h 51482"/>
                <a:gd name="connsiteX6" fmla="*/ 4991 w 45519"/>
                <a:gd name="connsiteY6" fmla="*/ 16726 h 51482"/>
                <a:gd name="connsiteX7" fmla="*/ 11382 w 45519"/>
                <a:gd name="connsiteY7" fmla="*/ 14116 h 51482"/>
                <a:gd name="connsiteX8" fmla="*/ 15078 w 45519"/>
                <a:gd name="connsiteY8" fmla="*/ 2019 h 51482"/>
                <a:gd name="connsiteX9" fmla="*/ 19869 w 45519"/>
                <a:gd name="connsiteY9" fmla="*/ 0 h 51482"/>
                <a:gd name="connsiteX10" fmla="*/ 23660 w 45519"/>
                <a:gd name="connsiteY10" fmla="*/ 5153 h 51482"/>
                <a:gd name="connsiteX11" fmla="*/ 28651 w 45519"/>
                <a:gd name="connsiteY11" fmla="*/ 7420 h 51482"/>
                <a:gd name="connsiteX12" fmla="*/ 32147 w 45519"/>
                <a:gd name="connsiteY12" fmla="*/ 13202 h 51482"/>
                <a:gd name="connsiteX13" fmla="*/ 36538 w 45519"/>
                <a:gd name="connsiteY13" fmla="*/ 14916 h 51482"/>
                <a:gd name="connsiteX14" fmla="*/ 41729 w 45519"/>
                <a:gd name="connsiteY14" fmla="*/ 21631 h 51482"/>
                <a:gd name="connsiteX15" fmla="*/ 45520 w 45519"/>
                <a:gd name="connsiteY15" fmla="*/ 21431 h 51482"/>
                <a:gd name="connsiteX16" fmla="*/ 42529 w 45519"/>
                <a:gd name="connsiteY16" fmla="*/ 30232 h 51482"/>
                <a:gd name="connsiteX17" fmla="*/ 39328 w 45519"/>
                <a:gd name="connsiteY17" fmla="*/ 34519 h 51482"/>
                <a:gd name="connsiteX18" fmla="*/ 40214 w 45519"/>
                <a:gd name="connsiteY18" fmla="*/ 37214 h 51482"/>
                <a:gd name="connsiteX19" fmla="*/ 34242 w 45519"/>
                <a:gd name="connsiteY19" fmla="*/ 38595 h 51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519" h="51482">
                  <a:moveTo>
                    <a:pt x="18469" y="44148"/>
                  </a:moveTo>
                  <a:lnTo>
                    <a:pt x="17269" y="51483"/>
                  </a:lnTo>
                  <a:lnTo>
                    <a:pt x="13878" y="51188"/>
                  </a:lnTo>
                  <a:lnTo>
                    <a:pt x="12078" y="38195"/>
                  </a:lnTo>
                  <a:lnTo>
                    <a:pt x="5686" y="34519"/>
                  </a:lnTo>
                  <a:lnTo>
                    <a:pt x="0" y="24841"/>
                  </a:lnTo>
                  <a:lnTo>
                    <a:pt x="4991" y="16726"/>
                  </a:lnTo>
                  <a:lnTo>
                    <a:pt x="11382" y="14116"/>
                  </a:lnTo>
                  <a:lnTo>
                    <a:pt x="15078" y="2019"/>
                  </a:lnTo>
                  <a:lnTo>
                    <a:pt x="19869" y="0"/>
                  </a:lnTo>
                  <a:lnTo>
                    <a:pt x="23660" y="5153"/>
                  </a:lnTo>
                  <a:lnTo>
                    <a:pt x="28651" y="7420"/>
                  </a:lnTo>
                  <a:lnTo>
                    <a:pt x="32147" y="13202"/>
                  </a:lnTo>
                  <a:lnTo>
                    <a:pt x="36538" y="14916"/>
                  </a:lnTo>
                  <a:lnTo>
                    <a:pt x="41729" y="21631"/>
                  </a:lnTo>
                  <a:lnTo>
                    <a:pt x="45520" y="21431"/>
                  </a:lnTo>
                  <a:lnTo>
                    <a:pt x="42529" y="30232"/>
                  </a:lnTo>
                  <a:lnTo>
                    <a:pt x="39328" y="34519"/>
                  </a:lnTo>
                  <a:lnTo>
                    <a:pt x="40214" y="37214"/>
                  </a:lnTo>
                  <a:lnTo>
                    <a:pt x="34242" y="385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0" name="Forme libre : forme 5739">
              <a:extLst>
                <a:ext uri="{FF2B5EF4-FFF2-40B4-BE49-F238E27FC236}">
                  <a16:creationId xmlns:a16="http://schemas.microsoft.com/office/drawing/2014/main" id="{17C5EEA0-D821-BF31-F914-8E4C3D865721}"/>
                </a:ext>
              </a:extLst>
            </p:cNvPr>
            <p:cNvSpPr/>
            <p:nvPr/>
          </p:nvSpPr>
          <p:spPr>
            <a:xfrm>
              <a:off x="7064597" y="3905425"/>
              <a:ext cx="49330" cy="46710"/>
            </a:xfrm>
            <a:custGeom>
              <a:avLst/>
              <a:gdLst>
                <a:gd name="connsiteX0" fmla="*/ 37548 w 49330"/>
                <a:gd name="connsiteY0" fmla="*/ 2562 h 46710"/>
                <a:gd name="connsiteX1" fmla="*/ 43119 w 49330"/>
                <a:gd name="connsiteY1" fmla="*/ 16069 h 46710"/>
                <a:gd name="connsiteX2" fmla="*/ 40729 w 49330"/>
                <a:gd name="connsiteY2" fmla="*/ 23031 h 46710"/>
                <a:gd name="connsiteX3" fmla="*/ 49330 w 49330"/>
                <a:gd name="connsiteY3" fmla="*/ 45929 h 46710"/>
                <a:gd name="connsiteX4" fmla="*/ 30442 w 49330"/>
                <a:gd name="connsiteY4" fmla="*/ 46711 h 46710"/>
                <a:gd name="connsiteX5" fmla="*/ 23793 w 49330"/>
                <a:gd name="connsiteY5" fmla="*/ 32271 h 46710"/>
                <a:gd name="connsiteX6" fmla="*/ 0 w 49330"/>
                <a:gd name="connsiteY6" fmla="*/ 29337 h 46710"/>
                <a:gd name="connsiteX7" fmla="*/ 19593 w 49330"/>
                <a:gd name="connsiteY7" fmla="*/ 0 h 4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330" h="46710">
                  <a:moveTo>
                    <a:pt x="37548" y="2562"/>
                  </a:moveTo>
                  <a:lnTo>
                    <a:pt x="43119" y="16069"/>
                  </a:lnTo>
                  <a:lnTo>
                    <a:pt x="40729" y="23031"/>
                  </a:lnTo>
                  <a:lnTo>
                    <a:pt x="49330" y="45929"/>
                  </a:lnTo>
                  <a:lnTo>
                    <a:pt x="30442" y="46711"/>
                  </a:lnTo>
                  <a:lnTo>
                    <a:pt x="23793" y="32271"/>
                  </a:lnTo>
                  <a:lnTo>
                    <a:pt x="0" y="29337"/>
                  </a:lnTo>
                  <a:lnTo>
                    <a:pt x="1959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1" name="Forme libre : forme 5740">
              <a:extLst>
                <a:ext uri="{FF2B5EF4-FFF2-40B4-BE49-F238E27FC236}">
                  <a16:creationId xmlns:a16="http://schemas.microsoft.com/office/drawing/2014/main" id="{8E8734BA-46D4-0618-4F18-4CD7D33C32D2}"/>
                </a:ext>
              </a:extLst>
            </p:cNvPr>
            <p:cNvSpPr/>
            <p:nvPr/>
          </p:nvSpPr>
          <p:spPr>
            <a:xfrm>
              <a:off x="7061863" y="2966889"/>
              <a:ext cx="1092126" cy="591854"/>
            </a:xfrm>
            <a:custGeom>
              <a:avLst/>
              <a:gdLst>
                <a:gd name="connsiteX0" fmla="*/ 654205 w 1092126"/>
                <a:gd name="connsiteY0" fmla="*/ 534905 h 591854"/>
                <a:gd name="connsiteX1" fmla="*/ 638889 w 1092126"/>
                <a:gd name="connsiteY1" fmla="*/ 541544 h 591854"/>
                <a:gd name="connsiteX2" fmla="*/ 603666 w 1092126"/>
                <a:gd name="connsiteY2" fmla="*/ 566395 h 591854"/>
                <a:gd name="connsiteX3" fmla="*/ 591978 w 1092126"/>
                <a:gd name="connsiteY3" fmla="*/ 591626 h 591854"/>
                <a:gd name="connsiteX4" fmla="*/ 582034 w 1092126"/>
                <a:gd name="connsiteY4" fmla="*/ 591855 h 591854"/>
                <a:gd name="connsiteX5" fmla="*/ 574710 w 1092126"/>
                <a:gd name="connsiteY5" fmla="*/ 575177 h 591854"/>
                <a:gd name="connsiteX6" fmla="*/ 540753 w 1092126"/>
                <a:gd name="connsiteY6" fmla="*/ 574034 h 591854"/>
                <a:gd name="connsiteX7" fmla="*/ 535314 w 1092126"/>
                <a:gd name="connsiteY7" fmla="*/ 544897 h 591854"/>
                <a:gd name="connsiteX8" fmla="*/ 522303 w 1092126"/>
                <a:gd name="connsiteY8" fmla="*/ 544649 h 591854"/>
                <a:gd name="connsiteX9" fmla="*/ 524294 w 1092126"/>
                <a:gd name="connsiteY9" fmla="*/ 508445 h 591854"/>
                <a:gd name="connsiteX10" fmla="*/ 492328 w 1092126"/>
                <a:gd name="connsiteY10" fmla="*/ 481708 h 591854"/>
                <a:gd name="connsiteX11" fmla="*/ 446522 w 1092126"/>
                <a:gd name="connsiteY11" fmla="*/ 484584 h 591854"/>
                <a:gd name="connsiteX12" fmla="*/ 415204 w 1092126"/>
                <a:gd name="connsiteY12" fmla="*/ 489928 h 591854"/>
                <a:gd name="connsiteX13" fmla="*/ 389696 w 1092126"/>
                <a:gd name="connsiteY13" fmla="*/ 456609 h 591854"/>
                <a:gd name="connsiteX14" fmla="*/ 367846 w 1092126"/>
                <a:gd name="connsiteY14" fmla="*/ 442474 h 591854"/>
                <a:gd name="connsiteX15" fmla="*/ 326450 w 1092126"/>
                <a:gd name="connsiteY15" fmla="*/ 415452 h 591854"/>
                <a:gd name="connsiteX16" fmla="*/ 321459 w 1092126"/>
                <a:gd name="connsiteY16" fmla="*/ 412156 h 591854"/>
                <a:gd name="connsiteX17" fmla="*/ 252707 w 1092126"/>
                <a:gd name="connsiteY17" fmla="*/ 434512 h 591854"/>
                <a:gd name="connsiteX18" fmla="*/ 253765 w 1092126"/>
                <a:gd name="connsiteY18" fmla="*/ 569071 h 591854"/>
                <a:gd name="connsiteX19" fmla="*/ 240059 w 1092126"/>
                <a:gd name="connsiteY19" fmla="*/ 570805 h 591854"/>
                <a:gd name="connsiteX20" fmla="*/ 221370 w 1092126"/>
                <a:gd name="connsiteY20" fmla="*/ 542877 h 591854"/>
                <a:gd name="connsiteX21" fmla="*/ 203320 w 1092126"/>
                <a:gd name="connsiteY21" fmla="*/ 532819 h 591854"/>
                <a:gd name="connsiteX22" fmla="*/ 173002 w 1092126"/>
                <a:gd name="connsiteY22" fmla="*/ 540296 h 591854"/>
                <a:gd name="connsiteX23" fmla="*/ 161201 w 1092126"/>
                <a:gd name="connsiteY23" fmla="*/ 552202 h 591854"/>
                <a:gd name="connsiteX24" fmla="*/ 159705 w 1092126"/>
                <a:gd name="connsiteY24" fmla="*/ 543487 h 591854"/>
                <a:gd name="connsiteX25" fmla="*/ 166268 w 1092126"/>
                <a:gd name="connsiteY25" fmla="*/ 528504 h 591854"/>
                <a:gd name="connsiteX26" fmla="*/ 161172 w 1092126"/>
                <a:gd name="connsiteY26" fmla="*/ 515912 h 591854"/>
                <a:gd name="connsiteX27" fmla="*/ 130226 w 1092126"/>
                <a:gd name="connsiteY27" fmla="*/ 503520 h 591854"/>
                <a:gd name="connsiteX28" fmla="*/ 118167 w 1092126"/>
                <a:gd name="connsiteY28" fmla="*/ 470525 h 591854"/>
                <a:gd name="connsiteX29" fmla="*/ 103422 w 1092126"/>
                <a:gd name="connsiteY29" fmla="*/ 461143 h 591854"/>
                <a:gd name="connsiteX30" fmla="*/ 102536 w 1092126"/>
                <a:gd name="connsiteY30" fmla="*/ 448989 h 591854"/>
                <a:gd name="connsiteX31" fmla="*/ 128511 w 1092126"/>
                <a:gd name="connsiteY31" fmla="*/ 452542 h 591854"/>
                <a:gd name="connsiteX32" fmla="*/ 129540 w 1092126"/>
                <a:gd name="connsiteY32" fmla="*/ 425082 h 591854"/>
                <a:gd name="connsiteX33" fmla="*/ 152247 w 1092126"/>
                <a:gd name="connsiteY33" fmla="*/ 418929 h 591854"/>
                <a:gd name="connsiteX34" fmla="*/ 175583 w 1092126"/>
                <a:gd name="connsiteY34" fmla="*/ 424586 h 591854"/>
                <a:gd name="connsiteX35" fmla="*/ 180394 w 1092126"/>
                <a:gd name="connsiteY35" fmla="*/ 387372 h 591854"/>
                <a:gd name="connsiteX36" fmla="*/ 175631 w 1092126"/>
                <a:gd name="connsiteY36" fmla="*/ 363426 h 591854"/>
                <a:gd name="connsiteX37" fmla="*/ 148904 w 1092126"/>
                <a:gd name="connsiteY37" fmla="*/ 365312 h 591854"/>
                <a:gd name="connsiteX38" fmla="*/ 126196 w 1092126"/>
                <a:gd name="connsiteY38" fmla="*/ 355797 h 591854"/>
                <a:gd name="connsiteX39" fmla="*/ 95278 w 1092126"/>
                <a:gd name="connsiteY39" fmla="*/ 372913 h 591854"/>
                <a:gd name="connsiteX40" fmla="*/ 70361 w 1092126"/>
                <a:gd name="connsiteY40" fmla="*/ 381019 h 591854"/>
                <a:gd name="connsiteX41" fmla="*/ 56797 w 1092126"/>
                <a:gd name="connsiteY41" fmla="*/ 374771 h 591854"/>
                <a:gd name="connsiteX42" fmla="*/ 59512 w 1092126"/>
                <a:gd name="connsiteY42" fmla="*/ 354749 h 591854"/>
                <a:gd name="connsiteX43" fmla="*/ 42491 w 1092126"/>
                <a:gd name="connsiteY43" fmla="*/ 328460 h 591854"/>
                <a:gd name="connsiteX44" fmla="*/ 22670 w 1092126"/>
                <a:gd name="connsiteY44" fmla="*/ 329565 h 591854"/>
                <a:gd name="connsiteX45" fmla="*/ 0 w 1092126"/>
                <a:gd name="connsiteY45" fmla="*/ 302543 h 591854"/>
                <a:gd name="connsiteX46" fmla="*/ 15411 w 1092126"/>
                <a:gd name="connsiteY46" fmla="*/ 271920 h 591854"/>
                <a:gd name="connsiteX47" fmla="*/ 7610 w 1092126"/>
                <a:gd name="connsiteY47" fmla="*/ 263595 h 591854"/>
                <a:gd name="connsiteX48" fmla="*/ 28927 w 1092126"/>
                <a:gd name="connsiteY48" fmla="*/ 218161 h 591854"/>
                <a:gd name="connsiteX49" fmla="*/ 56388 w 1092126"/>
                <a:gd name="connsiteY49" fmla="*/ 242278 h 591854"/>
                <a:gd name="connsiteX50" fmla="*/ 59712 w 1092126"/>
                <a:gd name="connsiteY50" fmla="*/ 211865 h 591854"/>
                <a:gd name="connsiteX51" fmla="*/ 114842 w 1092126"/>
                <a:gd name="connsiteY51" fmla="*/ 165678 h 591854"/>
                <a:gd name="connsiteX52" fmla="*/ 156562 w 1092126"/>
                <a:gd name="connsiteY52" fmla="*/ 164564 h 591854"/>
                <a:gd name="connsiteX53" fmla="*/ 215427 w 1092126"/>
                <a:gd name="connsiteY53" fmla="*/ 194110 h 591854"/>
                <a:gd name="connsiteX54" fmla="*/ 247049 w 1092126"/>
                <a:gd name="connsiteY54" fmla="*/ 211169 h 591854"/>
                <a:gd name="connsiteX55" fmla="*/ 275387 w 1092126"/>
                <a:gd name="connsiteY55" fmla="*/ 193377 h 591854"/>
                <a:gd name="connsiteX56" fmla="*/ 317725 w 1092126"/>
                <a:gd name="connsiteY56" fmla="*/ 192529 h 591854"/>
                <a:gd name="connsiteX57" fmla="*/ 351882 w 1092126"/>
                <a:gd name="connsiteY57" fmla="*/ 214360 h 591854"/>
                <a:gd name="connsiteX58" fmla="*/ 359645 w 1092126"/>
                <a:gd name="connsiteY58" fmla="*/ 201882 h 591854"/>
                <a:gd name="connsiteX59" fmla="*/ 397154 w 1092126"/>
                <a:gd name="connsiteY59" fmla="*/ 203702 h 591854"/>
                <a:gd name="connsiteX60" fmla="*/ 403850 w 1092126"/>
                <a:gd name="connsiteY60" fmla="*/ 183642 h 591854"/>
                <a:gd name="connsiteX61" fmla="*/ 360569 w 1092126"/>
                <a:gd name="connsiteY61" fmla="*/ 154143 h 591854"/>
                <a:gd name="connsiteX62" fmla="*/ 386200 w 1092126"/>
                <a:gd name="connsiteY62" fmla="*/ 132969 h 591854"/>
                <a:gd name="connsiteX63" fmla="*/ 381200 w 1092126"/>
                <a:gd name="connsiteY63" fmla="*/ 121025 h 591854"/>
                <a:gd name="connsiteX64" fmla="*/ 406841 w 1092126"/>
                <a:gd name="connsiteY64" fmla="*/ 109556 h 591854"/>
                <a:gd name="connsiteX65" fmla="*/ 387562 w 1092126"/>
                <a:gd name="connsiteY65" fmla="*/ 79000 h 591854"/>
                <a:gd name="connsiteX66" fmla="*/ 399802 w 1092126"/>
                <a:gd name="connsiteY66" fmla="*/ 63589 h 591854"/>
                <a:gd name="connsiteX67" fmla="*/ 499739 w 1092126"/>
                <a:gd name="connsiteY67" fmla="*/ 47749 h 591854"/>
                <a:gd name="connsiteX68" fmla="*/ 512778 w 1092126"/>
                <a:gd name="connsiteY68" fmla="*/ 36414 h 591854"/>
                <a:gd name="connsiteX69" fmla="*/ 579605 w 1092126"/>
                <a:gd name="connsiteY69" fmla="*/ 19355 h 591854"/>
                <a:gd name="connsiteX70" fmla="*/ 603618 w 1092126"/>
                <a:gd name="connsiteY70" fmla="*/ 0 h 591854"/>
                <a:gd name="connsiteX71" fmla="*/ 651614 w 1092126"/>
                <a:gd name="connsiteY71" fmla="*/ 10077 h 591854"/>
                <a:gd name="connsiteX72" fmla="*/ 660025 w 1092126"/>
                <a:gd name="connsiteY72" fmla="*/ 57817 h 591854"/>
                <a:gd name="connsiteX73" fmla="*/ 687905 w 1092126"/>
                <a:gd name="connsiteY73" fmla="*/ 46720 h 591854"/>
                <a:gd name="connsiteX74" fmla="*/ 722204 w 1092126"/>
                <a:gd name="connsiteY74" fmla="*/ 62256 h 591854"/>
                <a:gd name="connsiteX75" fmla="*/ 719994 w 1092126"/>
                <a:gd name="connsiteY75" fmla="*/ 86858 h 591854"/>
                <a:gd name="connsiteX76" fmla="*/ 745607 w 1092126"/>
                <a:gd name="connsiteY76" fmla="*/ 84306 h 591854"/>
                <a:gd name="connsiteX77" fmla="*/ 812539 w 1092126"/>
                <a:gd name="connsiteY77" fmla="*/ 41500 h 591854"/>
                <a:gd name="connsiteX78" fmla="*/ 802767 w 1092126"/>
                <a:gd name="connsiteY78" fmla="*/ 55826 h 591854"/>
                <a:gd name="connsiteX79" fmla="*/ 836847 w 1092126"/>
                <a:gd name="connsiteY79" fmla="*/ 90678 h 591854"/>
                <a:gd name="connsiteX80" fmla="*/ 896521 w 1092126"/>
                <a:gd name="connsiteY80" fmla="*/ 200939 h 591854"/>
                <a:gd name="connsiteX81" fmla="*/ 910752 w 1092126"/>
                <a:gd name="connsiteY81" fmla="*/ 178718 h 591854"/>
                <a:gd name="connsiteX82" fmla="*/ 947547 w 1092126"/>
                <a:gd name="connsiteY82" fmla="*/ 203149 h 591854"/>
                <a:gd name="connsiteX83" fmla="*/ 985923 w 1092126"/>
                <a:gd name="connsiteY83" fmla="*/ 192291 h 591854"/>
                <a:gd name="connsiteX84" fmla="*/ 1000667 w 1092126"/>
                <a:gd name="connsiteY84" fmla="*/ 199901 h 591854"/>
                <a:gd name="connsiteX85" fmla="*/ 1013517 w 1092126"/>
                <a:gd name="connsiteY85" fmla="*/ 224152 h 591854"/>
                <a:gd name="connsiteX86" fmla="*/ 1032186 w 1092126"/>
                <a:gd name="connsiteY86" fmla="*/ 232229 h 591854"/>
                <a:gd name="connsiteX87" fmla="*/ 1043559 w 1092126"/>
                <a:gd name="connsiteY87" fmla="*/ 249784 h 591854"/>
                <a:gd name="connsiteX88" fmla="*/ 1077963 w 1092126"/>
                <a:gd name="connsiteY88" fmla="*/ 244269 h 591854"/>
                <a:gd name="connsiteX89" fmla="*/ 1092127 w 1092126"/>
                <a:gd name="connsiteY89" fmla="*/ 269357 h 591854"/>
                <a:gd name="connsiteX90" fmla="*/ 1071800 w 1092126"/>
                <a:gd name="connsiteY90" fmla="*/ 296323 h 591854"/>
                <a:gd name="connsiteX91" fmla="*/ 1049617 w 1092126"/>
                <a:gd name="connsiteY91" fmla="*/ 300076 h 591854"/>
                <a:gd name="connsiteX92" fmla="*/ 1048350 w 1092126"/>
                <a:gd name="connsiteY92" fmla="*/ 339947 h 591854"/>
                <a:gd name="connsiteX93" fmla="*/ 1033491 w 1092126"/>
                <a:gd name="connsiteY93" fmla="*/ 357664 h 591854"/>
                <a:gd name="connsiteX94" fmla="*/ 980513 w 1092126"/>
                <a:gd name="connsiteY94" fmla="*/ 344776 h 591854"/>
                <a:gd name="connsiteX95" fmla="*/ 961244 w 1092126"/>
                <a:gd name="connsiteY95" fmla="*/ 413947 h 591854"/>
                <a:gd name="connsiteX96" fmla="*/ 947575 w 1092126"/>
                <a:gd name="connsiteY96" fmla="*/ 422386 h 591854"/>
                <a:gd name="connsiteX97" fmla="*/ 894664 w 1092126"/>
                <a:gd name="connsiteY97" fmla="*/ 437455 h 591854"/>
                <a:gd name="connsiteX98" fmla="*/ 918705 w 1092126"/>
                <a:gd name="connsiteY98" fmla="*/ 501787 h 591854"/>
                <a:gd name="connsiteX99" fmla="*/ 900379 w 1092126"/>
                <a:gd name="connsiteY99" fmla="*/ 511264 h 591854"/>
                <a:gd name="connsiteX100" fmla="*/ 902512 w 1092126"/>
                <a:gd name="connsiteY100" fmla="*/ 531886 h 591854"/>
                <a:gd name="connsiteX101" fmla="*/ 886063 w 1092126"/>
                <a:gd name="connsiteY101" fmla="*/ 526599 h 591854"/>
                <a:gd name="connsiteX102" fmla="*/ 872661 w 1092126"/>
                <a:gd name="connsiteY102" fmla="*/ 513597 h 591854"/>
                <a:gd name="connsiteX103" fmla="*/ 833037 w 1092126"/>
                <a:gd name="connsiteY103" fmla="*/ 509797 h 591854"/>
                <a:gd name="connsiteX104" fmla="*/ 788755 w 1092126"/>
                <a:gd name="connsiteY104" fmla="*/ 508797 h 591854"/>
                <a:gd name="connsiteX105" fmla="*/ 779050 w 1092126"/>
                <a:gd name="connsiteY105" fmla="*/ 512807 h 591854"/>
                <a:gd name="connsiteX106" fmla="*/ 741016 w 1092126"/>
                <a:gd name="connsiteY106" fmla="*/ 497481 h 591854"/>
                <a:gd name="connsiteX107" fmla="*/ 725852 w 1092126"/>
                <a:gd name="connsiteY107" fmla="*/ 505044 h 591854"/>
                <a:gd name="connsiteX108" fmla="*/ 721709 w 1092126"/>
                <a:gd name="connsiteY108" fmla="*/ 526447 h 591854"/>
                <a:gd name="connsiteX109" fmla="*/ 677760 w 1092126"/>
                <a:gd name="connsiteY109" fmla="*/ 513979 h 591854"/>
                <a:gd name="connsiteX110" fmla="*/ 660187 w 1092126"/>
                <a:gd name="connsiteY110" fmla="*/ 519093 h 59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1092126" h="591854">
                  <a:moveTo>
                    <a:pt x="654205" y="534905"/>
                  </a:moveTo>
                  <a:lnTo>
                    <a:pt x="638889" y="541544"/>
                  </a:lnTo>
                  <a:lnTo>
                    <a:pt x="603666" y="566395"/>
                  </a:lnTo>
                  <a:lnTo>
                    <a:pt x="591978" y="591626"/>
                  </a:lnTo>
                  <a:lnTo>
                    <a:pt x="582034" y="591855"/>
                  </a:lnTo>
                  <a:lnTo>
                    <a:pt x="574710" y="575177"/>
                  </a:lnTo>
                  <a:lnTo>
                    <a:pt x="540753" y="574034"/>
                  </a:lnTo>
                  <a:lnTo>
                    <a:pt x="535314" y="544897"/>
                  </a:lnTo>
                  <a:lnTo>
                    <a:pt x="522303" y="544649"/>
                  </a:lnTo>
                  <a:lnTo>
                    <a:pt x="524294" y="508445"/>
                  </a:lnTo>
                  <a:lnTo>
                    <a:pt x="492328" y="481708"/>
                  </a:lnTo>
                  <a:lnTo>
                    <a:pt x="446522" y="484584"/>
                  </a:lnTo>
                  <a:lnTo>
                    <a:pt x="415204" y="489928"/>
                  </a:lnTo>
                  <a:lnTo>
                    <a:pt x="389696" y="456609"/>
                  </a:lnTo>
                  <a:lnTo>
                    <a:pt x="367846" y="442474"/>
                  </a:lnTo>
                  <a:lnTo>
                    <a:pt x="326450" y="415452"/>
                  </a:lnTo>
                  <a:lnTo>
                    <a:pt x="321459" y="412156"/>
                  </a:lnTo>
                  <a:lnTo>
                    <a:pt x="252707" y="434512"/>
                  </a:lnTo>
                  <a:lnTo>
                    <a:pt x="253765" y="569071"/>
                  </a:lnTo>
                  <a:lnTo>
                    <a:pt x="240059" y="570805"/>
                  </a:lnTo>
                  <a:lnTo>
                    <a:pt x="221370" y="542877"/>
                  </a:lnTo>
                  <a:lnTo>
                    <a:pt x="203320" y="532819"/>
                  </a:lnTo>
                  <a:lnTo>
                    <a:pt x="173002" y="540296"/>
                  </a:lnTo>
                  <a:lnTo>
                    <a:pt x="161201" y="552202"/>
                  </a:lnTo>
                  <a:lnTo>
                    <a:pt x="159705" y="543487"/>
                  </a:lnTo>
                  <a:lnTo>
                    <a:pt x="166268" y="528504"/>
                  </a:lnTo>
                  <a:lnTo>
                    <a:pt x="161172" y="515912"/>
                  </a:lnTo>
                  <a:lnTo>
                    <a:pt x="130226" y="503520"/>
                  </a:lnTo>
                  <a:lnTo>
                    <a:pt x="118167" y="470525"/>
                  </a:lnTo>
                  <a:lnTo>
                    <a:pt x="103422" y="461143"/>
                  </a:lnTo>
                  <a:lnTo>
                    <a:pt x="102536" y="448989"/>
                  </a:lnTo>
                  <a:lnTo>
                    <a:pt x="128511" y="452542"/>
                  </a:lnTo>
                  <a:lnTo>
                    <a:pt x="129540" y="425082"/>
                  </a:lnTo>
                  <a:lnTo>
                    <a:pt x="152247" y="418929"/>
                  </a:lnTo>
                  <a:lnTo>
                    <a:pt x="175583" y="424586"/>
                  </a:lnTo>
                  <a:lnTo>
                    <a:pt x="180394" y="387372"/>
                  </a:lnTo>
                  <a:lnTo>
                    <a:pt x="175631" y="363426"/>
                  </a:lnTo>
                  <a:lnTo>
                    <a:pt x="148904" y="365312"/>
                  </a:lnTo>
                  <a:lnTo>
                    <a:pt x="126196" y="355797"/>
                  </a:lnTo>
                  <a:lnTo>
                    <a:pt x="95278" y="372913"/>
                  </a:lnTo>
                  <a:lnTo>
                    <a:pt x="70361" y="381019"/>
                  </a:lnTo>
                  <a:lnTo>
                    <a:pt x="56797" y="374771"/>
                  </a:lnTo>
                  <a:lnTo>
                    <a:pt x="59512" y="354749"/>
                  </a:lnTo>
                  <a:lnTo>
                    <a:pt x="42491" y="328460"/>
                  </a:lnTo>
                  <a:lnTo>
                    <a:pt x="22670" y="329565"/>
                  </a:lnTo>
                  <a:lnTo>
                    <a:pt x="0" y="302543"/>
                  </a:lnTo>
                  <a:lnTo>
                    <a:pt x="15411" y="271920"/>
                  </a:lnTo>
                  <a:lnTo>
                    <a:pt x="7610" y="263595"/>
                  </a:lnTo>
                  <a:lnTo>
                    <a:pt x="28927" y="218161"/>
                  </a:lnTo>
                  <a:lnTo>
                    <a:pt x="56388" y="242278"/>
                  </a:lnTo>
                  <a:lnTo>
                    <a:pt x="59712" y="211865"/>
                  </a:lnTo>
                  <a:lnTo>
                    <a:pt x="114842" y="165678"/>
                  </a:lnTo>
                  <a:lnTo>
                    <a:pt x="156562" y="164564"/>
                  </a:lnTo>
                  <a:lnTo>
                    <a:pt x="215427" y="194110"/>
                  </a:lnTo>
                  <a:lnTo>
                    <a:pt x="247049" y="211169"/>
                  </a:lnTo>
                  <a:lnTo>
                    <a:pt x="275387" y="193377"/>
                  </a:lnTo>
                  <a:lnTo>
                    <a:pt x="317725" y="192529"/>
                  </a:lnTo>
                  <a:lnTo>
                    <a:pt x="351882" y="214360"/>
                  </a:lnTo>
                  <a:lnTo>
                    <a:pt x="359645" y="201882"/>
                  </a:lnTo>
                  <a:lnTo>
                    <a:pt x="397154" y="203702"/>
                  </a:lnTo>
                  <a:lnTo>
                    <a:pt x="403850" y="183642"/>
                  </a:lnTo>
                  <a:lnTo>
                    <a:pt x="360569" y="154143"/>
                  </a:lnTo>
                  <a:lnTo>
                    <a:pt x="386200" y="132969"/>
                  </a:lnTo>
                  <a:lnTo>
                    <a:pt x="381200" y="121025"/>
                  </a:lnTo>
                  <a:lnTo>
                    <a:pt x="406841" y="109556"/>
                  </a:lnTo>
                  <a:lnTo>
                    <a:pt x="387562" y="79000"/>
                  </a:lnTo>
                  <a:lnTo>
                    <a:pt x="399802" y="63589"/>
                  </a:lnTo>
                  <a:lnTo>
                    <a:pt x="499739" y="47749"/>
                  </a:lnTo>
                  <a:lnTo>
                    <a:pt x="512778" y="36414"/>
                  </a:lnTo>
                  <a:lnTo>
                    <a:pt x="579605" y="19355"/>
                  </a:lnTo>
                  <a:lnTo>
                    <a:pt x="603618" y="0"/>
                  </a:lnTo>
                  <a:lnTo>
                    <a:pt x="651614" y="10077"/>
                  </a:lnTo>
                  <a:lnTo>
                    <a:pt x="660025" y="57817"/>
                  </a:lnTo>
                  <a:lnTo>
                    <a:pt x="687905" y="46720"/>
                  </a:lnTo>
                  <a:lnTo>
                    <a:pt x="722204" y="62256"/>
                  </a:lnTo>
                  <a:lnTo>
                    <a:pt x="719994" y="86858"/>
                  </a:lnTo>
                  <a:lnTo>
                    <a:pt x="745607" y="84306"/>
                  </a:lnTo>
                  <a:lnTo>
                    <a:pt x="812539" y="41500"/>
                  </a:lnTo>
                  <a:lnTo>
                    <a:pt x="802767" y="55826"/>
                  </a:lnTo>
                  <a:lnTo>
                    <a:pt x="836847" y="90678"/>
                  </a:lnTo>
                  <a:lnTo>
                    <a:pt x="896521" y="200939"/>
                  </a:lnTo>
                  <a:lnTo>
                    <a:pt x="910752" y="178718"/>
                  </a:lnTo>
                  <a:lnTo>
                    <a:pt x="947547" y="203149"/>
                  </a:lnTo>
                  <a:lnTo>
                    <a:pt x="985923" y="192291"/>
                  </a:lnTo>
                  <a:lnTo>
                    <a:pt x="1000667" y="199901"/>
                  </a:lnTo>
                  <a:lnTo>
                    <a:pt x="1013517" y="224152"/>
                  </a:lnTo>
                  <a:lnTo>
                    <a:pt x="1032186" y="232229"/>
                  </a:lnTo>
                  <a:lnTo>
                    <a:pt x="1043559" y="249784"/>
                  </a:lnTo>
                  <a:lnTo>
                    <a:pt x="1077963" y="244269"/>
                  </a:lnTo>
                  <a:lnTo>
                    <a:pt x="1092127" y="269357"/>
                  </a:lnTo>
                  <a:lnTo>
                    <a:pt x="1071800" y="296323"/>
                  </a:lnTo>
                  <a:lnTo>
                    <a:pt x="1049617" y="300076"/>
                  </a:lnTo>
                  <a:lnTo>
                    <a:pt x="1048350" y="339947"/>
                  </a:lnTo>
                  <a:lnTo>
                    <a:pt x="1033491" y="357664"/>
                  </a:lnTo>
                  <a:lnTo>
                    <a:pt x="980513" y="344776"/>
                  </a:lnTo>
                  <a:lnTo>
                    <a:pt x="961244" y="413947"/>
                  </a:lnTo>
                  <a:lnTo>
                    <a:pt x="947575" y="422386"/>
                  </a:lnTo>
                  <a:lnTo>
                    <a:pt x="894664" y="437455"/>
                  </a:lnTo>
                  <a:lnTo>
                    <a:pt x="918705" y="501787"/>
                  </a:lnTo>
                  <a:lnTo>
                    <a:pt x="900379" y="511264"/>
                  </a:lnTo>
                  <a:lnTo>
                    <a:pt x="902512" y="531886"/>
                  </a:lnTo>
                  <a:lnTo>
                    <a:pt x="886063" y="526599"/>
                  </a:lnTo>
                  <a:lnTo>
                    <a:pt x="872661" y="513597"/>
                  </a:lnTo>
                  <a:lnTo>
                    <a:pt x="833037" y="509797"/>
                  </a:lnTo>
                  <a:lnTo>
                    <a:pt x="788755" y="508797"/>
                  </a:lnTo>
                  <a:lnTo>
                    <a:pt x="779050" y="512807"/>
                  </a:lnTo>
                  <a:lnTo>
                    <a:pt x="741016" y="497481"/>
                  </a:lnTo>
                  <a:lnTo>
                    <a:pt x="725852" y="505044"/>
                  </a:lnTo>
                  <a:lnTo>
                    <a:pt x="721709" y="526447"/>
                  </a:lnTo>
                  <a:lnTo>
                    <a:pt x="677760" y="513979"/>
                  </a:lnTo>
                  <a:lnTo>
                    <a:pt x="660187" y="5190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2" name="Forme libre : forme 5741">
              <a:extLst>
                <a:ext uri="{FF2B5EF4-FFF2-40B4-BE49-F238E27FC236}">
                  <a16:creationId xmlns:a16="http://schemas.microsoft.com/office/drawing/2014/main" id="{C16B8E8A-E9EB-2857-317B-0AD12F907BDE}"/>
                </a:ext>
              </a:extLst>
            </p:cNvPr>
            <p:cNvSpPr/>
            <p:nvPr/>
          </p:nvSpPr>
          <p:spPr>
            <a:xfrm>
              <a:off x="8494670" y="4130615"/>
              <a:ext cx="198920" cy="240096"/>
            </a:xfrm>
            <a:custGeom>
              <a:avLst/>
              <a:gdLst>
                <a:gd name="connsiteX0" fmla="*/ 136274 w 198920"/>
                <a:gd name="connsiteY0" fmla="*/ 229371 h 240096"/>
                <a:gd name="connsiteX1" fmla="*/ 144971 w 198920"/>
                <a:gd name="connsiteY1" fmla="*/ 217018 h 240096"/>
                <a:gd name="connsiteX2" fmla="*/ 146161 w 198920"/>
                <a:gd name="connsiteY2" fmla="*/ 193748 h 240096"/>
                <a:gd name="connsiteX3" fmla="*/ 124539 w 198920"/>
                <a:gd name="connsiteY3" fmla="*/ 169678 h 240096"/>
                <a:gd name="connsiteX4" fmla="*/ 122873 w 198920"/>
                <a:gd name="connsiteY4" fmla="*/ 142294 h 240096"/>
                <a:gd name="connsiteX5" fmla="*/ 102556 w 198920"/>
                <a:gd name="connsiteY5" fmla="*/ 119644 h 240096"/>
                <a:gd name="connsiteX6" fmla="*/ 82363 w 198920"/>
                <a:gd name="connsiteY6" fmla="*/ 117729 h 240096"/>
                <a:gd name="connsiteX7" fmla="*/ 76981 w 198920"/>
                <a:gd name="connsiteY7" fmla="*/ 127445 h 240096"/>
                <a:gd name="connsiteX8" fmla="*/ 61341 w 198920"/>
                <a:gd name="connsiteY8" fmla="*/ 128254 h 240096"/>
                <a:gd name="connsiteX9" fmla="*/ 53340 w 198920"/>
                <a:gd name="connsiteY9" fmla="*/ 123330 h 240096"/>
                <a:gd name="connsiteX10" fmla="*/ 25194 w 198920"/>
                <a:gd name="connsiteY10" fmla="*/ 139960 h 240096"/>
                <a:gd name="connsiteX11" fmla="*/ 24565 w 198920"/>
                <a:gd name="connsiteY11" fmla="*/ 114948 h 240096"/>
                <a:gd name="connsiteX12" fmla="*/ 31128 w 198920"/>
                <a:gd name="connsiteY12" fmla="*/ 85382 h 240096"/>
                <a:gd name="connsiteX13" fmla="*/ 13088 w 198920"/>
                <a:gd name="connsiteY13" fmla="*/ 84087 h 240096"/>
                <a:gd name="connsiteX14" fmla="*/ 11554 w 198920"/>
                <a:gd name="connsiteY14" fmla="*/ 67132 h 240096"/>
                <a:gd name="connsiteX15" fmla="*/ 0 w 198920"/>
                <a:gd name="connsiteY15" fmla="*/ 58398 h 240096"/>
                <a:gd name="connsiteX16" fmla="*/ 5686 w 198920"/>
                <a:gd name="connsiteY16" fmla="*/ 47958 h 240096"/>
                <a:gd name="connsiteX17" fmla="*/ 28413 w 198920"/>
                <a:gd name="connsiteY17" fmla="*/ 29442 h 240096"/>
                <a:gd name="connsiteX18" fmla="*/ 30813 w 198920"/>
                <a:gd name="connsiteY18" fmla="*/ 36138 h 240096"/>
                <a:gd name="connsiteX19" fmla="*/ 45053 w 198920"/>
                <a:gd name="connsiteY19" fmla="*/ 36909 h 240096"/>
                <a:gd name="connsiteX20" fmla="*/ 41024 w 198920"/>
                <a:gd name="connsiteY20" fmla="*/ 4210 h 240096"/>
                <a:gd name="connsiteX21" fmla="*/ 54864 w 198920"/>
                <a:gd name="connsiteY21" fmla="*/ 0 h 240096"/>
                <a:gd name="connsiteX22" fmla="*/ 70466 w 198920"/>
                <a:gd name="connsiteY22" fmla="*/ 22631 h 240096"/>
                <a:gd name="connsiteX23" fmla="*/ 82458 w 198920"/>
                <a:gd name="connsiteY23" fmla="*/ 48511 h 240096"/>
                <a:gd name="connsiteX24" fmla="*/ 115338 w 198920"/>
                <a:gd name="connsiteY24" fmla="*/ 48730 h 240096"/>
                <a:gd name="connsiteX25" fmla="*/ 125692 w 198920"/>
                <a:gd name="connsiteY25" fmla="*/ 73419 h 240096"/>
                <a:gd name="connsiteX26" fmla="*/ 108623 w 198920"/>
                <a:gd name="connsiteY26" fmla="*/ 80810 h 240096"/>
                <a:gd name="connsiteX27" fmla="*/ 100955 w 198920"/>
                <a:gd name="connsiteY27" fmla="*/ 90935 h 240096"/>
                <a:gd name="connsiteX28" fmla="*/ 132959 w 198920"/>
                <a:gd name="connsiteY28" fmla="*/ 107718 h 240096"/>
                <a:gd name="connsiteX29" fmla="*/ 155153 w 198920"/>
                <a:gd name="connsiteY29" fmla="*/ 140723 h 240096"/>
                <a:gd name="connsiteX30" fmla="*/ 171993 w 198920"/>
                <a:gd name="connsiteY30" fmla="*/ 165183 h 240096"/>
                <a:gd name="connsiteX31" fmla="*/ 192196 w 198920"/>
                <a:gd name="connsiteY31" fmla="*/ 184413 h 240096"/>
                <a:gd name="connsiteX32" fmla="*/ 198920 w 198920"/>
                <a:gd name="connsiteY32" fmla="*/ 203873 h 240096"/>
                <a:gd name="connsiteX33" fmla="*/ 194063 w 198920"/>
                <a:gd name="connsiteY33" fmla="*/ 231305 h 240096"/>
                <a:gd name="connsiteX34" fmla="*/ 170402 w 198920"/>
                <a:gd name="connsiteY34" fmla="*/ 221218 h 240096"/>
                <a:gd name="connsiteX35" fmla="*/ 158315 w 198920"/>
                <a:gd name="connsiteY35" fmla="*/ 240097 h 24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8920" h="240096">
                  <a:moveTo>
                    <a:pt x="136274" y="229371"/>
                  </a:moveTo>
                  <a:lnTo>
                    <a:pt x="144971" y="217018"/>
                  </a:lnTo>
                  <a:lnTo>
                    <a:pt x="146161" y="193748"/>
                  </a:lnTo>
                  <a:lnTo>
                    <a:pt x="124539" y="169678"/>
                  </a:lnTo>
                  <a:lnTo>
                    <a:pt x="122873" y="142294"/>
                  </a:lnTo>
                  <a:lnTo>
                    <a:pt x="102556" y="119644"/>
                  </a:lnTo>
                  <a:lnTo>
                    <a:pt x="82363" y="117729"/>
                  </a:lnTo>
                  <a:lnTo>
                    <a:pt x="76981" y="127445"/>
                  </a:lnTo>
                  <a:lnTo>
                    <a:pt x="61341" y="128254"/>
                  </a:lnTo>
                  <a:lnTo>
                    <a:pt x="53340" y="123330"/>
                  </a:lnTo>
                  <a:lnTo>
                    <a:pt x="25194" y="139960"/>
                  </a:lnTo>
                  <a:lnTo>
                    <a:pt x="24565" y="114948"/>
                  </a:lnTo>
                  <a:lnTo>
                    <a:pt x="31128" y="85382"/>
                  </a:lnTo>
                  <a:lnTo>
                    <a:pt x="13088" y="84087"/>
                  </a:lnTo>
                  <a:lnTo>
                    <a:pt x="11554" y="67132"/>
                  </a:lnTo>
                  <a:lnTo>
                    <a:pt x="0" y="58398"/>
                  </a:lnTo>
                  <a:lnTo>
                    <a:pt x="5686" y="47958"/>
                  </a:lnTo>
                  <a:lnTo>
                    <a:pt x="28413" y="29442"/>
                  </a:lnTo>
                  <a:lnTo>
                    <a:pt x="30813" y="36138"/>
                  </a:lnTo>
                  <a:lnTo>
                    <a:pt x="45053" y="36909"/>
                  </a:lnTo>
                  <a:lnTo>
                    <a:pt x="41024" y="4210"/>
                  </a:lnTo>
                  <a:lnTo>
                    <a:pt x="54864" y="0"/>
                  </a:lnTo>
                  <a:lnTo>
                    <a:pt x="70466" y="22631"/>
                  </a:lnTo>
                  <a:lnTo>
                    <a:pt x="82458" y="48511"/>
                  </a:lnTo>
                  <a:lnTo>
                    <a:pt x="115338" y="48730"/>
                  </a:lnTo>
                  <a:lnTo>
                    <a:pt x="125692" y="73419"/>
                  </a:lnTo>
                  <a:lnTo>
                    <a:pt x="108623" y="80810"/>
                  </a:lnTo>
                  <a:lnTo>
                    <a:pt x="100955" y="90935"/>
                  </a:lnTo>
                  <a:lnTo>
                    <a:pt x="132959" y="107718"/>
                  </a:lnTo>
                  <a:lnTo>
                    <a:pt x="155153" y="140723"/>
                  </a:lnTo>
                  <a:lnTo>
                    <a:pt x="171993" y="165183"/>
                  </a:lnTo>
                  <a:lnTo>
                    <a:pt x="192196" y="184413"/>
                  </a:lnTo>
                  <a:lnTo>
                    <a:pt x="198920" y="203873"/>
                  </a:lnTo>
                  <a:lnTo>
                    <a:pt x="194063" y="231305"/>
                  </a:lnTo>
                  <a:lnTo>
                    <a:pt x="170402" y="221218"/>
                  </a:lnTo>
                  <a:lnTo>
                    <a:pt x="158315" y="24009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3" name="Forme libre : forme 5742">
              <a:extLst>
                <a:ext uri="{FF2B5EF4-FFF2-40B4-BE49-F238E27FC236}">
                  <a16:creationId xmlns:a16="http://schemas.microsoft.com/office/drawing/2014/main" id="{2BB84391-723F-21EB-B2DA-22AC79888D67}"/>
                </a:ext>
              </a:extLst>
            </p:cNvPr>
            <p:cNvSpPr/>
            <p:nvPr/>
          </p:nvSpPr>
          <p:spPr>
            <a:xfrm>
              <a:off x="6758997" y="3761074"/>
              <a:ext cx="39680" cy="49815"/>
            </a:xfrm>
            <a:custGeom>
              <a:avLst/>
              <a:gdLst>
                <a:gd name="connsiteX0" fmla="*/ 18564 w 39680"/>
                <a:gd name="connsiteY0" fmla="*/ 43834 h 49815"/>
                <a:gd name="connsiteX1" fmla="*/ 11401 w 39680"/>
                <a:gd name="connsiteY1" fmla="*/ 44253 h 49815"/>
                <a:gd name="connsiteX2" fmla="*/ 8944 w 39680"/>
                <a:gd name="connsiteY2" fmla="*/ 49816 h 49815"/>
                <a:gd name="connsiteX3" fmla="*/ 0 w 39680"/>
                <a:gd name="connsiteY3" fmla="*/ 49759 h 49815"/>
                <a:gd name="connsiteX4" fmla="*/ 9515 w 39680"/>
                <a:gd name="connsiteY4" fmla="*/ 23793 h 49815"/>
                <a:gd name="connsiteX5" fmla="*/ 22793 w 39680"/>
                <a:gd name="connsiteY5" fmla="*/ 1133 h 49815"/>
                <a:gd name="connsiteX6" fmla="*/ 23298 w 39680"/>
                <a:gd name="connsiteY6" fmla="*/ 0 h 49815"/>
                <a:gd name="connsiteX7" fmla="*/ 35309 w 39680"/>
                <a:gd name="connsiteY7" fmla="*/ 1648 h 49815"/>
                <a:gd name="connsiteX8" fmla="*/ 39681 w 39680"/>
                <a:gd name="connsiteY8" fmla="*/ 14288 h 49815"/>
                <a:gd name="connsiteX9" fmla="*/ 25117 w 39680"/>
                <a:gd name="connsiteY9" fmla="*/ 26375 h 49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80" h="49815">
                  <a:moveTo>
                    <a:pt x="18564" y="43834"/>
                  </a:moveTo>
                  <a:lnTo>
                    <a:pt x="11401" y="44253"/>
                  </a:lnTo>
                  <a:lnTo>
                    <a:pt x="8944" y="49816"/>
                  </a:lnTo>
                  <a:lnTo>
                    <a:pt x="0" y="49759"/>
                  </a:lnTo>
                  <a:lnTo>
                    <a:pt x="9515" y="23793"/>
                  </a:lnTo>
                  <a:lnTo>
                    <a:pt x="22793" y="1133"/>
                  </a:lnTo>
                  <a:lnTo>
                    <a:pt x="23298" y="0"/>
                  </a:lnTo>
                  <a:lnTo>
                    <a:pt x="35309" y="1648"/>
                  </a:lnTo>
                  <a:lnTo>
                    <a:pt x="39681" y="14288"/>
                  </a:lnTo>
                  <a:lnTo>
                    <a:pt x="25117" y="2637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4" name="Forme libre : forme 5743">
              <a:extLst>
                <a:ext uri="{FF2B5EF4-FFF2-40B4-BE49-F238E27FC236}">
                  <a16:creationId xmlns:a16="http://schemas.microsoft.com/office/drawing/2014/main" id="{3DEFC365-4D9B-FCD3-EC84-1CD12FF9F580}"/>
                </a:ext>
              </a:extLst>
            </p:cNvPr>
            <p:cNvSpPr/>
            <p:nvPr/>
          </p:nvSpPr>
          <p:spPr>
            <a:xfrm>
              <a:off x="7949288" y="4480745"/>
              <a:ext cx="55892" cy="103289"/>
            </a:xfrm>
            <a:custGeom>
              <a:avLst/>
              <a:gdLst>
                <a:gd name="connsiteX0" fmla="*/ 55893 w 55892"/>
                <a:gd name="connsiteY0" fmla="*/ 61760 h 103289"/>
                <a:gd name="connsiteX1" fmla="*/ 51873 w 55892"/>
                <a:gd name="connsiteY1" fmla="*/ 89592 h 103289"/>
                <a:gd name="connsiteX2" fmla="*/ 40681 w 55892"/>
                <a:gd name="connsiteY2" fmla="*/ 97184 h 103289"/>
                <a:gd name="connsiteX3" fmla="*/ 17450 w 55892"/>
                <a:gd name="connsiteY3" fmla="*/ 103289 h 103289"/>
                <a:gd name="connsiteX4" fmla="*/ 4734 w 55892"/>
                <a:gd name="connsiteY4" fmla="*/ 82067 h 103289"/>
                <a:gd name="connsiteX5" fmla="*/ 0 w 55892"/>
                <a:gd name="connsiteY5" fmla="*/ 43605 h 103289"/>
                <a:gd name="connsiteX6" fmla="*/ 12097 w 55892"/>
                <a:gd name="connsiteY6" fmla="*/ 0 h 103289"/>
                <a:gd name="connsiteX7" fmla="*/ 30547 w 55892"/>
                <a:gd name="connsiteY7" fmla="*/ 14945 h 103289"/>
                <a:gd name="connsiteX8" fmla="*/ 42986 w 55892"/>
                <a:gd name="connsiteY8" fmla="*/ 33852 h 10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892" h="103289">
                  <a:moveTo>
                    <a:pt x="55893" y="61760"/>
                  </a:moveTo>
                  <a:lnTo>
                    <a:pt x="51873" y="89592"/>
                  </a:lnTo>
                  <a:lnTo>
                    <a:pt x="40681" y="97184"/>
                  </a:lnTo>
                  <a:lnTo>
                    <a:pt x="17450" y="103289"/>
                  </a:lnTo>
                  <a:lnTo>
                    <a:pt x="4734" y="82067"/>
                  </a:lnTo>
                  <a:lnTo>
                    <a:pt x="0" y="43605"/>
                  </a:lnTo>
                  <a:lnTo>
                    <a:pt x="12097" y="0"/>
                  </a:lnTo>
                  <a:lnTo>
                    <a:pt x="30547" y="14945"/>
                  </a:lnTo>
                  <a:lnTo>
                    <a:pt x="42986" y="3385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5" name="Forme libre : forme 5744">
              <a:extLst>
                <a:ext uri="{FF2B5EF4-FFF2-40B4-BE49-F238E27FC236}">
                  <a16:creationId xmlns:a16="http://schemas.microsoft.com/office/drawing/2014/main" id="{1B835420-BE42-5AA7-1C88-B23DD35741BB}"/>
                </a:ext>
              </a:extLst>
            </p:cNvPr>
            <p:cNvSpPr/>
            <p:nvPr/>
          </p:nvSpPr>
          <p:spPr>
            <a:xfrm>
              <a:off x="5515403" y="4515225"/>
              <a:ext cx="104136" cy="111766"/>
            </a:xfrm>
            <a:custGeom>
              <a:avLst/>
              <a:gdLst>
                <a:gd name="connsiteX0" fmla="*/ 99527 w 104136"/>
                <a:gd name="connsiteY0" fmla="*/ 111538 h 111766"/>
                <a:gd name="connsiteX1" fmla="*/ 92535 w 104136"/>
                <a:gd name="connsiteY1" fmla="*/ 111766 h 111766"/>
                <a:gd name="connsiteX2" fmla="*/ 65008 w 104136"/>
                <a:gd name="connsiteY2" fmla="*/ 99079 h 111766"/>
                <a:gd name="connsiteX3" fmla="*/ 40739 w 104136"/>
                <a:gd name="connsiteY3" fmla="*/ 78800 h 111766"/>
                <a:gd name="connsiteX4" fmla="*/ 17983 w 104136"/>
                <a:gd name="connsiteY4" fmla="*/ 64218 h 111766"/>
                <a:gd name="connsiteX5" fmla="*/ 0 w 104136"/>
                <a:gd name="connsiteY5" fmla="*/ 46987 h 111766"/>
                <a:gd name="connsiteX6" fmla="*/ 6391 w 104136"/>
                <a:gd name="connsiteY6" fmla="*/ 38433 h 111766"/>
                <a:gd name="connsiteX7" fmla="*/ 7801 w 104136"/>
                <a:gd name="connsiteY7" fmla="*/ 30661 h 111766"/>
                <a:gd name="connsiteX8" fmla="*/ 19850 w 104136"/>
                <a:gd name="connsiteY8" fmla="*/ 16126 h 111766"/>
                <a:gd name="connsiteX9" fmla="*/ 32280 w 104136"/>
                <a:gd name="connsiteY9" fmla="*/ 3620 h 111766"/>
                <a:gd name="connsiteX10" fmla="*/ 37986 w 104136"/>
                <a:gd name="connsiteY10" fmla="*/ 3020 h 111766"/>
                <a:gd name="connsiteX11" fmla="*/ 44958 w 104136"/>
                <a:gd name="connsiteY11" fmla="*/ 0 h 111766"/>
                <a:gd name="connsiteX12" fmla="*/ 56131 w 104136"/>
                <a:gd name="connsiteY12" fmla="*/ 16421 h 111766"/>
                <a:gd name="connsiteX13" fmla="*/ 54359 w 104136"/>
                <a:gd name="connsiteY13" fmla="*/ 27175 h 111766"/>
                <a:gd name="connsiteX14" fmla="*/ 59560 w 104136"/>
                <a:gd name="connsiteY14" fmla="*/ 32871 h 111766"/>
                <a:gd name="connsiteX15" fmla="*/ 67113 w 104136"/>
                <a:gd name="connsiteY15" fmla="*/ 33004 h 111766"/>
                <a:gd name="connsiteX16" fmla="*/ 72552 w 104136"/>
                <a:gd name="connsiteY16" fmla="*/ 22222 h 111766"/>
                <a:gd name="connsiteX17" fmla="*/ 80105 w 104136"/>
                <a:gd name="connsiteY17" fmla="*/ 22917 h 111766"/>
                <a:gd name="connsiteX18" fmla="*/ 78877 w 104136"/>
                <a:gd name="connsiteY18" fmla="*/ 30690 h 111766"/>
                <a:gd name="connsiteX19" fmla="*/ 81544 w 104136"/>
                <a:gd name="connsiteY19" fmla="*/ 43625 h 111766"/>
                <a:gd name="connsiteX20" fmla="*/ 75743 w 104136"/>
                <a:gd name="connsiteY20" fmla="*/ 55483 h 111766"/>
                <a:gd name="connsiteX21" fmla="*/ 83525 w 104136"/>
                <a:gd name="connsiteY21" fmla="*/ 62817 h 111766"/>
                <a:gd name="connsiteX22" fmla="*/ 92012 w 104136"/>
                <a:gd name="connsiteY22" fmla="*/ 64599 h 111766"/>
                <a:gd name="connsiteX23" fmla="*/ 103318 w 104136"/>
                <a:gd name="connsiteY23" fmla="*/ 75772 h 111766"/>
                <a:gd name="connsiteX24" fmla="*/ 104137 w 104136"/>
                <a:gd name="connsiteY24" fmla="*/ 86268 h 111766"/>
                <a:gd name="connsiteX25" fmla="*/ 101584 w 104136"/>
                <a:gd name="connsiteY25" fmla="*/ 89611 h 11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04136" h="111766">
                  <a:moveTo>
                    <a:pt x="99527" y="111538"/>
                  </a:moveTo>
                  <a:lnTo>
                    <a:pt x="92535" y="111766"/>
                  </a:lnTo>
                  <a:lnTo>
                    <a:pt x="65008" y="99079"/>
                  </a:lnTo>
                  <a:lnTo>
                    <a:pt x="40739" y="78800"/>
                  </a:lnTo>
                  <a:lnTo>
                    <a:pt x="17983" y="64218"/>
                  </a:lnTo>
                  <a:lnTo>
                    <a:pt x="0" y="46987"/>
                  </a:lnTo>
                  <a:lnTo>
                    <a:pt x="6391" y="38433"/>
                  </a:lnTo>
                  <a:lnTo>
                    <a:pt x="7801" y="30661"/>
                  </a:lnTo>
                  <a:lnTo>
                    <a:pt x="19850" y="16126"/>
                  </a:lnTo>
                  <a:lnTo>
                    <a:pt x="32280" y="3620"/>
                  </a:lnTo>
                  <a:lnTo>
                    <a:pt x="37986" y="3020"/>
                  </a:lnTo>
                  <a:lnTo>
                    <a:pt x="44958" y="0"/>
                  </a:lnTo>
                  <a:lnTo>
                    <a:pt x="56131" y="16421"/>
                  </a:lnTo>
                  <a:lnTo>
                    <a:pt x="54359" y="27175"/>
                  </a:lnTo>
                  <a:lnTo>
                    <a:pt x="59560" y="32871"/>
                  </a:lnTo>
                  <a:lnTo>
                    <a:pt x="67113" y="33004"/>
                  </a:lnTo>
                  <a:lnTo>
                    <a:pt x="72552" y="22222"/>
                  </a:lnTo>
                  <a:lnTo>
                    <a:pt x="80105" y="22917"/>
                  </a:lnTo>
                  <a:lnTo>
                    <a:pt x="78877" y="30690"/>
                  </a:lnTo>
                  <a:lnTo>
                    <a:pt x="81544" y="43625"/>
                  </a:lnTo>
                  <a:lnTo>
                    <a:pt x="75743" y="55483"/>
                  </a:lnTo>
                  <a:lnTo>
                    <a:pt x="83525" y="62817"/>
                  </a:lnTo>
                  <a:lnTo>
                    <a:pt x="92012" y="64599"/>
                  </a:lnTo>
                  <a:lnTo>
                    <a:pt x="103318" y="75772"/>
                  </a:lnTo>
                  <a:lnTo>
                    <a:pt x="104137" y="86268"/>
                  </a:lnTo>
                  <a:lnTo>
                    <a:pt x="101584" y="896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6" name="Forme libre : forme 5745">
              <a:extLst>
                <a:ext uri="{FF2B5EF4-FFF2-40B4-BE49-F238E27FC236}">
                  <a16:creationId xmlns:a16="http://schemas.microsoft.com/office/drawing/2014/main" id="{D5F55B91-AFB8-9BE7-30A6-A1A9B9938CD0}"/>
                </a:ext>
              </a:extLst>
            </p:cNvPr>
            <p:cNvSpPr/>
            <p:nvPr/>
          </p:nvSpPr>
          <p:spPr>
            <a:xfrm>
              <a:off x="6541960" y="5536848"/>
              <a:ext cx="62121" cy="61083"/>
            </a:xfrm>
            <a:custGeom>
              <a:avLst/>
              <a:gdLst>
                <a:gd name="connsiteX0" fmla="*/ 52854 w 62121"/>
                <a:gd name="connsiteY0" fmla="*/ 9344 h 61083"/>
                <a:gd name="connsiteX1" fmla="*/ 62122 w 62121"/>
                <a:gd name="connsiteY1" fmla="*/ 18516 h 61083"/>
                <a:gd name="connsiteX2" fmla="*/ 53921 w 62121"/>
                <a:gd name="connsiteY2" fmla="*/ 33366 h 61083"/>
                <a:gd name="connsiteX3" fmla="*/ 49387 w 62121"/>
                <a:gd name="connsiteY3" fmla="*/ 43367 h 61083"/>
                <a:gd name="connsiteX4" fmla="*/ 34500 w 62121"/>
                <a:gd name="connsiteY4" fmla="*/ 48168 h 61083"/>
                <a:gd name="connsiteX5" fmla="*/ 29594 w 62121"/>
                <a:gd name="connsiteY5" fmla="*/ 58007 h 61083"/>
                <a:gd name="connsiteX6" fmla="*/ 20031 w 62121"/>
                <a:gd name="connsiteY6" fmla="*/ 61083 h 61083"/>
                <a:gd name="connsiteX7" fmla="*/ 0 w 62121"/>
                <a:gd name="connsiteY7" fmla="*/ 37414 h 61083"/>
                <a:gd name="connsiteX8" fmla="*/ 14240 w 62121"/>
                <a:gd name="connsiteY8" fmla="*/ 18069 h 61083"/>
                <a:gd name="connsiteX9" fmla="*/ 28708 w 62121"/>
                <a:gd name="connsiteY9" fmla="*/ 6182 h 61083"/>
                <a:gd name="connsiteX10" fmla="*/ 41196 w 62121"/>
                <a:gd name="connsiteY10" fmla="*/ 0 h 61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121" h="61083">
                  <a:moveTo>
                    <a:pt x="52854" y="9344"/>
                  </a:moveTo>
                  <a:lnTo>
                    <a:pt x="62122" y="18516"/>
                  </a:lnTo>
                  <a:lnTo>
                    <a:pt x="53921" y="33366"/>
                  </a:lnTo>
                  <a:lnTo>
                    <a:pt x="49387" y="43367"/>
                  </a:lnTo>
                  <a:lnTo>
                    <a:pt x="34500" y="48168"/>
                  </a:lnTo>
                  <a:lnTo>
                    <a:pt x="29594" y="58007"/>
                  </a:lnTo>
                  <a:lnTo>
                    <a:pt x="20031" y="61083"/>
                  </a:lnTo>
                  <a:lnTo>
                    <a:pt x="0" y="37414"/>
                  </a:lnTo>
                  <a:lnTo>
                    <a:pt x="14240" y="18069"/>
                  </a:lnTo>
                  <a:lnTo>
                    <a:pt x="28708" y="6182"/>
                  </a:lnTo>
                  <a:lnTo>
                    <a:pt x="41196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7" name="Forme libre : forme 5746">
              <a:extLst>
                <a:ext uri="{FF2B5EF4-FFF2-40B4-BE49-F238E27FC236}">
                  <a16:creationId xmlns:a16="http://schemas.microsoft.com/office/drawing/2014/main" id="{FD55C28E-820F-9B19-C393-44E65FC852EF}"/>
                </a:ext>
              </a:extLst>
            </p:cNvPr>
            <p:cNvSpPr/>
            <p:nvPr/>
          </p:nvSpPr>
          <p:spPr>
            <a:xfrm>
              <a:off x="6383235" y="2919978"/>
              <a:ext cx="147751" cy="115052"/>
            </a:xfrm>
            <a:custGeom>
              <a:avLst/>
              <a:gdLst>
                <a:gd name="connsiteX0" fmla="*/ 44739 w 147751"/>
                <a:gd name="connsiteY0" fmla="*/ 95878 h 115052"/>
                <a:gd name="connsiteX1" fmla="*/ 42596 w 147751"/>
                <a:gd name="connsiteY1" fmla="*/ 84182 h 115052"/>
                <a:gd name="connsiteX2" fmla="*/ 45453 w 147751"/>
                <a:gd name="connsiteY2" fmla="*/ 71542 h 115052"/>
                <a:gd name="connsiteX3" fmla="*/ 33642 w 147751"/>
                <a:gd name="connsiteY3" fmla="*/ 64179 h 115052"/>
                <a:gd name="connsiteX4" fmla="*/ 5677 w 147751"/>
                <a:gd name="connsiteY4" fmla="*/ 56026 h 115052"/>
                <a:gd name="connsiteX5" fmla="*/ 0 w 147751"/>
                <a:gd name="connsiteY5" fmla="*/ 16364 h 115052"/>
                <a:gd name="connsiteX6" fmla="*/ 30585 w 147751"/>
                <a:gd name="connsiteY6" fmla="*/ 1667 h 115052"/>
                <a:gd name="connsiteX7" fmla="*/ 75371 w 147751"/>
                <a:gd name="connsiteY7" fmla="*/ 4753 h 115052"/>
                <a:gd name="connsiteX8" fmla="*/ 101603 w 147751"/>
                <a:gd name="connsiteY8" fmla="*/ 0 h 115052"/>
                <a:gd name="connsiteX9" fmla="*/ 105356 w 147751"/>
                <a:gd name="connsiteY9" fmla="*/ 9982 h 115052"/>
                <a:gd name="connsiteX10" fmla="*/ 119567 w 147751"/>
                <a:gd name="connsiteY10" fmla="*/ 13049 h 115052"/>
                <a:gd name="connsiteX11" fmla="*/ 145237 w 147751"/>
                <a:gd name="connsiteY11" fmla="*/ 36090 h 115052"/>
                <a:gd name="connsiteX12" fmla="*/ 147751 w 147751"/>
                <a:gd name="connsiteY12" fmla="*/ 57112 h 115052"/>
                <a:gd name="connsiteX13" fmla="*/ 125854 w 147751"/>
                <a:gd name="connsiteY13" fmla="*/ 71990 h 115052"/>
                <a:gd name="connsiteX14" fmla="*/ 119653 w 147751"/>
                <a:gd name="connsiteY14" fmla="*/ 97936 h 115052"/>
                <a:gd name="connsiteX15" fmla="*/ 90659 w 147751"/>
                <a:gd name="connsiteY15" fmla="*/ 115052 h 115052"/>
                <a:gd name="connsiteX16" fmla="*/ 64846 w 147751"/>
                <a:gd name="connsiteY16" fmla="*/ 114748 h 115052"/>
                <a:gd name="connsiteX17" fmla="*/ 58436 w 147751"/>
                <a:gd name="connsiteY17" fmla="*/ 100755 h 115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7751" h="115052">
                  <a:moveTo>
                    <a:pt x="44739" y="95878"/>
                  </a:moveTo>
                  <a:lnTo>
                    <a:pt x="42596" y="84182"/>
                  </a:lnTo>
                  <a:lnTo>
                    <a:pt x="45453" y="71542"/>
                  </a:lnTo>
                  <a:lnTo>
                    <a:pt x="33642" y="64179"/>
                  </a:lnTo>
                  <a:lnTo>
                    <a:pt x="5677" y="56026"/>
                  </a:lnTo>
                  <a:lnTo>
                    <a:pt x="0" y="16364"/>
                  </a:lnTo>
                  <a:lnTo>
                    <a:pt x="30585" y="1667"/>
                  </a:lnTo>
                  <a:lnTo>
                    <a:pt x="75371" y="4753"/>
                  </a:lnTo>
                  <a:lnTo>
                    <a:pt x="101603" y="0"/>
                  </a:lnTo>
                  <a:lnTo>
                    <a:pt x="105356" y="9982"/>
                  </a:lnTo>
                  <a:lnTo>
                    <a:pt x="119567" y="13049"/>
                  </a:lnTo>
                  <a:lnTo>
                    <a:pt x="145237" y="36090"/>
                  </a:lnTo>
                  <a:lnTo>
                    <a:pt x="147751" y="57112"/>
                  </a:lnTo>
                  <a:lnTo>
                    <a:pt x="125854" y="71990"/>
                  </a:lnTo>
                  <a:lnTo>
                    <a:pt x="119653" y="97936"/>
                  </a:lnTo>
                  <a:lnTo>
                    <a:pt x="90659" y="115052"/>
                  </a:lnTo>
                  <a:lnTo>
                    <a:pt x="64846" y="114748"/>
                  </a:lnTo>
                  <a:lnTo>
                    <a:pt x="58436" y="10075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8" name="Forme libre : forme 5747">
              <a:extLst>
                <a:ext uri="{FF2B5EF4-FFF2-40B4-BE49-F238E27FC236}">
                  <a16:creationId xmlns:a16="http://schemas.microsoft.com/office/drawing/2014/main" id="{E811E1C3-ED82-43F6-4370-3434329FF10F}"/>
                </a:ext>
              </a:extLst>
            </p:cNvPr>
            <p:cNvSpPr/>
            <p:nvPr/>
          </p:nvSpPr>
          <p:spPr>
            <a:xfrm>
              <a:off x="5972431" y="3198670"/>
              <a:ext cx="15192" cy="28270"/>
            </a:xfrm>
            <a:custGeom>
              <a:avLst/>
              <a:gdLst>
                <a:gd name="connsiteX0" fmla="*/ 9858 w 15192"/>
                <a:gd name="connsiteY0" fmla="*/ 0 h 28270"/>
                <a:gd name="connsiteX1" fmla="*/ 15192 w 15192"/>
                <a:gd name="connsiteY1" fmla="*/ 9363 h 28270"/>
                <a:gd name="connsiteX2" fmla="*/ 13688 w 15192"/>
                <a:gd name="connsiteY2" fmla="*/ 27413 h 28270"/>
                <a:gd name="connsiteX3" fmla="*/ 5982 w 15192"/>
                <a:gd name="connsiteY3" fmla="*/ 28270 h 28270"/>
                <a:gd name="connsiteX4" fmla="*/ 0 w 15192"/>
                <a:gd name="connsiteY4" fmla="*/ 24717 h 28270"/>
                <a:gd name="connsiteX5" fmla="*/ 2896 w 15192"/>
                <a:gd name="connsiteY5" fmla="*/ 1572 h 28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92" h="28270">
                  <a:moveTo>
                    <a:pt x="9858" y="0"/>
                  </a:moveTo>
                  <a:lnTo>
                    <a:pt x="15192" y="9363"/>
                  </a:lnTo>
                  <a:lnTo>
                    <a:pt x="13688" y="27413"/>
                  </a:lnTo>
                  <a:lnTo>
                    <a:pt x="5982" y="28270"/>
                  </a:lnTo>
                  <a:lnTo>
                    <a:pt x="0" y="24717"/>
                  </a:lnTo>
                  <a:lnTo>
                    <a:pt x="2896" y="1572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9" name="Forme libre : forme 5748">
              <a:extLst>
                <a:ext uri="{FF2B5EF4-FFF2-40B4-BE49-F238E27FC236}">
                  <a16:creationId xmlns:a16="http://schemas.microsoft.com/office/drawing/2014/main" id="{A97CE976-4B57-D416-38D2-42AF16B3F38D}"/>
                </a:ext>
              </a:extLst>
            </p:cNvPr>
            <p:cNvSpPr/>
            <p:nvPr/>
          </p:nvSpPr>
          <p:spPr>
            <a:xfrm>
              <a:off x="6383235" y="2841416"/>
              <a:ext cx="190166" cy="114652"/>
            </a:xfrm>
            <a:custGeom>
              <a:avLst/>
              <a:gdLst>
                <a:gd name="connsiteX0" fmla="*/ 0 w 190166"/>
                <a:gd name="connsiteY0" fmla="*/ 94926 h 114652"/>
                <a:gd name="connsiteX1" fmla="*/ 914 w 190166"/>
                <a:gd name="connsiteY1" fmla="*/ 58655 h 114652"/>
                <a:gd name="connsiteX2" fmla="*/ 14040 w 190166"/>
                <a:gd name="connsiteY2" fmla="*/ 27842 h 114652"/>
                <a:gd name="connsiteX3" fmla="*/ 39214 w 190166"/>
                <a:gd name="connsiteY3" fmla="*/ 10859 h 114652"/>
                <a:gd name="connsiteX4" fmla="*/ 60417 w 190166"/>
                <a:gd name="connsiteY4" fmla="*/ 47806 h 114652"/>
                <a:gd name="connsiteX5" fmla="*/ 81848 w 190166"/>
                <a:gd name="connsiteY5" fmla="*/ 46854 h 114652"/>
                <a:gd name="connsiteX6" fmla="*/ 86982 w 190166"/>
                <a:gd name="connsiteY6" fmla="*/ 8858 h 114652"/>
                <a:gd name="connsiteX7" fmla="*/ 109728 w 190166"/>
                <a:gd name="connsiteY7" fmla="*/ 0 h 114652"/>
                <a:gd name="connsiteX8" fmla="*/ 121434 w 190166"/>
                <a:gd name="connsiteY8" fmla="*/ 6153 h 114652"/>
                <a:gd name="connsiteX9" fmla="*/ 144418 w 190166"/>
                <a:gd name="connsiteY9" fmla="*/ 24651 h 114652"/>
                <a:gd name="connsiteX10" fmla="*/ 166440 w 190166"/>
                <a:gd name="connsiteY10" fmla="*/ 24737 h 114652"/>
                <a:gd name="connsiteX11" fmla="*/ 179308 w 190166"/>
                <a:gd name="connsiteY11" fmla="*/ 36119 h 114652"/>
                <a:gd name="connsiteX12" fmla="*/ 181584 w 190166"/>
                <a:gd name="connsiteY12" fmla="*/ 59845 h 114652"/>
                <a:gd name="connsiteX13" fmla="*/ 190166 w 190166"/>
                <a:gd name="connsiteY13" fmla="*/ 88325 h 114652"/>
                <a:gd name="connsiteX14" fmla="*/ 161477 w 190166"/>
                <a:gd name="connsiteY14" fmla="*/ 106699 h 114652"/>
                <a:gd name="connsiteX15" fmla="*/ 145237 w 190166"/>
                <a:gd name="connsiteY15" fmla="*/ 114652 h 114652"/>
                <a:gd name="connsiteX16" fmla="*/ 119567 w 190166"/>
                <a:gd name="connsiteY16" fmla="*/ 91612 h 114652"/>
                <a:gd name="connsiteX17" fmla="*/ 105356 w 190166"/>
                <a:gd name="connsiteY17" fmla="*/ 88544 h 114652"/>
                <a:gd name="connsiteX18" fmla="*/ 101603 w 190166"/>
                <a:gd name="connsiteY18" fmla="*/ 78562 h 114652"/>
                <a:gd name="connsiteX19" fmla="*/ 75371 w 190166"/>
                <a:gd name="connsiteY19" fmla="*/ 83315 h 114652"/>
                <a:gd name="connsiteX20" fmla="*/ 30585 w 190166"/>
                <a:gd name="connsiteY20" fmla="*/ 80229 h 11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0166" h="114652">
                  <a:moveTo>
                    <a:pt x="0" y="94926"/>
                  </a:moveTo>
                  <a:lnTo>
                    <a:pt x="914" y="58655"/>
                  </a:lnTo>
                  <a:lnTo>
                    <a:pt x="14040" y="27842"/>
                  </a:lnTo>
                  <a:lnTo>
                    <a:pt x="39214" y="10859"/>
                  </a:lnTo>
                  <a:lnTo>
                    <a:pt x="60417" y="47806"/>
                  </a:lnTo>
                  <a:lnTo>
                    <a:pt x="81848" y="46854"/>
                  </a:lnTo>
                  <a:lnTo>
                    <a:pt x="86982" y="8858"/>
                  </a:lnTo>
                  <a:lnTo>
                    <a:pt x="109728" y="0"/>
                  </a:lnTo>
                  <a:lnTo>
                    <a:pt x="121434" y="6153"/>
                  </a:lnTo>
                  <a:lnTo>
                    <a:pt x="144418" y="24651"/>
                  </a:lnTo>
                  <a:lnTo>
                    <a:pt x="166440" y="24737"/>
                  </a:lnTo>
                  <a:lnTo>
                    <a:pt x="179308" y="36119"/>
                  </a:lnTo>
                  <a:lnTo>
                    <a:pt x="181584" y="59845"/>
                  </a:lnTo>
                  <a:lnTo>
                    <a:pt x="190166" y="88325"/>
                  </a:lnTo>
                  <a:lnTo>
                    <a:pt x="161477" y="106699"/>
                  </a:lnTo>
                  <a:lnTo>
                    <a:pt x="145237" y="114652"/>
                  </a:lnTo>
                  <a:lnTo>
                    <a:pt x="119567" y="91612"/>
                  </a:lnTo>
                  <a:lnTo>
                    <a:pt x="105356" y="88544"/>
                  </a:lnTo>
                  <a:lnTo>
                    <a:pt x="101603" y="78562"/>
                  </a:lnTo>
                  <a:lnTo>
                    <a:pt x="75371" y="83315"/>
                  </a:lnTo>
                  <a:lnTo>
                    <a:pt x="30585" y="802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0" name="Forme libre : forme 5749">
              <a:extLst>
                <a:ext uri="{FF2B5EF4-FFF2-40B4-BE49-F238E27FC236}">
                  <a16:creationId xmlns:a16="http://schemas.microsoft.com/office/drawing/2014/main" id="{D637ED00-F649-EA79-EF64-D075140E216C}"/>
                </a:ext>
              </a:extLst>
            </p:cNvPr>
            <p:cNvSpPr/>
            <p:nvPr/>
          </p:nvSpPr>
          <p:spPr>
            <a:xfrm>
              <a:off x="6069787" y="3809366"/>
              <a:ext cx="423186" cy="403307"/>
            </a:xfrm>
            <a:custGeom>
              <a:avLst/>
              <a:gdLst>
                <a:gd name="connsiteX0" fmla="*/ 147742 w 423186"/>
                <a:gd name="connsiteY0" fmla="*/ 309801 h 403307"/>
                <a:gd name="connsiteX1" fmla="*/ 128844 w 423186"/>
                <a:gd name="connsiteY1" fmla="*/ 320497 h 403307"/>
                <a:gd name="connsiteX2" fmla="*/ 113824 w 423186"/>
                <a:gd name="connsiteY2" fmla="*/ 304676 h 403307"/>
                <a:gd name="connsiteX3" fmla="*/ 71581 w 423186"/>
                <a:gd name="connsiteY3" fmla="*/ 292217 h 403307"/>
                <a:gd name="connsiteX4" fmla="*/ 59855 w 423186"/>
                <a:gd name="connsiteY4" fmla="*/ 274034 h 403307"/>
                <a:gd name="connsiteX5" fmla="*/ 38776 w 423186"/>
                <a:gd name="connsiteY5" fmla="*/ 260499 h 403307"/>
                <a:gd name="connsiteX6" fmla="*/ 26299 w 423186"/>
                <a:gd name="connsiteY6" fmla="*/ 265843 h 403307"/>
                <a:gd name="connsiteX7" fmla="*/ 16793 w 423186"/>
                <a:gd name="connsiteY7" fmla="*/ 249546 h 403307"/>
                <a:gd name="connsiteX8" fmla="*/ 15792 w 423186"/>
                <a:gd name="connsiteY8" fmla="*/ 236972 h 403307"/>
                <a:gd name="connsiteX9" fmla="*/ 0 w 423186"/>
                <a:gd name="connsiteY9" fmla="*/ 215484 h 403307"/>
                <a:gd name="connsiteX10" fmla="*/ 10601 w 423186"/>
                <a:gd name="connsiteY10" fmla="*/ 203102 h 403307"/>
                <a:gd name="connsiteX11" fmla="*/ 8268 w 423186"/>
                <a:gd name="connsiteY11" fmla="*/ 184385 h 403307"/>
                <a:gd name="connsiteX12" fmla="*/ 11668 w 423186"/>
                <a:gd name="connsiteY12" fmla="*/ 168011 h 403307"/>
                <a:gd name="connsiteX13" fmla="*/ 9735 w 423186"/>
                <a:gd name="connsiteY13" fmla="*/ 154296 h 403307"/>
                <a:gd name="connsiteX14" fmla="*/ 14440 w 423186"/>
                <a:gd name="connsiteY14" fmla="*/ 129626 h 403307"/>
                <a:gd name="connsiteX15" fmla="*/ 12992 w 423186"/>
                <a:gd name="connsiteY15" fmla="*/ 115481 h 403307"/>
                <a:gd name="connsiteX16" fmla="*/ 4343 w 423186"/>
                <a:gd name="connsiteY16" fmla="*/ 88430 h 403307"/>
                <a:gd name="connsiteX17" fmla="*/ 17383 w 423186"/>
                <a:gd name="connsiteY17" fmla="*/ 81286 h 403307"/>
                <a:gd name="connsiteX18" fmla="*/ 19688 w 423186"/>
                <a:gd name="connsiteY18" fmla="*/ 68218 h 403307"/>
                <a:gd name="connsiteX19" fmla="*/ 16850 w 423186"/>
                <a:gd name="connsiteY19" fmla="*/ 55350 h 403307"/>
                <a:gd name="connsiteX20" fmla="*/ 35185 w 423186"/>
                <a:gd name="connsiteY20" fmla="*/ 43329 h 403307"/>
                <a:gd name="connsiteX21" fmla="*/ 43405 w 423186"/>
                <a:gd name="connsiteY21" fmla="*/ 33299 h 403307"/>
                <a:gd name="connsiteX22" fmla="*/ 56426 w 423186"/>
                <a:gd name="connsiteY22" fmla="*/ 24279 h 403307"/>
                <a:gd name="connsiteX23" fmla="*/ 57941 w 423186"/>
                <a:gd name="connsiteY23" fmla="*/ 0 h 403307"/>
                <a:gd name="connsiteX24" fmla="*/ 89306 w 423186"/>
                <a:gd name="connsiteY24" fmla="*/ 10906 h 403307"/>
                <a:gd name="connsiteX25" fmla="*/ 100527 w 423186"/>
                <a:gd name="connsiteY25" fmla="*/ 8191 h 403307"/>
                <a:gd name="connsiteX26" fmla="*/ 122834 w 423186"/>
                <a:gd name="connsiteY26" fmla="*/ 13459 h 403307"/>
                <a:gd name="connsiteX27" fmla="*/ 158277 w 423186"/>
                <a:gd name="connsiteY27" fmla="*/ 27546 h 403307"/>
                <a:gd name="connsiteX28" fmla="*/ 170783 w 423186"/>
                <a:gd name="connsiteY28" fmla="*/ 55340 h 403307"/>
                <a:gd name="connsiteX29" fmla="*/ 194758 w 423186"/>
                <a:gd name="connsiteY29" fmla="*/ 61379 h 403307"/>
                <a:gd name="connsiteX30" fmla="*/ 232391 w 423186"/>
                <a:gd name="connsiteY30" fmla="*/ 74352 h 403307"/>
                <a:gd name="connsiteX31" fmla="*/ 260852 w 423186"/>
                <a:gd name="connsiteY31" fmla="*/ 89687 h 403307"/>
                <a:gd name="connsiteX32" fmla="*/ 273872 w 423186"/>
                <a:gd name="connsiteY32" fmla="*/ 81696 h 403307"/>
                <a:gd name="connsiteX33" fmla="*/ 286664 w 423186"/>
                <a:gd name="connsiteY33" fmla="*/ 67475 h 403307"/>
                <a:gd name="connsiteX34" fmla="*/ 280445 w 423186"/>
                <a:gd name="connsiteY34" fmla="*/ 43634 h 403307"/>
                <a:gd name="connsiteX35" fmla="*/ 288827 w 423186"/>
                <a:gd name="connsiteY35" fmla="*/ 28384 h 403307"/>
                <a:gd name="connsiteX36" fmla="*/ 308067 w 423186"/>
                <a:gd name="connsiteY36" fmla="*/ 13630 h 403307"/>
                <a:gd name="connsiteX37" fmla="*/ 326450 w 423186"/>
                <a:gd name="connsiteY37" fmla="*/ 9315 h 403307"/>
                <a:gd name="connsiteX38" fmla="*/ 362578 w 423186"/>
                <a:gd name="connsiteY38" fmla="*/ 15783 h 403307"/>
                <a:gd name="connsiteX39" fmla="*/ 371685 w 423186"/>
                <a:gd name="connsiteY39" fmla="*/ 29861 h 403307"/>
                <a:gd name="connsiteX40" fmla="*/ 381628 w 423186"/>
                <a:gd name="connsiteY40" fmla="*/ 29985 h 403307"/>
                <a:gd name="connsiteX41" fmla="*/ 390134 w 423186"/>
                <a:gd name="connsiteY41" fmla="*/ 35338 h 403307"/>
                <a:gd name="connsiteX42" fmla="*/ 416671 w 423186"/>
                <a:gd name="connsiteY42" fmla="*/ 39014 h 403307"/>
                <a:gd name="connsiteX43" fmla="*/ 423186 w 423186"/>
                <a:gd name="connsiteY43" fmla="*/ 49339 h 403307"/>
                <a:gd name="connsiteX44" fmla="*/ 413509 w 423186"/>
                <a:gd name="connsiteY44" fmla="*/ 64265 h 403307"/>
                <a:gd name="connsiteX45" fmla="*/ 417643 w 423186"/>
                <a:gd name="connsiteY45" fmla="*/ 77505 h 403307"/>
                <a:gd name="connsiteX46" fmla="*/ 410766 w 423186"/>
                <a:gd name="connsiteY46" fmla="*/ 96517 h 403307"/>
                <a:gd name="connsiteX47" fmla="*/ 418776 w 423186"/>
                <a:gd name="connsiteY47" fmla="*/ 121148 h 403307"/>
                <a:gd name="connsiteX48" fmla="*/ 418776 w 423186"/>
                <a:gd name="connsiteY48" fmla="*/ 227638 h 403307"/>
                <a:gd name="connsiteX49" fmla="*/ 418776 w 423186"/>
                <a:gd name="connsiteY49" fmla="*/ 334585 h 403307"/>
                <a:gd name="connsiteX50" fmla="*/ 418776 w 423186"/>
                <a:gd name="connsiteY50" fmla="*/ 391382 h 403307"/>
                <a:gd name="connsiteX51" fmla="*/ 388068 w 423186"/>
                <a:gd name="connsiteY51" fmla="*/ 391468 h 403307"/>
                <a:gd name="connsiteX52" fmla="*/ 387734 w 423186"/>
                <a:gd name="connsiteY52" fmla="*/ 403307 h 403307"/>
                <a:gd name="connsiteX53" fmla="*/ 281216 w 423186"/>
                <a:gd name="connsiteY53" fmla="*/ 349025 h 403307"/>
                <a:gd name="connsiteX54" fmla="*/ 174707 w 423186"/>
                <a:gd name="connsiteY54" fmla="*/ 294008 h 403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23186" h="403307">
                  <a:moveTo>
                    <a:pt x="147742" y="309801"/>
                  </a:moveTo>
                  <a:lnTo>
                    <a:pt x="128844" y="320497"/>
                  </a:lnTo>
                  <a:lnTo>
                    <a:pt x="113824" y="304676"/>
                  </a:lnTo>
                  <a:lnTo>
                    <a:pt x="71581" y="292217"/>
                  </a:lnTo>
                  <a:lnTo>
                    <a:pt x="59855" y="274034"/>
                  </a:lnTo>
                  <a:lnTo>
                    <a:pt x="38776" y="260499"/>
                  </a:lnTo>
                  <a:lnTo>
                    <a:pt x="26299" y="265843"/>
                  </a:lnTo>
                  <a:lnTo>
                    <a:pt x="16793" y="249546"/>
                  </a:lnTo>
                  <a:lnTo>
                    <a:pt x="15792" y="236972"/>
                  </a:lnTo>
                  <a:lnTo>
                    <a:pt x="0" y="215484"/>
                  </a:lnTo>
                  <a:lnTo>
                    <a:pt x="10601" y="203102"/>
                  </a:lnTo>
                  <a:lnTo>
                    <a:pt x="8268" y="184385"/>
                  </a:lnTo>
                  <a:lnTo>
                    <a:pt x="11668" y="168011"/>
                  </a:lnTo>
                  <a:lnTo>
                    <a:pt x="9735" y="154296"/>
                  </a:lnTo>
                  <a:lnTo>
                    <a:pt x="14440" y="129626"/>
                  </a:lnTo>
                  <a:lnTo>
                    <a:pt x="12992" y="115481"/>
                  </a:lnTo>
                  <a:lnTo>
                    <a:pt x="4343" y="88430"/>
                  </a:lnTo>
                  <a:lnTo>
                    <a:pt x="17383" y="81286"/>
                  </a:lnTo>
                  <a:lnTo>
                    <a:pt x="19688" y="68218"/>
                  </a:lnTo>
                  <a:lnTo>
                    <a:pt x="16850" y="55350"/>
                  </a:lnTo>
                  <a:lnTo>
                    <a:pt x="35185" y="43329"/>
                  </a:lnTo>
                  <a:lnTo>
                    <a:pt x="43405" y="33299"/>
                  </a:lnTo>
                  <a:lnTo>
                    <a:pt x="56426" y="24279"/>
                  </a:lnTo>
                  <a:lnTo>
                    <a:pt x="57941" y="0"/>
                  </a:lnTo>
                  <a:lnTo>
                    <a:pt x="89306" y="10906"/>
                  </a:lnTo>
                  <a:lnTo>
                    <a:pt x="100527" y="8191"/>
                  </a:lnTo>
                  <a:lnTo>
                    <a:pt x="122834" y="13459"/>
                  </a:lnTo>
                  <a:lnTo>
                    <a:pt x="158277" y="27546"/>
                  </a:lnTo>
                  <a:lnTo>
                    <a:pt x="170783" y="55340"/>
                  </a:lnTo>
                  <a:lnTo>
                    <a:pt x="194758" y="61379"/>
                  </a:lnTo>
                  <a:lnTo>
                    <a:pt x="232391" y="74352"/>
                  </a:lnTo>
                  <a:lnTo>
                    <a:pt x="260852" y="89687"/>
                  </a:lnTo>
                  <a:lnTo>
                    <a:pt x="273872" y="81696"/>
                  </a:lnTo>
                  <a:lnTo>
                    <a:pt x="286664" y="67475"/>
                  </a:lnTo>
                  <a:lnTo>
                    <a:pt x="280445" y="43634"/>
                  </a:lnTo>
                  <a:lnTo>
                    <a:pt x="288827" y="28384"/>
                  </a:lnTo>
                  <a:lnTo>
                    <a:pt x="308067" y="13630"/>
                  </a:lnTo>
                  <a:lnTo>
                    <a:pt x="326450" y="9315"/>
                  </a:lnTo>
                  <a:lnTo>
                    <a:pt x="362578" y="15783"/>
                  </a:lnTo>
                  <a:lnTo>
                    <a:pt x="371685" y="29861"/>
                  </a:lnTo>
                  <a:lnTo>
                    <a:pt x="381628" y="29985"/>
                  </a:lnTo>
                  <a:lnTo>
                    <a:pt x="390134" y="35338"/>
                  </a:lnTo>
                  <a:lnTo>
                    <a:pt x="416671" y="39014"/>
                  </a:lnTo>
                  <a:lnTo>
                    <a:pt x="423186" y="49339"/>
                  </a:lnTo>
                  <a:lnTo>
                    <a:pt x="413509" y="64265"/>
                  </a:lnTo>
                  <a:lnTo>
                    <a:pt x="417643" y="77505"/>
                  </a:lnTo>
                  <a:lnTo>
                    <a:pt x="410766" y="96517"/>
                  </a:lnTo>
                  <a:lnTo>
                    <a:pt x="418776" y="121148"/>
                  </a:lnTo>
                  <a:lnTo>
                    <a:pt x="418776" y="227638"/>
                  </a:lnTo>
                  <a:lnTo>
                    <a:pt x="418776" y="334585"/>
                  </a:lnTo>
                  <a:lnTo>
                    <a:pt x="418776" y="391382"/>
                  </a:lnTo>
                  <a:lnTo>
                    <a:pt x="388068" y="391468"/>
                  </a:lnTo>
                  <a:lnTo>
                    <a:pt x="387734" y="403307"/>
                  </a:lnTo>
                  <a:lnTo>
                    <a:pt x="281216" y="349025"/>
                  </a:lnTo>
                  <a:lnTo>
                    <a:pt x="174707" y="2940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1" name="Forme libre : forme 5750">
              <a:extLst>
                <a:ext uri="{FF2B5EF4-FFF2-40B4-BE49-F238E27FC236}">
                  <a16:creationId xmlns:a16="http://schemas.microsoft.com/office/drawing/2014/main" id="{ED4BAD39-0B9B-1ED3-C20D-AD1BF6E7434C}"/>
                </a:ext>
              </a:extLst>
            </p:cNvPr>
            <p:cNvSpPr/>
            <p:nvPr/>
          </p:nvSpPr>
          <p:spPr>
            <a:xfrm>
              <a:off x="5365194" y="3724793"/>
              <a:ext cx="425672" cy="447703"/>
            </a:xfrm>
            <a:custGeom>
              <a:avLst/>
              <a:gdLst>
                <a:gd name="connsiteX0" fmla="*/ 418633 w 425672"/>
                <a:gd name="connsiteY0" fmla="*/ 93231 h 447703"/>
                <a:gd name="connsiteX1" fmla="*/ 409413 w 425672"/>
                <a:gd name="connsiteY1" fmla="*/ 59617 h 447703"/>
                <a:gd name="connsiteX2" fmla="*/ 407823 w 425672"/>
                <a:gd name="connsiteY2" fmla="*/ 40062 h 447703"/>
                <a:gd name="connsiteX3" fmla="*/ 397755 w 425672"/>
                <a:gd name="connsiteY3" fmla="*/ 19317 h 447703"/>
                <a:gd name="connsiteX4" fmla="*/ 386153 w 425672"/>
                <a:gd name="connsiteY4" fmla="*/ 18964 h 447703"/>
                <a:gd name="connsiteX5" fmla="*/ 358492 w 425672"/>
                <a:gd name="connsiteY5" fmla="*/ 11773 h 447703"/>
                <a:gd name="connsiteX6" fmla="*/ 333089 w 425672"/>
                <a:gd name="connsiteY6" fmla="*/ 14030 h 447703"/>
                <a:gd name="connsiteX7" fmla="*/ 316992 w 425672"/>
                <a:gd name="connsiteY7" fmla="*/ 162 h 447703"/>
                <a:gd name="connsiteX8" fmla="*/ 297332 w 425672"/>
                <a:gd name="connsiteY8" fmla="*/ 0 h 447703"/>
                <a:gd name="connsiteX9" fmla="*/ 288941 w 425672"/>
                <a:gd name="connsiteY9" fmla="*/ 20041 h 447703"/>
                <a:gd name="connsiteX10" fmla="*/ 271091 w 425672"/>
                <a:gd name="connsiteY10" fmla="*/ 53502 h 447703"/>
                <a:gd name="connsiteX11" fmla="*/ 251288 w 425672"/>
                <a:gd name="connsiteY11" fmla="*/ 66742 h 447703"/>
                <a:gd name="connsiteX12" fmla="*/ 224495 w 425672"/>
                <a:gd name="connsiteY12" fmla="*/ 81296 h 447703"/>
                <a:gd name="connsiteX13" fmla="*/ 207311 w 425672"/>
                <a:gd name="connsiteY13" fmla="*/ 102689 h 447703"/>
                <a:gd name="connsiteX14" fmla="*/ 203730 w 425672"/>
                <a:gd name="connsiteY14" fmla="*/ 119243 h 447703"/>
                <a:gd name="connsiteX15" fmla="*/ 193586 w 425672"/>
                <a:gd name="connsiteY15" fmla="*/ 146094 h 447703"/>
                <a:gd name="connsiteX16" fmla="*/ 200263 w 425672"/>
                <a:gd name="connsiteY16" fmla="*/ 184490 h 447703"/>
                <a:gd name="connsiteX17" fmla="*/ 177965 w 425672"/>
                <a:gd name="connsiteY17" fmla="*/ 209978 h 447703"/>
                <a:gd name="connsiteX18" fmla="*/ 164573 w 425672"/>
                <a:gd name="connsiteY18" fmla="*/ 218075 h 447703"/>
                <a:gd name="connsiteX19" fmla="*/ 143532 w 425672"/>
                <a:gd name="connsiteY19" fmla="*/ 238735 h 447703"/>
                <a:gd name="connsiteX20" fmla="*/ 118701 w 425672"/>
                <a:gd name="connsiteY20" fmla="*/ 242068 h 447703"/>
                <a:gd name="connsiteX21" fmla="*/ 105270 w 425672"/>
                <a:gd name="connsiteY21" fmla="*/ 253603 h 447703"/>
                <a:gd name="connsiteX22" fmla="*/ 104785 w 425672"/>
                <a:gd name="connsiteY22" fmla="*/ 254022 h 447703"/>
                <a:gd name="connsiteX23" fmla="*/ 87849 w 425672"/>
                <a:gd name="connsiteY23" fmla="*/ 284502 h 447703"/>
                <a:gd name="connsiteX24" fmla="*/ 70066 w 425672"/>
                <a:gd name="connsiteY24" fmla="*/ 295313 h 447703"/>
                <a:gd name="connsiteX25" fmla="*/ 60417 w 425672"/>
                <a:gd name="connsiteY25" fmla="*/ 313572 h 447703"/>
                <a:gd name="connsiteX26" fmla="*/ 59789 w 425672"/>
                <a:gd name="connsiteY26" fmla="*/ 329232 h 447703"/>
                <a:gd name="connsiteX27" fmla="*/ 52721 w 425672"/>
                <a:gd name="connsiteY27" fmla="*/ 346300 h 447703"/>
                <a:gd name="connsiteX28" fmla="*/ 43729 w 425672"/>
                <a:gd name="connsiteY28" fmla="*/ 351006 h 447703"/>
                <a:gd name="connsiteX29" fmla="*/ 28861 w 425672"/>
                <a:gd name="connsiteY29" fmla="*/ 369494 h 447703"/>
                <a:gd name="connsiteX30" fmla="*/ 19679 w 425672"/>
                <a:gd name="connsiteY30" fmla="*/ 389906 h 447703"/>
                <a:gd name="connsiteX31" fmla="*/ 21403 w 425672"/>
                <a:gd name="connsiteY31" fmla="*/ 399659 h 447703"/>
                <a:gd name="connsiteX32" fmla="*/ 12659 w 425672"/>
                <a:gd name="connsiteY32" fmla="*/ 414623 h 447703"/>
                <a:gd name="connsiteX33" fmla="*/ 2410 w 425672"/>
                <a:gd name="connsiteY33" fmla="*/ 422434 h 447703"/>
                <a:gd name="connsiteX34" fmla="*/ 1143 w 425672"/>
                <a:gd name="connsiteY34" fmla="*/ 435673 h 447703"/>
                <a:gd name="connsiteX35" fmla="*/ 0 w 425672"/>
                <a:gd name="connsiteY35" fmla="*/ 447704 h 447703"/>
                <a:gd name="connsiteX36" fmla="*/ 5820 w 425672"/>
                <a:gd name="connsiteY36" fmla="*/ 438207 h 447703"/>
                <a:gd name="connsiteX37" fmla="*/ 110404 w 425672"/>
                <a:gd name="connsiteY37" fmla="*/ 438388 h 447703"/>
                <a:gd name="connsiteX38" fmla="*/ 105346 w 425672"/>
                <a:gd name="connsiteY38" fmla="*/ 397012 h 447703"/>
                <a:gd name="connsiteX39" fmla="*/ 111881 w 425672"/>
                <a:gd name="connsiteY39" fmla="*/ 382191 h 447703"/>
                <a:gd name="connsiteX40" fmla="*/ 136903 w 425672"/>
                <a:gd name="connsiteY40" fmla="*/ 379590 h 447703"/>
                <a:gd name="connsiteX41" fmla="*/ 136036 w 425672"/>
                <a:gd name="connsiteY41" fmla="*/ 304809 h 447703"/>
                <a:gd name="connsiteX42" fmla="*/ 223694 w 425672"/>
                <a:gd name="connsiteY42" fmla="*/ 306362 h 447703"/>
                <a:gd name="connsiteX43" fmla="*/ 223771 w 425672"/>
                <a:gd name="connsiteY43" fmla="*/ 261337 h 447703"/>
                <a:gd name="connsiteX44" fmla="*/ 224285 w 425672"/>
                <a:gd name="connsiteY44" fmla="*/ 255546 h 447703"/>
                <a:gd name="connsiteX45" fmla="*/ 224276 w 425672"/>
                <a:gd name="connsiteY45" fmla="*/ 253536 h 447703"/>
                <a:gd name="connsiteX46" fmla="*/ 224047 w 425672"/>
                <a:gd name="connsiteY46" fmla="*/ 217799 h 447703"/>
                <a:gd name="connsiteX47" fmla="*/ 267176 w 425672"/>
                <a:gd name="connsiteY47" fmla="*/ 195329 h 447703"/>
                <a:gd name="connsiteX48" fmla="*/ 293846 w 425672"/>
                <a:gd name="connsiteY48" fmla="*/ 190671 h 447703"/>
                <a:gd name="connsiteX49" fmla="*/ 315706 w 425672"/>
                <a:gd name="connsiteY49" fmla="*/ 182432 h 447703"/>
                <a:gd name="connsiteX50" fmla="*/ 325917 w 425672"/>
                <a:gd name="connsiteY50" fmla="*/ 167030 h 447703"/>
                <a:gd name="connsiteX51" fmla="*/ 357140 w 425672"/>
                <a:gd name="connsiteY51" fmla="*/ 154800 h 447703"/>
                <a:gd name="connsiteX52" fmla="*/ 358292 w 425672"/>
                <a:gd name="connsiteY52" fmla="*/ 131778 h 447703"/>
                <a:gd name="connsiteX53" fmla="*/ 373742 w 425672"/>
                <a:gd name="connsiteY53" fmla="*/ 129054 h 447703"/>
                <a:gd name="connsiteX54" fmla="*/ 385829 w 425672"/>
                <a:gd name="connsiteY54" fmla="*/ 117472 h 447703"/>
                <a:gd name="connsiteX55" fmla="*/ 420776 w 425672"/>
                <a:gd name="connsiteY55" fmla="*/ 112185 h 447703"/>
                <a:gd name="connsiteX56" fmla="*/ 425672 w 425672"/>
                <a:gd name="connsiteY56" fmla="*/ 99946 h 447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5672" h="447703">
                  <a:moveTo>
                    <a:pt x="418633" y="93231"/>
                  </a:moveTo>
                  <a:lnTo>
                    <a:pt x="409413" y="59617"/>
                  </a:lnTo>
                  <a:lnTo>
                    <a:pt x="407823" y="40062"/>
                  </a:lnTo>
                  <a:lnTo>
                    <a:pt x="397755" y="19317"/>
                  </a:lnTo>
                  <a:lnTo>
                    <a:pt x="386153" y="18964"/>
                  </a:lnTo>
                  <a:lnTo>
                    <a:pt x="358492" y="11773"/>
                  </a:lnTo>
                  <a:lnTo>
                    <a:pt x="333089" y="14030"/>
                  </a:lnTo>
                  <a:lnTo>
                    <a:pt x="316992" y="162"/>
                  </a:lnTo>
                  <a:lnTo>
                    <a:pt x="297332" y="0"/>
                  </a:lnTo>
                  <a:lnTo>
                    <a:pt x="288941" y="20041"/>
                  </a:lnTo>
                  <a:lnTo>
                    <a:pt x="271091" y="53502"/>
                  </a:lnTo>
                  <a:lnTo>
                    <a:pt x="251288" y="66742"/>
                  </a:lnTo>
                  <a:lnTo>
                    <a:pt x="224495" y="81296"/>
                  </a:lnTo>
                  <a:lnTo>
                    <a:pt x="207311" y="102689"/>
                  </a:lnTo>
                  <a:lnTo>
                    <a:pt x="203730" y="119243"/>
                  </a:lnTo>
                  <a:lnTo>
                    <a:pt x="193586" y="146094"/>
                  </a:lnTo>
                  <a:lnTo>
                    <a:pt x="200263" y="184490"/>
                  </a:lnTo>
                  <a:lnTo>
                    <a:pt x="177965" y="209978"/>
                  </a:lnTo>
                  <a:lnTo>
                    <a:pt x="164573" y="218075"/>
                  </a:lnTo>
                  <a:lnTo>
                    <a:pt x="143532" y="238735"/>
                  </a:lnTo>
                  <a:lnTo>
                    <a:pt x="118701" y="242068"/>
                  </a:lnTo>
                  <a:lnTo>
                    <a:pt x="105270" y="253603"/>
                  </a:lnTo>
                  <a:lnTo>
                    <a:pt x="104785" y="254022"/>
                  </a:lnTo>
                  <a:lnTo>
                    <a:pt x="87849" y="284502"/>
                  </a:lnTo>
                  <a:lnTo>
                    <a:pt x="70066" y="295313"/>
                  </a:lnTo>
                  <a:lnTo>
                    <a:pt x="60417" y="313572"/>
                  </a:lnTo>
                  <a:lnTo>
                    <a:pt x="59789" y="329232"/>
                  </a:lnTo>
                  <a:lnTo>
                    <a:pt x="52721" y="346300"/>
                  </a:lnTo>
                  <a:lnTo>
                    <a:pt x="43729" y="351006"/>
                  </a:lnTo>
                  <a:lnTo>
                    <a:pt x="28861" y="369494"/>
                  </a:lnTo>
                  <a:lnTo>
                    <a:pt x="19679" y="389906"/>
                  </a:lnTo>
                  <a:lnTo>
                    <a:pt x="21403" y="399659"/>
                  </a:lnTo>
                  <a:lnTo>
                    <a:pt x="12659" y="414623"/>
                  </a:lnTo>
                  <a:lnTo>
                    <a:pt x="2410" y="422434"/>
                  </a:lnTo>
                  <a:lnTo>
                    <a:pt x="1143" y="435673"/>
                  </a:lnTo>
                  <a:lnTo>
                    <a:pt x="0" y="447704"/>
                  </a:lnTo>
                  <a:lnTo>
                    <a:pt x="5820" y="438207"/>
                  </a:lnTo>
                  <a:lnTo>
                    <a:pt x="110404" y="438388"/>
                  </a:lnTo>
                  <a:lnTo>
                    <a:pt x="105346" y="397012"/>
                  </a:lnTo>
                  <a:lnTo>
                    <a:pt x="111881" y="382191"/>
                  </a:lnTo>
                  <a:lnTo>
                    <a:pt x="136903" y="379590"/>
                  </a:lnTo>
                  <a:lnTo>
                    <a:pt x="136036" y="304809"/>
                  </a:lnTo>
                  <a:lnTo>
                    <a:pt x="223694" y="306362"/>
                  </a:lnTo>
                  <a:lnTo>
                    <a:pt x="223771" y="261337"/>
                  </a:lnTo>
                  <a:lnTo>
                    <a:pt x="224285" y="255546"/>
                  </a:lnTo>
                  <a:lnTo>
                    <a:pt x="224276" y="253536"/>
                  </a:lnTo>
                  <a:lnTo>
                    <a:pt x="224047" y="217799"/>
                  </a:lnTo>
                  <a:lnTo>
                    <a:pt x="267176" y="195329"/>
                  </a:lnTo>
                  <a:lnTo>
                    <a:pt x="293846" y="190671"/>
                  </a:lnTo>
                  <a:lnTo>
                    <a:pt x="315706" y="182432"/>
                  </a:lnTo>
                  <a:lnTo>
                    <a:pt x="325917" y="167030"/>
                  </a:lnTo>
                  <a:lnTo>
                    <a:pt x="357140" y="154800"/>
                  </a:lnTo>
                  <a:lnTo>
                    <a:pt x="358292" y="131778"/>
                  </a:lnTo>
                  <a:lnTo>
                    <a:pt x="373742" y="129054"/>
                  </a:lnTo>
                  <a:lnTo>
                    <a:pt x="385829" y="117472"/>
                  </a:lnTo>
                  <a:lnTo>
                    <a:pt x="420776" y="112185"/>
                  </a:lnTo>
                  <a:lnTo>
                    <a:pt x="425672" y="99946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2" name="Forme libre : forme 5751">
              <a:extLst>
                <a:ext uri="{FF2B5EF4-FFF2-40B4-BE49-F238E27FC236}">
                  <a16:creationId xmlns:a16="http://schemas.microsoft.com/office/drawing/2014/main" id="{43717424-7712-A0EA-1537-B498E8F570DA}"/>
                </a:ext>
              </a:extLst>
            </p:cNvPr>
            <p:cNvSpPr/>
            <p:nvPr/>
          </p:nvSpPr>
          <p:spPr>
            <a:xfrm>
              <a:off x="6531816" y="3266507"/>
              <a:ext cx="90944" cy="116281"/>
            </a:xfrm>
            <a:custGeom>
              <a:avLst/>
              <a:gdLst>
                <a:gd name="connsiteX0" fmla="*/ 0 w 90944"/>
                <a:gd name="connsiteY0" fmla="*/ 9868 h 116281"/>
                <a:gd name="connsiteX1" fmla="*/ 6372 w 90944"/>
                <a:gd name="connsiteY1" fmla="*/ 3972 h 116281"/>
                <a:gd name="connsiteX2" fmla="*/ 24117 w 90944"/>
                <a:gd name="connsiteY2" fmla="*/ 0 h 116281"/>
                <a:gd name="connsiteX3" fmla="*/ 43805 w 90944"/>
                <a:gd name="connsiteY3" fmla="*/ 12468 h 116281"/>
                <a:gd name="connsiteX4" fmla="*/ 54788 w 90944"/>
                <a:gd name="connsiteY4" fmla="*/ 13964 h 116281"/>
                <a:gd name="connsiteX5" fmla="*/ 66856 w 90944"/>
                <a:gd name="connsiteY5" fmla="*/ 24670 h 116281"/>
                <a:gd name="connsiteX6" fmla="*/ 64941 w 90944"/>
                <a:gd name="connsiteY6" fmla="*/ 38072 h 116281"/>
                <a:gd name="connsiteX7" fmla="*/ 74666 w 90944"/>
                <a:gd name="connsiteY7" fmla="*/ 44510 h 116281"/>
                <a:gd name="connsiteX8" fmla="*/ 78524 w 90944"/>
                <a:gd name="connsiteY8" fmla="*/ 60865 h 116281"/>
                <a:gd name="connsiteX9" fmla="*/ 87849 w 90944"/>
                <a:gd name="connsiteY9" fmla="*/ 70752 h 116281"/>
                <a:gd name="connsiteX10" fmla="*/ 85963 w 90944"/>
                <a:gd name="connsiteY10" fmla="*/ 76533 h 116281"/>
                <a:gd name="connsiteX11" fmla="*/ 90944 w 90944"/>
                <a:gd name="connsiteY11" fmla="*/ 80448 h 116281"/>
                <a:gd name="connsiteX12" fmla="*/ 83868 w 90944"/>
                <a:gd name="connsiteY12" fmla="*/ 83306 h 116281"/>
                <a:gd name="connsiteX13" fmla="*/ 68132 w 90944"/>
                <a:gd name="connsiteY13" fmla="*/ 82172 h 116281"/>
                <a:gd name="connsiteX14" fmla="*/ 65504 w 90944"/>
                <a:gd name="connsiteY14" fmla="*/ 76829 h 116281"/>
                <a:gd name="connsiteX15" fmla="*/ 59922 w 90944"/>
                <a:gd name="connsiteY15" fmla="*/ 79915 h 116281"/>
                <a:gd name="connsiteX16" fmla="*/ 61808 w 90944"/>
                <a:gd name="connsiteY16" fmla="*/ 86811 h 116281"/>
                <a:gd name="connsiteX17" fmla="*/ 54493 w 90944"/>
                <a:gd name="connsiteY17" fmla="*/ 99060 h 116281"/>
                <a:gd name="connsiteX18" fmla="*/ 49835 w 90944"/>
                <a:gd name="connsiteY18" fmla="*/ 112157 h 116281"/>
                <a:gd name="connsiteX19" fmla="*/ 43110 w 90944"/>
                <a:gd name="connsiteY19" fmla="*/ 116281 h 116281"/>
                <a:gd name="connsiteX20" fmla="*/ 38328 w 90944"/>
                <a:gd name="connsiteY20" fmla="*/ 98888 h 116281"/>
                <a:gd name="connsiteX21" fmla="*/ 41138 w 90944"/>
                <a:gd name="connsiteY21" fmla="*/ 82467 h 116281"/>
                <a:gd name="connsiteX22" fmla="*/ 40291 w 90944"/>
                <a:gd name="connsiteY22" fmla="*/ 65465 h 116281"/>
                <a:gd name="connsiteX23" fmla="*/ 24879 w 90944"/>
                <a:gd name="connsiteY23" fmla="*/ 42205 h 116281"/>
                <a:gd name="connsiteX24" fmla="*/ 16411 w 90944"/>
                <a:gd name="connsiteY24" fmla="*/ 25556 h 116281"/>
                <a:gd name="connsiteX25" fmla="*/ 8134 w 90944"/>
                <a:gd name="connsiteY25" fmla="*/ 13764 h 11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0944" h="116281">
                  <a:moveTo>
                    <a:pt x="0" y="9868"/>
                  </a:moveTo>
                  <a:lnTo>
                    <a:pt x="6372" y="3972"/>
                  </a:lnTo>
                  <a:lnTo>
                    <a:pt x="24117" y="0"/>
                  </a:lnTo>
                  <a:lnTo>
                    <a:pt x="43805" y="12468"/>
                  </a:lnTo>
                  <a:lnTo>
                    <a:pt x="54788" y="13964"/>
                  </a:lnTo>
                  <a:lnTo>
                    <a:pt x="66856" y="24670"/>
                  </a:lnTo>
                  <a:lnTo>
                    <a:pt x="64941" y="38072"/>
                  </a:lnTo>
                  <a:lnTo>
                    <a:pt x="74666" y="44510"/>
                  </a:lnTo>
                  <a:lnTo>
                    <a:pt x="78524" y="60865"/>
                  </a:lnTo>
                  <a:lnTo>
                    <a:pt x="87849" y="70752"/>
                  </a:lnTo>
                  <a:lnTo>
                    <a:pt x="85963" y="76533"/>
                  </a:lnTo>
                  <a:lnTo>
                    <a:pt x="90944" y="80448"/>
                  </a:lnTo>
                  <a:lnTo>
                    <a:pt x="83868" y="83306"/>
                  </a:lnTo>
                  <a:lnTo>
                    <a:pt x="68132" y="82172"/>
                  </a:lnTo>
                  <a:lnTo>
                    <a:pt x="65504" y="76829"/>
                  </a:lnTo>
                  <a:lnTo>
                    <a:pt x="59922" y="79915"/>
                  </a:lnTo>
                  <a:lnTo>
                    <a:pt x="61808" y="86811"/>
                  </a:lnTo>
                  <a:lnTo>
                    <a:pt x="54493" y="99060"/>
                  </a:lnTo>
                  <a:lnTo>
                    <a:pt x="49835" y="112157"/>
                  </a:lnTo>
                  <a:lnTo>
                    <a:pt x="43110" y="116281"/>
                  </a:lnTo>
                  <a:lnTo>
                    <a:pt x="38328" y="98888"/>
                  </a:lnTo>
                  <a:lnTo>
                    <a:pt x="41138" y="82467"/>
                  </a:lnTo>
                  <a:lnTo>
                    <a:pt x="40291" y="65465"/>
                  </a:lnTo>
                  <a:lnTo>
                    <a:pt x="24879" y="42205"/>
                  </a:lnTo>
                  <a:lnTo>
                    <a:pt x="16411" y="25556"/>
                  </a:lnTo>
                  <a:lnTo>
                    <a:pt x="8134" y="137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3" name="Forme libre : forme 5752">
              <a:extLst>
                <a:ext uri="{FF2B5EF4-FFF2-40B4-BE49-F238E27FC236}">
                  <a16:creationId xmlns:a16="http://schemas.microsoft.com/office/drawing/2014/main" id="{0854A953-178F-0070-9771-93B22AD1F827}"/>
                </a:ext>
              </a:extLst>
            </p:cNvPr>
            <p:cNvSpPr/>
            <p:nvPr/>
          </p:nvSpPr>
          <p:spPr>
            <a:xfrm>
              <a:off x="6313636" y="3456102"/>
              <a:ext cx="50473" cy="59617"/>
            </a:xfrm>
            <a:custGeom>
              <a:avLst/>
              <a:gdLst>
                <a:gd name="connsiteX0" fmla="*/ 36100 w 50473"/>
                <a:gd name="connsiteY0" fmla="*/ 37271 h 59617"/>
                <a:gd name="connsiteX1" fmla="*/ 34404 w 50473"/>
                <a:gd name="connsiteY1" fmla="*/ 30461 h 59617"/>
                <a:gd name="connsiteX2" fmla="*/ 22822 w 50473"/>
                <a:gd name="connsiteY2" fmla="*/ 48225 h 59617"/>
                <a:gd name="connsiteX3" fmla="*/ 24612 w 50473"/>
                <a:gd name="connsiteY3" fmla="*/ 59617 h 59617"/>
                <a:gd name="connsiteX4" fmla="*/ 19022 w 50473"/>
                <a:gd name="connsiteY4" fmla="*/ 56855 h 59617"/>
                <a:gd name="connsiteX5" fmla="*/ 11544 w 50473"/>
                <a:gd name="connsiteY5" fmla="*/ 45139 h 59617"/>
                <a:gd name="connsiteX6" fmla="*/ 0 w 50473"/>
                <a:gd name="connsiteY6" fmla="*/ 37986 h 59617"/>
                <a:gd name="connsiteX7" fmla="*/ 2934 w 50473"/>
                <a:gd name="connsiteY7" fmla="*/ 31852 h 59617"/>
                <a:gd name="connsiteX8" fmla="*/ 6848 w 50473"/>
                <a:gd name="connsiteY8" fmla="*/ 11859 h 59617"/>
                <a:gd name="connsiteX9" fmla="*/ 15535 w 50473"/>
                <a:gd name="connsiteY9" fmla="*/ 3353 h 59617"/>
                <a:gd name="connsiteX10" fmla="*/ 20526 w 50473"/>
                <a:gd name="connsiteY10" fmla="*/ 0 h 59617"/>
                <a:gd name="connsiteX11" fmla="*/ 27613 w 50473"/>
                <a:gd name="connsiteY11" fmla="*/ 6296 h 59617"/>
                <a:gd name="connsiteX12" fmla="*/ 31509 w 50473"/>
                <a:gd name="connsiteY12" fmla="*/ 11354 h 59617"/>
                <a:gd name="connsiteX13" fmla="*/ 40291 w 50473"/>
                <a:gd name="connsiteY13" fmla="*/ 15288 h 59617"/>
                <a:gd name="connsiteX14" fmla="*/ 50473 w 50473"/>
                <a:gd name="connsiteY14" fmla="*/ 22841 h 59617"/>
                <a:gd name="connsiteX15" fmla="*/ 48273 w 50473"/>
                <a:gd name="connsiteY15" fmla="*/ 25956 h 59617"/>
                <a:gd name="connsiteX16" fmla="*/ 43282 w 50473"/>
                <a:gd name="connsiteY16" fmla="*/ 34071 h 5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0473" h="59617">
                  <a:moveTo>
                    <a:pt x="36100" y="37271"/>
                  </a:moveTo>
                  <a:lnTo>
                    <a:pt x="34404" y="30461"/>
                  </a:lnTo>
                  <a:lnTo>
                    <a:pt x="22822" y="48225"/>
                  </a:lnTo>
                  <a:lnTo>
                    <a:pt x="24612" y="59617"/>
                  </a:lnTo>
                  <a:lnTo>
                    <a:pt x="19022" y="56855"/>
                  </a:lnTo>
                  <a:lnTo>
                    <a:pt x="11544" y="45139"/>
                  </a:lnTo>
                  <a:lnTo>
                    <a:pt x="0" y="37986"/>
                  </a:lnTo>
                  <a:lnTo>
                    <a:pt x="2934" y="31852"/>
                  </a:lnTo>
                  <a:lnTo>
                    <a:pt x="6848" y="11859"/>
                  </a:lnTo>
                  <a:lnTo>
                    <a:pt x="15535" y="3353"/>
                  </a:lnTo>
                  <a:lnTo>
                    <a:pt x="20526" y="0"/>
                  </a:lnTo>
                  <a:lnTo>
                    <a:pt x="27613" y="6296"/>
                  </a:lnTo>
                  <a:lnTo>
                    <a:pt x="31509" y="11354"/>
                  </a:lnTo>
                  <a:lnTo>
                    <a:pt x="40291" y="15288"/>
                  </a:lnTo>
                  <a:lnTo>
                    <a:pt x="50473" y="22841"/>
                  </a:lnTo>
                  <a:lnTo>
                    <a:pt x="48273" y="25956"/>
                  </a:lnTo>
                  <a:lnTo>
                    <a:pt x="43282" y="340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4" name="Forme libre : forme 5753">
              <a:extLst>
                <a:ext uri="{FF2B5EF4-FFF2-40B4-BE49-F238E27FC236}">
                  <a16:creationId xmlns:a16="http://schemas.microsoft.com/office/drawing/2014/main" id="{445AC89F-0990-6B8D-B824-8F25F0004DE6}"/>
                </a:ext>
              </a:extLst>
            </p:cNvPr>
            <p:cNvSpPr/>
            <p:nvPr/>
          </p:nvSpPr>
          <p:spPr>
            <a:xfrm>
              <a:off x="6976071" y="5064475"/>
              <a:ext cx="192881" cy="381438"/>
            </a:xfrm>
            <a:custGeom>
              <a:avLst/>
              <a:gdLst>
                <a:gd name="connsiteX0" fmla="*/ 167973 w 192881"/>
                <a:gd name="connsiteY0" fmla="*/ 11659 h 381438"/>
                <a:gd name="connsiteX1" fmla="*/ 175060 w 192881"/>
                <a:gd name="connsiteY1" fmla="*/ 23231 h 381438"/>
                <a:gd name="connsiteX2" fmla="*/ 181670 w 192881"/>
                <a:gd name="connsiteY2" fmla="*/ 41234 h 381438"/>
                <a:gd name="connsiteX3" fmla="*/ 185976 w 192881"/>
                <a:gd name="connsiteY3" fmla="*/ 74162 h 381438"/>
                <a:gd name="connsiteX4" fmla="*/ 192881 w 192881"/>
                <a:gd name="connsiteY4" fmla="*/ 87011 h 381438"/>
                <a:gd name="connsiteX5" fmla="*/ 190233 w 192881"/>
                <a:gd name="connsiteY5" fmla="*/ 100212 h 381438"/>
                <a:gd name="connsiteX6" fmla="*/ 185509 w 192881"/>
                <a:gd name="connsiteY6" fmla="*/ 108337 h 381438"/>
                <a:gd name="connsiteX7" fmla="*/ 176441 w 192881"/>
                <a:gd name="connsiteY7" fmla="*/ 92183 h 381438"/>
                <a:gd name="connsiteX8" fmla="*/ 171412 w 192881"/>
                <a:gd name="connsiteY8" fmla="*/ 100336 h 381438"/>
                <a:gd name="connsiteX9" fmla="*/ 176517 w 192881"/>
                <a:gd name="connsiteY9" fmla="*/ 120796 h 381438"/>
                <a:gd name="connsiteX10" fmla="*/ 174136 w 192881"/>
                <a:gd name="connsiteY10" fmla="*/ 132540 h 381438"/>
                <a:gd name="connsiteX11" fmla="*/ 166773 w 192881"/>
                <a:gd name="connsiteY11" fmla="*/ 138951 h 381438"/>
                <a:gd name="connsiteX12" fmla="*/ 165087 w 192881"/>
                <a:gd name="connsiteY12" fmla="*/ 162535 h 381438"/>
                <a:gd name="connsiteX13" fmla="*/ 154571 w 192881"/>
                <a:gd name="connsiteY13" fmla="*/ 195177 h 381438"/>
                <a:gd name="connsiteX14" fmla="*/ 141398 w 192881"/>
                <a:gd name="connsiteY14" fmla="*/ 234058 h 381438"/>
                <a:gd name="connsiteX15" fmla="*/ 124901 w 192881"/>
                <a:gd name="connsiteY15" fmla="*/ 288112 h 381438"/>
                <a:gd name="connsiteX16" fmla="*/ 114671 w 192881"/>
                <a:gd name="connsiteY16" fmla="*/ 328250 h 381438"/>
                <a:gd name="connsiteX17" fmla="*/ 102603 w 192881"/>
                <a:gd name="connsiteY17" fmla="*/ 362065 h 381438"/>
                <a:gd name="connsiteX18" fmla="*/ 80876 w 192881"/>
                <a:gd name="connsiteY18" fmla="*/ 369008 h 381438"/>
                <a:gd name="connsiteX19" fmla="*/ 57569 w 192881"/>
                <a:gd name="connsiteY19" fmla="*/ 381438 h 381438"/>
                <a:gd name="connsiteX20" fmla="*/ 42186 w 192881"/>
                <a:gd name="connsiteY20" fmla="*/ 373932 h 381438"/>
                <a:gd name="connsiteX21" fmla="*/ 20984 w 192881"/>
                <a:gd name="connsiteY21" fmla="*/ 363427 h 381438"/>
                <a:gd name="connsiteX22" fmla="*/ 13611 w 192881"/>
                <a:gd name="connsiteY22" fmla="*/ 348006 h 381438"/>
                <a:gd name="connsiteX23" fmla="*/ 11849 w 192881"/>
                <a:gd name="connsiteY23" fmla="*/ 322221 h 381438"/>
                <a:gd name="connsiteX24" fmla="*/ 2448 w 192881"/>
                <a:gd name="connsiteY24" fmla="*/ 299190 h 381438"/>
                <a:gd name="connsiteX25" fmla="*/ 0 w 192881"/>
                <a:gd name="connsiteY25" fmla="*/ 278530 h 381438"/>
                <a:gd name="connsiteX26" fmla="*/ 4791 w 192881"/>
                <a:gd name="connsiteY26" fmla="*/ 257927 h 381438"/>
                <a:gd name="connsiteX27" fmla="*/ 17078 w 192881"/>
                <a:gd name="connsiteY27" fmla="*/ 252993 h 381438"/>
                <a:gd name="connsiteX28" fmla="*/ 17154 w 192881"/>
                <a:gd name="connsiteY28" fmla="*/ 243526 h 381438"/>
                <a:gd name="connsiteX29" fmla="*/ 29918 w 192881"/>
                <a:gd name="connsiteY29" fmla="*/ 222047 h 381438"/>
                <a:gd name="connsiteX30" fmla="*/ 32328 w 192881"/>
                <a:gd name="connsiteY30" fmla="*/ 204083 h 381438"/>
                <a:gd name="connsiteX31" fmla="*/ 26127 w 192881"/>
                <a:gd name="connsiteY31" fmla="*/ 190767 h 381438"/>
                <a:gd name="connsiteX32" fmla="*/ 21069 w 192881"/>
                <a:gd name="connsiteY32" fmla="*/ 173098 h 381438"/>
                <a:gd name="connsiteX33" fmla="*/ 18935 w 192881"/>
                <a:gd name="connsiteY33" fmla="*/ 147399 h 381438"/>
                <a:gd name="connsiteX34" fmla="*/ 28270 w 192881"/>
                <a:gd name="connsiteY34" fmla="*/ 131864 h 381438"/>
                <a:gd name="connsiteX35" fmla="*/ 31852 w 192881"/>
                <a:gd name="connsiteY35" fmla="*/ 114300 h 381438"/>
                <a:gd name="connsiteX36" fmla="*/ 45158 w 192881"/>
                <a:gd name="connsiteY36" fmla="*/ 113281 h 381438"/>
                <a:gd name="connsiteX37" fmla="*/ 60055 w 192881"/>
                <a:gd name="connsiteY37" fmla="*/ 107623 h 381438"/>
                <a:gd name="connsiteX38" fmla="*/ 69942 w 192881"/>
                <a:gd name="connsiteY38" fmla="*/ 102632 h 381438"/>
                <a:gd name="connsiteX39" fmla="*/ 81667 w 192881"/>
                <a:gd name="connsiteY39" fmla="*/ 102260 h 381438"/>
                <a:gd name="connsiteX40" fmla="*/ 96898 w 192881"/>
                <a:gd name="connsiteY40" fmla="*/ 86563 h 381438"/>
                <a:gd name="connsiteX41" fmla="*/ 118872 w 192881"/>
                <a:gd name="connsiteY41" fmla="*/ 69647 h 381438"/>
                <a:gd name="connsiteX42" fmla="*/ 126892 w 192881"/>
                <a:gd name="connsiteY42" fmla="*/ 55874 h 381438"/>
                <a:gd name="connsiteX43" fmla="*/ 123254 w 192881"/>
                <a:gd name="connsiteY43" fmla="*/ 44187 h 381438"/>
                <a:gd name="connsiteX44" fmla="*/ 134598 w 192881"/>
                <a:gd name="connsiteY44" fmla="*/ 47473 h 381438"/>
                <a:gd name="connsiteX45" fmla="*/ 149314 w 192881"/>
                <a:gd name="connsiteY45" fmla="*/ 28508 h 381438"/>
                <a:gd name="connsiteX46" fmla="*/ 149809 w 192881"/>
                <a:gd name="connsiteY46" fmla="*/ 12144 h 381438"/>
                <a:gd name="connsiteX47" fmla="*/ 158658 w 192881"/>
                <a:gd name="connsiteY47" fmla="*/ 0 h 381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92881" h="381438">
                  <a:moveTo>
                    <a:pt x="167973" y="11659"/>
                  </a:moveTo>
                  <a:lnTo>
                    <a:pt x="175060" y="23231"/>
                  </a:lnTo>
                  <a:lnTo>
                    <a:pt x="181670" y="41234"/>
                  </a:lnTo>
                  <a:lnTo>
                    <a:pt x="185976" y="74162"/>
                  </a:lnTo>
                  <a:lnTo>
                    <a:pt x="192881" y="87011"/>
                  </a:lnTo>
                  <a:lnTo>
                    <a:pt x="190233" y="100212"/>
                  </a:lnTo>
                  <a:lnTo>
                    <a:pt x="185509" y="108337"/>
                  </a:lnTo>
                  <a:lnTo>
                    <a:pt x="176441" y="92183"/>
                  </a:lnTo>
                  <a:lnTo>
                    <a:pt x="171412" y="100336"/>
                  </a:lnTo>
                  <a:lnTo>
                    <a:pt x="176517" y="120796"/>
                  </a:lnTo>
                  <a:lnTo>
                    <a:pt x="174136" y="132540"/>
                  </a:lnTo>
                  <a:lnTo>
                    <a:pt x="166773" y="138951"/>
                  </a:lnTo>
                  <a:lnTo>
                    <a:pt x="165087" y="162535"/>
                  </a:lnTo>
                  <a:lnTo>
                    <a:pt x="154571" y="195177"/>
                  </a:lnTo>
                  <a:lnTo>
                    <a:pt x="141398" y="234058"/>
                  </a:lnTo>
                  <a:lnTo>
                    <a:pt x="124901" y="288112"/>
                  </a:lnTo>
                  <a:lnTo>
                    <a:pt x="114671" y="328250"/>
                  </a:lnTo>
                  <a:lnTo>
                    <a:pt x="102603" y="362065"/>
                  </a:lnTo>
                  <a:lnTo>
                    <a:pt x="80876" y="369008"/>
                  </a:lnTo>
                  <a:lnTo>
                    <a:pt x="57569" y="381438"/>
                  </a:lnTo>
                  <a:lnTo>
                    <a:pt x="42186" y="373932"/>
                  </a:lnTo>
                  <a:lnTo>
                    <a:pt x="20984" y="363427"/>
                  </a:lnTo>
                  <a:lnTo>
                    <a:pt x="13611" y="348006"/>
                  </a:lnTo>
                  <a:lnTo>
                    <a:pt x="11849" y="322221"/>
                  </a:lnTo>
                  <a:lnTo>
                    <a:pt x="2448" y="299190"/>
                  </a:lnTo>
                  <a:lnTo>
                    <a:pt x="0" y="278530"/>
                  </a:lnTo>
                  <a:lnTo>
                    <a:pt x="4791" y="257927"/>
                  </a:lnTo>
                  <a:lnTo>
                    <a:pt x="17078" y="252993"/>
                  </a:lnTo>
                  <a:lnTo>
                    <a:pt x="17154" y="243526"/>
                  </a:lnTo>
                  <a:lnTo>
                    <a:pt x="29918" y="222047"/>
                  </a:lnTo>
                  <a:lnTo>
                    <a:pt x="32328" y="204083"/>
                  </a:lnTo>
                  <a:lnTo>
                    <a:pt x="26127" y="190767"/>
                  </a:lnTo>
                  <a:lnTo>
                    <a:pt x="21069" y="173098"/>
                  </a:lnTo>
                  <a:lnTo>
                    <a:pt x="18935" y="147399"/>
                  </a:lnTo>
                  <a:lnTo>
                    <a:pt x="28270" y="131864"/>
                  </a:lnTo>
                  <a:lnTo>
                    <a:pt x="31852" y="114300"/>
                  </a:lnTo>
                  <a:lnTo>
                    <a:pt x="45158" y="113281"/>
                  </a:lnTo>
                  <a:lnTo>
                    <a:pt x="60055" y="107623"/>
                  </a:lnTo>
                  <a:lnTo>
                    <a:pt x="69942" y="102632"/>
                  </a:lnTo>
                  <a:lnTo>
                    <a:pt x="81667" y="102260"/>
                  </a:lnTo>
                  <a:lnTo>
                    <a:pt x="96898" y="86563"/>
                  </a:lnTo>
                  <a:lnTo>
                    <a:pt x="118872" y="69647"/>
                  </a:lnTo>
                  <a:lnTo>
                    <a:pt x="126892" y="55874"/>
                  </a:lnTo>
                  <a:lnTo>
                    <a:pt x="123254" y="44187"/>
                  </a:lnTo>
                  <a:lnTo>
                    <a:pt x="134598" y="47473"/>
                  </a:lnTo>
                  <a:lnTo>
                    <a:pt x="149314" y="28508"/>
                  </a:lnTo>
                  <a:lnTo>
                    <a:pt x="149809" y="12144"/>
                  </a:lnTo>
                  <a:lnTo>
                    <a:pt x="158658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5" name="Forme libre : forme 5754">
              <a:extLst>
                <a:ext uri="{FF2B5EF4-FFF2-40B4-BE49-F238E27FC236}">
                  <a16:creationId xmlns:a16="http://schemas.microsoft.com/office/drawing/2014/main" id="{9F270C6A-2441-0917-1A1E-337AEDFE8D71}"/>
                </a:ext>
              </a:extLst>
            </p:cNvPr>
            <p:cNvSpPr/>
            <p:nvPr/>
          </p:nvSpPr>
          <p:spPr>
            <a:xfrm>
              <a:off x="6367395" y="3499851"/>
              <a:ext cx="66484" cy="52558"/>
            </a:xfrm>
            <a:custGeom>
              <a:avLst/>
              <a:gdLst>
                <a:gd name="connsiteX0" fmla="*/ 3400 w 66484"/>
                <a:gd name="connsiteY0" fmla="*/ 16669 h 52558"/>
                <a:gd name="connsiteX1" fmla="*/ 6791 w 66484"/>
                <a:gd name="connsiteY1" fmla="*/ 16964 h 52558"/>
                <a:gd name="connsiteX2" fmla="*/ 7991 w 66484"/>
                <a:gd name="connsiteY2" fmla="*/ 9630 h 52558"/>
                <a:gd name="connsiteX3" fmla="*/ 23765 w 66484"/>
                <a:gd name="connsiteY3" fmla="*/ 4076 h 52558"/>
                <a:gd name="connsiteX4" fmla="*/ 29737 w 66484"/>
                <a:gd name="connsiteY4" fmla="*/ 2695 h 52558"/>
                <a:gd name="connsiteX5" fmla="*/ 38834 w 66484"/>
                <a:gd name="connsiteY5" fmla="*/ 600 h 52558"/>
                <a:gd name="connsiteX6" fmla="*/ 51216 w 66484"/>
                <a:gd name="connsiteY6" fmla="*/ 0 h 52558"/>
                <a:gd name="connsiteX7" fmla="*/ 64589 w 66484"/>
                <a:gd name="connsiteY7" fmla="*/ 11516 h 52558"/>
                <a:gd name="connsiteX8" fmla="*/ 66484 w 66484"/>
                <a:gd name="connsiteY8" fmla="*/ 35071 h 52558"/>
                <a:gd name="connsiteX9" fmla="*/ 61398 w 66484"/>
                <a:gd name="connsiteY9" fmla="*/ 36252 h 52558"/>
                <a:gd name="connsiteX10" fmla="*/ 56998 w 66484"/>
                <a:gd name="connsiteY10" fmla="*/ 42415 h 52558"/>
                <a:gd name="connsiteX11" fmla="*/ 42529 w 66484"/>
                <a:gd name="connsiteY11" fmla="*/ 41729 h 52558"/>
                <a:gd name="connsiteX12" fmla="*/ 32347 w 66484"/>
                <a:gd name="connsiteY12" fmla="*/ 49444 h 52558"/>
                <a:gd name="connsiteX13" fmla="*/ 14878 w 66484"/>
                <a:gd name="connsiteY13" fmla="*/ 52559 h 52558"/>
                <a:gd name="connsiteX14" fmla="*/ 3800 w 66484"/>
                <a:gd name="connsiteY14" fmla="*/ 43977 h 52558"/>
                <a:gd name="connsiteX15" fmla="*/ 0 w 66484"/>
                <a:gd name="connsiteY15" fmla="*/ 28794 h 52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484" h="52558">
                  <a:moveTo>
                    <a:pt x="3400" y="16669"/>
                  </a:moveTo>
                  <a:lnTo>
                    <a:pt x="6791" y="16964"/>
                  </a:lnTo>
                  <a:lnTo>
                    <a:pt x="7991" y="9630"/>
                  </a:lnTo>
                  <a:lnTo>
                    <a:pt x="23765" y="4076"/>
                  </a:lnTo>
                  <a:lnTo>
                    <a:pt x="29737" y="2695"/>
                  </a:lnTo>
                  <a:lnTo>
                    <a:pt x="38834" y="600"/>
                  </a:lnTo>
                  <a:lnTo>
                    <a:pt x="51216" y="0"/>
                  </a:lnTo>
                  <a:lnTo>
                    <a:pt x="64589" y="11516"/>
                  </a:lnTo>
                  <a:lnTo>
                    <a:pt x="66484" y="35071"/>
                  </a:lnTo>
                  <a:lnTo>
                    <a:pt x="61398" y="36252"/>
                  </a:lnTo>
                  <a:lnTo>
                    <a:pt x="56998" y="42415"/>
                  </a:lnTo>
                  <a:lnTo>
                    <a:pt x="42529" y="41729"/>
                  </a:lnTo>
                  <a:lnTo>
                    <a:pt x="32347" y="49444"/>
                  </a:lnTo>
                  <a:lnTo>
                    <a:pt x="14878" y="52559"/>
                  </a:lnTo>
                  <a:lnTo>
                    <a:pt x="3800" y="43977"/>
                  </a:lnTo>
                  <a:lnTo>
                    <a:pt x="0" y="2879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6" name="Forme libre : forme 5755">
              <a:extLst>
                <a:ext uri="{FF2B5EF4-FFF2-40B4-BE49-F238E27FC236}">
                  <a16:creationId xmlns:a16="http://schemas.microsoft.com/office/drawing/2014/main" id="{5040D0E9-476E-0FB2-749C-C0438F3BDDEB}"/>
                </a:ext>
              </a:extLst>
            </p:cNvPr>
            <p:cNvSpPr/>
            <p:nvPr/>
          </p:nvSpPr>
          <p:spPr>
            <a:xfrm>
              <a:off x="5495858" y="4057806"/>
              <a:ext cx="439083" cy="415594"/>
            </a:xfrm>
            <a:custGeom>
              <a:avLst/>
              <a:gdLst>
                <a:gd name="connsiteX0" fmla="*/ 0 w 439083"/>
                <a:gd name="connsiteY0" fmla="*/ 292761 h 415594"/>
                <a:gd name="connsiteX1" fmla="*/ 8992 w 439083"/>
                <a:gd name="connsiteY1" fmla="*/ 287760 h 415594"/>
                <a:gd name="connsiteX2" fmla="*/ 13478 w 439083"/>
                <a:gd name="connsiteY2" fmla="*/ 271567 h 415594"/>
                <a:gd name="connsiteX3" fmla="*/ 21946 w 439083"/>
                <a:gd name="connsiteY3" fmla="*/ 270939 h 415594"/>
                <a:gd name="connsiteX4" fmla="*/ 40596 w 439083"/>
                <a:gd name="connsiteY4" fmla="*/ 278597 h 415594"/>
                <a:gd name="connsiteX5" fmla="*/ 55655 w 439083"/>
                <a:gd name="connsiteY5" fmla="*/ 273158 h 415594"/>
                <a:gd name="connsiteX6" fmla="*/ 65980 w 439083"/>
                <a:gd name="connsiteY6" fmla="*/ 274977 h 415594"/>
                <a:gd name="connsiteX7" fmla="*/ 69990 w 439083"/>
                <a:gd name="connsiteY7" fmla="*/ 268862 h 415594"/>
                <a:gd name="connsiteX8" fmla="*/ 177146 w 439083"/>
                <a:gd name="connsiteY8" fmla="*/ 268443 h 415594"/>
                <a:gd name="connsiteX9" fmla="*/ 183090 w 439083"/>
                <a:gd name="connsiteY9" fmla="*/ 249127 h 415594"/>
                <a:gd name="connsiteX10" fmla="*/ 178461 w 439083"/>
                <a:gd name="connsiteY10" fmla="*/ 245717 h 415594"/>
                <a:gd name="connsiteX11" fmla="*/ 165573 w 439083"/>
                <a:gd name="connsiteY11" fmla="*/ 124892 h 415594"/>
                <a:gd name="connsiteX12" fmla="*/ 152686 w 439083"/>
                <a:gd name="connsiteY12" fmla="*/ 533 h 415594"/>
                <a:gd name="connsiteX13" fmla="*/ 193558 w 439083"/>
                <a:gd name="connsiteY13" fmla="*/ 0 h 415594"/>
                <a:gd name="connsiteX14" fmla="*/ 283645 w 439083"/>
                <a:gd name="connsiteY14" fmla="*/ 63380 h 415594"/>
                <a:gd name="connsiteX15" fmla="*/ 373732 w 439083"/>
                <a:gd name="connsiteY15" fmla="*/ 125740 h 415594"/>
                <a:gd name="connsiteX16" fmla="*/ 380086 w 439083"/>
                <a:gd name="connsiteY16" fmla="*/ 139008 h 415594"/>
                <a:gd name="connsiteX17" fmla="*/ 396707 w 439083"/>
                <a:gd name="connsiteY17" fmla="*/ 147095 h 415594"/>
                <a:gd name="connsiteX18" fmla="*/ 409080 w 439083"/>
                <a:gd name="connsiteY18" fmla="*/ 151676 h 415594"/>
                <a:gd name="connsiteX19" fmla="*/ 409385 w 439083"/>
                <a:gd name="connsiteY19" fmla="*/ 169583 h 415594"/>
                <a:gd name="connsiteX20" fmla="*/ 439007 w 439083"/>
                <a:gd name="connsiteY20" fmla="*/ 166831 h 415594"/>
                <a:gd name="connsiteX21" fmla="*/ 439084 w 439083"/>
                <a:gd name="connsiteY21" fmla="*/ 231124 h 415594"/>
                <a:gd name="connsiteX22" fmla="*/ 424482 w 439083"/>
                <a:gd name="connsiteY22" fmla="*/ 249612 h 415594"/>
                <a:gd name="connsiteX23" fmla="*/ 422205 w 439083"/>
                <a:gd name="connsiteY23" fmla="*/ 266615 h 415594"/>
                <a:gd name="connsiteX24" fmla="*/ 398479 w 439083"/>
                <a:gd name="connsiteY24" fmla="*/ 270986 h 415594"/>
                <a:gd name="connsiteX25" fmla="*/ 362045 w 439083"/>
                <a:gd name="connsiteY25" fmla="*/ 273349 h 415594"/>
                <a:gd name="connsiteX26" fmla="*/ 352168 w 439083"/>
                <a:gd name="connsiteY26" fmla="*/ 283112 h 415594"/>
                <a:gd name="connsiteX27" fmla="*/ 335051 w 439083"/>
                <a:gd name="connsiteY27" fmla="*/ 284197 h 415594"/>
                <a:gd name="connsiteX28" fmla="*/ 317926 w 439083"/>
                <a:gd name="connsiteY28" fmla="*/ 284321 h 415594"/>
                <a:gd name="connsiteX29" fmla="*/ 311268 w 439083"/>
                <a:gd name="connsiteY29" fmla="*/ 279054 h 415594"/>
                <a:gd name="connsiteX30" fmla="*/ 296561 w 439083"/>
                <a:gd name="connsiteY30" fmla="*/ 282959 h 415594"/>
                <a:gd name="connsiteX31" fmla="*/ 271606 w 439083"/>
                <a:gd name="connsiteY31" fmla="*/ 294351 h 415594"/>
                <a:gd name="connsiteX32" fmla="*/ 266500 w 439083"/>
                <a:gd name="connsiteY32" fmla="*/ 302914 h 415594"/>
                <a:gd name="connsiteX33" fmla="*/ 245783 w 439083"/>
                <a:gd name="connsiteY33" fmla="*/ 315173 h 415594"/>
                <a:gd name="connsiteX34" fmla="*/ 242154 w 439083"/>
                <a:gd name="connsiteY34" fmla="*/ 322193 h 415594"/>
                <a:gd name="connsiteX35" fmla="*/ 230953 w 439083"/>
                <a:gd name="connsiteY35" fmla="*/ 327746 h 415594"/>
                <a:gd name="connsiteX36" fmla="*/ 218046 w 439083"/>
                <a:gd name="connsiteY36" fmla="*/ 324069 h 415594"/>
                <a:gd name="connsiteX37" fmla="*/ 210722 w 439083"/>
                <a:gd name="connsiteY37" fmla="*/ 330727 h 415594"/>
                <a:gd name="connsiteX38" fmla="*/ 206807 w 439083"/>
                <a:gd name="connsiteY38" fmla="*/ 349396 h 415594"/>
                <a:gd name="connsiteX39" fmla="*/ 185604 w 439083"/>
                <a:gd name="connsiteY39" fmla="*/ 371885 h 415594"/>
                <a:gd name="connsiteX40" fmla="*/ 186223 w 439083"/>
                <a:gd name="connsiteY40" fmla="*/ 381057 h 415594"/>
                <a:gd name="connsiteX41" fmla="*/ 178937 w 439083"/>
                <a:gd name="connsiteY41" fmla="*/ 392525 h 415594"/>
                <a:gd name="connsiteX42" fmla="*/ 180708 w 439083"/>
                <a:gd name="connsiteY42" fmla="*/ 408204 h 415594"/>
                <a:gd name="connsiteX43" fmla="*/ 169688 w 439083"/>
                <a:gd name="connsiteY43" fmla="*/ 412195 h 415594"/>
                <a:gd name="connsiteX44" fmla="*/ 163459 w 439083"/>
                <a:gd name="connsiteY44" fmla="*/ 415595 h 415594"/>
                <a:gd name="connsiteX45" fmla="*/ 159315 w 439083"/>
                <a:gd name="connsiteY45" fmla="*/ 404060 h 415594"/>
                <a:gd name="connsiteX46" fmla="*/ 151610 w 439083"/>
                <a:gd name="connsiteY46" fmla="*/ 407108 h 415594"/>
                <a:gd name="connsiteX47" fmla="*/ 146999 w 439083"/>
                <a:gd name="connsiteY47" fmla="*/ 406575 h 415594"/>
                <a:gd name="connsiteX48" fmla="*/ 142085 w 439083"/>
                <a:gd name="connsiteY48" fmla="*/ 414452 h 415594"/>
                <a:gd name="connsiteX49" fmla="*/ 121463 w 439083"/>
                <a:gd name="connsiteY49" fmla="*/ 414233 h 415594"/>
                <a:gd name="connsiteX50" fmla="*/ 114072 w 439083"/>
                <a:gd name="connsiteY50" fmla="*/ 410175 h 415594"/>
                <a:gd name="connsiteX51" fmla="*/ 110585 w 439083"/>
                <a:gd name="connsiteY51" fmla="*/ 412633 h 415594"/>
                <a:gd name="connsiteX52" fmla="*/ 102432 w 439083"/>
                <a:gd name="connsiteY52" fmla="*/ 404851 h 415594"/>
                <a:gd name="connsiteX53" fmla="*/ 103842 w 439083"/>
                <a:gd name="connsiteY53" fmla="*/ 396812 h 415594"/>
                <a:gd name="connsiteX54" fmla="*/ 100508 w 439083"/>
                <a:gd name="connsiteY54" fmla="*/ 393659 h 415594"/>
                <a:gd name="connsiteX55" fmla="*/ 94822 w 439083"/>
                <a:gd name="connsiteY55" fmla="*/ 396316 h 415594"/>
                <a:gd name="connsiteX56" fmla="*/ 95860 w 439083"/>
                <a:gd name="connsiteY56" fmla="*/ 387525 h 415594"/>
                <a:gd name="connsiteX57" fmla="*/ 101337 w 439083"/>
                <a:gd name="connsiteY57" fmla="*/ 380562 h 415594"/>
                <a:gd name="connsiteX58" fmla="*/ 90392 w 439083"/>
                <a:gd name="connsiteY58" fmla="*/ 369218 h 415594"/>
                <a:gd name="connsiteX59" fmla="*/ 87211 w 439083"/>
                <a:gd name="connsiteY59" fmla="*/ 361731 h 415594"/>
                <a:gd name="connsiteX60" fmla="*/ 81277 w 439083"/>
                <a:gd name="connsiteY60" fmla="*/ 355768 h 415594"/>
                <a:gd name="connsiteX61" fmla="*/ 75933 w 439083"/>
                <a:gd name="connsiteY61" fmla="*/ 355054 h 415594"/>
                <a:gd name="connsiteX62" fmla="*/ 69513 w 439083"/>
                <a:gd name="connsiteY62" fmla="*/ 358855 h 415594"/>
                <a:gd name="connsiteX63" fmla="*/ 60884 w 439083"/>
                <a:gd name="connsiteY63" fmla="*/ 362493 h 415594"/>
                <a:gd name="connsiteX64" fmla="*/ 53559 w 439083"/>
                <a:gd name="connsiteY64" fmla="*/ 368360 h 415594"/>
                <a:gd name="connsiteX65" fmla="*/ 42129 w 439083"/>
                <a:gd name="connsiteY65" fmla="*/ 366189 h 415594"/>
                <a:gd name="connsiteX66" fmla="*/ 34719 w 439083"/>
                <a:gd name="connsiteY66" fmla="*/ 359302 h 415594"/>
                <a:gd name="connsiteX67" fmla="*/ 30290 w 439083"/>
                <a:gd name="connsiteY67" fmla="*/ 358397 h 415594"/>
                <a:gd name="connsiteX68" fmla="*/ 23317 w 439083"/>
                <a:gd name="connsiteY68" fmla="*/ 362017 h 415594"/>
                <a:gd name="connsiteX69" fmla="*/ 19079 w 439083"/>
                <a:gd name="connsiteY69" fmla="*/ 362045 h 415594"/>
                <a:gd name="connsiteX70" fmla="*/ 17545 w 439083"/>
                <a:gd name="connsiteY70" fmla="*/ 352101 h 415594"/>
                <a:gd name="connsiteX71" fmla="*/ 18774 w 439083"/>
                <a:gd name="connsiteY71" fmla="*/ 343634 h 415594"/>
                <a:gd name="connsiteX72" fmla="*/ 16488 w 439083"/>
                <a:gd name="connsiteY72" fmla="*/ 333099 h 415594"/>
                <a:gd name="connsiteX73" fmla="*/ 6496 w 439083"/>
                <a:gd name="connsiteY73" fmla="*/ 325441 h 415594"/>
                <a:gd name="connsiteX74" fmla="*/ 1219 w 439083"/>
                <a:gd name="connsiteY74" fmla="*/ 309801 h 415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439083" h="415594">
                  <a:moveTo>
                    <a:pt x="0" y="292761"/>
                  </a:moveTo>
                  <a:lnTo>
                    <a:pt x="8992" y="287760"/>
                  </a:lnTo>
                  <a:lnTo>
                    <a:pt x="13478" y="271567"/>
                  </a:lnTo>
                  <a:lnTo>
                    <a:pt x="21946" y="270939"/>
                  </a:lnTo>
                  <a:lnTo>
                    <a:pt x="40596" y="278597"/>
                  </a:lnTo>
                  <a:lnTo>
                    <a:pt x="55655" y="273158"/>
                  </a:lnTo>
                  <a:lnTo>
                    <a:pt x="65980" y="274977"/>
                  </a:lnTo>
                  <a:lnTo>
                    <a:pt x="69990" y="268862"/>
                  </a:lnTo>
                  <a:lnTo>
                    <a:pt x="177146" y="268443"/>
                  </a:lnTo>
                  <a:lnTo>
                    <a:pt x="183090" y="249127"/>
                  </a:lnTo>
                  <a:lnTo>
                    <a:pt x="178461" y="245717"/>
                  </a:lnTo>
                  <a:lnTo>
                    <a:pt x="165573" y="124892"/>
                  </a:lnTo>
                  <a:lnTo>
                    <a:pt x="152686" y="533"/>
                  </a:lnTo>
                  <a:lnTo>
                    <a:pt x="193558" y="0"/>
                  </a:lnTo>
                  <a:lnTo>
                    <a:pt x="283645" y="63380"/>
                  </a:lnTo>
                  <a:lnTo>
                    <a:pt x="373732" y="125740"/>
                  </a:lnTo>
                  <a:lnTo>
                    <a:pt x="380086" y="139008"/>
                  </a:lnTo>
                  <a:lnTo>
                    <a:pt x="396707" y="147095"/>
                  </a:lnTo>
                  <a:lnTo>
                    <a:pt x="409080" y="151676"/>
                  </a:lnTo>
                  <a:lnTo>
                    <a:pt x="409385" y="169583"/>
                  </a:lnTo>
                  <a:lnTo>
                    <a:pt x="439007" y="166831"/>
                  </a:lnTo>
                  <a:lnTo>
                    <a:pt x="439084" y="231124"/>
                  </a:lnTo>
                  <a:lnTo>
                    <a:pt x="424482" y="249612"/>
                  </a:lnTo>
                  <a:lnTo>
                    <a:pt x="422205" y="266615"/>
                  </a:lnTo>
                  <a:lnTo>
                    <a:pt x="398479" y="270986"/>
                  </a:lnTo>
                  <a:lnTo>
                    <a:pt x="362045" y="273349"/>
                  </a:lnTo>
                  <a:lnTo>
                    <a:pt x="352168" y="283112"/>
                  </a:lnTo>
                  <a:lnTo>
                    <a:pt x="335051" y="284197"/>
                  </a:lnTo>
                  <a:lnTo>
                    <a:pt x="317926" y="284321"/>
                  </a:lnTo>
                  <a:lnTo>
                    <a:pt x="311268" y="279054"/>
                  </a:lnTo>
                  <a:lnTo>
                    <a:pt x="296561" y="282959"/>
                  </a:lnTo>
                  <a:lnTo>
                    <a:pt x="271606" y="294351"/>
                  </a:lnTo>
                  <a:lnTo>
                    <a:pt x="266500" y="302914"/>
                  </a:lnTo>
                  <a:lnTo>
                    <a:pt x="245783" y="315173"/>
                  </a:lnTo>
                  <a:lnTo>
                    <a:pt x="242154" y="322193"/>
                  </a:lnTo>
                  <a:lnTo>
                    <a:pt x="230953" y="327746"/>
                  </a:lnTo>
                  <a:lnTo>
                    <a:pt x="218046" y="324069"/>
                  </a:lnTo>
                  <a:lnTo>
                    <a:pt x="210722" y="330727"/>
                  </a:lnTo>
                  <a:lnTo>
                    <a:pt x="206807" y="349396"/>
                  </a:lnTo>
                  <a:lnTo>
                    <a:pt x="185604" y="371885"/>
                  </a:lnTo>
                  <a:lnTo>
                    <a:pt x="186223" y="381057"/>
                  </a:lnTo>
                  <a:lnTo>
                    <a:pt x="178937" y="392525"/>
                  </a:lnTo>
                  <a:lnTo>
                    <a:pt x="180708" y="408204"/>
                  </a:lnTo>
                  <a:lnTo>
                    <a:pt x="169688" y="412195"/>
                  </a:lnTo>
                  <a:lnTo>
                    <a:pt x="163459" y="415595"/>
                  </a:lnTo>
                  <a:lnTo>
                    <a:pt x="159315" y="404060"/>
                  </a:lnTo>
                  <a:lnTo>
                    <a:pt x="151610" y="407108"/>
                  </a:lnTo>
                  <a:lnTo>
                    <a:pt x="146999" y="406575"/>
                  </a:lnTo>
                  <a:lnTo>
                    <a:pt x="142085" y="414452"/>
                  </a:lnTo>
                  <a:lnTo>
                    <a:pt x="121463" y="414233"/>
                  </a:lnTo>
                  <a:lnTo>
                    <a:pt x="114072" y="410175"/>
                  </a:lnTo>
                  <a:lnTo>
                    <a:pt x="110585" y="412633"/>
                  </a:lnTo>
                  <a:lnTo>
                    <a:pt x="102432" y="404851"/>
                  </a:lnTo>
                  <a:lnTo>
                    <a:pt x="103842" y="396812"/>
                  </a:lnTo>
                  <a:lnTo>
                    <a:pt x="100508" y="393659"/>
                  </a:lnTo>
                  <a:lnTo>
                    <a:pt x="94822" y="396316"/>
                  </a:lnTo>
                  <a:lnTo>
                    <a:pt x="95860" y="387525"/>
                  </a:lnTo>
                  <a:lnTo>
                    <a:pt x="101337" y="380562"/>
                  </a:lnTo>
                  <a:lnTo>
                    <a:pt x="90392" y="369218"/>
                  </a:lnTo>
                  <a:lnTo>
                    <a:pt x="87211" y="361731"/>
                  </a:lnTo>
                  <a:lnTo>
                    <a:pt x="81277" y="355768"/>
                  </a:lnTo>
                  <a:lnTo>
                    <a:pt x="75933" y="355054"/>
                  </a:lnTo>
                  <a:lnTo>
                    <a:pt x="69513" y="358855"/>
                  </a:lnTo>
                  <a:lnTo>
                    <a:pt x="60884" y="362493"/>
                  </a:lnTo>
                  <a:lnTo>
                    <a:pt x="53559" y="368360"/>
                  </a:lnTo>
                  <a:lnTo>
                    <a:pt x="42129" y="366189"/>
                  </a:lnTo>
                  <a:lnTo>
                    <a:pt x="34719" y="359302"/>
                  </a:lnTo>
                  <a:lnTo>
                    <a:pt x="30290" y="358397"/>
                  </a:lnTo>
                  <a:lnTo>
                    <a:pt x="23317" y="362017"/>
                  </a:lnTo>
                  <a:lnTo>
                    <a:pt x="19079" y="362045"/>
                  </a:lnTo>
                  <a:lnTo>
                    <a:pt x="17545" y="352101"/>
                  </a:lnTo>
                  <a:lnTo>
                    <a:pt x="18774" y="343634"/>
                  </a:lnTo>
                  <a:lnTo>
                    <a:pt x="16488" y="333099"/>
                  </a:lnTo>
                  <a:lnTo>
                    <a:pt x="6496" y="325441"/>
                  </a:lnTo>
                  <a:lnTo>
                    <a:pt x="1219" y="3098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7" name="Forme libre : forme 5756">
              <a:extLst>
                <a:ext uri="{FF2B5EF4-FFF2-40B4-BE49-F238E27FC236}">
                  <a16:creationId xmlns:a16="http://schemas.microsoft.com/office/drawing/2014/main" id="{E134F3BD-AE82-015C-551E-987F40666768}"/>
                </a:ext>
              </a:extLst>
            </p:cNvPr>
            <p:cNvSpPr/>
            <p:nvPr/>
          </p:nvSpPr>
          <p:spPr>
            <a:xfrm>
              <a:off x="8286016" y="3957879"/>
              <a:ext cx="237068" cy="519931"/>
            </a:xfrm>
            <a:custGeom>
              <a:avLst/>
              <a:gdLst>
                <a:gd name="connsiteX0" fmla="*/ 193348 w 237068"/>
                <a:gd name="connsiteY0" fmla="*/ 237677 h 519931"/>
                <a:gd name="connsiteX1" fmla="*/ 177775 w 237068"/>
                <a:gd name="connsiteY1" fmla="*/ 249927 h 519931"/>
                <a:gd name="connsiteX2" fmla="*/ 158915 w 237068"/>
                <a:gd name="connsiteY2" fmla="*/ 251193 h 519931"/>
                <a:gd name="connsiteX3" fmla="*/ 146742 w 237068"/>
                <a:gd name="connsiteY3" fmla="*/ 281578 h 519931"/>
                <a:gd name="connsiteX4" fmla="*/ 135465 w 237068"/>
                <a:gd name="connsiteY4" fmla="*/ 286664 h 519931"/>
                <a:gd name="connsiteX5" fmla="*/ 148380 w 237068"/>
                <a:gd name="connsiteY5" fmla="*/ 311163 h 519931"/>
                <a:gd name="connsiteX6" fmla="*/ 165325 w 237068"/>
                <a:gd name="connsiteY6" fmla="*/ 331451 h 519931"/>
                <a:gd name="connsiteX7" fmla="*/ 176260 w 237068"/>
                <a:gd name="connsiteY7" fmla="*/ 349711 h 519931"/>
                <a:gd name="connsiteX8" fmla="*/ 166488 w 237068"/>
                <a:gd name="connsiteY8" fmla="*/ 373694 h 519931"/>
                <a:gd name="connsiteX9" fmla="*/ 157267 w 237068"/>
                <a:gd name="connsiteY9" fmla="*/ 378771 h 519931"/>
                <a:gd name="connsiteX10" fmla="*/ 163639 w 237068"/>
                <a:gd name="connsiteY10" fmla="*/ 392544 h 519931"/>
                <a:gd name="connsiteX11" fmla="*/ 181451 w 237068"/>
                <a:gd name="connsiteY11" fmla="*/ 414299 h 519931"/>
                <a:gd name="connsiteX12" fmla="*/ 184509 w 237068"/>
                <a:gd name="connsiteY12" fmla="*/ 429539 h 519931"/>
                <a:gd name="connsiteX13" fmla="*/ 184090 w 237068"/>
                <a:gd name="connsiteY13" fmla="*/ 442189 h 519931"/>
                <a:gd name="connsiteX14" fmla="*/ 194529 w 237068"/>
                <a:gd name="connsiteY14" fmla="*/ 466963 h 519931"/>
                <a:gd name="connsiteX15" fmla="*/ 179861 w 237068"/>
                <a:gd name="connsiteY15" fmla="*/ 492205 h 519931"/>
                <a:gd name="connsiteX16" fmla="*/ 166926 w 237068"/>
                <a:gd name="connsiteY16" fmla="*/ 519932 h 519931"/>
                <a:gd name="connsiteX17" fmla="*/ 164354 w 237068"/>
                <a:gd name="connsiteY17" fmla="*/ 499910 h 519931"/>
                <a:gd name="connsiteX18" fmla="*/ 172555 w 237068"/>
                <a:gd name="connsiteY18" fmla="*/ 479203 h 519931"/>
                <a:gd name="connsiteX19" fmla="*/ 163573 w 237068"/>
                <a:gd name="connsiteY19" fmla="*/ 463163 h 519931"/>
                <a:gd name="connsiteX20" fmla="*/ 165745 w 237068"/>
                <a:gd name="connsiteY20" fmla="*/ 433540 h 519931"/>
                <a:gd name="connsiteX21" fmla="*/ 154905 w 237068"/>
                <a:gd name="connsiteY21" fmla="*/ 419405 h 519931"/>
                <a:gd name="connsiteX22" fmla="*/ 146199 w 237068"/>
                <a:gd name="connsiteY22" fmla="*/ 386639 h 519931"/>
                <a:gd name="connsiteX23" fmla="*/ 141370 w 237068"/>
                <a:gd name="connsiteY23" fmla="*/ 351854 h 519931"/>
                <a:gd name="connsiteX24" fmla="*/ 129826 w 237068"/>
                <a:gd name="connsiteY24" fmla="*/ 328917 h 519931"/>
                <a:gd name="connsiteX25" fmla="*/ 112233 w 237068"/>
                <a:gd name="connsiteY25" fmla="*/ 342814 h 519931"/>
                <a:gd name="connsiteX26" fmla="*/ 81877 w 237068"/>
                <a:gd name="connsiteY26" fmla="*/ 362512 h 519931"/>
                <a:gd name="connsiteX27" fmla="*/ 66903 w 237068"/>
                <a:gd name="connsiteY27" fmla="*/ 360055 h 519931"/>
                <a:gd name="connsiteX28" fmla="*/ 50359 w 237068"/>
                <a:gd name="connsiteY28" fmla="*/ 353578 h 519931"/>
                <a:gd name="connsiteX29" fmla="*/ 59560 w 237068"/>
                <a:gd name="connsiteY29" fmla="*/ 319249 h 519931"/>
                <a:gd name="connsiteX30" fmla="*/ 53988 w 237068"/>
                <a:gd name="connsiteY30" fmla="*/ 293151 h 519931"/>
                <a:gd name="connsiteX31" fmla="*/ 33052 w 237068"/>
                <a:gd name="connsiteY31" fmla="*/ 260814 h 519931"/>
                <a:gd name="connsiteX32" fmla="*/ 36319 w 237068"/>
                <a:gd name="connsiteY32" fmla="*/ 250670 h 519931"/>
                <a:gd name="connsiteX33" fmla="*/ 20688 w 237068"/>
                <a:gd name="connsiteY33" fmla="*/ 247050 h 519931"/>
                <a:gd name="connsiteX34" fmla="*/ 1743 w 237068"/>
                <a:gd name="connsiteY34" fmla="*/ 223961 h 519931"/>
                <a:gd name="connsiteX35" fmla="*/ 0 w 237068"/>
                <a:gd name="connsiteY35" fmla="*/ 201073 h 519931"/>
                <a:gd name="connsiteX36" fmla="*/ 9316 w 237068"/>
                <a:gd name="connsiteY36" fmla="*/ 205388 h 519931"/>
                <a:gd name="connsiteX37" fmla="*/ 9868 w 237068"/>
                <a:gd name="connsiteY37" fmla="*/ 184890 h 519931"/>
                <a:gd name="connsiteX38" fmla="*/ 23041 w 237068"/>
                <a:gd name="connsiteY38" fmla="*/ 178089 h 519931"/>
                <a:gd name="connsiteX39" fmla="*/ 20222 w 237068"/>
                <a:gd name="connsiteY39" fmla="*/ 165888 h 519931"/>
                <a:gd name="connsiteX40" fmla="*/ 26251 w 237068"/>
                <a:gd name="connsiteY40" fmla="*/ 156067 h 519931"/>
                <a:gd name="connsiteX41" fmla="*/ 27289 w 237068"/>
                <a:gd name="connsiteY41" fmla="*/ 126082 h 519931"/>
                <a:gd name="connsiteX42" fmla="*/ 48159 w 237068"/>
                <a:gd name="connsiteY42" fmla="*/ 132712 h 519931"/>
                <a:gd name="connsiteX43" fmla="*/ 60065 w 237068"/>
                <a:gd name="connsiteY43" fmla="*/ 108690 h 519931"/>
                <a:gd name="connsiteX44" fmla="*/ 61427 w 237068"/>
                <a:gd name="connsiteY44" fmla="*/ 94422 h 519931"/>
                <a:gd name="connsiteX45" fmla="*/ 76162 w 237068"/>
                <a:gd name="connsiteY45" fmla="*/ 69713 h 519931"/>
                <a:gd name="connsiteX46" fmla="*/ 75352 w 237068"/>
                <a:gd name="connsiteY46" fmla="*/ 52769 h 519931"/>
                <a:gd name="connsiteX47" fmla="*/ 109928 w 237068"/>
                <a:gd name="connsiteY47" fmla="*/ 32176 h 519931"/>
                <a:gd name="connsiteX48" fmla="*/ 129017 w 237068"/>
                <a:gd name="connsiteY48" fmla="*/ 37576 h 519931"/>
                <a:gd name="connsiteX49" fmla="*/ 126816 w 237068"/>
                <a:gd name="connsiteY49" fmla="*/ 19165 h 519931"/>
                <a:gd name="connsiteX50" fmla="*/ 136179 w 237068"/>
                <a:gd name="connsiteY50" fmla="*/ 13659 h 519931"/>
                <a:gd name="connsiteX51" fmla="*/ 134169 w 237068"/>
                <a:gd name="connsiteY51" fmla="*/ 2239 h 519931"/>
                <a:gd name="connsiteX52" fmla="*/ 149790 w 237068"/>
                <a:gd name="connsiteY52" fmla="*/ 0 h 519931"/>
                <a:gd name="connsiteX53" fmla="*/ 158715 w 237068"/>
                <a:gd name="connsiteY53" fmla="*/ 17717 h 519931"/>
                <a:gd name="connsiteX54" fmla="*/ 170364 w 237068"/>
                <a:gd name="connsiteY54" fmla="*/ 24870 h 519931"/>
                <a:gd name="connsiteX55" fmla="*/ 171155 w 237068"/>
                <a:gd name="connsiteY55" fmla="*/ 47711 h 519931"/>
                <a:gd name="connsiteX56" fmla="*/ 170079 w 237068"/>
                <a:gd name="connsiteY56" fmla="*/ 72162 h 519931"/>
                <a:gd name="connsiteX57" fmla="*/ 144789 w 237068"/>
                <a:gd name="connsiteY57" fmla="*/ 96736 h 519931"/>
                <a:gd name="connsiteX58" fmla="*/ 141580 w 237068"/>
                <a:gd name="connsiteY58" fmla="*/ 131359 h 519931"/>
                <a:gd name="connsiteX59" fmla="*/ 169774 w 237068"/>
                <a:gd name="connsiteY59" fmla="*/ 126530 h 519931"/>
                <a:gd name="connsiteX60" fmla="*/ 176146 w 237068"/>
                <a:gd name="connsiteY60" fmla="*/ 153210 h 519931"/>
                <a:gd name="connsiteX61" fmla="*/ 193053 w 237068"/>
                <a:gd name="connsiteY61" fmla="*/ 158801 h 519931"/>
                <a:gd name="connsiteX62" fmla="*/ 185281 w 237068"/>
                <a:gd name="connsiteY62" fmla="*/ 182680 h 519931"/>
                <a:gd name="connsiteX63" fmla="*/ 205111 w 237068"/>
                <a:gd name="connsiteY63" fmla="*/ 193424 h 519931"/>
                <a:gd name="connsiteX64" fmla="*/ 216675 w 237068"/>
                <a:gd name="connsiteY64" fmla="*/ 198692 h 519931"/>
                <a:gd name="connsiteX65" fmla="*/ 236258 w 237068"/>
                <a:gd name="connsiteY65" fmla="*/ 190367 h 519931"/>
                <a:gd name="connsiteX66" fmla="*/ 237068 w 237068"/>
                <a:gd name="connsiteY66" fmla="*/ 202178 h 519931"/>
                <a:gd name="connsiteX67" fmla="*/ 214341 w 237068"/>
                <a:gd name="connsiteY67" fmla="*/ 220694 h 519931"/>
                <a:gd name="connsiteX68" fmla="*/ 208655 w 237068"/>
                <a:gd name="connsiteY68" fmla="*/ 231134 h 51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237068" h="519931">
                  <a:moveTo>
                    <a:pt x="193348" y="237677"/>
                  </a:moveTo>
                  <a:lnTo>
                    <a:pt x="177775" y="249927"/>
                  </a:lnTo>
                  <a:lnTo>
                    <a:pt x="158915" y="251193"/>
                  </a:lnTo>
                  <a:lnTo>
                    <a:pt x="146742" y="281578"/>
                  </a:lnTo>
                  <a:lnTo>
                    <a:pt x="135465" y="286664"/>
                  </a:lnTo>
                  <a:lnTo>
                    <a:pt x="148380" y="311163"/>
                  </a:lnTo>
                  <a:lnTo>
                    <a:pt x="165325" y="331451"/>
                  </a:lnTo>
                  <a:lnTo>
                    <a:pt x="176260" y="349711"/>
                  </a:lnTo>
                  <a:lnTo>
                    <a:pt x="166488" y="373694"/>
                  </a:lnTo>
                  <a:lnTo>
                    <a:pt x="157267" y="378771"/>
                  </a:lnTo>
                  <a:lnTo>
                    <a:pt x="163639" y="392544"/>
                  </a:lnTo>
                  <a:lnTo>
                    <a:pt x="181451" y="414299"/>
                  </a:lnTo>
                  <a:lnTo>
                    <a:pt x="184509" y="429539"/>
                  </a:lnTo>
                  <a:lnTo>
                    <a:pt x="184090" y="442189"/>
                  </a:lnTo>
                  <a:lnTo>
                    <a:pt x="194529" y="466963"/>
                  </a:lnTo>
                  <a:lnTo>
                    <a:pt x="179861" y="492205"/>
                  </a:lnTo>
                  <a:lnTo>
                    <a:pt x="166926" y="519932"/>
                  </a:lnTo>
                  <a:lnTo>
                    <a:pt x="164354" y="499910"/>
                  </a:lnTo>
                  <a:lnTo>
                    <a:pt x="172555" y="479203"/>
                  </a:lnTo>
                  <a:lnTo>
                    <a:pt x="163573" y="463163"/>
                  </a:lnTo>
                  <a:lnTo>
                    <a:pt x="165745" y="433540"/>
                  </a:lnTo>
                  <a:lnTo>
                    <a:pt x="154905" y="419405"/>
                  </a:lnTo>
                  <a:lnTo>
                    <a:pt x="146199" y="386639"/>
                  </a:lnTo>
                  <a:lnTo>
                    <a:pt x="141370" y="351854"/>
                  </a:lnTo>
                  <a:lnTo>
                    <a:pt x="129826" y="328917"/>
                  </a:lnTo>
                  <a:lnTo>
                    <a:pt x="112233" y="342814"/>
                  </a:lnTo>
                  <a:lnTo>
                    <a:pt x="81877" y="362512"/>
                  </a:lnTo>
                  <a:lnTo>
                    <a:pt x="66903" y="360055"/>
                  </a:lnTo>
                  <a:lnTo>
                    <a:pt x="50359" y="353578"/>
                  </a:lnTo>
                  <a:lnTo>
                    <a:pt x="59560" y="319249"/>
                  </a:lnTo>
                  <a:lnTo>
                    <a:pt x="53988" y="293151"/>
                  </a:lnTo>
                  <a:lnTo>
                    <a:pt x="33052" y="260814"/>
                  </a:lnTo>
                  <a:lnTo>
                    <a:pt x="36319" y="250670"/>
                  </a:lnTo>
                  <a:lnTo>
                    <a:pt x="20688" y="247050"/>
                  </a:lnTo>
                  <a:lnTo>
                    <a:pt x="1743" y="223961"/>
                  </a:lnTo>
                  <a:lnTo>
                    <a:pt x="0" y="201073"/>
                  </a:lnTo>
                  <a:lnTo>
                    <a:pt x="9316" y="205388"/>
                  </a:lnTo>
                  <a:lnTo>
                    <a:pt x="9868" y="184890"/>
                  </a:lnTo>
                  <a:lnTo>
                    <a:pt x="23041" y="178089"/>
                  </a:lnTo>
                  <a:lnTo>
                    <a:pt x="20222" y="165888"/>
                  </a:lnTo>
                  <a:lnTo>
                    <a:pt x="26251" y="156067"/>
                  </a:lnTo>
                  <a:lnTo>
                    <a:pt x="27289" y="126082"/>
                  </a:lnTo>
                  <a:lnTo>
                    <a:pt x="48159" y="132712"/>
                  </a:lnTo>
                  <a:lnTo>
                    <a:pt x="60065" y="108690"/>
                  </a:lnTo>
                  <a:lnTo>
                    <a:pt x="61427" y="94422"/>
                  </a:lnTo>
                  <a:lnTo>
                    <a:pt x="76162" y="69713"/>
                  </a:lnTo>
                  <a:lnTo>
                    <a:pt x="75352" y="52769"/>
                  </a:lnTo>
                  <a:lnTo>
                    <a:pt x="109928" y="32176"/>
                  </a:lnTo>
                  <a:lnTo>
                    <a:pt x="129017" y="37576"/>
                  </a:lnTo>
                  <a:lnTo>
                    <a:pt x="126816" y="19165"/>
                  </a:lnTo>
                  <a:lnTo>
                    <a:pt x="136179" y="13659"/>
                  </a:lnTo>
                  <a:lnTo>
                    <a:pt x="134169" y="2239"/>
                  </a:lnTo>
                  <a:lnTo>
                    <a:pt x="149790" y="0"/>
                  </a:lnTo>
                  <a:lnTo>
                    <a:pt x="158715" y="17717"/>
                  </a:lnTo>
                  <a:lnTo>
                    <a:pt x="170364" y="24870"/>
                  </a:lnTo>
                  <a:lnTo>
                    <a:pt x="171155" y="47711"/>
                  </a:lnTo>
                  <a:lnTo>
                    <a:pt x="170079" y="72162"/>
                  </a:lnTo>
                  <a:lnTo>
                    <a:pt x="144789" y="96736"/>
                  </a:lnTo>
                  <a:lnTo>
                    <a:pt x="141580" y="131359"/>
                  </a:lnTo>
                  <a:lnTo>
                    <a:pt x="169774" y="126530"/>
                  </a:lnTo>
                  <a:lnTo>
                    <a:pt x="176146" y="153210"/>
                  </a:lnTo>
                  <a:lnTo>
                    <a:pt x="193053" y="158801"/>
                  </a:lnTo>
                  <a:lnTo>
                    <a:pt x="185281" y="182680"/>
                  </a:lnTo>
                  <a:lnTo>
                    <a:pt x="205111" y="193424"/>
                  </a:lnTo>
                  <a:lnTo>
                    <a:pt x="216675" y="198692"/>
                  </a:lnTo>
                  <a:lnTo>
                    <a:pt x="236258" y="190367"/>
                  </a:lnTo>
                  <a:lnTo>
                    <a:pt x="237068" y="202178"/>
                  </a:lnTo>
                  <a:lnTo>
                    <a:pt x="214341" y="220694"/>
                  </a:lnTo>
                  <a:lnTo>
                    <a:pt x="208655" y="23113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8" name="Forme libre : forme 5757">
              <a:extLst>
                <a:ext uri="{FF2B5EF4-FFF2-40B4-BE49-F238E27FC236}">
                  <a16:creationId xmlns:a16="http://schemas.microsoft.com/office/drawing/2014/main" id="{2BC46017-63CA-AA8D-9E6A-0AC48221A3D6}"/>
                </a:ext>
              </a:extLst>
            </p:cNvPr>
            <p:cNvSpPr/>
            <p:nvPr/>
          </p:nvSpPr>
          <p:spPr>
            <a:xfrm>
              <a:off x="8164448" y="3117269"/>
              <a:ext cx="855183" cy="408441"/>
            </a:xfrm>
            <a:custGeom>
              <a:avLst/>
              <a:gdLst>
                <a:gd name="connsiteX0" fmla="*/ 0 w 855183"/>
                <a:gd name="connsiteY0" fmla="*/ 115624 h 408441"/>
                <a:gd name="connsiteX1" fmla="*/ 28156 w 855183"/>
                <a:gd name="connsiteY1" fmla="*/ 108537 h 408441"/>
                <a:gd name="connsiteX2" fmla="*/ 79115 w 855183"/>
                <a:gd name="connsiteY2" fmla="*/ 72914 h 408441"/>
                <a:gd name="connsiteX3" fmla="*/ 119729 w 855183"/>
                <a:gd name="connsiteY3" fmla="*/ 53197 h 408441"/>
                <a:gd name="connsiteX4" fmla="*/ 142961 w 855183"/>
                <a:gd name="connsiteY4" fmla="*/ 66084 h 408441"/>
                <a:gd name="connsiteX5" fmla="*/ 170822 w 855183"/>
                <a:gd name="connsiteY5" fmla="*/ 66703 h 408441"/>
                <a:gd name="connsiteX6" fmla="*/ 188672 w 855183"/>
                <a:gd name="connsiteY6" fmla="*/ 86163 h 408441"/>
                <a:gd name="connsiteX7" fmla="*/ 215322 w 855183"/>
                <a:gd name="connsiteY7" fmla="*/ 87649 h 408441"/>
                <a:gd name="connsiteX8" fmla="*/ 253937 w 855183"/>
                <a:gd name="connsiteY8" fmla="*/ 98031 h 408441"/>
                <a:gd name="connsiteX9" fmla="*/ 279902 w 855183"/>
                <a:gd name="connsiteY9" fmla="*/ 69142 h 408441"/>
                <a:gd name="connsiteX10" fmla="*/ 269053 w 855183"/>
                <a:gd name="connsiteY10" fmla="*/ 44377 h 408441"/>
                <a:gd name="connsiteX11" fmla="*/ 296713 w 855183"/>
                <a:gd name="connsiteY11" fmla="*/ 0 h 408441"/>
                <a:gd name="connsiteX12" fmla="*/ 326631 w 855183"/>
                <a:gd name="connsiteY12" fmla="*/ 17821 h 408441"/>
                <a:gd name="connsiteX13" fmla="*/ 350873 w 855183"/>
                <a:gd name="connsiteY13" fmla="*/ 22841 h 408441"/>
                <a:gd name="connsiteX14" fmla="*/ 382277 w 855183"/>
                <a:gd name="connsiteY14" fmla="*/ 33814 h 408441"/>
                <a:gd name="connsiteX15" fmla="*/ 387372 w 855183"/>
                <a:gd name="connsiteY15" fmla="*/ 65446 h 408441"/>
                <a:gd name="connsiteX16" fmla="*/ 425301 w 855183"/>
                <a:gd name="connsiteY16" fmla="*/ 82982 h 408441"/>
                <a:gd name="connsiteX17" fmla="*/ 450552 w 855183"/>
                <a:gd name="connsiteY17" fmla="*/ 75276 h 408441"/>
                <a:gd name="connsiteX18" fmla="*/ 484337 w 855183"/>
                <a:gd name="connsiteY18" fmla="*/ 69818 h 408441"/>
                <a:gd name="connsiteX19" fmla="*/ 511093 w 855183"/>
                <a:gd name="connsiteY19" fmla="*/ 75314 h 408441"/>
                <a:gd name="connsiteX20" fmla="*/ 537248 w 855183"/>
                <a:gd name="connsiteY20" fmla="*/ 95240 h 408441"/>
                <a:gd name="connsiteX21" fmla="*/ 553460 w 855183"/>
                <a:gd name="connsiteY21" fmla="*/ 116224 h 408441"/>
                <a:gd name="connsiteX22" fmla="*/ 578225 w 855183"/>
                <a:gd name="connsiteY22" fmla="*/ 115796 h 408441"/>
                <a:gd name="connsiteX23" fmla="*/ 611867 w 855183"/>
                <a:gd name="connsiteY23" fmla="*/ 122434 h 408441"/>
                <a:gd name="connsiteX24" fmla="*/ 636413 w 855183"/>
                <a:gd name="connsiteY24" fmla="*/ 112319 h 408441"/>
                <a:gd name="connsiteX25" fmla="*/ 671579 w 855183"/>
                <a:gd name="connsiteY25" fmla="*/ 105537 h 408441"/>
                <a:gd name="connsiteX26" fmla="*/ 710689 w 855183"/>
                <a:gd name="connsiteY26" fmla="*/ 76400 h 408441"/>
                <a:gd name="connsiteX27" fmla="*/ 726710 w 855183"/>
                <a:gd name="connsiteY27" fmla="*/ 80896 h 408441"/>
                <a:gd name="connsiteX28" fmla="*/ 740693 w 855183"/>
                <a:gd name="connsiteY28" fmla="*/ 94764 h 408441"/>
                <a:gd name="connsiteX29" fmla="*/ 772554 w 855183"/>
                <a:gd name="connsiteY29" fmla="*/ 91326 h 408441"/>
                <a:gd name="connsiteX30" fmla="*/ 759553 w 855183"/>
                <a:gd name="connsiteY30" fmla="*/ 122253 h 408441"/>
                <a:gd name="connsiteX31" fmla="*/ 740683 w 855183"/>
                <a:gd name="connsiteY31" fmla="*/ 162516 h 408441"/>
                <a:gd name="connsiteX32" fmla="*/ 747560 w 855183"/>
                <a:gd name="connsiteY32" fmla="*/ 178765 h 408441"/>
                <a:gd name="connsiteX33" fmla="*/ 762677 w 855183"/>
                <a:gd name="connsiteY33" fmla="*/ 173736 h 408441"/>
                <a:gd name="connsiteX34" fmla="*/ 789023 w 855183"/>
                <a:gd name="connsiteY34" fmla="*/ 179899 h 408441"/>
                <a:gd name="connsiteX35" fmla="*/ 809549 w 855183"/>
                <a:gd name="connsiteY35" fmla="*/ 165249 h 408441"/>
                <a:gd name="connsiteX36" fmla="*/ 830980 w 855183"/>
                <a:gd name="connsiteY36" fmla="*/ 177946 h 408441"/>
                <a:gd name="connsiteX37" fmla="*/ 855183 w 855183"/>
                <a:gd name="connsiteY37" fmla="*/ 205445 h 408441"/>
                <a:gd name="connsiteX38" fmla="*/ 852259 w 855183"/>
                <a:gd name="connsiteY38" fmla="*/ 219285 h 408441"/>
                <a:gd name="connsiteX39" fmla="*/ 831190 w 855183"/>
                <a:gd name="connsiteY39" fmla="*/ 214903 h 408441"/>
                <a:gd name="connsiteX40" fmla="*/ 792395 w 855183"/>
                <a:gd name="connsiteY40" fmla="*/ 220056 h 408441"/>
                <a:gd name="connsiteX41" fmla="*/ 773602 w 855183"/>
                <a:gd name="connsiteY41" fmla="*/ 231067 h 408441"/>
                <a:gd name="connsiteX42" fmla="*/ 754028 w 855183"/>
                <a:gd name="connsiteY42" fmla="*/ 256422 h 408441"/>
                <a:gd name="connsiteX43" fmla="*/ 713308 w 855183"/>
                <a:gd name="connsiteY43" fmla="*/ 271148 h 408441"/>
                <a:gd name="connsiteX44" fmla="*/ 686695 w 855183"/>
                <a:gd name="connsiteY44" fmla="*/ 291160 h 408441"/>
                <a:gd name="connsiteX45" fmla="*/ 659245 w 855183"/>
                <a:gd name="connsiteY45" fmla="*/ 283540 h 408441"/>
                <a:gd name="connsiteX46" fmla="*/ 644223 w 855183"/>
                <a:gd name="connsiteY46" fmla="*/ 280130 h 408441"/>
                <a:gd name="connsiteX47" fmla="*/ 630193 w 855183"/>
                <a:gd name="connsiteY47" fmla="*/ 304305 h 408441"/>
                <a:gd name="connsiteX48" fmla="*/ 638728 w 855183"/>
                <a:gd name="connsiteY48" fmla="*/ 318583 h 408441"/>
                <a:gd name="connsiteX49" fmla="*/ 643052 w 855183"/>
                <a:gd name="connsiteY49" fmla="*/ 330775 h 408441"/>
                <a:gd name="connsiteX50" fmla="*/ 624354 w 855183"/>
                <a:gd name="connsiteY50" fmla="*/ 343129 h 408441"/>
                <a:gd name="connsiteX51" fmla="*/ 605190 w 855183"/>
                <a:gd name="connsiteY51" fmla="*/ 362665 h 408441"/>
                <a:gd name="connsiteX52" fmla="*/ 573987 w 855183"/>
                <a:gd name="connsiteY52" fmla="*/ 375399 h 408441"/>
                <a:gd name="connsiteX53" fmla="*/ 533962 w 855183"/>
                <a:gd name="connsiteY53" fmla="*/ 376771 h 408441"/>
                <a:gd name="connsiteX54" fmla="*/ 490814 w 855183"/>
                <a:gd name="connsiteY54" fmla="*/ 389258 h 408441"/>
                <a:gd name="connsiteX55" fmla="*/ 459724 w 855183"/>
                <a:gd name="connsiteY55" fmla="*/ 408442 h 408441"/>
                <a:gd name="connsiteX56" fmla="*/ 447894 w 855183"/>
                <a:gd name="connsiteY56" fmla="*/ 397355 h 408441"/>
                <a:gd name="connsiteX57" fmla="*/ 415586 w 855183"/>
                <a:gd name="connsiteY57" fmla="*/ 397383 h 408441"/>
                <a:gd name="connsiteX58" fmla="*/ 376066 w 855183"/>
                <a:gd name="connsiteY58" fmla="*/ 375561 h 408441"/>
                <a:gd name="connsiteX59" fmla="*/ 349711 w 855183"/>
                <a:gd name="connsiteY59" fmla="*/ 370180 h 408441"/>
                <a:gd name="connsiteX60" fmla="*/ 314183 w 855183"/>
                <a:gd name="connsiteY60" fmla="*/ 375209 h 408441"/>
                <a:gd name="connsiteX61" fmla="*/ 259061 w 855183"/>
                <a:gd name="connsiteY61" fmla="*/ 367103 h 408441"/>
                <a:gd name="connsiteX62" fmla="*/ 229619 w 855183"/>
                <a:gd name="connsiteY62" fmla="*/ 367941 h 408441"/>
                <a:gd name="connsiteX63" fmla="*/ 213951 w 855183"/>
                <a:gd name="connsiteY63" fmla="*/ 346329 h 408441"/>
                <a:gd name="connsiteX64" fmla="*/ 201778 w 855183"/>
                <a:gd name="connsiteY64" fmla="*/ 312344 h 408441"/>
                <a:gd name="connsiteX65" fmla="*/ 185281 w 855183"/>
                <a:gd name="connsiteY65" fmla="*/ 308220 h 408441"/>
                <a:gd name="connsiteX66" fmla="*/ 153010 w 855183"/>
                <a:gd name="connsiteY66" fmla="*/ 284902 h 408441"/>
                <a:gd name="connsiteX67" fmla="*/ 117043 w 855183"/>
                <a:gd name="connsiteY67" fmla="*/ 279645 h 408441"/>
                <a:gd name="connsiteX68" fmla="*/ 85306 w 855183"/>
                <a:gd name="connsiteY68" fmla="*/ 273177 h 408441"/>
                <a:gd name="connsiteX69" fmla="*/ 75695 w 855183"/>
                <a:gd name="connsiteY69" fmla="*/ 256708 h 408441"/>
                <a:gd name="connsiteX70" fmla="*/ 85973 w 855183"/>
                <a:gd name="connsiteY70" fmla="*/ 211684 h 408441"/>
                <a:gd name="connsiteX71" fmla="*/ 67552 w 855183"/>
                <a:gd name="connsiteY71" fmla="*/ 180070 h 408441"/>
                <a:gd name="connsiteX72" fmla="*/ 29461 w 855183"/>
                <a:gd name="connsiteY72" fmla="*/ 165163 h 408441"/>
                <a:gd name="connsiteX73" fmla="*/ 7011 w 855183"/>
                <a:gd name="connsiteY73" fmla="*/ 143913 h 40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855183" h="408441">
                  <a:moveTo>
                    <a:pt x="0" y="115624"/>
                  </a:moveTo>
                  <a:lnTo>
                    <a:pt x="28156" y="108537"/>
                  </a:lnTo>
                  <a:lnTo>
                    <a:pt x="79115" y="72914"/>
                  </a:lnTo>
                  <a:lnTo>
                    <a:pt x="119729" y="53197"/>
                  </a:lnTo>
                  <a:lnTo>
                    <a:pt x="142961" y="66084"/>
                  </a:lnTo>
                  <a:lnTo>
                    <a:pt x="170822" y="66703"/>
                  </a:lnTo>
                  <a:lnTo>
                    <a:pt x="188672" y="86163"/>
                  </a:lnTo>
                  <a:lnTo>
                    <a:pt x="215322" y="87649"/>
                  </a:lnTo>
                  <a:lnTo>
                    <a:pt x="253937" y="98031"/>
                  </a:lnTo>
                  <a:lnTo>
                    <a:pt x="279902" y="69142"/>
                  </a:lnTo>
                  <a:lnTo>
                    <a:pt x="269053" y="44377"/>
                  </a:lnTo>
                  <a:lnTo>
                    <a:pt x="296713" y="0"/>
                  </a:lnTo>
                  <a:lnTo>
                    <a:pt x="326631" y="17821"/>
                  </a:lnTo>
                  <a:lnTo>
                    <a:pt x="350873" y="22841"/>
                  </a:lnTo>
                  <a:lnTo>
                    <a:pt x="382277" y="33814"/>
                  </a:lnTo>
                  <a:lnTo>
                    <a:pt x="387372" y="65446"/>
                  </a:lnTo>
                  <a:lnTo>
                    <a:pt x="425301" y="82982"/>
                  </a:lnTo>
                  <a:lnTo>
                    <a:pt x="450552" y="75276"/>
                  </a:lnTo>
                  <a:lnTo>
                    <a:pt x="484337" y="69818"/>
                  </a:lnTo>
                  <a:lnTo>
                    <a:pt x="511093" y="75314"/>
                  </a:lnTo>
                  <a:lnTo>
                    <a:pt x="537248" y="95240"/>
                  </a:lnTo>
                  <a:lnTo>
                    <a:pt x="553460" y="116224"/>
                  </a:lnTo>
                  <a:lnTo>
                    <a:pt x="578225" y="115796"/>
                  </a:lnTo>
                  <a:lnTo>
                    <a:pt x="611867" y="122434"/>
                  </a:lnTo>
                  <a:lnTo>
                    <a:pt x="636413" y="112319"/>
                  </a:lnTo>
                  <a:lnTo>
                    <a:pt x="671579" y="105537"/>
                  </a:lnTo>
                  <a:lnTo>
                    <a:pt x="710689" y="76400"/>
                  </a:lnTo>
                  <a:lnTo>
                    <a:pt x="726710" y="80896"/>
                  </a:lnTo>
                  <a:lnTo>
                    <a:pt x="740693" y="94764"/>
                  </a:lnTo>
                  <a:lnTo>
                    <a:pt x="772554" y="91326"/>
                  </a:lnTo>
                  <a:lnTo>
                    <a:pt x="759553" y="122253"/>
                  </a:lnTo>
                  <a:lnTo>
                    <a:pt x="740683" y="162516"/>
                  </a:lnTo>
                  <a:lnTo>
                    <a:pt x="747560" y="178765"/>
                  </a:lnTo>
                  <a:lnTo>
                    <a:pt x="762677" y="173736"/>
                  </a:lnTo>
                  <a:lnTo>
                    <a:pt x="789023" y="179899"/>
                  </a:lnTo>
                  <a:lnTo>
                    <a:pt x="809549" y="165249"/>
                  </a:lnTo>
                  <a:lnTo>
                    <a:pt x="830980" y="177946"/>
                  </a:lnTo>
                  <a:lnTo>
                    <a:pt x="855183" y="205445"/>
                  </a:lnTo>
                  <a:lnTo>
                    <a:pt x="852259" y="219285"/>
                  </a:lnTo>
                  <a:lnTo>
                    <a:pt x="831190" y="214903"/>
                  </a:lnTo>
                  <a:lnTo>
                    <a:pt x="792395" y="220056"/>
                  </a:lnTo>
                  <a:lnTo>
                    <a:pt x="773602" y="231067"/>
                  </a:lnTo>
                  <a:lnTo>
                    <a:pt x="754028" y="256422"/>
                  </a:lnTo>
                  <a:lnTo>
                    <a:pt x="713308" y="271148"/>
                  </a:lnTo>
                  <a:lnTo>
                    <a:pt x="686695" y="291160"/>
                  </a:lnTo>
                  <a:lnTo>
                    <a:pt x="659245" y="283540"/>
                  </a:lnTo>
                  <a:lnTo>
                    <a:pt x="644223" y="280130"/>
                  </a:lnTo>
                  <a:lnTo>
                    <a:pt x="630193" y="304305"/>
                  </a:lnTo>
                  <a:lnTo>
                    <a:pt x="638728" y="318583"/>
                  </a:lnTo>
                  <a:lnTo>
                    <a:pt x="643052" y="330775"/>
                  </a:lnTo>
                  <a:lnTo>
                    <a:pt x="624354" y="343129"/>
                  </a:lnTo>
                  <a:lnTo>
                    <a:pt x="605190" y="362665"/>
                  </a:lnTo>
                  <a:lnTo>
                    <a:pt x="573987" y="375399"/>
                  </a:lnTo>
                  <a:lnTo>
                    <a:pt x="533962" y="376771"/>
                  </a:lnTo>
                  <a:lnTo>
                    <a:pt x="490814" y="389258"/>
                  </a:lnTo>
                  <a:lnTo>
                    <a:pt x="459724" y="408442"/>
                  </a:lnTo>
                  <a:lnTo>
                    <a:pt x="447894" y="397355"/>
                  </a:lnTo>
                  <a:lnTo>
                    <a:pt x="415586" y="397383"/>
                  </a:lnTo>
                  <a:lnTo>
                    <a:pt x="376066" y="375561"/>
                  </a:lnTo>
                  <a:lnTo>
                    <a:pt x="349711" y="370180"/>
                  </a:lnTo>
                  <a:lnTo>
                    <a:pt x="314183" y="375209"/>
                  </a:lnTo>
                  <a:lnTo>
                    <a:pt x="259061" y="367103"/>
                  </a:lnTo>
                  <a:lnTo>
                    <a:pt x="229619" y="367941"/>
                  </a:lnTo>
                  <a:lnTo>
                    <a:pt x="213951" y="346329"/>
                  </a:lnTo>
                  <a:lnTo>
                    <a:pt x="201778" y="312344"/>
                  </a:lnTo>
                  <a:lnTo>
                    <a:pt x="185281" y="308220"/>
                  </a:lnTo>
                  <a:lnTo>
                    <a:pt x="153010" y="284902"/>
                  </a:lnTo>
                  <a:lnTo>
                    <a:pt x="117043" y="279645"/>
                  </a:lnTo>
                  <a:lnTo>
                    <a:pt x="85306" y="273177"/>
                  </a:lnTo>
                  <a:lnTo>
                    <a:pt x="75695" y="256708"/>
                  </a:lnTo>
                  <a:lnTo>
                    <a:pt x="85973" y="211684"/>
                  </a:lnTo>
                  <a:lnTo>
                    <a:pt x="67552" y="180070"/>
                  </a:lnTo>
                  <a:lnTo>
                    <a:pt x="29461" y="165163"/>
                  </a:lnTo>
                  <a:lnTo>
                    <a:pt x="7011" y="1439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9" name="Forme libre : forme 5758">
              <a:extLst>
                <a:ext uri="{FF2B5EF4-FFF2-40B4-BE49-F238E27FC236}">
                  <a16:creationId xmlns:a16="http://schemas.microsoft.com/office/drawing/2014/main" id="{C30E4CFC-0075-0B5E-D1B2-F6D3BDE28EED}"/>
                </a:ext>
              </a:extLst>
            </p:cNvPr>
            <p:cNvSpPr/>
            <p:nvPr/>
          </p:nvSpPr>
          <p:spPr>
            <a:xfrm>
              <a:off x="5365194" y="3986130"/>
              <a:ext cx="324221" cy="364436"/>
            </a:xfrm>
            <a:custGeom>
              <a:avLst/>
              <a:gdLst>
                <a:gd name="connsiteX0" fmla="*/ 130664 w 324221"/>
                <a:gd name="connsiteY0" fmla="*/ 364436 h 364436"/>
                <a:gd name="connsiteX1" fmla="*/ 113043 w 324221"/>
                <a:gd name="connsiteY1" fmla="*/ 345567 h 364436"/>
                <a:gd name="connsiteX2" fmla="*/ 96879 w 324221"/>
                <a:gd name="connsiteY2" fmla="*/ 325288 h 364436"/>
                <a:gd name="connsiteX3" fmla="*/ 79153 w 324221"/>
                <a:gd name="connsiteY3" fmla="*/ 317973 h 364436"/>
                <a:gd name="connsiteX4" fmla="*/ 66389 w 324221"/>
                <a:gd name="connsiteY4" fmla="*/ 309829 h 364436"/>
                <a:gd name="connsiteX5" fmla="*/ 51473 w 324221"/>
                <a:gd name="connsiteY5" fmla="*/ 310144 h 364436"/>
                <a:gd name="connsiteX6" fmla="*/ 38443 w 324221"/>
                <a:gd name="connsiteY6" fmla="*/ 316173 h 364436"/>
                <a:gd name="connsiteX7" fmla="*/ 25175 w 324221"/>
                <a:gd name="connsiteY7" fmla="*/ 313782 h 364436"/>
                <a:gd name="connsiteX8" fmla="*/ 16030 w 324221"/>
                <a:gd name="connsiteY8" fmla="*/ 322650 h 364436"/>
                <a:gd name="connsiteX9" fmla="*/ 13716 w 324221"/>
                <a:gd name="connsiteY9" fmla="*/ 307743 h 364436"/>
                <a:gd name="connsiteX10" fmla="*/ 21174 w 324221"/>
                <a:gd name="connsiteY10" fmla="*/ 294056 h 364436"/>
                <a:gd name="connsiteX11" fmla="*/ 24489 w 324221"/>
                <a:gd name="connsiteY11" fmla="*/ 267834 h 364436"/>
                <a:gd name="connsiteX12" fmla="*/ 21536 w 324221"/>
                <a:gd name="connsiteY12" fmla="*/ 240154 h 364436"/>
                <a:gd name="connsiteX13" fmla="*/ 18317 w 324221"/>
                <a:gd name="connsiteY13" fmla="*/ 226171 h 364436"/>
                <a:gd name="connsiteX14" fmla="*/ 20974 w 324221"/>
                <a:gd name="connsiteY14" fmla="*/ 212093 h 364436"/>
                <a:gd name="connsiteX15" fmla="*/ 14078 w 324221"/>
                <a:gd name="connsiteY15" fmla="*/ 198634 h 364436"/>
                <a:gd name="connsiteX16" fmla="*/ 0 w 324221"/>
                <a:gd name="connsiteY16" fmla="*/ 186366 h 364436"/>
                <a:gd name="connsiteX17" fmla="*/ 5820 w 324221"/>
                <a:gd name="connsiteY17" fmla="*/ 176870 h 364436"/>
                <a:gd name="connsiteX18" fmla="*/ 110404 w 324221"/>
                <a:gd name="connsiteY18" fmla="*/ 177051 h 364436"/>
                <a:gd name="connsiteX19" fmla="*/ 105346 w 324221"/>
                <a:gd name="connsiteY19" fmla="*/ 135674 h 364436"/>
                <a:gd name="connsiteX20" fmla="*/ 111881 w 324221"/>
                <a:gd name="connsiteY20" fmla="*/ 120853 h 364436"/>
                <a:gd name="connsiteX21" fmla="*/ 136903 w 324221"/>
                <a:gd name="connsiteY21" fmla="*/ 118253 h 364436"/>
                <a:gd name="connsiteX22" fmla="*/ 136036 w 324221"/>
                <a:gd name="connsiteY22" fmla="*/ 43472 h 364436"/>
                <a:gd name="connsiteX23" fmla="*/ 223694 w 324221"/>
                <a:gd name="connsiteY23" fmla="*/ 45025 h 364436"/>
                <a:gd name="connsiteX24" fmla="*/ 223771 w 324221"/>
                <a:gd name="connsiteY24" fmla="*/ 0 h 364436"/>
                <a:gd name="connsiteX25" fmla="*/ 324222 w 324221"/>
                <a:gd name="connsiteY25" fmla="*/ 71676 h 364436"/>
                <a:gd name="connsiteX26" fmla="*/ 283350 w 324221"/>
                <a:gd name="connsiteY26" fmla="*/ 72209 h 364436"/>
                <a:gd name="connsiteX27" fmla="*/ 296237 w 324221"/>
                <a:gd name="connsiteY27" fmla="*/ 196567 h 364436"/>
                <a:gd name="connsiteX28" fmla="*/ 309124 w 324221"/>
                <a:gd name="connsiteY28" fmla="*/ 317392 h 364436"/>
                <a:gd name="connsiteX29" fmla="*/ 313754 w 324221"/>
                <a:gd name="connsiteY29" fmla="*/ 320802 h 364436"/>
                <a:gd name="connsiteX30" fmla="*/ 307810 w 324221"/>
                <a:gd name="connsiteY30" fmla="*/ 340119 h 364436"/>
                <a:gd name="connsiteX31" fmla="*/ 200654 w 324221"/>
                <a:gd name="connsiteY31" fmla="*/ 340538 h 364436"/>
                <a:gd name="connsiteX32" fmla="*/ 196644 w 324221"/>
                <a:gd name="connsiteY32" fmla="*/ 346653 h 364436"/>
                <a:gd name="connsiteX33" fmla="*/ 186319 w 324221"/>
                <a:gd name="connsiteY33" fmla="*/ 344834 h 364436"/>
                <a:gd name="connsiteX34" fmla="*/ 171260 w 324221"/>
                <a:gd name="connsiteY34" fmla="*/ 350273 h 364436"/>
                <a:gd name="connsiteX35" fmla="*/ 152610 w 324221"/>
                <a:gd name="connsiteY35" fmla="*/ 342614 h 364436"/>
                <a:gd name="connsiteX36" fmla="*/ 144142 w 324221"/>
                <a:gd name="connsiteY36" fmla="*/ 343243 h 364436"/>
                <a:gd name="connsiteX37" fmla="*/ 139655 w 324221"/>
                <a:gd name="connsiteY37" fmla="*/ 359436 h 364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24221" h="364436">
                  <a:moveTo>
                    <a:pt x="130664" y="364436"/>
                  </a:moveTo>
                  <a:lnTo>
                    <a:pt x="113043" y="345567"/>
                  </a:lnTo>
                  <a:lnTo>
                    <a:pt x="96879" y="325288"/>
                  </a:lnTo>
                  <a:lnTo>
                    <a:pt x="79153" y="317973"/>
                  </a:lnTo>
                  <a:lnTo>
                    <a:pt x="66389" y="309829"/>
                  </a:lnTo>
                  <a:lnTo>
                    <a:pt x="51473" y="310144"/>
                  </a:lnTo>
                  <a:lnTo>
                    <a:pt x="38443" y="316173"/>
                  </a:lnTo>
                  <a:lnTo>
                    <a:pt x="25175" y="313782"/>
                  </a:lnTo>
                  <a:lnTo>
                    <a:pt x="16030" y="322650"/>
                  </a:lnTo>
                  <a:lnTo>
                    <a:pt x="13716" y="307743"/>
                  </a:lnTo>
                  <a:lnTo>
                    <a:pt x="21174" y="294056"/>
                  </a:lnTo>
                  <a:lnTo>
                    <a:pt x="24489" y="267834"/>
                  </a:lnTo>
                  <a:lnTo>
                    <a:pt x="21536" y="240154"/>
                  </a:lnTo>
                  <a:lnTo>
                    <a:pt x="18317" y="226171"/>
                  </a:lnTo>
                  <a:lnTo>
                    <a:pt x="20974" y="212093"/>
                  </a:lnTo>
                  <a:lnTo>
                    <a:pt x="14078" y="198634"/>
                  </a:lnTo>
                  <a:lnTo>
                    <a:pt x="0" y="186366"/>
                  </a:lnTo>
                  <a:lnTo>
                    <a:pt x="5820" y="176870"/>
                  </a:lnTo>
                  <a:lnTo>
                    <a:pt x="110404" y="177051"/>
                  </a:lnTo>
                  <a:lnTo>
                    <a:pt x="105346" y="135674"/>
                  </a:lnTo>
                  <a:lnTo>
                    <a:pt x="111881" y="120853"/>
                  </a:lnTo>
                  <a:lnTo>
                    <a:pt x="136903" y="118253"/>
                  </a:lnTo>
                  <a:lnTo>
                    <a:pt x="136036" y="43472"/>
                  </a:lnTo>
                  <a:lnTo>
                    <a:pt x="223694" y="45025"/>
                  </a:lnTo>
                  <a:lnTo>
                    <a:pt x="223771" y="0"/>
                  </a:lnTo>
                  <a:lnTo>
                    <a:pt x="324222" y="71676"/>
                  </a:lnTo>
                  <a:lnTo>
                    <a:pt x="283350" y="72209"/>
                  </a:lnTo>
                  <a:lnTo>
                    <a:pt x="296237" y="196567"/>
                  </a:lnTo>
                  <a:lnTo>
                    <a:pt x="309124" y="317392"/>
                  </a:lnTo>
                  <a:lnTo>
                    <a:pt x="313754" y="320802"/>
                  </a:lnTo>
                  <a:lnTo>
                    <a:pt x="307810" y="340119"/>
                  </a:lnTo>
                  <a:lnTo>
                    <a:pt x="200654" y="340538"/>
                  </a:lnTo>
                  <a:lnTo>
                    <a:pt x="196644" y="346653"/>
                  </a:lnTo>
                  <a:lnTo>
                    <a:pt x="186319" y="344834"/>
                  </a:lnTo>
                  <a:lnTo>
                    <a:pt x="171260" y="350273"/>
                  </a:lnTo>
                  <a:lnTo>
                    <a:pt x="152610" y="342614"/>
                  </a:lnTo>
                  <a:lnTo>
                    <a:pt x="144142" y="343243"/>
                  </a:lnTo>
                  <a:lnTo>
                    <a:pt x="139655" y="3594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0" name="Forme libre : forme 5759">
              <a:extLst>
                <a:ext uri="{FF2B5EF4-FFF2-40B4-BE49-F238E27FC236}">
                  <a16:creationId xmlns:a16="http://schemas.microsoft.com/office/drawing/2014/main" id="{1EAC35C2-0C82-0E32-4E67-FB89260B4D7B}"/>
                </a:ext>
              </a:extLst>
            </p:cNvPr>
            <p:cNvSpPr/>
            <p:nvPr/>
          </p:nvSpPr>
          <p:spPr>
            <a:xfrm>
              <a:off x="6693893" y="4988608"/>
              <a:ext cx="82353" cy="206368"/>
            </a:xfrm>
            <a:custGeom>
              <a:avLst/>
              <a:gdLst>
                <a:gd name="connsiteX0" fmla="*/ 49987 w 82353"/>
                <a:gd name="connsiteY0" fmla="*/ 61751 h 206368"/>
                <a:gd name="connsiteX1" fmla="*/ 42510 w 82353"/>
                <a:gd name="connsiteY1" fmla="*/ 82363 h 206368"/>
                <a:gd name="connsiteX2" fmla="*/ 49987 w 82353"/>
                <a:gd name="connsiteY2" fmla="*/ 117758 h 206368"/>
                <a:gd name="connsiteX3" fmla="*/ 59255 w 82353"/>
                <a:gd name="connsiteY3" fmla="*/ 117367 h 206368"/>
                <a:gd name="connsiteX4" fmla="*/ 68894 w 82353"/>
                <a:gd name="connsiteY4" fmla="*/ 126178 h 206368"/>
                <a:gd name="connsiteX5" fmla="*/ 80077 w 82353"/>
                <a:gd name="connsiteY5" fmla="*/ 145971 h 206368"/>
                <a:gd name="connsiteX6" fmla="*/ 82353 w 82353"/>
                <a:gd name="connsiteY6" fmla="*/ 181346 h 206368"/>
                <a:gd name="connsiteX7" fmla="*/ 70790 w 82353"/>
                <a:gd name="connsiteY7" fmla="*/ 187157 h 206368"/>
                <a:gd name="connsiteX8" fmla="*/ 62636 w 82353"/>
                <a:gd name="connsiteY8" fmla="*/ 206369 h 206368"/>
                <a:gd name="connsiteX9" fmla="*/ 45215 w 82353"/>
                <a:gd name="connsiteY9" fmla="*/ 189262 h 206368"/>
                <a:gd name="connsiteX10" fmla="*/ 43234 w 82353"/>
                <a:gd name="connsiteY10" fmla="*/ 169821 h 206368"/>
                <a:gd name="connsiteX11" fmla="*/ 48853 w 82353"/>
                <a:gd name="connsiteY11" fmla="*/ 157029 h 206368"/>
                <a:gd name="connsiteX12" fmla="*/ 47310 w 82353"/>
                <a:gd name="connsiteY12" fmla="*/ 146028 h 206368"/>
                <a:gd name="connsiteX13" fmla="*/ 36766 w 82353"/>
                <a:gd name="connsiteY13" fmla="*/ 139094 h 206368"/>
                <a:gd name="connsiteX14" fmla="*/ 29413 w 82353"/>
                <a:gd name="connsiteY14" fmla="*/ 141608 h 206368"/>
                <a:gd name="connsiteX15" fmla="*/ 14040 w 82353"/>
                <a:gd name="connsiteY15" fmla="*/ 128473 h 206368"/>
                <a:gd name="connsiteX16" fmla="*/ 0 w 82353"/>
                <a:gd name="connsiteY16" fmla="*/ 121386 h 206368"/>
                <a:gd name="connsiteX17" fmla="*/ 8106 w 82353"/>
                <a:gd name="connsiteY17" fmla="*/ 96060 h 206368"/>
                <a:gd name="connsiteX18" fmla="*/ 16507 w 82353"/>
                <a:gd name="connsiteY18" fmla="*/ 86601 h 206368"/>
                <a:gd name="connsiteX19" fmla="*/ 11382 w 82353"/>
                <a:gd name="connsiteY19" fmla="*/ 64113 h 206368"/>
                <a:gd name="connsiteX20" fmla="*/ 16745 w 82353"/>
                <a:gd name="connsiteY20" fmla="*/ 42186 h 206368"/>
                <a:gd name="connsiteX21" fmla="*/ 21298 w 82353"/>
                <a:gd name="connsiteY21" fmla="*/ 34871 h 206368"/>
                <a:gd name="connsiteX22" fmla="*/ 14507 w 82353"/>
                <a:gd name="connsiteY22" fmla="*/ 11992 h 206368"/>
                <a:gd name="connsiteX23" fmla="*/ 1895 w 82353"/>
                <a:gd name="connsiteY23" fmla="*/ 0 h 206368"/>
                <a:gd name="connsiteX24" fmla="*/ 28080 w 82353"/>
                <a:gd name="connsiteY24" fmla="*/ 5010 h 206368"/>
                <a:gd name="connsiteX25" fmla="*/ 33452 w 82353"/>
                <a:gd name="connsiteY25" fmla="*/ 12449 h 206368"/>
                <a:gd name="connsiteX26" fmla="*/ 42510 w 82353"/>
                <a:gd name="connsiteY26" fmla="*/ 25013 h 20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2353" h="206368">
                  <a:moveTo>
                    <a:pt x="49987" y="61751"/>
                  </a:moveTo>
                  <a:lnTo>
                    <a:pt x="42510" y="82363"/>
                  </a:lnTo>
                  <a:lnTo>
                    <a:pt x="49987" y="117758"/>
                  </a:lnTo>
                  <a:lnTo>
                    <a:pt x="59255" y="117367"/>
                  </a:lnTo>
                  <a:lnTo>
                    <a:pt x="68894" y="126178"/>
                  </a:lnTo>
                  <a:lnTo>
                    <a:pt x="80077" y="145971"/>
                  </a:lnTo>
                  <a:lnTo>
                    <a:pt x="82353" y="181346"/>
                  </a:lnTo>
                  <a:lnTo>
                    <a:pt x="70790" y="187157"/>
                  </a:lnTo>
                  <a:lnTo>
                    <a:pt x="62636" y="206369"/>
                  </a:lnTo>
                  <a:lnTo>
                    <a:pt x="45215" y="189262"/>
                  </a:lnTo>
                  <a:lnTo>
                    <a:pt x="43234" y="169821"/>
                  </a:lnTo>
                  <a:lnTo>
                    <a:pt x="48853" y="157029"/>
                  </a:lnTo>
                  <a:lnTo>
                    <a:pt x="47310" y="146028"/>
                  </a:lnTo>
                  <a:lnTo>
                    <a:pt x="36766" y="139094"/>
                  </a:lnTo>
                  <a:lnTo>
                    <a:pt x="29413" y="141608"/>
                  </a:lnTo>
                  <a:lnTo>
                    <a:pt x="14040" y="128473"/>
                  </a:lnTo>
                  <a:lnTo>
                    <a:pt x="0" y="121386"/>
                  </a:lnTo>
                  <a:lnTo>
                    <a:pt x="8106" y="96060"/>
                  </a:lnTo>
                  <a:lnTo>
                    <a:pt x="16507" y="86601"/>
                  </a:lnTo>
                  <a:lnTo>
                    <a:pt x="11382" y="64113"/>
                  </a:lnTo>
                  <a:lnTo>
                    <a:pt x="16745" y="42186"/>
                  </a:lnTo>
                  <a:lnTo>
                    <a:pt x="21298" y="34871"/>
                  </a:lnTo>
                  <a:lnTo>
                    <a:pt x="14507" y="11992"/>
                  </a:lnTo>
                  <a:lnTo>
                    <a:pt x="1895" y="0"/>
                  </a:lnTo>
                  <a:lnTo>
                    <a:pt x="28080" y="5010"/>
                  </a:lnTo>
                  <a:lnTo>
                    <a:pt x="33452" y="12449"/>
                  </a:lnTo>
                  <a:lnTo>
                    <a:pt x="42510" y="250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1" name="Forme libre : forme 5760">
              <a:extLst>
                <a:ext uri="{FF2B5EF4-FFF2-40B4-BE49-F238E27FC236}">
                  <a16:creationId xmlns:a16="http://schemas.microsoft.com/office/drawing/2014/main" id="{D6738D3F-C69A-1352-B414-D9DE99DBF4CD}"/>
                </a:ext>
              </a:extLst>
            </p:cNvPr>
            <p:cNvSpPr/>
            <p:nvPr/>
          </p:nvSpPr>
          <p:spPr>
            <a:xfrm>
              <a:off x="2692803" y="3822548"/>
              <a:ext cx="809634" cy="530161"/>
            </a:xfrm>
            <a:custGeom>
              <a:avLst/>
              <a:gdLst>
                <a:gd name="connsiteX0" fmla="*/ 533810 w 809634"/>
                <a:gd name="connsiteY0" fmla="*/ 208931 h 530161"/>
                <a:gd name="connsiteX1" fmla="*/ 523446 w 809634"/>
                <a:gd name="connsiteY1" fmla="*/ 234753 h 530161"/>
                <a:gd name="connsiteX2" fmla="*/ 518770 w 809634"/>
                <a:gd name="connsiteY2" fmla="*/ 255775 h 530161"/>
                <a:gd name="connsiteX3" fmla="*/ 516827 w 809634"/>
                <a:gd name="connsiteY3" fmla="*/ 294608 h 530161"/>
                <a:gd name="connsiteX4" fmla="*/ 514245 w 809634"/>
                <a:gd name="connsiteY4" fmla="*/ 308658 h 530161"/>
                <a:gd name="connsiteX5" fmla="*/ 518874 w 809634"/>
                <a:gd name="connsiteY5" fmla="*/ 324307 h 530161"/>
                <a:gd name="connsiteX6" fmla="*/ 527152 w 809634"/>
                <a:gd name="connsiteY6" fmla="*/ 338233 h 530161"/>
                <a:gd name="connsiteX7" fmla="*/ 532495 w 809634"/>
                <a:gd name="connsiteY7" fmla="*/ 360293 h 530161"/>
                <a:gd name="connsiteX8" fmla="*/ 550212 w 809634"/>
                <a:gd name="connsiteY8" fmla="*/ 381372 h 530161"/>
                <a:gd name="connsiteX9" fmla="*/ 556451 w 809634"/>
                <a:gd name="connsiteY9" fmla="*/ 397450 h 530161"/>
                <a:gd name="connsiteX10" fmla="*/ 566899 w 809634"/>
                <a:gd name="connsiteY10" fmla="*/ 411280 h 530161"/>
                <a:gd name="connsiteX11" fmla="*/ 595255 w 809634"/>
                <a:gd name="connsiteY11" fmla="*/ 418709 h 530161"/>
                <a:gd name="connsiteX12" fmla="*/ 606295 w 809634"/>
                <a:gd name="connsiteY12" fmla="*/ 430416 h 530161"/>
                <a:gd name="connsiteX13" fmla="*/ 629726 w 809634"/>
                <a:gd name="connsiteY13" fmla="*/ 422596 h 530161"/>
                <a:gd name="connsiteX14" fmla="*/ 650081 w 809634"/>
                <a:gd name="connsiteY14" fmla="*/ 419767 h 530161"/>
                <a:gd name="connsiteX15" fmla="*/ 670084 w 809634"/>
                <a:gd name="connsiteY15" fmla="*/ 414737 h 530161"/>
                <a:gd name="connsiteX16" fmla="*/ 686886 w 809634"/>
                <a:gd name="connsiteY16" fmla="*/ 409927 h 530161"/>
                <a:gd name="connsiteX17" fmla="*/ 703879 w 809634"/>
                <a:gd name="connsiteY17" fmla="*/ 398469 h 530161"/>
                <a:gd name="connsiteX18" fmla="*/ 710241 w 809634"/>
                <a:gd name="connsiteY18" fmla="*/ 382038 h 530161"/>
                <a:gd name="connsiteX19" fmla="*/ 712432 w 809634"/>
                <a:gd name="connsiteY19" fmla="*/ 358254 h 530161"/>
                <a:gd name="connsiteX20" fmla="*/ 717052 w 809634"/>
                <a:gd name="connsiteY20" fmla="*/ 349948 h 530161"/>
                <a:gd name="connsiteX21" fmla="*/ 735140 w 809634"/>
                <a:gd name="connsiteY21" fmla="*/ 342490 h 530161"/>
                <a:gd name="connsiteX22" fmla="*/ 763381 w 809634"/>
                <a:gd name="connsiteY22" fmla="*/ 335880 h 530161"/>
                <a:gd name="connsiteX23" fmla="*/ 787032 w 809634"/>
                <a:gd name="connsiteY23" fmla="*/ 336871 h 530161"/>
                <a:gd name="connsiteX24" fmla="*/ 803224 w 809634"/>
                <a:gd name="connsiteY24" fmla="*/ 334451 h 530161"/>
                <a:gd name="connsiteX25" fmla="*/ 809635 w 809634"/>
                <a:gd name="connsiteY25" fmla="*/ 340500 h 530161"/>
                <a:gd name="connsiteX26" fmla="*/ 808730 w 809634"/>
                <a:gd name="connsiteY26" fmla="*/ 354216 h 530161"/>
                <a:gd name="connsiteX27" fmla="*/ 794376 w 809634"/>
                <a:gd name="connsiteY27" fmla="*/ 371065 h 530161"/>
                <a:gd name="connsiteX28" fmla="*/ 788032 w 809634"/>
                <a:gd name="connsiteY28" fmla="*/ 388258 h 530161"/>
                <a:gd name="connsiteX29" fmla="*/ 792947 w 809634"/>
                <a:gd name="connsiteY29" fmla="*/ 393163 h 530161"/>
                <a:gd name="connsiteX30" fmla="*/ 788946 w 809634"/>
                <a:gd name="connsiteY30" fmla="*/ 405327 h 530161"/>
                <a:gd name="connsiteX31" fmla="*/ 782250 w 809634"/>
                <a:gd name="connsiteY31" fmla="*/ 427187 h 530161"/>
                <a:gd name="connsiteX32" fmla="*/ 775487 w 809634"/>
                <a:gd name="connsiteY32" fmla="*/ 420005 h 530161"/>
                <a:gd name="connsiteX33" fmla="*/ 769896 w 809634"/>
                <a:gd name="connsiteY33" fmla="*/ 420471 h 530161"/>
                <a:gd name="connsiteX34" fmla="*/ 764819 w 809634"/>
                <a:gd name="connsiteY34" fmla="*/ 420833 h 530161"/>
                <a:gd name="connsiteX35" fmla="*/ 755247 w 809634"/>
                <a:gd name="connsiteY35" fmla="*/ 437702 h 530161"/>
                <a:gd name="connsiteX36" fmla="*/ 750399 w 809634"/>
                <a:gd name="connsiteY36" fmla="*/ 434407 h 530161"/>
                <a:gd name="connsiteX37" fmla="*/ 747170 w 809634"/>
                <a:gd name="connsiteY37" fmla="*/ 435683 h 530161"/>
                <a:gd name="connsiteX38" fmla="*/ 747379 w 809634"/>
                <a:gd name="connsiteY38" fmla="*/ 439788 h 530161"/>
                <a:gd name="connsiteX39" fmla="*/ 722681 w 809634"/>
                <a:gd name="connsiteY39" fmla="*/ 439483 h 530161"/>
                <a:gd name="connsiteX40" fmla="*/ 697745 w 809634"/>
                <a:gd name="connsiteY40" fmla="*/ 439531 h 530161"/>
                <a:gd name="connsiteX41" fmla="*/ 697725 w 809634"/>
                <a:gd name="connsiteY41" fmla="*/ 455200 h 530161"/>
                <a:gd name="connsiteX42" fmla="*/ 685667 w 809634"/>
                <a:gd name="connsiteY42" fmla="*/ 455266 h 530161"/>
                <a:gd name="connsiteX43" fmla="*/ 695611 w 809634"/>
                <a:gd name="connsiteY43" fmla="*/ 464544 h 530161"/>
                <a:gd name="connsiteX44" fmla="*/ 705479 w 809634"/>
                <a:gd name="connsiteY44" fmla="*/ 470945 h 530161"/>
                <a:gd name="connsiteX45" fmla="*/ 708451 w 809634"/>
                <a:gd name="connsiteY45" fmla="*/ 476945 h 530161"/>
                <a:gd name="connsiteX46" fmla="*/ 712775 w 809634"/>
                <a:gd name="connsiteY46" fmla="*/ 478622 h 530161"/>
                <a:gd name="connsiteX47" fmla="*/ 712089 w 809634"/>
                <a:gd name="connsiteY47" fmla="*/ 488032 h 530161"/>
                <a:gd name="connsiteX48" fmla="*/ 677809 w 809634"/>
                <a:gd name="connsiteY48" fmla="*/ 488118 h 530161"/>
                <a:gd name="connsiteX49" fmla="*/ 664959 w 809634"/>
                <a:gd name="connsiteY49" fmla="*/ 510587 h 530161"/>
                <a:gd name="connsiteX50" fmla="*/ 668750 w 809634"/>
                <a:gd name="connsiteY50" fmla="*/ 515731 h 530161"/>
                <a:gd name="connsiteX51" fmla="*/ 665655 w 809634"/>
                <a:gd name="connsiteY51" fmla="*/ 522170 h 530161"/>
                <a:gd name="connsiteX52" fmla="*/ 664998 w 809634"/>
                <a:gd name="connsiteY52" fmla="*/ 530162 h 530161"/>
                <a:gd name="connsiteX53" fmla="*/ 634775 w 809634"/>
                <a:gd name="connsiteY53" fmla="*/ 500567 h 530161"/>
                <a:gd name="connsiteX54" fmla="*/ 621002 w 809634"/>
                <a:gd name="connsiteY54" fmla="*/ 491614 h 530161"/>
                <a:gd name="connsiteX55" fmla="*/ 599189 w 809634"/>
                <a:gd name="connsiteY55" fmla="*/ 484413 h 530161"/>
                <a:gd name="connsiteX56" fmla="*/ 584283 w 809634"/>
                <a:gd name="connsiteY56" fmla="*/ 486413 h 530161"/>
                <a:gd name="connsiteX57" fmla="*/ 562832 w 809634"/>
                <a:gd name="connsiteY57" fmla="*/ 496795 h 530161"/>
                <a:gd name="connsiteX58" fmla="*/ 549364 w 809634"/>
                <a:gd name="connsiteY58" fmla="*/ 499520 h 530161"/>
                <a:gd name="connsiteX59" fmla="*/ 530504 w 809634"/>
                <a:gd name="connsiteY59" fmla="*/ 492252 h 530161"/>
                <a:gd name="connsiteX60" fmla="*/ 510492 w 809634"/>
                <a:gd name="connsiteY60" fmla="*/ 486994 h 530161"/>
                <a:gd name="connsiteX61" fmla="*/ 485527 w 809634"/>
                <a:gd name="connsiteY61" fmla="*/ 474307 h 530161"/>
                <a:gd name="connsiteX62" fmla="*/ 465506 w 809634"/>
                <a:gd name="connsiteY62" fmla="*/ 470430 h 530161"/>
                <a:gd name="connsiteX63" fmla="*/ 435274 w 809634"/>
                <a:gd name="connsiteY63" fmla="*/ 457524 h 530161"/>
                <a:gd name="connsiteX64" fmla="*/ 412928 w 809634"/>
                <a:gd name="connsiteY64" fmla="*/ 444227 h 530161"/>
                <a:gd name="connsiteX65" fmla="*/ 406184 w 809634"/>
                <a:gd name="connsiteY65" fmla="*/ 436788 h 530161"/>
                <a:gd name="connsiteX66" fmla="*/ 391240 w 809634"/>
                <a:gd name="connsiteY66" fmla="*/ 435121 h 530161"/>
                <a:gd name="connsiteX67" fmla="*/ 363922 w 809634"/>
                <a:gd name="connsiteY67" fmla="*/ 426282 h 530161"/>
                <a:gd name="connsiteX68" fmla="*/ 352806 w 809634"/>
                <a:gd name="connsiteY68" fmla="*/ 413509 h 530161"/>
                <a:gd name="connsiteX69" fmla="*/ 324107 w 809634"/>
                <a:gd name="connsiteY69" fmla="*/ 397564 h 530161"/>
                <a:gd name="connsiteX70" fmla="*/ 310725 w 809634"/>
                <a:gd name="connsiteY70" fmla="*/ 379790 h 530161"/>
                <a:gd name="connsiteX71" fmla="*/ 304362 w 809634"/>
                <a:gd name="connsiteY71" fmla="*/ 366008 h 530161"/>
                <a:gd name="connsiteX72" fmla="*/ 313268 w 809634"/>
                <a:gd name="connsiteY72" fmla="*/ 363236 h 530161"/>
                <a:gd name="connsiteX73" fmla="*/ 310525 w 809634"/>
                <a:gd name="connsiteY73" fmla="*/ 355149 h 530161"/>
                <a:gd name="connsiteX74" fmla="*/ 316659 w 809634"/>
                <a:gd name="connsiteY74" fmla="*/ 347767 h 530161"/>
                <a:gd name="connsiteX75" fmla="*/ 316792 w 809634"/>
                <a:gd name="connsiteY75" fmla="*/ 337918 h 530161"/>
                <a:gd name="connsiteX76" fmla="*/ 307781 w 809634"/>
                <a:gd name="connsiteY76" fmla="*/ 325098 h 530161"/>
                <a:gd name="connsiteX77" fmla="*/ 305372 w 809634"/>
                <a:gd name="connsiteY77" fmla="*/ 313696 h 530161"/>
                <a:gd name="connsiteX78" fmla="*/ 296418 w 809634"/>
                <a:gd name="connsiteY78" fmla="*/ 299180 h 530161"/>
                <a:gd name="connsiteX79" fmla="*/ 272882 w 809634"/>
                <a:gd name="connsiteY79" fmla="*/ 270453 h 530161"/>
                <a:gd name="connsiteX80" fmla="*/ 246031 w 809634"/>
                <a:gd name="connsiteY80" fmla="*/ 247707 h 530161"/>
                <a:gd name="connsiteX81" fmla="*/ 233039 w 809634"/>
                <a:gd name="connsiteY81" fmla="*/ 229467 h 530161"/>
                <a:gd name="connsiteX82" fmla="*/ 210112 w 809634"/>
                <a:gd name="connsiteY82" fmla="*/ 217465 h 530161"/>
                <a:gd name="connsiteX83" fmla="*/ 205207 w 809634"/>
                <a:gd name="connsiteY83" fmla="*/ 210255 h 530161"/>
                <a:gd name="connsiteX84" fmla="*/ 209274 w 809634"/>
                <a:gd name="connsiteY84" fmla="*/ 191976 h 530161"/>
                <a:gd name="connsiteX85" fmla="*/ 195663 w 809634"/>
                <a:gd name="connsiteY85" fmla="*/ 185042 h 530161"/>
                <a:gd name="connsiteX86" fmla="*/ 179899 w 809634"/>
                <a:gd name="connsiteY86" fmla="*/ 170564 h 530161"/>
                <a:gd name="connsiteX87" fmla="*/ 173241 w 809634"/>
                <a:gd name="connsiteY87" fmla="*/ 149676 h 530161"/>
                <a:gd name="connsiteX88" fmla="*/ 158867 w 809634"/>
                <a:gd name="connsiteY88" fmla="*/ 147228 h 530161"/>
                <a:gd name="connsiteX89" fmla="*/ 143370 w 809634"/>
                <a:gd name="connsiteY89" fmla="*/ 131350 h 530161"/>
                <a:gd name="connsiteX90" fmla="*/ 130855 w 809634"/>
                <a:gd name="connsiteY90" fmla="*/ 116605 h 530161"/>
                <a:gd name="connsiteX91" fmla="*/ 129683 w 809634"/>
                <a:gd name="connsiteY91" fmla="*/ 107109 h 530161"/>
                <a:gd name="connsiteX92" fmla="*/ 115329 w 809634"/>
                <a:gd name="connsiteY92" fmla="*/ 84048 h 530161"/>
                <a:gd name="connsiteX93" fmla="*/ 105861 w 809634"/>
                <a:gd name="connsiteY93" fmla="*/ 60455 h 530161"/>
                <a:gd name="connsiteX94" fmla="*/ 106271 w 809634"/>
                <a:gd name="connsiteY94" fmla="*/ 48549 h 530161"/>
                <a:gd name="connsiteX95" fmla="*/ 86954 w 809634"/>
                <a:gd name="connsiteY95" fmla="*/ 36195 h 530161"/>
                <a:gd name="connsiteX96" fmla="*/ 78038 w 809634"/>
                <a:gd name="connsiteY96" fmla="*/ 37557 h 530161"/>
                <a:gd name="connsiteX97" fmla="*/ 62798 w 809634"/>
                <a:gd name="connsiteY97" fmla="*/ 28956 h 530161"/>
                <a:gd name="connsiteX98" fmla="*/ 58512 w 809634"/>
                <a:gd name="connsiteY98" fmla="*/ 41624 h 530161"/>
                <a:gd name="connsiteX99" fmla="*/ 62932 w 809634"/>
                <a:gd name="connsiteY99" fmla="*/ 56531 h 530161"/>
                <a:gd name="connsiteX100" fmla="*/ 65532 w 809634"/>
                <a:gd name="connsiteY100" fmla="*/ 79696 h 530161"/>
                <a:gd name="connsiteX101" fmla="*/ 74695 w 809634"/>
                <a:gd name="connsiteY101" fmla="*/ 92335 h 530161"/>
                <a:gd name="connsiteX102" fmla="*/ 94517 w 809634"/>
                <a:gd name="connsiteY102" fmla="*/ 113357 h 530161"/>
                <a:gd name="connsiteX103" fmla="*/ 98917 w 809634"/>
                <a:gd name="connsiteY103" fmla="*/ 120501 h 530161"/>
                <a:gd name="connsiteX104" fmla="*/ 102975 w 809634"/>
                <a:gd name="connsiteY104" fmla="*/ 122663 h 530161"/>
                <a:gd name="connsiteX105" fmla="*/ 106499 w 809634"/>
                <a:gd name="connsiteY105" fmla="*/ 133055 h 530161"/>
                <a:gd name="connsiteX106" fmla="*/ 111242 w 809634"/>
                <a:gd name="connsiteY106" fmla="*/ 132636 h 530161"/>
                <a:gd name="connsiteX107" fmla="*/ 116605 w 809634"/>
                <a:gd name="connsiteY107" fmla="*/ 152057 h 530161"/>
                <a:gd name="connsiteX108" fmla="*/ 124720 w 809634"/>
                <a:gd name="connsiteY108" fmla="*/ 159696 h 530161"/>
                <a:gd name="connsiteX109" fmla="*/ 130407 w 809634"/>
                <a:gd name="connsiteY109" fmla="*/ 170288 h 530161"/>
                <a:gd name="connsiteX110" fmla="*/ 147190 w 809634"/>
                <a:gd name="connsiteY110" fmla="*/ 185442 h 530161"/>
                <a:gd name="connsiteX111" fmla="*/ 156048 w 809634"/>
                <a:gd name="connsiteY111" fmla="*/ 212979 h 530161"/>
                <a:gd name="connsiteX112" fmla="*/ 163982 w 809634"/>
                <a:gd name="connsiteY112" fmla="*/ 225876 h 530161"/>
                <a:gd name="connsiteX113" fmla="*/ 171393 w 809634"/>
                <a:gd name="connsiteY113" fmla="*/ 239611 h 530161"/>
                <a:gd name="connsiteX114" fmla="*/ 172869 w 809634"/>
                <a:gd name="connsiteY114" fmla="*/ 255013 h 530161"/>
                <a:gd name="connsiteX115" fmla="*/ 185747 w 809634"/>
                <a:gd name="connsiteY115" fmla="*/ 255975 h 530161"/>
                <a:gd name="connsiteX116" fmla="*/ 196453 w 809634"/>
                <a:gd name="connsiteY116" fmla="*/ 269186 h 530161"/>
                <a:gd name="connsiteX117" fmla="*/ 206140 w 809634"/>
                <a:gd name="connsiteY117" fmla="*/ 282130 h 530161"/>
                <a:gd name="connsiteX118" fmla="*/ 205492 w 809634"/>
                <a:gd name="connsiteY118" fmla="*/ 287303 h 530161"/>
                <a:gd name="connsiteX119" fmla="*/ 194253 w 809634"/>
                <a:gd name="connsiteY119" fmla="*/ 297904 h 530161"/>
                <a:gd name="connsiteX120" fmla="*/ 189519 w 809634"/>
                <a:gd name="connsiteY120" fmla="*/ 297761 h 530161"/>
                <a:gd name="connsiteX121" fmla="*/ 182480 w 809634"/>
                <a:gd name="connsiteY121" fmla="*/ 280206 h 530161"/>
                <a:gd name="connsiteX122" fmla="*/ 165002 w 809634"/>
                <a:gd name="connsiteY122" fmla="*/ 263680 h 530161"/>
                <a:gd name="connsiteX123" fmla="*/ 145742 w 809634"/>
                <a:gd name="connsiteY123" fmla="*/ 249593 h 530161"/>
                <a:gd name="connsiteX124" fmla="*/ 132083 w 809634"/>
                <a:gd name="connsiteY124" fmla="*/ 242173 h 530161"/>
                <a:gd name="connsiteX125" fmla="*/ 132969 w 809634"/>
                <a:gd name="connsiteY125" fmla="*/ 220713 h 530161"/>
                <a:gd name="connsiteX126" fmla="*/ 128911 w 809634"/>
                <a:gd name="connsiteY126" fmla="*/ 204730 h 530161"/>
                <a:gd name="connsiteX127" fmla="*/ 116186 w 809634"/>
                <a:gd name="connsiteY127" fmla="*/ 195558 h 530161"/>
                <a:gd name="connsiteX128" fmla="*/ 97831 w 809634"/>
                <a:gd name="connsiteY128" fmla="*/ 182308 h 530161"/>
                <a:gd name="connsiteX129" fmla="*/ 94307 w 809634"/>
                <a:gd name="connsiteY129" fmla="*/ 186137 h 530161"/>
                <a:gd name="connsiteX130" fmla="*/ 87563 w 809634"/>
                <a:gd name="connsiteY130" fmla="*/ 178384 h 530161"/>
                <a:gd name="connsiteX131" fmla="*/ 71095 w 809634"/>
                <a:gd name="connsiteY131" fmla="*/ 171164 h 530161"/>
                <a:gd name="connsiteX132" fmla="*/ 55350 w 809634"/>
                <a:gd name="connsiteY132" fmla="*/ 153791 h 530161"/>
                <a:gd name="connsiteX133" fmla="*/ 57302 w 809634"/>
                <a:gd name="connsiteY133" fmla="*/ 151524 h 530161"/>
                <a:gd name="connsiteX134" fmla="*/ 68304 w 809634"/>
                <a:gd name="connsiteY134" fmla="*/ 153228 h 530161"/>
                <a:gd name="connsiteX135" fmla="*/ 78210 w 809634"/>
                <a:gd name="connsiteY135" fmla="*/ 141989 h 530161"/>
                <a:gd name="connsiteX136" fmla="*/ 79210 w 809634"/>
                <a:gd name="connsiteY136" fmla="*/ 128378 h 530161"/>
                <a:gd name="connsiteX137" fmla="*/ 58646 w 809634"/>
                <a:gd name="connsiteY137" fmla="*/ 106718 h 530161"/>
                <a:gd name="connsiteX138" fmla="*/ 42967 w 809634"/>
                <a:gd name="connsiteY138" fmla="*/ 98279 h 530161"/>
                <a:gd name="connsiteX139" fmla="*/ 33128 w 809634"/>
                <a:gd name="connsiteY139" fmla="*/ 79143 h 530161"/>
                <a:gd name="connsiteX140" fmla="*/ 23222 w 809634"/>
                <a:gd name="connsiteY140" fmla="*/ 58921 h 530161"/>
                <a:gd name="connsiteX141" fmla="*/ 10849 w 809634"/>
                <a:gd name="connsiteY141" fmla="*/ 34071 h 530161"/>
                <a:gd name="connsiteX142" fmla="*/ 0 w 809634"/>
                <a:gd name="connsiteY142" fmla="*/ 5848 h 530161"/>
                <a:gd name="connsiteX143" fmla="*/ 30347 w 809634"/>
                <a:gd name="connsiteY143" fmla="*/ 3429 h 530161"/>
                <a:gd name="connsiteX144" fmla="*/ 64265 w 809634"/>
                <a:gd name="connsiteY144" fmla="*/ 0 h 530161"/>
                <a:gd name="connsiteX145" fmla="*/ 61770 w 809634"/>
                <a:gd name="connsiteY145" fmla="*/ 6172 h 530161"/>
                <a:gd name="connsiteX146" fmla="*/ 102099 w 809634"/>
                <a:gd name="connsiteY146" fmla="*/ 21460 h 530161"/>
                <a:gd name="connsiteX147" fmla="*/ 163020 w 809634"/>
                <a:gd name="connsiteY147" fmla="*/ 43453 h 530161"/>
                <a:gd name="connsiteX148" fmla="*/ 216132 w 809634"/>
                <a:gd name="connsiteY148" fmla="*/ 43234 h 530161"/>
                <a:gd name="connsiteX149" fmla="*/ 237306 w 809634"/>
                <a:gd name="connsiteY149" fmla="*/ 43224 h 530161"/>
                <a:gd name="connsiteX150" fmla="*/ 237363 w 809634"/>
                <a:gd name="connsiteY150" fmla="*/ 30356 h 530161"/>
                <a:gd name="connsiteX151" fmla="*/ 283635 w 809634"/>
                <a:gd name="connsiteY151" fmla="*/ 30366 h 530161"/>
                <a:gd name="connsiteX152" fmla="*/ 293370 w 809634"/>
                <a:gd name="connsiteY152" fmla="*/ 41424 h 530161"/>
                <a:gd name="connsiteX153" fmla="*/ 307029 w 809634"/>
                <a:gd name="connsiteY153" fmla="*/ 51254 h 530161"/>
                <a:gd name="connsiteX154" fmla="*/ 322898 w 809634"/>
                <a:gd name="connsiteY154" fmla="*/ 64865 h 530161"/>
                <a:gd name="connsiteX155" fmla="*/ 331746 w 809634"/>
                <a:gd name="connsiteY155" fmla="*/ 80953 h 530161"/>
                <a:gd name="connsiteX156" fmla="*/ 338395 w 809634"/>
                <a:gd name="connsiteY156" fmla="*/ 97802 h 530161"/>
                <a:gd name="connsiteX157" fmla="*/ 352197 w 809634"/>
                <a:gd name="connsiteY157" fmla="*/ 107013 h 530161"/>
                <a:gd name="connsiteX158" fmla="*/ 374371 w 809634"/>
                <a:gd name="connsiteY158" fmla="*/ 116138 h 530161"/>
                <a:gd name="connsiteX159" fmla="*/ 391192 w 809634"/>
                <a:gd name="connsiteY159" fmla="*/ 92050 h 530161"/>
                <a:gd name="connsiteX160" fmla="*/ 413033 w 809634"/>
                <a:gd name="connsiteY160" fmla="*/ 91459 h 530161"/>
                <a:gd name="connsiteX161" fmla="*/ 431854 w 809634"/>
                <a:gd name="connsiteY161" fmla="*/ 103641 h 530161"/>
                <a:gd name="connsiteX162" fmla="*/ 445256 w 809634"/>
                <a:gd name="connsiteY162" fmla="*/ 124444 h 530161"/>
                <a:gd name="connsiteX163" fmla="*/ 454486 w 809634"/>
                <a:gd name="connsiteY163" fmla="*/ 142142 h 530161"/>
                <a:gd name="connsiteX164" fmla="*/ 470240 w 809634"/>
                <a:gd name="connsiteY164" fmla="*/ 159267 h 530161"/>
                <a:gd name="connsiteX165" fmla="*/ 476126 w 809634"/>
                <a:gd name="connsiteY165" fmla="*/ 180175 h 530161"/>
                <a:gd name="connsiteX166" fmla="*/ 483603 w 809634"/>
                <a:gd name="connsiteY166" fmla="*/ 194138 h 530161"/>
                <a:gd name="connsiteX167" fmla="*/ 504434 w 809634"/>
                <a:gd name="connsiteY167" fmla="*/ 203311 h 530161"/>
                <a:gd name="connsiteX168" fmla="*/ 523389 w 809634"/>
                <a:gd name="connsiteY168" fmla="*/ 209807 h 530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809634" h="530161">
                  <a:moveTo>
                    <a:pt x="533810" y="208931"/>
                  </a:moveTo>
                  <a:lnTo>
                    <a:pt x="523446" y="234753"/>
                  </a:lnTo>
                  <a:lnTo>
                    <a:pt x="518770" y="255775"/>
                  </a:lnTo>
                  <a:lnTo>
                    <a:pt x="516827" y="294608"/>
                  </a:lnTo>
                  <a:lnTo>
                    <a:pt x="514245" y="308658"/>
                  </a:lnTo>
                  <a:lnTo>
                    <a:pt x="518874" y="324307"/>
                  </a:lnTo>
                  <a:lnTo>
                    <a:pt x="527152" y="338233"/>
                  </a:lnTo>
                  <a:lnTo>
                    <a:pt x="532495" y="360293"/>
                  </a:lnTo>
                  <a:lnTo>
                    <a:pt x="550212" y="381372"/>
                  </a:lnTo>
                  <a:lnTo>
                    <a:pt x="556451" y="397450"/>
                  </a:lnTo>
                  <a:lnTo>
                    <a:pt x="566899" y="411280"/>
                  </a:lnTo>
                  <a:lnTo>
                    <a:pt x="595255" y="418709"/>
                  </a:lnTo>
                  <a:lnTo>
                    <a:pt x="606295" y="430416"/>
                  </a:lnTo>
                  <a:lnTo>
                    <a:pt x="629726" y="422596"/>
                  </a:lnTo>
                  <a:lnTo>
                    <a:pt x="650081" y="419767"/>
                  </a:lnTo>
                  <a:lnTo>
                    <a:pt x="670084" y="414737"/>
                  </a:lnTo>
                  <a:lnTo>
                    <a:pt x="686886" y="409927"/>
                  </a:lnTo>
                  <a:lnTo>
                    <a:pt x="703879" y="398469"/>
                  </a:lnTo>
                  <a:lnTo>
                    <a:pt x="710241" y="382038"/>
                  </a:lnTo>
                  <a:lnTo>
                    <a:pt x="712432" y="358254"/>
                  </a:lnTo>
                  <a:lnTo>
                    <a:pt x="717052" y="349948"/>
                  </a:lnTo>
                  <a:lnTo>
                    <a:pt x="735140" y="342490"/>
                  </a:lnTo>
                  <a:lnTo>
                    <a:pt x="763381" y="335880"/>
                  </a:lnTo>
                  <a:lnTo>
                    <a:pt x="787032" y="336871"/>
                  </a:lnTo>
                  <a:lnTo>
                    <a:pt x="803224" y="334451"/>
                  </a:lnTo>
                  <a:lnTo>
                    <a:pt x="809635" y="340500"/>
                  </a:lnTo>
                  <a:lnTo>
                    <a:pt x="808730" y="354216"/>
                  </a:lnTo>
                  <a:lnTo>
                    <a:pt x="794376" y="371065"/>
                  </a:lnTo>
                  <a:lnTo>
                    <a:pt x="788032" y="388258"/>
                  </a:lnTo>
                  <a:lnTo>
                    <a:pt x="792947" y="393163"/>
                  </a:lnTo>
                  <a:lnTo>
                    <a:pt x="788946" y="405327"/>
                  </a:lnTo>
                  <a:lnTo>
                    <a:pt x="782250" y="427187"/>
                  </a:lnTo>
                  <a:lnTo>
                    <a:pt x="775487" y="420005"/>
                  </a:lnTo>
                  <a:lnTo>
                    <a:pt x="769896" y="420471"/>
                  </a:lnTo>
                  <a:lnTo>
                    <a:pt x="764819" y="420833"/>
                  </a:lnTo>
                  <a:lnTo>
                    <a:pt x="755247" y="437702"/>
                  </a:lnTo>
                  <a:lnTo>
                    <a:pt x="750399" y="434407"/>
                  </a:lnTo>
                  <a:lnTo>
                    <a:pt x="747170" y="435683"/>
                  </a:lnTo>
                  <a:lnTo>
                    <a:pt x="747379" y="439788"/>
                  </a:lnTo>
                  <a:lnTo>
                    <a:pt x="722681" y="439483"/>
                  </a:lnTo>
                  <a:lnTo>
                    <a:pt x="697745" y="439531"/>
                  </a:lnTo>
                  <a:lnTo>
                    <a:pt x="697725" y="455200"/>
                  </a:lnTo>
                  <a:lnTo>
                    <a:pt x="685667" y="455266"/>
                  </a:lnTo>
                  <a:lnTo>
                    <a:pt x="695611" y="464544"/>
                  </a:lnTo>
                  <a:lnTo>
                    <a:pt x="705479" y="470945"/>
                  </a:lnTo>
                  <a:lnTo>
                    <a:pt x="708451" y="476945"/>
                  </a:lnTo>
                  <a:lnTo>
                    <a:pt x="712775" y="478622"/>
                  </a:lnTo>
                  <a:lnTo>
                    <a:pt x="712089" y="488032"/>
                  </a:lnTo>
                  <a:lnTo>
                    <a:pt x="677809" y="488118"/>
                  </a:lnTo>
                  <a:lnTo>
                    <a:pt x="664959" y="510587"/>
                  </a:lnTo>
                  <a:lnTo>
                    <a:pt x="668750" y="515731"/>
                  </a:lnTo>
                  <a:lnTo>
                    <a:pt x="665655" y="522170"/>
                  </a:lnTo>
                  <a:lnTo>
                    <a:pt x="664998" y="530162"/>
                  </a:lnTo>
                  <a:lnTo>
                    <a:pt x="634775" y="500567"/>
                  </a:lnTo>
                  <a:lnTo>
                    <a:pt x="621002" y="491614"/>
                  </a:lnTo>
                  <a:lnTo>
                    <a:pt x="599189" y="484413"/>
                  </a:lnTo>
                  <a:lnTo>
                    <a:pt x="584283" y="486413"/>
                  </a:lnTo>
                  <a:lnTo>
                    <a:pt x="562832" y="496795"/>
                  </a:lnTo>
                  <a:lnTo>
                    <a:pt x="549364" y="499520"/>
                  </a:lnTo>
                  <a:lnTo>
                    <a:pt x="530504" y="492252"/>
                  </a:lnTo>
                  <a:lnTo>
                    <a:pt x="510492" y="486994"/>
                  </a:lnTo>
                  <a:lnTo>
                    <a:pt x="485527" y="474307"/>
                  </a:lnTo>
                  <a:lnTo>
                    <a:pt x="465506" y="470430"/>
                  </a:lnTo>
                  <a:lnTo>
                    <a:pt x="435274" y="457524"/>
                  </a:lnTo>
                  <a:lnTo>
                    <a:pt x="412928" y="444227"/>
                  </a:lnTo>
                  <a:lnTo>
                    <a:pt x="406184" y="436788"/>
                  </a:lnTo>
                  <a:lnTo>
                    <a:pt x="391240" y="435121"/>
                  </a:lnTo>
                  <a:lnTo>
                    <a:pt x="363922" y="426282"/>
                  </a:lnTo>
                  <a:lnTo>
                    <a:pt x="352806" y="413509"/>
                  </a:lnTo>
                  <a:lnTo>
                    <a:pt x="324107" y="397564"/>
                  </a:lnTo>
                  <a:lnTo>
                    <a:pt x="310725" y="379790"/>
                  </a:lnTo>
                  <a:lnTo>
                    <a:pt x="304362" y="366008"/>
                  </a:lnTo>
                  <a:lnTo>
                    <a:pt x="313268" y="363236"/>
                  </a:lnTo>
                  <a:lnTo>
                    <a:pt x="310525" y="355149"/>
                  </a:lnTo>
                  <a:lnTo>
                    <a:pt x="316659" y="347767"/>
                  </a:lnTo>
                  <a:lnTo>
                    <a:pt x="316792" y="337918"/>
                  </a:lnTo>
                  <a:lnTo>
                    <a:pt x="307781" y="325098"/>
                  </a:lnTo>
                  <a:lnTo>
                    <a:pt x="305372" y="313696"/>
                  </a:lnTo>
                  <a:lnTo>
                    <a:pt x="296418" y="299180"/>
                  </a:lnTo>
                  <a:lnTo>
                    <a:pt x="272882" y="270453"/>
                  </a:lnTo>
                  <a:lnTo>
                    <a:pt x="246031" y="247707"/>
                  </a:lnTo>
                  <a:lnTo>
                    <a:pt x="233039" y="229467"/>
                  </a:lnTo>
                  <a:lnTo>
                    <a:pt x="210112" y="217465"/>
                  </a:lnTo>
                  <a:lnTo>
                    <a:pt x="205207" y="210255"/>
                  </a:lnTo>
                  <a:lnTo>
                    <a:pt x="209274" y="191976"/>
                  </a:lnTo>
                  <a:lnTo>
                    <a:pt x="195663" y="185042"/>
                  </a:lnTo>
                  <a:lnTo>
                    <a:pt x="179899" y="170564"/>
                  </a:lnTo>
                  <a:lnTo>
                    <a:pt x="173241" y="149676"/>
                  </a:lnTo>
                  <a:lnTo>
                    <a:pt x="158867" y="147228"/>
                  </a:lnTo>
                  <a:lnTo>
                    <a:pt x="143370" y="131350"/>
                  </a:lnTo>
                  <a:lnTo>
                    <a:pt x="130855" y="116605"/>
                  </a:lnTo>
                  <a:lnTo>
                    <a:pt x="129683" y="107109"/>
                  </a:lnTo>
                  <a:lnTo>
                    <a:pt x="115329" y="84048"/>
                  </a:lnTo>
                  <a:lnTo>
                    <a:pt x="105861" y="60455"/>
                  </a:lnTo>
                  <a:lnTo>
                    <a:pt x="106271" y="48549"/>
                  </a:lnTo>
                  <a:lnTo>
                    <a:pt x="86954" y="36195"/>
                  </a:lnTo>
                  <a:lnTo>
                    <a:pt x="78038" y="37557"/>
                  </a:lnTo>
                  <a:lnTo>
                    <a:pt x="62798" y="28956"/>
                  </a:lnTo>
                  <a:lnTo>
                    <a:pt x="58512" y="41624"/>
                  </a:lnTo>
                  <a:lnTo>
                    <a:pt x="62932" y="56531"/>
                  </a:lnTo>
                  <a:lnTo>
                    <a:pt x="65532" y="79696"/>
                  </a:lnTo>
                  <a:lnTo>
                    <a:pt x="74695" y="92335"/>
                  </a:lnTo>
                  <a:lnTo>
                    <a:pt x="94517" y="113357"/>
                  </a:lnTo>
                  <a:lnTo>
                    <a:pt x="98917" y="120501"/>
                  </a:lnTo>
                  <a:lnTo>
                    <a:pt x="102975" y="122663"/>
                  </a:lnTo>
                  <a:lnTo>
                    <a:pt x="106499" y="133055"/>
                  </a:lnTo>
                  <a:lnTo>
                    <a:pt x="111242" y="132636"/>
                  </a:lnTo>
                  <a:lnTo>
                    <a:pt x="116605" y="152057"/>
                  </a:lnTo>
                  <a:lnTo>
                    <a:pt x="124720" y="159696"/>
                  </a:lnTo>
                  <a:lnTo>
                    <a:pt x="130407" y="170288"/>
                  </a:lnTo>
                  <a:lnTo>
                    <a:pt x="147190" y="185442"/>
                  </a:lnTo>
                  <a:lnTo>
                    <a:pt x="156048" y="212979"/>
                  </a:lnTo>
                  <a:lnTo>
                    <a:pt x="163982" y="225876"/>
                  </a:lnTo>
                  <a:lnTo>
                    <a:pt x="171393" y="239611"/>
                  </a:lnTo>
                  <a:lnTo>
                    <a:pt x="172869" y="255013"/>
                  </a:lnTo>
                  <a:lnTo>
                    <a:pt x="185747" y="255975"/>
                  </a:lnTo>
                  <a:lnTo>
                    <a:pt x="196453" y="269186"/>
                  </a:lnTo>
                  <a:lnTo>
                    <a:pt x="206140" y="282130"/>
                  </a:lnTo>
                  <a:lnTo>
                    <a:pt x="205492" y="287303"/>
                  </a:lnTo>
                  <a:lnTo>
                    <a:pt x="194253" y="297904"/>
                  </a:lnTo>
                  <a:lnTo>
                    <a:pt x="189519" y="297761"/>
                  </a:lnTo>
                  <a:lnTo>
                    <a:pt x="182480" y="280206"/>
                  </a:lnTo>
                  <a:lnTo>
                    <a:pt x="165002" y="263680"/>
                  </a:lnTo>
                  <a:lnTo>
                    <a:pt x="145742" y="249593"/>
                  </a:lnTo>
                  <a:lnTo>
                    <a:pt x="132083" y="242173"/>
                  </a:lnTo>
                  <a:lnTo>
                    <a:pt x="132969" y="220713"/>
                  </a:lnTo>
                  <a:lnTo>
                    <a:pt x="128911" y="204730"/>
                  </a:lnTo>
                  <a:lnTo>
                    <a:pt x="116186" y="195558"/>
                  </a:lnTo>
                  <a:lnTo>
                    <a:pt x="97831" y="182308"/>
                  </a:lnTo>
                  <a:lnTo>
                    <a:pt x="94307" y="186137"/>
                  </a:lnTo>
                  <a:lnTo>
                    <a:pt x="87563" y="178384"/>
                  </a:lnTo>
                  <a:lnTo>
                    <a:pt x="71095" y="171164"/>
                  </a:lnTo>
                  <a:lnTo>
                    <a:pt x="55350" y="153791"/>
                  </a:lnTo>
                  <a:lnTo>
                    <a:pt x="57302" y="151524"/>
                  </a:lnTo>
                  <a:lnTo>
                    <a:pt x="68304" y="153228"/>
                  </a:lnTo>
                  <a:lnTo>
                    <a:pt x="78210" y="141989"/>
                  </a:lnTo>
                  <a:lnTo>
                    <a:pt x="79210" y="128378"/>
                  </a:lnTo>
                  <a:lnTo>
                    <a:pt x="58646" y="106718"/>
                  </a:lnTo>
                  <a:lnTo>
                    <a:pt x="42967" y="98279"/>
                  </a:lnTo>
                  <a:lnTo>
                    <a:pt x="33128" y="79143"/>
                  </a:lnTo>
                  <a:lnTo>
                    <a:pt x="23222" y="58921"/>
                  </a:lnTo>
                  <a:lnTo>
                    <a:pt x="10849" y="34071"/>
                  </a:lnTo>
                  <a:lnTo>
                    <a:pt x="0" y="5848"/>
                  </a:lnTo>
                  <a:lnTo>
                    <a:pt x="30347" y="3429"/>
                  </a:lnTo>
                  <a:lnTo>
                    <a:pt x="64265" y="0"/>
                  </a:lnTo>
                  <a:lnTo>
                    <a:pt x="61770" y="6172"/>
                  </a:lnTo>
                  <a:lnTo>
                    <a:pt x="102099" y="21460"/>
                  </a:lnTo>
                  <a:lnTo>
                    <a:pt x="163020" y="43453"/>
                  </a:lnTo>
                  <a:lnTo>
                    <a:pt x="216132" y="43234"/>
                  </a:lnTo>
                  <a:lnTo>
                    <a:pt x="237306" y="43224"/>
                  </a:lnTo>
                  <a:lnTo>
                    <a:pt x="237363" y="30356"/>
                  </a:lnTo>
                  <a:lnTo>
                    <a:pt x="283635" y="30366"/>
                  </a:lnTo>
                  <a:lnTo>
                    <a:pt x="293370" y="41424"/>
                  </a:lnTo>
                  <a:lnTo>
                    <a:pt x="307029" y="51254"/>
                  </a:lnTo>
                  <a:lnTo>
                    <a:pt x="322898" y="64865"/>
                  </a:lnTo>
                  <a:lnTo>
                    <a:pt x="331746" y="80953"/>
                  </a:lnTo>
                  <a:lnTo>
                    <a:pt x="338395" y="97802"/>
                  </a:lnTo>
                  <a:lnTo>
                    <a:pt x="352197" y="107013"/>
                  </a:lnTo>
                  <a:lnTo>
                    <a:pt x="374371" y="116138"/>
                  </a:lnTo>
                  <a:lnTo>
                    <a:pt x="391192" y="92050"/>
                  </a:lnTo>
                  <a:lnTo>
                    <a:pt x="413033" y="91459"/>
                  </a:lnTo>
                  <a:lnTo>
                    <a:pt x="431854" y="103641"/>
                  </a:lnTo>
                  <a:lnTo>
                    <a:pt x="445256" y="124444"/>
                  </a:lnTo>
                  <a:lnTo>
                    <a:pt x="454486" y="142142"/>
                  </a:lnTo>
                  <a:lnTo>
                    <a:pt x="470240" y="159267"/>
                  </a:lnTo>
                  <a:lnTo>
                    <a:pt x="476126" y="180175"/>
                  </a:lnTo>
                  <a:lnTo>
                    <a:pt x="483603" y="194138"/>
                  </a:lnTo>
                  <a:lnTo>
                    <a:pt x="504434" y="203311"/>
                  </a:lnTo>
                  <a:lnTo>
                    <a:pt x="523389" y="20980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2" name="Forme libre : forme 5761">
              <a:extLst>
                <a:ext uri="{FF2B5EF4-FFF2-40B4-BE49-F238E27FC236}">
                  <a16:creationId xmlns:a16="http://schemas.microsoft.com/office/drawing/2014/main" id="{73C55E83-CF73-73D4-1AD8-89C214A0E395}"/>
                </a:ext>
              </a:extLst>
            </p:cNvPr>
            <p:cNvSpPr/>
            <p:nvPr/>
          </p:nvSpPr>
          <p:spPr>
            <a:xfrm>
              <a:off x="8493871" y="4558411"/>
              <a:ext cx="509968" cy="163734"/>
            </a:xfrm>
            <a:custGeom>
              <a:avLst/>
              <a:gdLst>
                <a:gd name="connsiteX0" fmla="*/ 26422 w 509968"/>
                <a:gd name="connsiteY0" fmla="*/ 19317 h 163734"/>
                <a:gd name="connsiteX1" fmla="*/ 28518 w 509968"/>
                <a:gd name="connsiteY1" fmla="*/ 33014 h 163734"/>
                <a:gd name="connsiteX2" fmla="*/ 46158 w 509968"/>
                <a:gd name="connsiteY2" fmla="*/ 29832 h 163734"/>
                <a:gd name="connsiteX3" fmla="*/ 54883 w 509968"/>
                <a:gd name="connsiteY3" fmla="*/ 18878 h 163734"/>
                <a:gd name="connsiteX4" fmla="*/ 61027 w 509968"/>
                <a:gd name="connsiteY4" fmla="*/ 21374 h 163734"/>
                <a:gd name="connsiteX5" fmla="*/ 76800 w 509968"/>
                <a:gd name="connsiteY5" fmla="*/ 37472 h 163734"/>
                <a:gd name="connsiteX6" fmla="*/ 88011 w 509968"/>
                <a:gd name="connsiteY6" fmla="*/ 55312 h 163734"/>
                <a:gd name="connsiteX7" fmla="*/ 89535 w 509968"/>
                <a:gd name="connsiteY7" fmla="*/ 73228 h 163734"/>
                <a:gd name="connsiteX8" fmla="*/ 86696 w 509968"/>
                <a:gd name="connsiteY8" fmla="*/ 85325 h 163734"/>
                <a:gd name="connsiteX9" fmla="*/ 89288 w 509968"/>
                <a:gd name="connsiteY9" fmla="*/ 94460 h 163734"/>
                <a:gd name="connsiteX10" fmla="*/ 91240 w 509968"/>
                <a:gd name="connsiteY10" fmla="*/ 110185 h 163734"/>
                <a:gd name="connsiteX11" fmla="*/ 100641 w 509968"/>
                <a:gd name="connsiteY11" fmla="*/ 117500 h 163734"/>
                <a:gd name="connsiteX12" fmla="*/ 111147 w 509968"/>
                <a:gd name="connsiteY12" fmla="*/ 140979 h 163734"/>
                <a:gd name="connsiteX13" fmla="*/ 110633 w 509968"/>
                <a:gd name="connsiteY13" fmla="*/ 149952 h 163734"/>
                <a:gd name="connsiteX14" fmla="*/ 91697 w 509968"/>
                <a:gd name="connsiteY14" fmla="*/ 151724 h 163734"/>
                <a:gd name="connsiteX15" fmla="*/ 66437 w 509968"/>
                <a:gd name="connsiteY15" fmla="*/ 132064 h 163734"/>
                <a:gd name="connsiteX16" fmla="*/ 34843 w 509968"/>
                <a:gd name="connsiteY16" fmla="*/ 110995 h 163734"/>
                <a:gd name="connsiteX17" fmla="*/ 31718 w 509968"/>
                <a:gd name="connsiteY17" fmla="*/ 97460 h 163734"/>
                <a:gd name="connsiteX18" fmla="*/ 16278 w 509968"/>
                <a:gd name="connsiteY18" fmla="*/ 79686 h 163734"/>
                <a:gd name="connsiteX19" fmla="*/ 12592 w 509968"/>
                <a:gd name="connsiteY19" fmla="*/ 57655 h 163734"/>
                <a:gd name="connsiteX20" fmla="*/ 2953 w 509968"/>
                <a:gd name="connsiteY20" fmla="*/ 43139 h 163734"/>
                <a:gd name="connsiteX21" fmla="*/ 5886 w 509968"/>
                <a:gd name="connsiteY21" fmla="*/ 23727 h 163734"/>
                <a:gd name="connsiteX22" fmla="*/ 0 w 509968"/>
                <a:gd name="connsiteY22" fmla="*/ 12411 h 163734"/>
                <a:gd name="connsiteX23" fmla="*/ 4639 w 509968"/>
                <a:gd name="connsiteY23" fmla="*/ 7649 h 163734"/>
                <a:gd name="connsiteX24" fmla="*/ 26422 w 509968"/>
                <a:gd name="connsiteY24" fmla="*/ 19317 h 163734"/>
                <a:gd name="connsiteX25" fmla="*/ 494929 w 509968"/>
                <a:gd name="connsiteY25" fmla="*/ 65322 h 163734"/>
                <a:gd name="connsiteX26" fmla="*/ 475269 w 509968"/>
                <a:gd name="connsiteY26" fmla="*/ 74390 h 163734"/>
                <a:gd name="connsiteX27" fmla="*/ 452123 w 509968"/>
                <a:gd name="connsiteY27" fmla="*/ 69904 h 163734"/>
                <a:gd name="connsiteX28" fmla="*/ 421414 w 509968"/>
                <a:gd name="connsiteY28" fmla="*/ 69895 h 163734"/>
                <a:gd name="connsiteX29" fmla="*/ 412156 w 509968"/>
                <a:gd name="connsiteY29" fmla="*/ 100136 h 163734"/>
                <a:gd name="connsiteX30" fmla="*/ 401879 w 509968"/>
                <a:gd name="connsiteY30" fmla="*/ 109376 h 163734"/>
                <a:gd name="connsiteX31" fmla="*/ 388182 w 509968"/>
                <a:gd name="connsiteY31" fmla="*/ 146295 h 163734"/>
                <a:gd name="connsiteX32" fmla="*/ 366398 w 509968"/>
                <a:gd name="connsiteY32" fmla="*/ 151952 h 163734"/>
                <a:gd name="connsiteX33" fmla="*/ 341138 w 509968"/>
                <a:gd name="connsiteY33" fmla="*/ 144513 h 163734"/>
                <a:gd name="connsiteX34" fmla="*/ 328326 w 509968"/>
                <a:gd name="connsiteY34" fmla="*/ 146838 h 163734"/>
                <a:gd name="connsiteX35" fmla="*/ 312763 w 509968"/>
                <a:gd name="connsiteY35" fmla="*/ 160258 h 163734"/>
                <a:gd name="connsiteX36" fmla="*/ 295713 w 509968"/>
                <a:gd name="connsiteY36" fmla="*/ 158344 h 163734"/>
                <a:gd name="connsiteX37" fmla="*/ 278482 w 509968"/>
                <a:gd name="connsiteY37" fmla="*/ 163735 h 163734"/>
                <a:gd name="connsiteX38" fmla="*/ 260223 w 509968"/>
                <a:gd name="connsiteY38" fmla="*/ 148742 h 163734"/>
                <a:gd name="connsiteX39" fmla="*/ 255756 w 509968"/>
                <a:gd name="connsiteY39" fmla="*/ 131007 h 163734"/>
                <a:gd name="connsiteX40" fmla="*/ 275330 w 509968"/>
                <a:gd name="connsiteY40" fmla="*/ 140103 h 163734"/>
                <a:gd name="connsiteX41" fmla="*/ 295970 w 509968"/>
                <a:gd name="connsiteY41" fmla="*/ 135141 h 163734"/>
                <a:gd name="connsiteX42" fmla="*/ 301343 w 509968"/>
                <a:gd name="connsiteY42" fmla="*/ 112662 h 163734"/>
                <a:gd name="connsiteX43" fmla="*/ 312734 w 509968"/>
                <a:gd name="connsiteY43" fmla="*/ 107652 h 163734"/>
                <a:gd name="connsiteX44" fmla="*/ 344748 w 509968"/>
                <a:gd name="connsiteY44" fmla="*/ 101898 h 163734"/>
                <a:gd name="connsiteX45" fmla="*/ 363903 w 509968"/>
                <a:gd name="connsiteY45" fmla="*/ 80877 h 163734"/>
                <a:gd name="connsiteX46" fmla="*/ 377018 w 509968"/>
                <a:gd name="connsiteY46" fmla="*/ 64056 h 163734"/>
                <a:gd name="connsiteX47" fmla="*/ 389182 w 509968"/>
                <a:gd name="connsiteY47" fmla="*/ 77838 h 163734"/>
                <a:gd name="connsiteX48" fmla="*/ 394792 w 509968"/>
                <a:gd name="connsiteY48" fmla="*/ 68771 h 163734"/>
                <a:gd name="connsiteX49" fmla="*/ 407556 w 509968"/>
                <a:gd name="connsiteY49" fmla="*/ 69618 h 163734"/>
                <a:gd name="connsiteX50" fmla="*/ 409117 w 509968"/>
                <a:gd name="connsiteY50" fmla="*/ 52616 h 163734"/>
                <a:gd name="connsiteX51" fmla="*/ 410318 w 509968"/>
                <a:gd name="connsiteY51" fmla="*/ 39500 h 163734"/>
                <a:gd name="connsiteX52" fmla="*/ 430882 w 509968"/>
                <a:gd name="connsiteY52" fmla="*/ 20955 h 163734"/>
                <a:gd name="connsiteX53" fmla="*/ 444351 w 509968"/>
                <a:gd name="connsiteY53" fmla="*/ 86 h 163734"/>
                <a:gd name="connsiteX54" fmla="*/ 455152 w 509968"/>
                <a:gd name="connsiteY54" fmla="*/ 0 h 163734"/>
                <a:gd name="connsiteX55" fmla="*/ 468868 w 509968"/>
                <a:gd name="connsiteY55" fmla="*/ 13516 h 163734"/>
                <a:gd name="connsiteX56" fmla="*/ 470087 w 509968"/>
                <a:gd name="connsiteY56" fmla="*/ 25117 h 163734"/>
                <a:gd name="connsiteX57" fmla="*/ 487680 w 509968"/>
                <a:gd name="connsiteY57" fmla="*/ 32547 h 163734"/>
                <a:gd name="connsiteX58" fmla="*/ 509968 w 509968"/>
                <a:gd name="connsiteY58" fmla="*/ 40567 h 163734"/>
                <a:gd name="connsiteX59" fmla="*/ 508063 w 509968"/>
                <a:gd name="connsiteY59" fmla="*/ 50997 h 163734"/>
                <a:gd name="connsiteX60" fmla="*/ 490147 w 509968"/>
                <a:gd name="connsiteY60" fmla="*/ 52321 h 163734"/>
                <a:gd name="connsiteX61" fmla="*/ 494929 w 509968"/>
                <a:gd name="connsiteY61" fmla="*/ 65322 h 16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509968" h="163734">
                  <a:moveTo>
                    <a:pt x="26422" y="19317"/>
                  </a:moveTo>
                  <a:lnTo>
                    <a:pt x="28518" y="33014"/>
                  </a:lnTo>
                  <a:lnTo>
                    <a:pt x="46158" y="29832"/>
                  </a:lnTo>
                  <a:lnTo>
                    <a:pt x="54883" y="18878"/>
                  </a:lnTo>
                  <a:lnTo>
                    <a:pt x="61027" y="21374"/>
                  </a:lnTo>
                  <a:lnTo>
                    <a:pt x="76800" y="37472"/>
                  </a:lnTo>
                  <a:lnTo>
                    <a:pt x="88011" y="55312"/>
                  </a:lnTo>
                  <a:lnTo>
                    <a:pt x="89535" y="73228"/>
                  </a:lnTo>
                  <a:lnTo>
                    <a:pt x="86696" y="85325"/>
                  </a:lnTo>
                  <a:lnTo>
                    <a:pt x="89288" y="94460"/>
                  </a:lnTo>
                  <a:lnTo>
                    <a:pt x="91240" y="110185"/>
                  </a:lnTo>
                  <a:lnTo>
                    <a:pt x="100641" y="117500"/>
                  </a:lnTo>
                  <a:lnTo>
                    <a:pt x="111147" y="140979"/>
                  </a:lnTo>
                  <a:lnTo>
                    <a:pt x="110633" y="149952"/>
                  </a:lnTo>
                  <a:lnTo>
                    <a:pt x="91697" y="151724"/>
                  </a:lnTo>
                  <a:lnTo>
                    <a:pt x="66437" y="132064"/>
                  </a:lnTo>
                  <a:lnTo>
                    <a:pt x="34843" y="110995"/>
                  </a:lnTo>
                  <a:lnTo>
                    <a:pt x="31718" y="97460"/>
                  </a:lnTo>
                  <a:lnTo>
                    <a:pt x="16278" y="79686"/>
                  </a:lnTo>
                  <a:lnTo>
                    <a:pt x="12592" y="57655"/>
                  </a:lnTo>
                  <a:lnTo>
                    <a:pt x="2953" y="43139"/>
                  </a:lnTo>
                  <a:lnTo>
                    <a:pt x="5886" y="23727"/>
                  </a:lnTo>
                  <a:lnTo>
                    <a:pt x="0" y="12411"/>
                  </a:lnTo>
                  <a:lnTo>
                    <a:pt x="4639" y="7649"/>
                  </a:lnTo>
                  <a:lnTo>
                    <a:pt x="26422" y="19317"/>
                  </a:lnTo>
                  <a:close/>
                  <a:moveTo>
                    <a:pt x="494929" y="65322"/>
                  </a:moveTo>
                  <a:lnTo>
                    <a:pt x="475269" y="74390"/>
                  </a:lnTo>
                  <a:lnTo>
                    <a:pt x="452123" y="69904"/>
                  </a:lnTo>
                  <a:lnTo>
                    <a:pt x="421414" y="69895"/>
                  </a:lnTo>
                  <a:lnTo>
                    <a:pt x="412156" y="100136"/>
                  </a:lnTo>
                  <a:lnTo>
                    <a:pt x="401879" y="109376"/>
                  </a:lnTo>
                  <a:lnTo>
                    <a:pt x="388182" y="146295"/>
                  </a:lnTo>
                  <a:lnTo>
                    <a:pt x="366398" y="151952"/>
                  </a:lnTo>
                  <a:lnTo>
                    <a:pt x="341138" y="144513"/>
                  </a:lnTo>
                  <a:lnTo>
                    <a:pt x="328326" y="146838"/>
                  </a:lnTo>
                  <a:lnTo>
                    <a:pt x="312763" y="160258"/>
                  </a:lnTo>
                  <a:lnTo>
                    <a:pt x="295713" y="158344"/>
                  </a:lnTo>
                  <a:lnTo>
                    <a:pt x="278482" y="163735"/>
                  </a:lnTo>
                  <a:lnTo>
                    <a:pt x="260223" y="148742"/>
                  </a:lnTo>
                  <a:lnTo>
                    <a:pt x="255756" y="131007"/>
                  </a:lnTo>
                  <a:lnTo>
                    <a:pt x="275330" y="140103"/>
                  </a:lnTo>
                  <a:lnTo>
                    <a:pt x="295970" y="135141"/>
                  </a:lnTo>
                  <a:lnTo>
                    <a:pt x="301343" y="112662"/>
                  </a:lnTo>
                  <a:lnTo>
                    <a:pt x="312734" y="107652"/>
                  </a:lnTo>
                  <a:lnTo>
                    <a:pt x="344748" y="101898"/>
                  </a:lnTo>
                  <a:lnTo>
                    <a:pt x="363903" y="80877"/>
                  </a:lnTo>
                  <a:lnTo>
                    <a:pt x="377018" y="64056"/>
                  </a:lnTo>
                  <a:lnTo>
                    <a:pt x="389182" y="77838"/>
                  </a:lnTo>
                  <a:lnTo>
                    <a:pt x="394792" y="68771"/>
                  </a:lnTo>
                  <a:lnTo>
                    <a:pt x="407556" y="69618"/>
                  </a:lnTo>
                  <a:lnTo>
                    <a:pt x="409117" y="52616"/>
                  </a:lnTo>
                  <a:lnTo>
                    <a:pt x="410318" y="39500"/>
                  </a:lnTo>
                  <a:lnTo>
                    <a:pt x="430882" y="20955"/>
                  </a:lnTo>
                  <a:lnTo>
                    <a:pt x="444351" y="86"/>
                  </a:lnTo>
                  <a:lnTo>
                    <a:pt x="455152" y="0"/>
                  </a:lnTo>
                  <a:lnTo>
                    <a:pt x="468868" y="13516"/>
                  </a:lnTo>
                  <a:lnTo>
                    <a:pt x="470087" y="25117"/>
                  </a:lnTo>
                  <a:lnTo>
                    <a:pt x="487680" y="32547"/>
                  </a:lnTo>
                  <a:lnTo>
                    <a:pt x="509968" y="40567"/>
                  </a:lnTo>
                  <a:lnTo>
                    <a:pt x="508063" y="50997"/>
                  </a:lnTo>
                  <a:lnTo>
                    <a:pt x="490147" y="52321"/>
                  </a:lnTo>
                  <a:lnTo>
                    <a:pt x="494929" y="65322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3" name="Forme libre : forme 5762">
              <a:extLst>
                <a:ext uri="{FF2B5EF4-FFF2-40B4-BE49-F238E27FC236}">
                  <a16:creationId xmlns:a16="http://schemas.microsoft.com/office/drawing/2014/main" id="{D8FAE537-4432-69DB-E895-438EF66E12CF}"/>
                </a:ext>
              </a:extLst>
            </p:cNvPr>
            <p:cNvSpPr/>
            <p:nvPr/>
          </p:nvSpPr>
          <p:spPr>
            <a:xfrm>
              <a:off x="6626894" y="5017860"/>
              <a:ext cx="282987" cy="461819"/>
            </a:xfrm>
            <a:custGeom>
              <a:avLst/>
              <a:gdLst>
                <a:gd name="connsiteX0" fmla="*/ 116986 w 282987"/>
                <a:gd name="connsiteY0" fmla="*/ 32499 h 461819"/>
                <a:gd name="connsiteX1" fmla="*/ 137084 w 282987"/>
                <a:gd name="connsiteY1" fmla="*/ 30318 h 461819"/>
                <a:gd name="connsiteX2" fmla="*/ 169173 w 282987"/>
                <a:gd name="connsiteY2" fmla="*/ 37947 h 461819"/>
                <a:gd name="connsiteX3" fmla="*/ 176146 w 282987"/>
                <a:gd name="connsiteY3" fmla="*/ 34519 h 461819"/>
                <a:gd name="connsiteX4" fmla="*/ 194739 w 282987"/>
                <a:gd name="connsiteY4" fmla="*/ 33823 h 461819"/>
                <a:gd name="connsiteX5" fmla="*/ 204254 w 282987"/>
                <a:gd name="connsiteY5" fmla="*/ 25708 h 461819"/>
                <a:gd name="connsiteX6" fmla="*/ 220275 w 282987"/>
                <a:gd name="connsiteY6" fmla="*/ 26146 h 461819"/>
                <a:gd name="connsiteX7" fmla="*/ 249479 w 282987"/>
                <a:gd name="connsiteY7" fmla="*/ 15649 h 461819"/>
                <a:gd name="connsiteX8" fmla="*/ 270729 w 282987"/>
                <a:gd name="connsiteY8" fmla="*/ 0 h 461819"/>
                <a:gd name="connsiteX9" fmla="*/ 275054 w 282987"/>
                <a:gd name="connsiteY9" fmla="*/ 12097 h 461819"/>
                <a:gd name="connsiteX10" fmla="*/ 273948 w 282987"/>
                <a:gd name="connsiteY10" fmla="*/ 39052 h 461819"/>
                <a:gd name="connsiteX11" fmla="*/ 277244 w 282987"/>
                <a:gd name="connsiteY11" fmla="*/ 62874 h 461819"/>
                <a:gd name="connsiteX12" fmla="*/ 278282 w 282987"/>
                <a:gd name="connsiteY12" fmla="*/ 105508 h 461819"/>
                <a:gd name="connsiteX13" fmla="*/ 282987 w 282987"/>
                <a:gd name="connsiteY13" fmla="*/ 118939 h 461819"/>
                <a:gd name="connsiteX14" fmla="*/ 275015 w 282987"/>
                <a:gd name="connsiteY14" fmla="*/ 138579 h 461819"/>
                <a:gd name="connsiteX15" fmla="*/ 264652 w 282987"/>
                <a:gd name="connsiteY15" fmla="*/ 157724 h 461819"/>
                <a:gd name="connsiteX16" fmla="*/ 247650 w 282987"/>
                <a:gd name="connsiteY16" fmla="*/ 174888 h 461819"/>
                <a:gd name="connsiteX17" fmla="*/ 223238 w 282987"/>
                <a:gd name="connsiteY17" fmla="*/ 185433 h 461819"/>
                <a:gd name="connsiteX18" fmla="*/ 193129 w 282987"/>
                <a:gd name="connsiteY18" fmla="*/ 198930 h 461819"/>
                <a:gd name="connsiteX19" fmla="*/ 162953 w 282987"/>
                <a:gd name="connsiteY19" fmla="*/ 228905 h 461819"/>
                <a:gd name="connsiteX20" fmla="*/ 152676 w 282987"/>
                <a:gd name="connsiteY20" fmla="*/ 234029 h 461819"/>
                <a:gd name="connsiteX21" fmla="*/ 134035 w 282987"/>
                <a:gd name="connsiteY21" fmla="*/ 253993 h 461819"/>
                <a:gd name="connsiteX22" fmla="*/ 123034 w 282987"/>
                <a:gd name="connsiteY22" fmla="*/ 260518 h 461819"/>
                <a:gd name="connsiteX23" fmla="*/ 120777 w 282987"/>
                <a:gd name="connsiteY23" fmla="*/ 280682 h 461819"/>
                <a:gd name="connsiteX24" fmla="*/ 133445 w 282987"/>
                <a:gd name="connsiteY24" fmla="*/ 302200 h 461819"/>
                <a:gd name="connsiteX25" fmla="*/ 138712 w 282987"/>
                <a:gd name="connsiteY25" fmla="*/ 318945 h 461819"/>
                <a:gd name="connsiteX26" fmla="*/ 139046 w 282987"/>
                <a:gd name="connsiteY26" fmla="*/ 327507 h 461819"/>
                <a:gd name="connsiteX27" fmla="*/ 143761 w 282987"/>
                <a:gd name="connsiteY27" fmla="*/ 326079 h 461819"/>
                <a:gd name="connsiteX28" fmla="*/ 142999 w 282987"/>
                <a:gd name="connsiteY28" fmla="*/ 354282 h 461819"/>
                <a:gd name="connsiteX29" fmla="*/ 138665 w 282987"/>
                <a:gd name="connsiteY29" fmla="*/ 367712 h 461819"/>
                <a:gd name="connsiteX30" fmla="*/ 144961 w 282987"/>
                <a:gd name="connsiteY30" fmla="*/ 372675 h 461819"/>
                <a:gd name="connsiteX31" fmla="*/ 140989 w 282987"/>
                <a:gd name="connsiteY31" fmla="*/ 384762 h 461819"/>
                <a:gd name="connsiteX32" fmla="*/ 129826 w 282987"/>
                <a:gd name="connsiteY32" fmla="*/ 395135 h 461819"/>
                <a:gd name="connsiteX33" fmla="*/ 107795 w 282987"/>
                <a:gd name="connsiteY33" fmla="*/ 405003 h 461819"/>
                <a:gd name="connsiteX34" fmla="*/ 75676 w 282987"/>
                <a:gd name="connsiteY34" fmla="*/ 420881 h 461819"/>
                <a:gd name="connsiteX35" fmla="*/ 63960 w 282987"/>
                <a:gd name="connsiteY35" fmla="*/ 431759 h 461819"/>
                <a:gd name="connsiteX36" fmla="*/ 66256 w 282987"/>
                <a:gd name="connsiteY36" fmla="*/ 444208 h 461819"/>
                <a:gd name="connsiteX37" fmla="*/ 73076 w 282987"/>
                <a:gd name="connsiteY37" fmla="*/ 446198 h 461819"/>
                <a:gd name="connsiteX38" fmla="*/ 70790 w 282987"/>
                <a:gd name="connsiteY38" fmla="*/ 461820 h 461819"/>
                <a:gd name="connsiteX39" fmla="*/ 50530 w 282987"/>
                <a:gd name="connsiteY39" fmla="*/ 461572 h 461819"/>
                <a:gd name="connsiteX40" fmla="*/ 48244 w 282987"/>
                <a:gd name="connsiteY40" fmla="*/ 448446 h 461819"/>
                <a:gd name="connsiteX41" fmla="*/ 44282 w 282987"/>
                <a:gd name="connsiteY41" fmla="*/ 435187 h 461819"/>
                <a:gd name="connsiteX42" fmla="*/ 42005 w 282987"/>
                <a:gd name="connsiteY42" fmla="*/ 424605 h 461819"/>
                <a:gd name="connsiteX43" fmla="*/ 46767 w 282987"/>
                <a:gd name="connsiteY43" fmla="*/ 391953 h 461819"/>
                <a:gd name="connsiteX44" fmla="*/ 39814 w 282987"/>
                <a:gd name="connsiteY44" fmla="*/ 371294 h 461819"/>
                <a:gd name="connsiteX45" fmla="*/ 27022 w 282987"/>
                <a:gd name="connsiteY45" fmla="*/ 330708 h 461819"/>
                <a:gd name="connsiteX46" fmla="*/ 55159 w 282987"/>
                <a:gd name="connsiteY46" fmla="*/ 298275 h 461819"/>
                <a:gd name="connsiteX47" fmla="*/ 62198 w 282987"/>
                <a:gd name="connsiteY47" fmla="*/ 277796 h 461819"/>
                <a:gd name="connsiteX48" fmla="*/ 66237 w 282987"/>
                <a:gd name="connsiteY48" fmla="*/ 275215 h 461819"/>
                <a:gd name="connsiteX49" fmla="*/ 69256 w 282987"/>
                <a:gd name="connsiteY49" fmla="*/ 258585 h 461819"/>
                <a:gd name="connsiteX50" fmla="*/ 64961 w 282987"/>
                <a:gd name="connsiteY50" fmla="*/ 250241 h 461819"/>
                <a:gd name="connsiteX51" fmla="*/ 66113 w 282987"/>
                <a:gd name="connsiteY51" fmla="*/ 229257 h 461819"/>
                <a:gd name="connsiteX52" fmla="*/ 71314 w 282987"/>
                <a:gd name="connsiteY52" fmla="*/ 209874 h 461819"/>
                <a:gd name="connsiteX53" fmla="*/ 71257 w 282987"/>
                <a:gd name="connsiteY53" fmla="*/ 174679 h 461819"/>
                <a:gd name="connsiteX54" fmla="*/ 57378 w 282987"/>
                <a:gd name="connsiteY54" fmla="*/ 165783 h 461819"/>
                <a:gd name="connsiteX55" fmla="*/ 44672 w 282987"/>
                <a:gd name="connsiteY55" fmla="*/ 163773 h 461819"/>
                <a:gd name="connsiteX56" fmla="*/ 38909 w 282987"/>
                <a:gd name="connsiteY56" fmla="*/ 156934 h 461819"/>
                <a:gd name="connsiteX57" fmla="*/ 26537 w 282987"/>
                <a:gd name="connsiteY57" fmla="*/ 151104 h 461819"/>
                <a:gd name="connsiteX58" fmla="*/ 4257 w 282987"/>
                <a:gd name="connsiteY58" fmla="*/ 151657 h 461819"/>
                <a:gd name="connsiteX59" fmla="*/ 2534 w 282987"/>
                <a:gd name="connsiteY59" fmla="*/ 141370 h 461819"/>
                <a:gd name="connsiteX60" fmla="*/ 0 w 282987"/>
                <a:gd name="connsiteY60" fmla="*/ 121796 h 461819"/>
                <a:gd name="connsiteX61" fmla="*/ 81039 w 282987"/>
                <a:gd name="connsiteY61" fmla="*/ 99222 h 461819"/>
                <a:gd name="connsiteX62" fmla="*/ 96412 w 282987"/>
                <a:gd name="connsiteY62" fmla="*/ 112357 h 461819"/>
                <a:gd name="connsiteX63" fmla="*/ 103765 w 282987"/>
                <a:gd name="connsiteY63" fmla="*/ 109842 h 461819"/>
                <a:gd name="connsiteX64" fmla="*/ 114309 w 282987"/>
                <a:gd name="connsiteY64" fmla="*/ 116776 h 461819"/>
                <a:gd name="connsiteX65" fmla="*/ 115852 w 282987"/>
                <a:gd name="connsiteY65" fmla="*/ 127778 h 461819"/>
                <a:gd name="connsiteX66" fmla="*/ 110233 w 282987"/>
                <a:gd name="connsiteY66" fmla="*/ 140570 h 461819"/>
                <a:gd name="connsiteX67" fmla="*/ 112214 w 282987"/>
                <a:gd name="connsiteY67" fmla="*/ 160010 h 461819"/>
                <a:gd name="connsiteX68" fmla="*/ 129635 w 282987"/>
                <a:gd name="connsiteY68" fmla="*/ 177117 h 461819"/>
                <a:gd name="connsiteX69" fmla="*/ 137789 w 282987"/>
                <a:gd name="connsiteY69" fmla="*/ 157905 h 461819"/>
                <a:gd name="connsiteX70" fmla="*/ 149352 w 282987"/>
                <a:gd name="connsiteY70" fmla="*/ 152095 h 461819"/>
                <a:gd name="connsiteX71" fmla="*/ 147075 w 282987"/>
                <a:gd name="connsiteY71" fmla="*/ 116719 h 461819"/>
                <a:gd name="connsiteX72" fmla="*/ 135893 w 282987"/>
                <a:gd name="connsiteY72" fmla="*/ 96926 h 461819"/>
                <a:gd name="connsiteX73" fmla="*/ 126254 w 282987"/>
                <a:gd name="connsiteY73" fmla="*/ 88116 h 461819"/>
                <a:gd name="connsiteX74" fmla="*/ 116986 w 282987"/>
                <a:gd name="connsiteY74" fmla="*/ 88506 h 461819"/>
                <a:gd name="connsiteX75" fmla="*/ 109509 w 282987"/>
                <a:gd name="connsiteY75" fmla="*/ 53111 h 461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282987" h="461819">
                  <a:moveTo>
                    <a:pt x="116986" y="32499"/>
                  </a:moveTo>
                  <a:lnTo>
                    <a:pt x="137084" y="30318"/>
                  </a:lnTo>
                  <a:lnTo>
                    <a:pt x="169173" y="37947"/>
                  </a:lnTo>
                  <a:lnTo>
                    <a:pt x="176146" y="34519"/>
                  </a:lnTo>
                  <a:lnTo>
                    <a:pt x="194739" y="33823"/>
                  </a:lnTo>
                  <a:lnTo>
                    <a:pt x="204254" y="25708"/>
                  </a:lnTo>
                  <a:lnTo>
                    <a:pt x="220275" y="26146"/>
                  </a:lnTo>
                  <a:lnTo>
                    <a:pt x="249479" y="15649"/>
                  </a:lnTo>
                  <a:lnTo>
                    <a:pt x="270729" y="0"/>
                  </a:lnTo>
                  <a:lnTo>
                    <a:pt x="275054" y="12097"/>
                  </a:lnTo>
                  <a:lnTo>
                    <a:pt x="273948" y="39052"/>
                  </a:lnTo>
                  <a:lnTo>
                    <a:pt x="277244" y="62874"/>
                  </a:lnTo>
                  <a:lnTo>
                    <a:pt x="278282" y="105508"/>
                  </a:lnTo>
                  <a:lnTo>
                    <a:pt x="282987" y="118939"/>
                  </a:lnTo>
                  <a:lnTo>
                    <a:pt x="275015" y="138579"/>
                  </a:lnTo>
                  <a:lnTo>
                    <a:pt x="264652" y="157724"/>
                  </a:lnTo>
                  <a:lnTo>
                    <a:pt x="247650" y="174888"/>
                  </a:lnTo>
                  <a:lnTo>
                    <a:pt x="223238" y="185433"/>
                  </a:lnTo>
                  <a:lnTo>
                    <a:pt x="193129" y="198930"/>
                  </a:lnTo>
                  <a:lnTo>
                    <a:pt x="162953" y="228905"/>
                  </a:lnTo>
                  <a:lnTo>
                    <a:pt x="152676" y="234029"/>
                  </a:lnTo>
                  <a:lnTo>
                    <a:pt x="134035" y="253993"/>
                  </a:lnTo>
                  <a:lnTo>
                    <a:pt x="123034" y="260518"/>
                  </a:lnTo>
                  <a:lnTo>
                    <a:pt x="120777" y="280682"/>
                  </a:lnTo>
                  <a:lnTo>
                    <a:pt x="133445" y="302200"/>
                  </a:lnTo>
                  <a:lnTo>
                    <a:pt x="138712" y="318945"/>
                  </a:lnTo>
                  <a:lnTo>
                    <a:pt x="139046" y="327507"/>
                  </a:lnTo>
                  <a:lnTo>
                    <a:pt x="143761" y="326079"/>
                  </a:lnTo>
                  <a:lnTo>
                    <a:pt x="142999" y="354282"/>
                  </a:lnTo>
                  <a:lnTo>
                    <a:pt x="138665" y="367712"/>
                  </a:lnTo>
                  <a:lnTo>
                    <a:pt x="144961" y="372675"/>
                  </a:lnTo>
                  <a:lnTo>
                    <a:pt x="140989" y="384762"/>
                  </a:lnTo>
                  <a:lnTo>
                    <a:pt x="129826" y="395135"/>
                  </a:lnTo>
                  <a:lnTo>
                    <a:pt x="107795" y="405003"/>
                  </a:lnTo>
                  <a:lnTo>
                    <a:pt x="75676" y="420881"/>
                  </a:lnTo>
                  <a:lnTo>
                    <a:pt x="63960" y="431759"/>
                  </a:lnTo>
                  <a:lnTo>
                    <a:pt x="66256" y="444208"/>
                  </a:lnTo>
                  <a:lnTo>
                    <a:pt x="73076" y="446198"/>
                  </a:lnTo>
                  <a:lnTo>
                    <a:pt x="70790" y="461820"/>
                  </a:lnTo>
                  <a:lnTo>
                    <a:pt x="50530" y="461572"/>
                  </a:lnTo>
                  <a:lnTo>
                    <a:pt x="48244" y="448446"/>
                  </a:lnTo>
                  <a:lnTo>
                    <a:pt x="44282" y="435187"/>
                  </a:lnTo>
                  <a:lnTo>
                    <a:pt x="42005" y="424605"/>
                  </a:lnTo>
                  <a:lnTo>
                    <a:pt x="46767" y="391953"/>
                  </a:lnTo>
                  <a:lnTo>
                    <a:pt x="39814" y="371294"/>
                  </a:lnTo>
                  <a:lnTo>
                    <a:pt x="27022" y="330708"/>
                  </a:lnTo>
                  <a:lnTo>
                    <a:pt x="55159" y="298275"/>
                  </a:lnTo>
                  <a:lnTo>
                    <a:pt x="62198" y="277796"/>
                  </a:lnTo>
                  <a:lnTo>
                    <a:pt x="66237" y="275215"/>
                  </a:lnTo>
                  <a:lnTo>
                    <a:pt x="69256" y="258585"/>
                  </a:lnTo>
                  <a:lnTo>
                    <a:pt x="64961" y="250241"/>
                  </a:lnTo>
                  <a:lnTo>
                    <a:pt x="66113" y="229257"/>
                  </a:lnTo>
                  <a:lnTo>
                    <a:pt x="71314" y="209874"/>
                  </a:lnTo>
                  <a:lnTo>
                    <a:pt x="71257" y="174679"/>
                  </a:lnTo>
                  <a:lnTo>
                    <a:pt x="57378" y="165783"/>
                  </a:lnTo>
                  <a:lnTo>
                    <a:pt x="44672" y="163773"/>
                  </a:lnTo>
                  <a:lnTo>
                    <a:pt x="38909" y="156934"/>
                  </a:lnTo>
                  <a:lnTo>
                    <a:pt x="26537" y="151104"/>
                  </a:lnTo>
                  <a:lnTo>
                    <a:pt x="4257" y="151657"/>
                  </a:lnTo>
                  <a:lnTo>
                    <a:pt x="2534" y="141370"/>
                  </a:lnTo>
                  <a:lnTo>
                    <a:pt x="0" y="121796"/>
                  </a:lnTo>
                  <a:lnTo>
                    <a:pt x="81039" y="99222"/>
                  </a:lnTo>
                  <a:lnTo>
                    <a:pt x="96412" y="112357"/>
                  </a:lnTo>
                  <a:lnTo>
                    <a:pt x="103765" y="109842"/>
                  </a:lnTo>
                  <a:lnTo>
                    <a:pt x="114309" y="116776"/>
                  </a:lnTo>
                  <a:lnTo>
                    <a:pt x="115852" y="127778"/>
                  </a:lnTo>
                  <a:lnTo>
                    <a:pt x="110233" y="140570"/>
                  </a:lnTo>
                  <a:lnTo>
                    <a:pt x="112214" y="160010"/>
                  </a:lnTo>
                  <a:lnTo>
                    <a:pt x="129635" y="177117"/>
                  </a:lnTo>
                  <a:lnTo>
                    <a:pt x="137789" y="157905"/>
                  </a:lnTo>
                  <a:lnTo>
                    <a:pt x="149352" y="152095"/>
                  </a:lnTo>
                  <a:lnTo>
                    <a:pt x="147075" y="116719"/>
                  </a:lnTo>
                  <a:lnTo>
                    <a:pt x="135893" y="96926"/>
                  </a:lnTo>
                  <a:lnTo>
                    <a:pt x="126254" y="88116"/>
                  </a:lnTo>
                  <a:lnTo>
                    <a:pt x="116986" y="88506"/>
                  </a:lnTo>
                  <a:lnTo>
                    <a:pt x="109509" y="531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4" name="Forme libre : forme 5763">
              <a:extLst>
                <a:ext uri="{FF2B5EF4-FFF2-40B4-BE49-F238E27FC236}">
                  <a16:creationId xmlns:a16="http://schemas.microsoft.com/office/drawing/2014/main" id="{05396F27-3989-ED2F-E5BE-22A2A8097843}"/>
                </a:ext>
              </a:extLst>
            </p:cNvPr>
            <p:cNvSpPr/>
            <p:nvPr/>
          </p:nvSpPr>
          <p:spPr>
            <a:xfrm>
              <a:off x="6134280" y="5198853"/>
              <a:ext cx="356539" cy="350062"/>
            </a:xfrm>
            <a:custGeom>
              <a:avLst/>
              <a:gdLst>
                <a:gd name="connsiteX0" fmla="*/ 123139 w 356539"/>
                <a:gd name="connsiteY0" fmla="*/ 335851 h 350062"/>
                <a:gd name="connsiteX1" fmla="*/ 103289 w 356539"/>
                <a:gd name="connsiteY1" fmla="*/ 313077 h 350062"/>
                <a:gd name="connsiteX2" fmla="*/ 92840 w 356539"/>
                <a:gd name="connsiteY2" fmla="*/ 291217 h 350062"/>
                <a:gd name="connsiteX3" fmla="*/ 86944 w 356539"/>
                <a:gd name="connsiteY3" fmla="*/ 262290 h 350062"/>
                <a:gd name="connsiteX4" fmla="*/ 80363 w 356539"/>
                <a:gd name="connsiteY4" fmla="*/ 240925 h 350062"/>
                <a:gd name="connsiteX5" fmla="*/ 71409 w 356539"/>
                <a:gd name="connsiteY5" fmla="*/ 195939 h 350062"/>
                <a:gd name="connsiteX6" fmla="*/ 70809 w 356539"/>
                <a:gd name="connsiteY6" fmla="*/ 161353 h 350062"/>
                <a:gd name="connsiteX7" fmla="*/ 67389 w 356539"/>
                <a:gd name="connsiteY7" fmla="*/ 145694 h 350062"/>
                <a:gd name="connsiteX8" fmla="*/ 57007 w 356539"/>
                <a:gd name="connsiteY8" fmla="*/ 133893 h 350062"/>
                <a:gd name="connsiteX9" fmla="*/ 43215 w 356539"/>
                <a:gd name="connsiteY9" fmla="*/ 110347 h 350062"/>
                <a:gd name="connsiteX10" fmla="*/ 29185 w 356539"/>
                <a:gd name="connsiteY10" fmla="*/ 76400 h 350062"/>
                <a:gd name="connsiteX11" fmla="*/ 23346 w 356539"/>
                <a:gd name="connsiteY11" fmla="*/ 58731 h 350062"/>
                <a:gd name="connsiteX12" fmla="*/ 1619 w 356539"/>
                <a:gd name="connsiteY12" fmla="*/ 31394 h 350062"/>
                <a:gd name="connsiteX13" fmla="*/ 0 w 356539"/>
                <a:gd name="connsiteY13" fmla="*/ 10020 h 350062"/>
                <a:gd name="connsiteX14" fmla="*/ 12849 w 356539"/>
                <a:gd name="connsiteY14" fmla="*/ 4734 h 350062"/>
                <a:gd name="connsiteX15" fmla="*/ 28842 w 356539"/>
                <a:gd name="connsiteY15" fmla="*/ 0 h 350062"/>
                <a:gd name="connsiteX16" fmla="*/ 46158 w 356539"/>
                <a:gd name="connsiteY16" fmla="*/ 829 h 350062"/>
                <a:gd name="connsiteX17" fmla="*/ 62075 w 356539"/>
                <a:gd name="connsiteY17" fmla="*/ 13402 h 350062"/>
                <a:gd name="connsiteX18" fmla="*/ 66113 w 356539"/>
                <a:gd name="connsiteY18" fmla="*/ 11440 h 350062"/>
                <a:gd name="connsiteX19" fmla="*/ 174365 w 356539"/>
                <a:gd name="connsiteY19" fmla="*/ 10239 h 350062"/>
                <a:gd name="connsiteX20" fmla="*/ 192872 w 356539"/>
                <a:gd name="connsiteY20" fmla="*/ 23584 h 350062"/>
                <a:gd name="connsiteX21" fmla="*/ 257527 w 356539"/>
                <a:gd name="connsiteY21" fmla="*/ 27527 h 350062"/>
                <a:gd name="connsiteX22" fmla="*/ 306619 w 356539"/>
                <a:gd name="connsiteY22" fmla="*/ 16174 h 350062"/>
                <a:gd name="connsiteX23" fmla="*/ 328489 w 356539"/>
                <a:gd name="connsiteY23" fmla="*/ 9849 h 350062"/>
                <a:gd name="connsiteX24" fmla="*/ 345796 w 356539"/>
                <a:gd name="connsiteY24" fmla="*/ 11449 h 350062"/>
                <a:gd name="connsiteX25" fmla="*/ 356340 w 356539"/>
                <a:gd name="connsiteY25" fmla="*/ 17726 h 350062"/>
                <a:gd name="connsiteX26" fmla="*/ 356540 w 356539"/>
                <a:gd name="connsiteY26" fmla="*/ 20031 h 350062"/>
                <a:gd name="connsiteX27" fmla="*/ 341481 w 356539"/>
                <a:gd name="connsiteY27" fmla="*/ 26318 h 350062"/>
                <a:gd name="connsiteX28" fmla="*/ 333385 w 356539"/>
                <a:gd name="connsiteY28" fmla="*/ 26375 h 350062"/>
                <a:gd name="connsiteX29" fmla="*/ 316335 w 356539"/>
                <a:gd name="connsiteY29" fmla="*/ 37319 h 350062"/>
                <a:gd name="connsiteX30" fmla="*/ 306124 w 356539"/>
                <a:gd name="connsiteY30" fmla="*/ 25813 h 350062"/>
                <a:gd name="connsiteX31" fmla="*/ 264957 w 356539"/>
                <a:gd name="connsiteY31" fmla="*/ 35585 h 350062"/>
                <a:gd name="connsiteX32" fmla="*/ 245069 w 356539"/>
                <a:gd name="connsiteY32" fmla="*/ 36509 h 350062"/>
                <a:gd name="connsiteX33" fmla="*/ 244288 w 356539"/>
                <a:gd name="connsiteY33" fmla="*/ 137188 h 350062"/>
                <a:gd name="connsiteX34" fmla="*/ 217961 w 356539"/>
                <a:gd name="connsiteY34" fmla="*/ 138189 h 350062"/>
                <a:gd name="connsiteX35" fmla="*/ 217970 w 356539"/>
                <a:gd name="connsiteY35" fmla="*/ 222590 h 350062"/>
                <a:gd name="connsiteX36" fmla="*/ 217941 w 356539"/>
                <a:gd name="connsiteY36" fmla="*/ 332356 h 350062"/>
                <a:gd name="connsiteX37" fmla="*/ 194100 w 356539"/>
                <a:gd name="connsiteY37" fmla="*/ 347844 h 350062"/>
                <a:gd name="connsiteX38" fmla="*/ 179756 w 356539"/>
                <a:gd name="connsiteY38" fmla="*/ 350063 h 350062"/>
                <a:gd name="connsiteX39" fmla="*/ 162963 w 356539"/>
                <a:gd name="connsiteY39" fmla="*/ 344329 h 350062"/>
                <a:gd name="connsiteX40" fmla="*/ 150981 w 356539"/>
                <a:gd name="connsiteY40" fmla="*/ 342119 h 350062"/>
                <a:gd name="connsiteX41" fmla="*/ 146475 w 356539"/>
                <a:gd name="connsiteY41" fmla="*/ 329184 h 350062"/>
                <a:gd name="connsiteX42" fmla="*/ 135931 w 356539"/>
                <a:gd name="connsiteY42" fmla="*/ 320926 h 35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56539" h="350062">
                  <a:moveTo>
                    <a:pt x="123139" y="335851"/>
                  </a:moveTo>
                  <a:lnTo>
                    <a:pt x="103289" y="313077"/>
                  </a:lnTo>
                  <a:lnTo>
                    <a:pt x="92840" y="291217"/>
                  </a:lnTo>
                  <a:lnTo>
                    <a:pt x="86944" y="262290"/>
                  </a:lnTo>
                  <a:lnTo>
                    <a:pt x="80363" y="240925"/>
                  </a:lnTo>
                  <a:lnTo>
                    <a:pt x="71409" y="195939"/>
                  </a:lnTo>
                  <a:lnTo>
                    <a:pt x="70809" y="161353"/>
                  </a:lnTo>
                  <a:lnTo>
                    <a:pt x="67389" y="145694"/>
                  </a:lnTo>
                  <a:lnTo>
                    <a:pt x="57007" y="133893"/>
                  </a:lnTo>
                  <a:lnTo>
                    <a:pt x="43215" y="110347"/>
                  </a:lnTo>
                  <a:lnTo>
                    <a:pt x="29185" y="76400"/>
                  </a:lnTo>
                  <a:lnTo>
                    <a:pt x="23346" y="58731"/>
                  </a:lnTo>
                  <a:lnTo>
                    <a:pt x="1619" y="31394"/>
                  </a:lnTo>
                  <a:lnTo>
                    <a:pt x="0" y="10020"/>
                  </a:lnTo>
                  <a:lnTo>
                    <a:pt x="12849" y="4734"/>
                  </a:lnTo>
                  <a:lnTo>
                    <a:pt x="28842" y="0"/>
                  </a:lnTo>
                  <a:lnTo>
                    <a:pt x="46158" y="829"/>
                  </a:lnTo>
                  <a:lnTo>
                    <a:pt x="62075" y="13402"/>
                  </a:lnTo>
                  <a:lnTo>
                    <a:pt x="66113" y="11440"/>
                  </a:lnTo>
                  <a:lnTo>
                    <a:pt x="174365" y="10239"/>
                  </a:lnTo>
                  <a:lnTo>
                    <a:pt x="192872" y="23584"/>
                  </a:lnTo>
                  <a:lnTo>
                    <a:pt x="257527" y="27527"/>
                  </a:lnTo>
                  <a:lnTo>
                    <a:pt x="306619" y="16174"/>
                  </a:lnTo>
                  <a:lnTo>
                    <a:pt x="328489" y="9849"/>
                  </a:lnTo>
                  <a:lnTo>
                    <a:pt x="345796" y="11449"/>
                  </a:lnTo>
                  <a:lnTo>
                    <a:pt x="356340" y="17726"/>
                  </a:lnTo>
                  <a:lnTo>
                    <a:pt x="356540" y="20031"/>
                  </a:lnTo>
                  <a:lnTo>
                    <a:pt x="341481" y="26318"/>
                  </a:lnTo>
                  <a:lnTo>
                    <a:pt x="333385" y="26375"/>
                  </a:lnTo>
                  <a:lnTo>
                    <a:pt x="316335" y="37319"/>
                  </a:lnTo>
                  <a:lnTo>
                    <a:pt x="306124" y="25813"/>
                  </a:lnTo>
                  <a:lnTo>
                    <a:pt x="264957" y="35585"/>
                  </a:lnTo>
                  <a:lnTo>
                    <a:pt x="245069" y="36509"/>
                  </a:lnTo>
                  <a:lnTo>
                    <a:pt x="244288" y="137188"/>
                  </a:lnTo>
                  <a:lnTo>
                    <a:pt x="217961" y="138189"/>
                  </a:lnTo>
                  <a:lnTo>
                    <a:pt x="217970" y="222590"/>
                  </a:lnTo>
                  <a:lnTo>
                    <a:pt x="217941" y="332356"/>
                  </a:lnTo>
                  <a:lnTo>
                    <a:pt x="194100" y="347844"/>
                  </a:lnTo>
                  <a:lnTo>
                    <a:pt x="179756" y="350063"/>
                  </a:lnTo>
                  <a:lnTo>
                    <a:pt x="162963" y="344329"/>
                  </a:lnTo>
                  <a:lnTo>
                    <a:pt x="150981" y="342119"/>
                  </a:lnTo>
                  <a:lnTo>
                    <a:pt x="146475" y="329184"/>
                  </a:lnTo>
                  <a:lnTo>
                    <a:pt x="135931" y="3209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5" name="Forme libre : forme 5764">
              <a:extLst>
                <a:ext uri="{FF2B5EF4-FFF2-40B4-BE49-F238E27FC236}">
                  <a16:creationId xmlns:a16="http://schemas.microsoft.com/office/drawing/2014/main" id="{A9B7268F-24CB-7AE9-5352-CF659F98DCF5}"/>
                </a:ext>
              </a:extLst>
            </p:cNvPr>
            <p:cNvSpPr/>
            <p:nvPr/>
          </p:nvSpPr>
          <p:spPr>
            <a:xfrm>
              <a:off x="10201589" y="5287465"/>
              <a:ext cx="82533" cy="65360"/>
            </a:xfrm>
            <a:custGeom>
              <a:avLst/>
              <a:gdLst>
                <a:gd name="connsiteX0" fmla="*/ 46739 w 82533"/>
                <a:gd name="connsiteY0" fmla="*/ 27632 h 65360"/>
                <a:gd name="connsiteX1" fmla="*/ 68646 w 82533"/>
                <a:gd name="connsiteY1" fmla="*/ 45311 h 65360"/>
                <a:gd name="connsiteX2" fmla="*/ 82534 w 82533"/>
                <a:gd name="connsiteY2" fmla="*/ 58474 h 65360"/>
                <a:gd name="connsiteX3" fmla="*/ 72390 w 82533"/>
                <a:gd name="connsiteY3" fmla="*/ 65361 h 65360"/>
                <a:gd name="connsiteX4" fmla="*/ 57692 w 82533"/>
                <a:gd name="connsiteY4" fmla="*/ 57607 h 65360"/>
                <a:gd name="connsiteX5" fmla="*/ 38585 w 82533"/>
                <a:gd name="connsiteY5" fmla="*/ 44729 h 65360"/>
                <a:gd name="connsiteX6" fmla="*/ 21364 w 82533"/>
                <a:gd name="connsiteY6" fmla="*/ 29613 h 65360"/>
                <a:gd name="connsiteX7" fmla="*/ 3696 w 82533"/>
                <a:gd name="connsiteY7" fmla="*/ 9592 h 65360"/>
                <a:gd name="connsiteX8" fmla="*/ 0 w 82533"/>
                <a:gd name="connsiteY8" fmla="*/ 0 h 65360"/>
                <a:gd name="connsiteX9" fmla="*/ 11487 w 82533"/>
                <a:gd name="connsiteY9" fmla="*/ 400 h 65360"/>
                <a:gd name="connsiteX10" fmla="*/ 26451 w 82533"/>
                <a:gd name="connsiteY10" fmla="*/ 10030 h 65360"/>
                <a:gd name="connsiteX11" fmla="*/ 38205 w 82533"/>
                <a:gd name="connsiteY11" fmla="*/ 19669 h 65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2533" h="65360">
                  <a:moveTo>
                    <a:pt x="46739" y="27632"/>
                  </a:moveTo>
                  <a:lnTo>
                    <a:pt x="68646" y="45311"/>
                  </a:lnTo>
                  <a:lnTo>
                    <a:pt x="82534" y="58474"/>
                  </a:lnTo>
                  <a:lnTo>
                    <a:pt x="72390" y="65361"/>
                  </a:lnTo>
                  <a:lnTo>
                    <a:pt x="57692" y="57607"/>
                  </a:lnTo>
                  <a:lnTo>
                    <a:pt x="38585" y="44729"/>
                  </a:lnTo>
                  <a:lnTo>
                    <a:pt x="21364" y="29613"/>
                  </a:lnTo>
                  <a:lnTo>
                    <a:pt x="3696" y="9592"/>
                  </a:lnTo>
                  <a:lnTo>
                    <a:pt x="0" y="0"/>
                  </a:lnTo>
                  <a:lnTo>
                    <a:pt x="11487" y="400"/>
                  </a:lnTo>
                  <a:lnTo>
                    <a:pt x="26451" y="10030"/>
                  </a:lnTo>
                  <a:lnTo>
                    <a:pt x="38205" y="1966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6" name="Forme libre : forme 5765">
              <a:extLst>
                <a:ext uri="{FF2B5EF4-FFF2-40B4-BE49-F238E27FC236}">
                  <a16:creationId xmlns:a16="http://schemas.microsoft.com/office/drawing/2014/main" id="{293D80C4-5343-2908-FFF7-A4D0F01E26B2}"/>
                </a:ext>
              </a:extLst>
            </p:cNvPr>
            <p:cNvSpPr/>
            <p:nvPr/>
          </p:nvSpPr>
          <p:spPr>
            <a:xfrm>
              <a:off x="5828795" y="4101583"/>
              <a:ext cx="416823" cy="329565"/>
            </a:xfrm>
            <a:custGeom>
              <a:avLst/>
              <a:gdLst>
                <a:gd name="connsiteX0" fmla="*/ 49644 w 416823"/>
                <a:gd name="connsiteY0" fmla="*/ 321974 h 329565"/>
                <a:gd name="connsiteX1" fmla="*/ 50244 w 416823"/>
                <a:gd name="connsiteY1" fmla="*/ 303381 h 329565"/>
                <a:gd name="connsiteX2" fmla="*/ 19460 w 416823"/>
                <a:gd name="connsiteY2" fmla="*/ 297209 h 329565"/>
                <a:gd name="connsiteX3" fmla="*/ 18621 w 416823"/>
                <a:gd name="connsiteY3" fmla="*/ 284016 h 329565"/>
                <a:gd name="connsiteX4" fmla="*/ 3581 w 416823"/>
                <a:gd name="connsiteY4" fmla="*/ 266186 h 329565"/>
                <a:gd name="connsiteX5" fmla="*/ 0 w 416823"/>
                <a:gd name="connsiteY5" fmla="*/ 253717 h 329565"/>
                <a:gd name="connsiteX6" fmla="*/ 2114 w 416823"/>
                <a:gd name="connsiteY6" fmla="*/ 240421 h 329565"/>
                <a:gd name="connsiteX7" fmla="*/ 19231 w 416823"/>
                <a:gd name="connsiteY7" fmla="*/ 239335 h 329565"/>
                <a:gd name="connsiteX8" fmla="*/ 29108 w 416823"/>
                <a:gd name="connsiteY8" fmla="*/ 229572 h 329565"/>
                <a:gd name="connsiteX9" fmla="*/ 65542 w 416823"/>
                <a:gd name="connsiteY9" fmla="*/ 227209 h 329565"/>
                <a:gd name="connsiteX10" fmla="*/ 89268 w 416823"/>
                <a:gd name="connsiteY10" fmla="*/ 222838 h 329565"/>
                <a:gd name="connsiteX11" fmla="*/ 91545 w 416823"/>
                <a:gd name="connsiteY11" fmla="*/ 205835 h 329565"/>
                <a:gd name="connsiteX12" fmla="*/ 106147 w 416823"/>
                <a:gd name="connsiteY12" fmla="*/ 187347 h 329565"/>
                <a:gd name="connsiteX13" fmla="*/ 106070 w 416823"/>
                <a:gd name="connsiteY13" fmla="*/ 123054 h 329565"/>
                <a:gd name="connsiteX14" fmla="*/ 143732 w 416823"/>
                <a:gd name="connsiteY14" fmla="*/ 110509 h 329565"/>
                <a:gd name="connsiteX15" fmla="*/ 221056 w 416823"/>
                <a:gd name="connsiteY15" fmla="*/ 54788 h 329565"/>
                <a:gd name="connsiteX16" fmla="*/ 312573 w 416823"/>
                <a:gd name="connsiteY16" fmla="*/ 0 h 329565"/>
                <a:gd name="connsiteX17" fmla="*/ 354816 w 416823"/>
                <a:gd name="connsiteY17" fmla="*/ 12459 h 329565"/>
                <a:gd name="connsiteX18" fmla="*/ 369836 w 416823"/>
                <a:gd name="connsiteY18" fmla="*/ 28280 h 329565"/>
                <a:gd name="connsiteX19" fmla="*/ 388734 w 416823"/>
                <a:gd name="connsiteY19" fmla="*/ 17583 h 329565"/>
                <a:gd name="connsiteX20" fmla="*/ 395297 w 416823"/>
                <a:gd name="connsiteY20" fmla="*/ 62132 h 329565"/>
                <a:gd name="connsiteX21" fmla="*/ 405289 w 416823"/>
                <a:gd name="connsiteY21" fmla="*/ 69533 h 329565"/>
                <a:gd name="connsiteX22" fmla="*/ 405717 w 416823"/>
                <a:gd name="connsiteY22" fmla="*/ 78572 h 329565"/>
                <a:gd name="connsiteX23" fmla="*/ 416824 w 416823"/>
                <a:gd name="connsiteY23" fmla="*/ 88287 h 329565"/>
                <a:gd name="connsiteX24" fmla="*/ 411013 w 416823"/>
                <a:gd name="connsiteY24" fmla="*/ 100460 h 329565"/>
                <a:gd name="connsiteX25" fmla="*/ 400726 w 416823"/>
                <a:gd name="connsiteY25" fmla="*/ 157420 h 329565"/>
                <a:gd name="connsiteX26" fmla="*/ 399317 w 416823"/>
                <a:gd name="connsiteY26" fmla="*/ 193577 h 329565"/>
                <a:gd name="connsiteX27" fmla="*/ 365255 w 416823"/>
                <a:gd name="connsiteY27" fmla="*/ 219637 h 329565"/>
                <a:gd name="connsiteX28" fmla="*/ 353721 w 416823"/>
                <a:gd name="connsiteY28" fmla="*/ 255832 h 329565"/>
                <a:gd name="connsiteX29" fmla="*/ 364845 w 416823"/>
                <a:gd name="connsiteY29" fmla="*/ 265967 h 329565"/>
                <a:gd name="connsiteX30" fmla="*/ 364779 w 416823"/>
                <a:gd name="connsiteY30" fmla="*/ 283540 h 329565"/>
                <a:gd name="connsiteX31" fmla="*/ 381905 w 416823"/>
                <a:gd name="connsiteY31" fmla="*/ 284169 h 329565"/>
                <a:gd name="connsiteX32" fmla="*/ 379238 w 416823"/>
                <a:gd name="connsiteY32" fmla="*/ 296999 h 329565"/>
                <a:gd name="connsiteX33" fmla="*/ 371694 w 416823"/>
                <a:gd name="connsiteY33" fmla="*/ 298561 h 329565"/>
                <a:gd name="connsiteX34" fmla="*/ 370837 w 416823"/>
                <a:gd name="connsiteY34" fmla="*/ 307219 h 329565"/>
                <a:gd name="connsiteX35" fmla="*/ 365874 w 416823"/>
                <a:gd name="connsiteY35" fmla="*/ 307820 h 329565"/>
                <a:gd name="connsiteX36" fmla="*/ 347805 w 416823"/>
                <a:gd name="connsiteY36" fmla="*/ 278006 h 329565"/>
                <a:gd name="connsiteX37" fmla="*/ 341528 w 416823"/>
                <a:gd name="connsiteY37" fmla="*/ 276911 h 329565"/>
                <a:gd name="connsiteX38" fmla="*/ 320650 w 416823"/>
                <a:gd name="connsiteY38" fmla="*/ 292160 h 329565"/>
                <a:gd name="connsiteX39" fmla="*/ 299971 w 416823"/>
                <a:gd name="connsiteY39" fmla="*/ 284207 h 329565"/>
                <a:gd name="connsiteX40" fmla="*/ 285598 w 416823"/>
                <a:gd name="connsiteY40" fmla="*/ 282616 h 329565"/>
                <a:gd name="connsiteX41" fmla="*/ 277892 w 416823"/>
                <a:gd name="connsiteY41" fmla="*/ 286445 h 329565"/>
                <a:gd name="connsiteX42" fmla="*/ 262233 w 416823"/>
                <a:gd name="connsiteY42" fmla="*/ 285617 h 329565"/>
                <a:gd name="connsiteX43" fmla="*/ 246479 w 416823"/>
                <a:gd name="connsiteY43" fmla="*/ 297228 h 329565"/>
                <a:gd name="connsiteX44" fmla="*/ 232858 w 416823"/>
                <a:gd name="connsiteY44" fmla="*/ 297885 h 329565"/>
                <a:gd name="connsiteX45" fmla="*/ 200539 w 416823"/>
                <a:gd name="connsiteY45" fmla="*/ 283807 h 329565"/>
                <a:gd name="connsiteX46" fmla="*/ 187881 w 416823"/>
                <a:gd name="connsiteY46" fmla="*/ 290503 h 329565"/>
                <a:gd name="connsiteX47" fmla="*/ 174250 w 416823"/>
                <a:gd name="connsiteY47" fmla="*/ 290036 h 329565"/>
                <a:gd name="connsiteX48" fmla="*/ 164240 w 416823"/>
                <a:gd name="connsiteY48" fmla="*/ 279740 h 329565"/>
                <a:gd name="connsiteX49" fmla="*/ 137474 w 416823"/>
                <a:gd name="connsiteY49" fmla="*/ 269548 h 329565"/>
                <a:gd name="connsiteX50" fmla="*/ 108766 w 416823"/>
                <a:gd name="connsiteY50" fmla="*/ 272787 h 329565"/>
                <a:gd name="connsiteX51" fmla="*/ 101813 w 416823"/>
                <a:gd name="connsiteY51" fmla="*/ 278692 h 329565"/>
                <a:gd name="connsiteX52" fmla="*/ 98050 w 416823"/>
                <a:gd name="connsiteY52" fmla="*/ 294370 h 329565"/>
                <a:gd name="connsiteX53" fmla="*/ 90402 w 416823"/>
                <a:gd name="connsiteY53" fmla="*/ 305343 h 329565"/>
                <a:gd name="connsiteX54" fmla="*/ 88544 w 416823"/>
                <a:gd name="connsiteY54" fmla="*/ 329565 h 329565"/>
                <a:gd name="connsiteX55" fmla="*/ 68180 w 416823"/>
                <a:gd name="connsiteY55" fmla="*/ 313954 h 329565"/>
                <a:gd name="connsiteX56" fmla="*/ 58607 w 416823"/>
                <a:gd name="connsiteY56" fmla="*/ 314030 h 329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16823" h="329565">
                  <a:moveTo>
                    <a:pt x="49644" y="321974"/>
                  </a:moveTo>
                  <a:lnTo>
                    <a:pt x="50244" y="303381"/>
                  </a:lnTo>
                  <a:lnTo>
                    <a:pt x="19460" y="297209"/>
                  </a:lnTo>
                  <a:lnTo>
                    <a:pt x="18621" y="284016"/>
                  </a:lnTo>
                  <a:lnTo>
                    <a:pt x="3581" y="266186"/>
                  </a:lnTo>
                  <a:lnTo>
                    <a:pt x="0" y="253717"/>
                  </a:lnTo>
                  <a:lnTo>
                    <a:pt x="2114" y="240421"/>
                  </a:lnTo>
                  <a:lnTo>
                    <a:pt x="19231" y="239335"/>
                  </a:lnTo>
                  <a:lnTo>
                    <a:pt x="29108" y="229572"/>
                  </a:lnTo>
                  <a:lnTo>
                    <a:pt x="65542" y="227209"/>
                  </a:lnTo>
                  <a:lnTo>
                    <a:pt x="89268" y="222838"/>
                  </a:lnTo>
                  <a:lnTo>
                    <a:pt x="91545" y="205835"/>
                  </a:lnTo>
                  <a:lnTo>
                    <a:pt x="106147" y="187347"/>
                  </a:lnTo>
                  <a:lnTo>
                    <a:pt x="106070" y="123054"/>
                  </a:lnTo>
                  <a:lnTo>
                    <a:pt x="143732" y="110509"/>
                  </a:lnTo>
                  <a:lnTo>
                    <a:pt x="221056" y="54788"/>
                  </a:lnTo>
                  <a:lnTo>
                    <a:pt x="312573" y="0"/>
                  </a:lnTo>
                  <a:lnTo>
                    <a:pt x="354816" y="12459"/>
                  </a:lnTo>
                  <a:lnTo>
                    <a:pt x="369836" y="28280"/>
                  </a:lnTo>
                  <a:lnTo>
                    <a:pt x="388734" y="17583"/>
                  </a:lnTo>
                  <a:lnTo>
                    <a:pt x="395297" y="62132"/>
                  </a:lnTo>
                  <a:lnTo>
                    <a:pt x="405289" y="69533"/>
                  </a:lnTo>
                  <a:lnTo>
                    <a:pt x="405717" y="78572"/>
                  </a:lnTo>
                  <a:lnTo>
                    <a:pt x="416824" y="88287"/>
                  </a:lnTo>
                  <a:lnTo>
                    <a:pt x="411013" y="100460"/>
                  </a:lnTo>
                  <a:lnTo>
                    <a:pt x="400726" y="157420"/>
                  </a:lnTo>
                  <a:lnTo>
                    <a:pt x="399317" y="193577"/>
                  </a:lnTo>
                  <a:lnTo>
                    <a:pt x="365255" y="219637"/>
                  </a:lnTo>
                  <a:lnTo>
                    <a:pt x="353721" y="255832"/>
                  </a:lnTo>
                  <a:lnTo>
                    <a:pt x="364845" y="265967"/>
                  </a:lnTo>
                  <a:lnTo>
                    <a:pt x="364779" y="283540"/>
                  </a:lnTo>
                  <a:lnTo>
                    <a:pt x="381905" y="284169"/>
                  </a:lnTo>
                  <a:lnTo>
                    <a:pt x="379238" y="296999"/>
                  </a:lnTo>
                  <a:lnTo>
                    <a:pt x="371694" y="298561"/>
                  </a:lnTo>
                  <a:lnTo>
                    <a:pt x="370837" y="307219"/>
                  </a:lnTo>
                  <a:lnTo>
                    <a:pt x="365874" y="307820"/>
                  </a:lnTo>
                  <a:lnTo>
                    <a:pt x="347805" y="278006"/>
                  </a:lnTo>
                  <a:lnTo>
                    <a:pt x="341528" y="276911"/>
                  </a:lnTo>
                  <a:lnTo>
                    <a:pt x="320650" y="292160"/>
                  </a:lnTo>
                  <a:lnTo>
                    <a:pt x="299971" y="284207"/>
                  </a:lnTo>
                  <a:lnTo>
                    <a:pt x="285598" y="282616"/>
                  </a:lnTo>
                  <a:lnTo>
                    <a:pt x="277892" y="286445"/>
                  </a:lnTo>
                  <a:lnTo>
                    <a:pt x="262233" y="285617"/>
                  </a:lnTo>
                  <a:lnTo>
                    <a:pt x="246479" y="297228"/>
                  </a:lnTo>
                  <a:lnTo>
                    <a:pt x="232858" y="297885"/>
                  </a:lnTo>
                  <a:lnTo>
                    <a:pt x="200539" y="283807"/>
                  </a:lnTo>
                  <a:lnTo>
                    <a:pt x="187881" y="290503"/>
                  </a:lnTo>
                  <a:lnTo>
                    <a:pt x="174250" y="290036"/>
                  </a:lnTo>
                  <a:lnTo>
                    <a:pt x="164240" y="279740"/>
                  </a:lnTo>
                  <a:lnTo>
                    <a:pt x="137474" y="269548"/>
                  </a:lnTo>
                  <a:lnTo>
                    <a:pt x="108766" y="272787"/>
                  </a:lnTo>
                  <a:lnTo>
                    <a:pt x="101813" y="278692"/>
                  </a:lnTo>
                  <a:lnTo>
                    <a:pt x="98050" y="294370"/>
                  </a:lnTo>
                  <a:lnTo>
                    <a:pt x="90402" y="305343"/>
                  </a:lnTo>
                  <a:lnTo>
                    <a:pt x="88544" y="329565"/>
                  </a:lnTo>
                  <a:lnTo>
                    <a:pt x="68180" y="313954"/>
                  </a:lnTo>
                  <a:lnTo>
                    <a:pt x="58607" y="31403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7" name="Forme libre : forme 5766">
              <a:extLst>
                <a:ext uri="{FF2B5EF4-FFF2-40B4-BE49-F238E27FC236}">
                  <a16:creationId xmlns:a16="http://schemas.microsoft.com/office/drawing/2014/main" id="{BF761D8F-027C-690B-63AF-0E6ECA216191}"/>
                </a:ext>
              </a:extLst>
            </p:cNvPr>
            <p:cNvSpPr/>
            <p:nvPr/>
          </p:nvSpPr>
          <p:spPr>
            <a:xfrm>
              <a:off x="5892783" y="4371131"/>
              <a:ext cx="317420" cy="258927"/>
            </a:xfrm>
            <a:custGeom>
              <a:avLst/>
              <a:gdLst>
                <a:gd name="connsiteX0" fmla="*/ 155124 w 317420"/>
                <a:gd name="connsiteY0" fmla="*/ 244783 h 258927"/>
                <a:gd name="connsiteX1" fmla="*/ 127406 w 317420"/>
                <a:gd name="connsiteY1" fmla="*/ 254365 h 258927"/>
                <a:gd name="connsiteX2" fmla="*/ 117262 w 317420"/>
                <a:gd name="connsiteY2" fmla="*/ 252965 h 258927"/>
                <a:gd name="connsiteX3" fmla="*/ 106994 w 317420"/>
                <a:gd name="connsiteY3" fmla="*/ 258928 h 258927"/>
                <a:gd name="connsiteX4" fmla="*/ 85639 w 317420"/>
                <a:gd name="connsiteY4" fmla="*/ 258346 h 258927"/>
                <a:gd name="connsiteX5" fmla="*/ 71342 w 317420"/>
                <a:gd name="connsiteY5" fmla="*/ 241697 h 258927"/>
                <a:gd name="connsiteX6" fmla="*/ 62541 w 317420"/>
                <a:gd name="connsiteY6" fmla="*/ 222409 h 258927"/>
                <a:gd name="connsiteX7" fmla="*/ 43634 w 317420"/>
                <a:gd name="connsiteY7" fmla="*/ 204835 h 258927"/>
                <a:gd name="connsiteX8" fmla="*/ 23565 w 317420"/>
                <a:gd name="connsiteY8" fmla="*/ 205169 h 258927"/>
                <a:gd name="connsiteX9" fmla="*/ 0 w 317420"/>
                <a:gd name="connsiteY9" fmla="*/ 205149 h 258927"/>
                <a:gd name="connsiteX10" fmla="*/ 1534 w 317420"/>
                <a:gd name="connsiteY10" fmla="*/ 162068 h 258927"/>
                <a:gd name="connsiteX11" fmla="*/ 858 w 317420"/>
                <a:gd name="connsiteY11" fmla="*/ 145009 h 258927"/>
                <a:gd name="connsiteX12" fmla="*/ 5887 w 317420"/>
                <a:gd name="connsiteY12" fmla="*/ 128073 h 258927"/>
                <a:gd name="connsiteX13" fmla="*/ 14116 w 317420"/>
                <a:gd name="connsiteY13" fmla="*/ 119834 h 258927"/>
                <a:gd name="connsiteX14" fmla="*/ 27080 w 317420"/>
                <a:gd name="connsiteY14" fmla="*/ 103165 h 258927"/>
                <a:gd name="connsiteX15" fmla="*/ 24260 w 317420"/>
                <a:gd name="connsiteY15" fmla="*/ 95917 h 258927"/>
                <a:gd name="connsiteX16" fmla="*/ 29518 w 317420"/>
                <a:gd name="connsiteY16" fmla="*/ 85049 h 258927"/>
                <a:gd name="connsiteX17" fmla="*/ 23517 w 317420"/>
                <a:gd name="connsiteY17" fmla="*/ 69009 h 258927"/>
                <a:gd name="connsiteX18" fmla="*/ 24555 w 317420"/>
                <a:gd name="connsiteY18" fmla="*/ 60017 h 258927"/>
                <a:gd name="connsiteX19" fmla="*/ 26413 w 317420"/>
                <a:gd name="connsiteY19" fmla="*/ 35795 h 258927"/>
                <a:gd name="connsiteX20" fmla="*/ 34062 w 317420"/>
                <a:gd name="connsiteY20" fmla="*/ 24822 h 258927"/>
                <a:gd name="connsiteX21" fmla="*/ 37824 w 317420"/>
                <a:gd name="connsiteY21" fmla="*/ 9144 h 258927"/>
                <a:gd name="connsiteX22" fmla="*/ 44777 w 317420"/>
                <a:gd name="connsiteY22" fmla="*/ 3238 h 258927"/>
                <a:gd name="connsiteX23" fmla="*/ 73486 w 317420"/>
                <a:gd name="connsiteY23" fmla="*/ 0 h 258927"/>
                <a:gd name="connsiteX24" fmla="*/ 100251 w 317420"/>
                <a:gd name="connsiteY24" fmla="*/ 10192 h 258927"/>
                <a:gd name="connsiteX25" fmla="*/ 110262 w 317420"/>
                <a:gd name="connsiteY25" fmla="*/ 20488 h 258927"/>
                <a:gd name="connsiteX26" fmla="*/ 123892 w 317420"/>
                <a:gd name="connsiteY26" fmla="*/ 20955 h 258927"/>
                <a:gd name="connsiteX27" fmla="*/ 136550 w 317420"/>
                <a:gd name="connsiteY27" fmla="*/ 14259 h 258927"/>
                <a:gd name="connsiteX28" fmla="*/ 168869 w 317420"/>
                <a:gd name="connsiteY28" fmla="*/ 28337 h 258927"/>
                <a:gd name="connsiteX29" fmla="*/ 182490 w 317420"/>
                <a:gd name="connsiteY29" fmla="*/ 27680 h 258927"/>
                <a:gd name="connsiteX30" fmla="*/ 198244 w 317420"/>
                <a:gd name="connsiteY30" fmla="*/ 16068 h 258927"/>
                <a:gd name="connsiteX31" fmla="*/ 213903 w 317420"/>
                <a:gd name="connsiteY31" fmla="*/ 16897 h 258927"/>
                <a:gd name="connsiteX32" fmla="*/ 221609 w 317420"/>
                <a:gd name="connsiteY32" fmla="*/ 13068 h 258927"/>
                <a:gd name="connsiteX33" fmla="*/ 235982 w 317420"/>
                <a:gd name="connsiteY33" fmla="*/ 14659 h 258927"/>
                <a:gd name="connsiteX34" fmla="*/ 256661 w 317420"/>
                <a:gd name="connsiteY34" fmla="*/ 22612 h 258927"/>
                <a:gd name="connsiteX35" fmla="*/ 277539 w 317420"/>
                <a:gd name="connsiteY35" fmla="*/ 7363 h 258927"/>
                <a:gd name="connsiteX36" fmla="*/ 283816 w 317420"/>
                <a:gd name="connsiteY36" fmla="*/ 8458 h 258927"/>
                <a:gd name="connsiteX37" fmla="*/ 301886 w 317420"/>
                <a:gd name="connsiteY37" fmla="*/ 38272 h 258927"/>
                <a:gd name="connsiteX38" fmla="*/ 306848 w 317420"/>
                <a:gd name="connsiteY38" fmla="*/ 37671 h 258927"/>
                <a:gd name="connsiteX39" fmla="*/ 317421 w 317420"/>
                <a:gd name="connsiteY39" fmla="*/ 48492 h 258927"/>
                <a:gd name="connsiteX40" fmla="*/ 314516 w 317420"/>
                <a:gd name="connsiteY40" fmla="*/ 53387 h 258927"/>
                <a:gd name="connsiteX41" fmla="*/ 313097 w 317420"/>
                <a:gd name="connsiteY41" fmla="*/ 62398 h 258927"/>
                <a:gd name="connsiteX42" fmla="*/ 290608 w 317420"/>
                <a:gd name="connsiteY42" fmla="*/ 83325 h 258927"/>
                <a:gd name="connsiteX43" fmla="*/ 283540 w 317420"/>
                <a:gd name="connsiteY43" fmla="*/ 100546 h 258927"/>
                <a:gd name="connsiteX44" fmla="*/ 279778 w 317420"/>
                <a:gd name="connsiteY44" fmla="*/ 114548 h 258927"/>
                <a:gd name="connsiteX45" fmla="*/ 274111 w 317420"/>
                <a:gd name="connsiteY45" fmla="*/ 120539 h 258927"/>
                <a:gd name="connsiteX46" fmla="*/ 268719 w 317420"/>
                <a:gd name="connsiteY46" fmla="*/ 139351 h 258927"/>
                <a:gd name="connsiteX47" fmla="*/ 254441 w 317420"/>
                <a:gd name="connsiteY47" fmla="*/ 150400 h 258927"/>
                <a:gd name="connsiteX48" fmla="*/ 250308 w 317420"/>
                <a:gd name="connsiteY48" fmla="*/ 163963 h 258927"/>
                <a:gd name="connsiteX49" fmla="*/ 244307 w 317420"/>
                <a:gd name="connsiteY49" fmla="*/ 174746 h 258927"/>
                <a:gd name="connsiteX50" fmla="*/ 241811 w 317420"/>
                <a:gd name="connsiteY50" fmla="*/ 185861 h 258927"/>
                <a:gd name="connsiteX51" fmla="*/ 223457 w 317420"/>
                <a:gd name="connsiteY51" fmla="*/ 194863 h 258927"/>
                <a:gd name="connsiteX52" fmla="*/ 208464 w 317420"/>
                <a:gd name="connsiteY52" fmla="*/ 183880 h 258927"/>
                <a:gd name="connsiteX53" fmla="*/ 198339 w 317420"/>
                <a:gd name="connsiteY53" fmla="*/ 184318 h 258927"/>
                <a:gd name="connsiteX54" fmla="*/ 182432 w 317420"/>
                <a:gd name="connsiteY54" fmla="*/ 199958 h 258927"/>
                <a:gd name="connsiteX55" fmla="*/ 174708 w 317420"/>
                <a:gd name="connsiteY55" fmla="*/ 200197 h 258927"/>
                <a:gd name="connsiteX56" fmla="*/ 162001 w 317420"/>
                <a:gd name="connsiteY56" fmla="*/ 225933 h 258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17420" h="258927">
                  <a:moveTo>
                    <a:pt x="155124" y="244783"/>
                  </a:moveTo>
                  <a:lnTo>
                    <a:pt x="127406" y="254365"/>
                  </a:lnTo>
                  <a:lnTo>
                    <a:pt x="117262" y="252965"/>
                  </a:lnTo>
                  <a:lnTo>
                    <a:pt x="106994" y="258928"/>
                  </a:lnTo>
                  <a:lnTo>
                    <a:pt x="85639" y="258346"/>
                  </a:lnTo>
                  <a:lnTo>
                    <a:pt x="71342" y="241697"/>
                  </a:lnTo>
                  <a:lnTo>
                    <a:pt x="62541" y="222409"/>
                  </a:lnTo>
                  <a:lnTo>
                    <a:pt x="43634" y="204835"/>
                  </a:lnTo>
                  <a:lnTo>
                    <a:pt x="23565" y="205169"/>
                  </a:lnTo>
                  <a:lnTo>
                    <a:pt x="0" y="205149"/>
                  </a:lnTo>
                  <a:lnTo>
                    <a:pt x="1534" y="162068"/>
                  </a:lnTo>
                  <a:lnTo>
                    <a:pt x="858" y="145009"/>
                  </a:lnTo>
                  <a:lnTo>
                    <a:pt x="5887" y="128073"/>
                  </a:lnTo>
                  <a:lnTo>
                    <a:pt x="14116" y="119834"/>
                  </a:lnTo>
                  <a:lnTo>
                    <a:pt x="27080" y="103165"/>
                  </a:lnTo>
                  <a:lnTo>
                    <a:pt x="24260" y="95917"/>
                  </a:lnTo>
                  <a:lnTo>
                    <a:pt x="29518" y="85049"/>
                  </a:lnTo>
                  <a:lnTo>
                    <a:pt x="23517" y="69009"/>
                  </a:lnTo>
                  <a:lnTo>
                    <a:pt x="24555" y="60017"/>
                  </a:lnTo>
                  <a:lnTo>
                    <a:pt x="26413" y="35795"/>
                  </a:lnTo>
                  <a:lnTo>
                    <a:pt x="34062" y="24822"/>
                  </a:lnTo>
                  <a:lnTo>
                    <a:pt x="37824" y="9144"/>
                  </a:lnTo>
                  <a:lnTo>
                    <a:pt x="44777" y="3238"/>
                  </a:lnTo>
                  <a:lnTo>
                    <a:pt x="73486" y="0"/>
                  </a:lnTo>
                  <a:lnTo>
                    <a:pt x="100251" y="10192"/>
                  </a:lnTo>
                  <a:lnTo>
                    <a:pt x="110262" y="20488"/>
                  </a:lnTo>
                  <a:lnTo>
                    <a:pt x="123892" y="20955"/>
                  </a:lnTo>
                  <a:lnTo>
                    <a:pt x="136550" y="14259"/>
                  </a:lnTo>
                  <a:lnTo>
                    <a:pt x="168869" y="28337"/>
                  </a:lnTo>
                  <a:lnTo>
                    <a:pt x="182490" y="27680"/>
                  </a:lnTo>
                  <a:lnTo>
                    <a:pt x="198244" y="16068"/>
                  </a:lnTo>
                  <a:lnTo>
                    <a:pt x="213903" y="16897"/>
                  </a:lnTo>
                  <a:lnTo>
                    <a:pt x="221609" y="13068"/>
                  </a:lnTo>
                  <a:lnTo>
                    <a:pt x="235982" y="14659"/>
                  </a:lnTo>
                  <a:lnTo>
                    <a:pt x="256661" y="22612"/>
                  </a:lnTo>
                  <a:lnTo>
                    <a:pt x="277539" y="7363"/>
                  </a:lnTo>
                  <a:lnTo>
                    <a:pt x="283816" y="8458"/>
                  </a:lnTo>
                  <a:lnTo>
                    <a:pt x="301886" y="38272"/>
                  </a:lnTo>
                  <a:lnTo>
                    <a:pt x="306848" y="37671"/>
                  </a:lnTo>
                  <a:lnTo>
                    <a:pt x="317421" y="48492"/>
                  </a:lnTo>
                  <a:lnTo>
                    <a:pt x="314516" y="53387"/>
                  </a:lnTo>
                  <a:lnTo>
                    <a:pt x="313097" y="62398"/>
                  </a:lnTo>
                  <a:lnTo>
                    <a:pt x="290608" y="83325"/>
                  </a:lnTo>
                  <a:lnTo>
                    <a:pt x="283540" y="100546"/>
                  </a:lnTo>
                  <a:lnTo>
                    <a:pt x="279778" y="114548"/>
                  </a:lnTo>
                  <a:lnTo>
                    <a:pt x="274111" y="120539"/>
                  </a:lnTo>
                  <a:lnTo>
                    <a:pt x="268719" y="139351"/>
                  </a:lnTo>
                  <a:lnTo>
                    <a:pt x="254441" y="150400"/>
                  </a:lnTo>
                  <a:lnTo>
                    <a:pt x="250308" y="163963"/>
                  </a:lnTo>
                  <a:lnTo>
                    <a:pt x="244307" y="174746"/>
                  </a:lnTo>
                  <a:lnTo>
                    <a:pt x="241811" y="185861"/>
                  </a:lnTo>
                  <a:lnTo>
                    <a:pt x="223457" y="194863"/>
                  </a:lnTo>
                  <a:lnTo>
                    <a:pt x="208464" y="183880"/>
                  </a:lnTo>
                  <a:lnTo>
                    <a:pt x="198339" y="184318"/>
                  </a:lnTo>
                  <a:lnTo>
                    <a:pt x="182432" y="199958"/>
                  </a:lnTo>
                  <a:lnTo>
                    <a:pt x="174708" y="200197"/>
                  </a:lnTo>
                  <a:lnTo>
                    <a:pt x="162001" y="22593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8" name="Forme libre : forme 5767">
              <a:extLst>
                <a:ext uri="{FF2B5EF4-FFF2-40B4-BE49-F238E27FC236}">
                  <a16:creationId xmlns:a16="http://schemas.microsoft.com/office/drawing/2014/main" id="{CE6E9E0D-CFBB-40AB-E40E-5437B44167EC}"/>
                </a:ext>
              </a:extLst>
            </p:cNvPr>
            <p:cNvSpPr/>
            <p:nvPr/>
          </p:nvSpPr>
          <p:spPr>
            <a:xfrm>
              <a:off x="3479558" y="4339603"/>
              <a:ext cx="120758" cy="116795"/>
            </a:xfrm>
            <a:custGeom>
              <a:avLst/>
              <a:gdLst>
                <a:gd name="connsiteX0" fmla="*/ 52245 w 120758"/>
                <a:gd name="connsiteY0" fmla="*/ 107023 h 116795"/>
                <a:gd name="connsiteX1" fmla="*/ 43005 w 120758"/>
                <a:gd name="connsiteY1" fmla="*/ 98498 h 116795"/>
                <a:gd name="connsiteX2" fmla="*/ 30518 w 120758"/>
                <a:gd name="connsiteY2" fmla="*/ 87573 h 116795"/>
                <a:gd name="connsiteX3" fmla="*/ 24641 w 120758"/>
                <a:gd name="connsiteY3" fmla="*/ 78429 h 116795"/>
                <a:gd name="connsiteX4" fmla="*/ 13383 w 120758"/>
                <a:gd name="connsiteY4" fmla="*/ 69894 h 116795"/>
                <a:gd name="connsiteX5" fmla="*/ 0 w 120758"/>
                <a:gd name="connsiteY5" fmla="*/ 57607 h 116795"/>
                <a:gd name="connsiteX6" fmla="*/ 2972 w 120758"/>
                <a:gd name="connsiteY6" fmla="*/ 53397 h 116795"/>
                <a:gd name="connsiteX7" fmla="*/ 7382 w 120758"/>
                <a:gd name="connsiteY7" fmla="*/ 57493 h 116795"/>
                <a:gd name="connsiteX8" fmla="*/ 9401 w 120758"/>
                <a:gd name="connsiteY8" fmla="*/ 55569 h 116795"/>
                <a:gd name="connsiteX9" fmla="*/ 17707 w 120758"/>
                <a:gd name="connsiteY9" fmla="*/ 54454 h 116795"/>
                <a:gd name="connsiteX10" fmla="*/ 21050 w 120758"/>
                <a:gd name="connsiteY10" fmla="*/ 48225 h 116795"/>
                <a:gd name="connsiteX11" fmla="*/ 24965 w 120758"/>
                <a:gd name="connsiteY11" fmla="*/ 47977 h 116795"/>
                <a:gd name="connsiteX12" fmla="*/ 24394 w 120758"/>
                <a:gd name="connsiteY12" fmla="*/ 34557 h 116795"/>
                <a:gd name="connsiteX13" fmla="*/ 30661 w 120758"/>
                <a:gd name="connsiteY13" fmla="*/ 33919 h 116795"/>
                <a:gd name="connsiteX14" fmla="*/ 36233 w 120758"/>
                <a:gd name="connsiteY14" fmla="*/ 34109 h 116795"/>
                <a:gd name="connsiteX15" fmla="*/ 41996 w 120758"/>
                <a:gd name="connsiteY15" fmla="*/ 26813 h 116795"/>
                <a:gd name="connsiteX16" fmla="*/ 49873 w 120758"/>
                <a:gd name="connsiteY16" fmla="*/ 32337 h 116795"/>
                <a:gd name="connsiteX17" fmla="*/ 52616 w 120758"/>
                <a:gd name="connsiteY17" fmla="*/ 28946 h 116795"/>
                <a:gd name="connsiteX18" fmla="*/ 57531 w 120758"/>
                <a:gd name="connsiteY18" fmla="*/ 25698 h 116795"/>
                <a:gd name="connsiteX19" fmla="*/ 66856 w 120758"/>
                <a:gd name="connsiteY19" fmla="*/ 18164 h 116795"/>
                <a:gd name="connsiteX20" fmla="*/ 67294 w 120758"/>
                <a:gd name="connsiteY20" fmla="*/ 12516 h 116795"/>
                <a:gd name="connsiteX21" fmla="*/ 69856 w 120758"/>
                <a:gd name="connsiteY21" fmla="*/ 12754 h 116795"/>
                <a:gd name="connsiteX22" fmla="*/ 73285 w 120758"/>
                <a:gd name="connsiteY22" fmla="*/ 6201 h 116795"/>
                <a:gd name="connsiteX23" fmla="*/ 76076 w 120758"/>
                <a:gd name="connsiteY23" fmla="*/ 5401 h 116795"/>
                <a:gd name="connsiteX24" fmla="*/ 80629 w 120758"/>
                <a:gd name="connsiteY24" fmla="*/ 9592 h 116795"/>
                <a:gd name="connsiteX25" fmla="*/ 85982 w 120758"/>
                <a:gd name="connsiteY25" fmla="*/ 10839 h 116795"/>
                <a:gd name="connsiteX26" fmla="*/ 91878 w 120758"/>
                <a:gd name="connsiteY26" fmla="*/ 7344 h 116795"/>
                <a:gd name="connsiteX27" fmla="*/ 98622 w 120758"/>
                <a:gd name="connsiteY27" fmla="*/ 7325 h 116795"/>
                <a:gd name="connsiteX28" fmla="*/ 107899 w 120758"/>
                <a:gd name="connsiteY28" fmla="*/ 3743 h 116795"/>
                <a:gd name="connsiteX29" fmla="*/ 111595 w 120758"/>
                <a:gd name="connsiteY29" fmla="*/ 0 h 116795"/>
                <a:gd name="connsiteX30" fmla="*/ 120758 w 120758"/>
                <a:gd name="connsiteY30" fmla="*/ 562 h 116795"/>
                <a:gd name="connsiteX31" fmla="*/ 118453 w 120758"/>
                <a:gd name="connsiteY31" fmla="*/ 3200 h 116795"/>
                <a:gd name="connsiteX32" fmla="*/ 117091 w 120758"/>
                <a:gd name="connsiteY32" fmla="*/ 9325 h 116795"/>
                <a:gd name="connsiteX33" fmla="*/ 119815 w 120758"/>
                <a:gd name="connsiteY33" fmla="*/ 19355 h 116795"/>
                <a:gd name="connsiteX34" fmla="*/ 113662 w 120758"/>
                <a:gd name="connsiteY34" fmla="*/ 28680 h 116795"/>
                <a:gd name="connsiteX35" fmla="*/ 110804 w 120758"/>
                <a:gd name="connsiteY35" fmla="*/ 39671 h 116795"/>
                <a:gd name="connsiteX36" fmla="*/ 109938 w 120758"/>
                <a:gd name="connsiteY36" fmla="*/ 51692 h 116795"/>
                <a:gd name="connsiteX37" fmla="*/ 111366 w 120758"/>
                <a:gd name="connsiteY37" fmla="*/ 58712 h 116795"/>
                <a:gd name="connsiteX38" fmla="*/ 112043 w 120758"/>
                <a:gd name="connsiteY38" fmla="*/ 70961 h 116795"/>
                <a:gd name="connsiteX39" fmla="*/ 107966 w 120758"/>
                <a:gd name="connsiteY39" fmla="*/ 73619 h 116795"/>
                <a:gd name="connsiteX40" fmla="*/ 105470 w 120758"/>
                <a:gd name="connsiteY40" fmla="*/ 85230 h 116795"/>
                <a:gd name="connsiteX41" fmla="*/ 107299 w 120758"/>
                <a:gd name="connsiteY41" fmla="*/ 92392 h 116795"/>
                <a:gd name="connsiteX42" fmla="*/ 101841 w 120758"/>
                <a:gd name="connsiteY42" fmla="*/ 99317 h 116795"/>
                <a:gd name="connsiteX43" fmla="*/ 103080 w 120758"/>
                <a:gd name="connsiteY43" fmla="*/ 106623 h 116795"/>
                <a:gd name="connsiteX44" fmla="*/ 107175 w 120758"/>
                <a:gd name="connsiteY44" fmla="*/ 111062 h 116795"/>
                <a:gd name="connsiteX45" fmla="*/ 100775 w 120758"/>
                <a:gd name="connsiteY45" fmla="*/ 116795 h 116795"/>
                <a:gd name="connsiteX46" fmla="*/ 92897 w 120758"/>
                <a:gd name="connsiteY46" fmla="*/ 114995 h 116795"/>
                <a:gd name="connsiteX47" fmla="*/ 88468 w 120758"/>
                <a:gd name="connsiteY47" fmla="*/ 109433 h 116795"/>
                <a:gd name="connsiteX48" fmla="*/ 80000 w 120758"/>
                <a:gd name="connsiteY48" fmla="*/ 107175 h 116795"/>
                <a:gd name="connsiteX49" fmla="*/ 73857 w 120758"/>
                <a:gd name="connsiteY49" fmla="*/ 110699 h 116795"/>
                <a:gd name="connsiteX50" fmla="*/ 56264 w 120758"/>
                <a:gd name="connsiteY50" fmla="*/ 103537 h 116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20758" h="116795">
                  <a:moveTo>
                    <a:pt x="52245" y="107023"/>
                  </a:moveTo>
                  <a:lnTo>
                    <a:pt x="43005" y="98498"/>
                  </a:lnTo>
                  <a:lnTo>
                    <a:pt x="30518" y="87573"/>
                  </a:lnTo>
                  <a:lnTo>
                    <a:pt x="24641" y="78429"/>
                  </a:lnTo>
                  <a:lnTo>
                    <a:pt x="13383" y="69894"/>
                  </a:lnTo>
                  <a:lnTo>
                    <a:pt x="0" y="57607"/>
                  </a:lnTo>
                  <a:lnTo>
                    <a:pt x="2972" y="53397"/>
                  </a:lnTo>
                  <a:lnTo>
                    <a:pt x="7382" y="57493"/>
                  </a:lnTo>
                  <a:lnTo>
                    <a:pt x="9401" y="55569"/>
                  </a:lnTo>
                  <a:lnTo>
                    <a:pt x="17707" y="54454"/>
                  </a:lnTo>
                  <a:lnTo>
                    <a:pt x="21050" y="48225"/>
                  </a:lnTo>
                  <a:lnTo>
                    <a:pt x="24965" y="47977"/>
                  </a:lnTo>
                  <a:lnTo>
                    <a:pt x="24394" y="34557"/>
                  </a:lnTo>
                  <a:lnTo>
                    <a:pt x="30661" y="33919"/>
                  </a:lnTo>
                  <a:lnTo>
                    <a:pt x="36233" y="34109"/>
                  </a:lnTo>
                  <a:lnTo>
                    <a:pt x="41996" y="26813"/>
                  </a:lnTo>
                  <a:lnTo>
                    <a:pt x="49873" y="32337"/>
                  </a:lnTo>
                  <a:lnTo>
                    <a:pt x="52616" y="28946"/>
                  </a:lnTo>
                  <a:lnTo>
                    <a:pt x="57531" y="25698"/>
                  </a:lnTo>
                  <a:lnTo>
                    <a:pt x="66856" y="18164"/>
                  </a:lnTo>
                  <a:lnTo>
                    <a:pt x="67294" y="12516"/>
                  </a:lnTo>
                  <a:lnTo>
                    <a:pt x="69856" y="12754"/>
                  </a:lnTo>
                  <a:lnTo>
                    <a:pt x="73285" y="6201"/>
                  </a:lnTo>
                  <a:lnTo>
                    <a:pt x="76076" y="5401"/>
                  </a:lnTo>
                  <a:lnTo>
                    <a:pt x="80629" y="9592"/>
                  </a:lnTo>
                  <a:lnTo>
                    <a:pt x="85982" y="10839"/>
                  </a:lnTo>
                  <a:lnTo>
                    <a:pt x="91878" y="7344"/>
                  </a:lnTo>
                  <a:lnTo>
                    <a:pt x="98622" y="7325"/>
                  </a:lnTo>
                  <a:lnTo>
                    <a:pt x="107899" y="3743"/>
                  </a:lnTo>
                  <a:lnTo>
                    <a:pt x="111595" y="0"/>
                  </a:lnTo>
                  <a:lnTo>
                    <a:pt x="120758" y="562"/>
                  </a:lnTo>
                  <a:lnTo>
                    <a:pt x="118453" y="3200"/>
                  </a:lnTo>
                  <a:lnTo>
                    <a:pt x="117091" y="9325"/>
                  </a:lnTo>
                  <a:lnTo>
                    <a:pt x="119815" y="19355"/>
                  </a:lnTo>
                  <a:lnTo>
                    <a:pt x="113662" y="28680"/>
                  </a:lnTo>
                  <a:lnTo>
                    <a:pt x="110804" y="39671"/>
                  </a:lnTo>
                  <a:lnTo>
                    <a:pt x="109938" y="51692"/>
                  </a:lnTo>
                  <a:lnTo>
                    <a:pt x="111366" y="58712"/>
                  </a:lnTo>
                  <a:lnTo>
                    <a:pt x="112043" y="70961"/>
                  </a:lnTo>
                  <a:lnTo>
                    <a:pt x="107966" y="73619"/>
                  </a:lnTo>
                  <a:lnTo>
                    <a:pt x="105470" y="85230"/>
                  </a:lnTo>
                  <a:lnTo>
                    <a:pt x="107299" y="92392"/>
                  </a:lnTo>
                  <a:lnTo>
                    <a:pt x="101841" y="99317"/>
                  </a:lnTo>
                  <a:lnTo>
                    <a:pt x="103080" y="106623"/>
                  </a:lnTo>
                  <a:lnTo>
                    <a:pt x="107175" y="111062"/>
                  </a:lnTo>
                  <a:lnTo>
                    <a:pt x="100775" y="116795"/>
                  </a:lnTo>
                  <a:lnTo>
                    <a:pt x="92897" y="114995"/>
                  </a:lnTo>
                  <a:lnTo>
                    <a:pt x="88468" y="109433"/>
                  </a:lnTo>
                  <a:lnTo>
                    <a:pt x="80000" y="107175"/>
                  </a:lnTo>
                  <a:lnTo>
                    <a:pt x="73857" y="110699"/>
                  </a:lnTo>
                  <a:lnTo>
                    <a:pt x="56264" y="10353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9" name="Forme libre : forme 5768">
              <a:extLst>
                <a:ext uri="{FF2B5EF4-FFF2-40B4-BE49-F238E27FC236}">
                  <a16:creationId xmlns:a16="http://schemas.microsoft.com/office/drawing/2014/main" id="{3CA67E97-9557-689C-5447-C7069A01AEDC}"/>
                </a:ext>
              </a:extLst>
            </p:cNvPr>
            <p:cNvSpPr/>
            <p:nvPr/>
          </p:nvSpPr>
          <p:spPr>
            <a:xfrm>
              <a:off x="5909433" y="3052823"/>
              <a:ext cx="100869" cy="117576"/>
            </a:xfrm>
            <a:custGeom>
              <a:avLst/>
              <a:gdLst>
                <a:gd name="connsiteX0" fmla="*/ 73685 w 100869"/>
                <a:gd name="connsiteY0" fmla="*/ 0 h 117576"/>
                <a:gd name="connsiteX1" fmla="*/ 95879 w 100869"/>
                <a:gd name="connsiteY1" fmla="*/ 1267 h 117576"/>
                <a:gd name="connsiteX2" fmla="*/ 100870 w 100869"/>
                <a:gd name="connsiteY2" fmla="*/ 16345 h 117576"/>
                <a:gd name="connsiteX3" fmla="*/ 94212 w 100869"/>
                <a:gd name="connsiteY3" fmla="*/ 56588 h 117576"/>
                <a:gd name="connsiteX4" fmla="*/ 87449 w 100869"/>
                <a:gd name="connsiteY4" fmla="*/ 72885 h 117576"/>
                <a:gd name="connsiteX5" fmla="*/ 71399 w 100869"/>
                <a:gd name="connsiteY5" fmla="*/ 72904 h 117576"/>
                <a:gd name="connsiteX6" fmla="*/ 75886 w 100869"/>
                <a:gd name="connsiteY6" fmla="*/ 117577 h 117576"/>
                <a:gd name="connsiteX7" fmla="*/ 61208 w 100869"/>
                <a:gd name="connsiteY7" fmla="*/ 107709 h 117576"/>
                <a:gd name="connsiteX8" fmla="*/ 44301 w 100869"/>
                <a:gd name="connsiteY8" fmla="*/ 89078 h 117576"/>
                <a:gd name="connsiteX9" fmla="*/ 19555 w 100869"/>
                <a:gd name="connsiteY9" fmla="*/ 97945 h 117576"/>
                <a:gd name="connsiteX10" fmla="*/ 0 w 100869"/>
                <a:gd name="connsiteY10" fmla="*/ 94593 h 117576"/>
                <a:gd name="connsiteX11" fmla="*/ 13764 w 100869"/>
                <a:gd name="connsiteY11" fmla="*/ 82839 h 117576"/>
                <a:gd name="connsiteX12" fmla="*/ 37147 w 100869"/>
                <a:gd name="connsiteY12" fmla="*/ 18669 h 117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869" h="117576">
                  <a:moveTo>
                    <a:pt x="73685" y="0"/>
                  </a:moveTo>
                  <a:lnTo>
                    <a:pt x="95879" y="1267"/>
                  </a:lnTo>
                  <a:lnTo>
                    <a:pt x="100870" y="16345"/>
                  </a:lnTo>
                  <a:lnTo>
                    <a:pt x="94212" y="56588"/>
                  </a:lnTo>
                  <a:lnTo>
                    <a:pt x="87449" y="72885"/>
                  </a:lnTo>
                  <a:lnTo>
                    <a:pt x="71399" y="72904"/>
                  </a:lnTo>
                  <a:lnTo>
                    <a:pt x="75886" y="117577"/>
                  </a:lnTo>
                  <a:lnTo>
                    <a:pt x="61208" y="107709"/>
                  </a:lnTo>
                  <a:lnTo>
                    <a:pt x="44301" y="89078"/>
                  </a:lnTo>
                  <a:lnTo>
                    <a:pt x="19555" y="97945"/>
                  </a:lnTo>
                  <a:lnTo>
                    <a:pt x="0" y="94593"/>
                  </a:lnTo>
                  <a:lnTo>
                    <a:pt x="13764" y="82839"/>
                  </a:lnTo>
                  <a:lnTo>
                    <a:pt x="37147" y="18669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0" name="Forme libre : forme 5769">
              <a:extLst>
                <a:ext uri="{FF2B5EF4-FFF2-40B4-BE49-F238E27FC236}">
                  <a16:creationId xmlns:a16="http://schemas.microsoft.com/office/drawing/2014/main" id="{79641726-5437-15C6-F245-22A12DC923FF}"/>
                </a:ext>
              </a:extLst>
            </p:cNvPr>
            <p:cNvSpPr/>
            <p:nvPr/>
          </p:nvSpPr>
          <p:spPr>
            <a:xfrm>
              <a:off x="5954210" y="2001559"/>
              <a:ext cx="702430" cy="834380"/>
            </a:xfrm>
            <a:custGeom>
              <a:avLst/>
              <a:gdLst>
                <a:gd name="connsiteX0" fmla="*/ 618896 w 702430"/>
                <a:gd name="connsiteY0" fmla="*/ 0 h 834380"/>
                <a:gd name="connsiteX1" fmla="*/ 702431 w 702430"/>
                <a:gd name="connsiteY1" fmla="*/ 59436 h 834380"/>
                <a:gd name="connsiteX2" fmla="*/ 668036 w 702430"/>
                <a:gd name="connsiteY2" fmla="*/ 80639 h 834380"/>
                <a:gd name="connsiteX3" fmla="*/ 697297 w 702430"/>
                <a:gd name="connsiteY3" fmla="*/ 129359 h 834380"/>
                <a:gd name="connsiteX4" fmla="*/ 651853 w 702430"/>
                <a:gd name="connsiteY4" fmla="*/ 159725 h 834380"/>
                <a:gd name="connsiteX5" fmla="*/ 630279 w 702430"/>
                <a:gd name="connsiteY5" fmla="*/ 166621 h 834380"/>
                <a:gd name="connsiteX6" fmla="*/ 641594 w 702430"/>
                <a:gd name="connsiteY6" fmla="*/ 113357 h 834380"/>
                <a:gd name="connsiteX7" fmla="*/ 607324 w 702430"/>
                <a:gd name="connsiteY7" fmla="*/ 82382 h 834380"/>
                <a:gd name="connsiteX8" fmla="*/ 565852 w 702430"/>
                <a:gd name="connsiteY8" fmla="*/ 108814 h 834380"/>
                <a:gd name="connsiteX9" fmla="*/ 552755 w 702430"/>
                <a:gd name="connsiteY9" fmla="*/ 164573 h 834380"/>
                <a:gd name="connsiteX10" fmla="*/ 527294 w 702430"/>
                <a:gd name="connsiteY10" fmla="*/ 197329 h 834380"/>
                <a:gd name="connsiteX11" fmla="*/ 498615 w 702430"/>
                <a:gd name="connsiteY11" fmla="*/ 179518 h 834380"/>
                <a:gd name="connsiteX12" fmla="*/ 463744 w 702430"/>
                <a:gd name="connsiteY12" fmla="*/ 183175 h 834380"/>
                <a:gd name="connsiteX13" fmla="*/ 434064 w 702430"/>
                <a:gd name="connsiteY13" fmla="*/ 143618 h 834380"/>
                <a:gd name="connsiteX14" fmla="*/ 418052 w 702430"/>
                <a:gd name="connsiteY14" fmla="*/ 163506 h 834380"/>
                <a:gd name="connsiteX15" fmla="*/ 401489 w 702430"/>
                <a:gd name="connsiteY15" fmla="*/ 166583 h 834380"/>
                <a:gd name="connsiteX16" fmla="*/ 397564 w 702430"/>
                <a:gd name="connsiteY16" fmla="*/ 214998 h 834380"/>
                <a:gd name="connsiteX17" fmla="*/ 347234 w 702430"/>
                <a:gd name="connsiteY17" fmla="*/ 203340 h 834380"/>
                <a:gd name="connsiteX18" fmla="*/ 340166 w 702430"/>
                <a:gd name="connsiteY18" fmla="*/ 243507 h 834380"/>
                <a:gd name="connsiteX19" fmla="*/ 314525 w 702430"/>
                <a:gd name="connsiteY19" fmla="*/ 243268 h 834380"/>
                <a:gd name="connsiteX20" fmla="*/ 296894 w 702430"/>
                <a:gd name="connsiteY20" fmla="*/ 293208 h 834380"/>
                <a:gd name="connsiteX21" fmla="*/ 270177 w 702430"/>
                <a:gd name="connsiteY21" fmla="*/ 368141 h 834380"/>
                <a:gd name="connsiteX22" fmla="*/ 228705 w 702430"/>
                <a:gd name="connsiteY22" fmla="*/ 458629 h 834380"/>
                <a:gd name="connsiteX23" fmla="*/ 238430 w 702430"/>
                <a:gd name="connsiteY23" fmla="*/ 479889 h 834380"/>
                <a:gd name="connsiteX24" fmla="*/ 229133 w 702430"/>
                <a:gd name="connsiteY24" fmla="*/ 504215 h 834380"/>
                <a:gd name="connsiteX25" fmla="*/ 202644 w 702430"/>
                <a:gd name="connsiteY25" fmla="*/ 503177 h 834380"/>
                <a:gd name="connsiteX26" fmla="*/ 185299 w 702430"/>
                <a:gd name="connsiteY26" fmla="*/ 559432 h 834380"/>
                <a:gd name="connsiteX27" fmla="*/ 186938 w 702430"/>
                <a:gd name="connsiteY27" fmla="*/ 636051 h 834380"/>
                <a:gd name="connsiteX28" fmla="*/ 204006 w 702430"/>
                <a:gd name="connsiteY28" fmla="*/ 664416 h 834380"/>
                <a:gd name="connsiteX29" fmla="*/ 195167 w 702430"/>
                <a:gd name="connsiteY29" fmla="*/ 728491 h 834380"/>
                <a:gd name="connsiteX30" fmla="*/ 172946 w 702430"/>
                <a:gd name="connsiteY30" fmla="*/ 764800 h 834380"/>
                <a:gd name="connsiteX31" fmla="*/ 161173 w 702430"/>
                <a:gd name="connsiteY31" fmla="*/ 794757 h 834380"/>
                <a:gd name="connsiteX32" fmla="*/ 143256 w 702430"/>
                <a:gd name="connsiteY32" fmla="*/ 762838 h 834380"/>
                <a:gd name="connsiteX33" fmla="*/ 90526 w 702430"/>
                <a:gd name="connsiteY33" fmla="*/ 822522 h 834380"/>
                <a:gd name="connsiteX34" fmla="*/ 54921 w 702430"/>
                <a:gd name="connsiteY34" fmla="*/ 834380 h 834380"/>
                <a:gd name="connsiteX35" fmla="*/ 17993 w 702430"/>
                <a:gd name="connsiteY35" fmla="*/ 808520 h 834380"/>
                <a:gd name="connsiteX36" fmla="*/ 8449 w 702430"/>
                <a:gd name="connsiteY36" fmla="*/ 752666 h 834380"/>
                <a:gd name="connsiteX37" fmla="*/ 0 w 702430"/>
                <a:gd name="connsiteY37" fmla="*/ 626402 h 834380"/>
                <a:gd name="connsiteX38" fmla="*/ 24594 w 702430"/>
                <a:gd name="connsiteY38" fmla="*/ 589493 h 834380"/>
                <a:gd name="connsiteX39" fmla="*/ 95107 w 702430"/>
                <a:gd name="connsiteY39" fmla="*/ 540115 h 834380"/>
                <a:gd name="connsiteX40" fmla="*/ 147837 w 702430"/>
                <a:gd name="connsiteY40" fmla="*/ 477384 h 834380"/>
                <a:gd name="connsiteX41" fmla="*/ 196730 w 702430"/>
                <a:gd name="connsiteY41" fmla="*/ 388791 h 834380"/>
                <a:gd name="connsiteX42" fmla="*/ 260899 w 702430"/>
                <a:gd name="connsiteY42" fmla="*/ 257708 h 834380"/>
                <a:gd name="connsiteX43" fmla="*/ 305629 w 702430"/>
                <a:gd name="connsiteY43" fmla="*/ 203664 h 834380"/>
                <a:gd name="connsiteX44" fmla="*/ 379019 w 702430"/>
                <a:gd name="connsiteY44" fmla="*/ 109433 h 834380"/>
                <a:gd name="connsiteX45" fmla="*/ 437626 w 702430"/>
                <a:gd name="connsiteY45" fmla="*/ 75219 h 834380"/>
                <a:gd name="connsiteX46" fmla="*/ 481565 w 702430"/>
                <a:gd name="connsiteY46" fmla="*/ 79410 h 834380"/>
                <a:gd name="connsiteX47" fmla="*/ 522237 w 702430"/>
                <a:gd name="connsiteY47" fmla="*/ 12783 h 834380"/>
                <a:gd name="connsiteX48" fmla="*/ 570938 w 702430"/>
                <a:gd name="connsiteY48" fmla="*/ 16411 h 834380"/>
                <a:gd name="connsiteX49" fmla="*/ 618896 w 702430"/>
                <a:gd name="connsiteY49" fmla="*/ 0 h 834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702430" h="834380">
                  <a:moveTo>
                    <a:pt x="618896" y="0"/>
                  </a:moveTo>
                  <a:lnTo>
                    <a:pt x="702431" y="59436"/>
                  </a:lnTo>
                  <a:lnTo>
                    <a:pt x="668036" y="80639"/>
                  </a:lnTo>
                  <a:lnTo>
                    <a:pt x="697297" y="129359"/>
                  </a:lnTo>
                  <a:lnTo>
                    <a:pt x="651853" y="159725"/>
                  </a:lnTo>
                  <a:lnTo>
                    <a:pt x="630279" y="166621"/>
                  </a:lnTo>
                  <a:lnTo>
                    <a:pt x="641594" y="113357"/>
                  </a:lnTo>
                  <a:lnTo>
                    <a:pt x="607324" y="82382"/>
                  </a:lnTo>
                  <a:lnTo>
                    <a:pt x="565852" y="108814"/>
                  </a:lnTo>
                  <a:lnTo>
                    <a:pt x="552755" y="164573"/>
                  </a:lnTo>
                  <a:lnTo>
                    <a:pt x="527294" y="197329"/>
                  </a:lnTo>
                  <a:lnTo>
                    <a:pt x="498615" y="179518"/>
                  </a:lnTo>
                  <a:lnTo>
                    <a:pt x="463744" y="183175"/>
                  </a:lnTo>
                  <a:lnTo>
                    <a:pt x="434064" y="143618"/>
                  </a:lnTo>
                  <a:lnTo>
                    <a:pt x="418052" y="163506"/>
                  </a:lnTo>
                  <a:lnTo>
                    <a:pt x="401489" y="166583"/>
                  </a:lnTo>
                  <a:lnTo>
                    <a:pt x="397564" y="214998"/>
                  </a:lnTo>
                  <a:lnTo>
                    <a:pt x="347234" y="203340"/>
                  </a:lnTo>
                  <a:lnTo>
                    <a:pt x="340166" y="243507"/>
                  </a:lnTo>
                  <a:lnTo>
                    <a:pt x="314525" y="243268"/>
                  </a:lnTo>
                  <a:lnTo>
                    <a:pt x="296894" y="293208"/>
                  </a:lnTo>
                  <a:lnTo>
                    <a:pt x="270177" y="368141"/>
                  </a:lnTo>
                  <a:lnTo>
                    <a:pt x="228705" y="458629"/>
                  </a:lnTo>
                  <a:lnTo>
                    <a:pt x="238430" y="479889"/>
                  </a:lnTo>
                  <a:lnTo>
                    <a:pt x="229133" y="504215"/>
                  </a:lnTo>
                  <a:lnTo>
                    <a:pt x="202644" y="503177"/>
                  </a:lnTo>
                  <a:lnTo>
                    <a:pt x="185299" y="559432"/>
                  </a:lnTo>
                  <a:lnTo>
                    <a:pt x="186938" y="636051"/>
                  </a:lnTo>
                  <a:lnTo>
                    <a:pt x="204006" y="664416"/>
                  </a:lnTo>
                  <a:lnTo>
                    <a:pt x="195167" y="728491"/>
                  </a:lnTo>
                  <a:lnTo>
                    <a:pt x="172946" y="764800"/>
                  </a:lnTo>
                  <a:lnTo>
                    <a:pt x="161173" y="794757"/>
                  </a:lnTo>
                  <a:lnTo>
                    <a:pt x="143256" y="762838"/>
                  </a:lnTo>
                  <a:lnTo>
                    <a:pt x="90526" y="822522"/>
                  </a:lnTo>
                  <a:lnTo>
                    <a:pt x="54921" y="834380"/>
                  </a:lnTo>
                  <a:lnTo>
                    <a:pt x="17993" y="808520"/>
                  </a:lnTo>
                  <a:lnTo>
                    <a:pt x="8449" y="752666"/>
                  </a:lnTo>
                  <a:lnTo>
                    <a:pt x="0" y="626402"/>
                  </a:lnTo>
                  <a:lnTo>
                    <a:pt x="24594" y="589493"/>
                  </a:lnTo>
                  <a:lnTo>
                    <a:pt x="95107" y="540115"/>
                  </a:lnTo>
                  <a:lnTo>
                    <a:pt x="147837" y="477384"/>
                  </a:lnTo>
                  <a:lnTo>
                    <a:pt x="196730" y="388791"/>
                  </a:lnTo>
                  <a:lnTo>
                    <a:pt x="260899" y="257708"/>
                  </a:lnTo>
                  <a:lnTo>
                    <a:pt x="305629" y="203664"/>
                  </a:lnTo>
                  <a:lnTo>
                    <a:pt x="379019" y="109433"/>
                  </a:lnTo>
                  <a:lnTo>
                    <a:pt x="437626" y="75219"/>
                  </a:lnTo>
                  <a:lnTo>
                    <a:pt x="481565" y="79410"/>
                  </a:lnTo>
                  <a:lnTo>
                    <a:pt x="522237" y="12783"/>
                  </a:lnTo>
                  <a:lnTo>
                    <a:pt x="570938" y="16411"/>
                  </a:lnTo>
                  <a:lnTo>
                    <a:pt x="618896" y="0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1" name="Forme libre : forme 5770">
              <a:extLst>
                <a:ext uri="{FF2B5EF4-FFF2-40B4-BE49-F238E27FC236}">
                  <a16:creationId xmlns:a16="http://schemas.microsoft.com/office/drawing/2014/main" id="{B6BF189A-62A6-CCD7-BF47-96E71B6D521B}"/>
                </a:ext>
              </a:extLst>
            </p:cNvPr>
            <p:cNvSpPr/>
            <p:nvPr/>
          </p:nvSpPr>
          <p:spPr>
            <a:xfrm>
              <a:off x="7959794" y="3894243"/>
              <a:ext cx="215960" cy="121615"/>
            </a:xfrm>
            <a:custGeom>
              <a:avLst/>
              <a:gdLst>
                <a:gd name="connsiteX0" fmla="*/ 214512 w 215960"/>
                <a:gd name="connsiteY0" fmla="*/ 77476 h 121615"/>
                <a:gd name="connsiteX1" fmla="*/ 212445 w 215960"/>
                <a:gd name="connsiteY1" fmla="*/ 90392 h 121615"/>
                <a:gd name="connsiteX2" fmla="*/ 215960 w 215960"/>
                <a:gd name="connsiteY2" fmla="*/ 109357 h 121615"/>
                <a:gd name="connsiteX3" fmla="*/ 212903 w 215960"/>
                <a:gd name="connsiteY3" fmla="*/ 121120 h 121615"/>
                <a:gd name="connsiteX4" fmla="*/ 190662 w 215960"/>
                <a:gd name="connsiteY4" fmla="*/ 121615 h 121615"/>
                <a:gd name="connsiteX5" fmla="*/ 158534 w 215960"/>
                <a:gd name="connsiteY5" fmla="*/ 114691 h 121615"/>
                <a:gd name="connsiteX6" fmla="*/ 137893 w 215960"/>
                <a:gd name="connsiteY6" fmla="*/ 111871 h 121615"/>
                <a:gd name="connsiteX7" fmla="*/ 122491 w 215960"/>
                <a:gd name="connsiteY7" fmla="*/ 96698 h 121615"/>
                <a:gd name="connsiteX8" fmla="*/ 85887 w 215960"/>
                <a:gd name="connsiteY8" fmla="*/ 92831 h 121615"/>
                <a:gd name="connsiteX9" fmla="*/ 51054 w 215960"/>
                <a:gd name="connsiteY9" fmla="*/ 76000 h 121615"/>
                <a:gd name="connsiteX10" fmla="*/ 25870 w 215960"/>
                <a:gd name="connsiteY10" fmla="*/ 61217 h 121615"/>
                <a:gd name="connsiteX11" fmla="*/ 0 w 215960"/>
                <a:gd name="connsiteY11" fmla="*/ 49768 h 121615"/>
                <a:gd name="connsiteX12" fmla="*/ 10363 w 215960"/>
                <a:gd name="connsiteY12" fmla="*/ 21279 h 121615"/>
                <a:gd name="connsiteX13" fmla="*/ 27318 w 215960"/>
                <a:gd name="connsiteY13" fmla="*/ 7363 h 121615"/>
                <a:gd name="connsiteX14" fmla="*/ 38385 w 215960"/>
                <a:gd name="connsiteY14" fmla="*/ 0 h 121615"/>
                <a:gd name="connsiteX15" fmla="*/ 59798 w 215960"/>
                <a:gd name="connsiteY15" fmla="*/ 9458 h 121615"/>
                <a:gd name="connsiteX16" fmla="*/ 86763 w 215960"/>
                <a:gd name="connsiteY16" fmla="*/ 29404 h 121615"/>
                <a:gd name="connsiteX17" fmla="*/ 101765 w 215960"/>
                <a:gd name="connsiteY17" fmla="*/ 33785 h 121615"/>
                <a:gd name="connsiteX18" fmla="*/ 110737 w 215960"/>
                <a:gd name="connsiteY18" fmla="*/ 48387 h 121615"/>
                <a:gd name="connsiteX19" fmla="*/ 131483 w 215960"/>
                <a:gd name="connsiteY19" fmla="*/ 54369 h 121615"/>
                <a:gd name="connsiteX20" fmla="*/ 153162 w 215960"/>
                <a:gd name="connsiteY20" fmla="*/ 67628 h 121615"/>
                <a:gd name="connsiteX21" fmla="*/ 183375 w 215960"/>
                <a:gd name="connsiteY21" fmla="*/ 74533 h 12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5960" h="121615">
                  <a:moveTo>
                    <a:pt x="214512" y="77476"/>
                  </a:moveTo>
                  <a:lnTo>
                    <a:pt x="212445" y="90392"/>
                  </a:lnTo>
                  <a:lnTo>
                    <a:pt x="215960" y="109357"/>
                  </a:lnTo>
                  <a:lnTo>
                    <a:pt x="212903" y="121120"/>
                  </a:lnTo>
                  <a:lnTo>
                    <a:pt x="190662" y="121615"/>
                  </a:lnTo>
                  <a:lnTo>
                    <a:pt x="158534" y="114691"/>
                  </a:lnTo>
                  <a:lnTo>
                    <a:pt x="137893" y="111871"/>
                  </a:lnTo>
                  <a:lnTo>
                    <a:pt x="122491" y="96698"/>
                  </a:lnTo>
                  <a:lnTo>
                    <a:pt x="85887" y="92831"/>
                  </a:lnTo>
                  <a:lnTo>
                    <a:pt x="51054" y="76000"/>
                  </a:lnTo>
                  <a:lnTo>
                    <a:pt x="25870" y="61217"/>
                  </a:lnTo>
                  <a:lnTo>
                    <a:pt x="0" y="49768"/>
                  </a:lnTo>
                  <a:lnTo>
                    <a:pt x="10363" y="21279"/>
                  </a:lnTo>
                  <a:lnTo>
                    <a:pt x="27318" y="7363"/>
                  </a:lnTo>
                  <a:lnTo>
                    <a:pt x="38385" y="0"/>
                  </a:lnTo>
                  <a:lnTo>
                    <a:pt x="59798" y="9458"/>
                  </a:lnTo>
                  <a:lnTo>
                    <a:pt x="86763" y="29404"/>
                  </a:lnTo>
                  <a:lnTo>
                    <a:pt x="101765" y="33785"/>
                  </a:lnTo>
                  <a:lnTo>
                    <a:pt x="110737" y="48387"/>
                  </a:lnTo>
                  <a:lnTo>
                    <a:pt x="131483" y="54369"/>
                  </a:lnTo>
                  <a:lnTo>
                    <a:pt x="153162" y="67628"/>
                  </a:lnTo>
                  <a:lnTo>
                    <a:pt x="183375" y="7453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2" name="Forme libre : forme 5771">
              <a:extLst>
                <a:ext uri="{FF2B5EF4-FFF2-40B4-BE49-F238E27FC236}">
                  <a16:creationId xmlns:a16="http://schemas.microsoft.com/office/drawing/2014/main" id="{0345407B-C07F-F718-1D27-50ED09EB38CF}"/>
                </a:ext>
              </a:extLst>
            </p:cNvPr>
            <p:cNvSpPr/>
            <p:nvPr/>
          </p:nvSpPr>
          <p:spPr>
            <a:xfrm>
              <a:off x="10267816" y="5717966"/>
              <a:ext cx="320707" cy="428786"/>
            </a:xfrm>
            <a:custGeom>
              <a:avLst/>
              <a:gdLst>
                <a:gd name="connsiteX0" fmla="*/ 173889 w 320707"/>
                <a:gd name="connsiteY0" fmla="*/ 217618 h 428786"/>
                <a:gd name="connsiteX1" fmla="*/ 179947 w 320707"/>
                <a:gd name="connsiteY1" fmla="*/ 232200 h 428786"/>
                <a:gd name="connsiteX2" fmla="*/ 198940 w 320707"/>
                <a:gd name="connsiteY2" fmla="*/ 217884 h 428786"/>
                <a:gd name="connsiteX3" fmla="*/ 206664 w 320707"/>
                <a:gd name="connsiteY3" fmla="*/ 232810 h 428786"/>
                <a:gd name="connsiteX4" fmla="*/ 206693 w 320707"/>
                <a:gd name="connsiteY4" fmla="*/ 247774 h 428786"/>
                <a:gd name="connsiteX5" fmla="*/ 196758 w 320707"/>
                <a:gd name="connsiteY5" fmla="*/ 264357 h 428786"/>
                <a:gd name="connsiteX6" fmla="*/ 179299 w 320707"/>
                <a:gd name="connsiteY6" fmla="*/ 290998 h 428786"/>
                <a:gd name="connsiteX7" fmla="*/ 165631 w 320707"/>
                <a:gd name="connsiteY7" fmla="*/ 305676 h 428786"/>
                <a:gd name="connsiteX8" fmla="*/ 175479 w 320707"/>
                <a:gd name="connsiteY8" fmla="*/ 323355 h 428786"/>
                <a:gd name="connsiteX9" fmla="*/ 154877 w 320707"/>
                <a:gd name="connsiteY9" fmla="*/ 323812 h 428786"/>
                <a:gd name="connsiteX10" fmla="*/ 132026 w 320707"/>
                <a:gd name="connsiteY10" fmla="*/ 337766 h 428786"/>
                <a:gd name="connsiteX11" fmla="*/ 124873 w 320707"/>
                <a:gd name="connsiteY11" fmla="*/ 362226 h 428786"/>
                <a:gd name="connsiteX12" fmla="*/ 109690 w 320707"/>
                <a:gd name="connsiteY12" fmla="*/ 400583 h 428786"/>
                <a:gd name="connsiteX13" fmla="*/ 88725 w 320707"/>
                <a:gd name="connsiteY13" fmla="*/ 417747 h 428786"/>
                <a:gd name="connsiteX14" fmla="*/ 75400 w 320707"/>
                <a:gd name="connsiteY14" fmla="*/ 428787 h 428786"/>
                <a:gd name="connsiteX15" fmla="*/ 50797 w 320707"/>
                <a:gd name="connsiteY15" fmla="*/ 427967 h 428786"/>
                <a:gd name="connsiteX16" fmla="*/ 33509 w 320707"/>
                <a:gd name="connsiteY16" fmla="*/ 415223 h 428786"/>
                <a:gd name="connsiteX17" fmla="*/ 4477 w 320707"/>
                <a:gd name="connsiteY17" fmla="*/ 412518 h 428786"/>
                <a:gd name="connsiteX18" fmla="*/ 0 w 320707"/>
                <a:gd name="connsiteY18" fmla="*/ 398430 h 428786"/>
                <a:gd name="connsiteX19" fmla="*/ 14354 w 320707"/>
                <a:gd name="connsiteY19" fmla="*/ 370265 h 428786"/>
                <a:gd name="connsiteX20" fmla="*/ 47930 w 320707"/>
                <a:gd name="connsiteY20" fmla="*/ 333356 h 428786"/>
                <a:gd name="connsiteX21" fmla="*/ 65170 w 320707"/>
                <a:gd name="connsiteY21" fmla="*/ 326393 h 428786"/>
                <a:gd name="connsiteX22" fmla="*/ 84363 w 320707"/>
                <a:gd name="connsiteY22" fmla="*/ 312372 h 428786"/>
                <a:gd name="connsiteX23" fmla="*/ 107252 w 320707"/>
                <a:gd name="connsiteY23" fmla="*/ 293227 h 428786"/>
                <a:gd name="connsiteX24" fmla="*/ 123283 w 320707"/>
                <a:gd name="connsiteY24" fmla="*/ 274415 h 428786"/>
                <a:gd name="connsiteX25" fmla="*/ 135160 w 320707"/>
                <a:gd name="connsiteY25" fmla="*/ 247669 h 428786"/>
                <a:gd name="connsiteX26" fmla="*/ 145285 w 320707"/>
                <a:gd name="connsiteY26" fmla="*/ 238658 h 428786"/>
                <a:gd name="connsiteX27" fmla="*/ 149247 w 320707"/>
                <a:gd name="connsiteY27" fmla="*/ 218904 h 428786"/>
                <a:gd name="connsiteX28" fmla="*/ 167983 w 320707"/>
                <a:gd name="connsiteY28" fmla="*/ 202682 h 428786"/>
                <a:gd name="connsiteX29" fmla="*/ 173889 w 320707"/>
                <a:gd name="connsiteY29" fmla="*/ 217618 h 428786"/>
                <a:gd name="connsiteX30" fmla="*/ 216389 w 320707"/>
                <a:gd name="connsiteY30" fmla="*/ 55569 h 428786"/>
                <a:gd name="connsiteX31" fmla="*/ 235744 w 320707"/>
                <a:gd name="connsiteY31" fmla="*/ 90478 h 428786"/>
                <a:gd name="connsiteX32" fmla="*/ 236306 w 320707"/>
                <a:gd name="connsiteY32" fmla="*/ 67780 h 428786"/>
                <a:gd name="connsiteX33" fmla="*/ 248364 w 320707"/>
                <a:gd name="connsiteY33" fmla="*/ 76819 h 428786"/>
                <a:gd name="connsiteX34" fmla="*/ 252356 w 320707"/>
                <a:gd name="connsiteY34" fmla="*/ 102069 h 428786"/>
                <a:gd name="connsiteX35" fmla="*/ 273854 w 320707"/>
                <a:gd name="connsiteY35" fmla="*/ 113023 h 428786"/>
                <a:gd name="connsiteX36" fmla="*/ 291904 w 320707"/>
                <a:gd name="connsiteY36" fmla="*/ 115719 h 428786"/>
                <a:gd name="connsiteX37" fmla="*/ 307172 w 320707"/>
                <a:gd name="connsiteY37" fmla="*/ 102888 h 428786"/>
                <a:gd name="connsiteX38" fmla="*/ 320707 w 320707"/>
                <a:gd name="connsiteY38" fmla="*/ 106766 h 428786"/>
                <a:gd name="connsiteX39" fmla="*/ 314230 w 320707"/>
                <a:gd name="connsiteY39" fmla="*/ 136779 h 428786"/>
                <a:gd name="connsiteX40" fmla="*/ 306096 w 320707"/>
                <a:gd name="connsiteY40" fmla="*/ 156714 h 428786"/>
                <a:gd name="connsiteX41" fmla="*/ 285703 w 320707"/>
                <a:gd name="connsiteY41" fmla="*/ 156010 h 428786"/>
                <a:gd name="connsiteX42" fmla="*/ 278568 w 320707"/>
                <a:gd name="connsiteY42" fmla="*/ 166458 h 428786"/>
                <a:gd name="connsiteX43" fmla="*/ 281054 w 320707"/>
                <a:gd name="connsiteY43" fmla="*/ 181327 h 428786"/>
                <a:gd name="connsiteX44" fmla="*/ 277130 w 320707"/>
                <a:gd name="connsiteY44" fmla="*/ 187785 h 428786"/>
                <a:gd name="connsiteX45" fmla="*/ 267034 w 320707"/>
                <a:gd name="connsiteY45" fmla="*/ 206587 h 428786"/>
                <a:gd name="connsiteX46" fmla="*/ 253794 w 320707"/>
                <a:gd name="connsiteY46" fmla="*/ 230705 h 428786"/>
                <a:gd name="connsiteX47" fmla="*/ 233153 w 320707"/>
                <a:gd name="connsiteY47" fmla="*/ 244868 h 428786"/>
                <a:gd name="connsiteX48" fmla="*/ 228572 w 320707"/>
                <a:gd name="connsiteY48" fmla="*/ 235543 h 428786"/>
                <a:gd name="connsiteX49" fmla="*/ 217437 w 320707"/>
                <a:gd name="connsiteY49" fmla="*/ 230438 h 428786"/>
                <a:gd name="connsiteX50" fmla="*/ 232839 w 320707"/>
                <a:gd name="connsiteY50" fmla="*/ 201492 h 428786"/>
                <a:gd name="connsiteX51" fmla="*/ 224095 w 320707"/>
                <a:gd name="connsiteY51" fmla="*/ 182327 h 428786"/>
                <a:gd name="connsiteX52" fmla="*/ 195349 w 320707"/>
                <a:gd name="connsiteY52" fmla="*/ 168497 h 428786"/>
                <a:gd name="connsiteX53" fmla="*/ 196101 w 320707"/>
                <a:gd name="connsiteY53" fmla="*/ 156038 h 428786"/>
                <a:gd name="connsiteX54" fmla="*/ 215398 w 320707"/>
                <a:gd name="connsiteY54" fmla="*/ 144103 h 428786"/>
                <a:gd name="connsiteX55" fmla="*/ 219904 w 320707"/>
                <a:gd name="connsiteY55" fmla="*/ 117967 h 428786"/>
                <a:gd name="connsiteX56" fmla="*/ 218666 w 320707"/>
                <a:gd name="connsiteY56" fmla="*/ 96231 h 428786"/>
                <a:gd name="connsiteX57" fmla="*/ 207845 w 320707"/>
                <a:gd name="connsiteY57" fmla="*/ 73904 h 428786"/>
                <a:gd name="connsiteX58" fmla="*/ 208560 w 320707"/>
                <a:gd name="connsiteY58" fmla="*/ 68066 h 428786"/>
                <a:gd name="connsiteX59" fmla="*/ 195796 w 320707"/>
                <a:gd name="connsiteY59" fmla="*/ 54444 h 428786"/>
                <a:gd name="connsiteX60" fmla="*/ 174784 w 320707"/>
                <a:gd name="connsiteY60" fmla="*/ 25479 h 428786"/>
                <a:gd name="connsiteX61" fmla="*/ 163611 w 320707"/>
                <a:gd name="connsiteY61" fmla="*/ 2534 h 428786"/>
                <a:gd name="connsiteX62" fmla="*/ 173517 w 320707"/>
                <a:gd name="connsiteY62" fmla="*/ 0 h 428786"/>
                <a:gd name="connsiteX63" fmla="*/ 188052 w 320707"/>
                <a:gd name="connsiteY63" fmla="*/ 17973 h 428786"/>
                <a:gd name="connsiteX64" fmla="*/ 208836 w 320707"/>
                <a:gd name="connsiteY64" fmla="*/ 26403 h 428786"/>
                <a:gd name="connsiteX65" fmla="*/ 216389 w 320707"/>
                <a:gd name="connsiteY65" fmla="*/ 55569 h 428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320707" h="428786">
                  <a:moveTo>
                    <a:pt x="173889" y="217618"/>
                  </a:moveTo>
                  <a:lnTo>
                    <a:pt x="179947" y="232200"/>
                  </a:lnTo>
                  <a:lnTo>
                    <a:pt x="198940" y="217884"/>
                  </a:lnTo>
                  <a:lnTo>
                    <a:pt x="206664" y="232810"/>
                  </a:lnTo>
                  <a:lnTo>
                    <a:pt x="206693" y="247774"/>
                  </a:lnTo>
                  <a:lnTo>
                    <a:pt x="196758" y="264357"/>
                  </a:lnTo>
                  <a:lnTo>
                    <a:pt x="179299" y="290998"/>
                  </a:lnTo>
                  <a:lnTo>
                    <a:pt x="165631" y="305676"/>
                  </a:lnTo>
                  <a:lnTo>
                    <a:pt x="175479" y="323355"/>
                  </a:lnTo>
                  <a:lnTo>
                    <a:pt x="154877" y="323812"/>
                  </a:lnTo>
                  <a:lnTo>
                    <a:pt x="132026" y="337766"/>
                  </a:lnTo>
                  <a:lnTo>
                    <a:pt x="124873" y="362226"/>
                  </a:lnTo>
                  <a:lnTo>
                    <a:pt x="109690" y="400583"/>
                  </a:lnTo>
                  <a:lnTo>
                    <a:pt x="88725" y="417747"/>
                  </a:lnTo>
                  <a:lnTo>
                    <a:pt x="75400" y="428787"/>
                  </a:lnTo>
                  <a:lnTo>
                    <a:pt x="50797" y="427967"/>
                  </a:lnTo>
                  <a:lnTo>
                    <a:pt x="33509" y="415223"/>
                  </a:lnTo>
                  <a:lnTo>
                    <a:pt x="4477" y="412518"/>
                  </a:lnTo>
                  <a:lnTo>
                    <a:pt x="0" y="398430"/>
                  </a:lnTo>
                  <a:lnTo>
                    <a:pt x="14354" y="370265"/>
                  </a:lnTo>
                  <a:lnTo>
                    <a:pt x="47930" y="333356"/>
                  </a:lnTo>
                  <a:lnTo>
                    <a:pt x="65170" y="326393"/>
                  </a:lnTo>
                  <a:lnTo>
                    <a:pt x="84363" y="312372"/>
                  </a:lnTo>
                  <a:lnTo>
                    <a:pt x="107252" y="293227"/>
                  </a:lnTo>
                  <a:lnTo>
                    <a:pt x="123283" y="274415"/>
                  </a:lnTo>
                  <a:lnTo>
                    <a:pt x="135160" y="247669"/>
                  </a:lnTo>
                  <a:lnTo>
                    <a:pt x="145285" y="238658"/>
                  </a:lnTo>
                  <a:lnTo>
                    <a:pt x="149247" y="218904"/>
                  </a:lnTo>
                  <a:lnTo>
                    <a:pt x="167983" y="202682"/>
                  </a:lnTo>
                  <a:lnTo>
                    <a:pt x="173889" y="217618"/>
                  </a:lnTo>
                  <a:close/>
                  <a:moveTo>
                    <a:pt x="216389" y="55569"/>
                  </a:moveTo>
                  <a:lnTo>
                    <a:pt x="235744" y="90478"/>
                  </a:lnTo>
                  <a:lnTo>
                    <a:pt x="236306" y="67780"/>
                  </a:lnTo>
                  <a:lnTo>
                    <a:pt x="248364" y="76819"/>
                  </a:lnTo>
                  <a:lnTo>
                    <a:pt x="252356" y="102069"/>
                  </a:lnTo>
                  <a:lnTo>
                    <a:pt x="273854" y="113023"/>
                  </a:lnTo>
                  <a:lnTo>
                    <a:pt x="291904" y="115719"/>
                  </a:lnTo>
                  <a:lnTo>
                    <a:pt x="307172" y="102888"/>
                  </a:lnTo>
                  <a:lnTo>
                    <a:pt x="320707" y="106766"/>
                  </a:lnTo>
                  <a:lnTo>
                    <a:pt x="314230" y="136779"/>
                  </a:lnTo>
                  <a:lnTo>
                    <a:pt x="306096" y="156714"/>
                  </a:lnTo>
                  <a:lnTo>
                    <a:pt x="285703" y="156010"/>
                  </a:lnTo>
                  <a:lnTo>
                    <a:pt x="278568" y="166458"/>
                  </a:lnTo>
                  <a:lnTo>
                    <a:pt x="281054" y="181327"/>
                  </a:lnTo>
                  <a:lnTo>
                    <a:pt x="277130" y="187785"/>
                  </a:lnTo>
                  <a:lnTo>
                    <a:pt x="267034" y="206587"/>
                  </a:lnTo>
                  <a:lnTo>
                    <a:pt x="253794" y="230705"/>
                  </a:lnTo>
                  <a:lnTo>
                    <a:pt x="233153" y="244868"/>
                  </a:lnTo>
                  <a:lnTo>
                    <a:pt x="228572" y="235543"/>
                  </a:lnTo>
                  <a:lnTo>
                    <a:pt x="217437" y="230438"/>
                  </a:lnTo>
                  <a:lnTo>
                    <a:pt x="232839" y="201492"/>
                  </a:lnTo>
                  <a:lnTo>
                    <a:pt x="224095" y="182327"/>
                  </a:lnTo>
                  <a:lnTo>
                    <a:pt x="195349" y="168497"/>
                  </a:lnTo>
                  <a:lnTo>
                    <a:pt x="196101" y="156038"/>
                  </a:lnTo>
                  <a:lnTo>
                    <a:pt x="215398" y="144103"/>
                  </a:lnTo>
                  <a:lnTo>
                    <a:pt x="219904" y="117967"/>
                  </a:lnTo>
                  <a:lnTo>
                    <a:pt x="218666" y="96231"/>
                  </a:lnTo>
                  <a:lnTo>
                    <a:pt x="207845" y="73904"/>
                  </a:lnTo>
                  <a:lnTo>
                    <a:pt x="208560" y="68066"/>
                  </a:lnTo>
                  <a:lnTo>
                    <a:pt x="195796" y="54444"/>
                  </a:lnTo>
                  <a:lnTo>
                    <a:pt x="174784" y="25479"/>
                  </a:lnTo>
                  <a:lnTo>
                    <a:pt x="163611" y="2534"/>
                  </a:lnTo>
                  <a:lnTo>
                    <a:pt x="173517" y="0"/>
                  </a:lnTo>
                  <a:lnTo>
                    <a:pt x="188052" y="17973"/>
                  </a:lnTo>
                  <a:lnTo>
                    <a:pt x="208836" y="26403"/>
                  </a:lnTo>
                  <a:lnTo>
                    <a:pt x="216389" y="5556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3" name="Forme libre : forme 5772">
              <a:extLst>
                <a:ext uri="{FF2B5EF4-FFF2-40B4-BE49-F238E27FC236}">
                  <a16:creationId xmlns:a16="http://schemas.microsoft.com/office/drawing/2014/main" id="{3F5A65F3-B785-ED31-235A-2E0952FCA15B}"/>
                </a:ext>
              </a:extLst>
            </p:cNvPr>
            <p:cNvSpPr/>
            <p:nvPr/>
          </p:nvSpPr>
          <p:spPr>
            <a:xfrm>
              <a:off x="7209662" y="4015906"/>
              <a:ext cx="208530" cy="278587"/>
            </a:xfrm>
            <a:custGeom>
              <a:avLst/>
              <a:gdLst>
                <a:gd name="connsiteX0" fmla="*/ 183223 w 208530"/>
                <a:gd name="connsiteY0" fmla="*/ 153343 h 278587"/>
                <a:gd name="connsiteX1" fmla="*/ 173250 w 208530"/>
                <a:gd name="connsiteY1" fmla="*/ 172793 h 278587"/>
                <a:gd name="connsiteX2" fmla="*/ 161144 w 208530"/>
                <a:gd name="connsiteY2" fmla="*/ 171307 h 278587"/>
                <a:gd name="connsiteX3" fmla="*/ 155591 w 208530"/>
                <a:gd name="connsiteY3" fmla="*/ 178051 h 278587"/>
                <a:gd name="connsiteX4" fmla="*/ 151305 w 208530"/>
                <a:gd name="connsiteY4" fmla="*/ 192376 h 278587"/>
                <a:gd name="connsiteX5" fmla="*/ 154591 w 208530"/>
                <a:gd name="connsiteY5" fmla="*/ 211188 h 278587"/>
                <a:gd name="connsiteX6" fmla="*/ 152067 w 208530"/>
                <a:gd name="connsiteY6" fmla="*/ 214636 h 278587"/>
                <a:gd name="connsiteX7" fmla="*/ 139779 w 208530"/>
                <a:gd name="connsiteY7" fmla="*/ 214541 h 278587"/>
                <a:gd name="connsiteX8" fmla="*/ 123101 w 208530"/>
                <a:gd name="connsiteY8" fmla="*/ 225019 h 278587"/>
                <a:gd name="connsiteX9" fmla="*/ 120501 w 208530"/>
                <a:gd name="connsiteY9" fmla="*/ 238640 h 278587"/>
                <a:gd name="connsiteX10" fmla="*/ 114386 w 208530"/>
                <a:gd name="connsiteY10" fmla="*/ 244526 h 278587"/>
                <a:gd name="connsiteX11" fmla="*/ 97774 w 208530"/>
                <a:gd name="connsiteY11" fmla="*/ 244307 h 278587"/>
                <a:gd name="connsiteX12" fmla="*/ 87316 w 208530"/>
                <a:gd name="connsiteY12" fmla="*/ 251327 h 278587"/>
                <a:gd name="connsiteX13" fmla="*/ 87449 w 208530"/>
                <a:gd name="connsiteY13" fmla="*/ 262566 h 278587"/>
                <a:gd name="connsiteX14" fmla="*/ 74533 w 208530"/>
                <a:gd name="connsiteY14" fmla="*/ 270281 h 278587"/>
                <a:gd name="connsiteX15" fmla="*/ 59798 w 208530"/>
                <a:gd name="connsiteY15" fmla="*/ 267662 h 278587"/>
                <a:gd name="connsiteX16" fmla="*/ 41939 w 208530"/>
                <a:gd name="connsiteY16" fmla="*/ 277016 h 278587"/>
                <a:gd name="connsiteX17" fmla="*/ 29594 w 208530"/>
                <a:gd name="connsiteY17" fmla="*/ 278587 h 278587"/>
                <a:gd name="connsiteX18" fmla="*/ 20879 w 208530"/>
                <a:gd name="connsiteY18" fmla="*/ 259194 h 278587"/>
                <a:gd name="connsiteX19" fmla="*/ 0 w 208530"/>
                <a:gd name="connsiteY19" fmla="*/ 213084 h 278587"/>
                <a:gd name="connsiteX20" fmla="*/ 80115 w 208530"/>
                <a:gd name="connsiteY20" fmla="*/ 184918 h 278587"/>
                <a:gd name="connsiteX21" fmla="*/ 97917 w 208530"/>
                <a:gd name="connsiteY21" fmla="*/ 128035 h 278587"/>
                <a:gd name="connsiteX22" fmla="*/ 85677 w 208530"/>
                <a:gd name="connsiteY22" fmla="*/ 107699 h 278587"/>
                <a:gd name="connsiteX23" fmla="*/ 86373 w 208530"/>
                <a:gd name="connsiteY23" fmla="*/ 96088 h 278587"/>
                <a:gd name="connsiteX24" fmla="*/ 94155 w 208530"/>
                <a:gd name="connsiteY24" fmla="*/ 84125 h 278587"/>
                <a:gd name="connsiteX25" fmla="*/ 94231 w 208530"/>
                <a:gd name="connsiteY25" fmla="*/ 72266 h 278587"/>
                <a:gd name="connsiteX26" fmla="*/ 106318 w 208530"/>
                <a:gd name="connsiteY26" fmla="*/ 66542 h 278587"/>
                <a:gd name="connsiteX27" fmla="*/ 101594 w 208530"/>
                <a:gd name="connsiteY27" fmla="*/ 62494 h 278587"/>
                <a:gd name="connsiteX28" fmla="*/ 103775 w 208530"/>
                <a:gd name="connsiteY28" fmla="*/ 43472 h 278587"/>
                <a:gd name="connsiteX29" fmla="*/ 117424 w 208530"/>
                <a:gd name="connsiteY29" fmla="*/ 43358 h 278587"/>
                <a:gd name="connsiteX30" fmla="*/ 129397 w 208530"/>
                <a:gd name="connsiteY30" fmla="*/ 63313 h 278587"/>
                <a:gd name="connsiteX31" fmla="*/ 144304 w 208530"/>
                <a:gd name="connsiteY31" fmla="*/ 73866 h 278587"/>
                <a:gd name="connsiteX32" fmla="*/ 163897 w 208530"/>
                <a:gd name="connsiteY32" fmla="*/ 77657 h 278587"/>
                <a:gd name="connsiteX33" fmla="*/ 179708 w 208530"/>
                <a:gd name="connsiteY33" fmla="*/ 82944 h 278587"/>
                <a:gd name="connsiteX34" fmla="*/ 191767 w 208530"/>
                <a:gd name="connsiteY34" fmla="*/ 99517 h 278587"/>
                <a:gd name="connsiteX35" fmla="*/ 198968 w 208530"/>
                <a:gd name="connsiteY35" fmla="*/ 109090 h 278587"/>
                <a:gd name="connsiteX36" fmla="*/ 208531 w 208530"/>
                <a:gd name="connsiteY36" fmla="*/ 112728 h 278587"/>
                <a:gd name="connsiteX37" fmla="*/ 208474 w 208530"/>
                <a:gd name="connsiteY37" fmla="*/ 119139 h 278587"/>
                <a:gd name="connsiteX38" fmla="*/ 198749 w 208530"/>
                <a:gd name="connsiteY38" fmla="*/ 136207 h 278587"/>
                <a:gd name="connsiteX39" fmla="*/ 194482 w 208530"/>
                <a:gd name="connsiteY39" fmla="*/ 144218 h 278587"/>
                <a:gd name="connsiteX40" fmla="*/ 183223 w 208530"/>
                <a:gd name="connsiteY40" fmla="*/ 153343 h 278587"/>
                <a:gd name="connsiteX41" fmla="*/ 117263 w 208530"/>
                <a:gd name="connsiteY41" fmla="*/ 14802 h 278587"/>
                <a:gd name="connsiteX42" fmla="*/ 113786 w 208530"/>
                <a:gd name="connsiteY42" fmla="*/ 20155 h 278587"/>
                <a:gd name="connsiteX43" fmla="*/ 108699 w 208530"/>
                <a:gd name="connsiteY43" fmla="*/ 10087 h 278587"/>
                <a:gd name="connsiteX44" fmla="*/ 116481 w 208530"/>
                <a:gd name="connsiteY44" fmla="*/ 0 h 278587"/>
                <a:gd name="connsiteX45" fmla="*/ 119786 w 208530"/>
                <a:gd name="connsiteY45" fmla="*/ 2581 h 278587"/>
                <a:gd name="connsiteX46" fmla="*/ 117263 w 208530"/>
                <a:gd name="connsiteY46" fmla="*/ 14802 h 27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08530" h="278587">
                  <a:moveTo>
                    <a:pt x="183223" y="153343"/>
                  </a:moveTo>
                  <a:lnTo>
                    <a:pt x="173250" y="172793"/>
                  </a:lnTo>
                  <a:lnTo>
                    <a:pt x="161144" y="171307"/>
                  </a:lnTo>
                  <a:lnTo>
                    <a:pt x="155591" y="178051"/>
                  </a:lnTo>
                  <a:lnTo>
                    <a:pt x="151305" y="192376"/>
                  </a:lnTo>
                  <a:lnTo>
                    <a:pt x="154591" y="211188"/>
                  </a:lnTo>
                  <a:lnTo>
                    <a:pt x="152067" y="214636"/>
                  </a:lnTo>
                  <a:lnTo>
                    <a:pt x="139779" y="214541"/>
                  </a:lnTo>
                  <a:lnTo>
                    <a:pt x="123101" y="225019"/>
                  </a:lnTo>
                  <a:lnTo>
                    <a:pt x="120501" y="238640"/>
                  </a:lnTo>
                  <a:lnTo>
                    <a:pt x="114386" y="244526"/>
                  </a:lnTo>
                  <a:lnTo>
                    <a:pt x="97774" y="244307"/>
                  </a:lnTo>
                  <a:lnTo>
                    <a:pt x="87316" y="251327"/>
                  </a:lnTo>
                  <a:lnTo>
                    <a:pt x="87449" y="262566"/>
                  </a:lnTo>
                  <a:lnTo>
                    <a:pt x="74533" y="270281"/>
                  </a:lnTo>
                  <a:lnTo>
                    <a:pt x="59798" y="267662"/>
                  </a:lnTo>
                  <a:lnTo>
                    <a:pt x="41939" y="277016"/>
                  </a:lnTo>
                  <a:lnTo>
                    <a:pt x="29594" y="278587"/>
                  </a:lnTo>
                  <a:lnTo>
                    <a:pt x="20879" y="259194"/>
                  </a:lnTo>
                  <a:lnTo>
                    <a:pt x="0" y="213084"/>
                  </a:lnTo>
                  <a:lnTo>
                    <a:pt x="80115" y="184918"/>
                  </a:lnTo>
                  <a:lnTo>
                    <a:pt x="97917" y="128035"/>
                  </a:lnTo>
                  <a:lnTo>
                    <a:pt x="85677" y="107699"/>
                  </a:lnTo>
                  <a:lnTo>
                    <a:pt x="86373" y="96088"/>
                  </a:lnTo>
                  <a:lnTo>
                    <a:pt x="94155" y="84125"/>
                  </a:lnTo>
                  <a:lnTo>
                    <a:pt x="94231" y="72266"/>
                  </a:lnTo>
                  <a:lnTo>
                    <a:pt x="106318" y="66542"/>
                  </a:lnTo>
                  <a:lnTo>
                    <a:pt x="101594" y="62494"/>
                  </a:lnTo>
                  <a:lnTo>
                    <a:pt x="103775" y="43472"/>
                  </a:lnTo>
                  <a:lnTo>
                    <a:pt x="117424" y="43358"/>
                  </a:lnTo>
                  <a:lnTo>
                    <a:pt x="129397" y="63313"/>
                  </a:lnTo>
                  <a:lnTo>
                    <a:pt x="144304" y="73866"/>
                  </a:lnTo>
                  <a:lnTo>
                    <a:pt x="163897" y="77657"/>
                  </a:lnTo>
                  <a:lnTo>
                    <a:pt x="179708" y="82944"/>
                  </a:lnTo>
                  <a:lnTo>
                    <a:pt x="191767" y="99517"/>
                  </a:lnTo>
                  <a:lnTo>
                    <a:pt x="198968" y="109090"/>
                  </a:lnTo>
                  <a:lnTo>
                    <a:pt x="208531" y="112728"/>
                  </a:lnTo>
                  <a:lnTo>
                    <a:pt x="208474" y="119139"/>
                  </a:lnTo>
                  <a:lnTo>
                    <a:pt x="198749" y="136207"/>
                  </a:lnTo>
                  <a:lnTo>
                    <a:pt x="194482" y="144218"/>
                  </a:lnTo>
                  <a:lnTo>
                    <a:pt x="183223" y="153343"/>
                  </a:lnTo>
                  <a:close/>
                  <a:moveTo>
                    <a:pt x="117263" y="14802"/>
                  </a:moveTo>
                  <a:lnTo>
                    <a:pt x="113786" y="20155"/>
                  </a:lnTo>
                  <a:lnTo>
                    <a:pt x="108699" y="10087"/>
                  </a:lnTo>
                  <a:lnTo>
                    <a:pt x="116481" y="0"/>
                  </a:lnTo>
                  <a:lnTo>
                    <a:pt x="119786" y="2581"/>
                  </a:lnTo>
                  <a:lnTo>
                    <a:pt x="117263" y="148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4" name="Forme libre : forme 5773">
              <a:extLst>
                <a:ext uri="{FF2B5EF4-FFF2-40B4-BE49-F238E27FC236}">
                  <a16:creationId xmlns:a16="http://schemas.microsoft.com/office/drawing/2014/main" id="{8D9BB2B2-C4FE-E294-23E3-F7686664472D}"/>
                </a:ext>
              </a:extLst>
            </p:cNvPr>
            <p:cNvSpPr/>
            <p:nvPr/>
          </p:nvSpPr>
          <p:spPr>
            <a:xfrm>
              <a:off x="3605155" y="4486460"/>
              <a:ext cx="152847" cy="64131"/>
            </a:xfrm>
            <a:custGeom>
              <a:avLst/>
              <a:gdLst>
                <a:gd name="connsiteX0" fmla="*/ 135789 w 152847"/>
                <a:gd name="connsiteY0" fmla="*/ 64046 h 64131"/>
                <a:gd name="connsiteX1" fmla="*/ 126883 w 152847"/>
                <a:gd name="connsiteY1" fmla="*/ 56331 h 64131"/>
                <a:gd name="connsiteX2" fmla="*/ 121158 w 152847"/>
                <a:gd name="connsiteY2" fmla="*/ 41872 h 64131"/>
                <a:gd name="connsiteX3" fmla="*/ 127759 w 152847"/>
                <a:gd name="connsiteY3" fmla="*/ 34719 h 64131"/>
                <a:gd name="connsiteX4" fmla="*/ 120996 w 152847"/>
                <a:gd name="connsiteY4" fmla="*/ 32871 h 64131"/>
                <a:gd name="connsiteX5" fmla="*/ 116005 w 152847"/>
                <a:gd name="connsiteY5" fmla="*/ 24012 h 64131"/>
                <a:gd name="connsiteX6" fmla="*/ 102699 w 152847"/>
                <a:gd name="connsiteY6" fmla="*/ 16555 h 64131"/>
                <a:gd name="connsiteX7" fmla="*/ 91021 w 152847"/>
                <a:gd name="connsiteY7" fmla="*/ 18259 h 64131"/>
                <a:gd name="connsiteX8" fmla="*/ 85601 w 152847"/>
                <a:gd name="connsiteY8" fmla="*/ 27594 h 64131"/>
                <a:gd name="connsiteX9" fmla="*/ 74809 w 152847"/>
                <a:gd name="connsiteY9" fmla="*/ 34337 h 64131"/>
                <a:gd name="connsiteX10" fmla="*/ 68990 w 152847"/>
                <a:gd name="connsiteY10" fmla="*/ 35271 h 64131"/>
                <a:gd name="connsiteX11" fmla="*/ 66370 w 152847"/>
                <a:gd name="connsiteY11" fmla="*/ 40853 h 64131"/>
                <a:gd name="connsiteX12" fmla="*/ 79115 w 152847"/>
                <a:gd name="connsiteY12" fmla="*/ 55388 h 64131"/>
                <a:gd name="connsiteX13" fmla="*/ 71819 w 152847"/>
                <a:gd name="connsiteY13" fmla="*/ 58807 h 64131"/>
                <a:gd name="connsiteX14" fmla="*/ 67961 w 152847"/>
                <a:gd name="connsiteY14" fmla="*/ 62770 h 64131"/>
                <a:gd name="connsiteX15" fmla="*/ 55531 w 152847"/>
                <a:gd name="connsiteY15" fmla="*/ 64132 h 64131"/>
                <a:gd name="connsiteX16" fmla="*/ 50911 w 152847"/>
                <a:gd name="connsiteY16" fmla="*/ 48149 h 64131"/>
                <a:gd name="connsiteX17" fmla="*/ 47434 w 152847"/>
                <a:gd name="connsiteY17" fmla="*/ 52702 h 64131"/>
                <a:gd name="connsiteX18" fmla="*/ 38624 w 152847"/>
                <a:gd name="connsiteY18" fmla="*/ 51121 h 64131"/>
                <a:gd name="connsiteX19" fmla="*/ 33242 w 152847"/>
                <a:gd name="connsiteY19" fmla="*/ 40348 h 64131"/>
                <a:gd name="connsiteX20" fmla="*/ 22288 w 152847"/>
                <a:gd name="connsiteY20" fmla="*/ 38567 h 64131"/>
                <a:gd name="connsiteX21" fmla="*/ 15354 w 152847"/>
                <a:gd name="connsiteY21" fmla="*/ 35433 h 64131"/>
                <a:gd name="connsiteX22" fmla="*/ 3896 w 152847"/>
                <a:gd name="connsiteY22" fmla="*/ 35471 h 64131"/>
                <a:gd name="connsiteX23" fmla="*/ 3067 w 152847"/>
                <a:gd name="connsiteY23" fmla="*/ 41291 h 64131"/>
                <a:gd name="connsiteX24" fmla="*/ 0 w 152847"/>
                <a:gd name="connsiteY24" fmla="*/ 37233 h 64131"/>
                <a:gd name="connsiteX25" fmla="*/ 1410 w 152847"/>
                <a:gd name="connsiteY25" fmla="*/ 31918 h 64131"/>
                <a:gd name="connsiteX26" fmla="*/ 3639 w 152847"/>
                <a:gd name="connsiteY26" fmla="*/ 26479 h 64131"/>
                <a:gd name="connsiteX27" fmla="*/ 2591 w 152847"/>
                <a:gd name="connsiteY27" fmla="*/ 21622 h 64131"/>
                <a:gd name="connsiteX28" fmla="*/ 6591 w 152847"/>
                <a:gd name="connsiteY28" fmla="*/ 18440 h 64131"/>
                <a:gd name="connsiteX29" fmla="*/ 1029 w 152847"/>
                <a:gd name="connsiteY29" fmla="*/ 14449 h 64131"/>
                <a:gd name="connsiteX30" fmla="*/ 876 w 152847"/>
                <a:gd name="connsiteY30" fmla="*/ 3629 h 64131"/>
                <a:gd name="connsiteX31" fmla="*/ 11211 w 152847"/>
                <a:gd name="connsiteY31" fmla="*/ 1219 h 64131"/>
                <a:gd name="connsiteX32" fmla="*/ 20803 w 152847"/>
                <a:gd name="connsiteY32" fmla="*/ 10868 h 64131"/>
                <a:gd name="connsiteX33" fmla="*/ 20250 w 152847"/>
                <a:gd name="connsiteY33" fmla="*/ 16564 h 64131"/>
                <a:gd name="connsiteX34" fmla="*/ 30909 w 152847"/>
                <a:gd name="connsiteY34" fmla="*/ 17774 h 64131"/>
                <a:gd name="connsiteX35" fmla="*/ 33433 w 152847"/>
                <a:gd name="connsiteY35" fmla="*/ 15583 h 64131"/>
                <a:gd name="connsiteX36" fmla="*/ 40767 w 152847"/>
                <a:gd name="connsiteY36" fmla="*/ 22184 h 64131"/>
                <a:gd name="connsiteX37" fmla="*/ 53912 w 152847"/>
                <a:gd name="connsiteY37" fmla="*/ 20241 h 64131"/>
                <a:gd name="connsiteX38" fmla="*/ 65265 w 152847"/>
                <a:gd name="connsiteY38" fmla="*/ 13459 h 64131"/>
                <a:gd name="connsiteX39" fmla="*/ 81486 w 152847"/>
                <a:gd name="connsiteY39" fmla="*/ 8039 h 64131"/>
                <a:gd name="connsiteX40" fmla="*/ 90602 w 152847"/>
                <a:gd name="connsiteY40" fmla="*/ 0 h 64131"/>
                <a:gd name="connsiteX41" fmla="*/ 105346 w 152847"/>
                <a:gd name="connsiteY41" fmla="*/ 1581 h 64131"/>
                <a:gd name="connsiteX42" fmla="*/ 104356 w 152847"/>
                <a:gd name="connsiteY42" fmla="*/ 4229 h 64131"/>
                <a:gd name="connsiteX43" fmla="*/ 119243 w 152847"/>
                <a:gd name="connsiteY43" fmla="*/ 5144 h 64131"/>
                <a:gd name="connsiteX44" fmla="*/ 131131 w 152847"/>
                <a:gd name="connsiteY44" fmla="*/ 9792 h 64131"/>
                <a:gd name="connsiteX45" fmla="*/ 139846 w 152847"/>
                <a:gd name="connsiteY45" fmla="*/ 17869 h 64131"/>
                <a:gd name="connsiteX46" fmla="*/ 149895 w 152847"/>
                <a:gd name="connsiteY46" fmla="*/ 25289 h 64131"/>
                <a:gd name="connsiteX47" fmla="*/ 146647 w 152847"/>
                <a:gd name="connsiteY47" fmla="*/ 29213 h 64131"/>
                <a:gd name="connsiteX48" fmla="*/ 152848 w 152847"/>
                <a:gd name="connsiteY48" fmla="*/ 45006 h 64131"/>
                <a:gd name="connsiteX49" fmla="*/ 147809 w 152847"/>
                <a:gd name="connsiteY49" fmla="*/ 52959 h 64131"/>
                <a:gd name="connsiteX50" fmla="*/ 139208 w 152847"/>
                <a:gd name="connsiteY50" fmla="*/ 51044 h 6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52847" h="64131">
                  <a:moveTo>
                    <a:pt x="135789" y="64046"/>
                  </a:moveTo>
                  <a:lnTo>
                    <a:pt x="126883" y="56331"/>
                  </a:lnTo>
                  <a:lnTo>
                    <a:pt x="121158" y="41872"/>
                  </a:lnTo>
                  <a:lnTo>
                    <a:pt x="127759" y="34719"/>
                  </a:lnTo>
                  <a:lnTo>
                    <a:pt x="120996" y="32871"/>
                  </a:lnTo>
                  <a:lnTo>
                    <a:pt x="116005" y="24012"/>
                  </a:lnTo>
                  <a:lnTo>
                    <a:pt x="102699" y="16555"/>
                  </a:lnTo>
                  <a:lnTo>
                    <a:pt x="91021" y="18259"/>
                  </a:lnTo>
                  <a:lnTo>
                    <a:pt x="85601" y="27594"/>
                  </a:lnTo>
                  <a:lnTo>
                    <a:pt x="74809" y="34337"/>
                  </a:lnTo>
                  <a:lnTo>
                    <a:pt x="68990" y="35271"/>
                  </a:lnTo>
                  <a:lnTo>
                    <a:pt x="66370" y="40853"/>
                  </a:lnTo>
                  <a:lnTo>
                    <a:pt x="79115" y="55388"/>
                  </a:lnTo>
                  <a:lnTo>
                    <a:pt x="71819" y="58807"/>
                  </a:lnTo>
                  <a:lnTo>
                    <a:pt x="67961" y="62770"/>
                  </a:lnTo>
                  <a:lnTo>
                    <a:pt x="55531" y="64132"/>
                  </a:lnTo>
                  <a:lnTo>
                    <a:pt x="50911" y="48149"/>
                  </a:lnTo>
                  <a:lnTo>
                    <a:pt x="47434" y="52702"/>
                  </a:lnTo>
                  <a:lnTo>
                    <a:pt x="38624" y="51121"/>
                  </a:lnTo>
                  <a:lnTo>
                    <a:pt x="33242" y="40348"/>
                  </a:lnTo>
                  <a:lnTo>
                    <a:pt x="22288" y="38567"/>
                  </a:lnTo>
                  <a:lnTo>
                    <a:pt x="15354" y="35433"/>
                  </a:lnTo>
                  <a:lnTo>
                    <a:pt x="3896" y="35471"/>
                  </a:lnTo>
                  <a:lnTo>
                    <a:pt x="3067" y="41291"/>
                  </a:lnTo>
                  <a:lnTo>
                    <a:pt x="0" y="37233"/>
                  </a:lnTo>
                  <a:lnTo>
                    <a:pt x="1410" y="31918"/>
                  </a:lnTo>
                  <a:lnTo>
                    <a:pt x="3639" y="26479"/>
                  </a:lnTo>
                  <a:lnTo>
                    <a:pt x="2591" y="21622"/>
                  </a:lnTo>
                  <a:lnTo>
                    <a:pt x="6591" y="18440"/>
                  </a:lnTo>
                  <a:lnTo>
                    <a:pt x="1029" y="14449"/>
                  </a:lnTo>
                  <a:lnTo>
                    <a:pt x="876" y="3629"/>
                  </a:lnTo>
                  <a:lnTo>
                    <a:pt x="11211" y="1219"/>
                  </a:lnTo>
                  <a:lnTo>
                    <a:pt x="20803" y="10868"/>
                  </a:lnTo>
                  <a:lnTo>
                    <a:pt x="20250" y="16564"/>
                  </a:lnTo>
                  <a:lnTo>
                    <a:pt x="30909" y="17774"/>
                  </a:lnTo>
                  <a:lnTo>
                    <a:pt x="33433" y="15583"/>
                  </a:lnTo>
                  <a:lnTo>
                    <a:pt x="40767" y="22184"/>
                  </a:lnTo>
                  <a:lnTo>
                    <a:pt x="53912" y="20241"/>
                  </a:lnTo>
                  <a:lnTo>
                    <a:pt x="65265" y="13459"/>
                  </a:lnTo>
                  <a:lnTo>
                    <a:pt x="81486" y="8039"/>
                  </a:lnTo>
                  <a:lnTo>
                    <a:pt x="90602" y="0"/>
                  </a:lnTo>
                  <a:lnTo>
                    <a:pt x="105346" y="1581"/>
                  </a:lnTo>
                  <a:lnTo>
                    <a:pt x="104356" y="4229"/>
                  </a:lnTo>
                  <a:lnTo>
                    <a:pt x="119243" y="5144"/>
                  </a:lnTo>
                  <a:lnTo>
                    <a:pt x="131131" y="9792"/>
                  </a:lnTo>
                  <a:lnTo>
                    <a:pt x="139846" y="17869"/>
                  </a:lnTo>
                  <a:lnTo>
                    <a:pt x="149895" y="25289"/>
                  </a:lnTo>
                  <a:lnTo>
                    <a:pt x="146647" y="29213"/>
                  </a:lnTo>
                  <a:lnTo>
                    <a:pt x="152848" y="45006"/>
                  </a:lnTo>
                  <a:lnTo>
                    <a:pt x="147809" y="52959"/>
                  </a:lnTo>
                  <a:lnTo>
                    <a:pt x="139208" y="510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5" name="Forme libre : forme 5774">
              <a:extLst>
                <a:ext uri="{FF2B5EF4-FFF2-40B4-BE49-F238E27FC236}">
                  <a16:creationId xmlns:a16="http://schemas.microsoft.com/office/drawing/2014/main" id="{9C0C4F56-8FDD-F620-75DA-5CB9A528074A}"/>
                </a:ext>
              </a:extLst>
            </p:cNvPr>
            <p:cNvSpPr/>
            <p:nvPr/>
          </p:nvSpPr>
          <p:spPr>
            <a:xfrm>
              <a:off x="3646684" y="4744168"/>
              <a:ext cx="340395" cy="493871"/>
            </a:xfrm>
            <a:custGeom>
              <a:avLst/>
              <a:gdLst>
                <a:gd name="connsiteX0" fmla="*/ 315687 w 340395"/>
                <a:gd name="connsiteY0" fmla="*/ 472440 h 493871"/>
                <a:gd name="connsiteX1" fmla="*/ 308524 w 340395"/>
                <a:gd name="connsiteY1" fmla="*/ 486737 h 493871"/>
                <a:gd name="connsiteX2" fmla="*/ 294789 w 340395"/>
                <a:gd name="connsiteY2" fmla="*/ 493871 h 493871"/>
                <a:gd name="connsiteX3" fmla="*/ 268015 w 340395"/>
                <a:gd name="connsiteY3" fmla="*/ 477841 h 493871"/>
                <a:gd name="connsiteX4" fmla="*/ 265700 w 340395"/>
                <a:gd name="connsiteY4" fmla="*/ 466420 h 493871"/>
                <a:gd name="connsiteX5" fmla="*/ 212751 w 340395"/>
                <a:gd name="connsiteY5" fmla="*/ 438569 h 493871"/>
                <a:gd name="connsiteX6" fmla="*/ 164859 w 340395"/>
                <a:gd name="connsiteY6" fmla="*/ 408394 h 493871"/>
                <a:gd name="connsiteX7" fmla="*/ 144256 w 340395"/>
                <a:gd name="connsiteY7" fmla="*/ 391468 h 493871"/>
                <a:gd name="connsiteX8" fmla="*/ 133198 w 340395"/>
                <a:gd name="connsiteY8" fmla="*/ 368846 h 493871"/>
                <a:gd name="connsiteX9" fmla="*/ 137579 w 340395"/>
                <a:gd name="connsiteY9" fmla="*/ 360969 h 493871"/>
                <a:gd name="connsiteX10" fmla="*/ 114967 w 340395"/>
                <a:gd name="connsiteY10" fmla="*/ 325250 h 493871"/>
                <a:gd name="connsiteX11" fmla="*/ 88630 w 340395"/>
                <a:gd name="connsiteY11" fmla="*/ 275320 h 493871"/>
                <a:gd name="connsiteX12" fmla="*/ 63398 w 340395"/>
                <a:gd name="connsiteY12" fmla="*/ 221770 h 493871"/>
                <a:gd name="connsiteX13" fmla="*/ 52483 w 340395"/>
                <a:gd name="connsiteY13" fmla="*/ 209560 h 493871"/>
                <a:gd name="connsiteX14" fmla="*/ 44072 w 340395"/>
                <a:gd name="connsiteY14" fmla="*/ 189852 h 493871"/>
                <a:gd name="connsiteX15" fmla="*/ 23327 w 340395"/>
                <a:gd name="connsiteY15" fmla="*/ 172412 h 493871"/>
                <a:gd name="connsiteX16" fmla="*/ 4296 w 340395"/>
                <a:gd name="connsiteY16" fmla="*/ 161601 h 493871"/>
                <a:gd name="connsiteX17" fmla="*/ 12945 w 340395"/>
                <a:gd name="connsiteY17" fmla="*/ 149695 h 493871"/>
                <a:gd name="connsiteX18" fmla="*/ 0 w 340395"/>
                <a:gd name="connsiteY18" fmla="*/ 124292 h 493871"/>
                <a:gd name="connsiteX19" fmla="*/ 8306 w 340395"/>
                <a:gd name="connsiteY19" fmla="*/ 105651 h 493871"/>
                <a:gd name="connsiteX20" fmla="*/ 29604 w 340395"/>
                <a:gd name="connsiteY20" fmla="*/ 88868 h 493871"/>
                <a:gd name="connsiteX21" fmla="*/ 32766 w 340395"/>
                <a:gd name="connsiteY21" fmla="*/ 99927 h 493871"/>
                <a:gd name="connsiteX22" fmla="*/ 25146 w 340395"/>
                <a:gd name="connsiteY22" fmla="*/ 106261 h 493871"/>
                <a:gd name="connsiteX23" fmla="*/ 25870 w 340395"/>
                <a:gd name="connsiteY23" fmla="*/ 116014 h 493871"/>
                <a:gd name="connsiteX24" fmla="*/ 36909 w 340395"/>
                <a:gd name="connsiteY24" fmla="*/ 113890 h 493871"/>
                <a:gd name="connsiteX25" fmla="*/ 47692 w 340395"/>
                <a:gd name="connsiteY25" fmla="*/ 116767 h 493871"/>
                <a:gd name="connsiteX26" fmla="*/ 58903 w 340395"/>
                <a:gd name="connsiteY26" fmla="*/ 130207 h 493871"/>
                <a:gd name="connsiteX27" fmla="*/ 74000 w 340395"/>
                <a:gd name="connsiteY27" fmla="*/ 119253 h 493871"/>
                <a:gd name="connsiteX28" fmla="*/ 79058 w 340395"/>
                <a:gd name="connsiteY28" fmla="*/ 101317 h 493871"/>
                <a:gd name="connsiteX29" fmla="*/ 95421 w 340395"/>
                <a:gd name="connsiteY29" fmla="*/ 78191 h 493871"/>
                <a:gd name="connsiteX30" fmla="*/ 127530 w 340395"/>
                <a:gd name="connsiteY30" fmla="*/ 67713 h 493871"/>
                <a:gd name="connsiteX31" fmla="*/ 156658 w 340395"/>
                <a:gd name="connsiteY31" fmla="*/ 39919 h 493871"/>
                <a:gd name="connsiteX32" fmla="*/ 164973 w 340395"/>
                <a:gd name="connsiteY32" fmla="*/ 22670 h 493871"/>
                <a:gd name="connsiteX33" fmla="*/ 161239 w 340395"/>
                <a:gd name="connsiteY33" fmla="*/ 2524 h 493871"/>
                <a:gd name="connsiteX34" fmla="*/ 168364 w 340395"/>
                <a:gd name="connsiteY34" fmla="*/ 0 h 493871"/>
                <a:gd name="connsiteX35" fmla="*/ 186128 w 340395"/>
                <a:gd name="connsiteY35" fmla="*/ 12573 h 493871"/>
                <a:gd name="connsiteX36" fmla="*/ 194653 w 340395"/>
                <a:gd name="connsiteY36" fmla="*/ 25089 h 493871"/>
                <a:gd name="connsiteX37" fmla="*/ 207016 w 340395"/>
                <a:gd name="connsiteY37" fmla="*/ 31928 h 493871"/>
                <a:gd name="connsiteX38" fmla="*/ 222752 w 340395"/>
                <a:gd name="connsiteY38" fmla="*/ 59750 h 493871"/>
                <a:gd name="connsiteX39" fmla="*/ 242630 w 340395"/>
                <a:gd name="connsiteY39" fmla="*/ 63084 h 493871"/>
                <a:gd name="connsiteX40" fmla="*/ 257346 w 340395"/>
                <a:gd name="connsiteY40" fmla="*/ 56064 h 493871"/>
                <a:gd name="connsiteX41" fmla="*/ 266995 w 340395"/>
                <a:gd name="connsiteY41" fmla="*/ 60655 h 493871"/>
                <a:gd name="connsiteX42" fmla="*/ 283026 w 340395"/>
                <a:gd name="connsiteY42" fmla="*/ 58369 h 493871"/>
                <a:gd name="connsiteX43" fmla="*/ 303476 w 340395"/>
                <a:gd name="connsiteY43" fmla="*/ 70809 h 493871"/>
                <a:gd name="connsiteX44" fmla="*/ 286245 w 340395"/>
                <a:gd name="connsiteY44" fmla="*/ 97850 h 493871"/>
                <a:gd name="connsiteX45" fmla="*/ 294218 w 340395"/>
                <a:gd name="connsiteY45" fmla="*/ 98479 h 493871"/>
                <a:gd name="connsiteX46" fmla="*/ 307591 w 340395"/>
                <a:gd name="connsiteY46" fmla="*/ 112614 h 493871"/>
                <a:gd name="connsiteX47" fmla="*/ 283521 w 340395"/>
                <a:gd name="connsiteY47" fmla="*/ 111366 h 493871"/>
                <a:gd name="connsiteX48" fmla="*/ 279940 w 340395"/>
                <a:gd name="connsiteY48" fmla="*/ 115367 h 493871"/>
                <a:gd name="connsiteX49" fmla="*/ 258051 w 340395"/>
                <a:gd name="connsiteY49" fmla="*/ 120491 h 493871"/>
                <a:gd name="connsiteX50" fmla="*/ 227514 w 340395"/>
                <a:gd name="connsiteY50" fmla="*/ 138608 h 493871"/>
                <a:gd name="connsiteX51" fmla="*/ 225571 w 340395"/>
                <a:gd name="connsiteY51" fmla="*/ 151047 h 493871"/>
                <a:gd name="connsiteX52" fmla="*/ 218761 w 340395"/>
                <a:gd name="connsiteY52" fmla="*/ 160325 h 493871"/>
                <a:gd name="connsiteX53" fmla="*/ 221418 w 340395"/>
                <a:gd name="connsiteY53" fmla="*/ 174765 h 493871"/>
                <a:gd name="connsiteX54" fmla="*/ 205283 w 340395"/>
                <a:gd name="connsiteY54" fmla="*/ 182480 h 493871"/>
                <a:gd name="connsiteX55" fmla="*/ 205302 w 340395"/>
                <a:gd name="connsiteY55" fmla="*/ 193767 h 493871"/>
                <a:gd name="connsiteX56" fmla="*/ 198263 w 340395"/>
                <a:gd name="connsiteY56" fmla="*/ 198663 h 493871"/>
                <a:gd name="connsiteX57" fmla="*/ 209379 w 340395"/>
                <a:gd name="connsiteY57" fmla="*/ 222790 h 493871"/>
                <a:gd name="connsiteX58" fmla="*/ 224218 w 340395"/>
                <a:gd name="connsiteY58" fmla="*/ 239116 h 493871"/>
                <a:gd name="connsiteX59" fmla="*/ 218570 w 340395"/>
                <a:gd name="connsiteY59" fmla="*/ 250660 h 493871"/>
                <a:gd name="connsiteX60" fmla="*/ 236296 w 340395"/>
                <a:gd name="connsiteY60" fmla="*/ 252222 h 493871"/>
                <a:gd name="connsiteX61" fmla="*/ 246393 w 340395"/>
                <a:gd name="connsiteY61" fmla="*/ 266586 h 493871"/>
                <a:gd name="connsiteX62" fmla="*/ 269967 w 340395"/>
                <a:gd name="connsiteY62" fmla="*/ 267281 h 493871"/>
                <a:gd name="connsiteX63" fmla="*/ 291874 w 340395"/>
                <a:gd name="connsiteY63" fmla="*/ 251412 h 493871"/>
                <a:gd name="connsiteX64" fmla="*/ 290094 w 340395"/>
                <a:gd name="connsiteY64" fmla="*/ 292370 h 493871"/>
                <a:gd name="connsiteX65" fmla="*/ 302238 w 340395"/>
                <a:gd name="connsiteY65" fmla="*/ 295475 h 493871"/>
                <a:gd name="connsiteX66" fmla="*/ 317306 w 340395"/>
                <a:gd name="connsiteY66" fmla="*/ 290827 h 493871"/>
                <a:gd name="connsiteX67" fmla="*/ 340395 w 340395"/>
                <a:gd name="connsiteY67" fmla="*/ 334451 h 493871"/>
                <a:gd name="connsiteX68" fmla="*/ 334661 w 340395"/>
                <a:gd name="connsiteY68" fmla="*/ 343662 h 493871"/>
                <a:gd name="connsiteX69" fmla="*/ 333337 w 340395"/>
                <a:gd name="connsiteY69" fmla="*/ 362826 h 493871"/>
                <a:gd name="connsiteX70" fmla="*/ 332823 w 340395"/>
                <a:gd name="connsiteY70" fmla="*/ 386096 h 493871"/>
                <a:gd name="connsiteX71" fmla="*/ 322383 w 340395"/>
                <a:gd name="connsiteY71" fmla="*/ 399812 h 493871"/>
                <a:gd name="connsiteX72" fmla="*/ 327165 w 340395"/>
                <a:gd name="connsiteY72" fmla="*/ 410003 h 493871"/>
                <a:gd name="connsiteX73" fmla="*/ 321040 w 340395"/>
                <a:gd name="connsiteY73" fmla="*/ 419262 h 493871"/>
                <a:gd name="connsiteX74" fmla="*/ 332527 w 340395"/>
                <a:gd name="connsiteY74" fmla="*/ 442474 h 49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40395" h="493871">
                  <a:moveTo>
                    <a:pt x="315687" y="472440"/>
                  </a:moveTo>
                  <a:lnTo>
                    <a:pt x="308524" y="486737"/>
                  </a:lnTo>
                  <a:lnTo>
                    <a:pt x="294789" y="493871"/>
                  </a:lnTo>
                  <a:lnTo>
                    <a:pt x="268015" y="477841"/>
                  </a:lnTo>
                  <a:lnTo>
                    <a:pt x="265700" y="466420"/>
                  </a:lnTo>
                  <a:lnTo>
                    <a:pt x="212751" y="438569"/>
                  </a:lnTo>
                  <a:lnTo>
                    <a:pt x="164859" y="408394"/>
                  </a:lnTo>
                  <a:lnTo>
                    <a:pt x="144256" y="391468"/>
                  </a:lnTo>
                  <a:lnTo>
                    <a:pt x="133198" y="368846"/>
                  </a:lnTo>
                  <a:lnTo>
                    <a:pt x="137579" y="360969"/>
                  </a:lnTo>
                  <a:lnTo>
                    <a:pt x="114967" y="325250"/>
                  </a:lnTo>
                  <a:lnTo>
                    <a:pt x="88630" y="275320"/>
                  </a:lnTo>
                  <a:lnTo>
                    <a:pt x="63398" y="221770"/>
                  </a:lnTo>
                  <a:lnTo>
                    <a:pt x="52483" y="209560"/>
                  </a:lnTo>
                  <a:lnTo>
                    <a:pt x="44072" y="189852"/>
                  </a:lnTo>
                  <a:lnTo>
                    <a:pt x="23327" y="172412"/>
                  </a:lnTo>
                  <a:lnTo>
                    <a:pt x="4296" y="161601"/>
                  </a:lnTo>
                  <a:lnTo>
                    <a:pt x="12945" y="149695"/>
                  </a:lnTo>
                  <a:lnTo>
                    <a:pt x="0" y="124292"/>
                  </a:lnTo>
                  <a:lnTo>
                    <a:pt x="8306" y="105651"/>
                  </a:lnTo>
                  <a:lnTo>
                    <a:pt x="29604" y="88868"/>
                  </a:lnTo>
                  <a:lnTo>
                    <a:pt x="32766" y="99927"/>
                  </a:lnTo>
                  <a:lnTo>
                    <a:pt x="25146" y="106261"/>
                  </a:lnTo>
                  <a:lnTo>
                    <a:pt x="25870" y="116014"/>
                  </a:lnTo>
                  <a:lnTo>
                    <a:pt x="36909" y="113890"/>
                  </a:lnTo>
                  <a:lnTo>
                    <a:pt x="47692" y="116767"/>
                  </a:lnTo>
                  <a:lnTo>
                    <a:pt x="58903" y="130207"/>
                  </a:lnTo>
                  <a:lnTo>
                    <a:pt x="74000" y="119253"/>
                  </a:lnTo>
                  <a:lnTo>
                    <a:pt x="79058" y="101317"/>
                  </a:lnTo>
                  <a:lnTo>
                    <a:pt x="95421" y="78191"/>
                  </a:lnTo>
                  <a:lnTo>
                    <a:pt x="127530" y="67713"/>
                  </a:lnTo>
                  <a:lnTo>
                    <a:pt x="156658" y="39919"/>
                  </a:lnTo>
                  <a:lnTo>
                    <a:pt x="164973" y="22670"/>
                  </a:lnTo>
                  <a:lnTo>
                    <a:pt x="161239" y="2524"/>
                  </a:lnTo>
                  <a:lnTo>
                    <a:pt x="168364" y="0"/>
                  </a:lnTo>
                  <a:lnTo>
                    <a:pt x="186128" y="12573"/>
                  </a:lnTo>
                  <a:lnTo>
                    <a:pt x="194653" y="25089"/>
                  </a:lnTo>
                  <a:lnTo>
                    <a:pt x="207016" y="31928"/>
                  </a:lnTo>
                  <a:lnTo>
                    <a:pt x="222752" y="59750"/>
                  </a:lnTo>
                  <a:lnTo>
                    <a:pt x="242630" y="63084"/>
                  </a:lnTo>
                  <a:lnTo>
                    <a:pt x="257346" y="56064"/>
                  </a:lnTo>
                  <a:lnTo>
                    <a:pt x="266995" y="60655"/>
                  </a:lnTo>
                  <a:lnTo>
                    <a:pt x="283026" y="58369"/>
                  </a:lnTo>
                  <a:lnTo>
                    <a:pt x="303476" y="70809"/>
                  </a:lnTo>
                  <a:lnTo>
                    <a:pt x="286245" y="97850"/>
                  </a:lnTo>
                  <a:lnTo>
                    <a:pt x="294218" y="98479"/>
                  </a:lnTo>
                  <a:lnTo>
                    <a:pt x="307591" y="112614"/>
                  </a:lnTo>
                  <a:lnTo>
                    <a:pt x="283521" y="111366"/>
                  </a:lnTo>
                  <a:lnTo>
                    <a:pt x="279940" y="115367"/>
                  </a:lnTo>
                  <a:lnTo>
                    <a:pt x="258051" y="120491"/>
                  </a:lnTo>
                  <a:lnTo>
                    <a:pt x="227514" y="138608"/>
                  </a:lnTo>
                  <a:lnTo>
                    <a:pt x="225571" y="151047"/>
                  </a:lnTo>
                  <a:lnTo>
                    <a:pt x="218761" y="160325"/>
                  </a:lnTo>
                  <a:lnTo>
                    <a:pt x="221418" y="174765"/>
                  </a:lnTo>
                  <a:lnTo>
                    <a:pt x="205283" y="182480"/>
                  </a:lnTo>
                  <a:lnTo>
                    <a:pt x="205302" y="193767"/>
                  </a:lnTo>
                  <a:lnTo>
                    <a:pt x="198263" y="198663"/>
                  </a:lnTo>
                  <a:lnTo>
                    <a:pt x="209379" y="222790"/>
                  </a:lnTo>
                  <a:lnTo>
                    <a:pt x="224218" y="239116"/>
                  </a:lnTo>
                  <a:lnTo>
                    <a:pt x="218570" y="250660"/>
                  </a:lnTo>
                  <a:lnTo>
                    <a:pt x="236296" y="252222"/>
                  </a:lnTo>
                  <a:lnTo>
                    <a:pt x="246393" y="266586"/>
                  </a:lnTo>
                  <a:lnTo>
                    <a:pt x="269967" y="267281"/>
                  </a:lnTo>
                  <a:lnTo>
                    <a:pt x="291874" y="251412"/>
                  </a:lnTo>
                  <a:lnTo>
                    <a:pt x="290094" y="292370"/>
                  </a:lnTo>
                  <a:lnTo>
                    <a:pt x="302238" y="295475"/>
                  </a:lnTo>
                  <a:lnTo>
                    <a:pt x="317306" y="290827"/>
                  </a:lnTo>
                  <a:lnTo>
                    <a:pt x="340395" y="334451"/>
                  </a:lnTo>
                  <a:lnTo>
                    <a:pt x="334661" y="343662"/>
                  </a:lnTo>
                  <a:lnTo>
                    <a:pt x="333337" y="362826"/>
                  </a:lnTo>
                  <a:lnTo>
                    <a:pt x="332823" y="386096"/>
                  </a:lnTo>
                  <a:lnTo>
                    <a:pt x="322383" y="399812"/>
                  </a:lnTo>
                  <a:lnTo>
                    <a:pt x="327165" y="410003"/>
                  </a:lnTo>
                  <a:lnTo>
                    <a:pt x="321040" y="419262"/>
                  </a:lnTo>
                  <a:lnTo>
                    <a:pt x="332527" y="4424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6" name="Forme libre : forme 5775">
              <a:extLst>
                <a:ext uri="{FF2B5EF4-FFF2-40B4-BE49-F238E27FC236}">
                  <a16:creationId xmlns:a16="http://schemas.microsoft.com/office/drawing/2014/main" id="{FA99DE5E-9434-1B7C-DE02-23B0FC738F8B}"/>
                </a:ext>
              </a:extLst>
            </p:cNvPr>
            <p:cNvSpPr/>
            <p:nvPr/>
          </p:nvSpPr>
          <p:spPr>
            <a:xfrm>
              <a:off x="9586540" y="4808995"/>
              <a:ext cx="401126" cy="217903"/>
            </a:xfrm>
            <a:custGeom>
              <a:avLst/>
              <a:gdLst>
                <a:gd name="connsiteX0" fmla="*/ 397393 w 401126"/>
                <a:gd name="connsiteY0" fmla="*/ 115014 h 217903"/>
                <a:gd name="connsiteX1" fmla="*/ 389915 w 401126"/>
                <a:gd name="connsiteY1" fmla="*/ 117691 h 217903"/>
                <a:gd name="connsiteX2" fmla="*/ 378352 w 401126"/>
                <a:gd name="connsiteY2" fmla="*/ 107432 h 217903"/>
                <a:gd name="connsiteX3" fmla="*/ 366656 w 401126"/>
                <a:gd name="connsiteY3" fmla="*/ 90488 h 217903"/>
                <a:gd name="connsiteX4" fmla="*/ 360902 w 401126"/>
                <a:gd name="connsiteY4" fmla="*/ 70190 h 217903"/>
                <a:gd name="connsiteX5" fmla="*/ 364607 w 401126"/>
                <a:gd name="connsiteY5" fmla="*/ 67608 h 217903"/>
                <a:gd name="connsiteX6" fmla="*/ 367475 w 401126"/>
                <a:gd name="connsiteY6" fmla="*/ 75533 h 217903"/>
                <a:gd name="connsiteX7" fmla="*/ 375571 w 401126"/>
                <a:gd name="connsiteY7" fmla="*/ 81582 h 217903"/>
                <a:gd name="connsiteX8" fmla="*/ 388515 w 401126"/>
                <a:gd name="connsiteY8" fmla="*/ 98488 h 217903"/>
                <a:gd name="connsiteX9" fmla="*/ 401126 w 401126"/>
                <a:gd name="connsiteY9" fmla="*/ 107547 h 217903"/>
                <a:gd name="connsiteX10" fmla="*/ 397393 w 401126"/>
                <a:gd name="connsiteY10" fmla="*/ 115014 h 217903"/>
                <a:gd name="connsiteX11" fmla="*/ 293322 w 401126"/>
                <a:gd name="connsiteY11" fmla="*/ 79210 h 217903"/>
                <a:gd name="connsiteX12" fmla="*/ 279330 w 401126"/>
                <a:gd name="connsiteY12" fmla="*/ 81401 h 217903"/>
                <a:gd name="connsiteX13" fmla="*/ 275120 w 401126"/>
                <a:gd name="connsiteY13" fmla="*/ 88878 h 217903"/>
                <a:gd name="connsiteX14" fmla="*/ 260518 w 401126"/>
                <a:gd name="connsiteY14" fmla="*/ 95364 h 217903"/>
                <a:gd name="connsiteX15" fmla="*/ 246812 w 401126"/>
                <a:gd name="connsiteY15" fmla="*/ 101603 h 217903"/>
                <a:gd name="connsiteX16" fmla="*/ 232629 w 401126"/>
                <a:gd name="connsiteY16" fmla="*/ 101575 h 217903"/>
                <a:gd name="connsiteX17" fmla="*/ 210731 w 401126"/>
                <a:gd name="connsiteY17" fmla="*/ 93831 h 217903"/>
                <a:gd name="connsiteX18" fmla="*/ 195472 w 401126"/>
                <a:gd name="connsiteY18" fmla="*/ 86392 h 217903"/>
                <a:gd name="connsiteX19" fmla="*/ 197682 w 401126"/>
                <a:gd name="connsiteY19" fmla="*/ 78143 h 217903"/>
                <a:gd name="connsiteX20" fmla="*/ 221628 w 401126"/>
                <a:gd name="connsiteY20" fmla="*/ 82039 h 217903"/>
                <a:gd name="connsiteX21" fmla="*/ 236239 w 401126"/>
                <a:gd name="connsiteY21" fmla="*/ 79953 h 217903"/>
                <a:gd name="connsiteX22" fmla="*/ 240268 w 401126"/>
                <a:gd name="connsiteY22" fmla="*/ 67180 h 217903"/>
                <a:gd name="connsiteX23" fmla="*/ 244097 w 401126"/>
                <a:gd name="connsiteY23" fmla="*/ 66523 h 217903"/>
                <a:gd name="connsiteX24" fmla="*/ 246688 w 401126"/>
                <a:gd name="connsiteY24" fmla="*/ 80667 h 217903"/>
                <a:gd name="connsiteX25" fmla="*/ 261928 w 401126"/>
                <a:gd name="connsiteY25" fmla="*/ 78629 h 217903"/>
                <a:gd name="connsiteX26" fmla="*/ 269462 w 401126"/>
                <a:gd name="connsiteY26" fmla="*/ 69513 h 217903"/>
                <a:gd name="connsiteX27" fmla="*/ 284369 w 401126"/>
                <a:gd name="connsiteY27" fmla="*/ 60017 h 217903"/>
                <a:gd name="connsiteX28" fmla="*/ 281426 w 401126"/>
                <a:gd name="connsiteY28" fmla="*/ 44339 h 217903"/>
                <a:gd name="connsiteX29" fmla="*/ 297428 w 401126"/>
                <a:gd name="connsiteY29" fmla="*/ 43834 h 217903"/>
                <a:gd name="connsiteX30" fmla="*/ 302819 w 401126"/>
                <a:gd name="connsiteY30" fmla="*/ 48196 h 217903"/>
                <a:gd name="connsiteX31" fmla="*/ 302276 w 401126"/>
                <a:gd name="connsiteY31" fmla="*/ 62960 h 217903"/>
                <a:gd name="connsiteX32" fmla="*/ 293322 w 401126"/>
                <a:gd name="connsiteY32" fmla="*/ 79210 h 217903"/>
                <a:gd name="connsiteX33" fmla="*/ 165363 w 401126"/>
                <a:gd name="connsiteY33" fmla="*/ 130207 h 217903"/>
                <a:gd name="connsiteX34" fmla="*/ 189214 w 401126"/>
                <a:gd name="connsiteY34" fmla="*/ 147771 h 217903"/>
                <a:gd name="connsiteX35" fmla="*/ 206550 w 401126"/>
                <a:gd name="connsiteY35" fmla="*/ 176222 h 217903"/>
                <a:gd name="connsiteX36" fmla="*/ 221847 w 401126"/>
                <a:gd name="connsiteY36" fmla="*/ 175327 h 217903"/>
                <a:gd name="connsiteX37" fmla="*/ 220770 w 401126"/>
                <a:gd name="connsiteY37" fmla="*/ 187233 h 217903"/>
                <a:gd name="connsiteX38" fmla="*/ 241392 w 401126"/>
                <a:gd name="connsiteY38" fmla="*/ 191805 h 217903"/>
                <a:gd name="connsiteX39" fmla="*/ 233382 w 401126"/>
                <a:gd name="connsiteY39" fmla="*/ 196882 h 217903"/>
                <a:gd name="connsiteX40" fmla="*/ 261757 w 401126"/>
                <a:gd name="connsiteY40" fmla="*/ 208216 h 217903"/>
                <a:gd name="connsiteX41" fmla="*/ 258794 w 401126"/>
                <a:gd name="connsiteY41" fmla="*/ 216017 h 217903"/>
                <a:gd name="connsiteX42" fmla="*/ 241106 w 401126"/>
                <a:gd name="connsiteY42" fmla="*/ 217903 h 217903"/>
                <a:gd name="connsiteX43" fmla="*/ 234543 w 401126"/>
                <a:gd name="connsiteY43" fmla="*/ 210912 h 217903"/>
                <a:gd name="connsiteX44" fmla="*/ 211598 w 401126"/>
                <a:gd name="connsiteY44" fmla="*/ 207883 h 217903"/>
                <a:gd name="connsiteX45" fmla="*/ 184623 w 401126"/>
                <a:gd name="connsiteY45" fmla="*/ 203825 h 217903"/>
                <a:gd name="connsiteX46" fmla="*/ 163849 w 401126"/>
                <a:gd name="connsiteY46" fmla="*/ 186642 h 217903"/>
                <a:gd name="connsiteX47" fmla="*/ 148694 w 401126"/>
                <a:gd name="connsiteY47" fmla="*/ 171860 h 217903"/>
                <a:gd name="connsiteX48" fmla="*/ 134817 w 401126"/>
                <a:gd name="connsiteY48" fmla="*/ 148380 h 217903"/>
                <a:gd name="connsiteX49" fmla="*/ 99984 w 401126"/>
                <a:gd name="connsiteY49" fmla="*/ 136674 h 217903"/>
                <a:gd name="connsiteX50" fmla="*/ 77362 w 401126"/>
                <a:gd name="connsiteY50" fmla="*/ 144313 h 217903"/>
                <a:gd name="connsiteX51" fmla="*/ 61055 w 401126"/>
                <a:gd name="connsiteY51" fmla="*/ 153162 h 217903"/>
                <a:gd name="connsiteX52" fmla="*/ 64455 w 401126"/>
                <a:gd name="connsiteY52" fmla="*/ 172955 h 217903"/>
                <a:gd name="connsiteX53" fmla="*/ 43482 w 401126"/>
                <a:gd name="connsiteY53" fmla="*/ 182194 h 217903"/>
                <a:gd name="connsiteX54" fmla="*/ 28527 w 401126"/>
                <a:gd name="connsiteY54" fmla="*/ 177698 h 217903"/>
                <a:gd name="connsiteX55" fmla="*/ 905 w 401126"/>
                <a:gd name="connsiteY55" fmla="*/ 176574 h 217903"/>
                <a:gd name="connsiteX56" fmla="*/ 448 w 401126"/>
                <a:gd name="connsiteY56" fmla="*/ 89354 h 217903"/>
                <a:gd name="connsiteX57" fmla="*/ 0 w 401126"/>
                <a:gd name="connsiteY57" fmla="*/ 2648 h 217903"/>
                <a:gd name="connsiteX58" fmla="*/ 46339 w 401126"/>
                <a:gd name="connsiteY58" fmla="*/ 20946 h 217903"/>
                <a:gd name="connsiteX59" fmla="*/ 95717 w 401126"/>
                <a:gd name="connsiteY59" fmla="*/ 36157 h 217903"/>
                <a:gd name="connsiteX60" fmla="*/ 114119 w 401126"/>
                <a:gd name="connsiteY60" fmla="*/ 49777 h 217903"/>
                <a:gd name="connsiteX61" fmla="*/ 128997 w 401126"/>
                <a:gd name="connsiteY61" fmla="*/ 63160 h 217903"/>
                <a:gd name="connsiteX62" fmla="*/ 133055 w 401126"/>
                <a:gd name="connsiteY62" fmla="*/ 78848 h 217903"/>
                <a:gd name="connsiteX63" fmla="*/ 177555 w 401126"/>
                <a:gd name="connsiteY63" fmla="*/ 95326 h 217903"/>
                <a:gd name="connsiteX64" fmla="*/ 184052 w 401126"/>
                <a:gd name="connsiteY64" fmla="*/ 109480 h 217903"/>
                <a:gd name="connsiteX65" fmla="*/ 159477 w 401126"/>
                <a:gd name="connsiteY65" fmla="*/ 112357 h 217903"/>
                <a:gd name="connsiteX66" fmla="*/ 165363 w 401126"/>
                <a:gd name="connsiteY66" fmla="*/ 130207 h 217903"/>
                <a:gd name="connsiteX67" fmla="*/ 324222 w 401126"/>
                <a:gd name="connsiteY67" fmla="*/ 53159 h 217903"/>
                <a:gd name="connsiteX68" fmla="*/ 315868 w 401126"/>
                <a:gd name="connsiteY68" fmla="*/ 60255 h 217903"/>
                <a:gd name="connsiteX69" fmla="*/ 310839 w 401126"/>
                <a:gd name="connsiteY69" fmla="*/ 44548 h 217903"/>
                <a:gd name="connsiteX70" fmla="*/ 304629 w 401126"/>
                <a:gd name="connsiteY70" fmla="*/ 34271 h 217903"/>
                <a:gd name="connsiteX71" fmla="*/ 292532 w 401126"/>
                <a:gd name="connsiteY71" fmla="*/ 25555 h 217903"/>
                <a:gd name="connsiteX72" fmla="*/ 277330 w 401126"/>
                <a:gd name="connsiteY72" fmla="*/ 14221 h 217903"/>
                <a:gd name="connsiteX73" fmla="*/ 258051 w 401126"/>
                <a:gd name="connsiteY73" fmla="*/ 6410 h 217903"/>
                <a:gd name="connsiteX74" fmla="*/ 265471 w 401126"/>
                <a:gd name="connsiteY74" fmla="*/ 0 h 217903"/>
                <a:gd name="connsiteX75" fmla="*/ 279892 w 401126"/>
                <a:gd name="connsiteY75" fmla="*/ 7439 h 217903"/>
                <a:gd name="connsiteX76" fmla="*/ 288970 w 401126"/>
                <a:gd name="connsiteY76" fmla="*/ 13278 h 217903"/>
                <a:gd name="connsiteX77" fmla="*/ 300190 w 401126"/>
                <a:gd name="connsiteY77" fmla="*/ 19650 h 217903"/>
                <a:gd name="connsiteX78" fmla="*/ 310877 w 401126"/>
                <a:gd name="connsiteY78" fmla="*/ 30813 h 217903"/>
                <a:gd name="connsiteX79" fmla="*/ 321021 w 401126"/>
                <a:gd name="connsiteY79" fmla="*/ 39329 h 217903"/>
                <a:gd name="connsiteX80" fmla="*/ 324222 w 401126"/>
                <a:gd name="connsiteY80" fmla="*/ 53159 h 21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401126" h="217903">
                  <a:moveTo>
                    <a:pt x="397393" y="115014"/>
                  </a:moveTo>
                  <a:lnTo>
                    <a:pt x="389915" y="117691"/>
                  </a:lnTo>
                  <a:lnTo>
                    <a:pt x="378352" y="107432"/>
                  </a:lnTo>
                  <a:lnTo>
                    <a:pt x="366656" y="90488"/>
                  </a:lnTo>
                  <a:lnTo>
                    <a:pt x="360902" y="70190"/>
                  </a:lnTo>
                  <a:lnTo>
                    <a:pt x="364607" y="67608"/>
                  </a:lnTo>
                  <a:lnTo>
                    <a:pt x="367475" y="75533"/>
                  </a:lnTo>
                  <a:lnTo>
                    <a:pt x="375571" y="81582"/>
                  </a:lnTo>
                  <a:lnTo>
                    <a:pt x="388515" y="98488"/>
                  </a:lnTo>
                  <a:lnTo>
                    <a:pt x="401126" y="107547"/>
                  </a:lnTo>
                  <a:lnTo>
                    <a:pt x="397393" y="115014"/>
                  </a:lnTo>
                  <a:close/>
                  <a:moveTo>
                    <a:pt x="293322" y="79210"/>
                  </a:moveTo>
                  <a:lnTo>
                    <a:pt x="279330" y="81401"/>
                  </a:lnTo>
                  <a:lnTo>
                    <a:pt x="275120" y="88878"/>
                  </a:lnTo>
                  <a:lnTo>
                    <a:pt x="260518" y="95364"/>
                  </a:lnTo>
                  <a:lnTo>
                    <a:pt x="246812" y="101603"/>
                  </a:lnTo>
                  <a:lnTo>
                    <a:pt x="232629" y="101575"/>
                  </a:lnTo>
                  <a:lnTo>
                    <a:pt x="210731" y="93831"/>
                  </a:lnTo>
                  <a:lnTo>
                    <a:pt x="195472" y="86392"/>
                  </a:lnTo>
                  <a:lnTo>
                    <a:pt x="197682" y="78143"/>
                  </a:lnTo>
                  <a:lnTo>
                    <a:pt x="221628" y="82039"/>
                  </a:lnTo>
                  <a:lnTo>
                    <a:pt x="236239" y="79953"/>
                  </a:lnTo>
                  <a:lnTo>
                    <a:pt x="240268" y="67180"/>
                  </a:lnTo>
                  <a:lnTo>
                    <a:pt x="244097" y="66523"/>
                  </a:lnTo>
                  <a:lnTo>
                    <a:pt x="246688" y="80667"/>
                  </a:lnTo>
                  <a:lnTo>
                    <a:pt x="261928" y="78629"/>
                  </a:lnTo>
                  <a:lnTo>
                    <a:pt x="269462" y="69513"/>
                  </a:lnTo>
                  <a:lnTo>
                    <a:pt x="284369" y="60017"/>
                  </a:lnTo>
                  <a:lnTo>
                    <a:pt x="281426" y="44339"/>
                  </a:lnTo>
                  <a:lnTo>
                    <a:pt x="297428" y="43834"/>
                  </a:lnTo>
                  <a:lnTo>
                    <a:pt x="302819" y="48196"/>
                  </a:lnTo>
                  <a:lnTo>
                    <a:pt x="302276" y="62960"/>
                  </a:lnTo>
                  <a:lnTo>
                    <a:pt x="293322" y="79210"/>
                  </a:lnTo>
                  <a:close/>
                  <a:moveTo>
                    <a:pt x="165363" y="130207"/>
                  </a:moveTo>
                  <a:lnTo>
                    <a:pt x="189214" y="147771"/>
                  </a:lnTo>
                  <a:lnTo>
                    <a:pt x="206550" y="176222"/>
                  </a:lnTo>
                  <a:lnTo>
                    <a:pt x="221847" y="175327"/>
                  </a:lnTo>
                  <a:lnTo>
                    <a:pt x="220770" y="187233"/>
                  </a:lnTo>
                  <a:lnTo>
                    <a:pt x="241392" y="191805"/>
                  </a:lnTo>
                  <a:lnTo>
                    <a:pt x="233382" y="196882"/>
                  </a:lnTo>
                  <a:lnTo>
                    <a:pt x="261757" y="208216"/>
                  </a:lnTo>
                  <a:lnTo>
                    <a:pt x="258794" y="216017"/>
                  </a:lnTo>
                  <a:lnTo>
                    <a:pt x="241106" y="217903"/>
                  </a:lnTo>
                  <a:lnTo>
                    <a:pt x="234543" y="210912"/>
                  </a:lnTo>
                  <a:lnTo>
                    <a:pt x="211598" y="207883"/>
                  </a:lnTo>
                  <a:lnTo>
                    <a:pt x="184623" y="203825"/>
                  </a:lnTo>
                  <a:lnTo>
                    <a:pt x="163849" y="186642"/>
                  </a:lnTo>
                  <a:lnTo>
                    <a:pt x="148694" y="171860"/>
                  </a:lnTo>
                  <a:lnTo>
                    <a:pt x="134817" y="148380"/>
                  </a:lnTo>
                  <a:lnTo>
                    <a:pt x="99984" y="136674"/>
                  </a:lnTo>
                  <a:lnTo>
                    <a:pt x="77362" y="144313"/>
                  </a:lnTo>
                  <a:lnTo>
                    <a:pt x="61055" y="153162"/>
                  </a:lnTo>
                  <a:lnTo>
                    <a:pt x="64455" y="172955"/>
                  </a:lnTo>
                  <a:lnTo>
                    <a:pt x="43482" y="182194"/>
                  </a:lnTo>
                  <a:lnTo>
                    <a:pt x="28527" y="177698"/>
                  </a:lnTo>
                  <a:lnTo>
                    <a:pt x="905" y="176574"/>
                  </a:lnTo>
                  <a:lnTo>
                    <a:pt x="448" y="89354"/>
                  </a:lnTo>
                  <a:lnTo>
                    <a:pt x="0" y="2648"/>
                  </a:lnTo>
                  <a:lnTo>
                    <a:pt x="46339" y="20946"/>
                  </a:lnTo>
                  <a:lnTo>
                    <a:pt x="95717" y="36157"/>
                  </a:lnTo>
                  <a:lnTo>
                    <a:pt x="114119" y="49777"/>
                  </a:lnTo>
                  <a:lnTo>
                    <a:pt x="128997" y="63160"/>
                  </a:lnTo>
                  <a:lnTo>
                    <a:pt x="133055" y="78848"/>
                  </a:lnTo>
                  <a:lnTo>
                    <a:pt x="177555" y="95326"/>
                  </a:lnTo>
                  <a:lnTo>
                    <a:pt x="184052" y="109480"/>
                  </a:lnTo>
                  <a:lnTo>
                    <a:pt x="159477" y="112357"/>
                  </a:lnTo>
                  <a:lnTo>
                    <a:pt x="165363" y="130207"/>
                  </a:lnTo>
                  <a:close/>
                  <a:moveTo>
                    <a:pt x="324222" y="53159"/>
                  </a:moveTo>
                  <a:lnTo>
                    <a:pt x="315868" y="60255"/>
                  </a:lnTo>
                  <a:lnTo>
                    <a:pt x="310839" y="44548"/>
                  </a:lnTo>
                  <a:lnTo>
                    <a:pt x="304629" y="34271"/>
                  </a:lnTo>
                  <a:lnTo>
                    <a:pt x="292532" y="25555"/>
                  </a:lnTo>
                  <a:lnTo>
                    <a:pt x="277330" y="14221"/>
                  </a:lnTo>
                  <a:lnTo>
                    <a:pt x="258051" y="6410"/>
                  </a:lnTo>
                  <a:lnTo>
                    <a:pt x="265471" y="0"/>
                  </a:lnTo>
                  <a:lnTo>
                    <a:pt x="279892" y="7439"/>
                  </a:lnTo>
                  <a:lnTo>
                    <a:pt x="288970" y="13278"/>
                  </a:lnTo>
                  <a:lnTo>
                    <a:pt x="300190" y="19650"/>
                  </a:lnTo>
                  <a:lnTo>
                    <a:pt x="310877" y="30813"/>
                  </a:lnTo>
                  <a:lnTo>
                    <a:pt x="321021" y="39329"/>
                  </a:lnTo>
                  <a:lnTo>
                    <a:pt x="324222" y="5315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7" name="Forme libre : forme 5776">
              <a:extLst>
                <a:ext uri="{FF2B5EF4-FFF2-40B4-BE49-F238E27FC236}">
                  <a16:creationId xmlns:a16="http://schemas.microsoft.com/office/drawing/2014/main" id="{88B35CE7-ADC3-4620-4C62-12CF70520729}"/>
                </a:ext>
              </a:extLst>
            </p:cNvPr>
            <p:cNvSpPr/>
            <p:nvPr/>
          </p:nvSpPr>
          <p:spPr>
            <a:xfrm>
              <a:off x="8950232" y="4242867"/>
              <a:ext cx="250059" cy="351500"/>
            </a:xfrm>
            <a:custGeom>
              <a:avLst/>
              <a:gdLst>
                <a:gd name="connsiteX0" fmla="*/ 245773 w 250059"/>
                <a:gd name="connsiteY0" fmla="*/ 275749 h 351500"/>
                <a:gd name="connsiteX1" fmla="*/ 248488 w 250059"/>
                <a:gd name="connsiteY1" fmla="*/ 293551 h 351500"/>
                <a:gd name="connsiteX2" fmla="*/ 250060 w 250059"/>
                <a:gd name="connsiteY2" fmla="*/ 308562 h 351500"/>
                <a:gd name="connsiteX3" fmla="*/ 240964 w 250059"/>
                <a:gd name="connsiteY3" fmla="*/ 333004 h 351500"/>
                <a:gd name="connsiteX4" fmla="*/ 231210 w 250059"/>
                <a:gd name="connsiteY4" fmla="*/ 305771 h 351500"/>
                <a:gd name="connsiteX5" fmla="*/ 218723 w 250059"/>
                <a:gd name="connsiteY5" fmla="*/ 319335 h 351500"/>
                <a:gd name="connsiteX6" fmla="*/ 227257 w 250059"/>
                <a:gd name="connsiteY6" fmla="*/ 339004 h 351500"/>
                <a:gd name="connsiteX7" fmla="*/ 219599 w 250059"/>
                <a:gd name="connsiteY7" fmla="*/ 351501 h 351500"/>
                <a:gd name="connsiteX8" fmla="*/ 188166 w 250059"/>
                <a:gd name="connsiteY8" fmla="*/ 336023 h 351500"/>
                <a:gd name="connsiteX9" fmla="*/ 180660 w 250059"/>
                <a:gd name="connsiteY9" fmla="*/ 316697 h 351500"/>
                <a:gd name="connsiteX10" fmla="*/ 188805 w 250059"/>
                <a:gd name="connsiteY10" fmla="*/ 303990 h 351500"/>
                <a:gd name="connsiteX11" fmla="*/ 171888 w 250059"/>
                <a:gd name="connsiteY11" fmla="*/ 291332 h 351500"/>
                <a:gd name="connsiteX12" fmla="*/ 163496 w 250059"/>
                <a:gd name="connsiteY12" fmla="*/ 302428 h 351500"/>
                <a:gd name="connsiteX13" fmla="*/ 150933 w 250059"/>
                <a:gd name="connsiteY13" fmla="*/ 301400 h 351500"/>
                <a:gd name="connsiteX14" fmla="*/ 131169 w 250059"/>
                <a:gd name="connsiteY14" fmla="*/ 316316 h 351500"/>
                <a:gd name="connsiteX15" fmla="*/ 126749 w 250059"/>
                <a:gd name="connsiteY15" fmla="*/ 308486 h 351500"/>
                <a:gd name="connsiteX16" fmla="*/ 137236 w 250059"/>
                <a:gd name="connsiteY16" fmla="*/ 285931 h 351500"/>
                <a:gd name="connsiteX17" fmla="*/ 154057 w 250059"/>
                <a:gd name="connsiteY17" fmla="*/ 278387 h 351500"/>
                <a:gd name="connsiteX18" fmla="*/ 168621 w 250059"/>
                <a:gd name="connsiteY18" fmla="*/ 268272 h 351500"/>
                <a:gd name="connsiteX19" fmla="*/ 178061 w 250059"/>
                <a:gd name="connsiteY19" fmla="*/ 280416 h 351500"/>
                <a:gd name="connsiteX20" fmla="*/ 198368 w 250059"/>
                <a:gd name="connsiteY20" fmla="*/ 273072 h 351500"/>
                <a:gd name="connsiteX21" fmla="*/ 202721 w 250059"/>
                <a:gd name="connsiteY21" fmla="*/ 261099 h 351500"/>
                <a:gd name="connsiteX22" fmla="*/ 221599 w 250059"/>
                <a:gd name="connsiteY22" fmla="*/ 260385 h 351500"/>
                <a:gd name="connsiteX23" fmla="*/ 220009 w 250059"/>
                <a:gd name="connsiteY23" fmla="*/ 239582 h 351500"/>
                <a:gd name="connsiteX24" fmla="*/ 241659 w 250059"/>
                <a:gd name="connsiteY24" fmla="*/ 252346 h 351500"/>
                <a:gd name="connsiteX25" fmla="*/ 243897 w 250059"/>
                <a:gd name="connsiteY25" fmla="*/ 265871 h 351500"/>
                <a:gd name="connsiteX26" fmla="*/ 245773 w 250059"/>
                <a:gd name="connsiteY26" fmla="*/ 275749 h 351500"/>
                <a:gd name="connsiteX27" fmla="*/ 181833 w 250059"/>
                <a:gd name="connsiteY27" fmla="*/ 225619 h 351500"/>
                <a:gd name="connsiteX28" fmla="*/ 172231 w 250059"/>
                <a:gd name="connsiteY28" fmla="*/ 234477 h 351500"/>
                <a:gd name="connsiteX29" fmla="*/ 163868 w 250059"/>
                <a:gd name="connsiteY29" fmla="*/ 251479 h 351500"/>
                <a:gd name="connsiteX30" fmla="*/ 155477 w 250059"/>
                <a:gd name="connsiteY30" fmla="*/ 259432 h 351500"/>
                <a:gd name="connsiteX31" fmla="*/ 139027 w 250059"/>
                <a:gd name="connsiteY31" fmla="*/ 240840 h 351500"/>
                <a:gd name="connsiteX32" fmla="*/ 144523 w 250059"/>
                <a:gd name="connsiteY32" fmla="*/ 233629 h 351500"/>
                <a:gd name="connsiteX33" fmla="*/ 151229 w 250059"/>
                <a:gd name="connsiteY33" fmla="*/ 226085 h 351500"/>
                <a:gd name="connsiteX34" fmla="*/ 154181 w 250059"/>
                <a:gd name="connsiteY34" fmla="*/ 209331 h 351500"/>
                <a:gd name="connsiteX35" fmla="*/ 168907 w 250059"/>
                <a:gd name="connsiteY35" fmla="*/ 207740 h 351500"/>
                <a:gd name="connsiteX36" fmla="*/ 164611 w 250059"/>
                <a:gd name="connsiteY36" fmla="*/ 225914 h 351500"/>
                <a:gd name="connsiteX37" fmla="*/ 184375 w 250059"/>
                <a:gd name="connsiteY37" fmla="*/ 199844 h 351500"/>
                <a:gd name="connsiteX38" fmla="*/ 181833 w 250059"/>
                <a:gd name="connsiteY38" fmla="*/ 225619 h 351500"/>
                <a:gd name="connsiteX39" fmla="*/ 35528 w 250059"/>
                <a:gd name="connsiteY39" fmla="*/ 251536 h 351500"/>
                <a:gd name="connsiteX40" fmla="*/ 0 w 250059"/>
                <a:gd name="connsiteY40" fmla="*/ 277016 h 351500"/>
                <a:gd name="connsiteX41" fmla="*/ 13097 w 250059"/>
                <a:gd name="connsiteY41" fmla="*/ 258242 h 351500"/>
                <a:gd name="connsiteX42" fmla="*/ 32385 w 250059"/>
                <a:gd name="connsiteY42" fmla="*/ 241640 h 351500"/>
                <a:gd name="connsiteX43" fmla="*/ 48425 w 250059"/>
                <a:gd name="connsiteY43" fmla="*/ 222999 h 351500"/>
                <a:gd name="connsiteX44" fmla="*/ 62427 w 250059"/>
                <a:gd name="connsiteY44" fmla="*/ 196158 h 351500"/>
                <a:gd name="connsiteX45" fmla="*/ 67180 w 250059"/>
                <a:gd name="connsiteY45" fmla="*/ 218199 h 351500"/>
                <a:gd name="connsiteX46" fmla="*/ 49549 w 250059"/>
                <a:gd name="connsiteY46" fmla="*/ 233048 h 351500"/>
                <a:gd name="connsiteX47" fmla="*/ 35528 w 250059"/>
                <a:gd name="connsiteY47" fmla="*/ 251536 h 351500"/>
                <a:gd name="connsiteX48" fmla="*/ 125768 w 250059"/>
                <a:gd name="connsiteY48" fmla="*/ 182004 h 351500"/>
                <a:gd name="connsiteX49" fmla="*/ 141808 w 250059"/>
                <a:gd name="connsiteY49" fmla="*/ 190395 h 351500"/>
                <a:gd name="connsiteX50" fmla="*/ 158801 w 250059"/>
                <a:gd name="connsiteY50" fmla="*/ 190357 h 351500"/>
                <a:gd name="connsiteX51" fmla="*/ 158277 w 250059"/>
                <a:gd name="connsiteY51" fmla="*/ 201663 h 351500"/>
                <a:gd name="connsiteX52" fmla="*/ 145914 w 250059"/>
                <a:gd name="connsiteY52" fmla="*/ 213141 h 351500"/>
                <a:gd name="connsiteX53" fmla="*/ 128950 w 250059"/>
                <a:gd name="connsiteY53" fmla="*/ 221247 h 351500"/>
                <a:gd name="connsiteX54" fmla="*/ 128007 w 250059"/>
                <a:gd name="connsiteY54" fmla="*/ 208702 h 351500"/>
                <a:gd name="connsiteX55" fmla="*/ 129902 w 250059"/>
                <a:gd name="connsiteY55" fmla="*/ 194910 h 351500"/>
                <a:gd name="connsiteX56" fmla="*/ 125768 w 250059"/>
                <a:gd name="connsiteY56" fmla="*/ 182004 h 351500"/>
                <a:gd name="connsiteX57" fmla="*/ 222428 w 250059"/>
                <a:gd name="connsiteY57" fmla="*/ 174650 h 351500"/>
                <a:gd name="connsiteX58" fmla="*/ 229934 w 250059"/>
                <a:gd name="connsiteY58" fmla="*/ 204892 h 351500"/>
                <a:gd name="connsiteX59" fmla="*/ 209322 w 250059"/>
                <a:gd name="connsiteY59" fmla="*/ 197720 h 351500"/>
                <a:gd name="connsiteX60" fmla="*/ 209884 w 250059"/>
                <a:gd name="connsiteY60" fmla="*/ 206797 h 351500"/>
                <a:gd name="connsiteX61" fmla="*/ 216427 w 250059"/>
                <a:gd name="connsiteY61" fmla="*/ 223456 h 351500"/>
                <a:gd name="connsiteX62" fmla="*/ 203721 w 250059"/>
                <a:gd name="connsiteY62" fmla="*/ 229495 h 351500"/>
                <a:gd name="connsiteX63" fmla="*/ 202616 w 250059"/>
                <a:gd name="connsiteY63" fmla="*/ 210521 h 351500"/>
                <a:gd name="connsiteX64" fmla="*/ 194567 w 250059"/>
                <a:gd name="connsiteY64" fmla="*/ 209121 h 351500"/>
                <a:gd name="connsiteX65" fmla="*/ 190395 w 250059"/>
                <a:gd name="connsiteY65" fmla="*/ 192748 h 351500"/>
                <a:gd name="connsiteX66" fmla="*/ 206102 w 250059"/>
                <a:gd name="connsiteY66" fmla="*/ 194910 h 351500"/>
                <a:gd name="connsiteX67" fmla="*/ 205759 w 250059"/>
                <a:gd name="connsiteY67" fmla="*/ 184652 h 351500"/>
                <a:gd name="connsiteX68" fmla="*/ 189433 w 250059"/>
                <a:gd name="connsiteY68" fmla="*/ 163925 h 351500"/>
                <a:gd name="connsiteX69" fmla="*/ 215075 w 250059"/>
                <a:gd name="connsiteY69" fmla="*/ 164525 h 351500"/>
                <a:gd name="connsiteX70" fmla="*/ 222428 w 250059"/>
                <a:gd name="connsiteY70" fmla="*/ 174650 h 351500"/>
                <a:gd name="connsiteX71" fmla="*/ 116262 w 250059"/>
                <a:gd name="connsiteY71" fmla="*/ 149990 h 351500"/>
                <a:gd name="connsiteX72" fmla="*/ 109176 w 250059"/>
                <a:gd name="connsiteY72" fmla="*/ 173488 h 351500"/>
                <a:gd name="connsiteX73" fmla="*/ 97746 w 250059"/>
                <a:gd name="connsiteY73" fmla="*/ 159934 h 351500"/>
                <a:gd name="connsiteX74" fmla="*/ 84106 w 250059"/>
                <a:gd name="connsiteY74" fmla="*/ 139179 h 351500"/>
                <a:gd name="connsiteX75" fmla="*/ 106985 w 250059"/>
                <a:gd name="connsiteY75" fmla="*/ 140180 h 351500"/>
                <a:gd name="connsiteX76" fmla="*/ 116262 w 250059"/>
                <a:gd name="connsiteY76" fmla="*/ 149990 h 351500"/>
                <a:gd name="connsiteX77" fmla="*/ 110757 w 250059"/>
                <a:gd name="connsiteY77" fmla="*/ 38 h 351500"/>
                <a:gd name="connsiteX78" fmla="*/ 127225 w 250059"/>
                <a:gd name="connsiteY78" fmla="*/ 8020 h 351500"/>
                <a:gd name="connsiteX79" fmla="*/ 135455 w 250059"/>
                <a:gd name="connsiteY79" fmla="*/ 743 h 351500"/>
                <a:gd name="connsiteX80" fmla="*/ 137884 w 250059"/>
                <a:gd name="connsiteY80" fmla="*/ 7849 h 351500"/>
                <a:gd name="connsiteX81" fmla="*/ 133541 w 250059"/>
                <a:gd name="connsiteY81" fmla="*/ 19421 h 351500"/>
                <a:gd name="connsiteX82" fmla="*/ 142656 w 250059"/>
                <a:gd name="connsiteY82" fmla="*/ 39367 h 351500"/>
                <a:gd name="connsiteX83" fmla="*/ 135627 w 250059"/>
                <a:gd name="connsiteY83" fmla="*/ 62389 h 351500"/>
                <a:gd name="connsiteX84" fmla="*/ 119882 w 250059"/>
                <a:gd name="connsiteY84" fmla="*/ 71542 h 351500"/>
                <a:gd name="connsiteX85" fmla="*/ 115681 w 250059"/>
                <a:gd name="connsiteY85" fmla="*/ 93754 h 351500"/>
                <a:gd name="connsiteX86" fmla="*/ 121654 w 250059"/>
                <a:gd name="connsiteY86" fmla="*/ 115605 h 351500"/>
                <a:gd name="connsiteX87" fmla="*/ 135807 w 250059"/>
                <a:gd name="connsiteY87" fmla="*/ 118624 h 351500"/>
                <a:gd name="connsiteX88" fmla="*/ 147618 w 250059"/>
                <a:gd name="connsiteY88" fmla="*/ 115386 h 351500"/>
                <a:gd name="connsiteX89" fmla="*/ 180975 w 250059"/>
                <a:gd name="connsiteY89" fmla="*/ 130550 h 351500"/>
                <a:gd name="connsiteX90" fmla="*/ 178432 w 250059"/>
                <a:gd name="connsiteY90" fmla="*/ 145409 h 351500"/>
                <a:gd name="connsiteX91" fmla="*/ 187147 w 250059"/>
                <a:gd name="connsiteY91" fmla="*/ 151952 h 351500"/>
                <a:gd name="connsiteX92" fmla="*/ 184366 w 250059"/>
                <a:gd name="connsiteY92" fmla="*/ 164487 h 351500"/>
                <a:gd name="connsiteX93" fmla="*/ 163554 w 250059"/>
                <a:gd name="connsiteY93" fmla="*/ 151133 h 351500"/>
                <a:gd name="connsiteX94" fmla="*/ 153686 w 250059"/>
                <a:gd name="connsiteY94" fmla="*/ 136808 h 351500"/>
                <a:gd name="connsiteX95" fmla="*/ 146809 w 250059"/>
                <a:gd name="connsiteY95" fmla="*/ 146818 h 351500"/>
                <a:gd name="connsiteX96" fmla="*/ 129807 w 250059"/>
                <a:gd name="connsiteY96" fmla="*/ 130483 h 351500"/>
                <a:gd name="connsiteX97" fmla="*/ 105546 w 250059"/>
                <a:gd name="connsiteY97" fmla="*/ 134521 h 351500"/>
                <a:gd name="connsiteX98" fmla="*/ 92250 w 250059"/>
                <a:gd name="connsiteY98" fmla="*/ 128483 h 351500"/>
                <a:gd name="connsiteX99" fmla="*/ 93612 w 250059"/>
                <a:gd name="connsiteY99" fmla="*/ 117177 h 351500"/>
                <a:gd name="connsiteX100" fmla="*/ 101955 w 250059"/>
                <a:gd name="connsiteY100" fmla="*/ 110204 h 351500"/>
                <a:gd name="connsiteX101" fmla="*/ 93983 w 250059"/>
                <a:gd name="connsiteY101" fmla="*/ 103861 h 351500"/>
                <a:gd name="connsiteX102" fmla="*/ 90535 w 250059"/>
                <a:gd name="connsiteY102" fmla="*/ 113747 h 351500"/>
                <a:gd name="connsiteX103" fmla="*/ 77353 w 250059"/>
                <a:gd name="connsiteY103" fmla="*/ 97984 h 351500"/>
                <a:gd name="connsiteX104" fmla="*/ 73352 w 250059"/>
                <a:gd name="connsiteY104" fmla="*/ 86011 h 351500"/>
                <a:gd name="connsiteX105" fmla="*/ 72361 w 250059"/>
                <a:gd name="connsiteY105" fmla="*/ 59589 h 351500"/>
                <a:gd name="connsiteX106" fmla="*/ 83115 w 250059"/>
                <a:gd name="connsiteY106" fmla="*/ 68685 h 351500"/>
                <a:gd name="connsiteX107" fmla="*/ 85877 w 250059"/>
                <a:gd name="connsiteY107" fmla="*/ 25298 h 351500"/>
                <a:gd name="connsiteX108" fmla="*/ 94583 w 250059"/>
                <a:gd name="connsiteY108" fmla="*/ 0 h 351500"/>
                <a:gd name="connsiteX109" fmla="*/ 110757 w 250059"/>
                <a:gd name="connsiteY109" fmla="*/ 38 h 35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250059" h="351500">
                  <a:moveTo>
                    <a:pt x="245773" y="275749"/>
                  </a:moveTo>
                  <a:lnTo>
                    <a:pt x="248488" y="293551"/>
                  </a:lnTo>
                  <a:lnTo>
                    <a:pt x="250060" y="308562"/>
                  </a:lnTo>
                  <a:lnTo>
                    <a:pt x="240964" y="333004"/>
                  </a:lnTo>
                  <a:lnTo>
                    <a:pt x="231210" y="305771"/>
                  </a:lnTo>
                  <a:lnTo>
                    <a:pt x="218723" y="319335"/>
                  </a:lnTo>
                  <a:lnTo>
                    <a:pt x="227257" y="339004"/>
                  </a:lnTo>
                  <a:lnTo>
                    <a:pt x="219599" y="351501"/>
                  </a:lnTo>
                  <a:lnTo>
                    <a:pt x="188166" y="336023"/>
                  </a:lnTo>
                  <a:lnTo>
                    <a:pt x="180660" y="316697"/>
                  </a:lnTo>
                  <a:lnTo>
                    <a:pt x="188805" y="303990"/>
                  </a:lnTo>
                  <a:lnTo>
                    <a:pt x="171888" y="291332"/>
                  </a:lnTo>
                  <a:lnTo>
                    <a:pt x="163496" y="302428"/>
                  </a:lnTo>
                  <a:lnTo>
                    <a:pt x="150933" y="301400"/>
                  </a:lnTo>
                  <a:lnTo>
                    <a:pt x="131169" y="316316"/>
                  </a:lnTo>
                  <a:lnTo>
                    <a:pt x="126749" y="308486"/>
                  </a:lnTo>
                  <a:lnTo>
                    <a:pt x="137236" y="285931"/>
                  </a:lnTo>
                  <a:lnTo>
                    <a:pt x="154057" y="278387"/>
                  </a:lnTo>
                  <a:lnTo>
                    <a:pt x="168621" y="268272"/>
                  </a:lnTo>
                  <a:lnTo>
                    <a:pt x="178061" y="280416"/>
                  </a:lnTo>
                  <a:lnTo>
                    <a:pt x="198368" y="273072"/>
                  </a:lnTo>
                  <a:lnTo>
                    <a:pt x="202721" y="261099"/>
                  </a:lnTo>
                  <a:lnTo>
                    <a:pt x="221599" y="260385"/>
                  </a:lnTo>
                  <a:lnTo>
                    <a:pt x="220009" y="239582"/>
                  </a:lnTo>
                  <a:lnTo>
                    <a:pt x="241659" y="252346"/>
                  </a:lnTo>
                  <a:lnTo>
                    <a:pt x="243897" y="265871"/>
                  </a:lnTo>
                  <a:lnTo>
                    <a:pt x="245773" y="275749"/>
                  </a:lnTo>
                  <a:close/>
                  <a:moveTo>
                    <a:pt x="181833" y="225619"/>
                  </a:moveTo>
                  <a:lnTo>
                    <a:pt x="172231" y="234477"/>
                  </a:lnTo>
                  <a:lnTo>
                    <a:pt x="163868" y="251479"/>
                  </a:lnTo>
                  <a:lnTo>
                    <a:pt x="155477" y="259432"/>
                  </a:lnTo>
                  <a:lnTo>
                    <a:pt x="139027" y="240840"/>
                  </a:lnTo>
                  <a:lnTo>
                    <a:pt x="144523" y="233629"/>
                  </a:lnTo>
                  <a:lnTo>
                    <a:pt x="151229" y="226085"/>
                  </a:lnTo>
                  <a:lnTo>
                    <a:pt x="154181" y="209331"/>
                  </a:lnTo>
                  <a:lnTo>
                    <a:pt x="168907" y="207740"/>
                  </a:lnTo>
                  <a:lnTo>
                    <a:pt x="164611" y="225914"/>
                  </a:lnTo>
                  <a:lnTo>
                    <a:pt x="184375" y="199844"/>
                  </a:lnTo>
                  <a:lnTo>
                    <a:pt x="181833" y="225619"/>
                  </a:lnTo>
                  <a:close/>
                  <a:moveTo>
                    <a:pt x="35528" y="251536"/>
                  </a:moveTo>
                  <a:lnTo>
                    <a:pt x="0" y="277016"/>
                  </a:lnTo>
                  <a:lnTo>
                    <a:pt x="13097" y="258242"/>
                  </a:lnTo>
                  <a:lnTo>
                    <a:pt x="32385" y="241640"/>
                  </a:lnTo>
                  <a:lnTo>
                    <a:pt x="48425" y="222999"/>
                  </a:lnTo>
                  <a:lnTo>
                    <a:pt x="62427" y="196158"/>
                  </a:lnTo>
                  <a:lnTo>
                    <a:pt x="67180" y="218199"/>
                  </a:lnTo>
                  <a:lnTo>
                    <a:pt x="49549" y="233048"/>
                  </a:lnTo>
                  <a:lnTo>
                    <a:pt x="35528" y="251536"/>
                  </a:lnTo>
                  <a:close/>
                  <a:moveTo>
                    <a:pt x="125768" y="182004"/>
                  </a:moveTo>
                  <a:lnTo>
                    <a:pt x="141808" y="190395"/>
                  </a:lnTo>
                  <a:lnTo>
                    <a:pt x="158801" y="190357"/>
                  </a:lnTo>
                  <a:lnTo>
                    <a:pt x="158277" y="201663"/>
                  </a:lnTo>
                  <a:lnTo>
                    <a:pt x="145914" y="213141"/>
                  </a:lnTo>
                  <a:lnTo>
                    <a:pt x="128950" y="221247"/>
                  </a:lnTo>
                  <a:lnTo>
                    <a:pt x="128007" y="208702"/>
                  </a:lnTo>
                  <a:lnTo>
                    <a:pt x="129902" y="194910"/>
                  </a:lnTo>
                  <a:lnTo>
                    <a:pt x="125768" y="182004"/>
                  </a:lnTo>
                  <a:close/>
                  <a:moveTo>
                    <a:pt x="222428" y="174650"/>
                  </a:moveTo>
                  <a:lnTo>
                    <a:pt x="229934" y="204892"/>
                  </a:lnTo>
                  <a:lnTo>
                    <a:pt x="209322" y="197720"/>
                  </a:lnTo>
                  <a:lnTo>
                    <a:pt x="209884" y="206797"/>
                  </a:lnTo>
                  <a:lnTo>
                    <a:pt x="216427" y="223456"/>
                  </a:lnTo>
                  <a:lnTo>
                    <a:pt x="203721" y="229495"/>
                  </a:lnTo>
                  <a:lnTo>
                    <a:pt x="202616" y="210521"/>
                  </a:lnTo>
                  <a:lnTo>
                    <a:pt x="194567" y="209121"/>
                  </a:lnTo>
                  <a:lnTo>
                    <a:pt x="190395" y="192748"/>
                  </a:lnTo>
                  <a:lnTo>
                    <a:pt x="206102" y="194910"/>
                  </a:lnTo>
                  <a:lnTo>
                    <a:pt x="205759" y="184652"/>
                  </a:lnTo>
                  <a:lnTo>
                    <a:pt x="189433" y="163925"/>
                  </a:lnTo>
                  <a:lnTo>
                    <a:pt x="215075" y="164525"/>
                  </a:lnTo>
                  <a:lnTo>
                    <a:pt x="222428" y="174650"/>
                  </a:lnTo>
                  <a:close/>
                  <a:moveTo>
                    <a:pt x="116262" y="149990"/>
                  </a:moveTo>
                  <a:lnTo>
                    <a:pt x="109176" y="173488"/>
                  </a:lnTo>
                  <a:lnTo>
                    <a:pt x="97746" y="159934"/>
                  </a:lnTo>
                  <a:lnTo>
                    <a:pt x="84106" y="139179"/>
                  </a:lnTo>
                  <a:lnTo>
                    <a:pt x="106985" y="140180"/>
                  </a:lnTo>
                  <a:lnTo>
                    <a:pt x="116262" y="149990"/>
                  </a:lnTo>
                  <a:close/>
                  <a:moveTo>
                    <a:pt x="110757" y="38"/>
                  </a:moveTo>
                  <a:lnTo>
                    <a:pt x="127225" y="8020"/>
                  </a:lnTo>
                  <a:lnTo>
                    <a:pt x="135455" y="743"/>
                  </a:lnTo>
                  <a:lnTo>
                    <a:pt x="137884" y="7849"/>
                  </a:lnTo>
                  <a:lnTo>
                    <a:pt x="133541" y="19421"/>
                  </a:lnTo>
                  <a:lnTo>
                    <a:pt x="142656" y="39367"/>
                  </a:lnTo>
                  <a:lnTo>
                    <a:pt x="135627" y="62389"/>
                  </a:lnTo>
                  <a:lnTo>
                    <a:pt x="119882" y="71542"/>
                  </a:lnTo>
                  <a:lnTo>
                    <a:pt x="115681" y="93754"/>
                  </a:lnTo>
                  <a:lnTo>
                    <a:pt x="121654" y="115605"/>
                  </a:lnTo>
                  <a:lnTo>
                    <a:pt x="135807" y="118624"/>
                  </a:lnTo>
                  <a:lnTo>
                    <a:pt x="147618" y="115386"/>
                  </a:lnTo>
                  <a:lnTo>
                    <a:pt x="180975" y="130550"/>
                  </a:lnTo>
                  <a:lnTo>
                    <a:pt x="178432" y="145409"/>
                  </a:lnTo>
                  <a:lnTo>
                    <a:pt x="187147" y="151952"/>
                  </a:lnTo>
                  <a:lnTo>
                    <a:pt x="184366" y="164487"/>
                  </a:lnTo>
                  <a:lnTo>
                    <a:pt x="163554" y="151133"/>
                  </a:lnTo>
                  <a:lnTo>
                    <a:pt x="153686" y="136808"/>
                  </a:lnTo>
                  <a:lnTo>
                    <a:pt x="146809" y="146818"/>
                  </a:lnTo>
                  <a:lnTo>
                    <a:pt x="129807" y="130483"/>
                  </a:lnTo>
                  <a:lnTo>
                    <a:pt x="105546" y="134521"/>
                  </a:lnTo>
                  <a:lnTo>
                    <a:pt x="92250" y="128483"/>
                  </a:lnTo>
                  <a:lnTo>
                    <a:pt x="93612" y="117177"/>
                  </a:lnTo>
                  <a:lnTo>
                    <a:pt x="101955" y="110204"/>
                  </a:lnTo>
                  <a:lnTo>
                    <a:pt x="93983" y="103861"/>
                  </a:lnTo>
                  <a:lnTo>
                    <a:pt x="90535" y="113747"/>
                  </a:lnTo>
                  <a:lnTo>
                    <a:pt x="77353" y="97984"/>
                  </a:lnTo>
                  <a:lnTo>
                    <a:pt x="73352" y="86011"/>
                  </a:lnTo>
                  <a:lnTo>
                    <a:pt x="72361" y="59589"/>
                  </a:lnTo>
                  <a:lnTo>
                    <a:pt x="83115" y="68685"/>
                  </a:lnTo>
                  <a:lnTo>
                    <a:pt x="85877" y="25298"/>
                  </a:lnTo>
                  <a:lnTo>
                    <a:pt x="94583" y="0"/>
                  </a:lnTo>
                  <a:lnTo>
                    <a:pt x="110757" y="3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8" name="Forme libre : forme 5777">
              <a:extLst>
                <a:ext uri="{FF2B5EF4-FFF2-40B4-BE49-F238E27FC236}">
                  <a16:creationId xmlns:a16="http://schemas.microsoft.com/office/drawing/2014/main" id="{A454F9EA-0082-C85C-D496-7A9AE40AFA11}"/>
                </a:ext>
              </a:extLst>
            </p:cNvPr>
            <p:cNvSpPr/>
            <p:nvPr/>
          </p:nvSpPr>
          <p:spPr>
            <a:xfrm>
              <a:off x="6196783" y="2991749"/>
              <a:ext cx="265871" cy="252126"/>
            </a:xfrm>
            <a:custGeom>
              <a:avLst/>
              <a:gdLst>
                <a:gd name="connsiteX0" fmla="*/ 25165 w 265871"/>
                <a:gd name="connsiteY0" fmla="*/ 165840 h 252126"/>
                <a:gd name="connsiteX1" fmla="*/ 14221 w 265871"/>
                <a:gd name="connsiteY1" fmla="*/ 138560 h 252126"/>
                <a:gd name="connsiteX2" fmla="*/ 16307 w 265871"/>
                <a:gd name="connsiteY2" fmla="*/ 123673 h 252126"/>
                <a:gd name="connsiteX3" fmla="*/ 9697 w 265871"/>
                <a:gd name="connsiteY3" fmla="*/ 100346 h 252126"/>
                <a:gd name="connsiteX4" fmla="*/ 0 w 265871"/>
                <a:gd name="connsiteY4" fmla="*/ 84639 h 252126"/>
                <a:gd name="connsiteX5" fmla="*/ 7448 w 265871"/>
                <a:gd name="connsiteY5" fmla="*/ 72790 h 252126"/>
                <a:gd name="connsiteX6" fmla="*/ 1200 w 265871"/>
                <a:gd name="connsiteY6" fmla="*/ 49997 h 252126"/>
                <a:gd name="connsiteX7" fmla="*/ 19450 w 265871"/>
                <a:gd name="connsiteY7" fmla="*/ 36709 h 252126"/>
                <a:gd name="connsiteX8" fmla="*/ 61131 w 265871"/>
                <a:gd name="connsiteY8" fmla="*/ 15602 h 252126"/>
                <a:gd name="connsiteX9" fmla="*/ 94764 w 265871"/>
                <a:gd name="connsiteY9" fmla="*/ 0 h 252126"/>
                <a:gd name="connsiteX10" fmla="*/ 121415 w 265871"/>
                <a:gd name="connsiteY10" fmla="*/ 7811 h 252126"/>
                <a:gd name="connsiteX11" fmla="*/ 123425 w 265871"/>
                <a:gd name="connsiteY11" fmla="*/ 19022 h 252126"/>
                <a:gd name="connsiteX12" fmla="*/ 149180 w 265871"/>
                <a:gd name="connsiteY12" fmla="*/ 19593 h 252126"/>
                <a:gd name="connsiteX13" fmla="*/ 182080 w 265871"/>
                <a:gd name="connsiteY13" fmla="*/ 24794 h 252126"/>
                <a:gd name="connsiteX14" fmla="*/ 231191 w 265871"/>
                <a:gd name="connsiteY14" fmla="*/ 24108 h 252126"/>
                <a:gd name="connsiteX15" fmla="*/ 244888 w 265871"/>
                <a:gd name="connsiteY15" fmla="*/ 28985 h 252126"/>
                <a:gd name="connsiteX16" fmla="*/ 251298 w 265871"/>
                <a:gd name="connsiteY16" fmla="*/ 42977 h 252126"/>
                <a:gd name="connsiteX17" fmla="*/ 252460 w 265871"/>
                <a:gd name="connsiteY17" fmla="*/ 62884 h 252126"/>
                <a:gd name="connsiteX18" fmla="*/ 259871 w 265871"/>
                <a:gd name="connsiteY18" fmla="*/ 79829 h 252126"/>
                <a:gd name="connsiteX19" fmla="*/ 259709 w 265871"/>
                <a:gd name="connsiteY19" fmla="*/ 97431 h 252126"/>
                <a:gd name="connsiteX20" fmla="*/ 243697 w 265871"/>
                <a:gd name="connsiteY20" fmla="*/ 106385 h 252126"/>
                <a:gd name="connsiteX21" fmla="*/ 251936 w 265871"/>
                <a:gd name="connsiteY21" fmla="*/ 126549 h 252126"/>
                <a:gd name="connsiteX22" fmla="*/ 252441 w 265871"/>
                <a:gd name="connsiteY22" fmla="*/ 145723 h 252126"/>
                <a:gd name="connsiteX23" fmla="*/ 265872 w 265871"/>
                <a:gd name="connsiteY23" fmla="*/ 182785 h 252126"/>
                <a:gd name="connsiteX24" fmla="*/ 263014 w 265871"/>
                <a:gd name="connsiteY24" fmla="*/ 194548 h 252126"/>
                <a:gd name="connsiteX25" fmla="*/ 249764 w 265871"/>
                <a:gd name="connsiteY25" fmla="*/ 199415 h 252126"/>
                <a:gd name="connsiteX26" fmla="*/ 225514 w 265871"/>
                <a:gd name="connsiteY26" fmla="*/ 233791 h 252126"/>
                <a:gd name="connsiteX27" fmla="*/ 232400 w 265871"/>
                <a:gd name="connsiteY27" fmla="*/ 252127 h 252126"/>
                <a:gd name="connsiteX28" fmla="*/ 226562 w 265871"/>
                <a:gd name="connsiteY28" fmla="*/ 249765 h 252126"/>
                <a:gd name="connsiteX29" fmla="*/ 201187 w 265871"/>
                <a:gd name="connsiteY29" fmla="*/ 234067 h 252126"/>
                <a:gd name="connsiteX30" fmla="*/ 181966 w 265871"/>
                <a:gd name="connsiteY30" fmla="*/ 239859 h 252126"/>
                <a:gd name="connsiteX31" fmla="*/ 169354 w 265871"/>
                <a:gd name="connsiteY31" fmla="*/ 235658 h 252126"/>
                <a:gd name="connsiteX32" fmla="*/ 153571 w 265871"/>
                <a:gd name="connsiteY32" fmla="*/ 244412 h 252126"/>
                <a:gd name="connsiteX33" fmla="*/ 140103 w 265871"/>
                <a:gd name="connsiteY33" fmla="*/ 229905 h 252126"/>
                <a:gd name="connsiteX34" fmla="*/ 129121 w 265871"/>
                <a:gd name="connsiteY34" fmla="*/ 235477 h 252126"/>
                <a:gd name="connsiteX35" fmla="*/ 127616 w 265871"/>
                <a:gd name="connsiteY35" fmla="*/ 233001 h 252126"/>
                <a:gd name="connsiteX36" fmla="*/ 115328 w 265871"/>
                <a:gd name="connsiteY36" fmla="*/ 212712 h 252126"/>
                <a:gd name="connsiteX37" fmla="*/ 95469 w 265871"/>
                <a:gd name="connsiteY37" fmla="*/ 210198 h 252126"/>
                <a:gd name="connsiteX38" fmla="*/ 92945 w 265871"/>
                <a:gd name="connsiteY38" fmla="*/ 197177 h 252126"/>
                <a:gd name="connsiteX39" fmla="*/ 74619 w 265871"/>
                <a:gd name="connsiteY39" fmla="*/ 192500 h 252126"/>
                <a:gd name="connsiteX40" fmla="*/ 70638 w 265871"/>
                <a:gd name="connsiteY40" fmla="*/ 203273 h 252126"/>
                <a:gd name="connsiteX41" fmla="*/ 56131 w 265871"/>
                <a:gd name="connsiteY41" fmla="*/ 194653 h 252126"/>
                <a:gd name="connsiteX42" fmla="*/ 57798 w 265871"/>
                <a:gd name="connsiteY42" fmla="*/ 183118 h 252126"/>
                <a:gd name="connsiteX43" fmla="*/ 37833 w 265871"/>
                <a:gd name="connsiteY43" fmla="*/ 179451 h 252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65871" h="252126">
                  <a:moveTo>
                    <a:pt x="25165" y="165840"/>
                  </a:moveTo>
                  <a:lnTo>
                    <a:pt x="14221" y="138560"/>
                  </a:lnTo>
                  <a:lnTo>
                    <a:pt x="16307" y="123673"/>
                  </a:lnTo>
                  <a:lnTo>
                    <a:pt x="9697" y="100346"/>
                  </a:lnTo>
                  <a:lnTo>
                    <a:pt x="0" y="84639"/>
                  </a:lnTo>
                  <a:lnTo>
                    <a:pt x="7448" y="72790"/>
                  </a:lnTo>
                  <a:lnTo>
                    <a:pt x="1200" y="49997"/>
                  </a:lnTo>
                  <a:lnTo>
                    <a:pt x="19450" y="36709"/>
                  </a:lnTo>
                  <a:lnTo>
                    <a:pt x="61131" y="15602"/>
                  </a:lnTo>
                  <a:lnTo>
                    <a:pt x="94764" y="0"/>
                  </a:lnTo>
                  <a:lnTo>
                    <a:pt x="121415" y="7811"/>
                  </a:lnTo>
                  <a:lnTo>
                    <a:pt x="123425" y="19022"/>
                  </a:lnTo>
                  <a:lnTo>
                    <a:pt x="149180" y="19593"/>
                  </a:lnTo>
                  <a:lnTo>
                    <a:pt x="182080" y="24794"/>
                  </a:lnTo>
                  <a:lnTo>
                    <a:pt x="231191" y="24108"/>
                  </a:lnTo>
                  <a:lnTo>
                    <a:pt x="244888" y="28985"/>
                  </a:lnTo>
                  <a:lnTo>
                    <a:pt x="251298" y="42977"/>
                  </a:lnTo>
                  <a:lnTo>
                    <a:pt x="252460" y="62884"/>
                  </a:lnTo>
                  <a:lnTo>
                    <a:pt x="259871" y="79829"/>
                  </a:lnTo>
                  <a:lnTo>
                    <a:pt x="259709" y="97431"/>
                  </a:lnTo>
                  <a:lnTo>
                    <a:pt x="243697" y="106385"/>
                  </a:lnTo>
                  <a:lnTo>
                    <a:pt x="251936" y="126549"/>
                  </a:lnTo>
                  <a:lnTo>
                    <a:pt x="252441" y="145723"/>
                  </a:lnTo>
                  <a:lnTo>
                    <a:pt x="265872" y="182785"/>
                  </a:lnTo>
                  <a:lnTo>
                    <a:pt x="263014" y="194548"/>
                  </a:lnTo>
                  <a:lnTo>
                    <a:pt x="249764" y="199415"/>
                  </a:lnTo>
                  <a:lnTo>
                    <a:pt x="225514" y="233791"/>
                  </a:lnTo>
                  <a:lnTo>
                    <a:pt x="232400" y="252127"/>
                  </a:lnTo>
                  <a:lnTo>
                    <a:pt x="226562" y="249765"/>
                  </a:lnTo>
                  <a:lnTo>
                    <a:pt x="201187" y="234067"/>
                  </a:lnTo>
                  <a:lnTo>
                    <a:pt x="181966" y="239859"/>
                  </a:lnTo>
                  <a:lnTo>
                    <a:pt x="169354" y="235658"/>
                  </a:lnTo>
                  <a:lnTo>
                    <a:pt x="153571" y="244412"/>
                  </a:lnTo>
                  <a:lnTo>
                    <a:pt x="140103" y="229905"/>
                  </a:lnTo>
                  <a:lnTo>
                    <a:pt x="129121" y="235477"/>
                  </a:lnTo>
                  <a:lnTo>
                    <a:pt x="127616" y="233001"/>
                  </a:lnTo>
                  <a:lnTo>
                    <a:pt x="115328" y="212712"/>
                  </a:lnTo>
                  <a:lnTo>
                    <a:pt x="95469" y="210198"/>
                  </a:lnTo>
                  <a:lnTo>
                    <a:pt x="92945" y="197177"/>
                  </a:lnTo>
                  <a:lnTo>
                    <a:pt x="74619" y="192500"/>
                  </a:lnTo>
                  <a:lnTo>
                    <a:pt x="70638" y="203273"/>
                  </a:lnTo>
                  <a:lnTo>
                    <a:pt x="56131" y="194653"/>
                  </a:lnTo>
                  <a:lnTo>
                    <a:pt x="57798" y="183118"/>
                  </a:lnTo>
                  <a:lnTo>
                    <a:pt x="37833" y="179451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9" name="Forme libre : forme 5778">
              <a:extLst>
                <a:ext uri="{FF2B5EF4-FFF2-40B4-BE49-F238E27FC236}">
                  <a16:creationId xmlns:a16="http://schemas.microsoft.com/office/drawing/2014/main" id="{518B628B-481E-4FD9-CC59-11C5843FA528}"/>
                </a:ext>
              </a:extLst>
            </p:cNvPr>
            <p:cNvSpPr/>
            <p:nvPr/>
          </p:nvSpPr>
          <p:spPr>
            <a:xfrm>
              <a:off x="7446654" y="3693142"/>
              <a:ext cx="384162" cy="402059"/>
            </a:xfrm>
            <a:custGeom>
              <a:avLst/>
              <a:gdLst>
                <a:gd name="connsiteX0" fmla="*/ 321698 w 384162"/>
                <a:gd name="connsiteY0" fmla="*/ 0 h 402059"/>
                <a:gd name="connsiteX1" fmla="*/ 310182 w 384162"/>
                <a:gd name="connsiteY1" fmla="*/ 19726 h 402059"/>
                <a:gd name="connsiteX2" fmla="*/ 309582 w 384162"/>
                <a:gd name="connsiteY2" fmla="*/ 29451 h 402059"/>
                <a:gd name="connsiteX3" fmla="*/ 313544 w 384162"/>
                <a:gd name="connsiteY3" fmla="*/ 32423 h 402059"/>
                <a:gd name="connsiteX4" fmla="*/ 320297 w 384162"/>
                <a:gd name="connsiteY4" fmla="*/ 30642 h 402059"/>
                <a:gd name="connsiteX5" fmla="*/ 326050 w 384162"/>
                <a:gd name="connsiteY5" fmla="*/ 36795 h 402059"/>
                <a:gd name="connsiteX6" fmla="*/ 340538 w 384162"/>
                <a:gd name="connsiteY6" fmla="*/ 48892 h 402059"/>
                <a:gd name="connsiteX7" fmla="*/ 351454 w 384162"/>
                <a:gd name="connsiteY7" fmla="*/ 55245 h 402059"/>
                <a:gd name="connsiteX8" fmla="*/ 347482 w 384162"/>
                <a:gd name="connsiteY8" fmla="*/ 63379 h 402059"/>
                <a:gd name="connsiteX9" fmla="*/ 340538 w 384162"/>
                <a:gd name="connsiteY9" fmla="*/ 65561 h 402059"/>
                <a:gd name="connsiteX10" fmla="*/ 339547 w 384162"/>
                <a:gd name="connsiteY10" fmla="*/ 71914 h 402059"/>
                <a:gd name="connsiteX11" fmla="*/ 333785 w 384162"/>
                <a:gd name="connsiteY11" fmla="*/ 72114 h 402059"/>
                <a:gd name="connsiteX12" fmla="*/ 338757 w 384162"/>
                <a:gd name="connsiteY12" fmla="*/ 117557 h 402059"/>
                <a:gd name="connsiteX13" fmla="*/ 362598 w 384162"/>
                <a:gd name="connsiteY13" fmla="*/ 128016 h 402059"/>
                <a:gd name="connsiteX14" fmla="*/ 384163 w 384162"/>
                <a:gd name="connsiteY14" fmla="*/ 143580 h 402059"/>
                <a:gd name="connsiteX15" fmla="*/ 361379 w 384162"/>
                <a:gd name="connsiteY15" fmla="*/ 161706 h 402059"/>
                <a:gd name="connsiteX16" fmla="*/ 361798 w 384162"/>
                <a:gd name="connsiteY16" fmla="*/ 183880 h 402059"/>
                <a:gd name="connsiteX17" fmla="*/ 335861 w 384162"/>
                <a:gd name="connsiteY17" fmla="*/ 214827 h 402059"/>
                <a:gd name="connsiteX18" fmla="*/ 319126 w 384162"/>
                <a:gd name="connsiteY18" fmla="*/ 245793 h 402059"/>
                <a:gd name="connsiteX19" fmla="*/ 291189 w 384162"/>
                <a:gd name="connsiteY19" fmla="*/ 277473 h 402059"/>
                <a:gd name="connsiteX20" fmla="*/ 260175 w 384162"/>
                <a:gd name="connsiteY20" fmla="*/ 275187 h 402059"/>
                <a:gd name="connsiteX21" fmla="*/ 230743 w 384162"/>
                <a:gd name="connsiteY21" fmla="*/ 306571 h 402059"/>
                <a:gd name="connsiteX22" fmla="*/ 248221 w 384162"/>
                <a:gd name="connsiteY22" fmla="*/ 319926 h 402059"/>
                <a:gd name="connsiteX23" fmla="*/ 251260 w 384162"/>
                <a:gd name="connsiteY23" fmla="*/ 342700 h 402059"/>
                <a:gd name="connsiteX24" fmla="*/ 266272 w 384162"/>
                <a:gd name="connsiteY24" fmla="*/ 357616 h 402059"/>
                <a:gd name="connsiteX25" fmla="*/ 271568 w 384162"/>
                <a:gd name="connsiteY25" fmla="*/ 382733 h 402059"/>
                <a:gd name="connsiteX26" fmla="*/ 212798 w 384162"/>
                <a:gd name="connsiteY26" fmla="*/ 382657 h 402059"/>
                <a:gd name="connsiteX27" fmla="*/ 195015 w 384162"/>
                <a:gd name="connsiteY27" fmla="*/ 402060 h 402059"/>
                <a:gd name="connsiteX28" fmla="*/ 175441 w 384162"/>
                <a:gd name="connsiteY28" fmla="*/ 394716 h 402059"/>
                <a:gd name="connsiteX29" fmla="*/ 167478 w 384162"/>
                <a:gd name="connsiteY29" fmla="*/ 373771 h 402059"/>
                <a:gd name="connsiteX30" fmla="*/ 146847 w 384162"/>
                <a:gd name="connsiteY30" fmla="*/ 351444 h 402059"/>
                <a:gd name="connsiteX31" fmla="*/ 97641 w 384162"/>
                <a:gd name="connsiteY31" fmla="*/ 356968 h 402059"/>
                <a:gd name="connsiteX32" fmla="*/ 54245 w 384162"/>
                <a:gd name="connsiteY32" fmla="*/ 357511 h 402059"/>
                <a:gd name="connsiteX33" fmla="*/ 16640 w 384162"/>
                <a:gd name="connsiteY33" fmla="*/ 361635 h 402059"/>
                <a:gd name="connsiteX34" fmla="*/ 26699 w 384162"/>
                <a:gd name="connsiteY34" fmla="*/ 327393 h 402059"/>
                <a:gd name="connsiteX35" fmla="*/ 65218 w 384162"/>
                <a:gd name="connsiteY35" fmla="*/ 312068 h 402059"/>
                <a:gd name="connsiteX36" fmla="*/ 63018 w 384162"/>
                <a:gd name="connsiteY36" fmla="*/ 298332 h 402059"/>
                <a:gd name="connsiteX37" fmla="*/ 50235 w 384162"/>
                <a:gd name="connsiteY37" fmla="*/ 293494 h 402059"/>
                <a:gd name="connsiteX38" fmla="*/ 49502 w 384162"/>
                <a:gd name="connsiteY38" fmla="*/ 267043 h 402059"/>
                <a:gd name="connsiteX39" fmla="*/ 23965 w 384162"/>
                <a:gd name="connsiteY39" fmla="*/ 253746 h 402059"/>
                <a:gd name="connsiteX40" fmla="*/ 13211 w 384162"/>
                <a:gd name="connsiteY40" fmla="*/ 235401 h 402059"/>
                <a:gd name="connsiteX41" fmla="*/ 0 w 384162"/>
                <a:gd name="connsiteY41" fmla="*/ 219342 h 402059"/>
                <a:gd name="connsiteX42" fmla="*/ 44748 w 384162"/>
                <a:gd name="connsiteY42" fmla="*/ 234934 h 402059"/>
                <a:gd name="connsiteX43" fmla="*/ 71457 w 384162"/>
                <a:gd name="connsiteY43" fmla="*/ 230371 h 402059"/>
                <a:gd name="connsiteX44" fmla="*/ 87421 w 384162"/>
                <a:gd name="connsiteY44" fmla="*/ 234258 h 402059"/>
                <a:gd name="connsiteX45" fmla="*/ 92831 w 384162"/>
                <a:gd name="connsiteY45" fmla="*/ 227571 h 402059"/>
                <a:gd name="connsiteX46" fmla="*/ 111433 w 384162"/>
                <a:gd name="connsiteY46" fmla="*/ 230257 h 402059"/>
                <a:gd name="connsiteX47" fmla="*/ 146133 w 384162"/>
                <a:gd name="connsiteY47" fmla="*/ 217541 h 402059"/>
                <a:gd name="connsiteX48" fmla="*/ 147076 w 384162"/>
                <a:gd name="connsiteY48" fmla="*/ 191348 h 402059"/>
                <a:gd name="connsiteX49" fmla="*/ 161954 w 384162"/>
                <a:gd name="connsiteY49" fmla="*/ 173793 h 402059"/>
                <a:gd name="connsiteX50" fmla="*/ 181842 w 384162"/>
                <a:gd name="connsiteY50" fmla="*/ 173841 h 402059"/>
                <a:gd name="connsiteX51" fmla="*/ 184766 w 384162"/>
                <a:gd name="connsiteY51" fmla="*/ 165135 h 402059"/>
                <a:gd name="connsiteX52" fmla="*/ 205178 w 384162"/>
                <a:gd name="connsiteY52" fmla="*/ 161058 h 402059"/>
                <a:gd name="connsiteX53" fmla="*/ 215055 w 384162"/>
                <a:gd name="connsiteY53" fmla="*/ 163973 h 402059"/>
                <a:gd name="connsiteX54" fmla="*/ 225486 w 384162"/>
                <a:gd name="connsiteY54" fmla="*/ 155172 h 402059"/>
                <a:gd name="connsiteX55" fmla="*/ 224019 w 384162"/>
                <a:gd name="connsiteY55" fmla="*/ 136312 h 402059"/>
                <a:gd name="connsiteX56" fmla="*/ 235363 w 384162"/>
                <a:gd name="connsiteY56" fmla="*/ 117224 h 402059"/>
                <a:gd name="connsiteX57" fmla="*/ 252356 w 384162"/>
                <a:gd name="connsiteY57" fmla="*/ 109185 h 402059"/>
                <a:gd name="connsiteX58" fmla="*/ 241859 w 384162"/>
                <a:gd name="connsiteY58" fmla="*/ 88049 h 402059"/>
                <a:gd name="connsiteX59" fmla="*/ 267262 w 384162"/>
                <a:gd name="connsiteY59" fmla="*/ 89049 h 402059"/>
                <a:gd name="connsiteX60" fmla="*/ 274606 w 384162"/>
                <a:gd name="connsiteY60" fmla="*/ 77486 h 402059"/>
                <a:gd name="connsiteX61" fmla="*/ 273491 w 384162"/>
                <a:gd name="connsiteY61" fmla="*/ 65084 h 402059"/>
                <a:gd name="connsiteX62" fmla="*/ 286798 w 384162"/>
                <a:gd name="connsiteY62" fmla="*/ 51463 h 402059"/>
                <a:gd name="connsiteX63" fmla="*/ 283740 w 384162"/>
                <a:gd name="connsiteY63" fmla="*/ 35233 h 402059"/>
                <a:gd name="connsiteX64" fmla="*/ 277435 w 384162"/>
                <a:gd name="connsiteY64" fmla="*/ 21326 h 402059"/>
                <a:gd name="connsiteX65" fmla="*/ 293018 w 384162"/>
                <a:gd name="connsiteY65" fmla="*/ 6963 h 402059"/>
                <a:gd name="connsiteX66" fmla="*/ 321698 w 384162"/>
                <a:gd name="connsiteY66" fmla="*/ 0 h 40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84162" h="402059">
                  <a:moveTo>
                    <a:pt x="321698" y="0"/>
                  </a:moveTo>
                  <a:lnTo>
                    <a:pt x="310182" y="19726"/>
                  </a:lnTo>
                  <a:lnTo>
                    <a:pt x="309582" y="29451"/>
                  </a:lnTo>
                  <a:lnTo>
                    <a:pt x="313544" y="32423"/>
                  </a:lnTo>
                  <a:lnTo>
                    <a:pt x="320297" y="30642"/>
                  </a:lnTo>
                  <a:lnTo>
                    <a:pt x="326050" y="36795"/>
                  </a:lnTo>
                  <a:lnTo>
                    <a:pt x="340538" y="48892"/>
                  </a:lnTo>
                  <a:lnTo>
                    <a:pt x="351454" y="55245"/>
                  </a:lnTo>
                  <a:lnTo>
                    <a:pt x="347482" y="63379"/>
                  </a:lnTo>
                  <a:lnTo>
                    <a:pt x="340538" y="65561"/>
                  </a:lnTo>
                  <a:lnTo>
                    <a:pt x="339547" y="71914"/>
                  </a:lnTo>
                  <a:lnTo>
                    <a:pt x="333785" y="72114"/>
                  </a:lnTo>
                  <a:lnTo>
                    <a:pt x="338757" y="117557"/>
                  </a:lnTo>
                  <a:lnTo>
                    <a:pt x="362598" y="128016"/>
                  </a:lnTo>
                  <a:lnTo>
                    <a:pt x="384163" y="143580"/>
                  </a:lnTo>
                  <a:lnTo>
                    <a:pt x="361379" y="161706"/>
                  </a:lnTo>
                  <a:lnTo>
                    <a:pt x="361798" y="183880"/>
                  </a:lnTo>
                  <a:lnTo>
                    <a:pt x="335861" y="214827"/>
                  </a:lnTo>
                  <a:lnTo>
                    <a:pt x="319126" y="245793"/>
                  </a:lnTo>
                  <a:lnTo>
                    <a:pt x="291189" y="277473"/>
                  </a:lnTo>
                  <a:lnTo>
                    <a:pt x="260175" y="275187"/>
                  </a:lnTo>
                  <a:lnTo>
                    <a:pt x="230743" y="306571"/>
                  </a:lnTo>
                  <a:lnTo>
                    <a:pt x="248221" y="319926"/>
                  </a:lnTo>
                  <a:lnTo>
                    <a:pt x="251260" y="342700"/>
                  </a:lnTo>
                  <a:lnTo>
                    <a:pt x="266272" y="357616"/>
                  </a:lnTo>
                  <a:lnTo>
                    <a:pt x="271568" y="382733"/>
                  </a:lnTo>
                  <a:lnTo>
                    <a:pt x="212798" y="382657"/>
                  </a:lnTo>
                  <a:lnTo>
                    <a:pt x="195015" y="402060"/>
                  </a:lnTo>
                  <a:lnTo>
                    <a:pt x="175441" y="394716"/>
                  </a:lnTo>
                  <a:lnTo>
                    <a:pt x="167478" y="373771"/>
                  </a:lnTo>
                  <a:lnTo>
                    <a:pt x="146847" y="351444"/>
                  </a:lnTo>
                  <a:lnTo>
                    <a:pt x="97641" y="356968"/>
                  </a:lnTo>
                  <a:lnTo>
                    <a:pt x="54245" y="357511"/>
                  </a:lnTo>
                  <a:lnTo>
                    <a:pt x="16640" y="361635"/>
                  </a:lnTo>
                  <a:lnTo>
                    <a:pt x="26699" y="327393"/>
                  </a:lnTo>
                  <a:lnTo>
                    <a:pt x="65218" y="312068"/>
                  </a:lnTo>
                  <a:lnTo>
                    <a:pt x="63018" y="298332"/>
                  </a:lnTo>
                  <a:lnTo>
                    <a:pt x="50235" y="293494"/>
                  </a:lnTo>
                  <a:lnTo>
                    <a:pt x="49502" y="267043"/>
                  </a:lnTo>
                  <a:lnTo>
                    <a:pt x="23965" y="253746"/>
                  </a:lnTo>
                  <a:lnTo>
                    <a:pt x="13211" y="235401"/>
                  </a:lnTo>
                  <a:lnTo>
                    <a:pt x="0" y="219342"/>
                  </a:lnTo>
                  <a:lnTo>
                    <a:pt x="44748" y="234934"/>
                  </a:lnTo>
                  <a:lnTo>
                    <a:pt x="71457" y="230371"/>
                  </a:lnTo>
                  <a:lnTo>
                    <a:pt x="87421" y="234258"/>
                  </a:lnTo>
                  <a:lnTo>
                    <a:pt x="92831" y="227571"/>
                  </a:lnTo>
                  <a:lnTo>
                    <a:pt x="111433" y="230257"/>
                  </a:lnTo>
                  <a:lnTo>
                    <a:pt x="146133" y="217541"/>
                  </a:lnTo>
                  <a:lnTo>
                    <a:pt x="147076" y="191348"/>
                  </a:lnTo>
                  <a:lnTo>
                    <a:pt x="161954" y="173793"/>
                  </a:lnTo>
                  <a:lnTo>
                    <a:pt x="181842" y="173841"/>
                  </a:lnTo>
                  <a:lnTo>
                    <a:pt x="184766" y="165135"/>
                  </a:lnTo>
                  <a:lnTo>
                    <a:pt x="205178" y="161058"/>
                  </a:lnTo>
                  <a:lnTo>
                    <a:pt x="215055" y="163973"/>
                  </a:lnTo>
                  <a:lnTo>
                    <a:pt x="225486" y="155172"/>
                  </a:lnTo>
                  <a:lnTo>
                    <a:pt x="224019" y="136312"/>
                  </a:lnTo>
                  <a:lnTo>
                    <a:pt x="235363" y="117224"/>
                  </a:lnTo>
                  <a:lnTo>
                    <a:pt x="252356" y="109185"/>
                  </a:lnTo>
                  <a:lnTo>
                    <a:pt x="241859" y="88049"/>
                  </a:lnTo>
                  <a:lnTo>
                    <a:pt x="267262" y="89049"/>
                  </a:lnTo>
                  <a:lnTo>
                    <a:pt x="274606" y="77486"/>
                  </a:lnTo>
                  <a:lnTo>
                    <a:pt x="273491" y="65084"/>
                  </a:lnTo>
                  <a:lnTo>
                    <a:pt x="286798" y="51463"/>
                  </a:lnTo>
                  <a:lnTo>
                    <a:pt x="283740" y="35233"/>
                  </a:lnTo>
                  <a:lnTo>
                    <a:pt x="277435" y="21326"/>
                  </a:lnTo>
                  <a:lnTo>
                    <a:pt x="293018" y="6963"/>
                  </a:lnTo>
                  <a:lnTo>
                    <a:pt x="321698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0" name="Forme libre : forme 5779">
              <a:extLst>
                <a:ext uri="{FF2B5EF4-FFF2-40B4-BE49-F238E27FC236}">
                  <a16:creationId xmlns:a16="http://schemas.microsoft.com/office/drawing/2014/main" id="{0CEBD59B-E7D9-4E21-A720-5759CB053F2E}"/>
                </a:ext>
              </a:extLst>
            </p:cNvPr>
            <p:cNvSpPr/>
            <p:nvPr/>
          </p:nvSpPr>
          <p:spPr>
            <a:xfrm>
              <a:off x="4025074" y="4242439"/>
              <a:ext cx="44110" cy="16049"/>
            </a:xfrm>
            <a:custGeom>
              <a:avLst/>
              <a:gdLst>
                <a:gd name="connsiteX0" fmla="*/ 25641 w 44110"/>
                <a:gd name="connsiteY0" fmla="*/ 162 h 16049"/>
                <a:gd name="connsiteX1" fmla="*/ 39291 w 44110"/>
                <a:gd name="connsiteY1" fmla="*/ 2629 h 16049"/>
                <a:gd name="connsiteX2" fmla="*/ 44110 w 44110"/>
                <a:gd name="connsiteY2" fmla="*/ 8192 h 16049"/>
                <a:gd name="connsiteX3" fmla="*/ 37262 w 44110"/>
                <a:gd name="connsiteY3" fmla="*/ 15230 h 16049"/>
                <a:gd name="connsiteX4" fmla="*/ 17164 w 44110"/>
                <a:gd name="connsiteY4" fmla="*/ 15059 h 16049"/>
                <a:gd name="connsiteX5" fmla="*/ 1553 w 44110"/>
                <a:gd name="connsiteY5" fmla="*/ 16050 h 16049"/>
                <a:gd name="connsiteX6" fmla="*/ 0 w 44110"/>
                <a:gd name="connsiteY6" fmla="*/ 4086 h 16049"/>
                <a:gd name="connsiteX7" fmla="*/ 3781 w 44110"/>
                <a:gd name="connsiteY7" fmla="*/ 0 h 16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10" h="16049">
                  <a:moveTo>
                    <a:pt x="25641" y="162"/>
                  </a:moveTo>
                  <a:lnTo>
                    <a:pt x="39291" y="2629"/>
                  </a:lnTo>
                  <a:lnTo>
                    <a:pt x="44110" y="8192"/>
                  </a:lnTo>
                  <a:lnTo>
                    <a:pt x="37262" y="15230"/>
                  </a:lnTo>
                  <a:lnTo>
                    <a:pt x="17164" y="15059"/>
                  </a:lnTo>
                  <a:lnTo>
                    <a:pt x="1553" y="16050"/>
                  </a:lnTo>
                  <a:lnTo>
                    <a:pt x="0" y="4086"/>
                  </a:lnTo>
                  <a:lnTo>
                    <a:pt x="3781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1" name="Forme libre : forme 5780">
              <a:extLst>
                <a:ext uri="{FF2B5EF4-FFF2-40B4-BE49-F238E27FC236}">
                  <a16:creationId xmlns:a16="http://schemas.microsoft.com/office/drawing/2014/main" id="{3876291A-0388-03DB-09B4-417DF871B48C}"/>
                </a:ext>
              </a:extLst>
            </p:cNvPr>
            <p:cNvSpPr/>
            <p:nvPr/>
          </p:nvSpPr>
          <p:spPr>
            <a:xfrm>
              <a:off x="6753691" y="3828492"/>
              <a:ext cx="16516" cy="36928"/>
            </a:xfrm>
            <a:custGeom>
              <a:avLst/>
              <a:gdLst>
                <a:gd name="connsiteX0" fmla="*/ 16516 w 16516"/>
                <a:gd name="connsiteY0" fmla="*/ 4363 h 36928"/>
                <a:gd name="connsiteX1" fmla="*/ 16507 w 16516"/>
                <a:gd name="connsiteY1" fmla="*/ 23546 h 36928"/>
                <a:gd name="connsiteX2" fmla="*/ 12554 w 16516"/>
                <a:gd name="connsiteY2" fmla="*/ 32709 h 36928"/>
                <a:gd name="connsiteX3" fmla="*/ 0 w 16516"/>
                <a:gd name="connsiteY3" fmla="*/ 36928 h 36928"/>
                <a:gd name="connsiteX4" fmla="*/ 1152 w 16516"/>
                <a:gd name="connsiteY4" fmla="*/ 28727 h 36928"/>
                <a:gd name="connsiteX5" fmla="*/ 7972 w 16516"/>
                <a:gd name="connsiteY5" fmla="*/ 24432 h 36928"/>
                <a:gd name="connsiteX6" fmla="*/ 1267 w 16516"/>
                <a:gd name="connsiteY6" fmla="*/ 20917 h 36928"/>
                <a:gd name="connsiteX7" fmla="*/ 6848 w 16516"/>
                <a:gd name="connsiteY7" fmla="*/ 0 h 36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16" h="36928">
                  <a:moveTo>
                    <a:pt x="16516" y="4363"/>
                  </a:moveTo>
                  <a:lnTo>
                    <a:pt x="16507" y="23546"/>
                  </a:lnTo>
                  <a:lnTo>
                    <a:pt x="12554" y="32709"/>
                  </a:lnTo>
                  <a:lnTo>
                    <a:pt x="0" y="36928"/>
                  </a:lnTo>
                  <a:lnTo>
                    <a:pt x="1152" y="28727"/>
                  </a:lnTo>
                  <a:lnTo>
                    <a:pt x="7972" y="24432"/>
                  </a:lnTo>
                  <a:lnTo>
                    <a:pt x="1267" y="20917"/>
                  </a:lnTo>
                  <a:lnTo>
                    <a:pt x="6848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2" name="Forme libre : forme 5781">
              <a:extLst>
                <a:ext uri="{FF2B5EF4-FFF2-40B4-BE49-F238E27FC236}">
                  <a16:creationId xmlns:a16="http://schemas.microsoft.com/office/drawing/2014/main" id="{A12EC106-3D6C-7AFF-0BF1-C4A7BDF15004}"/>
                </a:ext>
              </a:extLst>
            </p:cNvPr>
            <p:cNvSpPr/>
            <p:nvPr/>
          </p:nvSpPr>
          <p:spPr>
            <a:xfrm>
              <a:off x="5566476" y="3501279"/>
              <a:ext cx="83791" cy="187937"/>
            </a:xfrm>
            <a:custGeom>
              <a:avLst/>
              <a:gdLst>
                <a:gd name="connsiteX0" fmla="*/ 13135 w 83791"/>
                <a:gd name="connsiteY0" fmla="*/ 14335 h 187937"/>
                <a:gd name="connsiteX1" fmla="*/ 22822 w 83791"/>
                <a:gd name="connsiteY1" fmla="*/ 5239 h 187937"/>
                <a:gd name="connsiteX2" fmla="*/ 33728 w 83791"/>
                <a:gd name="connsiteY2" fmla="*/ 0 h 187937"/>
                <a:gd name="connsiteX3" fmla="*/ 40415 w 83791"/>
                <a:gd name="connsiteY3" fmla="*/ 17536 h 187937"/>
                <a:gd name="connsiteX4" fmla="*/ 56188 w 83791"/>
                <a:gd name="connsiteY4" fmla="*/ 17497 h 187937"/>
                <a:gd name="connsiteX5" fmla="*/ 60760 w 83791"/>
                <a:gd name="connsiteY5" fmla="*/ 12983 h 187937"/>
                <a:gd name="connsiteX6" fmla="*/ 76324 w 83791"/>
                <a:gd name="connsiteY6" fmla="*/ 14240 h 187937"/>
                <a:gd name="connsiteX7" fmla="*/ 83791 w 83791"/>
                <a:gd name="connsiteY7" fmla="*/ 32090 h 187937"/>
                <a:gd name="connsiteX8" fmla="*/ 71447 w 83791"/>
                <a:gd name="connsiteY8" fmla="*/ 41672 h 187937"/>
                <a:gd name="connsiteX9" fmla="*/ 71104 w 83791"/>
                <a:gd name="connsiteY9" fmla="*/ 69056 h 187937"/>
                <a:gd name="connsiteX10" fmla="*/ 66770 w 83791"/>
                <a:gd name="connsiteY10" fmla="*/ 74161 h 187937"/>
                <a:gd name="connsiteX11" fmla="*/ 65694 w 83791"/>
                <a:gd name="connsiteY11" fmla="*/ 90554 h 187937"/>
                <a:gd name="connsiteX12" fmla="*/ 54159 w 83791"/>
                <a:gd name="connsiteY12" fmla="*/ 93402 h 187937"/>
                <a:gd name="connsiteX13" fmla="*/ 64856 w 83791"/>
                <a:gd name="connsiteY13" fmla="*/ 114024 h 187937"/>
                <a:gd name="connsiteX14" fmla="*/ 57483 w 83791"/>
                <a:gd name="connsiteY14" fmla="*/ 136407 h 187937"/>
                <a:gd name="connsiteX15" fmla="*/ 66694 w 83791"/>
                <a:gd name="connsiteY15" fmla="*/ 146475 h 187937"/>
                <a:gd name="connsiteX16" fmla="*/ 63027 w 83791"/>
                <a:gd name="connsiteY16" fmla="*/ 155648 h 187937"/>
                <a:gd name="connsiteX17" fmla="*/ 53130 w 83791"/>
                <a:gd name="connsiteY17" fmla="*/ 168240 h 187937"/>
                <a:gd name="connsiteX18" fmla="*/ 55359 w 83791"/>
                <a:gd name="connsiteY18" fmla="*/ 179299 h 187937"/>
                <a:gd name="connsiteX19" fmla="*/ 44625 w 83791"/>
                <a:gd name="connsiteY19" fmla="*/ 187938 h 187937"/>
                <a:gd name="connsiteX20" fmla="*/ 30547 w 83791"/>
                <a:gd name="connsiteY20" fmla="*/ 183261 h 187937"/>
                <a:gd name="connsiteX21" fmla="*/ 16764 w 83791"/>
                <a:gd name="connsiteY21" fmla="*/ 186928 h 187937"/>
                <a:gd name="connsiteX22" fmla="*/ 20841 w 83791"/>
                <a:gd name="connsiteY22" fmla="*/ 160782 h 187937"/>
                <a:gd name="connsiteX23" fmla="*/ 18336 w 83791"/>
                <a:gd name="connsiteY23" fmla="*/ 140037 h 187937"/>
                <a:gd name="connsiteX24" fmla="*/ 6382 w 83791"/>
                <a:gd name="connsiteY24" fmla="*/ 136912 h 187937"/>
                <a:gd name="connsiteX25" fmla="*/ 0 w 83791"/>
                <a:gd name="connsiteY25" fmla="*/ 124025 h 187937"/>
                <a:gd name="connsiteX26" fmla="*/ 2124 w 83791"/>
                <a:gd name="connsiteY26" fmla="*/ 101594 h 187937"/>
                <a:gd name="connsiteX27" fmla="*/ 12773 w 83791"/>
                <a:gd name="connsiteY27" fmla="*/ 89068 h 187937"/>
                <a:gd name="connsiteX28" fmla="*/ 14669 w 83791"/>
                <a:gd name="connsiteY28" fmla="*/ 75038 h 187937"/>
                <a:gd name="connsiteX29" fmla="*/ 20241 w 83791"/>
                <a:gd name="connsiteY29" fmla="*/ 54016 h 187937"/>
                <a:gd name="connsiteX30" fmla="*/ 19641 w 83791"/>
                <a:gd name="connsiteY30" fmla="*/ 39081 h 187937"/>
                <a:gd name="connsiteX31" fmla="*/ 14307 w 83791"/>
                <a:gd name="connsiteY31" fmla="*/ 26356 h 187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3791" h="187937">
                  <a:moveTo>
                    <a:pt x="13135" y="14335"/>
                  </a:moveTo>
                  <a:lnTo>
                    <a:pt x="22822" y="5239"/>
                  </a:lnTo>
                  <a:lnTo>
                    <a:pt x="33728" y="0"/>
                  </a:lnTo>
                  <a:lnTo>
                    <a:pt x="40415" y="17536"/>
                  </a:lnTo>
                  <a:lnTo>
                    <a:pt x="56188" y="17497"/>
                  </a:lnTo>
                  <a:lnTo>
                    <a:pt x="60760" y="12983"/>
                  </a:lnTo>
                  <a:lnTo>
                    <a:pt x="76324" y="14240"/>
                  </a:lnTo>
                  <a:lnTo>
                    <a:pt x="83791" y="32090"/>
                  </a:lnTo>
                  <a:lnTo>
                    <a:pt x="71447" y="41672"/>
                  </a:lnTo>
                  <a:lnTo>
                    <a:pt x="71104" y="69056"/>
                  </a:lnTo>
                  <a:lnTo>
                    <a:pt x="66770" y="74161"/>
                  </a:lnTo>
                  <a:lnTo>
                    <a:pt x="65694" y="90554"/>
                  </a:lnTo>
                  <a:lnTo>
                    <a:pt x="54159" y="93402"/>
                  </a:lnTo>
                  <a:lnTo>
                    <a:pt x="64856" y="114024"/>
                  </a:lnTo>
                  <a:lnTo>
                    <a:pt x="57483" y="136407"/>
                  </a:lnTo>
                  <a:lnTo>
                    <a:pt x="66694" y="146475"/>
                  </a:lnTo>
                  <a:lnTo>
                    <a:pt x="63027" y="155648"/>
                  </a:lnTo>
                  <a:lnTo>
                    <a:pt x="53130" y="168240"/>
                  </a:lnTo>
                  <a:lnTo>
                    <a:pt x="55359" y="179299"/>
                  </a:lnTo>
                  <a:lnTo>
                    <a:pt x="44625" y="187938"/>
                  </a:lnTo>
                  <a:lnTo>
                    <a:pt x="30547" y="183261"/>
                  </a:lnTo>
                  <a:lnTo>
                    <a:pt x="16764" y="186928"/>
                  </a:lnTo>
                  <a:lnTo>
                    <a:pt x="20841" y="160782"/>
                  </a:lnTo>
                  <a:lnTo>
                    <a:pt x="18336" y="140037"/>
                  </a:lnTo>
                  <a:lnTo>
                    <a:pt x="6382" y="136912"/>
                  </a:lnTo>
                  <a:lnTo>
                    <a:pt x="0" y="124025"/>
                  </a:lnTo>
                  <a:lnTo>
                    <a:pt x="2124" y="101594"/>
                  </a:lnTo>
                  <a:lnTo>
                    <a:pt x="12773" y="89068"/>
                  </a:lnTo>
                  <a:lnTo>
                    <a:pt x="14669" y="75038"/>
                  </a:lnTo>
                  <a:lnTo>
                    <a:pt x="20241" y="54016"/>
                  </a:lnTo>
                  <a:lnTo>
                    <a:pt x="19641" y="39081"/>
                  </a:lnTo>
                  <a:lnTo>
                    <a:pt x="14307" y="2635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3" name="Forme libre : forme 5782">
              <a:extLst>
                <a:ext uri="{FF2B5EF4-FFF2-40B4-BE49-F238E27FC236}">
                  <a16:creationId xmlns:a16="http://schemas.microsoft.com/office/drawing/2014/main" id="{4BAA7F89-1873-1608-24E1-FC471D3E8821}"/>
                </a:ext>
              </a:extLst>
            </p:cNvPr>
            <p:cNvSpPr/>
            <p:nvPr/>
          </p:nvSpPr>
          <p:spPr>
            <a:xfrm>
              <a:off x="4146784" y="5265947"/>
              <a:ext cx="224123" cy="237801"/>
            </a:xfrm>
            <a:custGeom>
              <a:avLst/>
              <a:gdLst>
                <a:gd name="connsiteX0" fmla="*/ 0 w 224123"/>
                <a:gd name="connsiteY0" fmla="*/ 82544 h 237801"/>
                <a:gd name="connsiteX1" fmla="*/ 10525 w 224123"/>
                <a:gd name="connsiteY1" fmla="*/ 48339 h 237801"/>
                <a:gd name="connsiteX2" fmla="*/ 11192 w 224123"/>
                <a:gd name="connsiteY2" fmla="*/ 33061 h 237801"/>
                <a:gd name="connsiteX3" fmla="*/ 24003 w 224123"/>
                <a:gd name="connsiteY3" fmla="*/ 8192 h 237801"/>
                <a:gd name="connsiteX4" fmla="*/ 70542 w 224123"/>
                <a:gd name="connsiteY4" fmla="*/ 0 h 237801"/>
                <a:gd name="connsiteX5" fmla="*/ 95345 w 224123"/>
                <a:gd name="connsiteY5" fmla="*/ 391 h 237801"/>
                <a:gd name="connsiteX6" fmla="*/ 120224 w 224123"/>
                <a:gd name="connsiteY6" fmla="*/ 14812 h 237801"/>
                <a:gd name="connsiteX7" fmla="*/ 120682 w 224123"/>
                <a:gd name="connsiteY7" fmla="*/ 23518 h 237801"/>
                <a:gd name="connsiteX8" fmla="*/ 128578 w 224123"/>
                <a:gd name="connsiteY8" fmla="*/ 39272 h 237801"/>
                <a:gd name="connsiteX9" fmla="*/ 126806 w 224123"/>
                <a:gd name="connsiteY9" fmla="*/ 77991 h 237801"/>
                <a:gd name="connsiteX10" fmla="*/ 155000 w 224123"/>
                <a:gd name="connsiteY10" fmla="*/ 83497 h 237801"/>
                <a:gd name="connsiteX11" fmla="*/ 165897 w 224123"/>
                <a:gd name="connsiteY11" fmla="*/ 77877 h 237801"/>
                <a:gd name="connsiteX12" fmla="*/ 183937 w 224123"/>
                <a:gd name="connsiteY12" fmla="*/ 85640 h 237801"/>
                <a:gd name="connsiteX13" fmla="*/ 188938 w 224123"/>
                <a:gd name="connsiteY13" fmla="*/ 94231 h 237801"/>
                <a:gd name="connsiteX14" fmla="*/ 191424 w 224123"/>
                <a:gd name="connsiteY14" fmla="*/ 120691 h 237801"/>
                <a:gd name="connsiteX15" fmla="*/ 194538 w 224123"/>
                <a:gd name="connsiteY15" fmla="*/ 131855 h 237801"/>
                <a:gd name="connsiteX16" fmla="*/ 204502 w 224123"/>
                <a:gd name="connsiteY16" fmla="*/ 133150 h 237801"/>
                <a:gd name="connsiteX17" fmla="*/ 214522 w 224123"/>
                <a:gd name="connsiteY17" fmla="*/ 128454 h 237801"/>
                <a:gd name="connsiteX18" fmla="*/ 224123 w 224123"/>
                <a:gd name="connsiteY18" fmla="*/ 133721 h 237801"/>
                <a:gd name="connsiteX19" fmla="*/ 224114 w 224123"/>
                <a:gd name="connsiteY19" fmla="*/ 149743 h 237801"/>
                <a:gd name="connsiteX20" fmla="*/ 220494 w 224123"/>
                <a:gd name="connsiteY20" fmla="*/ 167050 h 237801"/>
                <a:gd name="connsiteX21" fmla="*/ 215255 w 224123"/>
                <a:gd name="connsiteY21" fmla="*/ 184033 h 237801"/>
                <a:gd name="connsiteX22" fmla="*/ 210883 w 224123"/>
                <a:gd name="connsiteY22" fmla="*/ 210151 h 237801"/>
                <a:gd name="connsiteX23" fmla="*/ 186661 w 224123"/>
                <a:gd name="connsiteY23" fmla="*/ 232991 h 237801"/>
                <a:gd name="connsiteX24" fmla="*/ 165544 w 224123"/>
                <a:gd name="connsiteY24" fmla="*/ 237801 h 237801"/>
                <a:gd name="connsiteX25" fmla="*/ 135550 w 224123"/>
                <a:gd name="connsiteY25" fmla="*/ 233239 h 237801"/>
                <a:gd name="connsiteX26" fmla="*/ 108613 w 224123"/>
                <a:gd name="connsiteY26" fmla="*/ 225104 h 237801"/>
                <a:gd name="connsiteX27" fmla="*/ 134912 w 224123"/>
                <a:gd name="connsiteY27" fmla="*/ 180032 h 237801"/>
                <a:gd name="connsiteX28" fmla="*/ 131073 w 224123"/>
                <a:gd name="connsiteY28" fmla="*/ 167059 h 237801"/>
                <a:gd name="connsiteX29" fmla="*/ 103565 w 224123"/>
                <a:gd name="connsiteY29" fmla="*/ 155610 h 237801"/>
                <a:gd name="connsiteX30" fmla="*/ 70933 w 224123"/>
                <a:gd name="connsiteY30" fmla="*/ 134064 h 237801"/>
                <a:gd name="connsiteX31" fmla="*/ 49101 w 224123"/>
                <a:gd name="connsiteY31" fmla="*/ 129645 h 237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4123" h="237801">
                  <a:moveTo>
                    <a:pt x="0" y="82544"/>
                  </a:moveTo>
                  <a:lnTo>
                    <a:pt x="10525" y="48339"/>
                  </a:lnTo>
                  <a:lnTo>
                    <a:pt x="11192" y="33061"/>
                  </a:lnTo>
                  <a:lnTo>
                    <a:pt x="24003" y="8192"/>
                  </a:lnTo>
                  <a:lnTo>
                    <a:pt x="70542" y="0"/>
                  </a:lnTo>
                  <a:lnTo>
                    <a:pt x="95345" y="391"/>
                  </a:lnTo>
                  <a:lnTo>
                    <a:pt x="120224" y="14812"/>
                  </a:lnTo>
                  <a:lnTo>
                    <a:pt x="120682" y="23518"/>
                  </a:lnTo>
                  <a:lnTo>
                    <a:pt x="128578" y="39272"/>
                  </a:lnTo>
                  <a:lnTo>
                    <a:pt x="126806" y="77991"/>
                  </a:lnTo>
                  <a:lnTo>
                    <a:pt x="155000" y="83497"/>
                  </a:lnTo>
                  <a:lnTo>
                    <a:pt x="165897" y="77877"/>
                  </a:lnTo>
                  <a:lnTo>
                    <a:pt x="183937" y="85640"/>
                  </a:lnTo>
                  <a:lnTo>
                    <a:pt x="188938" y="94231"/>
                  </a:lnTo>
                  <a:lnTo>
                    <a:pt x="191424" y="120691"/>
                  </a:lnTo>
                  <a:lnTo>
                    <a:pt x="194538" y="131855"/>
                  </a:lnTo>
                  <a:lnTo>
                    <a:pt x="204502" y="133150"/>
                  </a:lnTo>
                  <a:lnTo>
                    <a:pt x="214522" y="128454"/>
                  </a:lnTo>
                  <a:lnTo>
                    <a:pt x="224123" y="133721"/>
                  </a:lnTo>
                  <a:lnTo>
                    <a:pt x="224114" y="149743"/>
                  </a:lnTo>
                  <a:lnTo>
                    <a:pt x="220494" y="167050"/>
                  </a:lnTo>
                  <a:lnTo>
                    <a:pt x="215255" y="184033"/>
                  </a:lnTo>
                  <a:lnTo>
                    <a:pt x="210883" y="210151"/>
                  </a:lnTo>
                  <a:lnTo>
                    <a:pt x="186661" y="232991"/>
                  </a:lnTo>
                  <a:lnTo>
                    <a:pt x="165544" y="237801"/>
                  </a:lnTo>
                  <a:lnTo>
                    <a:pt x="135550" y="233239"/>
                  </a:lnTo>
                  <a:lnTo>
                    <a:pt x="108613" y="225104"/>
                  </a:lnTo>
                  <a:lnTo>
                    <a:pt x="134912" y="180032"/>
                  </a:lnTo>
                  <a:lnTo>
                    <a:pt x="131073" y="167059"/>
                  </a:lnTo>
                  <a:lnTo>
                    <a:pt x="103565" y="155610"/>
                  </a:lnTo>
                  <a:lnTo>
                    <a:pt x="70933" y="134064"/>
                  </a:lnTo>
                  <a:lnTo>
                    <a:pt x="49101" y="1296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4" name="Forme libre : forme 5783">
              <a:extLst>
                <a:ext uri="{FF2B5EF4-FFF2-40B4-BE49-F238E27FC236}">
                  <a16:creationId xmlns:a16="http://schemas.microsoft.com/office/drawing/2014/main" id="{812895D2-68F7-CA2D-00EF-F8E9279012E7}"/>
                </a:ext>
              </a:extLst>
            </p:cNvPr>
            <p:cNvSpPr/>
            <p:nvPr/>
          </p:nvSpPr>
          <p:spPr>
            <a:xfrm>
              <a:off x="7176096" y="4024250"/>
              <a:ext cx="23041" cy="45796"/>
            </a:xfrm>
            <a:custGeom>
              <a:avLst/>
              <a:gdLst>
                <a:gd name="connsiteX0" fmla="*/ 1771 w 23041"/>
                <a:gd name="connsiteY0" fmla="*/ 39996 h 45796"/>
                <a:gd name="connsiteX1" fmla="*/ 0 w 23041"/>
                <a:gd name="connsiteY1" fmla="*/ 18650 h 45796"/>
                <a:gd name="connsiteX2" fmla="*/ 7201 w 23041"/>
                <a:gd name="connsiteY2" fmla="*/ 3181 h 45796"/>
                <a:gd name="connsiteX3" fmla="*/ 14497 w 23041"/>
                <a:gd name="connsiteY3" fmla="*/ 0 h 45796"/>
                <a:gd name="connsiteX4" fmla="*/ 22574 w 23041"/>
                <a:gd name="connsiteY4" fmla="*/ 9258 h 45796"/>
                <a:gd name="connsiteX5" fmla="*/ 23041 w 23041"/>
                <a:gd name="connsiteY5" fmla="*/ 26489 h 45796"/>
                <a:gd name="connsiteX6" fmla="*/ 17250 w 23041"/>
                <a:gd name="connsiteY6" fmla="*/ 43720 h 45796"/>
                <a:gd name="connsiteX7" fmla="*/ 9840 w 23041"/>
                <a:gd name="connsiteY7" fmla="*/ 45796 h 4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41" h="45796">
                  <a:moveTo>
                    <a:pt x="1771" y="39996"/>
                  </a:moveTo>
                  <a:lnTo>
                    <a:pt x="0" y="18650"/>
                  </a:lnTo>
                  <a:lnTo>
                    <a:pt x="7201" y="3181"/>
                  </a:lnTo>
                  <a:lnTo>
                    <a:pt x="14497" y="0"/>
                  </a:lnTo>
                  <a:lnTo>
                    <a:pt x="22574" y="9258"/>
                  </a:lnTo>
                  <a:lnTo>
                    <a:pt x="23041" y="26489"/>
                  </a:lnTo>
                  <a:lnTo>
                    <a:pt x="17250" y="43720"/>
                  </a:lnTo>
                  <a:lnTo>
                    <a:pt x="9840" y="4579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5" name="Forme libre : forme 5784">
              <a:extLst>
                <a:ext uri="{FF2B5EF4-FFF2-40B4-BE49-F238E27FC236}">
                  <a16:creationId xmlns:a16="http://schemas.microsoft.com/office/drawing/2014/main" id="{41E97962-1EE8-A763-FD38-FDC30D367C60}"/>
                </a:ext>
              </a:extLst>
            </p:cNvPr>
            <p:cNvSpPr/>
            <p:nvPr/>
          </p:nvSpPr>
          <p:spPr>
            <a:xfrm>
              <a:off x="6360909" y="3276366"/>
              <a:ext cx="251211" cy="173697"/>
            </a:xfrm>
            <a:custGeom>
              <a:avLst/>
              <a:gdLst>
                <a:gd name="connsiteX0" fmla="*/ 66513 w 251211"/>
                <a:gd name="connsiteY0" fmla="*/ 13497 h 173697"/>
                <a:gd name="connsiteX1" fmla="*/ 78048 w 251211"/>
                <a:gd name="connsiteY1" fmla="*/ 4972 h 173697"/>
                <a:gd name="connsiteX2" fmla="*/ 94564 w 251211"/>
                <a:gd name="connsiteY2" fmla="*/ 9392 h 173697"/>
                <a:gd name="connsiteX3" fmla="*/ 111690 w 251211"/>
                <a:gd name="connsiteY3" fmla="*/ 9535 h 173697"/>
                <a:gd name="connsiteX4" fmla="*/ 124091 w 251211"/>
                <a:gd name="connsiteY4" fmla="*/ 19231 h 173697"/>
                <a:gd name="connsiteX5" fmla="*/ 133207 w 251211"/>
                <a:gd name="connsiteY5" fmla="*/ 13145 h 173697"/>
                <a:gd name="connsiteX6" fmla="*/ 152914 w 251211"/>
                <a:gd name="connsiteY6" fmla="*/ 9325 h 173697"/>
                <a:gd name="connsiteX7" fmla="*/ 159639 w 251211"/>
                <a:gd name="connsiteY7" fmla="*/ 0 h 173697"/>
                <a:gd name="connsiteX8" fmla="*/ 170907 w 251211"/>
                <a:gd name="connsiteY8" fmla="*/ 10 h 173697"/>
                <a:gd name="connsiteX9" fmla="*/ 179041 w 251211"/>
                <a:gd name="connsiteY9" fmla="*/ 3905 h 173697"/>
                <a:gd name="connsiteX10" fmla="*/ 187318 w 251211"/>
                <a:gd name="connsiteY10" fmla="*/ 15697 h 173697"/>
                <a:gd name="connsiteX11" fmla="*/ 195786 w 251211"/>
                <a:gd name="connsiteY11" fmla="*/ 32347 h 173697"/>
                <a:gd name="connsiteX12" fmla="*/ 211198 w 251211"/>
                <a:gd name="connsiteY12" fmla="*/ 55607 h 173697"/>
                <a:gd name="connsiteX13" fmla="*/ 212045 w 251211"/>
                <a:gd name="connsiteY13" fmla="*/ 72609 h 173697"/>
                <a:gd name="connsiteX14" fmla="*/ 209235 w 251211"/>
                <a:gd name="connsiteY14" fmla="*/ 89030 h 173697"/>
                <a:gd name="connsiteX15" fmla="*/ 214017 w 251211"/>
                <a:gd name="connsiteY15" fmla="*/ 106423 h 173697"/>
                <a:gd name="connsiteX16" fmla="*/ 225933 w 251211"/>
                <a:gd name="connsiteY16" fmla="*/ 113405 h 173697"/>
                <a:gd name="connsiteX17" fmla="*/ 238477 w 251211"/>
                <a:gd name="connsiteY17" fmla="*/ 107309 h 173697"/>
                <a:gd name="connsiteX18" fmla="*/ 250593 w 251211"/>
                <a:gd name="connsiteY18" fmla="*/ 113814 h 173697"/>
                <a:gd name="connsiteX19" fmla="*/ 251212 w 251211"/>
                <a:gd name="connsiteY19" fmla="*/ 123549 h 173697"/>
                <a:gd name="connsiteX20" fmla="*/ 238267 w 251211"/>
                <a:gd name="connsiteY20" fmla="*/ 131636 h 173697"/>
                <a:gd name="connsiteX21" fmla="*/ 230152 w 251211"/>
                <a:gd name="connsiteY21" fmla="*/ 128121 h 173697"/>
                <a:gd name="connsiteX22" fmla="*/ 222685 w 251211"/>
                <a:gd name="connsiteY22" fmla="*/ 172993 h 173697"/>
                <a:gd name="connsiteX23" fmla="*/ 206978 w 251211"/>
                <a:gd name="connsiteY23" fmla="*/ 169126 h 173697"/>
                <a:gd name="connsiteX24" fmla="*/ 187547 w 251211"/>
                <a:gd name="connsiteY24" fmla="*/ 155677 h 173697"/>
                <a:gd name="connsiteX25" fmla="*/ 156105 w 251211"/>
                <a:gd name="connsiteY25" fmla="*/ 164287 h 173697"/>
                <a:gd name="connsiteX26" fmla="*/ 142856 w 251211"/>
                <a:gd name="connsiteY26" fmla="*/ 173698 h 173697"/>
                <a:gd name="connsiteX27" fmla="*/ 103641 w 251211"/>
                <a:gd name="connsiteY27" fmla="*/ 171755 h 173697"/>
                <a:gd name="connsiteX28" fmla="*/ 83115 w 251211"/>
                <a:gd name="connsiteY28" fmla="*/ 166002 h 173697"/>
                <a:gd name="connsiteX29" fmla="*/ 72771 w 251211"/>
                <a:gd name="connsiteY29" fmla="*/ 168707 h 173697"/>
                <a:gd name="connsiteX30" fmla="*/ 65084 w 251211"/>
                <a:gd name="connsiteY30" fmla="*/ 153486 h 173697"/>
                <a:gd name="connsiteX31" fmla="*/ 60198 w 251211"/>
                <a:gd name="connsiteY31" fmla="*/ 146999 h 173697"/>
                <a:gd name="connsiteX32" fmla="*/ 66389 w 251211"/>
                <a:gd name="connsiteY32" fmla="*/ 140703 h 173697"/>
                <a:gd name="connsiteX33" fmla="*/ 59798 w 251211"/>
                <a:gd name="connsiteY33" fmla="*/ 136055 h 173697"/>
                <a:gd name="connsiteX34" fmla="*/ 51415 w 251211"/>
                <a:gd name="connsiteY34" fmla="*/ 144418 h 173697"/>
                <a:gd name="connsiteX35" fmla="*/ 35843 w 251211"/>
                <a:gd name="connsiteY35" fmla="*/ 133560 h 173697"/>
                <a:gd name="connsiteX36" fmla="*/ 33747 w 251211"/>
                <a:gd name="connsiteY36" fmla="*/ 118053 h 173697"/>
                <a:gd name="connsiteX37" fmla="*/ 17469 w 251211"/>
                <a:gd name="connsiteY37" fmla="*/ 109147 h 173697"/>
                <a:gd name="connsiteX38" fmla="*/ 14478 w 251211"/>
                <a:gd name="connsiteY38" fmla="*/ 97050 h 173697"/>
                <a:gd name="connsiteX39" fmla="*/ 0 w 251211"/>
                <a:gd name="connsiteY39" fmla="*/ 82010 h 173697"/>
                <a:gd name="connsiteX40" fmla="*/ 21412 w 251211"/>
                <a:gd name="connsiteY40" fmla="*/ 74752 h 173697"/>
                <a:gd name="connsiteX41" fmla="*/ 37566 w 251211"/>
                <a:gd name="connsiteY41" fmla="*/ 48454 h 173697"/>
                <a:gd name="connsiteX42" fmla="*/ 50196 w 251211"/>
                <a:gd name="connsiteY42" fmla="*/ 21803 h 173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1211" h="173697">
                  <a:moveTo>
                    <a:pt x="66513" y="13497"/>
                  </a:moveTo>
                  <a:lnTo>
                    <a:pt x="78048" y="4972"/>
                  </a:lnTo>
                  <a:lnTo>
                    <a:pt x="94564" y="9392"/>
                  </a:lnTo>
                  <a:lnTo>
                    <a:pt x="111690" y="9535"/>
                  </a:lnTo>
                  <a:lnTo>
                    <a:pt x="124091" y="19231"/>
                  </a:lnTo>
                  <a:lnTo>
                    <a:pt x="133207" y="13145"/>
                  </a:lnTo>
                  <a:lnTo>
                    <a:pt x="152914" y="9325"/>
                  </a:lnTo>
                  <a:lnTo>
                    <a:pt x="159639" y="0"/>
                  </a:lnTo>
                  <a:lnTo>
                    <a:pt x="170907" y="10"/>
                  </a:lnTo>
                  <a:lnTo>
                    <a:pt x="179041" y="3905"/>
                  </a:lnTo>
                  <a:lnTo>
                    <a:pt x="187318" y="15697"/>
                  </a:lnTo>
                  <a:lnTo>
                    <a:pt x="195786" y="32347"/>
                  </a:lnTo>
                  <a:lnTo>
                    <a:pt x="211198" y="55607"/>
                  </a:lnTo>
                  <a:lnTo>
                    <a:pt x="212045" y="72609"/>
                  </a:lnTo>
                  <a:lnTo>
                    <a:pt x="209235" y="89030"/>
                  </a:lnTo>
                  <a:lnTo>
                    <a:pt x="214017" y="106423"/>
                  </a:lnTo>
                  <a:lnTo>
                    <a:pt x="225933" y="113405"/>
                  </a:lnTo>
                  <a:lnTo>
                    <a:pt x="238477" y="107309"/>
                  </a:lnTo>
                  <a:lnTo>
                    <a:pt x="250593" y="113814"/>
                  </a:lnTo>
                  <a:lnTo>
                    <a:pt x="251212" y="123549"/>
                  </a:lnTo>
                  <a:lnTo>
                    <a:pt x="238267" y="131636"/>
                  </a:lnTo>
                  <a:lnTo>
                    <a:pt x="230152" y="128121"/>
                  </a:lnTo>
                  <a:lnTo>
                    <a:pt x="222685" y="172993"/>
                  </a:lnTo>
                  <a:lnTo>
                    <a:pt x="206978" y="169126"/>
                  </a:lnTo>
                  <a:lnTo>
                    <a:pt x="187547" y="155677"/>
                  </a:lnTo>
                  <a:lnTo>
                    <a:pt x="156105" y="164287"/>
                  </a:lnTo>
                  <a:lnTo>
                    <a:pt x="142856" y="173698"/>
                  </a:lnTo>
                  <a:lnTo>
                    <a:pt x="103641" y="171755"/>
                  </a:lnTo>
                  <a:lnTo>
                    <a:pt x="83115" y="166002"/>
                  </a:lnTo>
                  <a:lnTo>
                    <a:pt x="72771" y="168707"/>
                  </a:lnTo>
                  <a:lnTo>
                    <a:pt x="65084" y="153486"/>
                  </a:lnTo>
                  <a:lnTo>
                    <a:pt x="60198" y="146999"/>
                  </a:lnTo>
                  <a:lnTo>
                    <a:pt x="66389" y="140703"/>
                  </a:lnTo>
                  <a:lnTo>
                    <a:pt x="59798" y="136055"/>
                  </a:lnTo>
                  <a:lnTo>
                    <a:pt x="51415" y="144418"/>
                  </a:lnTo>
                  <a:lnTo>
                    <a:pt x="35843" y="133560"/>
                  </a:lnTo>
                  <a:lnTo>
                    <a:pt x="33747" y="118053"/>
                  </a:lnTo>
                  <a:lnTo>
                    <a:pt x="17469" y="109147"/>
                  </a:lnTo>
                  <a:lnTo>
                    <a:pt x="14478" y="97050"/>
                  </a:lnTo>
                  <a:lnTo>
                    <a:pt x="0" y="82010"/>
                  </a:lnTo>
                  <a:lnTo>
                    <a:pt x="21412" y="74752"/>
                  </a:lnTo>
                  <a:lnTo>
                    <a:pt x="37566" y="48454"/>
                  </a:lnTo>
                  <a:lnTo>
                    <a:pt x="50196" y="218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6" name="Forme libre : forme 5785">
              <a:extLst>
                <a:ext uri="{FF2B5EF4-FFF2-40B4-BE49-F238E27FC236}">
                  <a16:creationId xmlns:a16="http://schemas.microsoft.com/office/drawing/2014/main" id="{34CB76B2-61BD-F61F-0D12-18C38F3BD6B9}"/>
                </a:ext>
              </a:extLst>
            </p:cNvPr>
            <p:cNvSpPr/>
            <p:nvPr/>
          </p:nvSpPr>
          <p:spPr>
            <a:xfrm>
              <a:off x="6323780" y="3356671"/>
              <a:ext cx="110994" cy="145875"/>
            </a:xfrm>
            <a:custGeom>
              <a:avLst/>
              <a:gdLst>
                <a:gd name="connsiteX0" fmla="*/ 54597 w 110994"/>
                <a:gd name="connsiteY0" fmla="*/ 28842 h 145875"/>
                <a:gd name="connsiteX1" fmla="*/ 70875 w 110994"/>
                <a:gd name="connsiteY1" fmla="*/ 37748 h 145875"/>
                <a:gd name="connsiteX2" fmla="*/ 72971 w 110994"/>
                <a:gd name="connsiteY2" fmla="*/ 53254 h 145875"/>
                <a:gd name="connsiteX3" fmla="*/ 88544 w 110994"/>
                <a:gd name="connsiteY3" fmla="*/ 64113 h 145875"/>
                <a:gd name="connsiteX4" fmla="*/ 96926 w 110994"/>
                <a:gd name="connsiteY4" fmla="*/ 55750 h 145875"/>
                <a:gd name="connsiteX5" fmla="*/ 103518 w 110994"/>
                <a:gd name="connsiteY5" fmla="*/ 60398 h 145875"/>
                <a:gd name="connsiteX6" fmla="*/ 97327 w 110994"/>
                <a:gd name="connsiteY6" fmla="*/ 66694 h 145875"/>
                <a:gd name="connsiteX7" fmla="*/ 102213 w 110994"/>
                <a:gd name="connsiteY7" fmla="*/ 73181 h 145875"/>
                <a:gd name="connsiteX8" fmla="*/ 95621 w 110994"/>
                <a:gd name="connsiteY8" fmla="*/ 81591 h 145875"/>
                <a:gd name="connsiteX9" fmla="*/ 98022 w 110994"/>
                <a:gd name="connsiteY9" fmla="*/ 95069 h 145875"/>
                <a:gd name="connsiteX10" fmla="*/ 110995 w 110994"/>
                <a:gd name="connsiteY10" fmla="*/ 110890 h 145875"/>
                <a:gd name="connsiteX11" fmla="*/ 100812 w 110994"/>
                <a:gd name="connsiteY11" fmla="*/ 122272 h 145875"/>
                <a:gd name="connsiteX12" fmla="*/ 96326 w 110994"/>
                <a:gd name="connsiteY12" fmla="*/ 133798 h 145875"/>
                <a:gd name="connsiteX13" fmla="*/ 99222 w 110994"/>
                <a:gd name="connsiteY13" fmla="*/ 138093 h 145875"/>
                <a:gd name="connsiteX14" fmla="*/ 94831 w 110994"/>
                <a:gd name="connsiteY14" fmla="*/ 143180 h 145875"/>
                <a:gd name="connsiteX15" fmla="*/ 82448 w 110994"/>
                <a:gd name="connsiteY15" fmla="*/ 143780 h 145875"/>
                <a:gd name="connsiteX16" fmla="*/ 73352 w 110994"/>
                <a:gd name="connsiteY16" fmla="*/ 145875 h 145875"/>
                <a:gd name="connsiteX17" fmla="*/ 72466 w 110994"/>
                <a:gd name="connsiteY17" fmla="*/ 143180 h 145875"/>
                <a:gd name="connsiteX18" fmla="*/ 75666 w 110994"/>
                <a:gd name="connsiteY18" fmla="*/ 138894 h 145875"/>
                <a:gd name="connsiteX19" fmla="*/ 78657 w 110994"/>
                <a:gd name="connsiteY19" fmla="*/ 130092 h 145875"/>
                <a:gd name="connsiteX20" fmla="*/ 74866 w 110994"/>
                <a:gd name="connsiteY20" fmla="*/ 130292 h 145875"/>
                <a:gd name="connsiteX21" fmla="*/ 69675 w 110994"/>
                <a:gd name="connsiteY21" fmla="*/ 123577 h 145875"/>
                <a:gd name="connsiteX22" fmla="*/ 65284 w 110994"/>
                <a:gd name="connsiteY22" fmla="*/ 121863 h 145875"/>
                <a:gd name="connsiteX23" fmla="*/ 61789 w 110994"/>
                <a:gd name="connsiteY23" fmla="*/ 116081 h 145875"/>
                <a:gd name="connsiteX24" fmla="*/ 56798 w 110994"/>
                <a:gd name="connsiteY24" fmla="*/ 113814 h 145875"/>
                <a:gd name="connsiteX25" fmla="*/ 53007 w 110994"/>
                <a:gd name="connsiteY25" fmla="*/ 108661 h 145875"/>
                <a:gd name="connsiteX26" fmla="*/ 48216 w 110994"/>
                <a:gd name="connsiteY26" fmla="*/ 110680 h 145875"/>
                <a:gd name="connsiteX27" fmla="*/ 44520 w 110994"/>
                <a:gd name="connsiteY27" fmla="*/ 122777 h 145875"/>
                <a:gd name="connsiteX28" fmla="*/ 38128 w 110994"/>
                <a:gd name="connsiteY28" fmla="*/ 125387 h 145875"/>
                <a:gd name="connsiteX29" fmla="*/ 40329 w 110994"/>
                <a:gd name="connsiteY29" fmla="*/ 122272 h 145875"/>
                <a:gd name="connsiteX30" fmla="*/ 30146 w 110994"/>
                <a:gd name="connsiteY30" fmla="*/ 114719 h 145875"/>
                <a:gd name="connsiteX31" fmla="*/ 21364 w 110994"/>
                <a:gd name="connsiteY31" fmla="*/ 110785 h 145875"/>
                <a:gd name="connsiteX32" fmla="*/ 17469 w 110994"/>
                <a:gd name="connsiteY32" fmla="*/ 105728 h 145875"/>
                <a:gd name="connsiteX33" fmla="*/ 10382 w 110994"/>
                <a:gd name="connsiteY33" fmla="*/ 99431 h 145875"/>
                <a:gd name="connsiteX34" fmla="*/ 16669 w 110994"/>
                <a:gd name="connsiteY34" fmla="*/ 97812 h 145875"/>
                <a:gd name="connsiteX35" fmla="*/ 20564 w 110994"/>
                <a:gd name="connsiteY35" fmla="*/ 80467 h 145875"/>
                <a:gd name="connsiteX36" fmla="*/ 7687 w 110994"/>
                <a:gd name="connsiteY36" fmla="*/ 66180 h 145875"/>
                <a:gd name="connsiteX37" fmla="*/ 14373 w 110994"/>
                <a:gd name="connsiteY37" fmla="*/ 49730 h 145875"/>
                <a:gd name="connsiteX38" fmla="*/ 4696 w 110994"/>
                <a:gd name="connsiteY38" fmla="*/ 49825 h 145875"/>
                <a:gd name="connsiteX39" fmla="*/ 14973 w 110994"/>
                <a:gd name="connsiteY39" fmla="*/ 35652 h 145875"/>
                <a:gd name="connsiteX40" fmla="*/ 6486 w 110994"/>
                <a:gd name="connsiteY40" fmla="*/ 24851 h 145875"/>
                <a:gd name="connsiteX41" fmla="*/ 0 w 110994"/>
                <a:gd name="connsiteY41" fmla="*/ 10087 h 145875"/>
                <a:gd name="connsiteX42" fmla="*/ 20460 w 110994"/>
                <a:gd name="connsiteY42" fmla="*/ 0 h 145875"/>
                <a:gd name="connsiteX43" fmla="*/ 37129 w 110994"/>
                <a:gd name="connsiteY43" fmla="*/ 1705 h 145875"/>
                <a:gd name="connsiteX44" fmla="*/ 51606 w 110994"/>
                <a:gd name="connsiteY44" fmla="*/ 16745 h 14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0994" h="145875">
                  <a:moveTo>
                    <a:pt x="54597" y="28842"/>
                  </a:moveTo>
                  <a:lnTo>
                    <a:pt x="70875" y="37748"/>
                  </a:lnTo>
                  <a:lnTo>
                    <a:pt x="72971" y="53254"/>
                  </a:lnTo>
                  <a:lnTo>
                    <a:pt x="88544" y="64113"/>
                  </a:lnTo>
                  <a:lnTo>
                    <a:pt x="96926" y="55750"/>
                  </a:lnTo>
                  <a:lnTo>
                    <a:pt x="103518" y="60398"/>
                  </a:lnTo>
                  <a:lnTo>
                    <a:pt x="97327" y="66694"/>
                  </a:lnTo>
                  <a:lnTo>
                    <a:pt x="102213" y="73181"/>
                  </a:lnTo>
                  <a:lnTo>
                    <a:pt x="95621" y="81591"/>
                  </a:lnTo>
                  <a:lnTo>
                    <a:pt x="98022" y="95069"/>
                  </a:lnTo>
                  <a:lnTo>
                    <a:pt x="110995" y="110890"/>
                  </a:lnTo>
                  <a:lnTo>
                    <a:pt x="100812" y="122272"/>
                  </a:lnTo>
                  <a:lnTo>
                    <a:pt x="96326" y="133798"/>
                  </a:lnTo>
                  <a:lnTo>
                    <a:pt x="99222" y="138093"/>
                  </a:lnTo>
                  <a:lnTo>
                    <a:pt x="94831" y="143180"/>
                  </a:lnTo>
                  <a:lnTo>
                    <a:pt x="82448" y="143780"/>
                  </a:lnTo>
                  <a:lnTo>
                    <a:pt x="73352" y="145875"/>
                  </a:lnTo>
                  <a:lnTo>
                    <a:pt x="72466" y="143180"/>
                  </a:lnTo>
                  <a:lnTo>
                    <a:pt x="75666" y="138894"/>
                  </a:lnTo>
                  <a:lnTo>
                    <a:pt x="78657" y="130092"/>
                  </a:lnTo>
                  <a:lnTo>
                    <a:pt x="74866" y="130292"/>
                  </a:lnTo>
                  <a:lnTo>
                    <a:pt x="69675" y="123577"/>
                  </a:lnTo>
                  <a:lnTo>
                    <a:pt x="65284" y="121863"/>
                  </a:lnTo>
                  <a:lnTo>
                    <a:pt x="61789" y="116081"/>
                  </a:lnTo>
                  <a:lnTo>
                    <a:pt x="56798" y="113814"/>
                  </a:lnTo>
                  <a:lnTo>
                    <a:pt x="53007" y="108661"/>
                  </a:lnTo>
                  <a:lnTo>
                    <a:pt x="48216" y="110680"/>
                  </a:lnTo>
                  <a:lnTo>
                    <a:pt x="44520" y="122777"/>
                  </a:lnTo>
                  <a:lnTo>
                    <a:pt x="38128" y="125387"/>
                  </a:lnTo>
                  <a:lnTo>
                    <a:pt x="40329" y="122272"/>
                  </a:lnTo>
                  <a:lnTo>
                    <a:pt x="30146" y="114719"/>
                  </a:lnTo>
                  <a:lnTo>
                    <a:pt x="21364" y="110785"/>
                  </a:lnTo>
                  <a:lnTo>
                    <a:pt x="17469" y="105728"/>
                  </a:lnTo>
                  <a:lnTo>
                    <a:pt x="10382" y="99431"/>
                  </a:lnTo>
                  <a:lnTo>
                    <a:pt x="16669" y="97812"/>
                  </a:lnTo>
                  <a:lnTo>
                    <a:pt x="20564" y="80467"/>
                  </a:lnTo>
                  <a:lnTo>
                    <a:pt x="7687" y="66180"/>
                  </a:lnTo>
                  <a:lnTo>
                    <a:pt x="14373" y="49730"/>
                  </a:lnTo>
                  <a:lnTo>
                    <a:pt x="4696" y="49825"/>
                  </a:lnTo>
                  <a:lnTo>
                    <a:pt x="14973" y="35652"/>
                  </a:lnTo>
                  <a:lnTo>
                    <a:pt x="6486" y="24851"/>
                  </a:lnTo>
                  <a:lnTo>
                    <a:pt x="0" y="10087"/>
                  </a:lnTo>
                  <a:lnTo>
                    <a:pt x="20460" y="0"/>
                  </a:lnTo>
                  <a:lnTo>
                    <a:pt x="37129" y="1705"/>
                  </a:lnTo>
                  <a:lnTo>
                    <a:pt x="51606" y="167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7" name="Forme libre : forme 5786">
              <a:extLst>
                <a:ext uri="{FF2B5EF4-FFF2-40B4-BE49-F238E27FC236}">
                  <a16:creationId xmlns:a16="http://schemas.microsoft.com/office/drawing/2014/main" id="{6B47E68D-562A-BAA1-E52A-AC91D8247916}"/>
                </a:ext>
              </a:extLst>
            </p:cNvPr>
            <p:cNvSpPr/>
            <p:nvPr/>
          </p:nvSpPr>
          <p:spPr>
            <a:xfrm>
              <a:off x="6345974" y="819582"/>
              <a:ext cx="4551911" cy="2721921"/>
            </a:xfrm>
            <a:custGeom>
              <a:avLst/>
              <a:gdLst>
                <a:gd name="connsiteX0" fmla="*/ 4551912 w 4551911"/>
                <a:gd name="connsiteY0" fmla="*/ 1564386 h 2721921"/>
                <a:gd name="connsiteX1" fmla="*/ 4525432 w 4551911"/>
                <a:gd name="connsiteY1" fmla="*/ 1592704 h 2721921"/>
                <a:gd name="connsiteX2" fmla="*/ 4481617 w 4551911"/>
                <a:gd name="connsiteY2" fmla="*/ 1599352 h 2721921"/>
                <a:gd name="connsiteX3" fmla="*/ 4480951 w 4551911"/>
                <a:gd name="connsiteY3" fmla="*/ 1660912 h 2721921"/>
                <a:gd name="connsiteX4" fmla="*/ 4470273 w 4551911"/>
                <a:gd name="connsiteY4" fmla="*/ 1673743 h 2721921"/>
                <a:gd name="connsiteX5" fmla="*/ 4445270 w 4551911"/>
                <a:gd name="connsiteY5" fmla="*/ 1671904 h 2721921"/>
                <a:gd name="connsiteX6" fmla="*/ 4424905 w 4551911"/>
                <a:gd name="connsiteY6" fmla="*/ 1650340 h 2721921"/>
                <a:gd name="connsiteX7" fmla="*/ 4389396 w 4551911"/>
                <a:gd name="connsiteY7" fmla="*/ 1632080 h 2721921"/>
                <a:gd name="connsiteX8" fmla="*/ 4383424 w 4551911"/>
                <a:gd name="connsiteY8" fmla="*/ 1604553 h 2721921"/>
                <a:gd name="connsiteX9" fmla="*/ 4356297 w 4551911"/>
                <a:gd name="connsiteY9" fmla="*/ 1594056 h 2721921"/>
                <a:gd name="connsiteX10" fmla="*/ 4325931 w 4551911"/>
                <a:gd name="connsiteY10" fmla="*/ 1602391 h 2721921"/>
                <a:gd name="connsiteX11" fmla="*/ 4311424 w 4551911"/>
                <a:gd name="connsiteY11" fmla="*/ 1579826 h 2721921"/>
                <a:gd name="connsiteX12" fmla="*/ 4317225 w 4551911"/>
                <a:gd name="connsiteY12" fmla="*/ 1555518 h 2721921"/>
                <a:gd name="connsiteX13" fmla="*/ 4285240 w 4551911"/>
                <a:gd name="connsiteY13" fmla="*/ 1571092 h 2721921"/>
                <a:gd name="connsiteX14" fmla="*/ 4297290 w 4551911"/>
                <a:gd name="connsiteY14" fmla="*/ 1601514 h 2721921"/>
                <a:gd name="connsiteX15" fmla="*/ 4282135 w 4551911"/>
                <a:gd name="connsiteY15" fmla="*/ 1628499 h 2721921"/>
                <a:gd name="connsiteX16" fmla="*/ 4281935 w 4551911"/>
                <a:gd name="connsiteY16" fmla="*/ 1628842 h 2721921"/>
                <a:gd name="connsiteX17" fmla="*/ 4247607 w 4551911"/>
                <a:gd name="connsiteY17" fmla="*/ 1656321 h 2721921"/>
                <a:gd name="connsiteX18" fmla="*/ 4212993 w 4551911"/>
                <a:gd name="connsiteY18" fmla="*/ 1651768 h 2721921"/>
                <a:gd name="connsiteX19" fmla="*/ 4237082 w 4551911"/>
                <a:gd name="connsiteY19" fmla="*/ 1684553 h 2721921"/>
                <a:gd name="connsiteX20" fmla="*/ 4252979 w 4551911"/>
                <a:gd name="connsiteY20" fmla="*/ 1734093 h 2721921"/>
                <a:gd name="connsiteX21" fmla="*/ 4265314 w 4551911"/>
                <a:gd name="connsiteY21" fmla="*/ 1749981 h 2721921"/>
                <a:gd name="connsiteX22" fmla="*/ 4268409 w 4551911"/>
                <a:gd name="connsiteY22" fmla="*/ 1774098 h 2721921"/>
                <a:gd name="connsiteX23" fmla="*/ 4261513 w 4551911"/>
                <a:gd name="connsiteY23" fmla="*/ 1789357 h 2721921"/>
                <a:gd name="connsiteX24" fmla="*/ 4211736 w 4551911"/>
                <a:gd name="connsiteY24" fmla="*/ 1776813 h 2721921"/>
                <a:gd name="connsiteX25" fmla="*/ 4137088 w 4551911"/>
                <a:gd name="connsiteY25" fmla="*/ 1819780 h 2721921"/>
                <a:gd name="connsiteX26" fmla="*/ 4113343 w 4551911"/>
                <a:gd name="connsiteY26" fmla="*/ 1826333 h 2721921"/>
                <a:gd name="connsiteX27" fmla="*/ 4072480 w 4551911"/>
                <a:gd name="connsiteY27" fmla="*/ 1865347 h 2721921"/>
                <a:gd name="connsiteX28" fmla="*/ 4033714 w 4551911"/>
                <a:gd name="connsiteY28" fmla="*/ 1898733 h 2721921"/>
                <a:gd name="connsiteX29" fmla="*/ 4023903 w 4551911"/>
                <a:gd name="connsiteY29" fmla="*/ 1923050 h 2721921"/>
                <a:gd name="connsiteX30" fmla="*/ 3985698 w 4551911"/>
                <a:gd name="connsiteY30" fmla="*/ 1885902 h 2721921"/>
                <a:gd name="connsiteX31" fmla="*/ 3916108 w 4551911"/>
                <a:gd name="connsiteY31" fmla="*/ 1927993 h 2721921"/>
                <a:gd name="connsiteX32" fmla="*/ 3903964 w 4551911"/>
                <a:gd name="connsiteY32" fmla="*/ 1908201 h 2721921"/>
                <a:gd name="connsiteX33" fmla="*/ 3878237 w 4551911"/>
                <a:gd name="connsiteY33" fmla="*/ 1931003 h 2721921"/>
                <a:gd name="connsiteX34" fmla="*/ 3842518 w 4551911"/>
                <a:gd name="connsiteY34" fmla="*/ 1923736 h 2721921"/>
                <a:gd name="connsiteX35" fmla="*/ 3833917 w 4551911"/>
                <a:gd name="connsiteY35" fmla="*/ 1958321 h 2721921"/>
                <a:gd name="connsiteX36" fmla="*/ 3801875 w 4551911"/>
                <a:gd name="connsiteY36" fmla="*/ 2008022 h 2721921"/>
                <a:gd name="connsiteX37" fmla="*/ 3802837 w 4551911"/>
                <a:gd name="connsiteY37" fmla="*/ 2028377 h 2721921"/>
                <a:gd name="connsiteX38" fmla="*/ 3833250 w 4551911"/>
                <a:gd name="connsiteY38" fmla="*/ 2039560 h 2721921"/>
                <a:gd name="connsiteX39" fmla="*/ 3829669 w 4551911"/>
                <a:gd name="connsiteY39" fmla="*/ 2110597 h 2721921"/>
                <a:gd name="connsiteX40" fmla="*/ 3804875 w 4551911"/>
                <a:gd name="connsiteY40" fmla="*/ 2112369 h 2721921"/>
                <a:gd name="connsiteX41" fmla="*/ 3793436 w 4551911"/>
                <a:gd name="connsiteY41" fmla="*/ 2151936 h 2721921"/>
                <a:gd name="connsiteX42" fmla="*/ 3804552 w 4551911"/>
                <a:gd name="connsiteY42" fmla="*/ 2171976 h 2721921"/>
                <a:gd name="connsiteX43" fmla="*/ 3757850 w 4551911"/>
                <a:gd name="connsiteY43" fmla="*/ 2195475 h 2721921"/>
                <a:gd name="connsiteX44" fmla="*/ 3748583 w 4551911"/>
                <a:gd name="connsiteY44" fmla="*/ 2246957 h 2721921"/>
                <a:gd name="connsiteX45" fmla="*/ 3708759 w 4551911"/>
                <a:gd name="connsiteY45" fmla="*/ 2257768 h 2721921"/>
                <a:gd name="connsiteX46" fmla="*/ 3700757 w 4551911"/>
                <a:gd name="connsiteY46" fmla="*/ 2302183 h 2721921"/>
                <a:gd name="connsiteX47" fmla="*/ 3662257 w 4551911"/>
                <a:gd name="connsiteY47" fmla="*/ 2342026 h 2721921"/>
                <a:gd name="connsiteX48" fmla="*/ 3652389 w 4551911"/>
                <a:gd name="connsiteY48" fmla="*/ 2312642 h 2721921"/>
                <a:gd name="connsiteX49" fmla="*/ 3640950 w 4551911"/>
                <a:gd name="connsiteY49" fmla="*/ 2248891 h 2721921"/>
                <a:gd name="connsiteX50" fmla="*/ 3626053 w 4551911"/>
                <a:gd name="connsiteY50" fmla="*/ 2147478 h 2721921"/>
                <a:gd name="connsiteX51" fmla="*/ 3638893 w 4551911"/>
                <a:gd name="connsiteY51" fmla="*/ 2081241 h 2721921"/>
                <a:gd name="connsiteX52" fmla="*/ 3661420 w 4551911"/>
                <a:gd name="connsiteY52" fmla="*/ 2051990 h 2721921"/>
                <a:gd name="connsiteX53" fmla="*/ 3662810 w 4551911"/>
                <a:gd name="connsiteY53" fmla="*/ 2028739 h 2721921"/>
                <a:gd name="connsiteX54" fmla="*/ 3704311 w 4551911"/>
                <a:gd name="connsiteY54" fmla="*/ 2017500 h 2721921"/>
                <a:gd name="connsiteX55" fmla="*/ 3752021 w 4551911"/>
                <a:gd name="connsiteY55" fmla="*/ 1952911 h 2721921"/>
                <a:gd name="connsiteX56" fmla="*/ 3797989 w 4551911"/>
                <a:gd name="connsiteY56" fmla="*/ 1898361 h 2721921"/>
                <a:gd name="connsiteX57" fmla="*/ 3845995 w 4551911"/>
                <a:gd name="connsiteY57" fmla="*/ 1854832 h 2721921"/>
                <a:gd name="connsiteX58" fmla="*/ 3867464 w 4551911"/>
                <a:gd name="connsiteY58" fmla="*/ 1775146 h 2721921"/>
                <a:gd name="connsiteX59" fmla="*/ 3835022 w 4551911"/>
                <a:gd name="connsiteY59" fmla="*/ 1780013 h 2721921"/>
                <a:gd name="connsiteX60" fmla="*/ 3818972 w 4551911"/>
                <a:gd name="connsiteY60" fmla="*/ 1826895 h 2721921"/>
                <a:gd name="connsiteX61" fmla="*/ 3751240 w 4551911"/>
                <a:gd name="connsiteY61" fmla="*/ 1887484 h 2721921"/>
                <a:gd name="connsiteX62" fmla="*/ 3729361 w 4551911"/>
                <a:gd name="connsiteY62" fmla="*/ 1819494 h 2721921"/>
                <a:gd name="connsiteX63" fmla="*/ 3660419 w 4551911"/>
                <a:gd name="connsiteY63" fmla="*/ 1838535 h 2721921"/>
                <a:gd name="connsiteX64" fmla="*/ 3593573 w 4551911"/>
                <a:gd name="connsiteY64" fmla="*/ 1929594 h 2721921"/>
                <a:gd name="connsiteX65" fmla="*/ 3615623 w 4551911"/>
                <a:gd name="connsiteY65" fmla="*/ 1961759 h 2721921"/>
                <a:gd name="connsiteX66" fmla="*/ 3556016 w 4551911"/>
                <a:gd name="connsiteY66" fmla="*/ 1975275 h 2721921"/>
                <a:gd name="connsiteX67" fmla="*/ 3514725 w 4551911"/>
                <a:gd name="connsiteY67" fmla="*/ 1980581 h 2721921"/>
                <a:gd name="connsiteX68" fmla="*/ 3516658 w 4551911"/>
                <a:gd name="connsiteY68" fmla="*/ 1942995 h 2721921"/>
                <a:gd name="connsiteX69" fmla="*/ 3475148 w 4551911"/>
                <a:gd name="connsiteY69" fmla="*/ 1935004 h 2721921"/>
                <a:gd name="connsiteX70" fmla="*/ 3442059 w 4551911"/>
                <a:gd name="connsiteY70" fmla="*/ 1960740 h 2721921"/>
                <a:gd name="connsiteX71" fmla="*/ 3360401 w 4551911"/>
                <a:gd name="connsiteY71" fmla="*/ 1951777 h 2721921"/>
                <a:gd name="connsiteX72" fmla="*/ 3272552 w 4551911"/>
                <a:gd name="connsiteY72" fmla="*/ 1967208 h 2721921"/>
                <a:gd name="connsiteX73" fmla="*/ 3186036 w 4551911"/>
                <a:gd name="connsiteY73" fmla="*/ 2065601 h 2721921"/>
                <a:gd name="connsiteX74" fmla="*/ 3083690 w 4551911"/>
                <a:gd name="connsiteY74" fmla="*/ 2177777 h 2721921"/>
                <a:gd name="connsiteX75" fmla="*/ 3125762 w 4551911"/>
                <a:gd name="connsiteY75" fmla="*/ 2183587 h 2721921"/>
                <a:gd name="connsiteX76" fmla="*/ 3138897 w 4551911"/>
                <a:gd name="connsiteY76" fmla="*/ 2212172 h 2721921"/>
                <a:gd name="connsiteX77" fmla="*/ 3164843 w 4551911"/>
                <a:gd name="connsiteY77" fmla="*/ 2222221 h 2721921"/>
                <a:gd name="connsiteX78" fmla="*/ 3181931 w 4551911"/>
                <a:gd name="connsiteY78" fmla="*/ 2199570 h 2721921"/>
                <a:gd name="connsiteX79" fmla="*/ 3211230 w 4551911"/>
                <a:gd name="connsiteY79" fmla="*/ 2202533 h 2721921"/>
                <a:gd name="connsiteX80" fmla="*/ 3249787 w 4551911"/>
                <a:gd name="connsiteY80" fmla="*/ 2251977 h 2721921"/>
                <a:gd name="connsiteX81" fmla="*/ 3250692 w 4551911"/>
                <a:gd name="connsiteY81" fmla="*/ 2289353 h 2721921"/>
                <a:gd name="connsiteX82" fmla="*/ 3229823 w 4551911"/>
                <a:gd name="connsiteY82" fmla="*/ 2332330 h 2721921"/>
                <a:gd name="connsiteX83" fmla="*/ 3227565 w 4551911"/>
                <a:gd name="connsiteY83" fmla="*/ 2382488 h 2721921"/>
                <a:gd name="connsiteX84" fmla="*/ 3215516 w 4551911"/>
                <a:gd name="connsiteY84" fmla="*/ 2447716 h 2721921"/>
                <a:gd name="connsiteX85" fmla="*/ 3175263 w 4551911"/>
                <a:gd name="connsiteY85" fmla="*/ 2504989 h 2721921"/>
                <a:gd name="connsiteX86" fmla="*/ 3166320 w 4551911"/>
                <a:gd name="connsiteY86" fmla="*/ 2531821 h 2721921"/>
                <a:gd name="connsiteX87" fmla="*/ 3130067 w 4551911"/>
                <a:gd name="connsiteY87" fmla="*/ 2576227 h 2721921"/>
                <a:gd name="connsiteX88" fmla="*/ 3094091 w 4551911"/>
                <a:gd name="connsiteY88" fmla="*/ 2619356 h 2721921"/>
                <a:gd name="connsiteX89" fmla="*/ 3076841 w 4551911"/>
                <a:gd name="connsiteY89" fmla="*/ 2641102 h 2721921"/>
                <a:gd name="connsiteX90" fmla="*/ 3041256 w 4551911"/>
                <a:gd name="connsiteY90" fmla="*/ 2662485 h 2721921"/>
                <a:gd name="connsiteX91" fmla="*/ 3024406 w 4551911"/>
                <a:gd name="connsiteY91" fmla="*/ 2662952 h 2721921"/>
                <a:gd name="connsiteX92" fmla="*/ 3007633 w 4551911"/>
                <a:gd name="connsiteY92" fmla="*/ 2645254 h 2721921"/>
                <a:gd name="connsiteX93" fmla="*/ 2971781 w 4551911"/>
                <a:gd name="connsiteY93" fmla="*/ 2671848 h 2721921"/>
                <a:gd name="connsiteX94" fmla="*/ 2967609 w 4551911"/>
                <a:gd name="connsiteY94" fmla="*/ 2683831 h 2721921"/>
                <a:gd name="connsiteX95" fmla="*/ 2963866 w 4551911"/>
                <a:gd name="connsiteY95" fmla="*/ 2677535 h 2721921"/>
                <a:gd name="connsiteX96" fmla="*/ 2963704 w 4551911"/>
                <a:gd name="connsiteY96" fmla="*/ 2659161 h 2721921"/>
                <a:gd name="connsiteX97" fmla="*/ 2977343 w 4551911"/>
                <a:gd name="connsiteY97" fmla="*/ 2658180 h 2721921"/>
                <a:gd name="connsiteX98" fmla="*/ 2981191 w 4551911"/>
                <a:gd name="connsiteY98" fmla="*/ 2614813 h 2721921"/>
                <a:gd name="connsiteX99" fmla="*/ 2974152 w 4551911"/>
                <a:gd name="connsiteY99" fmla="*/ 2582828 h 2721921"/>
                <a:gd name="connsiteX100" fmla="*/ 2997079 w 4551911"/>
                <a:gd name="connsiteY100" fmla="*/ 2569502 h 2721921"/>
                <a:gd name="connsiteX101" fmla="*/ 3029483 w 4551911"/>
                <a:gd name="connsiteY101" fmla="*/ 2576198 h 2721921"/>
                <a:gd name="connsiteX102" fmla="*/ 3047447 w 4551911"/>
                <a:gd name="connsiteY102" fmla="*/ 2539165 h 2721921"/>
                <a:gd name="connsiteX103" fmla="*/ 3056601 w 4551911"/>
                <a:gd name="connsiteY103" fmla="*/ 2496665 h 2721921"/>
                <a:gd name="connsiteX104" fmla="*/ 3066973 w 4551911"/>
                <a:gd name="connsiteY104" fmla="*/ 2482272 h 2721921"/>
                <a:gd name="connsiteX105" fmla="*/ 3081013 w 4551911"/>
                <a:gd name="connsiteY105" fmla="*/ 2446449 h 2721921"/>
                <a:gd name="connsiteX106" fmla="*/ 3036875 w 4551911"/>
                <a:gd name="connsiteY106" fmla="*/ 2458250 h 2721921"/>
                <a:gd name="connsiteX107" fmla="*/ 3013720 w 4551911"/>
                <a:gd name="connsiteY107" fmla="*/ 2473938 h 2721921"/>
                <a:gd name="connsiteX108" fmla="*/ 2973133 w 4551911"/>
                <a:gd name="connsiteY108" fmla="*/ 2473890 h 2721921"/>
                <a:gd name="connsiteX109" fmla="*/ 2962322 w 4551911"/>
                <a:gd name="connsiteY109" fmla="*/ 2436314 h 2721921"/>
                <a:gd name="connsiteX110" fmla="*/ 2930690 w 4551911"/>
                <a:gd name="connsiteY110" fmla="*/ 2407406 h 2721921"/>
                <a:gd name="connsiteX111" fmla="*/ 2884208 w 4551911"/>
                <a:gd name="connsiteY111" fmla="*/ 2394271 h 2721921"/>
                <a:gd name="connsiteX112" fmla="*/ 2874330 w 4551911"/>
                <a:gd name="connsiteY112" fmla="*/ 2353466 h 2721921"/>
                <a:gd name="connsiteX113" fmla="*/ 2865025 w 4551911"/>
                <a:gd name="connsiteY113" fmla="*/ 2327453 h 2721921"/>
                <a:gd name="connsiteX114" fmla="*/ 2855014 w 4551911"/>
                <a:gd name="connsiteY114" fmla="*/ 2309003 h 2721921"/>
                <a:gd name="connsiteX115" fmla="*/ 2838507 w 4551911"/>
                <a:gd name="connsiteY115" fmla="*/ 2265083 h 2721921"/>
                <a:gd name="connsiteX116" fmla="*/ 2815056 w 4551911"/>
                <a:gd name="connsiteY116" fmla="*/ 2248786 h 2721921"/>
                <a:gd name="connsiteX117" fmla="*/ 2775089 w 4551911"/>
                <a:gd name="connsiteY117" fmla="*/ 2235508 h 2721921"/>
                <a:gd name="connsiteX118" fmla="*/ 2739675 w 4551911"/>
                <a:gd name="connsiteY118" fmla="*/ 2236718 h 2721921"/>
                <a:gd name="connsiteX119" fmla="*/ 2706491 w 4551911"/>
                <a:gd name="connsiteY119" fmla="*/ 2244766 h 2721921"/>
                <a:gd name="connsiteX120" fmla="*/ 2684440 w 4551911"/>
                <a:gd name="connsiteY120" fmla="*/ 2266798 h 2721921"/>
                <a:gd name="connsiteX121" fmla="*/ 2699089 w 4551911"/>
                <a:gd name="connsiteY121" fmla="*/ 2277227 h 2721921"/>
                <a:gd name="connsiteX122" fmla="*/ 2699423 w 4551911"/>
                <a:gd name="connsiteY122" fmla="*/ 2301250 h 2721921"/>
                <a:gd name="connsiteX123" fmla="*/ 2684564 w 4551911"/>
                <a:gd name="connsiteY123" fmla="*/ 2315061 h 2721921"/>
                <a:gd name="connsiteX124" fmla="*/ 2660456 w 4551911"/>
                <a:gd name="connsiteY124" fmla="*/ 2360067 h 2721921"/>
                <a:gd name="connsiteX125" fmla="*/ 2660704 w 4551911"/>
                <a:gd name="connsiteY125" fmla="*/ 2378440 h 2721921"/>
                <a:gd name="connsiteX126" fmla="*/ 2623061 w 4551911"/>
                <a:gd name="connsiteY126" fmla="*/ 2404529 h 2721921"/>
                <a:gd name="connsiteX127" fmla="*/ 2591009 w 4551911"/>
                <a:gd name="connsiteY127" fmla="*/ 2388984 h 2721921"/>
                <a:gd name="connsiteX128" fmla="*/ 2559139 w 4551911"/>
                <a:gd name="connsiteY128" fmla="*/ 2392423 h 2721921"/>
                <a:gd name="connsiteX129" fmla="*/ 2545156 w 4551911"/>
                <a:gd name="connsiteY129" fmla="*/ 2378545 h 2721921"/>
                <a:gd name="connsiteX130" fmla="*/ 2529135 w 4551911"/>
                <a:gd name="connsiteY130" fmla="*/ 2374049 h 2721921"/>
                <a:gd name="connsiteX131" fmla="*/ 2490025 w 4551911"/>
                <a:gd name="connsiteY131" fmla="*/ 2403186 h 2721921"/>
                <a:gd name="connsiteX132" fmla="*/ 2454868 w 4551911"/>
                <a:gd name="connsiteY132" fmla="*/ 2409968 h 2721921"/>
                <a:gd name="connsiteX133" fmla="*/ 2430323 w 4551911"/>
                <a:gd name="connsiteY133" fmla="*/ 2420084 h 2721921"/>
                <a:gd name="connsiteX134" fmla="*/ 2396681 w 4551911"/>
                <a:gd name="connsiteY134" fmla="*/ 2413445 h 2721921"/>
                <a:gd name="connsiteX135" fmla="*/ 2371915 w 4551911"/>
                <a:gd name="connsiteY135" fmla="*/ 2413873 h 2721921"/>
                <a:gd name="connsiteX136" fmla="*/ 2355704 w 4551911"/>
                <a:gd name="connsiteY136" fmla="*/ 2392890 h 2721921"/>
                <a:gd name="connsiteX137" fmla="*/ 2329548 w 4551911"/>
                <a:gd name="connsiteY137" fmla="*/ 2372963 h 2721921"/>
                <a:gd name="connsiteX138" fmla="*/ 2302783 w 4551911"/>
                <a:gd name="connsiteY138" fmla="*/ 2367467 h 2721921"/>
                <a:gd name="connsiteX139" fmla="*/ 2268998 w 4551911"/>
                <a:gd name="connsiteY139" fmla="*/ 2372925 h 2721921"/>
                <a:gd name="connsiteX140" fmla="*/ 2243756 w 4551911"/>
                <a:gd name="connsiteY140" fmla="*/ 2380631 h 2721921"/>
                <a:gd name="connsiteX141" fmla="*/ 2205818 w 4551911"/>
                <a:gd name="connsiteY141" fmla="*/ 2363095 h 2721921"/>
                <a:gd name="connsiteX142" fmla="*/ 2200732 w 4551911"/>
                <a:gd name="connsiteY142" fmla="*/ 2331454 h 2721921"/>
                <a:gd name="connsiteX143" fmla="*/ 2169328 w 4551911"/>
                <a:gd name="connsiteY143" fmla="*/ 2320490 h 2721921"/>
                <a:gd name="connsiteX144" fmla="*/ 2145087 w 4551911"/>
                <a:gd name="connsiteY144" fmla="*/ 2315470 h 2721921"/>
                <a:gd name="connsiteX145" fmla="*/ 2115169 w 4551911"/>
                <a:gd name="connsiteY145" fmla="*/ 2297649 h 2721921"/>
                <a:gd name="connsiteX146" fmla="*/ 2087508 w 4551911"/>
                <a:gd name="connsiteY146" fmla="*/ 2342026 h 2721921"/>
                <a:gd name="connsiteX147" fmla="*/ 2098358 w 4551911"/>
                <a:gd name="connsiteY147" fmla="*/ 2366791 h 2721921"/>
                <a:gd name="connsiteX148" fmla="*/ 2072392 w 4551911"/>
                <a:gd name="connsiteY148" fmla="*/ 2395690 h 2721921"/>
                <a:gd name="connsiteX149" fmla="*/ 2033778 w 4551911"/>
                <a:gd name="connsiteY149" fmla="*/ 2385308 h 2721921"/>
                <a:gd name="connsiteX150" fmla="*/ 2007117 w 4551911"/>
                <a:gd name="connsiteY150" fmla="*/ 2383822 h 2721921"/>
                <a:gd name="connsiteX151" fmla="*/ 1989268 w 4551911"/>
                <a:gd name="connsiteY151" fmla="*/ 2364372 h 2721921"/>
                <a:gd name="connsiteX152" fmla="*/ 1961407 w 4551911"/>
                <a:gd name="connsiteY152" fmla="*/ 2363753 h 2721921"/>
                <a:gd name="connsiteX153" fmla="*/ 1938185 w 4551911"/>
                <a:gd name="connsiteY153" fmla="*/ 2350856 h 2721921"/>
                <a:gd name="connsiteX154" fmla="*/ 1897561 w 4551911"/>
                <a:gd name="connsiteY154" fmla="*/ 2370582 h 2721921"/>
                <a:gd name="connsiteX155" fmla="*/ 1846602 w 4551911"/>
                <a:gd name="connsiteY155" fmla="*/ 2406196 h 2721921"/>
                <a:gd name="connsiteX156" fmla="*/ 1818446 w 4551911"/>
                <a:gd name="connsiteY156" fmla="*/ 2413283 h 2721921"/>
                <a:gd name="connsiteX157" fmla="*/ 1807987 w 4551911"/>
                <a:gd name="connsiteY157" fmla="*/ 2416636 h 2721921"/>
                <a:gd name="connsiteX158" fmla="*/ 1793824 w 4551911"/>
                <a:gd name="connsiteY158" fmla="*/ 2391547 h 2721921"/>
                <a:gd name="connsiteX159" fmla="*/ 1759419 w 4551911"/>
                <a:gd name="connsiteY159" fmla="*/ 2397062 h 2721921"/>
                <a:gd name="connsiteX160" fmla="*/ 1748056 w 4551911"/>
                <a:gd name="connsiteY160" fmla="*/ 2379507 h 2721921"/>
                <a:gd name="connsiteX161" fmla="*/ 1729388 w 4551911"/>
                <a:gd name="connsiteY161" fmla="*/ 2371430 h 2721921"/>
                <a:gd name="connsiteX162" fmla="*/ 1716528 w 4551911"/>
                <a:gd name="connsiteY162" fmla="*/ 2347189 h 2721921"/>
                <a:gd name="connsiteX163" fmla="*/ 1701784 w 4551911"/>
                <a:gd name="connsiteY163" fmla="*/ 2339578 h 2721921"/>
                <a:gd name="connsiteX164" fmla="*/ 1663408 w 4551911"/>
                <a:gd name="connsiteY164" fmla="*/ 2350437 h 2721921"/>
                <a:gd name="connsiteX165" fmla="*/ 1626622 w 4551911"/>
                <a:gd name="connsiteY165" fmla="*/ 2326005 h 2721921"/>
                <a:gd name="connsiteX166" fmla="*/ 1612392 w 4551911"/>
                <a:gd name="connsiteY166" fmla="*/ 2348227 h 2721921"/>
                <a:gd name="connsiteX167" fmla="*/ 1552708 w 4551911"/>
                <a:gd name="connsiteY167" fmla="*/ 2237966 h 2721921"/>
                <a:gd name="connsiteX168" fmla="*/ 1518637 w 4551911"/>
                <a:gd name="connsiteY168" fmla="*/ 2203114 h 2721921"/>
                <a:gd name="connsiteX169" fmla="*/ 1528400 w 4551911"/>
                <a:gd name="connsiteY169" fmla="*/ 2188788 h 2721921"/>
                <a:gd name="connsiteX170" fmla="*/ 1461478 w 4551911"/>
                <a:gd name="connsiteY170" fmla="*/ 2231593 h 2721921"/>
                <a:gd name="connsiteX171" fmla="*/ 1435865 w 4551911"/>
                <a:gd name="connsiteY171" fmla="*/ 2234146 h 2721921"/>
                <a:gd name="connsiteX172" fmla="*/ 1438074 w 4551911"/>
                <a:gd name="connsiteY172" fmla="*/ 2209543 h 2721921"/>
                <a:gd name="connsiteX173" fmla="*/ 1403766 w 4551911"/>
                <a:gd name="connsiteY173" fmla="*/ 2194008 h 2721921"/>
                <a:gd name="connsiteX174" fmla="*/ 1375886 w 4551911"/>
                <a:gd name="connsiteY174" fmla="*/ 2205114 h 2721921"/>
                <a:gd name="connsiteX175" fmla="*/ 1367475 w 4551911"/>
                <a:gd name="connsiteY175" fmla="*/ 2157375 h 2721921"/>
                <a:gd name="connsiteX176" fmla="*/ 1319479 w 4551911"/>
                <a:gd name="connsiteY176" fmla="*/ 2147287 h 2721921"/>
                <a:gd name="connsiteX177" fmla="*/ 1295466 w 4551911"/>
                <a:gd name="connsiteY177" fmla="*/ 2166652 h 2721921"/>
                <a:gd name="connsiteX178" fmla="*/ 1228639 w 4551911"/>
                <a:gd name="connsiteY178" fmla="*/ 2183711 h 2721921"/>
                <a:gd name="connsiteX179" fmla="*/ 1215599 w 4551911"/>
                <a:gd name="connsiteY179" fmla="*/ 2195036 h 2721921"/>
                <a:gd name="connsiteX180" fmla="*/ 1115663 w 4551911"/>
                <a:gd name="connsiteY180" fmla="*/ 2210877 h 2721921"/>
                <a:gd name="connsiteX181" fmla="*/ 1103423 w 4551911"/>
                <a:gd name="connsiteY181" fmla="*/ 2226288 h 2721921"/>
                <a:gd name="connsiteX182" fmla="*/ 1122702 w 4551911"/>
                <a:gd name="connsiteY182" fmla="*/ 2256844 h 2721921"/>
                <a:gd name="connsiteX183" fmla="*/ 1097061 w 4551911"/>
                <a:gd name="connsiteY183" fmla="*/ 2268312 h 2721921"/>
                <a:gd name="connsiteX184" fmla="*/ 1102061 w 4551911"/>
                <a:gd name="connsiteY184" fmla="*/ 2280257 h 2721921"/>
                <a:gd name="connsiteX185" fmla="*/ 1076430 w 4551911"/>
                <a:gd name="connsiteY185" fmla="*/ 2301431 h 2721921"/>
                <a:gd name="connsiteX186" fmla="*/ 1119711 w 4551911"/>
                <a:gd name="connsiteY186" fmla="*/ 2330939 h 2721921"/>
                <a:gd name="connsiteX187" fmla="*/ 1113025 w 4551911"/>
                <a:gd name="connsiteY187" fmla="*/ 2350999 h 2721921"/>
                <a:gd name="connsiteX188" fmla="*/ 1075515 w 4551911"/>
                <a:gd name="connsiteY188" fmla="*/ 2349179 h 2721921"/>
                <a:gd name="connsiteX189" fmla="*/ 1067762 w 4551911"/>
                <a:gd name="connsiteY189" fmla="*/ 2361657 h 2721921"/>
                <a:gd name="connsiteX190" fmla="*/ 1033605 w 4551911"/>
                <a:gd name="connsiteY190" fmla="*/ 2339816 h 2721921"/>
                <a:gd name="connsiteX191" fmla="*/ 991266 w 4551911"/>
                <a:gd name="connsiteY191" fmla="*/ 2340664 h 2721921"/>
                <a:gd name="connsiteX192" fmla="*/ 962920 w 4551911"/>
                <a:gd name="connsiteY192" fmla="*/ 2358457 h 2721921"/>
                <a:gd name="connsiteX193" fmla="*/ 931307 w 4551911"/>
                <a:gd name="connsiteY193" fmla="*/ 2341397 h 2721921"/>
                <a:gd name="connsiteX194" fmla="*/ 872433 w 4551911"/>
                <a:gd name="connsiteY194" fmla="*/ 2311851 h 2721921"/>
                <a:gd name="connsiteX195" fmla="*/ 830713 w 4551911"/>
                <a:gd name="connsiteY195" fmla="*/ 2312965 h 2721921"/>
                <a:gd name="connsiteX196" fmla="*/ 775582 w 4551911"/>
                <a:gd name="connsiteY196" fmla="*/ 2359152 h 2721921"/>
                <a:gd name="connsiteX197" fmla="*/ 772258 w 4551911"/>
                <a:gd name="connsiteY197" fmla="*/ 2389565 h 2721921"/>
                <a:gd name="connsiteX198" fmla="*/ 744798 w 4551911"/>
                <a:gd name="connsiteY198" fmla="*/ 2365448 h 2721921"/>
                <a:gd name="connsiteX199" fmla="*/ 723490 w 4551911"/>
                <a:gd name="connsiteY199" fmla="*/ 2410882 h 2721921"/>
                <a:gd name="connsiteX200" fmla="*/ 731291 w 4551911"/>
                <a:gd name="connsiteY200" fmla="*/ 2419207 h 2721921"/>
                <a:gd name="connsiteX201" fmla="*/ 715880 w 4551911"/>
                <a:gd name="connsiteY201" fmla="*/ 2449830 h 2721921"/>
                <a:gd name="connsiteX202" fmla="*/ 738549 w 4551911"/>
                <a:gd name="connsiteY202" fmla="*/ 2476853 h 2721921"/>
                <a:gd name="connsiteX203" fmla="*/ 758371 w 4551911"/>
                <a:gd name="connsiteY203" fmla="*/ 2475748 h 2721921"/>
                <a:gd name="connsiteX204" fmla="*/ 775392 w 4551911"/>
                <a:gd name="connsiteY204" fmla="*/ 2502037 h 2721921"/>
                <a:gd name="connsiteX205" fmla="*/ 772687 w 4551911"/>
                <a:gd name="connsiteY205" fmla="*/ 2522058 h 2721921"/>
                <a:gd name="connsiteX206" fmla="*/ 786250 w 4551911"/>
                <a:gd name="connsiteY206" fmla="*/ 2528307 h 2721921"/>
                <a:gd name="connsiteX207" fmla="*/ 774077 w 4551911"/>
                <a:gd name="connsiteY207" fmla="*/ 2551081 h 2721921"/>
                <a:gd name="connsiteX208" fmla="*/ 748189 w 4551911"/>
                <a:gd name="connsiteY208" fmla="*/ 2557367 h 2721921"/>
                <a:gd name="connsiteX209" fmla="*/ 721643 w 4551911"/>
                <a:gd name="connsiteY209" fmla="*/ 2596306 h 2721921"/>
                <a:gd name="connsiteX210" fmla="*/ 745912 w 4551911"/>
                <a:gd name="connsiteY210" fmla="*/ 2631500 h 2721921"/>
                <a:gd name="connsiteX211" fmla="*/ 743283 w 4551911"/>
                <a:gd name="connsiteY211" fmla="*/ 2656132 h 2721921"/>
                <a:gd name="connsiteX212" fmla="*/ 772449 w 4551911"/>
                <a:gd name="connsiteY212" fmla="*/ 2698576 h 2721921"/>
                <a:gd name="connsiteX213" fmla="*/ 756504 w 4551911"/>
                <a:gd name="connsiteY213" fmla="*/ 2712920 h 2721921"/>
                <a:gd name="connsiteX214" fmla="*/ 751922 w 4551911"/>
                <a:gd name="connsiteY214" fmla="*/ 2721921 h 2721921"/>
                <a:gd name="connsiteX215" fmla="*/ 740102 w 4551911"/>
                <a:gd name="connsiteY215" fmla="*/ 2719512 h 2721921"/>
                <a:gd name="connsiteX216" fmla="*/ 721747 w 4551911"/>
                <a:gd name="connsiteY216" fmla="*/ 2697928 h 2721921"/>
                <a:gd name="connsiteX217" fmla="*/ 714241 w 4551911"/>
                <a:gd name="connsiteY217" fmla="*/ 2696728 h 2721921"/>
                <a:gd name="connsiteX218" fmla="*/ 697449 w 4551911"/>
                <a:gd name="connsiteY218" fmla="*/ 2688431 h 2721921"/>
                <a:gd name="connsiteX219" fmla="*/ 689277 w 4551911"/>
                <a:gd name="connsiteY219" fmla="*/ 2673668 h 2721921"/>
                <a:gd name="connsiteX220" fmla="*/ 664369 w 4551911"/>
                <a:gd name="connsiteY220" fmla="*/ 2666105 h 2721921"/>
                <a:gd name="connsiteX221" fmla="*/ 648176 w 4551911"/>
                <a:gd name="connsiteY221" fmla="*/ 2671791 h 2721921"/>
                <a:gd name="connsiteX222" fmla="*/ 643499 w 4551911"/>
                <a:gd name="connsiteY222" fmla="*/ 2665067 h 2721921"/>
                <a:gd name="connsiteX223" fmla="*/ 607133 w 4551911"/>
                <a:gd name="connsiteY223" fmla="*/ 2647626 h 2721921"/>
                <a:gd name="connsiteX224" fmla="*/ 567814 w 4551911"/>
                <a:gd name="connsiteY224" fmla="*/ 2641702 h 2721921"/>
                <a:gd name="connsiteX225" fmla="*/ 545239 w 4551911"/>
                <a:gd name="connsiteY225" fmla="*/ 2635434 h 2721921"/>
                <a:gd name="connsiteX226" fmla="*/ 541982 w 4551911"/>
                <a:gd name="connsiteY226" fmla="*/ 2639768 h 2721921"/>
                <a:gd name="connsiteX227" fmla="*/ 507930 w 4551911"/>
                <a:gd name="connsiteY227" fmla="*/ 2608583 h 2721921"/>
                <a:gd name="connsiteX228" fmla="*/ 477459 w 4551911"/>
                <a:gd name="connsiteY228" fmla="*/ 2594515 h 2721921"/>
                <a:gd name="connsiteX229" fmla="*/ 454390 w 4551911"/>
                <a:gd name="connsiteY229" fmla="*/ 2572426 h 2721921"/>
                <a:gd name="connsiteX230" fmla="*/ 473830 w 4551911"/>
                <a:gd name="connsiteY230" fmla="*/ 2566369 h 2721921"/>
                <a:gd name="connsiteX231" fmla="*/ 495995 w 4551911"/>
                <a:gd name="connsiteY231" fmla="*/ 2534422 h 2721921"/>
                <a:gd name="connsiteX232" fmla="*/ 481060 w 4551911"/>
                <a:gd name="connsiteY232" fmla="*/ 2519134 h 2721921"/>
                <a:gd name="connsiteX233" fmla="*/ 520417 w 4551911"/>
                <a:gd name="connsiteY233" fmla="*/ 2503256 h 2721921"/>
                <a:gd name="connsiteX234" fmla="*/ 519712 w 4551911"/>
                <a:gd name="connsiteY234" fmla="*/ 2494693 h 2721921"/>
                <a:gd name="connsiteX235" fmla="*/ 495738 w 4551911"/>
                <a:gd name="connsiteY235" fmla="*/ 2501008 h 2721921"/>
                <a:gd name="connsiteX236" fmla="*/ 496576 w 4551911"/>
                <a:gd name="connsiteY236" fmla="*/ 2483558 h 2721921"/>
                <a:gd name="connsiteX237" fmla="*/ 510340 w 4551911"/>
                <a:gd name="connsiteY237" fmla="*/ 2472519 h 2721921"/>
                <a:gd name="connsiteX238" fmla="*/ 536181 w 4551911"/>
                <a:gd name="connsiteY238" fmla="*/ 2469604 h 2721921"/>
                <a:gd name="connsiteX239" fmla="*/ 540382 w 4551911"/>
                <a:gd name="connsiteY239" fmla="*/ 2456317 h 2721921"/>
                <a:gd name="connsiteX240" fmla="*/ 534476 w 4551911"/>
                <a:gd name="connsiteY240" fmla="*/ 2434152 h 2721921"/>
                <a:gd name="connsiteX241" fmla="*/ 545325 w 4551911"/>
                <a:gd name="connsiteY241" fmla="*/ 2412883 h 2721921"/>
                <a:gd name="connsiteX242" fmla="*/ 545011 w 4551911"/>
                <a:gd name="connsiteY242" fmla="*/ 2400852 h 2721921"/>
                <a:gd name="connsiteX243" fmla="*/ 505644 w 4551911"/>
                <a:gd name="connsiteY243" fmla="*/ 2387432 h 2721921"/>
                <a:gd name="connsiteX244" fmla="*/ 490032 w 4551911"/>
                <a:gd name="connsiteY244" fmla="*/ 2387879 h 2721921"/>
                <a:gd name="connsiteX245" fmla="*/ 473554 w 4551911"/>
                <a:gd name="connsiteY245" fmla="*/ 2368420 h 2721921"/>
                <a:gd name="connsiteX246" fmla="*/ 453066 w 4551911"/>
                <a:gd name="connsiteY246" fmla="*/ 2375021 h 2721921"/>
                <a:gd name="connsiteX247" fmla="*/ 419147 w 4551911"/>
                <a:gd name="connsiteY247" fmla="*/ 2360333 h 2721921"/>
                <a:gd name="connsiteX248" fmla="*/ 419728 w 4551911"/>
                <a:gd name="connsiteY248" fmla="*/ 2352066 h 2721921"/>
                <a:gd name="connsiteX249" fmla="*/ 410232 w 4551911"/>
                <a:gd name="connsiteY249" fmla="*/ 2333720 h 2721921"/>
                <a:gd name="connsiteX250" fmla="*/ 388934 w 4551911"/>
                <a:gd name="connsiteY250" fmla="*/ 2331663 h 2721921"/>
                <a:gd name="connsiteX251" fmla="*/ 386724 w 4551911"/>
                <a:gd name="connsiteY251" fmla="*/ 2318404 h 2721921"/>
                <a:gd name="connsiteX252" fmla="*/ 393392 w 4551911"/>
                <a:gd name="connsiteY252" fmla="*/ 2309708 h 2721921"/>
                <a:gd name="connsiteX253" fmla="*/ 376323 w 4551911"/>
                <a:gd name="connsiteY253" fmla="*/ 2285181 h 2721921"/>
                <a:gd name="connsiteX254" fmla="*/ 348634 w 4551911"/>
                <a:gd name="connsiteY254" fmla="*/ 2289391 h 2721921"/>
                <a:gd name="connsiteX255" fmla="*/ 340519 w 4551911"/>
                <a:gd name="connsiteY255" fmla="*/ 2287210 h 2721921"/>
                <a:gd name="connsiteX256" fmla="*/ 333775 w 4551911"/>
                <a:gd name="connsiteY256" fmla="*/ 2297087 h 2721921"/>
                <a:gd name="connsiteX257" fmla="*/ 323802 w 4551911"/>
                <a:gd name="connsiteY257" fmla="*/ 2295335 h 2721921"/>
                <a:gd name="connsiteX258" fmla="*/ 317239 w 4551911"/>
                <a:gd name="connsiteY258" fmla="*/ 2267360 h 2721921"/>
                <a:gd name="connsiteX259" fmla="*/ 310972 w 4551911"/>
                <a:gd name="connsiteY259" fmla="*/ 2252691 h 2721921"/>
                <a:gd name="connsiteX260" fmla="*/ 316116 w 4551911"/>
                <a:gd name="connsiteY260" fmla="*/ 2248548 h 2721921"/>
                <a:gd name="connsiteX261" fmla="*/ 337661 w 4551911"/>
                <a:gd name="connsiteY261" fmla="*/ 2250091 h 2721921"/>
                <a:gd name="connsiteX262" fmla="*/ 348053 w 4551911"/>
                <a:gd name="connsiteY262" fmla="*/ 2240356 h 2721921"/>
                <a:gd name="connsiteX263" fmla="*/ 340357 w 4551911"/>
                <a:gd name="connsiteY263" fmla="*/ 2228421 h 2721921"/>
                <a:gd name="connsiteX264" fmla="*/ 322345 w 4551911"/>
                <a:gd name="connsiteY264" fmla="*/ 2220497 h 2721921"/>
                <a:gd name="connsiteX265" fmla="*/ 323955 w 4551911"/>
                <a:gd name="connsiteY265" fmla="*/ 2212334 h 2721921"/>
                <a:gd name="connsiteX266" fmla="*/ 313087 w 4551911"/>
                <a:gd name="connsiteY266" fmla="*/ 2204047 h 2721921"/>
                <a:gd name="connsiteX267" fmla="*/ 296342 w 4551911"/>
                <a:gd name="connsiteY267" fmla="*/ 2174015 h 2721921"/>
                <a:gd name="connsiteX268" fmla="*/ 302066 w 4551911"/>
                <a:gd name="connsiteY268" fmla="*/ 2161499 h 2721921"/>
                <a:gd name="connsiteX269" fmla="*/ 299456 w 4551911"/>
                <a:gd name="connsiteY269" fmla="*/ 2139515 h 2721921"/>
                <a:gd name="connsiteX270" fmla="*/ 273348 w 4551911"/>
                <a:gd name="connsiteY270" fmla="*/ 2128247 h 2721921"/>
                <a:gd name="connsiteX271" fmla="*/ 259337 w 4551911"/>
                <a:gd name="connsiteY271" fmla="*/ 2133896 h 2721921"/>
                <a:gd name="connsiteX272" fmla="*/ 255546 w 4551911"/>
                <a:gd name="connsiteY272" fmla="*/ 2122122 h 2721921"/>
                <a:gd name="connsiteX273" fmla="*/ 227428 w 4551911"/>
                <a:gd name="connsiteY273" fmla="*/ 2110159 h 2721921"/>
                <a:gd name="connsiteX274" fmla="*/ 218846 w 4551911"/>
                <a:gd name="connsiteY274" fmla="*/ 2081689 h 2721921"/>
                <a:gd name="connsiteX275" fmla="*/ 216570 w 4551911"/>
                <a:gd name="connsiteY275" fmla="*/ 2057952 h 2721921"/>
                <a:gd name="connsiteX276" fmla="*/ 203702 w 4551911"/>
                <a:gd name="connsiteY276" fmla="*/ 2046580 h 2721921"/>
                <a:gd name="connsiteX277" fmla="*/ 215141 w 4551911"/>
                <a:gd name="connsiteY277" fmla="*/ 2030778 h 2721921"/>
                <a:gd name="connsiteX278" fmla="*/ 207216 w 4551911"/>
                <a:gd name="connsiteY278" fmla="*/ 1983515 h 2721921"/>
                <a:gd name="connsiteX279" fmla="*/ 226219 w 4551911"/>
                <a:gd name="connsiteY279" fmla="*/ 1953673 h 2721921"/>
                <a:gd name="connsiteX280" fmla="*/ 222199 w 4551911"/>
                <a:gd name="connsiteY280" fmla="*/ 1944538 h 2721921"/>
                <a:gd name="connsiteX281" fmla="*/ 252555 w 4551911"/>
                <a:gd name="connsiteY281" fmla="*/ 1915287 h 2721921"/>
                <a:gd name="connsiteX282" fmla="*/ 224571 w 4551911"/>
                <a:gd name="connsiteY282" fmla="*/ 1889722 h 2721921"/>
                <a:gd name="connsiteX283" fmla="*/ 281749 w 4551911"/>
                <a:gd name="connsiteY283" fmla="*/ 1819189 h 2721921"/>
                <a:gd name="connsiteX284" fmla="*/ 306552 w 4551911"/>
                <a:gd name="connsiteY284" fmla="*/ 1786300 h 2721921"/>
                <a:gd name="connsiteX285" fmla="*/ 316601 w 4551911"/>
                <a:gd name="connsiteY285" fmla="*/ 1756734 h 2721921"/>
                <a:gd name="connsiteX286" fmla="*/ 277073 w 4551911"/>
                <a:gd name="connsiteY286" fmla="*/ 1716196 h 2721921"/>
                <a:gd name="connsiteX287" fmla="*/ 287988 w 4551911"/>
                <a:gd name="connsiteY287" fmla="*/ 1676714 h 2721921"/>
                <a:gd name="connsiteX288" fmla="*/ 263947 w 4551911"/>
                <a:gd name="connsiteY288" fmla="*/ 1630480 h 2721921"/>
                <a:gd name="connsiteX289" fmla="*/ 281930 w 4551911"/>
                <a:gd name="connsiteY289" fmla="*/ 1575578 h 2721921"/>
                <a:gd name="connsiteX290" fmla="*/ 250869 w 4551911"/>
                <a:gd name="connsiteY290" fmla="*/ 1499788 h 2721921"/>
                <a:gd name="connsiteX291" fmla="*/ 275511 w 4551911"/>
                <a:gd name="connsiteY291" fmla="*/ 1447610 h 2721921"/>
                <a:gd name="connsiteX292" fmla="*/ 234610 w 4551911"/>
                <a:gd name="connsiteY292" fmla="*/ 1400080 h 2721921"/>
                <a:gd name="connsiteX293" fmla="*/ 238506 w 4551911"/>
                <a:gd name="connsiteY293" fmla="*/ 1348607 h 2721921"/>
                <a:gd name="connsiteX294" fmla="*/ 260080 w 4551911"/>
                <a:gd name="connsiteY294" fmla="*/ 1341711 h 2721921"/>
                <a:gd name="connsiteX295" fmla="*/ 305524 w 4551911"/>
                <a:gd name="connsiteY295" fmla="*/ 1311345 h 2721921"/>
                <a:gd name="connsiteX296" fmla="*/ 333080 w 4551911"/>
                <a:gd name="connsiteY296" fmla="*/ 1284551 h 2721921"/>
                <a:gd name="connsiteX297" fmla="*/ 376951 w 4551911"/>
                <a:gd name="connsiteY297" fmla="*/ 1330843 h 2721921"/>
                <a:gd name="connsiteX298" fmla="*/ 450085 w 4551911"/>
                <a:gd name="connsiteY298" fmla="*/ 1348711 h 2721921"/>
                <a:gd name="connsiteX299" fmla="*/ 550993 w 4551911"/>
                <a:gd name="connsiteY299" fmla="*/ 1431065 h 2721921"/>
                <a:gd name="connsiteX300" fmla="*/ 571490 w 4551911"/>
                <a:gd name="connsiteY300" fmla="*/ 1464478 h 2721921"/>
                <a:gd name="connsiteX301" fmla="*/ 573252 w 4551911"/>
                <a:gd name="connsiteY301" fmla="*/ 1510160 h 2721921"/>
                <a:gd name="connsiteX302" fmla="*/ 543601 w 4551911"/>
                <a:gd name="connsiteY302" fmla="*/ 1545355 h 2721921"/>
                <a:gd name="connsiteX303" fmla="*/ 499996 w 4551911"/>
                <a:gd name="connsiteY303" fmla="*/ 1562938 h 2721921"/>
                <a:gd name="connsiteX304" fmla="*/ 380771 w 4551911"/>
                <a:gd name="connsiteY304" fmla="*/ 1512332 h 2721921"/>
                <a:gd name="connsiteX305" fmla="*/ 361159 w 4551911"/>
                <a:gd name="connsiteY305" fmla="*/ 1520904 h 2721921"/>
                <a:gd name="connsiteX306" fmla="*/ 404698 w 4551911"/>
                <a:gd name="connsiteY306" fmla="*/ 1569453 h 2721921"/>
                <a:gd name="connsiteX307" fmla="*/ 406403 w 4551911"/>
                <a:gd name="connsiteY307" fmla="*/ 1599495 h 2721921"/>
                <a:gd name="connsiteX308" fmla="*/ 408146 w 4551911"/>
                <a:gd name="connsiteY308" fmla="*/ 1663817 h 2721921"/>
                <a:gd name="connsiteX309" fmla="*/ 442531 w 4551911"/>
                <a:gd name="connsiteY309" fmla="*/ 1682544 h 2721921"/>
                <a:gd name="connsiteX310" fmla="*/ 463401 w 4551911"/>
                <a:gd name="connsiteY310" fmla="*/ 1698327 h 2721921"/>
                <a:gd name="connsiteX311" fmla="*/ 466849 w 4551911"/>
                <a:gd name="connsiteY311" fmla="*/ 1668732 h 2721921"/>
                <a:gd name="connsiteX312" fmla="*/ 450761 w 4551911"/>
                <a:gd name="connsiteY312" fmla="*/ 1642053 h 2721921"/>
                <a:gd name="connsiteX313" fmla="*/ 467763 w 4551911"/>
                <a:gd name="connsiteY313" fmla="*/ 1618193 h 2721921"/>
                <a:gd name="connsiteX314" fmla="*/ 532323 w 4551911"/>
                <a:gd name="connsiteY314" fmla="*/ 1657236 h 2721921"/>
                <a:gd name="connsiteX315" fmla="*/ 554812 w 4551911"/>
                <a:gd name="connsiteY315" fmla="*/ 1642062 h 2721921"/>
                <a:gd name="connsiteX316" fmla="*/ 536838 w 4551911"/>
                <a:gd name="connsiteY316" fmla="*/ 1595609 h 2721921"/>
                <a:gd name="connsiteX317" fmla="*/ 599084 w 4551911"/>
                <a:gd name="connsiteY317" fmla="*/ 1531391 h 2721921"/>
                <a:gd name="connsiteX318" fmla="*/ 623735 w 4551911"/>
                <a:gd name="connsiteY318" fmla="*/ 1535240 h 2721921"/>
                <a:gd name="connsiteX319" fmla="*/ 648671 w 4551911"/>
                <a:gd name="connsiteY319" fmla="*/ 1558385 h 2721921"/>
                <a:gd name="connsiteX320" fmla="*/ 664226 w 4551911"/>
                <a:gd name="connsiteY320" fmla="*/ 1512561 h 2721921"/>
                <a:gd name="connsiteX321" fmla="*/ 641956 w 4551911"/>
                <a:gd name="connsiteY321" fmla="*/ 1471765 h 2721921"/>
                <a:gd name="connsiteX322" fmla="*/ 655034 w 4551911"/>
                <a:gd name="connsiteY322" fmla="*/ 1429798 h 2721921"/>
                <a:gd name="connsiteX323" fmla="*/ 635403 w 4551911"/>
                <a:gd name="connsiteY323" fmla="*/ 1385107 h 2721921"/>
                <a:gd name="connsiteX324" fmla="*/ 710108 w 4551911"/>
                <a:gd name="connsiteY324" fmla="*/ 1408366 h 2721921"/>
                <a:gd name="connsiteX325" fmla="*/ 725367 w 4551911"/>
                <a:gd name="connsiteY325" fmla="*/ 1448210 h 2721921"/>
                <a:gd name="connsiteX326" fmla="*/ 691553 w 4551911"/>
                <a:gd name="connsiteY326" fmla="*/ 1456858 h 2721921"/>
                <a:gd name="connsiteX327" fmla="*/ 691734 w 4551911"/>
                <a:gd name="connsiteY327" fmla="*/ 1495320 h 2721921"/>
                <a:gd name="connsiteX328" fmla="*/ 712755 w 4551911"/>
                <a:gd name="connsiteY328" fmla="*/ 1518542 h 2721921"/>
                <a:gd name="connsiteX329" fmla="*/ 754018 w 4551911"/>
                <a:gd name="connsiteY329" fmla="*/ 1503864 h 2721921"/>
                <a:gd name="connsiteX330" fmla="*/ 760552 w 4551911"/>
                <a:gd name="connsiteY330" fmla="*/ 1459944 h 2721921"/>
                <a:gd name="connsiteX331" fmla="*/ 816340 w 4551911"/>
                <a:gd name="connsiteY331" fmla="*/ 1426369 h 2721921"/>
                <a:gd name="connsiteX332" fmla="*/ 909542 w 4551911"/>
                <a:gd name="connsiteY332" fmla="*/ 1364047 h 2721921"/>
                <a:gd name="connsiteX333" fmla="*/ 929678 w 4551911"/>
                <a:gd name="connsiteY333" fmla="*/ 1367685 h 2721921"/>
                <a:gd name="connsiteX334" fmla="*/ 903351 w 4551911"/>
                <a:gd name="connsiteY334" fmla="*/ 1411881 h 2721921"/>
                <a:gd name="connsiteX335" fmla="*/ 936479 w 4551911"/>
                <a:gd name="connsiteY335" fmla="*/ 1419358 h 2721921"/>
                <a:gd name="connsiteX336" fmla="*/ 955614 w 4551911"/>
                <a:gd name="connsiteY336" fmla="*/ 1394746 h 2721921"/>
                <a:gd name="connsiteX337" fmla="*/ 1005668 w 4551911"/>
                <a:gd name="connsiteY337" fmla="*/ 1392736 h 2721921"/>
                <a:gd name="connsiteX338" fmla="*/ 1045330 w 4551911"/>
                <a:gd name="connsiteY338" fmla="*/ 1362323 h 2721921"/>
                <a:gd name="connsiteX339" fmla="*/ 1075763 w 4551911"/>
                <a:gd name="connsiteY339" fmla="*/ 1406338 h 2721921"/>
                <a:gd name="connsiteX340" fmla="*/ 1106109 w 4551911"/>
                <a:gd name="connsiteY340" fmla="*/ 1357884 h 2721921"/>
                <a:gd name="connsiteX341" fmla="*/ 1078125 w 4551911"/>
                <a:gd name="connsiteY341" fmla="*/ 1314288 h 2721921"/>
                <a:gd name="connsiteX342" fmla="*/ 1092012 w 4551911"/>
                <a:gd name="connsiteY342" fmla="*/ 1288923 h 2721921"/>
                <a:gd name="connsiteX343" fmla="*/ 1170898 w 4551911"/>
                <a:gd name="connsiteY343" fmla="*/ 1312193 h 2721921"/>
                <a:gd name="connsiteX344" fmla="*/ 1207865 w 4551911"/>
                <a:gd name="connsiteY344" fmla="*/ 1335891 h 2721921"/>
                <a:gd name="connsiteX345" fmla="*/ 1304648 w 4551911"/>
                <a:gd name="connsiteY345" fmla="*/ 1419701 h 2721921"/>
                <a:gd name="connsiteX346" fmla="*/ 1322508 w 4551911"/>
                <a:gd name="connsiteY346" fmla="*/ 1381839 h 2721921"/>
                <a:gd name="connsiteX347" fmla="*/ 1295362 w 4551911"/>
                <a:gd name="connsiteY347" fmla="*/ 1342682 h 2721921"/>
                <a:gd name="connsiteX348" fmla="*/ 1294581 w 4551911"/>
                <a:gd name="connsiteY348" fmla="*/ 1326709 h 2721921"/>
                <a:gd name="connsiteX349" fmla="*/ 1262396 w 4551911"/>
                <a:gd name="connsiteY349" fmla="*/ 1319260 h 2721921"/>
                <a:gd name="connsiteX350" fmla="*/ 1271206 w 4551911"/>
                <a:gd name="connsiteY350" fmla="*/ 1282808 h 2721921"/>
                <a:gd name="connsiteX351" fmla="*/ 1256919 w 4551911"/>
                <a:gd name="connsiteY351" fmla="*/ 1220981 h 2721921"/>
                <a:gd name="connsiteX352" fmla="*/ 1256109 w 4551911"/>
                <a:gd name="connsiteY352" fmla="*/ 1194911 h 2721921"/>
                <a:gd name="connsiteX353" fmla="*/ 1305401 w 4551911"/>
                <a:gd name="connsiteY353" fmla="*/ 1118807 h 2721921"/>
                <a:gd name="connsiteX354" fmla="*/ 1322927 w 4551911"/>
                <a:gd name="connsiteY354" fmla="*/ 1038615 h 2721921"/>
                <a:gd name="connsiteX355" fmla="*/ 1342787 w 4551911"/>
                <a:gd name="connsiteY355" fmla="*/ 1020728 h 2721921"/>
                <a:gd name="connsiteX356" fmla="*/ 1413491 w 4551911"/>
                <a:gd name="connsiteY356" fmla="*/ 1044673 h 2721921"/>
                <a:gd name="connsiteX357" fmla="*/ 1419063 w 4551911"/>
                <a:gd name="connsiteY357" fmla="*/ 1094041 h 2721921"/>
                <a:gd name="connsiteX358" fmla="*/ 1393745 w 4551911"/>
                <a:gd name="connsiteY358" fmla="*/ 1163412 h 2721921"/>
                <a:gd name="connsiteX359" fmla="*/ 1410357 w 4551911"/>
                <a:gd name="connsiteY359" fmla="*/ 1189882 h 2721921"/>
                <a:gd name="connsiteX360" fmla="*/ 1418948 w 4551911"/>
                <a:gd name="connsiteY360" fmla="*/ 1246441 h 2721921"/>
                <a:gd name="connsiteX361" fmla="*/ 1412881 w 4551911"/>
                <a:gd name="connsiteY361" fmla="*/ 1351912 h 2721921"/>
                <a:gd name="connsiteX362" fmla="*/ 1442342 w 4551911"/>
                <a:gd name="connsiteY362" fmla="*/ 1396965 h 2721921"/>
                <a:gd name="connsiteX363" fmla="*/ 1430884 w 4551911"/>
                <a:gd name="connsiteY363" fmla="*/ 1444666 h 2721921"/>
                <a:gd name="connsiteX364" fmla="*/ 1378572 w 4551911"/>
                <a:gd name="connsiteY364" fmla="*/ 1541802 h 2721921"/>
                <a:gd name="connsiteX365" fmla="*/ 1409100 w 4551911"/>
                <a:gd name="connsiteY365" fmla="*/ 1551556 h 2721921"/>
                <a:gd name="connsiteX366" fmla="*/ 1419720 w 4551911"/>
                <a:gd name="connsiteY366" fmla="*/ 1527610 h 2721921"/>
                <a:gd name="connsiteX367" fmla="*/ 1449105 w 4551911"/>
                <a:gd name="connsiteY367" fmla="*/ 1510322 h 2721921"/>
                <a:gd name="connsiteX368" fmla="*/ 1456191 w 4551911"/>
                <a:gd name="connsiteY368" fmla="*/ 1476480 h 2721921"/>
                <a:gd name="connsiteX369" fmla="*/ 1479309 w 4551911"/>
                <a:gd name="connsiteY369" fmla="*/ 1443247 h 2721921"/>
                <a:gd name="connsiteX370" fmla="*/ 1463744 w 4551911"/>
                <a:gd name="connsiteY370" fmla="*/ 1402671 h 2721921"/>
                <a:gd name="connsiteX371" fmla="*/ 1476213 w 4551911"/>
                <a:gd name="connsiteY371" fmla="*/ 1354255 h 2721921"/>
                <a:gd name="connsiteX372" fmla="*/ 1447009 w 4551911"/>
                <a:gd name="connsiteY372" fmla="*/ 1348121 h 2721921"/>
                <a:gd name="connsiteX373" fmla="*/ 1440589 w 4551911"/>
                <a:gd name="connsiteY373" fmla="*/ 1306039 h 2721921"/>
                <a:gd name="connsiteX374" fmla="*/ 1461897 w 4551911"/>
                <a:gd name="connsiteY374" fmla="*/ 1227192 h 2721921"/>
                <a:gd name="connsiteX375" fmla="*/ 1427207 w 4551911"/>
                <a:gd name="connsiteY375" fmla="*/ 1160202 h 2721921"/>
                <a:gd name="connsiteX376" fmla="*/ 1475003 w 4551911"/>
                <a:gd name="connsiteY376" fmla="*/ 1102652 h 2721921"/>
                <a:gd name="connsiteX377" fmla="*/ 1468831 w 4551911"/>
                <a:gd name="connsiteY377" fmla="*/ 1039606 h 2721921"/>
                <a:gd name="connsiteX378" fmla="*/ 1482147 w 4551911"/>
                <a:gd name="connsiteY378" fmla="*/ 1037549 h 2721921"/>
                <a:gd name="connsiteX379" fmla="*/ 1496177 w 4551911"/>
                <a:gd name="connsiteY379" fmla="*/ 1086974 h 2721921"/>
                <a:gd name="connsiteX380" fmla="*/ 1485652 w 4551911"/>
                <a:gd name="connsiteY380" fmla="*/ 1169527 h 2721921"/>
                <a:gd name="connsiteX381" fmla="*/ 1514227 w 4551911"/>
                <a:gd name="connsiteY381" fmla="*/ 1184691 h 2721921"/>
                <a:gd name="connsiteX382" fmla="*/ 1502054 w 4551911"/>
                <a:gd name="connsiteY382" fmla="*/ 1123988 h 2721921"/>
                <a:gd name="connsiteX383" fmla="*/ 1546746 w 4551911"/>
                <a:gd name="connsiteY383" fmla="*/ 1089898 h 2721921"/>
                <a:gd name="connsiteX384" fmla="*/ 1602171 w 4551911"/>
                <a:gd name="connsiteY384" fmla="*/ 1085250 h 2721921"/>
                <a:gd name="connsiteX385" fmla="*/ 1651521 w 4551911"/>
                <a:gd name="connsiteY385" fmla="*/ 1134589 h 2721921"/>
                <a:gd name="connsiteX386" fmla="*/ 1627775 w 4551911"/>
                <a:gd name="connsiteY386" fmla="*/ 1061990 h 2721921"/>
                <a:gd name="connsiteX387" fmla="*/ 1625117 w 4551911"/>
                <a:gd name="connsiteY387" fmla="*/ 964054 h 2721921"/>
                <a:gd name="connsiteX388" fmla="*/ 1671561 w 4551911"/>
                <a:gd name="connsiteY388" fmla="*/ 944804 h 2721921"/>
                <a:gd name="connsiteX389" fmla="*/ 1735798 w 4551911"/>
                <a:gd name="connsiteY389" fmla="*/ 949033 h 2721921"/>
                <a:gd name="connsiteX390" fmla="*/ 1793662 w 4551911"/>
                <a:gd name="connsiteY390" fmla="*/ 936450 h 2721921"/>
                <a:gd name="connsiteX391" fmla="*/ 1771964 w 4551911"/>
                <a:gd name="connsiteY391" fmla="*/ 885196 h 2721921"/>
                <a:gd name="connsiteX392" fmla="*/ 1802873 w 4551911"/>
                <a:gd name="connsiteY392" fmla="*/ 818369 h 2721921"/>
                <a:gd name="connsiteX393" fmla="*/ 1833553 w 4551911"/>
                <a:gd name="connsiteY393" fmla="*/ 815512 h 2721921"/>
                <a:gd name="connsiteX394" fmla="*/ 1885483 w 4551911"/>
                <a:gd name="connsiteY394" fmla="*/ 763000 h 2721921"/>
                <a:gd name="connsiteX395" fmla="*/ 1955996 w 4551911"/>
                <a:gd name="connsiteY395" fmla="*/ 748579 h 2721921"/>
                <a:gd name="connsiteX396" fmla="*/ 1964912 w 4551911"/>
                <a:gd name="connsiteY396" fmla="*/ 718547 h 2721921"/>
                <a:gd name="connsiteX397" fmla="*/ 2035035 w 4551911"/>
                <a:gd name="connsiteY397" fmla="*/ 708241 h 2721921"/>
                <a:gd name="connsiteX398" fmla="*/ 2056886 w 4551911"/>
                <a:gd name="connsiteY398" fmla="*/ 733063 h 2721921"/>
                <a:gd name="connsiteX399" fmla="*/ 2116826 w 4551911"/>
                <a:gd name="connsiteY399" fmla="*/ 673656 h 2721921"/>
                <a:gd name="connsiteX400" fmla="*/ 2165889 w 4551911"/>
                <a:gd name="connsiteY400" fmla="*/ 675551 h 2721921"/>
                <a:gd name="connsiteX401" fmla="*/ 2173243 w 4551911"/>
                <a:gd name="connsiteY401" fmla="*/ 625659 h 2721921"/>
                <a:gd name="connsiteX402" fmla="*/ 2198770 w 4551911"/>
                <a:gd name="connsiteY402" fmla="*/ 574853 h 2721921"/>
                <a:gd name="connsiteX403" fmla="*/ 2261816 w 4551911"/>
                <a:gd name="connsiteY403" fmla="*/ 524256 h 2721921"/>
                <a:gd name="connsiteX404" fmla="*/ 2307621 w 4551911"/>
                <a:gd name="connsiteY404" fmla="*/ 564337 h 2721921"/>
                <a:gd name="connsiteX405" fmla="*/ 2271255 w 4551911"/>
                <a:gd name="connsiteY405" fmla="*/ 594160 h 2721921"/>
                <a:gd name="connsiteX406" fmla="*/ 2331758 w 4551911"/>
                <a:gd name="connsiteY406" fmla="*/ 612419 h 2721921"/>
                <a:gd name="connsiteX407" fmla="*/ 2338968 w 4551911"/>
                <a:gd name="connsiteY407" fmla="*/ 669893 h 2721921"/>
                <a:gd name="connsiteX408" fmla="*/ 2363372 w 4551911"/>
                <a:gd name="connsiteY408" fmla="*/ 641861 h 2721921"/>
                <a:gd name="connsiteX409" fmla="*/ 2441448 w 4551911"/>
                <a:gd name="connsiteY409" fmla="*/ 643414 h 2721921"/>
                <a:gd name="connsiteX410" fmla="*/ 2501646 w 4551911"/>
                <a:gd name="connsiteY410" fmla="*/ 699068 h 2721921"/>
                <a:gd name="connsiteX411" fmla="*/ 2523087 w 4551911"/>
                <a:gd name="connsiteY411" fmla="*/ 740512 h 2721921"/>
                <a:gd name="connsiteX412" fmla="*/ 2516438 w 4551911"/>
                <a:gd name="connsiteY412" fmla="*/ 796271 h 2721921"/>
                <a:gd name="connsiteX413" fmla="*/ 2486891 w 4551911"/>
                <a:gd name="connsiteY413" fmla="*/ 827151 h 2721921"/>
                <a:gd name="connsiteX414" fmla="*/ 2416711 w 4551911"/>
                <a:gd name="connsiteY414" fmla="*/ 883510 h 2721921"/>
                <a:gd name="connsiteX415" fmla="*/ 2396652 w 4551911"/>
                <a:gd name="connsiteY415" fmla="*/ 912838 h 2721921"/>
                <a:gd name="connsiteX416" fmla="*/ 2429770 w 4551911"/>
                <a:gd name="connsiteY416" fmla="*/ 926487 h 2721921"/>
                <a:gd name="connsiteX417" fmla="*/ 2469280 w 4551911"/>
                <a:gd name="connsiteY417" fmla="*/ 950795 h 2721921"/>
                <a:gd name="connsiteX418" fmla="*/ 2493311 w 4551911"/>
                <a:gd name="connsiteY418" fmla="*/ 932602 h 2721921"/>
                <a:gd name="connsiteX419" fmla="*/ 2506942 w 4551911"/>
                <a:gd name="connsiteY419" fmla="*/ 993496 h 2721921"/>
                <a:gd name="connsiteX420" fmla="*/ 2518667 w 4551911"/>
                <a:gd name="connsiteY420" fmla="*/ 969121 h 2721921"/>
                <a:gd name="connsiteX421" fmla="*/ 2561368 w 4551911"/>
                <a:gd name="connsiteY421" fmla="*/ 954119 h 2721921"/>
                <a:gd name="connsiteX422" fmla="*/ 2647054 w 4551911"/>
                <a:gd name="connsiteY422" fmla="*/ 969797 h 2721921"/>
                <a:gd name="connsiteX423" fmla="*/ 2653570 w 4551911"/>
                <a:gd name="connsiteY423" fmla="*/ 1013384 h 2721921"/>
                <a:gd name="connsiteX424" fmla="*/ 2765221 w 4551911"/>
                <a:gd name="connsiteY424" fmla="*/ 1027005 h 2721921"/>
                <a:gd name="connsiteX425" fmla="*/ 2766746 w 4551911"/>
                <a:gd name="connsiteY425" fmla="*/ 955824 h 2721921"/>
                <a:gd name="connsiteX426" fmla="*/ 2823420 w 4551911"/>
                <a:gd name="connsiteY426" fmla="*/ 972417 h 2721921"/>
                <a:gd name="connsiteX427" fmla="*/ 2866063 w 4551911"/>
                <a:gd name="connsiteY427" fmla="*/ 971902 h 2721921"/>
                <a:gd name="connsiteX428" fmla="*/ 2909182 w 4551911"/>
                <a:gd name="connsiteY428" fmla="*/ 1020842 h 2721921"/>
                <a:gd name="connsiteX429" fmla="*/ 2921479 w 4551911"/>
                <a:gd name="connsiteY429" fmla="*/ 1078354 h 2721921"/>
                <a:gd name="connsiteX430" fmla="*/ 2905677 w 4551911"/>
                <a:gd name="connsiteY430" fmla="*/ 1114892 h 2721921"/>
                <a:gd name="connsiteX431" fmla="*/ 2939215 w 4551911"/>
                <a:gd name="connsiteY431" fmla="*/ 1181395 h 2721921"/>
                <a:gd name="connsiteX432" fmla="*/ 2981220 w 4551911"/>
                <a:gd name="connsiteY432" fmla="*/ 1214666 h 2721921"/>
                <a:gd name="connsiteX433" fmla="*/ 3006985 w 4551911"/>
                <a:gd name="connsiteY433" fmla="*/ 1127246 h 2721921"/>
                <a:gd name="connsiteX434" fmla="*/ 3049829 w 4551911"/>
                <a:gd name="connsiteY434" fmla="*/ 1165308 h 2721921"/>
                <a:gd name="connsiteX435" fmla="*/ 3095339 w 4551911"/>
                <a:gd name="connsiteY435" fmla="*/ 1142676 h 2721921"/>
                <a:gd name="connsiteX436" fmla="*/ 3147031 w 4551911"/>
                <a:gd name="connsiteY436" fmla="*/ 1168546 h 2721921"/>
                <a:gd name="connsiteX437" fmla="*/ 3166700 w 4551911"/>
                <a:gd name="connsiteY437" fmla="*/ 1144972 h 2721921"/>
                <a:gd name="connsiteX438" fmla="*/ 3210391 w 4551911"/>
                <a:gd name="connsiteY438" fmla="*/ 1156802 h 2721921"/>
                <a:gd name="connsiteX439" fmla="*/ 3191113 w 4551911"/>
                <a:gd name="connsiteY439" fmla="*/ 1076811 h 2721921"/>
                <a:gd name="connsiteX440" fmla="*/ 3226375 w 4551911"/>
                <a:gd name="connsiteY440" fmla="*/ 1038073 h 2721921"/>
                <a:gd name="connsiteX441" fmla="*/ 3467576 w 4551911"/>
                <a:gd name="connsiteY441" fmla="*/ 1095804 h 2721921"/>
                <a:gd name="connsiteX442" fmla="*/ 3490312 w 4551911"/>
                <a:gd name="connsiteY442" fmla="*/ 1146810 h 2721921"/>
                <a:gd name="connsiteX443" fmla="*/ 3560226 w 4551911"/>
                <a:gd name="connsiteY443" fmla="*/ 1210180 h 2721921"/>
                <a:gd name="connsiteX444" fmla="*/ 3668068 w 4551911"/>
                <a:gd name="connsiteY444" fmla="*/ 1194721 h 2721921"/>
                <a:gd name="connsiteX445" fmla="*/ 3721236 w 4551911"/>
                <a:gd name="connsiteY445" fmla="*/ 1208189 h 2721921"/>
                <a:gd name="connsiteX446" fmla="*/ 3743468 w 4551911"/>
                <a:gd name="connsiteY446" fmla="*/ 1241508 h 2721921"/>
                <a:gd name="connsiteX447" fmla="*/ 3740220 w 4551911"/>
                <a:gd name="connsiteY447" fmla="*/ 1298810 h 2721921"/>
                <a:gd name="connsiteX448" fmla="*/ 3773119 w 4551911"/>
                <a:gd name="connsiteY448" fmla="*/ 1320584 h 2721921"/>
                <a:gd name="connsiteX449" fmla="*/ 3808866 w 4551911"/>
                <a:gd name="connsiteY449" fmla="*/ 1304954 h 2721921"/>
                <a:gd name="connsiteX450" fmla="*/ 3856234 w 4551911"/>
                <a:gd name="connsiteY450" fmla="*/ 1302944 h 2721921"/>
                <a:gd name="connsiteX451" fmla="*/ 3906650 w 4551911"/>
                <a:gd name="connsiteY451" fmla="*/ 1317946 h 2721921"/>
                <a:gd name="connsiteX452" fmla="*/ 3957266 w 4551911"/>
                <a:gd name="connsiteY452" fmla="*/ 1309497 h 2721921"/>
                <a:gd name="connsiteX453" fmla="*/ 4003786 w 4551911"/>
                <a:gd name="connsiteY453" fmla="*/ 1376115 h 2721921"/>
                <a:gd name="connsiteX454" fmla="*/ 4036885 w 4551911"/>
                <a:gd name="connsiteY454" fmla="*/ 1352464 h 2721921"/>
                <a:gd name="connsiteX455" fmla="*/ 4015283 w 4551911"/>
                <a:gd name="connsiteY455" fmla="*/ 1304134 h 2721921"/>
                <a:gd name="connsiteX456" fmla="*/ 4027179 w 4551911"/>
                <a:gd name="connsiteY456" fmla="*/ 1269673 h 2721921"/>
                <a:gd name="connsiteX457" fmla="*/ 4112381 w 4551911"/>
                <a:gd name="connsiteY457" fmla="*/ 1291447 h 2721921"/>
                <a:gd name="connsiteX458" fmla="*/ 4167930 w 4551911"/>
                <a:gd name="connsiteY458" fmla="*/ 1286818 h 2721921"/>
                <a:gd name="connsiteX459" fmla="*/ 4244740 w 4551911"/>
                <a:gd name="connsiteY459" fmla="*/ 1323423 h 2721921"/>
                <a:gd name="connsiteX460" fmla="*/ 4282126 w 4551911"/>
                <a:gd name="connsiteY460" fmla="*/ 1356189 h 2721921"/>
                <a:gd name="connsiteX461" fmla="*/ 4347553 w 4551911"/>
                <a:gd name="connsiteY461" fmla="*/ 1411986 h 2721921"/>
                <a:gd name="connsiteX462" fmla="*/ 4417581 w 4551911"/>
                <a:gd name="connsiteY462" fmla="*/ 1481909 h 2721921"/>
                <a:gd name="connsiteX463" fmla="*/ 4415285 w 4551911"/>
                <a:gd name="connsiteY463" fmla="*/ 1524171 h 2721921"/>
                <a:gd name="connsiteX464" fmla="*/ 4433297 w 4551911"/>
                <a:gd name="connsiteY464" fmla="*/ 1540793 h 2721921"/>
                <a:gd name="connsiteX465" fmla="*/ 4427106 w 4551911"/>
                <a:gd name="connsiteY465" fmla="*/ 1491777 h 2721921"/>
                <a:gd name="connsiteX466" fmla="*/ 4499620 w 4551911"/>
                <a:gd name="connsiteY466" fmla="*/ 1501950 h 2721921"/>
                <a:gd name="connsiteX467" fmla="*/ 4551912 w 4551911"/>
                <a:gd name="connsiteY467" fmla="*/ 1564386 h 2721921"/>
                <a:gd name="connsiteX468" fmla="*/ 3338160 w 4551911"/>
                <a:gd name="connsiteY468" fmla="*/ 2426370 h 2721921"/>
                <a:gd name="connsiteX469" fmla="*/ 3311290 w 4551911"/>
                <a:gd name="connsiteY469" fmla="*/ 2353180 h 2721921"/>
                <a:gd name="connsiteX470" fmla="*/ 3300270 w 4551911"/>
                <a:gd name="connsiteY470" fmla="*/ 2310232 h 2721921"/>
                <a:gd name="connsiteX471" fmla="*/ 3300955 w 4551911"/>
                <a:gd name="connsiteY471" fmla="*/ 2267407 h 2721921"/>
                <a:gd name="connsiteX472" fmla="*/ 3291707 w 4551911"/>
                <a:gd name="connsiteY472" fmla="*/ 2224516 h 2721921"/>
                <a:gd name="connsiteX473" fmla="*/ 3284763 w 4551911"/>
                <a:gd name="connsiteY473" fmla="*/ 2194512 h 2721921"/>
                <a:gd name="connsiteX474" fmla="*/ 3272875 w 4551911"/>
                <a:gd name="connsiteY474" fmla="*/ 2200923 h 2721921"/>
                <a:gd name="connsiteX475" fmla="*/ 3283477 w 4551911"/>
                <a:gd name="connsiteY475" fmla="*/ 2221925 h 2721921"/>
                <a:gd name="connsiteX476" fmla="*/ 3258788 w 4551911"/>
                <a:gd name="connsiteY476" fmla="*/ 2242557 h 2721921"/>
                <a:gd name="connsiteX477" fmla="*/ 3256426 w 4551911"/>
                <a:gd name="connsiteY477" fmla="*/ 2302526 h 2721921"/>
                <a:gd name="connsiteX478" fmla="*/ 3272075 w 4551911"/>
                <a:gd name="connsiteY478" fmla="*/ 2344541 h 2721921"/>
                <a:gd name="connsiteX479" fmla="*/ 3270904 w 4551911"/>
                <a:gd name="connsiteY479" fmla="*/ 2400281 h 2721921"/>
                <a:gd name="connsiteX480" fmla="*/ 3264722 w 4551911"/>
                <a:gd name="connsiteY480" fmla="*/ 2431113 h 2721921"/>
                <a:gd name="connsiteX481" fmla="*/ 3267770 w 4551911"/>
                <a:gd name="connsiteY481" fmla="*/ 2474329 h 2721921"/>
                <a:gd name="connsiteX482" fmla="*/ 3264789 w 4551911"/>
                <a:gd name="connsiteY482" fmla="*/ 2512571 h 2721921"/>
                <a:gd name="connsiteX483" fmla="*/ 3269742 w 4551911"/>
                <a:gd name="connsiteY483" fmla="*/ 2544956 h 2721921"/>
                <a:gd name="connsiteX484" fmla="*/ 3287249 w 4551911"/>
                <a:gd name="connsiteY484" fmla="*/ 2515105 h 2721921"/>
                <a:gd name="connsiteX485" fmla="*/ 3307490 w 4551911"/>
                <a:gd name="connsiteY485" fmla="*/ 2538394 h 2721921"/>
                <a:gd name="connsiteX486" fmla="*/ 3308232 w 4551911"/>
                <a:gd name="connsiteY486" fmla="*/ 2511381 h 2721921"/>
                <a:gd name="connsiteX487" fmla="*/ 3282210 w 4551911"/>
                <a:gd name="connsiteY487" fmla="*/ 2471099 h 2721921"/>
                <a:gd name="connsiteX488" fmla="*/ 3298641 w 4551911"/>
                <a:gd name="connsiteY488" fmla="*/ 2412930 h 2721921"/>
                <a:gd name="connsiteX489" fmla="*/ 3338160 w 4551911"/>
                <a:gd name="connsiteY489" fmla="*/ 2426370 h 2721921"/>
                <a:gd name="connsiteX490" fmla="*/ 70904 w 4551911"/>
                <a:gd name="connsiteY490" fmla="*/ 2164575 h 2721921"/>
                <a:gd name="connsiteX491" fmla="*/ 42939 w 4551911"/>
                <a:gd name="connsiteY491" fmla="*/ 2156422 h 2721921"/>
                <a:gd name="connsiteX492" fmla="*/ 6086 w 4551911"/>
                <a:gd name="connsiteY492" fmla="*/ 2171500 h 2721921"/>
                <a:gd name="connsiteX493" fmla="*/ 0 w 4551911"/>
                <a:gd name="connsiteY493" fmla="*/ 2191760 h 2721921"/>
                <a:gd name="connsiteX494" fmla="*/ 32889 w 4551911"/>
                <a:gd name="connsiteY494" fmla="*/ 2196951 h 2721921"/>
                <a:gd name="connsiteX495" fmla="*/ 82000 w 4551911"/>
                <a:gd name="connsiteY495" fmla="*/ 2196265 h 2721921"/>
                <a:gd name="connsiteX496" fmla="*/ 79857 w 4551911"/>
                <a:gd name="connsiteY496" fmla="*/ 2184568 h 2721921"/>
                <a:gd name="connsiteX497" fmla="*/ 82705 w 4551911"/>
                <a:gd name="connsiteY497" fmla="*/ 2171929 h 2721921"/>
                <a:gd name="connsiteX498" fmla="*/ 70904 w 4551911"/>
                <a:gd name="connsiteY498" fmla="*/ 2164575 h 2721921"/>
                <a:gd name="connsiteX499" fmla="*/ 4282126 w 4551911"/>
                <a:gd name="connsiteY499" fmla="*/ 1210951 h 2721921"/>
                <a:gd name="connsiteX500" fmla="*/ 4317006 w 4551911"/>
                <a:gd name="connsiteY500" fmla="*/ 1205998 h 2721921"/>
                <a:gd name="connsiteX501" fmla="*/ 4344524 w 4551911"/>
                <a:gd name="connsiteY501" fmla="*/ 1186329 h 2721921"/>
                <a:gd name="connsiteX502" fmla="*/ 4346810 w 4551911"/>
                <a:gd name="connsiteY502" fmla="*/ 1175014 h 2721921"/>
                <a:gd name="connsiteX503" fmla="*/ 4308177 w 4551911"/>
                <a:gd name="connsiteY503" fmla="*/ 1151058 h 2721921"/>
                <a:gd name="connsiteX504" fmla="*/ 4285545 w 4551911"/>
                <a:gd name="connsiteY504" fmla="*/ 1150877 h 2721921"/>
                <a:gd name="connsiteX505" fmla="*/ 4282126 w 4551911"/>
                <a:gd name="connsiteY505" fmla="*/ 1154411 h 2721921"/>
                <a:gd name="connsiteX506" fmla="*/ 4248083 w 4551911"/>
                <a:gd name="connsiteY506" fmla="*/ 1189130 h 2721921"/>
                <a:gd name="connsiteX507" fmla="*/ 4252846 w 4551911"/>
                <a:gd name="connsiteY507" fmla="*/ 1215095 h 2721921"/>
                <a:gd name="connsiteX508" fmla="*/ 4282126 w 4551911"/>
                <a:gd name="connsiteY508" fmla="*/ 1210951 h 2721921"/>
                <a:gd name="connsiteX509" fmla="*/ 3235538 w 4551911"/>
                <a:gd name="connsiteY509" fmla="*/ 952929 h 2721921"/>
                <a:gd name="connsiteX510" fmla="*/ 3210201 w 4551911"/>
                <a:gd name="connsiteY510" fmla="*/ 990219 h 2721921"/>
                <a:gd name="connsiteX511" fmla="*/ 3214878 w 4551911"/>
                <a:gd name="connsiteY511" fmla="*/ 995153 h 2721921"/>
                <a:gd name="connsiteX512" fmla="*/ 3269609 w 4551911"/>
                <a:gd name="connsiteY512" fmla="*/ 1005478 h 2721921"/>
                <a:gd name="connsiteX513" fmla="*/ 3310099 w 4551911"/>
                <a:gd name="connsiteY513" fmla="*/ 1004830 h 2721921"/>
                <a:gd name="connsiteX514" fmla="*/ 3306870 w 4551911"/>
                <a:gd name="connsiteY514" fmla="*/ 980361 h 2721921"/>
                <a:gd name="connsiteX515" fmla="*/ 3268932 w 4551911"/>
                <a:gd name="connsiteY515" fmla="*/ 944070 h 2721921"/>
                <a:gd name="connsiteX516" fmla="*/ 3235538 w 4551911"/>
                <a:gd name="connsiteY516" fmla="*/ 952929 h 2721921"/>
                <a:gd name="connsiteX517" fmla="*/ 3469605 w 4551911"/>
                <a:gd name="connsiteY517" fmla="*/ 862175 h 2721921"/>
                <a:gd name="connsiteX518" fmla="*/ 3500475 w 4551911"/>
                <a:gd name="connsiteY518" fmla="*/ 821712 h 2721921"/>
                <a:gd name="connsiteX519" fmla="*/ 3433457 w 4551911"/>
                <a:gd name="connsiteY519" fmla="*/ 794328 h 2721921"/>
                <a:gd name="connsiteX520" fmla="*/ 3383670 w 4551911"/>
                <a:gd name="connsiteY520" fmla="*/ 778316 h 2721921"/>
                <a:gd name="connsiteX521" fmla="*/ 3377279 w 4551911"/>
                <a:gd name="connsiteY521" fmla="*/ 812463 h 2721921"/>
                <a:gd name="connsiteX522" fmla="*/ 3426914 w 4551911"/>
                <a:gd name="connsiteY522" fmla="*/ 853107 h 2721921"/>
                <a:gd name="connsiteX523" fmla="*/ 3469605 w 4551911"/>
                <a:gd name="connsiteY523" fmla="*/ 862175 h 2721921"/>
                <a:gd name="connsiteX524" fmla="*/ 3230261 w 4551911"/>
                <a:gd name="connsiteY524" fmla="*/ 846039 h 2721921"/>
                <a:gd name="connsiteX525" fmla="*/ 3328702 w 4551911"/>
                <a:gd name="connsiteY525" fmla="*/ 848858 h 2721921"/>
                <a:gd name="connsiteX526" fmla="*/ 3349704 w 4551911"/>
                <a:gd name="connsiteY526" fmla="*/ 771277 h 2721921"/>
                <a:gd name="connsiteX527" fmla="*/ 3253168 w 4551911"/>
                <a:gd name="connsiteY527" fmla="*/ 713451 h 2721921"/>
                <a:gd name="connsiteX528" fmla="*/ 3182645 w 4551911"/>
                <a:gd name="connsiteY528" fmla="*/ 708574 h 2721921"/>
                <a:gd name="connsiteX529" fmla="*/ 3147412 w 4551911"/>
                <a:gd name="connsiteY529" fmla="*/ 729339 h 2721921"/>
                <a:gd name="connsiteX530" fmla="*/ 3133058 w 4551911"/>
                <a:gd name="connsiteY530" fmla="*/ 803177 h 2721921"/>
                <a:gd name="connsiteX531" fmla="*/ 3185970 w 4551911"/>
                <a:gd name="connsiteY531" fmla="*/ 869975 h 2721921"/>
                <a:gd name="connsiteX532" fmla="*/ 3230261 w 4551911"/>
                <a:gd name="connsiteY532" fmla="*/ 846039 h 2721921"/>
                <a:gd name="connsiteX533" fmla="*/ 876452 w 4551911"/>
                <a:gd name="connsiteY533" fmla="*/ 1093184 h 2721921"/>
                <a:gd name="connsiteX534" fmla="*/ 849144 w 4551911"/>
                <a:gd name="connsiteY534" fmla="*/ 1111834 h 2721921"/>
                <a:gd name="connsiteX535" fmla="*/ 853049 w 4551911"/>
                <a:gd name="connsiteY535" fmla="*/ 1157859 h 2721921"/>
                <a:gd name="connsiteX536" fmla="*/ 901389 w 4551911"/>
                <a:gd name="connsiteY536" fmla="*/ 1180224 h 2721921"/>
                <a:gd name="connsiteX537" fmla="*/ 908475 w 4551911"/>
                <a:gd name="connsiteY537" fmla="*/ 1216590 h 2721921"/>
                <a:gd name="connsiteX538" fmla="*/ 995734 w 4551911"/>
                <a:gd name="connsiteY538" fmla="*/ 1227087 h 2721921"/>
                <a:gd name="connsiteX539" fmla="*/ 1011507 w 4551911"/>
                <a:gd name="connsiteY539" fmla="*/ 1220010 h 2721921"/>
                <a:gd name="connsiteX540" fmla="*/ 960425 w 4551911"/>
                <a:gd name="connsiteY540" fmla="*/ 1152325 h 2721921"/>
                <a:gd name="connsiteX541" fmla="*/ 954995 w 4551911"/>
                <a:gd name="connsiteY541" fmla="*/ 1080735 h 2721921"/>
                <a:gd name="connsiteX542" fmla="*/ 996858 w 4551911"/>
                <a:gd name="connsiteY542" fmla="*/ 993648 h 2721921"/>
                <a:gd name="connsiteX543" fmla="*/ 1036663 w 4551911"/>
                <a:gd name="connsiteY543" fmla="*/ 900122 h 2721921"/>
                <a:gd name="connsiteX544" fmla="*/ 1119625 w 4551911"/>
                <a:gd name="connsiteY544" fmla="*/ 803272 h 2721921"/>
                <a:gd name="connsiteX545" fmla="*/ 1201188 w 4551911"/>
                <a:gd name="connsiteY545" fmla="*/ 752427 h 2721921"/>
                <a:gd name="connsiteX546" fmla="*/ 1295819 w 4551911"/>
                <a:gd name="connsiteY546" fmla="*/ 697754 h 2721921"/>
                <a:gd name="connsiteX547" fmla="*/ 1313764 w 4551911"/>
                <a:gd name="connsiteY547" fmla="*/ 662454 h 2721921"/>
                <a:gd name="connsiteX548" fmla="*/ 1295199 w 4551911"/>
                <a:gd name="connsiteY548" fmla="*/ 616477 h 2721921"/>
                <a:gd name="connsiteX549" fmla="*/ 1243222 w 4551911"/>
                <a:gd name="connsiteY549" fmla="*/ 631755 h 2721921"/>
                <a:gd name="connsiteX550" fmla="*/ 1197483 w 4551911"/>
                <a:gd name="connsiteY550" fmla="*/ 674541 h 2721921"/>
                <a:gd name="connsiteX551" fmla="*/ 1108596 w 4551911"/>
                <a:gd name="connsiteY551" fmla="*/ 695706 h 2721921"/>
                <a:gd name="connsiteX552" fmla="*/ 1020423 w 4551911"/>
                <a:gd name="connsiteY552" fmla="*/ 766277 h 2721921"/>
                <a:gd name="connsiteX553" fmla="*/ 960691 w 4551911"/>
                <a:gd name="connsiteY553" fmla="*/ 821988 h 2721921"/>
                <a:gd name="connsiteX554" fmla="*/ 967921 w 4551911"/>
                <a:gd name="connsiteY554" fmla="*/ 868375 h 2721921"/>
                <a:gd name="connsiteX555" fmla="*/ 903979 w 4551911"/>
                <a:gd name="connsiteY555" fmla="*/ 954376 h 2721921"/>
                <a:gd name="connsiteX556" fmla="*/ 928535 w 4551911"/>
                <a:gd name="connsiteY556" fmla="*/ 965997 h 2721921"/>
                <a:gd name="connsiteX557" fmla="*/ 875557 w 4551911"/>
                <a:gd name="connsiteY557" fmla="*/ 1044778 h 2721921"/>
                <a:gd name="connsiteX558" fmla="*/ 876452 w 4551911"/>
                <a:gd name="connsiteY558" fmla="*/ 1093184 h 2721921"/>
                <a:gd name="connsiteX559" fmla="*/ 2281142 w 4551911"/>
                <a:gd name="connsiteY559" fmla="*/ 445999 h 2721921"/>
                <a:gd name="connsiteX560" fmla="*/ 2289077 w 4551911"/>
                <a:gd name="connsiteY560" fmla="*/ 391516 h 2721921"/>
                <a:gd name="connsiteX561" fmla="*/ 2221382 w 4551911"/>
                <a:gd name="connsiteY561" fmla="*/ 312049 h 2721921"/>
                <a:gd name="connsiteX562" fmla="*/ 2201323 w 4551911"/>
                <a:gd name="connsiteY562" fmla="*/ 302666 h 2721921"/>
                <a:gd name="connsiteX563" fmla="*/ 2179377 w 4551911"/>
                <a:gd name="connsiteY563" fmla="*/ 318821 h 2721921"/>
                <a:gd name="connsiteX564" fmla="*/ 2130590 w 4551911"/>
                <a:gd name="connsiteY564" fmla="*/ 496024 h 2721921"/>
                <a:gd name="connsiteX565" fmla="*/ 2281142 w 4551911"/>
                <a:gd name="connsiteY565" fmla="*/ 445999 h 2721921"/>
                <a:gd name="connsiteX566" fmla="*/ 716861 w 4551911"/>
                <a:gd name="connsiteY566" fmla="*/ 166792 h 2721921"/>
                <a:gd name="connsiteX567" fmla="*/ 745788 w 4551911"/>
                <a:gd name="connsiteY567" fmla="*/ 203711 h 2721921"/>
                <a:gd name="connsiteX568" fmla="*/ 777001 w 4551911"/>
                <a:gd name="connsiteY568" fmla="*/ 178060 h 2721921"/>
                <a:gd name="connsiteX569" fmla="*/ 780726 w 4551911"/>
                <a:gd name="connsiteY569" fmla="*/ 152162 h 2721921"/>
                <a:gd name="connsiteX570" fmla="*/ 804739 w 4551911"/>
                <a:gd name="connsiteY570" fmla="*/ 140046 h 2721921"/>
                <a:gd name="connsiteX571" fmla="*/ 840591 w 4551911"/>
                <a:gd name="connsiteY571" fmla="*/ 118758 h 2721921"/>
                <a:gd name="connsiteX572" fmla="*/ 850925 w 4551911"/>
                <a:gd name="connsiteY572" fmla="*/ 93764 h 2721921"/>
                <a:gd name="connsiteX573" fmla="*/ 811311 w 4551911"/>
                <a:gd name="connsiteY573" fmla="*/ 57121 h 2721921"/>
                <a:gd name="connsiteX574" fmla="*/ 786136 w 4551911"/>
                <a:gd name="connsiteY574" fmla="*/ 84773 h 2721921"/>
                <a:gd name="connsiteX575" fmla="*/ 770801 w 4551911"/>
                <a:gd name="connsiteY575" fmla="*/ 124063 h 2721921"/>
                <a:gd name="connsiteX576" fmla="*/ 765343 w 4551911"/>
                <a:gd name="connsiteY576" fmla="*/ 79781 h 2721921"/>
                <a:gd name="connsiteX577" fmla="*/ 724766 w 4551911"/>
                <a:gd name="connsiteY577" fmla="*/ 81791 h 2721921"/>
                <a:gd name="connsiteX578" fmla="*/ 672626 w 4551911"/>
                <a:gd name="connsiteY578" fmla="*/ 111814 h 2721921"/>
                <a:gd name="connsiteX579" fmla="*/ 732063 w 4551911"/>
                <a:gd name="connsiteY579" fmla="*/ 116776 h 2721921"/>
                <a:gd name="connsiteX580" fmla="*/ 716861 w 4551911"/>
                <a:gd name="connsiteY580" fmla="*/ 166792 h 2721921"/>
                <a:gd name="connsiteX581" fmla="*/ 1967007 w 4551911"/>
                <a:gd name="connsiteY581" fmla="*/ 291055 h 2721921"/>
                <a:gd name="connsiteX582" fmla="*/ 2011327 w 4551911"/>
                <a:gd name="connsiteY582" fmla="*/ 345634 h 2721921"/>
                <a:gd name="connsiteX583" fmla="*/ 2085718 w 4551911"/>
                <a:gd name="connsiteY583" fmla="*/ 385658 h 2721921"/>
                <a:gd name="connsiteX584" fmla="*/ 2143991 w 4551911"/>
                <a:gd name="connsiteY584" fmla="*/ 368484 h 2721921"/>
                <a:gd name="connsiteX585" fmla="*/ 2150574 w 4551911"/>
                <a:gd name="connsiteY585" fmla="*/ 238725 h 2721921"/>
                <a:gd name="connsiteX586" fmla="*/ 2089080 w 4551911"/>
                <a:gd name="connsiteY586" fmla="*/ 85944 h 2721921"/>
                <a:gd name="connsiteX587" fmla="*/ 2037188 w 4551911"/>
                <a:gd name="connsiteY587" fmla="*/ 0 h 2721921"/>
                <a:gd name="connsiteX588" fmla="*/ 1979419 w 4551911"/>
                <a:gd name="connsiteY588" fmla="*/ 39138 h 2721921"/>
                <a:gd name="connsiteX589" fmla="*/ 1910076 w 4551911"/>
                <a:gd name="connsiteY589" fmla="*/ 151857 h 2721921"/>
                <a:gd name="connsiteX590" fmla="*/ 1946510 w 4551911"/>
                <a:gd name="connsiteY590" fmla="*/ 183004 h 2721921"/>
                <a:gd name="connsiteX591" fmla="*/ 1967007 w 4551911"/>
                <a:gd name="connsiteY591" fmla="*/ 291055 h 2721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</a:cxnLst>
              <a:rect l="l" t="t" r="r" b="b"/>
              <a:pathLst>
                <a:path w="4551911" h="2721921">
                  <a:moveTo>
                    <a:pt x="4551912" y="1564386"/>
                  </a:moveTo>
                  <a:lnTo>
                    <a:pt x="4525432" y="1592704"/>
                  </a:lnTo>
                  <a:lnTo>
                    <a:pt x="4481617" y="1599352"/>
                  </a:lnTo>
                  <a:lnTo>
                    <a:pt x="4480951" y="1660912"/>
                  </a:lnTo>
                  <a:lnTo>
                    <a:pt x="4470273" y="1673743"/>
                  </a:lnTo>
                  <a:lnTo>
                    <a:pt x="4445270" y="1671904"/>
                  </a:lnTo>
                  <a:lnTo>
                    <a:pt x="4424905" y="1650340"/>
                  </a:lnTo>
                  <a:lnTo>
                    <a:pt x="4389396" y="1632080"/>
                  </a:lnTo>
                  <a:lnTo>
                    <a:pt x="4383424" y="1604553"/>
                  </a:lnTo>
                  <a:lnTo>
                    <a:pt x="4356297" y="1594056"/>
                  </a:lnTo>
                  <a:lnTo>
                    <a:pt x="4325931" y="1602391"/>
                  </a:lnTo>
                  <a:lnTo>
                    <a:pt x="4311424" y="1579826"/>
                  </a:lnTo>
                  <a:lnTo>
                    <a:pt x="4317225" y="1555518"/>
                  </a:lnTo>
                  <a:lnTo>
                    <a:pt x="4285240" y="1571092"/>
                  </a:lnTo>
                  <a:lnTo>
                    <a:pt x="4297290" y="1601514"/>
                  </a:lnTo>
                  <a:lnTo>
                    <a:pt x="4282135" y="1628499"/>
                  </a:lnTo>
                  <a:lnTo>
                    <a:pt x="4281935" y="1628842"/>
                  </a:lnTo>
                  <a:lnTo>
                    <a:pt x="4247607" y="1656321"/>
                  </a:lnTo>
                  <a:lnTo>
                    <a:pt x="4212993" y="1651768"/>
                  </a:lnTo>
                  <a:lnTo>
                    <a:pt x="4237082" y="1684553"/>
                  </a:lnTo>
                  <a:lnTo>
                    <a:pt x="4252979" y="1734093"/>
                  </a:lnTo>
                  <a:lnTo>
                    <a:pt x="4265314" y="1749981"/>
                  </a:lnTo>
                  <a:lnTo>
                    <a:pt x="4268409" y="1774098"/>
                  </a:lnTo>
                  <a:lnTo>
                    <a:pt x="4261513" y="1789357"/>
                  </a:lnTo>
                  <a:lnTo>
                    <a:pt x="4211736" y="1776813"/>
                  </a:lnTo>
                  <a:lnTo>
                    <a:pt x="4137088" y="1819780"/>
                  </a:lnTo>
                  <a:lnTo>
                    <a:pt x="4113343" y="1826333"/>
                  </a:lnTo>
                  <a:lnTo>
                    <a:pt x="4072480" y="1865347"/>
                  </a:lnTo>
                  <a:lnTo>
                    <a:pt x="4033714" y="1898733"/>
                  </a:lnTo>
                  <a:lnTo>
                    <a:pt x="4023903" y="1923050"/>
                  </a:lnTo>
                  <a:lnTo>
                    <a:pt x="3985698" y="1885902"/>
                  </a:lnTo>
                  <a:lnTo>
                    <a:pt x="3916108" y="1927993"/>
                  </a:lnTo>
                  <a:lnTo>
                    <a:pt x="3903964" y="1908201"/>
                  </a:lnTo>
                  <a:lnTo>
                    <a:pt x="3878237" y="1931003"/>
                  </a:lnTo>
                  <a:lnTo>
                    <a:pt x="3842518" y="1923736"/>
                  </a:lnTo>
                  <a:lnTo>
                    <a:pt x="3833917" y="1958321"/>
                  </a:lnTo>
                  <a:lnTo>
                    <a:pt x="3801875" y="2008022"/>
                  </a:lnTo>
                  <a:lnTo>
                    <a:pt x="3802837" y="2028377"/>
                  </a:lnTo>
                  <a:lnTo>
                    <a:pt x="3833250" y="2039560"/>
                  </a:lnTo>
                  <a:lnTo>
                    <a:pt x="3829669" y="2110597"/>
                  </a:lnTo>
                  <a:lnTo>
                    <a:pt x="3804875" y="2112369"/>
                  </a:lnTo>
                  <a:lnTo>
                    <a:pt x="3793436" y="2151936"/>
                  </a:lnTo>
                  <a:lnTo>
                    <a:pt x="3804552" y="2171976"/>
                  </a:lnTo>
                  <a:lnTo>
                    <a:pt x="3757850" y="2195475"/>
                  </a:lnTo>
                  <a:lnTo>
                    <a:pt x="3748583" y="2246957"/>
                  </a:lnTo>
                  <a:lnTo>
                    <a:pt x="3708759" y="2257768"/>
                  </a:lnTo>
                  <a:lnTo>
                    <a:pt x="3700757" y="2302183"/>
                  </a:lnTo>
                  <a:lnTo>
                    <a:pt x="3662257" y="2342026"/>
                  </a:lnTo>
                  <a:lnTo>
                    <a:pt x="3652389" y="2312642"/>
                  </a:lnTo>
                  <a:lnTo>
                    <a:pt x="3640950" y="2248891"/>
                  </a:lnTo>
                  <a:lnTo>
                    <a:pt x="3626053" y="2147478"/>
                  </a:lnTo>
                  <a:lnTo>
                    <a:pt x="3638893" y="2081241"/>
                  </a:lnTo>
                  <a:lnTo>
                    <a:pt x="3661420" y="2051990"/>
                  </a:lnTo>
                  <a:lnTo>
                    <a:pt x="3662810" y="2028739"/>
                  </a:lnTo>
                  <a:lnTo>
                    <a:pt x="3704311" y="2017500"/>
                  </a:lnTo>
                  <a:lnTo>
                    <a:pt x="3752021" y="1952911"/>
                  </a:lnTo>
                  <a:lnTo>
                    <a:pt x="3797989" y="1898361"/>
                  </a:lnTo>
                  <a:lnTo>
                    <a:pt x="3845995" y="1854832"/>
                  </a:lnTo>
                  <a:lnTo>
                    <a:pt x="3867464" y="1775146"/>
                  </a:lnTo>
                  <a:lnTo>
                    <a:pt x="3835022" y="1780013"/>
                  </a:lnTo>
                  <a:lnTo>
                    <a:pt x="3818972" y="1826895"/>
                  </a:lnTo>
                  <a:lnTo>
                    <a:pt x="3751240" y="1887484"/>
                  </a:lnTo>
                  <a:lnTo>
                    <a:pt x="3729361" y="1819494"/>
                  </a:lnTo>
                  <a:lnTo>
                    <a:pt x="3660419" y="1838535"/>
                  </a:lnTo>
                  <a:lnTo>
                    <a:pt x="3593573" y="1929594"/>
                  </a:lnTo>
                  <a:lnTo>
                    <a:pt x="3615623" y="1961759"/>
                  </a:lnTo>
                  <a:lnTo>
                    <a:pt x="3556016" y="1975275"/>
                  </a:lnTo>
                  <a:lnTo>
                    <a:pt x="3514725" y="1980581"/>
                  </a:lnTo>
                  <a:lnTo>
                    <a:pt x="3516658" y="1942995"/>
                  </a:lnTo>
                  <a:lnTo>
                    <a:pt x="3475148" y="1935004"/>
                  </a:lnTo>
                  <a:lnTo>
                    <a:pt x="3442059" y="1960740"/>
                  </a:lnTo>
                  <a:lnTo>
                    <a:pt x="3360401" y="1951777"/>
                  </a:lnTo>
                  <a:lnTo>
                    <a:pt x="3272552" y="1967208"/>
                  </a:lnTo>
                  <a:lnTo>
                    <a:pt x="3186036" y="2065601"/>
                  </a:lnTo>
                  <a:lnTo>
                    <a:pt x="3083690" y="2177777"/>
                  </a:lnTo>
                  <a:lnTo>
                    <a:pt x="3125762" y="2183587"/>
                  </a:lnTo>
                  <a:lnTo>
                    <a:pt x="3138897" y="2212172"/>
                  </a:lnTo>
                  <a:lnTo>
                    <a:pt x="3164843" y="2222221"/>
                  </a:lnTo>
                  <a:lnTo>
                    <a:pt x="3181931" y="2199570"/>
                  </a:lnTo>
                  <a:lnTo>
                    <a:pt x="3211230" y="2202533"/>
                  </a:lnTo>
                  <a:lnTo>
                    <a:pt x="3249787" y="2251977"/>
                  </a:lnTo>
                  <a:lnTo>
                    <a:pt x="3250692" y="2289353"/>
                  </a:lnTo>
                  <a:lnTo>
                    <a:pt x="3229823" y="2332330"/>
                  </a:lnTo>
                  <a:lnTo>
                    <a:pt x="3227565" y="2382488"/>
                  </a:lnTo>
                  <a:lnTo>
                    <a:pt x="3215516" y="2447716"/>
                  </a:lnTo>
                  <a:lnTo>
                    <a:pt x="3175263" y="2504989"/>
                  </a:lnTo>
                  <a:lnTo>
                    <a:pt x="3166320" y="2531821"/>
                  </a:lnTo>
                  <a:lnTo>
                    <a:pt x="3130067" y="2576227"/>
                  </a:lnTo>
                  <a:lnTo>
                    <a:pt x="3094091" y="2619356"/>
                  </a:lnTo>
                  <a:lnTo>
                    <a:pt x="3076841" y="2641102"/>
                  </a:lnTo>
                  <a:lnTo>
                    <a:pt x="3041256" y="2662485"/>
                  </a:lnTo>
                  <a:lnTo>
                    <a:pt x="3024406" y="2662952"/>
                  </a:lnTo>
                  <a:lnTo>
                    <a:pt x="3007633" y="2645254"/>
                  </a:lnTo>
                  <a:lnTo>
                    <a:pt x="2971781" y="2671848"/>
                  </a:lnTo>
                  <a:lnTo>
                    <a:pt x="2967609" y="2683831"/>
                  </a:lnTo>
                  <a:lnTo>
                    <a:pt x="2963866" y="2677535"/>
                  </a:lnTo>
                  <a:lnTo>
                    <a:pt x="2963704" y="2659161"/>
                  </a:lnTo>
                  <a:lnTo>
                    <a:pt x="2977343" y="2658180"/>
                  </a:lnTo>
                  <a:lnTo>
                    <a:pt x="2981191" y="2614813"/>
                  </a:lnTo>
                  <a:lnTo>
                    <a:pt x="2974152" y="2582828"/>
                  </a:lnTo>
                  <a:lnTo>
                    <a:pt x="2997079" y="2569502"/>
                  </a:lnTo>
                  <a:lnTo>
                    <a:pt x="3029483" y="2576198"/>
                  </a:lnTo>
                  <a:lnTo>
                    <a:pt x="3047447" y="2539165"/>
                  </a:lnTo>
                  <a:lnTo>
                    <a:pt x="3056601" y="2496665"/>
                  </a:lnTo>
                  <a:lnTo>
                    <a:pt x="3066973" y="2482272"/>
                  </a:lnTo>
                  <a:lnTo>
                    <a:pt x="3081013" y="2446449"/>
                  </a:lnTo>
                  <a:lnTo>
                    <a:pt x="3036875" y="2458250"/>
                  </a:lnTo>
                  <a:lnTo>
                    <a:pt x="3013720" y="2473938"/>
                  </a:lnTo>
                  <a:lnTo>
                    <a:pt x="2973133" y="2473890"/>
                  </a:lnTo>
                  <a:lnTo>
                    <a:pt x="2962322" y="2436314"/>
                  </a:lnTo>
                  <a:lnTo>
                    <a:pt x="2930690" y="2407406"/>
                  </a:lnTo>
                  <a:lnTo>
                    <a:pt x="2884208" y="2394271"/>
                  </a:lnTo>
                  <a:lnTo>
                    <a:pt x="2874330" y="2353466"/>
                  </a:lnTo>
                  <a:lnTo>
                    <a:pt x="2865025" y="2327453"/>
                  </a:lnTo>
                  <a:lnTo>
                    <a:pt x="2855014" y="2309003"/>
                  </a:lnTo>
                  <a:lnTo>
                    <a:pt x="2838507" y="2265083"/>
                  </a:lnTo>
                  <a:lnTo>
                    <a:pt x="2815056" y="2248786"/>
                  </a:lnTo>
                  <a:lnTo>
                    <a:pt x="2775089" y="2235508"/>
                  </a:lnTo>
                  <a:lnTo>
                    <a:pt x="2739675" y="2236718"/>
                  </a:lnTo>
                  <a:lnTo>
                    <a:pt x="2706491" y="2244766"/>
                  </a:lnTo>
                  <a:lnTo>
                    <a:pt x="2684440" y="2266798"/>
                  </a:lnTo>
                  <a:lnTo>
                    <a:pt x="2699089" y="2277227"/>
                  </a:lnTo>
                  <a:lnTo>
                    <a:pt x="2699423" y="2301250"/>
                  </a:lnTo>
                  <a:lnTo>
                    <a:pt x="2684564" y="2315061"/>
                  </a:lnTo>
                  <a:lnTo>
                    <a:pt x="2660456" y="2360067"/>
                  </a:lnTo>
                  <a:lnTo>
                    <a:pt x="2660704" y="2378440"/>
                  </a:lnTo>
                  <a:lnTo>
                    <a:pt x="2623061" y="2404529"/>
                  </a:lnTo>
                  <a:lnTo>
                    <a:pt x="2591009" y="2388984"/>
                  </a:lnTo>
                  <a:lnTo>
                    <a:pt x="2559139" y="2392423"/>
                  </a:lnTo>
                  <a:lnTo>
                    <a:pt x="2545156" y="2378545"/>
                  </a:lnTo>
                  <a:lnTo>
                    <a:pt x="2529135" y="2374049"/>
                  </a:lnTo>
                  <a:lnTo>
                    <a:pt x="2490025" y="2403186"/>
                  </a:lnTo>
                  <a:lnTo>
                    <a:pt x="2454868" y="2409968"/>
                  </a:lnTo>
                  <a:lnTo>
                    <a:pt x="2430323" y="2420084"/>
                  </a:lnTo>
                  <a:lnTo>
                    <a:pt x="2396681" y="2413445"/>
                  </a:lnTo>
                  <a:lnTo>
                    <a:pt x="2371915" y="2413873"/>
                  </a:lnTo>
                  <a:lnTo>
                    <a:pt x="2355704" y="2392890"/>
                  </a:lnTo>
                  <a:lnTo>
                    <a:pt x="2329548" y="2372963"/>
                  </a:lnTo>
                  <a:lnTo>
                    <a:pt x="2302783" y="2367467"/>
                  </a:lnTo>
                  <a:lnTo>
                    <a:pt x="2268998" y="2372925"/>
                  </a:lnTo>
                  <a:lnTo>
                    <a:pt x="2243756" y="2380631"/>
                  </a:lnTo>
                  <a:lnTo>
                    <a:pt x="2205818" y="2363095"/>
                  </a:lnTo>
                  <a:lnTo>
                    <a:pt x="2200732" y="2331454"/>
                  </a:lnTo>
                  <a:lnTo>
                    <a:pt x="2169328" y="2320490"/>
                  </a:lnTo>
                  <a:lnTo>
                    <a:pt x="2145087" y="2315470"/>
                  </a:lnTo>
                  <a:lnTo>
                    <a:pt x="2115169" y="2297649"/>
                  </a:lnTo>
                  <a:lnTo>
                    <a:pt x="2087508" y="2342026"/>
                  </a:lnTo>
                  <a:lnTo>
                    <a:pt x="2098358" y="2366791"/>
                  </a:lnTo>
                  <a:lnTo>
                    <a:pt x="2072392" y="2395690"/>
                  </a:lnTo>
                  <a:lnTo>
                    <a:pt x="2033778" y="2385308"/>
                  </a:lnTo>
                  <a:lnTo>
                    <a:pt x="2007117" y="2383822"/>
                  </a:lnTo>
                  <a:lnTo>
                    <a:pt x="1989268" y="2364372"/>
                  </a:lnTo>
                  <a:lnTo>
                    <a:pt x="1961407" y="2363753"/>
                  </a:lnTo>
                  <a:lnTo>
                    <a:pt x="1938185" y="2350856"/>
                  </a:lnTo>
                  <a:lnTo>
                    <a:pt x="1897561" y="2370582"/>
                  </a:lnTo>
                  <a:lnTo>
                    <a:pt x="1846602" y="2406196"/>
                  </a:lnTo>
                  <a:lnTo>
                    <a:pt x="1818446" y="2413283"/>
                  </a:lnTo>
                  <a:lnTo>
                    <a:pt x="1807987" y="2416636"/>
                  </a:lnTo>
                  <a:lnTo>
                    <a:pt x="1793824" y="2391547"/>
                  </a:lnTo>
                  <a:lnTo>
                    <a:pt x="1759419" y="2397062"/>
                  </a:lnTo>
                  <a:lnTo>
                    <a:pt x="1748056" y="2379507"/>
                  </a:lnTo>
                  <a:lnTo>
                    <a:pt x="1729388" y="2371430"/>
                  </a:lnTo>
                  <a:lnTo>
                    <a:pt x="1716528" y="2347189"/>
                  </a:lnTo>
                  <a:lnTo>
                    <a:pt x="1701784" y="2339578"/>
                  </a:lnTo>
                  <a:lnTo>
                    <a:pt x="1663408" y="2350437"/>
                  </a:lnTo>
                  <a:lnTo>
                    <a:pt x="1626622" y="2326005"/>
                  </a:lnTo>
                  <a:lnTo>
                    <a:pt x="1612392" y="2348227"/>
                  </a:lnTo>
                  <a:lnTo>
                    <a:pt x="1552708" y="2237966"/>
                  </a:lnTo>
                  <a:lnTo>
                    <a:pt x="1518637" y="2203114"/>
                  </a:lnTo>
                  <a:lnTo>
                    <a:pt x="1528400" y="2188788"/>
                  </a:lnTo>
                  <a:lnTo>
                    <a:pt x="1461478" y="2231593"/>
                  </a:lnTo>
                  <a:lnTo>
                    <a:pt x="1435865" y="2234146"/>
                  </a:lnTo>
                  <a:lnTo>
                    <a:pt x="1438074" y="2209543"/>
                  </a:lnTo>
                  <a:lnTo>
                    <a:pt x="1403766" y="2194008"/>
                  </a:lnTo>
                  <a:lnTo>
                    <a:pt x="1375886" y="2205114"/>
                  </a:lnTo>
                  <a:lnTo>
                    <a:pt x="1367475" y="2157375"/>
                  </a:lnTo>
                  <a:lnTo>
                    <a:pt x="1319479" y="2147287"/>
                  </a:lnTo>
                  <a:lnTo>
                    <a:pt x="1295466" y="2166652"/>
                  </a:lnTo>
                  <a:lnTo>
                    <a:pt x="1228639" y="2183711"/>
                  </a:lnTo>
                  <a:lnTo>
                    <a:pt x="1215599" y="2195036"/>
                  </a:lnTo>
                  <a:lnTo>
                    <a:pt x="1115663" y="2210877"/>
                  </a:lnTo>
                  <a:lnTo>
                    <a:pt x="1103423" y="2226288"/>
                  </a:lnTo>
                  <a:lnTo>
                    <a:pt x="1122702" y="2256844"/>
                  </a:lnTo>
                  <a:lnTo>
                    <a:pt x="1097061" y="2268312"/>
                  </a:lnTo>
                  <a:lnTo>
                    <a:pt x="1102061" y="2280257"/>
                  </a:lnTo>
                  <a:lnTo>
                    <a:pt x="1076430" y="2301431"/>
                  </a:lnTo>
                  <a:lnTo>
                    <a:pt x="1119711" y="2330939"/>
                  </a:lnTo>
                  <a:lnTo>
                    <a:pt x="1113025" y="2350999"/>
                  </a:lnTo>
                  <a:lnTo>
                    <a:pt x="1075515" y="2349179"/>
                  </a:lnTo>
                  <a:lnTo>
                    <a:pt x="1067762" y="2361657"/>
                  </a:lnTo>
                  <a:lnTo>
                    <a:pt x="1033605" y="2339816"/>
                  </a:lnTo>
                  <a:lnTo>
                    <a:pt x="991266" y="2340664"/>
                  </a:lnTo>
                  <a:lnTo>
                    <a:pt x="962920" y="2358457"/>
                  </a:lnTo>
                  <a:lnTo>
                    <a:pt x="931307" y="2341397"/>
                  </a:lnTo>
                  <a:lnTo>
                    <a:pt x="872433" y="2311851"/>
                  </a:lnTo>
                  <a:lnTo>
                    <a:pt x="830713" y="2312965"/>
                  </a:lnTo>
                  <a:lnTo>
                    <a:pt x="775582" y="2359152"/>
                  </a:lnTo>
                  <a:lnTo>
                    <a:pt x="772258" y="2389565"/>
                  </a:lnTo>
                  <a:lnTo>
                    <a:pt x="744798" y="2365448"/>
                  </a:lnTo>
                  <a:lnTo>
                    <a:pt x="723490" y="2410882"/>
                  </a:lnTo>
                  <a:lnTo>
                    <a:pt x="731291" y="2419207"/>
                  </a:lnTo>
                  <a:lnTo>
                    <a:pt x="715880" y="2449830"/>
                  </a:lnTo>
                  <a:lnTo>
                    <a:pt x="738549" y="2476853"/>
                  </a:lnTo>
                  <a:lnTo>
                    <a:pt x="758371" y="2475748"/>
                  </a:lnTo>
                  <a:lnTo>
                    <a:pt x="775392" y="2502037"/>
                  </a:lnTo>
                  <a:lnTo>
                    <a:pt x="772687" y="2522058"/>
                  </a:lnTo>
                  <a:lnTo>
                    <a:pt x="786250" y="2528307"/>
                  </a:lnTo>
                  <a:lnTo>
                    <a:pt x="774077" y="2551081"/>
                  </a:lnTo>
                  <a:lnTo>
                    <a:pt x="748189" y="2557367"/>
                  </a:lnTo>
                  <a:lnTo>
                    <a:pt x="721643" y="2596306"/>
                  </a:lnTo>
                  <a:lnTo>
                    <a:pt x="745912" y="2631500"/>
                  </a:lnTo>
                  <a:lnTo>
                    <a:pt x="743283" y="2656132"/>
                  </a:lnTo>
                  <a:lnTo>
                    <a:pt x="772449" y="2698576"/>
                  </a:lnTo>
                  <a:lnTo>
                    <a:pt x="756504" y="2712920"/>
                  </a:lnTo>
                  <a:lnTo>
                    <a:pt x="751922" y="2721921"/>
                  </a:lnTo>
                  <a:lnTo>
                    <a:pt x="740102" y="2719512"/>
                  </a:lnTo>
                  <a:lnTo>
                    <a:pt x="721747" y="2697928"/>
                  </a:lnTo>
                  <a:lnTo>
                    <a:pt x="714241" y="2696728"/>
                  </a:lnTo>
                  <a:lnTo>
                    <a:pt x="697449" y="2688431"/>
                  </a:lnTo>
                  <a:lnTo>
                    <a:pt x="689277" y="2673668"/>
                  </a:lnTo>
                  <a:lnTo>
                    <a:pt x="664369" y="2666105"/>
                  </a:lnTo>
                  <a:lnTo>
                    <a:pt x="648176" y="2671791"/>
                  </a:lnTo>
                  <a:lnTo>
                    <a:pt x="643499" y="2665067"/>
                  </a:lnTo>
                  <a:lnTo>
                    <a:pt x="607133" y="2647626"/>
                  </a:lnTo>
                  <a:lnTo>
                    <a:pt x="567814" y="2641702"/>
                  </a:lnTo>
                  <a:lnTo>
                    <a:pt x="545239" y="2635434"/>
                  </a:lnTo>
                  <a:lnTo>
                    <a:pt x="541982" y="2639768"/>
                  </a:lnTo>
                  <a:lnTo>
                    <a:pt x="507930" y="2608583"/>
                  </a:lnTo>
                  <a:lnTo>
                    <a:pt x="477459" y="2594515"/>
                  </a:lnTo>
                  <a:lnTo>
                    <a:pt x="454390" y="2572426"/>
                  </a:lnTo>
                  <a:lnTo>
                    <a:pt x="473830" y="2566369"/>
                  </a:lnTo>
                  <a:lnTo>
                    <a:pt x="495995" y="2534422"/>
                  </a:lnTo>
                  <a:lnTo>
                    <a:pt x="481060" y="2519134"/>
                  </a:lnTo>
                  <a:lnTo>
                    <a:pt x="520417" y="2503256"/>
                  </a:lnTo>
                  <a:lnTo>
                    <a:pt x="519712" y="2494693"/>
                  </a:lnTo>
                  <a:lnTo>
                    <a:pt x="495738" y="2501008"/>
                  </a:lnTo>
                  <a:lnTo>
                    <a:pt x="496576" y="2483558"/>
                  </a:lnTo>
                  <a:lnTo>
                    <a:pt x="510340" y="2472519"/>
                  </a:lnTo>
                  <a:lnTo>
                    <a:pt x="536181" y="2469604"/>
                  </a:lnTo>
                  <a:lnTo>
                    <a:pt x="540382" y="2456317"/>
                  </a:lnTo>
                  <a:lnTo>
                    <a:pt x="534476" y="2434152"/>
                  </a:lnTo>
                  <a:lnTo>
                    <a:pt x="545325" y="2412883"/>
                  </a:lnTo>
                  <a:lnTo>
                    <a:pt x="545011" y="2400852"/>
                  </a:lnTo>
                  <a:lnTo>
                    <a:pt x="505644" y="2387432"/>
                  </a:lnTo>
                  <a:lnTo>
                    <a:pt x="490032" y="2387879"/>
                  </a:lnTo>
                  <a:lnTo>
                    <a:pt x="473554" y="2368420"/>
                  </a:lnTo>
                  <a:lnTo>
                    <a:pt x="453066" y="2375021"/>
                  </a:lnTo>
                  <a:lnTo>
                    <a:pt x="419147" y="2360333"/>
                  </a:lnTo>
                  <a:lnTo>
                    <a:pt x="419728" y="2352066"/>
                  </a:lnTo>
                  <a:lnTo>
                    <a:pt x="410232" y="2333720"/>
                  </a:lnTo>
                  <a:lnTo>
                    <a:pt x="388934" y="2331663"/>
                  </a:lnTo>
                  <a:lnTo>
                    <a:pt x="386724" y="2318404"/>
                  </a:lnTo>
                  <a:lnTo>
                    <a:pt x="393392" y="2309708"/>
                  </a:lnTo>
                  <a:lnTo>
                    <a:pt x="376323" y="2285181"/>
                  </a:lnTo>
                  <a:lnTo>
                    <a:pt x="348634" y="2289391"/>
                  </a:lnTo>
                  <a:lnTo>
                    <a:pt x="340519" y="2287210"/>
                  </a:lnTo>
                  <a:lnTo>
                    <a:pt x="333775" y="2297087"/>
                  </a:lnTo>
                  <a:lnTo>
                    <a:pt x="323802" y="2295335"/>
                  </a:lnTo>
                  <a:lnTo>
                    <a:pt x="317239" y="2267360"/>
                  </a:lnTo>
                  <a:lnTo>
                    <a:pt x="310972" y="2252691"/>
                  </a:lnTo>
                  <a:lnTo>
                    <a:pt x="316116" y="2248548"/>
                  </a:lnTo>
                  <a:lnTo>
                    <a:pt x="337661" y="2250091"/>
                  </a:lnTo>
                  <a:lnTo>
                    <a:pt x="348053" y="2240356"/>
                  </a:lnTo>
                  <a:lnTo>
                    <a:pt x="340357" y="2228421"/>
                  </a:lnTo>
                  <a:lnTo>
                    <a:pt x="322345" y="2220497"/>
                  </a:lnTo>
                  <a:lnTo>
                    <a:pt x="323955" y="2212334"/>
                  </a:lnTo>
                  <a:lnTo>
                    <a:pt x="313087" y="2204047"/>
                  </a:lnTo>
                  <a:lnTo>
                    <a:pt x="296342" y="2174015"/>
                  </a:lnTo>
                  <a:lnTo>
                    <a:pt x="302066" y="2161499"/>
                  </a:lnTo>
                  <a:lnTo>
                    <a:pt x="299456" y="2139515"/>
                  </a:lnTo>
                  <a:lnTo>
                    <a:pt x="273348" y="2128247"/>
                  </a:lnTo>
                  <a:lnTo>
                    <a:pt x="259337" y="2133896"/>
                  </a:lnTo>
                  <a:lnTo>
                    <a:pt x="255546" y="2122122"/>
                  </a:lnTo>
                  <a:lnTo>
                    <a:pt x="227428" y="2110159"/>
                  </a:lnTo>
                  <a:lnTo>
                    <a:pt x="218846" y="2081689"/>
                  </a:lnTo>
                  <a:lnTo>
                    <a:pt x="216570" y="2057952"/>
                  </a:lnTo>
                  <a:lnTo>
                    <a:pt x="203702" y="2046580"/>
                  </a:lnTo>
                  <a:lnTo>
                    <a:pt x="215141" y="2030778"/>
                  </a:lnTo>
                  <a:lnTo>
                    <a:pt x="207216" y="1983515"/>
                  </a:lnTo>
                  <a:lnTo>
                    <a:pt x="226219" y="1953673"/>
                  </a:lnTo>
                  <a:lnTo>
                    <a:pt x="222199" y="1944538"/>
                  </a:lnTo>
                  <a:lnTo>
                    <a:pt x="252555" y="1915287"/>
                  </a:lnTo>
                  <a:lnTo>
                    <a:pt x="224571" y="1889722"/>
                  </a:lnTo>
                  <a:lnTo>
                    <a:pt x="281749" y="1819189"/>
                  </a:lnTo>
                  <a:lnTo>
                    <a:pt x="306552" y="1786300"/>
                  </a:lnTo>
                  <a:lnTo>
                    <a:pt x="316601" y="1756734"/>
                  </a:lnTo>
                  <a:lnTo>
                    <a:pt x="277073" y="1716196"/>
                  </a:lnTo>
                  <a:lnTo>
                    <a:pt x="287988" y="1676714"/>
                  </a:lnTo>
                  <a:lnTo>
                    <a:pt x="263947" y="1630480"/>
                  </a:lnTo>
                  <a:lnTo>
                    <a:pt x="281930" y="1575578"/>
                  </a:lnTo>
                  <a:lnTo>
                    <a:pt x="250869" y="1499788"/>
                  </a:lnTo>
                  <a:lnTo>
                    <a:pt x="275511" y="1447610"/>
                  </a:lnTo>
                  <a:lnTo>
                    <a:pt x="234610" y="1400080"/>
                  </a:lnTo>
                  <a:lnTo>
                    <a:pt x="238506" y="1348607"/>
                  </a:lnTo>
                  <a:lnTo>
                    <a:pt x="260080" y="1341711"/>
                  </a:lnTo>
                  <a:lnTo>
                    <a:pt x="305524" y="1311345"/>
                  </a:lnTo>
                  <a:lnTo>
                    <a:pt x="333080" y="1284551"/>
                  </a:lnTo>
                  <a:lnTo>
                    <a:pt x="376951" y="1330843"/>
                  </a:lnTo>
                  <a:lnTo>
                    <a:pt x="450085" y="1348711"/>
                  </a:lnTo>
                  <a:lnTo>
                    <a:pt x="550993" y="1431065"/>
                  </a:lnTo>
                  <a:lnTo>
                    <a:pt x="571490" y="1464478"/>
                  </a:lnTo>
                  <a:lnTo>
                    <a:pt x="573252" y="1510160"/>
                  </a:lnTo>
                  <a:lnTo>
                    <a:pt x="543601" y="1545355"/>
                  </a:lnTo>
                  <a:lnTo>
                    <a:pt x="499996" y="1562938"/>
                  </a:lnTo>
                  <a:lnTo>
                    <a:pt x="380771" y="1512332"/>
                  </a:lnTo>
                  <a:lnTo>
                    <a:pt x="361159" y="1520904"/>
                  </a:lnTo>
                  <a:lnTo>
                    <a:pt x="404698" y="1569453"/>
                  </a:lnTo>
                  <a:lnTo>
                    <a:pt x="406403" y="1599495"/>
                  </a:lnTo>
                  <a:lnTo>
                    <a:pt x="408146" y="1663817"/>
                  </a:lnTo>
                  <a:lnTo>
                    <a:pt x="442531" y="1682544"/>
                  </a:lnTo>
                  <a:lnTo>
                    <a:pt x="463401" y="1698327"/>
                  </a:lnTo>
                  <a:lnTo>
                    <a:pt x="466849" y="1668732"/>
                  </a:lnTo>
                  <a:lnTo>
                    <a:pt x="450761" y="1642053"/>
                  </a:lnTo>
                  <a:lnTo>
                    <a:pt x="467763" y="1618193"/>
                  </a:lnTo>
                  <a:lnTo>
                    <a:pt x="532323" y="1657236"/>
                  </a:lnTo>
                  <a:lnTo>
                    <a:pt x="554812" y="1642062"/>
                  </a:lnTo>
                  <a:lnTo>
                    <a:pt x="536838" y="1595609"/>
                  </a:lnTo>
                  <a:lnTo>
                    <a:pt x="599084" y="1531391"/>
                  </a:lnTo>
                  <a:lnTo>
                    <a:pt x="623735" y="1535240"/>
                  </a:lnTo>
                  <a:lnTo>
                    <a:pt x="648671" y="1558385"/>
                  </a:lnTo>
                  <a:lnTo>
                    <a:pt x="664226" y="1512561"/>
                  </a:lnTo>
                  <a:lnTo>
                    <a:pt x="641956" y="1471765"/>
                  </a:lnTo>
                  <a:lnTo>
                    <a:pt x="655034" y="1429798"/>
                  </a:lnTo>
                  <a:lnTo>
                    <a:pt x="635403" y="1385107"/>
                  </a:lnTo>
                  <a:lnTo>
                    <a:pt x="710108" y="1408366"/>
                  </a:lnTo>
                  <a:lnTo>
                    <a:pt x="725367" y="1448210"/>
                  </a:lnTo>
                  <a:lnTo>
                    <a:pt x="691553" y="1456858"/>
                  </a:lnTo>
                  <a:lnTo>
                    <a:pt x="691734" y="1495320"/>
                  </a:lnTo>
                  <a:lnTo>
                    <a:pt x="712755" y="1518542"/>
                  </a:lnTo>
                  <a:lnTo>
                    <a:pt x="754018" y="1503864"/>
                  </a:lnTo>
                  <a:lnTo>
                    <a:pt x="760552" y="1459944"/>
                  </a:lnTo>
                  <a:lnTo>
                    <a:pt x="816340" y="1426369"/>
                  </a:lnTo>
                  <a:lnTo>
                    <a:pt x="909542" y="1364047"/>
                  </a:lnTo>
                  <a:lnTo>
                    <a:pt x="929678" y="1367685"/>
                  </a:lnTo>
                  <a:lnTo>
                    <a:pt x="903351" y="1411881"/>
                  </a:lnTo>
                  <a:lnTo>
                    <a:pt x="936479" y="1419358"/>
                  </a:lnTo>
                  <a:lnTo>
                    <a:pt x="955614" y="1394746"/>
                  </a:lnTo>
                  <a:lnTo>
                    <a:pt x="1005668" y="1392736"/>
                  </a:lnTo>
                  <a:lnTo>
                    <a:pt x="1045330" y="1362323"/>
                  </a:lnTo>
                  <a:lnTo>
                    <a:pt x="1075763" y="1406338"/>
                  </a:lnTo>
                  <a:lnTo>
                    <a:pt x="1106109" y="1357884"/>
                  </a:lnTo>
                  <a:lnTo>
                    <a:pt x="1078125" y="1314288"/>
                  </a:lnTo>
                  <a:lnTo>
                    <a:pt x="1092012" y="1288923"/>
                  </a:lnTo>
                  <a:lnTo>
                    <a:pt x="1170898" y="1312193"/>
                  </a:lnTo>
                  <a:lnTo>
                    <a:pt x="1207865" y="1335891"/>
                  </a:lnTo>
                  <a:lnTo>
                    <a:pt x="1304648" y="1419701"/>
                  </a:lnTo>
                  <a:lnTo>
                    <a:pt x="1322508" y="1381839"/>
                  </a:lnTo>
                  <a:lnTo>
                    <a:pt x="1295362" y="1342682"/>
                  </a:lnTo>
                  <a:lnTo>
                    <a:pt x="1294581" y="1326709"/>
                  </a:lnTo>
                  <a:lnTo>
                    <a:pt x="1262396" y="1319260"/>
                  </a:lnTo>
                  <a:lnTo>
                    <a:pt x="1271206" y="1282808"/>
                  </a:lnTo>
                  <a:lnTo>
                    <a:pt x="1256919" y="1220981"/>
                  </a:lnTo>
                  <a:lnTo>
                    <a:pt x="1256109" y="1194911"/>
                  </a:lnTo>
                  <a:lnTo>
                    <a:pt x="1305401" y="1118807"/>
                  </a:lnTo>
                  <a:lnTo>
                    <a:pt x="1322927" y="1038615"/>
                  </a:lnTo>
                  <a:lnTo>
                    <a:pt x="1342787" y="1020728"/>
                  </a:lnTo>
                  <a:lnTo>
                    <a:pt x="1413491" y="1044673"/>
                  </a:lnTo>
                  <a:lnTo>
                    <a:pt x="1419063" y="1094041"/>
                  </a:lnTo>
                  <a:lnTo>
                    <a:pt x="1393745" y="1163412"/>
                  </a:lnTo>
                  <a:lnTo>
                    <a:pt x="1410357" y="1189882"/>
                  </a:lnTo>
                  <a:lnTo>
                    <a:pt x="1418948" y="1246441"/>
                  </a:lnTo>
                  <a:lnTo>
                    <a:pt x="1412881" y="1351912"/>
                  </a:lnTo>
                  <a:lnTo>
                    <a:pt x="1442342" y="1396965"/>
                  </a:lnTo>
                  <a:lnTo>
                    <a:pt x="1430884" y="1444666"/>
                  </a:lnTo>
                  <a:lnTo>
                    <a:pt x="1378572" y="1541802"/>
                  </a:lnTo>
                  <a:lnTo>
                    <a:pt x="1409100" y="1551556"/>
                  </a:lnTo>
                  <a:lnTo>
                    <a:pt x="1419720" y="1527610"/>
                  </a:lnTo>
                  <a:lnTo>
                    <a:pt x="1449105" y="1510322"/>
                  </a:lnTo>
                  <a:lnTo>
                    <a:pt x="1456191" y="1476480"/>
                  </a:lnTo>
                  <a:lnTo>
                    <a:pt x="1479309" y="1443247"/>
                  </a:lnTo>
                  <a:lnTo>
                    <a:pt x="1463744" y="1402671"/>
                  </a:lnTo>
                  <a:lnTo>
                    <a:pt x="1476213" y="1354255"/>
                  </a:lnTo>
                  <a:lnTo>
                    <a:pt x="1447009" y="1348121"/>
                  </a:lnTo>
                  <a:lnTo>
                    <a:pt x="1440589" y="1306039"/>
                  </a:lnTo>
                  <a:lnTo>
                    <a:pt x="1461897" y="1227192"/>
                  </a:lnTo>
                  <a:lnTo>
                    <a:pt x="1427207" y="1160202"/>
                  </a:lnTo>
                  <a:lnTo>
                    <a:pt x="1475003" y="1102652"/>
                  </a:lnTo>
                  <a:lnTo>
                    <a:pt x="1468831" y="1039606"/>
                  </a:lnTo>
                  <a:lnTo>
                    <a:pt x="1482147" y="1037549"/>
                  </a:lnTo>
                  <a:lnTo>
                    <a:pt x="1496177" y="1086974"/>
                  </a:lnTo>
                  <a:lnTo>
                    <a:pt x="1485652" y="1169527"/>
                  </a:lnTo>
                  <a:lnTo>
                    <a:pt x="1514227" y="1184691"/>
                  </a:lnTo>
                  <a:lnTo>
                    <a:pt x="1502054" y="1123988"/>
                  </a:lnTo>
                  <a:lnTo>
                    <a:pt x="1546746" y="1089898"/>
                  </a:lnTo>
                  <a:lnTo>
                    <a:pt x="1602171" y="1085250"/>
                  </a:lnTo>
                  <a:lnTo>
                    <a:pt x="1651521" y="1134589"/>
                  </a:lnTo>
                  <a:lnTo>
                    <a:pt x="1627775" y="1061990"/>
                  </a:lnTo>
                  <a:lnTo>
                    <a:pt x="1625117" y="964054"/>
                  </a:lnTo>
                  <a:lnTo>
                    <a:pt x="1671561" y="944804"/>
                  </a:lnTo>
                  <a:lnTo>
                    <a:pt x="1735798" y="949033"/>
                  </a:lnTo>
                  <a:lnTo>
                    <a:pt x="1793662" y="936450"/>
                  </a:lnTo>
                  <a:lnTo>
                    <a:pt x="1771964" y="885196"/>
                  </a:lnTo>
                  <a:lnTo>
                    <a:pt x="1802873" y="818369"/>
                  </a:lnTo>
                  <a:lnTo>
                    <a:pt x="1833553" y="815512"/>
                  </a:lnTo>
                  <a:lnTo>
                    <a:pt x="1885483" y="763000"/>
                  </a:lnTo>
                  <a:lnTo>
                    <a:pt x="1955996" y="748579"/>
                  </a:lnTo>
                  <a:lnTo>
                    <a:pt x="1964912" y="718547"/>
                  </a:lnTo>
                  <a:lnTo>
                    <a:pt x="2035035" y="708241"/>
                  </a:lnTo>
                  <a:lnTo>
                    <a:pt x="2056886" y="733063"/>
                  </a:lnTo>
                  <a:lnTo>
                    <a:pt x="2116826" y="673656"/>
                  </a:lnTo>
                  <a:lnTo>
                    <a:pt x="2165889" y="675551"/>
                  </a:lnTo>
                  <a:lnTo>
                    <a:pt x="2173243" y="625659"/>
                  </a:lnTo>
                  <a:lnTo>
                    <a:pt x="2198770" y="574853"/>
                  </a:lnTo>
                  <a:lnTo>
                    <a:pt x="2261816" y="524256"/>
                  </a:lnTo>
                  <a:lnTo>
                    <a:pt x="2307621" y="564337"/>
                  </a:lnTo>
                  <a:lnTo>
                    <a:pt x="2271255" y="594160"/>
                  </a:lnTo>
                  <a:lnTo>
                    <a:pt x="2331758" y="612419"/>
                  </a:lnTo>
                  <a:lnTo>
                    <a:pt x="2338968" y="669893"/>
                  </a:lnTo>
                  <a:lnTo>
                    <a:pt x="2363372" y="641861"/>
                  </a:lnTo>
                  <a:lnTo>
                    <a:pt x="2441448" y="643414"/>
                  </a:lnTo>
                  <a:lnTo>
                    <a:pt x="2501646" y="699068"/>
                  </a:lnTo>
                  <a:lnTo>
                    <a:pt x="2523087" y="740512"/>
                  </a:lnTo>
                  <a:lnTo>
                    <a:pt x="2516438" y="796271"/>
                  </a:lnTo>
                  <a:lnTo>
                    <a:pt x="2486891" y="827151"/>
                  </a:lnTo>
                  <a:lnTo>
                    <a:pt x="2416711" y="883510"/>
                  </a:lnTo>
                  <a:lnTo>
                    <a:pt x="2396652" y="912838"/>
                  </a:lnTo>
                  <a:lnTo>
                    <a:pt x="2429770" y="926487"/>
                  </a:lnTo>
                  <a:lnTo>
                    <a:pt x="2469280" y="950795"/>
                  </a:lnTo>
                  <a:lnTo>
                    <a:pt x="2493311" y="932602"/>
                  </a:lnTo>
                  <a:lnTo>
                    <a:pt x="2506942" y="993496"/>
                  </a:lnTo>
                  <a:lnTo>
                    <a:pt x="2518667" y="969121"/>
                  </a:lnTo>
                  <a:lnTo>
                    <a:pt x="2561368" y="954119"/>
                  </a:lnTo>
                  <a:lnTo>
                    <a:pt x="2647054" y="969797"/>
                  </a:lnTo>
                  <a:lnTo>
                    <a:pt x="2653570" y="1013384"/>
                  </a:lnTo>
                  <a:lnTo>
                    <a:pt x="2765221" y="1027005"/>
                  </a:lnTo>
                  <a:lnTo>
                    <a:pt x="2766746" y="955824"/>
                  </a:lnTo>
                  <a:lnTo>
                    <a:pt x="2823420" y="972417"/>
                  </a:lnTo>
                  <a:lnTo>
                    <a:pt x="2866063" y="971902"/>
                  </a:lnTo>
                  <a:lnTo>
                    <a:pt x="2909182" y="1020842"/>
                  </a:lnTo>
                  <a:lnTo>
                    <a:pt x="2921479" y="1078354"/>
                  </a:lnTo>
                  <a:lnTo>
                    <a:pt x="2905677" y="1114892"/>
                  </a:lnTo>
                  <a:lnTo>
                    <a:pt x="2939215" y="1181395"/>
                  </a:lnTo>
                  <a:lnTo>
                    <a:pt x="2981220" y="1214666"/>
                  </a:lnTo>
                  <a:lnTo>
                    <a:pt x="3006985" y="1127246"/>
                  </a:lnTo>
                  <a:lnTo>
                    <a:pt x="3049829" y="1165308"/>
                  </a:lnTo>
                  <a:lnTo>
                    <a:pt x="3095339" y="1142676"/>
                  </a:lnTo>
                  <a:lnTo>
                    <a:pt x="3147031" y="1168546"/>
                  </a:lnTo>
                  <a:lnTo>
                    <a:pt x="3166700" y="1144972"/>
                  </a:lnTo>
                  <a:lnTo>
                    <a:pt x="3210391" y="1156802"/>
                  </a:lnTo>
                  <a:lnTo>
                    <a:pt x="3191113" y="1076811"/>
                  </a:lnTo>
                  <a:lnTo>
                    <a:pt x="3226375" y="1038073"/>
                  </a:lnTo>
                  <a:lnTo>
                    <a:pt x="3467576" y="1095804"/>
                  </a:lnTo>
                  <a:lnTo>
                    <a:pt x="3490312" y="1146810"/>
                  </a:lnTo>
                  <a:lnTo>
                    <a:pt x="3560226" y="1210180"/>
                  </a:lnTo>
                  <a:lnTo>
                    <a:pt x="3668068" y="1194721"/>
                  </a:lnTo>
                  <a:lnTo>
                    <a:pt x="3721236" y="1208189"/>
                  </a:lnTo>
                  <a:lnTo>
                    <a:pt x="3743468" y="1241508"/>
                  </a:lnTo>
                  <a:lnTo>
                    <a:pt x="3740220" y="1298810"/>
                  </a:lnTo>
                  <a:lnTo>
                    <a:pt x="3773119" y="1320584"/>
                  </a:lnTo>
                  <a:lnTo>
                    <a:pt x="3808866" y="1304954"/>
                  </a:lnTo>
                  <a:lnTo>
                    <a:pt x="3856234" y="1302944"/>
                  </a:lnTo>
                  <a:lnTo>
                    <a:pt x="3906650" y="1317946"/>
                  </a:lnTo>
                  <a:lnTo>
                    <a:pt x="3957266" y="1309497"/>
                  </a:lnTo>
                  <a:lnTo>
                    <a:pt x="4003786" y="1376115"/>
                  </a:lnTo>
                  <a:lnTo>
                    <a:pt x="4036885" y="1352464"/>
                  </a:lnTo>
                  <a:lnTo>
                    <a:pt x="4015283" y="1304134"/>
                  </a:lnTo>
                  <a:lnTo>
                    <a:pt x="4027179" y="1269673"/>
                  </a:lnTo>
                  <a:lnTo>
                    <a:pt x="4112381" y="1291447"/>
                  </a:lnTo>
                  <a:lnTo>
                    <a:pt x="4167930" y="1286818"/>
                  </a:lnTo>
                  <a:lnTo>
                    <a:pt x="4244740" y="1323423"/>
                  </a:lnTo>
                  <a:lnTo>
                    <a:pt x="4282126" y="1356189"/>
                  </a:lnTo>
                  <a:lnTo>
                    <a:pt x="4347553" y="1411986"/>
                  </a:lnTo>
                  <a:lnTo>
                    <a:pt x="4417581" y="1481909"/>
                  </a:lnTo>
                  <a:lnTo>
                    <a:pt x="4415285" y="1524171"/>
                  </a:lnTo>
                  <a:lnTo>
                    <a:pt x="4433297" y="1540793"/>
                  </a:lnTo>
                  <a:lnTo>
                    <a:pt x="4427106" y="1491777"/>
                  </a:lnTo>
                  <a:lnTo>
                    <a:pt x="4499620" y="1501950"/>
                  </a:lnTo>
                  <a:lnTo>
                    <a:pt x="4551912" y="1564386"/>
                  </a:lnTo>
                  <a:close/>
                  <a:moveTo>
                    <a:pt x="3338160" y="2426370"/>
                  </a:moveTo>
                  <a:lnTo>
                    <a:pt x="3311290" y="2353180"/>
                  </a:lnTo>
                  <a:lnTo>
                    <a:pt x="3300270" y="2310232"/>
                  </a:lnTo>
                  <a:lnTo>
                    <a:pt x="3300955" y="2267407"/>
                  </a:lnTo>
                  <a:lnTo>
                    <a:pt x="3291707" y="2224516"/>
                  </a:lnTo>
                  <a:lnTo>
                    <a:pt x="3284763" y="2194512"/>
                  </a:lnTo>
                  <a:lnTo>
                    <a:pt x="3272875" y="2200923"/>
                  </a:lnTo>
                  <a:lnTo>
                    <a:pt x="3283477" y="2221925"/>
                  </a:lnTo>
                  <a:lnTo>
                    <a:pt x="3258788" y="2242557"/>
                  </a:lnTo>
                  <a:lnTo>
                    <a:pt x="3256426" y="2302526"/>
                  </a:lnTo>
                  <a:lnTo>
                    <a:pt x="3272075" y="2344541"/>
                  </a:lnTo>
                  <a:lnTo>
                    <a:pt x="3270904" y="2400281"/>
                  </a:lnTo>
                  <a:lnTo>
                    <a:pt x="3264722" y="2431113"/>
                  </a:lnTo>
                  <a:lnTo>
                    <a:pt x="3267770" y="2474329"/>
                  </a:lnTo>
                  <a:lnTo>
                    <a:pt x="3264789" y="2512571"/>
                  </a:lnTo>
                  <a:lnTo>
                    <a:pt x="3269742" y="2544956"/>
                  </a:lnTo>
                  <a:lnTo>
                    <a:pt x="3287249" y="2515105"/>
                  </a:lnTo>
                  <a:lnTo>
                    <a:pt x="3307490" y="2538394"/>
                  </a:lnTo>
                  <a:lnTo>
                    <a:pt x="3308232" y="2511381"/>
                  </a:lnTo>
                  <a:lnTo>
                    <a:pt x="3282210" y="2471099"/>
                  </a:lnTo>
                  <a:lnTo>
                    <a:pt x="3298641" y="2412930"/>
                  </a:lnTo>
                  <a:lnTo>
                    <a:pt x="3338160" y="2426370"/>
                  </a:lnTo>
                  <a:close/>
                  <a:moveTo>
                    <a:pt x="70904" y="2164575"/>
                  </a:moveTo>
                  <a:lnTo>
                    <a:pt x="42939" y="2156422"/>
                  </a:lnTo>
                  <a:lnTo>
                    <a:pt x="6086" y="2171500"/>
                  </a:lnTo>
                  <a:lnTo>
                    <a:pt x="0" y="2191760"/>
                  </a:lnTo>
                  <a:lnTo>
                    <a:pt x="32889" y="2196951"/>
                  </a:lnTo>
                  <a:lnTo>
                    <a:pt x="82000" y="2196265"/>
                  </a:lnTo>
                  <a:lnTo>
                    <a:pt x="79857" y="2184568"/>
                  </a:lnTo>
                  <a:lnTo>
                    <a:pt x="82705" y="2171929"/>
                  </a:lnTo>
                  <a:lnTo>
                    <a:pt x="70904" y="2164575"/>
                  </a:lnTo>
                  <a:close/>
                  <a:moveTo>
                    <a:pt x="4282126" y="1210951"/>
                  </a:moveTo>
                  <a:lnTo>
                    <a:pt x="4317006" y="1205998"/>
                  </a:lnTo>
                  <a:lnTo>
                    <a:pt x="4344524" y="1186329"/>
                  </a:lnTo>
                  <a:lnTo>
                    <a:pt x="4346810" y="1175014"/>
                  </a:lnTo>
                  <a:lnTo>
                    <a:pt x="4308177" y="1151058"/>
                  </a:lnTo>
                  <a:lnTo>
                    <a:pt x="4285545" y="1150877"/>
                  </a:lnTo>
                  <a:lnTo>
                    <a:pt x="4282126" y="1154411"/>
                  </a:lnTo>
                  <a:lnTo>
                    <a:pt x="4248083" y="1189130"/>
                  </a:lnTo>
                  <a:lnTo>
                    <a:pt x="4252846" y="1215095"/>
                  </a:lnTo>
                  <a:lnTo>
                    <a:pt x="4282126" y="1210951"/>
                  </a:lnTo>
                  <a:close/>
                  <a:moveTo>
                    <a:pt x="3235538" y="952929"/>
                  </a:moveTo>
                  <a:lnTo>
                    <a:pt x="3210201" y="990219"/>
                  </a:lnTo>
                  <a:lnTo>
                    <a:pt x="3214878" y="995153"/>
                  </a:lnTo>
                  <a:lnTo>
                    <a:pt x="3269609" y="1005478"/>
                  </a:lnTo>
                  <a:lnTo>
                    <a:pt x="3310099" y="1004830"/>
                  </a:lnTo>
                  <a:lnTo>
                    <a:pt x="3306870" y="980361"/>
                  </a:lnTo>
                  <a:lnTo>
                    <a:pt x="3268932" y="944070"/>
                  </a:lnTo>
                  <a:lnTo>
                    <a:pt x="3235538" y="952929"/>
                  </a:lnTo>
                  <a:close/>
                  <a:moveTo>
                    <a:pt x="3469605" y="862175"/>
                  </a:moveTo>
                  <a:lnTo>
                    <a:pt x="3500475" y="821712"/>
                  </a:lnTo>
                  <a:lnTo>
                    <a:pt x="3433457" y="794328"/>
                  </a:lnTo>
                  <a:lnTo>
                    <a:pt x="3383670" y="778316"/>
                  </a:lnTo>
                  <a:lnTo>
                    <a:pt x="3377279" y="812463"/>
                  </a:lnTo>
                  <a:lnTo>
                    <a:pt x="3426914" y="853107"/>
                  </a:lnTo>
                  <a:lnTo>
                    <a:pt x="3469605" y="862175"/>
                  </a:lnTo>
                  <a:close/>
                  <a:moveTo>
                    <a:pt x="3230261" y="846039"/>
                  </a:moveTo>
                  <a:lnTo>
                    <a:pt x="3328702" y="848858"/>
                  </a:lnTo>
                  <a:lnTo>
                    <a:pt x="3349704" y="771277"/>
                  </a:lnTo>
                  <a:lnTo>
                    <a:pt x="3253168" y="713451"/>
                  </a:lnTo>
                  <a:lnTo>
                    <a:pt x="3182645" y="708574"/>
                  </a:lnTo>
                  <a:lnTo>
                    <a:pt x="3147412" y="729339"/>
                  </a:lnTo>
                  <a:lnTo>
                    <a:pt x="3133058" y="803177"/>
                  </a:lnTo>
                  <a:lnTo>
                    <a:pt x="3185970" y="869975"/>
                  </a:lnTo>
                  <a:lnTo>
                    <a:pt x="3230261" y="846039"/>
                  </a:lnTo>
                  <a:close/>
                  <a:moveTo>
                    <a:pt x="876452" y="1093184"/>
                  </a:moveTo>
                  <a:lnTo>
                    <a:pt x="849144" y="1111834"/>
                  </a:lnTo>
                  <a:lnTo>
                    <a:pt x="853049" y="1157859"/>
                  </a:lnTo>
                  <a:lnTo>
                    <a:pt x="901389" y="1180224"/>
                  </a:lnTo>
                  <a:lnTo>
                    <a:pt x="908475" y="1216590"/>
                  </a:lnTo>
                  <a:lnTo>
                    <a:pt x="995734" y="1227087"/>
                  </a:lnTo>
                  <a:lnTo>
                    <a:pt x="1011507" y="1220010"/>
                  </a:lnTo>
                  <a:lnTo>
                    <a:pt x="960425" y="1152325"/>
                  </a:lnTo>
                  <a:lnTo>
                    <a:pt x="954995" y="1080735"/>
                  </a:lnTo>
                  <a:lnTo>
                    <a:pt x="996858" y="993648"/>
                  </a:lnTo>
                  <a:lnTo>
                    <a:pt x="1036663" y="900122"/>
                  </a:lnTo>
                  <a:lnTo>
                    <a:pt x="1119625" y="803272"/>
                  </a:lnTo>
                  <a:lnTo>
                    <a:pt x="1201188" y="752427"/>
                  </a:lnTo>
                  <a:lnTo>
                    <a:pt x="1295819" y="697754"/>
                  </a:lnTo>
                  <a:lnTo>
                    <a:pt x="1313764" y="662454"/>
                  </a:lnTo>
                  <a:lnTo>
                    <a:pt x="1295199" y="616477"/>
                  </a:lnTo>
                  <a:lnTo>
                    <a:pt x="1243222" y="631755"/>
                  </a:lnTo>
                  <a:lnTo>
                    <a:pt x="1197483" y="674541"/>
                  </a:lnTo>
                  <a:lnTo>
                    <a:pt x="1108596" y="695706"/>
                  </a:lnTo>
                  <a:lnTo>
                    <a:pt x="1020423" y="766277"/>
                  </a:lnTo>
                  <a:lnTo>
                    <a:pt x="960691" y="821988"/>
                  </a:lnTo>
                  <a:lnTo>
                    <a:pt x="967921" y="868375"/>
                  </a:lnTo>
                  <a:lnTo>
                    <a:pt x="903979" y="954376"/>
                  </a:lnTo>
                  <a:lnTo>
                    <a:pt x="928535" y="965997"/>
                  </a:lnTo>
                  <a:lnTo>
                    <a:pt x="875557" y="1044778"/>
                  </a:lnTo>
                  <a:lnTo>
                    <a:pt x="876452" y="1093184"/>
                  </a:lnTo>
                  <a:close/>
                  <a:moveTo>
                    <a:pt x="2281142" y="445999"/>
                  </a:moveTo>
                  <a:lnTo>
                    <a:pt x="2289077" y="391516"/>
                  </a:lnTo>
                  <a:lnTo>
                    <a:pt x="2221382" y="312049"/>
                  </a:lnTo>
                  <a:lnTo>
                    <a:pt x="2201323" y="302666"/>
                  </a:lnTo>
                  <a:lnTo>
                    <a:pt x="2179377" y="318821"/>
                  </a:lnTo>
                  <a:lnTo>
                    <a:pt x="2130590" y="496024"/>
                  </a:lnTo>
                  <a:lnTo>
                    <a:pt x="2281142" y="445999"/>
                  </a:lnTo>
                  <a:close/>
                  <a:moveTo>
                    <a:pt x="716861" y="166792"/>
                  </a:moveTo>
                  <a:lnTo>
                    <a:pt x="745788" y="203711"/>
                  </a:lnTo>
                  <a:lnTo>
                    <a:pt x="777001" y="178060"/>
                  </a:lnTo>
                  <a:lnTo>
                    <a:pt x="780726" y="152162"/>
                  </a:lnTo>
                  <a:lnTo>
                    <a:pt x="804739" y="140046"/>
                  </a:lnTo>
                  <a:lnTo>
                    <a:pt x="840591" y="118758"/>
                  </a:lnTo>
                  <a:lnTo>
                    <a:pt x="850925" y="93764"/>
                  </a:lnTo>
                  <a:lnTo>
                    <a:pt x="811311" y="57121"/>
                  </a:lnTo>
                  <a:lnTo>
                    <a:pt x="786136" y="84773"/>
                  </a:lnTo>
                  <a:lnTo>
                    <a:pt x="770801" y="124063"/>
                  </a:lnTo>
                  <a:lnTo>
                    <a:pt x="765343" y="79781"/>
                  </a:lnTo>
                  <a:lnTo>
                    <a:pt x="724766" y="81791"/>
                  </a:lnTo>
                  <a:lnTo>
                    <a:pt x="672626" y="111814"/>
                  </a:lnTo>
                  <a:lnTo>
                    <a:pt x="732063" y="116776"/>
                  </a:lnTo>
                  <a:lnTo>
                    <a:pt x="716861" y="166792"/>
                  </a:lnTo>
                  <a:close/>
                  <a:moveTo>
                    <a:pt x="1967007" y="291055"/>
                  </a:moveTo>
                  <a:lnTo>
                    <a:pt x="2011327" y="345634"/>
                  </a:lnTo>
                  <a:lnTo>
                    <a:pt x="2085718" y="385658"/>
                  </a:lnTo>
                  <a:lnTo>
                    <a:pt x="2143991" y="368484"/>
                  </a:lnTo>
                  <a:lnTo>
                    <a:pt x="2150574" y="238725"/>
                  </a:lnTo>
                  <a:lnTo>
                    <a:pt x="2089080" y="85944"/>
                  </a:lnTo>
                  <a:lnTo>
                    <a:pt x="2037188" y="0"/>
                  </a:lnTo>
                  <a:lnTo>
                    <a:pt x="1979419" y="39138"/>
                  </a:lnTo>
                  <a:lnTo>
                    <a:pt x="1910076" y="151857"/>
                  </a:lnTo>
                  <a:lnTo>
                    <a:pt x="1946510" y="183004"/>
                  </a:lnTo>
                  <a:lnTo>
                    <a:pt x="1967007" y="29105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8" name="Forme libre : forme 5787">
              <a:extLst>
                <a:ext uri="{FF2B5EF4-FFF2-40B4-BE49-F238E27FC236}">
                  <a16:creationId xmlns:a16="http://schemas.microsoft.com/office/drawing/2014/main" id="{C23B4D07-4FEA-3886-1209-3DE51FBA24BD}"/>
                </a:ext>
              </a:extLst>
            </p:cNvPr>
            <p:cNvSpPr/>
            <p:nvPr/>
          </p:nvSpPr>
          <p:spPr>
            <a:xfrm>
              <a:off x="6596062" y="4772753"/>
              <a:ext cx="47834" cy="47339"/>
            </a:xfrm>
            <a:custGeom>
              <a:avLst/>
              <a:gdLst>
                <a:gd name="connsiteX0" fmla="*/ 37224 w 47834"/>
                <a:gd name="connsiteY0" fmla="*/ 0 h 47339"/>
                <a:gd name="connsiteX1" fmla="*/ 47834 w 47834"/>
                <a:gd name="connsiteY1" fmla="*/ 14983 h 47339"/>
                <a:gd name="connsiteX2" fmla="*/ 46291 w 47834"/>
                <a:gd name="connsiteY2" fmla="*/ 30594 h 47339"/>
                <a:gd name="connsiteX3" fmla="*/ 38585 w 47834"/>
                <a:gd name="connsiteY3" fmla="*/ 33956 h 47339"/>
                <a:gd name="connsiteX4" fmla="*/ 24393 w 47834"/>
                <a:gd name="connsiteY4" fmla="*/ 32223 h 47339"/>
                <a:gd name="connsiteX5" fmla="*/ 16211 w 47834"/>
                <a:gd name="connsiteY5" fmla="*/ 47339 h 47339"/>
                <a:gd name="connsiteX6" fmla="*/ 0 w 47834"/>
                <a:gd name="connsiteY6" fmla="*/ 45253 h 47339"/>
                <a:gd name="connsiteX7" fmla="*/ 2467 w 47834"/>
                <a:gd name="connsiteY7" fmla="*/ 30727 h 47339"/>
                <a:gd name="connsiteX8" fmla="*/ 6134 w 47834"/>
                <a:gd name="connsiteY8" fmla="*/ 28680 h 47339"/>
                <a:gd name="connsiteX9" fmla="*/ 7125 w 47834"/>
                <a:gd name="connsiteY9" fmla="*/ 12887 h 47339"/>
                <a:gd name="connsiteX10" fmla="*/ 14802 w 47834"/>
                <a:gd name="connsiteY10" fmla="*/ 5486 h 47339"/>
                <a:gd name="connsiteX11" fmla="*/ 21269 w 47834"/>
                <a:gd name="connsiteY11" fmla="*/ 8191 h 4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7834" h="47339">
                  <a:moveTo>
                    <a:pt x="37224" y="0"/>
                  </a:moveTo>
                  <a:lnTo>
                    <a:pt x="47834" y="14983"/>
                  </a:lnTo>
                  <a:lnTo>
                    <a:pt x="46291" y="30594"/>
                  </a:lnTo>
                  <a:lnTo>
                    <a:pt x="38585" y="33956"/>
                  </a:lnTo>
                  <a:lnTo>
                    <a:pt x="24393" y="32223"/>
                  </a:lnTo>
                  <a:lnTo>
                    <a:pt x="16211" y="47339"/>
                  </a:lnTo>
                  <a:lnTo>
                    <a:pt x="0" y="45253"/>
                  </a:lnTo>
                  <a:lnTo>
                    <a:pt x="2467" y="30727"/>
                  </a:lnTo>
                  <a:lnTo>
                    <a:pt x="6134" y="28680"/>
                  </a:lnTo>
                  <a:lnTo>
                    <a:pt x="7125" y="12887"/>
                  </a:lnTo>
                  <a:lnTo>
                    <a:pt x="14802" y="5486"/>
                  </a:lnTo>
                  <a:lnTo>
                    <a:pt x="21269" y="81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9" name="Forme libre : forme 5788">
              <a:extLst>
                <a:ext uri="{FF2B5EF4-FFF2-40B4-BE49-F238E27FC236}">
                  <a16:creationId xmlns:a16="http://schemas.microsoft.com/office/drawing/2014/main" id="{38B41E4A-8891-B858-DA0E-D1A619EA452B}"/>
                </a:ext>
              </a:extLst>
            </p:cNvPr>
            <p:cNvSpPr/>
            <p:nvPr/>
          </p:nvSpPr>
          <p:spPr>
            <a:xfrm>
              <a:off x="6745814" y="3840179"/>
              <a:ext cx="561755" cy="462715"/>
            </a:xfrm>
            <a:custGeom>
              <a:avLst/>
              <a:gdLst>
                <a:gd name="connsiteX0" fmla="*/ 217580 w 561755"/>
                <a:gd name="connsiteY0" fmla="*/ 462715 h 462715"/>
                <a:gd name="connsiteX1" fmla="*/ 214113 w 561755"/>
                <a:gd name="connsiteY1" fmla="*/ 450904 h 462715"/>
                <a:gd name="connsiteX2" fmla="*/ 206054 w 561755"/>
                <a:gd name="connsiteY2" fmla="*/ 442541 h 462715"/>
                <a:gd name="connsiteX3" fmla="*/ 203997 w 561755"/>
                <a:gd name="connsiteY3" fmla="*/ 431454 h 462715"/>
                <a:gd name="connsiteX4" fmla="*/ 190205 w 561755"/>
                <a:gd name="connsiteY4" fmla="*/ 421472 h 462715"/>
                <a:gd name="connsiteX5" fmla="*/ 175974 w 561755"/>
                <a:gd name="connsiteY5" fmla="*/ 398031 h 462715"/>
                <a:gd name="connsiteX6" fmla="*/ 168440 w 561755"/>
                <a:gd name="connsiteY6" fmla="*/ 375142 h 462715"/>
                <a:gd name="connsiteX7" fmla="*/ 149971 w 561755"/>
                <a:gd name="connsiteY7" fmla="*/ 355721 h 462715"/>
                <a:gd name="connsiteX8" fmla="*/ 138056 w 561755"/>
                <a:gd name="connsiteY8" fmla="*/ 351072 h 462715"/>
                <a:gd name="connsiteX9" fmla="*/ 120368 w 561755"/>
                <a:gd name="connsiteY9" fmla="*/ 324003 h 462715"/>
                <a:gd name="connsiteX10" fmla="*/ 117281 w 561755"/>
                <a:gd name="connsiteY10" fmla="*/ 304152 h 462715"/>
                <a:gd name="connsiteX11" fmla="*/ 118415 w 561755"/>
                <a:gd name="connsiteY11" fmla="*/ 287141 h 462715"/>
                <a:gd name="connsiteX12" fmla="*/ 103099 w 561755"/>
                <a:gd name="connsiteY12" fmla="*/ 255118 h 462715"/>
                <a:gd name="connsiteX13" fmla="*/ 90574 w 561755"/>
                <a:gd name="connsiteY13" fmla="*/ 243783 h 462715"/>
                <a:gd name="connsiteX14" fmla="*/ 76152 w 561755"/>
                <a:gd name="connsiteY14" fmla="*/ 237763 h 462715"/>
                <a:gd name="connsiteX15" fmla="*/ 67370 w 561755"/>
                <a:gd name="connsiteY15" fmla="*/ 221028 h 462715"/>
                <a:gd name="connsiteX16" fmla="*/ 68828 w 561755"/>
                <a:gd name="connsiteY16" fmla="*/ 214408 h 462715"/>
                <a:gd name="connsiteX17" fmla="*/ 61408 w 561755"/>
                <a:gd name="connsiteY17" fmla="*/ 199168 h 462715"/>
                <a:gd name="connsiteX18" fmla="*/ 53607 w 561755"/>
                <a:gd name="connsiteY18" fmla="*/ 192586 h 462715"/>
                <a:gd name="connsiteX19" fmla="*/ 43177 w 561755"/>
                <a:gd name="connsiteY19" fmla="*/ 170564 h 462715"/>
                <a:gd name="connsiteX20" fmla="*/ 26918 w 561755"/>
                <a:gd name="connsiteY20" fmla="*/ 146533 h 462715"/>
                <a:gd name="connsiteX21" fmla="*/ 13297 w 561755"/>
                <a:gd name="connsiteY21" fmla="*/ 125921 h 462715"/>
                <a:gd name="connsiteX22" fmla="*/ 0 w 561755"/>
                <a:gd name="connsiteY22" fmla="*/ 126064 h 462715"/>
                <a:gd name="connsiteX23" fmla="*/ 4153 w 561755"/>
                <a:gd name="connsiteY23" fmla="*/ 109499 h 462715"/>
                <a:gd name="connsiteX24" fmla="*/ 5334 w 561755"/>
                <a:gd name="connsiteY24" fmla="*/ 98889 h 462715"/>
                <a:gd name="connsiteX25" fmla="*/ 8649 w 561755"/>
                <a:gd name="connsiteY25" fmla="*/ 86744 h 462715"/>
                <a:gd name="connsiteX26" fmla="*/ 38367 w 561755"/>
                <a:gd name="connsiteY26" fmla="*/ 91583 h 462715"/>
                <a:gd name="connsiteX27" fmla="*/ 49911 w 561755"/>
                <a:gd name="connsiteY27" fmla="*/ 82210 h 462715"/>
                <a:gd name="connsiteX28" fmla="*/ 56302 w 561755"/>
                <a:gd name="connsiteY28" fmla="*/ 71190 h 462715"/>
                <a:gd name="connsiteX29" fmla="*/ 76676 w 561755"/>
                <a:gd name="connsiteY29" fmla="*/ 66951 h 462715"/>
                <a:gd name="connsiteX30" fmla="*/ 81077 w 561755"/>
                <a:gd name="connsiteY30" fmla="*/ 56655 h 462715"/>
                <a:gd name="connsiteX31" fmla="*/ 89907 w 561755"/>
                <a:gd name="connsiteY31" fmla="*/ 51426 h 462715"/>
                <a:gd name="connsiteX32" fmla="*/ 63284 w 561755"/>
                <a:gd name="connsiteY32" fmla="*/ 20412 h 462715"/>
                <a:gd name="connsiteX33" fmla="*/ 116777 w 561755"/>
                <a:gd name="connsiteY33" fmla="*/ 4734 h 462715"/>
                <a:gd name="connsiteX34" fmla="*/ 121863 w 561755"/>
                <a:gd name="connsiteY34" fmla="*/ 0 h 462715"/>
                <a:gd name="connsiteX35" fmla="*/ 154029 w 561755"/>
                <a:gd name="connsiteY35" fmla="*/ 8496 h 462715"/>
                <a:gd name="connsiteX36" fmla="*/ 193824 w 561755"/>
                <a:gd name="connsiteY36" fmla="*/ 30328 h 462715"/>
                <a:gd name="connsiteX37" fmla="*/ 269129 w 561755"/>
                <a:gd name="connsiteY37" fmla="*/ 92155 h 462715"/>
                <a:gd name="connsiteX38" fmla="*/ 318783 w 561755"/>
                <a:gd name="connsiteY38" fmla="*/ 94583 h 462715"/>
                <a:gd name="connsiteX39" fmla="*/ 342576 w 561755"/>
                <a:gd name="connsiteY39" fmla="*/ 97517 h 462715"/>
                <a:gd name="connsiteX40" fmla="*/ 349225 w 561755"/>
                <a:gd name="connsiteY40" fmla="*/ 111957 h 462715"/>
                <a:gd name="connsiteX41" fmla="*/ 368113 w 561755"/>
                <a:gd name="connsiteY41" fmla="*/ 111176 h 462715"/>
                <a:gd name="connsiteX42" fmla="*/ 378571 w 561755"/>
                <a:gd name="connsiteY42" fmla="*/ 137151 h 462715"/>
                <a:gd name="connsiteX43" fmla="*/ 391706 w 561755"/>
                <a:gd name="connsiteY43" fmla="*/ 143999 h 462715"/>
                <a:gd name="connsiteX44" fmla="*/ 396287 w 561755"/>
                <a:gd name="connsiteY44" fmla="*/ 154496 h 462715"/>
                <a:gd name="connsiteX45" fmla="*/ 414490 w 561755"/>
                <a:gd name="connsiteY45" fmla="*/ 167011 h 462715"/>
                <a:gd name="connsiteX46" fmla="*/ 416110 w 561755"/>
                <a:gd name="connsiteY46" fmla="*/ 179261 h 462715"/>
                <a:gd name="connsiteX47" fmla="*/ 413452 w 561755"/>
                <a:gd name="connsiteY47" fmla="*/ 189109 h 462715"/>
                <a:gd name="connsiteX48" fmla="*/ 416823 w 561755"/>
                <a:gd name="connsiteY48" fmla="*/ 199025 h 462715"/>
                <a:gd name="connsiteX49" fmla="*/ 424501 w 561755"/>
                <a:gd name="connsiteY49" fmla="*/ 207264 h 462715"/>
                <a:gd name="connsiteX50" fmla="*/ 428063 w 561755"/>
                <a:gd name="connsiteY50" fmla="*/ 216894 h 462715"/>
                <a:gd name="connsiteX51" fmla="*/ 432054 w 561755"/>
                <a:gd name="connsiteY51" fmla="*/ 224066 h 462715"/>
                <a:gd name="connsiteX52" fmla="*/ 440122 w 561755"/>
                <a:gd name="connsiteY52" fmla="*/ 229867 h 462715"/>
                <a:gd name="connsiteX53" fmla="*/ 447532 w 561755"/>
                <a:gd name="connsiteY53" fmla="*/ 227790 h 462715"/>
                <a:gd name="connsiteX54" fmla="*/ 452600 w 561755"/>
                <a:gd name="connsiteY54" fmla="*/ 238935 h 462715"/>
                <a:gd name="connsiteX55" fmla="*/ 453619 w 561755"/>
                <a:gd name="connsiteY55" fmla="*/ 245659 h 462715"/>
                <a:gd name="connsiteX56" fmla="*/ 463858 w 561755"/>
                <a:gd name="connsiteY56" fmla="*/ 274996 h 462715"/>
                <a:gd name="connsiteX57" fmla="*/ 544135 w 561755"/>
                <a:gd name="connsiteY57" fmla="*/ 289513 h 462715"/>
                <a:gd name="connsiteX58" fmla="*/ 549516 w 561755"/>
                <a:gd name="connsiteY58" fmla="*/ 283436 h 462715"/>
                <a:gd name="connsiteX59" fmla="*/ 561756 w 561755"/>
                <a:gd name="connsiteY59" fmla="*/ 303771 h 462715"/>
                <a:gd name="connsiteX60" fmla="*/ 543954 w 561755"/>
                <a:gd name="connsiteY60" fmla="*/ 360655 h 462715"/>
                <a:gd name="connsiteX61" fmla="*/ 463839 w 561755"/>
                <a:gd name="connsiteY61" fmla="*/ 388820 h 462715"/>
                <a:gd name="connsiteX62" fmla="*/ 386829 w 561755"/>
                <a:gd name="connsiteY62" fmla="*/ 399574 h 462715"/>
                <a:gd name="connsiteX63" fmla="*/ 361902 w 561755"/>
                <a:gd name="connsiteY63" fmla="*/ 412156 h 462715"/>
                <a:gd name="connsiteX64" fmla="*/ 342767 w 561755"/>
                <a:gd name="connsiteY64" fmla="*/ 441408 h 462715"/>
                <a:gd name="connsiteX65" fmla="*/ 330298 w 561755"/>
                <a:gd name="connsiteY65" fmla="*/ 446037 h 462715"/>
                <a:gd name="connsiteX66" fmla="*/ 323622 w 561755"/>
                <a:gd name="connsiteY66" fmla="*/ 436779 h 462715"/>
                <a:gd name="connsiteX67" fmla="*/ 313382 w 561755"/>
                <a:gd name="connsiteY67" fmla="*/ 438169 h 462715"/>
                <a:gd name="connsiteX68" fmla="*/ 287569 w 561755"/>
                <a:gd name="connsiteY68" fmla="*/ 435388 h 462715"/>
                <a:gd name="connsiteX69" fmla="*/ 282673 w 561755"/>
                <a:gd name="connsiteY69" fmla="*/ 432606 h 462715"/>
                <a:gd name="connsiteX70" fmla="*/ 251850 w 561755"/>
                <a:gd name="connsiteY70" fmla="*/ 433245 h 462715"/>
                <a:gd name="connsiteX71" fmla="*/ 244612 w 561755"/>
                <a:gd name="connsiteY71" fmla="*/ 435759 h 462715"/>
                <a:gd name="connsiteX72" fmla="*/ 233639 w 561755"/>
                <a:gd name="connsiteY72" fmla="*/ 428520 h 462715"/>
                <a:gd name="connsiteX73" fmla="*/ 226571 w 561755"/>
                <a:gd name="connsiteY73" fmla="*/ 442189 h 462715"/>
                <a:gd name="connsiteX74" fmla="*/ 229305 w 561755"/>
                <a:gd name="connsiteY74" fmla="*/ 453885 h 462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561755" h="462715">
                  <a:moveTo>
                    <a:pt x="217580" y="462715"/>
                  </a:moveTo>
                  <a:lnTo>
                    <a:pt x="214113" y="450904"/>
                  </a:lnTo>
                  <a:lnTo>
                    <a:pt x="206054" y="442541"/>
                  </a:lnTo>
                  <a:lnTo>
                    <a:pt x="203997" y="431454"/>
                  </a:lnTo>
                  <a:lnTo>
                    <a:pt x="190205" y="421472"/>
                  </a:lnTo>
                  <a:lnTo>
                    <a:pt x="175974" y="398031"/>
                  </a:lnTo>
                  <a:lnTo>
                    <a:pt x="168440" y="375142"/>
                  </a:lnTo>
                  <a:lnTo>
                    <a:pt x="149971" y="355721"/>
                  </a:lnTo>
                  <a:lnTo>
                    <a:pt x="138056" y="351072"/>
                  </a:lnTo>
                  <a:lnTo>
                    <a:pt x="120368" y="324003"/>
                  </a:lnTo>
                  <a:lnTo>
                    <a:pt x="117281" y="304152"/>
                  </a:lnTo>
                  <a:lnTo>
                    <a:pt x="118415" y="287141"/>
                  </a:lnTo>
                  <a:lnTo>
                    <a:pt x="103099" y="255118"/>
                  </a:lnTo>
                  <a:lnTo>
                    <a:pt x="90574" y="243783"/>
                  </a:lnTo>
                  <a:lnTo>
                    <a:pt x="76152" y="237763"/>
                  </a:lnTo>
                  <a:lnTo>
                    <a:pt x="67370" y="221028"/>
                  </a:lnTo>
                  <a:lnTo>
                    <a:pt x="68828" y="214408"/>
                  </a:lnTo>
                  <a:lnTo>
                    <a:pt x="61408" y="199168"/>
                  </a:lnTo>
                  <a:lnTo>
                    <a:pt x="53607" y="192586"/>
                  </a:lnTo>
                  <a:lnTo>
                    <a:pt x="43177" y="170564"/>
                  </a:lnTo>
                  <a:lnTo>
                    <a:pt x="26918" y="146533"/>
                  </a:lnTo>
                  <a:lnTo>
                    <a:pt x="13297" y="125921"/>
                  </a:lnTo>
                  <a:lnTo>
                    <a:pt x="0" y="126064"/>
                  </a:lnTo>
                  <a:lnTo>
                    <a:pt x="4153" y="109499"/>
                  </a:lnTo>
                  <a:lnTo>
                    <a:pt x="5334" y="98889"/>
                  </a:lnTo>
                  <a:lnTo>
                    <a:pt x="8649" y="86744"/>
                  </a:lnTo>
                  <a:lnTo>
                    <a:pt x="38367" y="91583"/>
                  </a:lnTo>
                  <a:lnTo>
                    <a:pt x="49911" y="82210"/>
                  </a:lnTo>
                  <a:lnTo>
                    <a:pt x="56302" y="71190"/>
                  </a:lnTo>
                  <a:lnTo>
                    <a:pt x="76676" y="66951"/>
                  </a:lnTo>
                  <a:lnTo>
                    <a:pt x="81077" y="56655"/>
                  </a:lnTo>
                  <a:lnTo>
                    <a:pt x="89907" y="51426"/>
                  </a:lnTo>
                  <a:lnTo>
                    <a:pt x="63284" y="20412"/>
                  </a:lnTo>
                  <a:lnTo>
                    <a:pt x="116777" y="4734"/>
                  </a:lnTo>
                  <a:lnTo>
                    <a:pt x="121863" y="0"/>
                  </a:lnTo>
                  <a:lnTo>
                    <a:pt x="154029" y="8496"/>
                  </a:lnTo>
                  <a:lnTo>
                    <a:pt x="193824" y="30328"/>
                  </a:lnTo>
                  <a:lnTo>
                    <a:pt x="269129" y="92155"/>
                  </a:lnTo>
                  <a:lnTo>
                    <a:pt x="318783" y="94583"/>
                  </a:lnTo>
                  <a:lnTo>
                    <a:pt x="342576" y="97517"/>
                  </a:lnTo>
                  <a:lnTo>
                    <a:pt x="349225" y="111957"/>
                  </a:lnTo>
                  <a:lnTo>
                    <a:pt x="368113" y="111176"/>
                  </a:lnTo>
                  <a:lnTo>
                    <a:pt x="378571" y="137151"/>
                  </a:lnTo>
                  <a:lnTo>
                    <a:pt x="391706" y="143999"/>
                  </a:lnTo>
                  <a:lnTo>
                    <a:pt x="396287" y="154496"/>
                  </a:lnTo>
                  <a:lnTo>
                    <a:pt x="414490" y="167011"/>
                  </a:lnTo>
                  <a:lnTo>
                    <a:pt x="416110" y="179261"/>
                  </a:lnTo>
                  <a:lnTo>
                    <a:pt x="413452" y="189109"/>
                  </a:lnTo>
                  <a:lnTo>
                    <a:pt x="416823" y="199025"/>
                  </a:lnTo>
                  <a:lnTo>
                    <a:pt x="424501" y="207264"/>
                  </a:lnTo>
                  <a:lnTo>
                    <a:pt x="428063" y="216894"/>
                  </a:lnTo>
                  <a:lnTo>
                    <a:pt x="432054" y="224066"/>
                  </a:lnTo>
                  <a:lnTo>
                    <a:pt x="440122" y="229867"/>
                  </a:lnTo>
                  <a:lnTo>
                    <a:pt x="447532" y="227790"/>
                  </a:lnTo>
                  <a:lnTo>
                    <a:pt x="452600" y="238935"/>
                  </a:lnTo>
                  <a:lnTo>
                    <a:pt x="453619" y="245659"/>
                  </a:lnTo>
                  <a:lnTo>
                    <a:pt x="463858" y="274996"/>
                  </a:lnTo>
                  <a:lnTo>
                    <a:pt x="544135" y="289513"/>
                  </a:lnTo>
                  <a:lnTo>
                    <a:pt x="549516" y="283436"/>
                  </a:lnTo>
                  <a:lnTo>
                    <a:pt x="561756" y="303771"/>
                  </a:lnTo>
                  <a:lnTo>
                    <a:pt x="543954" y="360655"/>
                  </a:lnTo>
                  <a:lnTo>
                    <a:pt x="463839" y="388820"/>
                  </a:lnTo>
                  <a:lnTo>
                    <a:pt x="386829" y="399574"/>
                  </a:lnTo>
                  <a:lnTo>
                    <a:pt x="361902" y="412156"/>
                  </a:lnTo>
                  <a:lnTo>
                    <a:pt x="342767" y="441408"/>
                  </a:lnTo>
                  <a:lnTo>
                    <a:pt x="330298" y="446037"/>
                  </a:lnTo>
                  <a:lnTo>
                    <a:pt x="323622" y="436779"/>
                  </a:lnTo>
                  <a:lnTo>
                    <a:pt x="313382" y="438169"/>
                  </a:lnTo>
                  <a:lnTo>
                    <a:pt x="287569" y="435388"/>
                  </a:lnTo>
                  <a:lnTo>
                    <a:pt x="282673" y="432606"/>
                  </a:lnTo>
                  <a:lnTo>
                    <a:pt x="251850" y="433245"/>
                  </a:lnTo>
                  <a:lnTo>
                    <a:pt x="244612" y="435759"/>
                  </a:lnTo>
                  <a:lnTo>
                    <a:pt x="233639" y="428520"/>
                  </a:lnTo>
                  <a:lnTo>
                    <a:pt x="226571" y="442189"/>
                  </a:lnTo>
                  <a:lnTo>
                    <a:pt x="229305" y="4538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0" name="Forme libre : forme 5789">
              <a:extLst>
                <a:ext uri="{FF2B5EF4-FFF2-40B4-BE49-F238E27FC236}">
                  <a16:creationId xmlns:a16="http://schemas.microsoft.com/office/drawing/2014/main" id="{256CC460-6979-03BF-E59F-63E68207E920}"/>
                </a:ext>
              </a:extLst>
            </p:cNvPr>
            <p:cNvSpPr/>
            <p:nvPr/>
          </p:nvSpPr>
          <p:spPr>
            <a:xfrm>
              <a:off x="10000259" y="4918123"/>
              <a:ext cx="157771" cy="113480"/>
            </a:xfrm>
            <a:custGeom>
              <a:avLst/>
              <a:gdLst>
                <a:gd name="connsiteX0" fmla="*/ 150304 w 157771"/>
                <a:gd name="connsiteY0" fmla="*/ 104204 h 113480"/>
                <a:gd name="connsiteX1" fmla="*/ 157772 w 157771"/>
                <a:gd name="connsiteY1" fmla="*/ 113481 h 113480"/>
                <a:gd name="connsiteX2" fmla="*/ 139112 w 157771"/>
                <a:gd name="connsiteY2" fmla="*/ 113309 h 113480"/>
                <a:gd name="connsiteX3" fmla="*/ 128968 w 157771"/>
                <a:gd name="connsiteY3" fmla="*/ 96707 h 113480"/>
                <a:gd name="connsiteX4" fmla="*/ 144923 w 157771"/>
                <a:gd name="connsiteY4" fmla="*/ 103232 h 113480"/>
                <a:gd name="connsiteX5" fmla="*/ 150304 w 157771"/>
                <a:gd name="connsiteY5" fmla="*/ 104204 h 113480"/>
                <a:gd name="connsiteX6" fmla="*/ 116471 w 157771"/>
                <a:gd name="connsiteY6" fmla="*/ 87763 h 113480"/>
                <a:gd name="connsiteX7" fmla="*/ 106061 w 157771"/>
                <a:gd name="connsiteY7" fmla="*/ 88364 h 113480"/>
                <a:gd name="connsiteX8" fmla="*/ 89688 w 157771"/>
                <a:gd name="connsiteY8" fmla="*/ 85639 h 113480"/>
                <a:gd name="connsiteX9" fmla="*/ 84096 w 157771"/>
                <a:gd name="connsiteY9" fmla="*/ 81486 h 113480"/>
                <a:gd name="connsiteX10" fmla="*/ 85773 w 157771"/>
                <a:gd name="connsiteY10" fmla="*/ 70809 h 113480"/>
                <a:gd name="connsiteX11" fmla="*/ 103404 w 157771"/>
                <a:gd name="connsiteY11" fmla="*/ 75038 h 113480"/>
                <a:gd name="connsiteX12" fmla="*/ 112100 w 157771"/>
                <a:gd name="connsiteY12" fmla="*/ 80686 h 113480"/>
                <a:gd name="connsiteX13" fmla="*/ 116471 w 157771"/>
                <a:gd name="connsiteY13" fmla="*/ 87763 h 113480"/>
                <a:gd name="connsiteX14" fmla="*/ 138579 w 157771"/>
                <a:gd name="connsiteY14" fmla="*/ 80420 h 113480"/>
                <a:gd name="connsiteX15" fmla="*/ 134550 w 157771"/>
                <a:gd name="connsiteY15" fmla="*/ 85382 h 113480"/>
                <a:gd name="connsiteX16" fmla="*/ 114757 w 157771"/>
                <a:gd name="connsiteY16" fmla="*/ 62074 h 113480"/>
                <a:gd name="connsiteX17" fmla="*/ 109204 w 157771"/>
                <a:gd name="connsiteY17" fmla="*/ 46044 h 113480"/>
                <a:gd name="connsiteX18" fmla="*/ 118281 w 157771"/>
                <a:gd name="connsiteY18" fmla="*/ 46044 h 113480"/>
                <a:gd name="connsiteX19" fmla="*/ 127892 w 157771"/>
                <a:gd name="connsiteY19" fmla="*/ 67513 h 113480"/>
                <a:gd name="connsiteX20" fmla="*/ 138579 w 157771"/>
                <a:gd name="connsiteY20" fmla="*/ 80420 h 113480"/>
                <a:gd name="connsiteX21" fmla="*/ 90373 w 157771"/>
                <a:gd name="connsiteY21" fmla="*/ 46501 h 113480"/>
                <a:gd name="connsiteX22" fmla="*/ 91507 w 157771"/>
                <a:gd name="connsiteY22" fmla="*/ 51892 h 113480"/>
                <a:gd name="connsiteX23" fmla="*/ 70580 w 157771"/>
                <a:gd name="connsiteY23" fmla="*/ 40519 h 113480"/>
                <a:gd name="connsiteX24" fmla="*/ 55959 w 157771"/>
                <a:gd name="connsiteY24" fmla="*/ 30899 h 113480"/>
                <a:gd name="connsiteX25" fmla="*/ 45939 w 157771"/>
                <a:gd name="connsiteY25" fmla="*/ 21984 h 113480"/>
                <a:gd name="connsiteX26" fmla="*/ 49920 w 157771"/>
                <a:gd name="connsiteY26" fmla="*/ 19260 h 113480"/>
                <a:gd name="connsiteX27" fmla="*/ 62198 w 157771"/>
                <a:gd name="connsiteY27" fmla="*/ 25679 h 113480"/>
                <a:gd name="connsiteX28" fmla="*/ 84106 w 157771"/>
                <a:gd name="connsiteY28" fmla="*/ 37995 h 113480"/>
                <a:gd name="connsiteX29" fmla="*/ 90373 w 157771"/>
                <a:gd name="connsiteY29" fmla="*/ 46501 h 113480"/>
                <a:gd name="connsiteX30" fmla="*/ 27975 w 157771"/>
                <a:gd name="connsiteY30" fmla="*/ 20003 h 113480"/>
                <a:gd name="connsiteX31" fmla="*/ 22650 w 157771"/>
                <a:gd name="connsiteY31" fmla="*/ 21526 h 113480"/>
                <a:gd name="connsiteX32" fmla="*/ 10973 w 157771"/>
                <a:gd name="connsiteY32" fmla="*/ 15430 h 113480"/>
                <a:gd name="connsiteX33" fmla="*/ 0 w 157771"/>
                <a:gd name="connsiteY33" fmla="*/ 4448 h 113480"/>
                <a:gd name="connsiteX34" fmla="*/ 1381 w 157771"/>
                <a:gd name="connsiteY34" fmla="*/ 0 h 113480"/>
                <a:gd name="connsiteX35" fmla="*/ 17336 w 157771"/>
                <a:gd name="connsiteY35" fmla="*/ 11287 h 113480"/>
                <a:gd name="connsiteX36" fmla="*/ 27975 w 157771"/>
                <a:gd name="connsiteY36" fmla="*/ 20003 h 11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7771" h="113480">
                  <a:moveTo>
                    <a:pt x="150304" y="104204"/>
                  </a:moveTo>
                  <a:lnTo>
                    <a:pt x="157772" y="113481"/>
                  </a:lnTo>
                  <a:lnTo>
                    <a:pt x="139112" y="113309"/>
                  </a:lnTo>
                  <a:lnTo>
                    <a:pt x="128968" y="96707"/>
                  </a:lnTo>
                  <a:lnTo>
                    <a:pt x="144923" y="103232"/>
                  </a:lnTo>
                  <a:lnTo>
                    <a:pt x="150304" y="104204"/>
                  </a:lnTo>
                  <a:close/>
                  <a:moveTo>
                    <a:pt x="116471" y="87763"/>
                  </a:moveTo>
                  <a:lnTo>
                    <a:pt x="106061" y="88364"/>
                  </a:lnTo>
                  <a:lnTo>
                    <a:pt x="89688" y="85639"/>
                  </a:lnTo>
                  <a:lnTo>
                    <a:pt x="84096" y="81486"/>
                  </a:lnTo>
                  <a:lnTo>
                    <a:pt x="85773" y="70809"/>
                  </a:lnTo>
                  <a:lnTo>
                    <a:pt x="103404" y="75038"/>
                  </a:lnTo>
                  <a:lnTo>
                    <a:pt x="112100" y="80686"/>
                  </a:lnTo>
                  <a:lnTo>
                    <a:pt x="116471" y="87763"/>
                  </a:lnTo>
                  <a:close/>
                  <a:moveTo>
                    <a:pt x="138579" y="80420"/>
                  </a:moveTo>
                  <a:lnTo>
                    <a:pt x="134550" y="85382"/>
                  </a:lnTo>
                  <a:lnTo>
                    <a:pt x="114757" y="62074"/>
                  </a:lnTo>
                  <a:lnTo>
                    <a:pt x="109204" y="46044"/>
                  </a:lnTo>
                  <a:lnTo>
                    <a:pt x="118281" y="46044"/>
                  </a:lnTo>
                  <a:lnTo>
                    <a:pt x="127892" y="67513"/>
                  </a:lnTo>
                  <a:lnTo>
                    <a:pt x="138579" y="80420"/>
                  </a:lnTo>
                  <a:close/>
                  <a:moveTo>
                    <a:pt x="90373" y="46501"/>
                  </a:moveTo>
                  <a:lnTo>
                    <a:pt x="91507" y="51892"/>
                  </a:lnTo>
                  <a:lnTo>
                    <a:pt x="70580" y="40519"/>
                  </a:lnTo>
                  <a:lnTo>
                    <a:pt x="55959" y="30899"/>
                  </a:lnTo>
                  <a:lnTo>
                    <a:pt x="45939" y="21984"/>
                  </a:lnTo>
                  <a:lnTo>
                    <a:pt x="49920" y="19260"/>
                  </a:lnTo>
                  <a:lnTo>
                    <a:pt x="62198" y="25679"/>
                  </a:lnTo>
                  <a:lnTo>
                    <a:pt x="84106" y="37995"/>
                  </a:lnTo>
                  <a:lnTo>
                    <a:pt x="90373" y="46501"/>
                  </a:lnTo>
                  <a:close/>
                  <a:moveTo>
                    <a:pt x="27975" y="20003"/>
                  </a:moveTo>
                  <a:lnTo>
                    <a:pt x="22650" y="21526"/>
                  </a:lnTo>
                  <a:lnTo>
                    <a:pt x="10973" y="15430"/>
                  </a:lnTo>
                  <a:lnTo>
                    <a:pt x="0" y="4448"/>
                  </a:lnTo>
                  <a:lnTo>
                    <a:pt x="1381" y="0"/>
                  </a:lnTo>
                  <a:lnTo>
                    <a:pt x="17336" y="11287"/>
                  </a:lnTo>
                  <a:lnTo>
                    <a:pt x="27975" y="200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1" name="Forme libre : forme 5790">
              <a:extLst>
                <a:ext uri="{FF2B5EF4-FFF2-40B4-BE49-F238E27FC236}">
                  <a16:creationId xmlns:a16="http://schemas.microsoft.com/office/drawing/2014/main" id="{C6554403-0E02-A43C-87DE-41483C5071B9}"/>
                </a:ext>
              </a:extLst>
            </p:cNvPr>
            <p:cNvSpPr/>
            <p:nvPr/>
          </p:nvSpPr>
          <p:spPr>
            <a:xfrm>
              <a:off x="6406762" y="4143950"/>
              <a:ext cx="439940" cy="369160"/>
            </a:xfrm>
            <a:custGeom>
              <a:avLst/>
              <a:gdLst>
                <a:gd name="connsiteX0" fmla="*/ 321183 w 439940"/>
                <a:gd name="connsiteY0" fmla="*/ 346472 h 369160"/>
                <a:gd name="connsiteX1" fmla="*/ 317488 w 439940"/>
                <a:gd name="connsiteY1" fmla="*/ 345938 h 369160"/>
                <a:gd name="connsiteX2" fmla="*/ 317945 w 439940"/>
                <a:gd name="connsiteY2" fmla="*/ 332537 h 369160"/>
                <a:gd name="connsiteX3" fmla="*/ 314735 w 439940"/>
                <a:gd name="connsiteY3" fmla="*/ 323279 h 369160"/>
                <a:gd name="connsiteX4" fmla="*/ 300980 w 439940"/>
                <a:gd name="connsiteY4" fmla="*/ 312630 h 369160"/>
                <a:gd name="connsiteX5" fmla="*/ 297771 w 439940"/>
                <a:gd name="connsiteY5" fmla="*/ 293132 h 369160"/>
                <a:gd name="connsiteX6" fmla="*/ 300980 w 439940"/>
                <a:gd name="connsiteY6" fmla="*/ 273120 h 369160"/>
                <a:gd name="connsiteX7" fmla="*/ 288607 w 439940"/>
                <a:gd name="connsiteY7" fmla="*/ 271253 h 369160"/>
                <a:gd name="connsiteX8" fmla="*/ 286769 w 439940"/>
                <a:gd name="connsiteY8" fmla="*/ 277311 h 369160"/>
                <a:gd name="connsiteX9" fmla="*/ 270729 w 439940"/>
                <a:gd name="connsiteY9" fmla="*/ 278711 h 369160"/>
                <a:gd name="connsiteX10" fmla="*/ 277139 w 439940"/>
                <a:gd name="connsiteY10" fmla="*/ 286626 h 369160"/>
                <a:gd name="connsiteX11" fmla="*/ 279435 w 439940"/>
                <a:gd name="connsiteY11" fmla="*/ 302886 h 369160"/>
                <a:gd name="connsiteX12" fmla="*/ 264766 w 439940"/>
                <a:gd name="connsiteY12" fmla="*/ 317725 h 369160"/>
                <a:gd name="connsiteX13" fmla="*/ 251470 w 439940"/>
                <a:gd name="connsiteY13" fmla="*/ 337166 h 369160"/>
                <a:gd name="connsiteX14" fmla="*/ 237716 w 439940"/>
                <a:gd name="connsiteY14" fmla="*/ 339938 h 369160"/>
                <a:gd name="connsiteX15" fmla="*/ 215246 w 439940"/>
                <a:gd name="connsiteY15" fmla="*/ 324203 h 369160"/>
                <a:gd name="connsiteX16" fmla="*/ 205159 w 439940"/>
                <a:gd name="connsiteY16" fmla="*/ 329765 h 369160"/>
                <a:gd name="connsiteX17" fmla="*/ 202406 w 439940"/>
                <a:gd name="connsiteY17" fmla="*/ 337623 h 369160"/>
                <a:gd name="connsiteX18" fmla="*/ 188652 w 439940"/>
                <a:gd name="connsiteY18" fmla="*/ 342710 h 369160"/>
                <a:gd name="connsiteX19" fmla="*/ 187738 w 439940"/>
                <a:gd name="connsiteY19" fmla="*/ 348253 h 369160"/>
                <a:gd name="connsiteX20" fmla="*/ 161144 w 439940"/>
                <a:gd name="connsiteY20" fmla="*/ 348253 h 369160"/>
                <a:gd name="connsiteX21" fmla="*/ 157477 w 439940"/>
                <a:gd name="connsiteY21" fmla="*/ 342710 h 369160"/>
                <a:gd name="connsiteX22" fmla="*/ 138217 w 439940"/>
                <a:gd name="connsiteY22" fmla="*/ 341786 h 369160"/>
                <a:gd name="connsiteX23" fmla="*/ 128597 w 439940"/>
                <a:gd name="connsiteY23" fmla="*/ 346396 h 369160"/>
                <a:gd name="connsiteX24" fmla="*/ 121254 w 439940"/>
                <a:gd name="connsiteY24" fmla="*/ 344091 h 369160"/>
                <a:gd name="connsiteX25" fmla="*/ 107499 w 439940"/>
                <a:gd name="connsiteY25" fmla="*/ 328374 h 369160"/>
                <a:gd name="connsiteX26" fmla="*/ 102918 w 439940"/>
                <a:gd name="connsiteY26" fmla="*/ 320973 h 369160"/>
                <a:gd name="connsiteX27" fmla="*/ 83658 w 439940"/>
                <a:gd name="connsiteY27" fmla="*/ 324669 h 369160"/>
                <a:gd name="connsiteX28" fmla="*/ 76324 w 439940"/>
                <a:gd name="connsiteY28" fmla="*/ 337166 h 369160"/>
                <a:gd name="connsiteX29" fmla="*/ 69447 w 439940"/>
                <a:gd name="connsiteY29" fmla="*/ 361169 h 369160"/>
                <a:gd name="connsiteX30" fmla="*/ 60274 w 439940"/>
                <a:gd name="connsiteY30" fmla="*/ 366236 h 369160"/>
                <a:gd name="connsiteX31" fmla="*/ 52083 w 439940"/>
                <a:gd name="connsiteY31" fmla="*/ 369161 h 369160"/>
                <a:gd name="connsiteX32" fmla="*/ 49911 w 439940"/>
                <a:gd name="connsiteY32" fmla="*/ 367913 h 369160"/>
                <a:gd name="connsiteX33" fmla="*/ 40643 w 439940"/>
                <a:gd name="connsiteY33" fmla="*/ 360178 h 369160"/>
                <a:gd name="connsiteX34" fmla="*/ 38938 w 439940"/>
                <a:gd name="connsiteY34" fmla="*/ 351825 h 369160"/>
                <a:gd name="connsiteX35" fmla="*/ 43272 w 439940"/>
                <a:gd name="connsiteY35" fmla="*/ 340633 h 369160"/>
                <a:gd name="connsiteX36" fmla="*/ 43196 w 439940"/>
                <a:gd name="connsiteY36" fmla="*/ 329651 h 369160"/>
                <a:gd name="connsiteX37" fmla="*/ 27794 w 439940"/>
                <a:gd name="connsiteY37" fmla="*/ 312782 h 369160"/>
                <a:gd name="connsiteX38" fmla="*/ 24765 w 439940"/>
                <a:gd name="connsiteY38" fmla="*/ 301209 h 369160"/>
                <a:gd name="connsiteX39" fmla="*/ 25089 w 439940"/>
                <a:gd name="connsiteY39" fmla="*/ 294656 h 369160"/>
                <a:gd name="connsiteX40" fmla="*/ 15269 w 439940"/>
                <a:gd name="connsiteY40" fmla="*/ 286674 h 369160"/>
                <a:gd name="connsiteX41" fmla="*/ 14974 w 439940"/>
                <a:gd name="connsiteY41" fmla="*/ 270920 h 369160"/>
                <a:gd name="connsiteX42" fmla="*/ 9373 w 439940"/>
                <a:gd name="connsiteY42" fmla="*/ 260442 h 369160"/>
                <a:gd name="connsiteX43" fmla="*/ 0 w 439940"/>
                <a:gd name="connsiteY43" fmla="*/ 262014 h 369160"/>
                <a:gd name="connsiteX44" fmla="*/ 2686 w 439940"/>
                <a:gd name="connsiteY44" fmla="*/ 252013 h 369160"/>
                <a:gd name="connsiteX45" fmla="*/ 9611 w 439940"/>
                <a:gd name="connsiteY45" fmla="*/ 240659 h 369160"/>
                <a:gd name="connsiteX46" fmla="*/ 6582 w 439940"/>
                <a:gd name="connsiteY46" fmla="*/ 229353 h 369160"/>
                <a:gd name="connsiteX47" fmla="*/ 15364 w 439940"/>
                <a:gd name="connsiteY47" fmla="*/ 220971 h 369160"/>
                <a:gd name="connsiteX48" fmla="*/ 9792 w 439940"/>
                <a:gd name="connsiteY48" fmla="*/ 214570 h 369160"/>
                <a:gd name="connsiteX49" fmla="*/ 16850 w 439940"/>
                <a:gd name="connsiteY49" fmla="*/ 197625 h 369160"/>
                <a:gd name="connsiteX50" fmla="*/ 29051 w 439940"/>
                <a:gd name="connsiteY50" fmla="*/ 177365 h 369160"/>
                <a:gd name="connsiteX51" fmla="*/ 52083 w 439940"/>
                <a:gd name="connsiteY51" fmla="*/ 179299 h 369160"/>
                <a:gd name="connsiteX52" fmla="*/ 50759 w 439940"/>
                <a:gd name="connsiteY52" fmla="*/ 68723 h 369160"/>
                <a:gd name="connsiteX53" fmla="*/ 51092 w 439940"/>
                <a:gd name="connsiteY53" fmla="*/ 56883 h 369160"/>
                <a:gd name="connsiteX54" fmla="*/ 81801 w 439940"/>
                <a:gd name="connsiteY54" fmla="*/ 56798 h 369160"/>
                <a:gd name="connsiteX55" fmla="*/ 81801 w 439940"/>
                <a:gd name="connsiteY55" fmla="*/ 0 h 369160"/>
                <a:gd name="connsiteX56" fmla="*/ 189166 w 439940"/>
                <a:gd name="connsiteY56" fmla="*/ 0 h 369160"/>
                <a:gd name="connsiteX57" fmla="*/ 292789 w 439940"/>
                <a:gd name="connsiteY57" fmla="*/ 0 h 369160"/>
                <a:gd name="connsiteX58" fmla="*/ 398716 w 439940"/>
                <a:gd name="connsiteY58" fmla="*/ 0 h 369160"/>
                <a:gd name="connsiteX59" fmla="*/ 407318 w 439940"/>
                <a:gd name="connsiteY59" fmla="*/ 28004 h 369160"/>
                <a:gd name="connsiteX60" fmla="*/ 401469 w 439940"/>
                <a:gd name="connsiteY60" fmla="*/ 33166 h 369160"/>
                <a:gd name="connsiteX61" fmla="*/ 405346 w 439940"/>
                <a:gd name="connsiteY61" fmla="*/ 62303 h 369160"/>
                <a:gd name="connsiteX62" fmla="*/ 415147 w 439940"/>
                <a:gd name="connsiteY62" fmla="*/ 95869 h 369160"/>
                <a:gd name="connsiteX63" fmla="*/ 425329 w 439940"/>
                <a:gd name="connsiteY63" fmla="*/ 102765 h 369160"/>
                <a:gd name="connsiteX64" fmla="*/ 439941 w 439940"/>
                <a:gd name="connsiteY64" fmla="*/ 113090 h 369160"/>
                <a:gd name="connsiteX65" fmla="*/ 426425 w 439940"/>
                <a:gd name="connsiteY65" fmla="*/ 128997 h 369160"/>
                <a:gd name="connsiteX66" fmla="*/ 406756 w 439940"/>
                <a:gd name="connsiteY66" fmla="*/ 133569 h 369160"/>
                <a:gd name="connsiteX67" fmla="*/ 398345 w 439940"/>
                <a:gd name="connsiteY67" fmla="*/ 142085 h 369160"/>
                <a:gd name="connsiteX68" fmla="*/ 395717 w 439940"/>
                <a:gd name="connsiteY68" fmla="*/ 160496 h 369160"/>
                <a:gd name="connsiteX69" fmla="*/ 384210 w 439940"/>
                <a:gd name="connsiteY69" fmla="*/ 200978 h 369160"/>
                <a:gd name="connsiteX70" fmla="*/ 387048 w 439940"/>
                <a:gd name="connsiteY70" fmla="*/ 211960 h 369160"/>
                <a:gd name="connsiteX71" fmla="*/ 382791 w 439940"/>
                <a:gd name="connsiteY71" fmla="*/ 235448 h 369160"/>
                <a:gd name="connsiteX72" fmla="*/ 371933 w 439940"/>
                <a:gd name="connsiteY72" fmla="*/ 262281 h 369160"/>
                <a:gd name="connsiteX73" fmla="*/ 355825 w 439940"/>
                <a:gd name="connsiteY73" fmla="*/ 275739 h 369160"/>
                <a:gd name="connsiteX74" fmla="*/ 344377 w 439940"/>
                <a:gd name="connsiteY74" fmla="*/ 296437 h 369160"/>
                <a:gd name="connsiteX75" fmla="*/ 341690 w 439940"/>
                <a:gd name="connsiteY75" fmla="*/ 307496 h 369160"/>
                <a:gd name="connsiteX76" fmla="*/ 329042 w 439940"/>
                <a:gd name="connsiteY76" fmla="*/ 315058 h 369160"/>
                <a:gd name="connsiteX77" fmla="*/ 321145 w 439940"/>
                <a:gd name="connsiteY77" fmla="*/ 343262 h 369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439940" h="369160">
                  <a:moveTo>
                    <a:pt x="321183" y="346472"/>
                  </a:moveTo>
                  <a:lnTo>
                    <a:pt x="317488" y="345938"/>
                  </a:lnTo>
                  <a:lnTo>
                    <a:pt x="317945" y="332537"/>
                  </a:lnTo>
                  <a:lnTo>
                    <a:pt x="314735" y="323279"/>
                  </a:lnTo>
                  <a:lnTo>
                    <a:pt x="300980" y="312630"/>
                  </a:lnTo>
                  <a:lnTo>
                    <a:pt x="297771" y="293132"/>
                  </a:lnTo>
                  <a:lnTo>
                    <a:pt x="300980" y="273120"/>
                  </a:lnTo>
                  <a:lnTo>
                    <a:pt x="288607" y="271253"/>
                  </a:lnTo>
                  <a:lnTo>
                    <a:pt x="286769" y="277311"/>
                  </a:lnTo>
                  <a:lnTo>
                    <a:pt x="270729" y="278711"/>
                  </a:lnTo>
                  <a:lnTo>
                    <a:pt x="277139" y="286626"/>
                  </a:lnTo>
                  <a:lnTo>
                    <a:pt x="279435" y="302886"/>
                  </a:lnTo>
                  <a:lnTo>
                    <a:pt x="264766" y="317725"/>
                  </a:lnTo>
                  <a:lnTo>
                    <a:pt x="251470" y="337166"/>
                  </a:lnTo>
                  <a:lnTo>
                    <a:pt x="237716" y="339938"/>
                  </a:lnTo>
                  <a:lnTo>
                    <a:pt x="215246" y="324203"/>
                  </a:lnTo>
                  <a:lnTo>
                    <a:pt x="205159" y="329765"/>
                  </a:lnTo>
                  <a:lnTo>
                    <a:pt x="202406" y="337623"/>
                  </a:lnTo>
                  <a:lnTo>
                    <a:pt x="188652" y="342710"/>
                  </a:lnTo>
                  <a:lnTo>
                    <a:pt x="187738" y="348253"/>
                  </a:lnTo>
                  <a:lnTo>
                    <a:pt x="161144" y="348253"/>
                  </a:lnTo>
                  <a:lnTo>
                    <a:pt x="157477" y="342710"/>
                  </a:lnTo>
                  <a:lnTo>
                    <a:pt x="138217" y="341786"/>
                  </a:lnTo>
                  <a:lnTo>
                    <a:pt x="128597" y="346396"/>
                  </a:lnTo>
                  <a:lnTo>
                    <a:pt x="121254" y="344091"/>
                  </a:lnTo>
                  <a:lnTo>
                    <a:pt x="107499" y="328374"/>
                  </a:lnTo>
                  <a:lnTo>
                    <a:pt x="102918" y="320973"/>
                  </a:lnTo>
                  <a:lnTo>
                    <a:pt x="83658" y="324669"/>
                  </a:lnTo>
                  <a:lnTo>
                    <a:pt x="76324" y="337166"/>
                  </a:lnTo>
                  <a:lnTo>
                    <a:pt x="69447" y="361169"/>
                  </a:lnTo>
                  <a:lnTo>
                    <a:pt x="60274" y="366236"/>
                  </a:lnTo>
                  <a:lnTo>
                    <a:pt x="52083" y="369161"/>
                  </a:lnTo>
                  <a:lnTo>
                    <a:pt x="49911" y="367913"/>
                  </a:lnTo>
                  <a:lnTo>
                    <a:pt x="40643" y="360178"/>
                  </a:lnTo>
                  <a:lnTo>
                    <a:pt x="38938" y="351825"/>
                  </a:lnTo>
                  <a:lnTo>
                    <a:pt x="43272" y="340633"/>
                  </a:lnTo>
                  <a:lnTo>
                    <a:pt x="43196" y="329651"/>
                  </a:lnTo>
                  <a:lnTo>
                    <a:pt x="27794" y="312782"/>
                  </a:lnTo>
                  <a:lnTo>
                    <a:pt x="24765" y="301209"/>
                  </a:lnTo>
                  <a:lnTo>
                    <a:pt x="25089" y="294656"/>
                  </a:lnTo>
                  <a:lnTo>
                    <a:pt x="15269" y="286674"/>
                  </a:lnTo>
                  <a:lnTo>
                    <a:pt x="14974" y="270920"/>
                  </a:lnTo>
                  <a:lnTo>
                    <a:pt x="9373" y="260442"/>
                  </a:lnTo>
                  <a:lnTo>
                    <a:pt x="0" y="262014"/>
                  </a:lnTo>
                  <a:lnTo>
                    <a:pt x="2686" y="252013"/>
                  </a:lnTo>
                  <a:lnTo>
                    <a:pt x="9611" y="240659"/>
                  </a:lnTo>
                  <a:lnTo>
                    <a:pt x="6582" y="229353"/>
                  </a:lnTo>
                  <a:lnTo>
                    <a:pt x="15364" y="220971"/>
                  </a:lnTo>
                  <a:lnTo>
                    <a:pt x="9792" y="214570"/>
                  </a:lnTo>
                  <a:lnTo>
                    <a:pt x="16850" y="197625"/>
                  </a:lnTo>
                  <a:lnTo>
                    <a:pt x="29051" y="177365"/>
                  </a:lnTo>
                  <a:lnTo>
                    <a:pt x="52083" y="179299"/>
                  </a:lnTo>
                  <a:lnTo>
                    <a:pt x="50759" y="68723"/>
                  </a:lnTo>
                  <a:lnTo>
                    <a:pt x="51092" y="56883"/>
                  </a:lnTo>
                  <a:lnTo>
                    <a:pt x="81801" y="56798"/>
                  </a:lnTo>
                  <a:lnTo>
                    <a:pt x="81801" y="0"/>
                  </a:lnTo>
                  <a:lnTo>
                    <a:pt x="189166" y="0"/>
                  </a:lnTo>
                  <a:lnTo>
                    <a:pt x="292789" y="0"/>
                  </a:lnTo>
                  <a:lnTo>
                    <a:pt x="398716" y="0"/>
                  </a:lnTo>
                  <a:lnTo>
                    <a:pt x="407318" y="28004"/>
                  </a:lnTo>
                  <a:lnTo>
                    <a:pt x="401469" y="33166"/>
                  </a:lnTo>
                  <a:lnTo>
                    <a:pt x="405346" y="62303"/>
                  </a:lnTo>
                  <a:lnTo>
                    <a:pt x="415147" y="95869"/>
                  </a:lnTo>
                  <a:lnTo>
                    <a:pt x="425329" y="102765"/>
                  </a:lnTo>
                  <a:lnTo>
                    <a:pt x="439941" y="113090"/>
                  </a:lnTo>
                  <a:lnTo>
                    <a:pt x="426425" y="128997"/>
                  </a:lnTo>
                  <a:lnTo>
                    <a:pt x="406756" y="133569"/>
                  </a:lnTo>
                  <a:lnTo>
                    <a:pt x="398345" y="142085"/>
                  </a:lnTo>
                  <a:lnTo>
                    <a:pt x="395717" y="160496"/>
                  </a:lnTo>
                  <a:lnTo>
                    <a:pt x="384210" y="200978"/>
                  </a:lnTo>
                  <a:lnTo>
                    <a:pt x="387048" y="211960"/>
                  </a:lnTo>
                  <a:lnTo>
                    <a:pt x="382791" y="235448"/>
                  </a:lnTo>
                  <a:lnTo>
                    <a:pt x="371933" y="262281"/>
                  </a:lnTo>
                  <a:lnTo>
                    <a:pt x="355825" y="275739"/>
                  </a:lnTo>
                  <a:lnTo>
                    <a:pt x="344377" y="296437"/>
                  </a:lnTo>
                  <a:lnTo>
                    <a:pt x="341690" y="307496"/>
                  </a:lnTo>
                  <a:lnTo>
                    <a:pt x="329042" y="315058"/>
                  </a:lnTo>
                  <a:lnTo>
                    <a:pt x="321145" y="3432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2" name="Forme libre : forme 5791">
              <a:extLst>
                <a:ext uri="{FF2B5EF4-FFF2-40B4-BE49-F238E27FC236}">
                  <a16:creationId xmlns:a16="http://schemas.microsoft.com/office/drawing/2014/main" id="{7F66276E-FFB5-BB9B-5279-1456BF389AD7}"/>
                </a:ext>
              </a:extLst>
            </p:cNvPr>
            <p:cNvSpPr/>
            <p:nvPr/>
          </p:nvSpPr>
          <p:spPr>
            <a:xfrm>
              <a:off x="6115402" y="2165084"/>
              <a:ext cx="343871" cy="802900"/>
            </a:xfrm>
            <a:custGeom>
              <a:avLst/>
              <a:gdLst>
                <a:gd name="connsiteX0" fmla="*/ 297932 w 343871"/>
                <a:gd name="connsiteY0" fmla="*/ 235410 h 802900"/>
                <a:gd name="connsiteX1" fmla="*/ 272034 w 343871"/>
                <a:gd name="connsiteY1" fmla="*/ 280083 h 802900"/>
                <a:gd name="connsiteX2" fmla="*/ 276206 w 343871"/>
                <a:gd name="connsiteY2" fmla="*/ 318335 h 802900"/>
                <a:gd name="connsiteX3" fmla="*/ 233725 w 343871"/>
                <a:gd name="connsiteY3" fmla="*/ 367284 h 802900"/>
                <a:gd name="connsiteX4" fmla="*/ 182146 w 343871"/>
                <a:gd name="connsiteY4" fmla="*/ 418128 h 802900"/>
                <a:gd name="connsiteX5" fmla="*/ 162706 w 343871"/>
                <a:gd name="connsiteY5" fmla="*/ 498253 h 802900"/>
                <a:gd name="connsiteX6" fmla="*/ 181718 w 343871"/>
                <a:gd name="connsiteY6" fmla="*/ 536991 h 802900"/>
                <a:gd name="connsiteX7" fmla="*/ 207255 w 343871"/>
                <a:gd name="connsiteY7" fmla="*/ 566899 h 802900"/>
                <a:gd name="connsiteX8" fmla="*/ 182718 w 343871"/>
                <a:gd name="connsiteY8" fmla="*/ 626202 h 802900"/>
                <a:gd name="connsiteX9" fmla="*/ 154943 w 343871"/>
                <a:gd name="connsiteY9" fmla="*/ 638251 h 802900"/>
                <a:gd name="connsiteX10" fmla="*/ 144761 w 343871"/>
                <a:gd name="connsiteY10" fmla="*/ 722433 h 802900"/>
                <a:gd name="connsiteX11" fmla="*/ 129587 w 343871"/>
                <a:gd name="connsiteY11" fmla="*/ 767753 h 802900"/>
                <a:gd name="connsiteX12" fmla="*/ 97193 w 343871"/>
                <a:gd name="connsiteY12" fmla="*/ 763134 h 802900"/>
                <a:gd name="connsiteX13" fmla="*/ 82077 w 343871"/>
                <a:gd name="connsiteY13" fmla="*/ 800748 h 802900"/>
                <a:gd name="connsiteX14" fmla="*/ 51159 w 343871"/>
                <a:gd name="connsiteY14" fmla="*/ 802900 h 802900"/>
                <a:gd name="connsiteX15" fmla="*/ 42672 w 343871"/>
                <a:gd name="connsiteY15" fmla="*/ 758038 h 802900"/>
                <a:gd name="connsiteX16" fmla="*/ 20317 w 343871"/>
                <a:gd name="connsiteY16" fmla="*/ 702688 h 802900"/>
                <a:gd name="connsiteX17" fmla="*/ 0 w 343871"/>
                <a:gd name="connsiteY17" fmla="*/ 631241 h 802900"/>
                <a:gd name="connsiteX18" fmla="*/ 11773 w 343871"/>
                <a:gd name="connsiteY18" fmla="*/ 601285 h 802900"/>
                <a:gd name="connsiteX19" fmla="*/ 33995 w 343871"/>
                <a:gd name="connsiteY19" fmla="*/ 564975 h 802900"/>
                <a:gd name="connsiteX20" fmla="*/ 42834 w 343871"/>
                <a:gd name="connsiteY20" fmla="*/ 500901 h 802900"/>
                <a:gd name="connsiteX21" fmla="*/ 25765 w 343871"/>
                <a:gd name="connsiteY21" fmla="*/ 472535 h 802900"/>
                <a:gd name="connsiteX22" fmla="*/ 24127 w 343871"/>
                <a:gd name="connsiteY22" fmla="*/ 395916 h 802900"/>
                <a:gd name="connsiteX23" fmla="*/ 41462 w 343871"/>
                <a:gd name="connsiteY23" fmla="*/ 339662 h 802900"/>
                <a:gd name="connsiteX24" fmla="*/ 67961 w 343871"/>
                <a:gd name="connsiteY24" fmla="*/ 340700 h 802900"/>
                <a:gd name="connsiteX25" fmla="*/ 77248 w 343871"/>
                <a:gd name="connsiteY25" fmla="*/ 316373 h 802900"/>
                <a:gd name="connsiteX26" fmla="*/ 67523 w 343871"/>
                <a:gd name="connsiteY26" fmla="*/ 295113 h 802900"/>
                <a:gd name="connsiteX27" fmla="*/ 108995 w 343871"/>
                <a:gd name="connsiteY27" fmla="*/ 204626 h 802900"/>
                <a:gd name="connsiteX28" fmla="*/ 135703 w 343871"/>
                <a:gd name="connsiteY28" fmla="*/ 129692 h 802900"/>
                <a:gd name="connsiteX29" fmla="*/ 153343 w 343871"/>
                <a:gd name="connsiteY29" fmla="*/ 79753 h 802900"/>
                <a:gd name="connsiteX30" fmla="*/ 178984 w 343871"/>
                <a:gd name="connsiteY30" fmla="*/ 79991 h 802900"/>
                <a:gd name="connsiteX31" fmla="*/ 186052 w 343871"/>
                <a:gd name="connsiteY31" fmla="*/ 39824 h 802900"/>
                <a:gd name="connsiteX32" fmla="*/ 236382 w 343871"/>
                <a:gd name="connsiteY32" fmla="*/ 51483 h 802900"/>
                <a:gd name="connsiteX33" fmla="*/ 240306 w 343871"/>
                <a:gd name="connsiteY33" fmla="*/ 3077 h 802900"/>
                <a:gd name="connsiteX34" fmla="*/ 256870 w 343871"/>
                <a:gd name="connsiteY34" fmla="*/ 0 h 802900"/>
                <a:gd name="connsiteX35" fmla="*/ 292465 w 343871"/>
                <a:gd name="connsiteY35" fmla="*/ 36214 h 802900"/>
                <a:gd name="connsiteX36" fmla="*/ 334156 w 343871"/>
                <a:gd name="connsiteY36" fmla="*/ 85296 h 802900"/>
                <a:gd name="connsiteX37" fmla="*/ 334861 w 343871"/>
                <a:gd name="connsiteY37" fmla="*/ 191214 h 802900"/>
                <a:gd name="connsiteX38" fmla="*/ 343871 w 343871"/>
                <a:gd name="connsiteY38" fmla="*/ 216932 h 80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43871" h="802900">
                  <a:moveTo>
                    <a:pt x="297932" y="235410"/>
                  </a:moveTo>
                  <a:lnTo>
                    <a:pt x="272034" y="280083"/>
                  </a:lnTo>
                  <a:lnTo>
                    <a:pt x="276206" y="318335"/>
                  </a:lnTo>
                  <a:lnTo>
                    <a:pt x="233725" y="367284"/>
                  </a:lnTo>
                  <a:lnTo>
                    <a:pt x="182146" y="418128"/>
                  </a:lnTo>
                  <a:lnTo>
                    <a:pt x="162706" y="498253"/>
                  </a:lnTo>
                  <a:lnTo>
                    <a:pt x="181718" y="536991"/>
                  </a:lnTo>
                  <a:lnTo>
                    <a:pt x="207255" y="566899"/>
                  </a:lnTo>
                  <a:lnTo>
                    <a:pt x="182718" y="626202"/>
                  </a:lnTo>
                  <a:lnTo>
                    <a:pt x="154943" y="638251"/>
                  </a:lnTo>
                  <a:lnTo>
                    <a:pt x="144761" y="722433"/>
                  </a:lnTo>
                  <a:lnTo>
                    <a:pt x="129587" y="767753"/>
                  </a:lnTo>
                  <a:lnTo>
                    <a:pt x="97193" y="763134"/>
                  </a:lnTo>
                  <a:lnTo>
                    <a:pt x="82077" y="800748"/>
                  </a:lnTo>
                  <a:lnTo>
                    <a:pt x="51159" y="802900"/>
                  </a:lnTo>
                  <a:lnTo>
                    <a:pt x="42672" y="758038"/>
                  </a:lnTo>
                  <a:lnTo>
                    <a:pt x="20317" y="702688"/>
                  </a:lnTo>
                  <a:lnTo>
                    <a:pt x="0" y="631241"/>
                  </a:lnTo>
                  <a:lnTo>
                    <a:pt x="11773" y="601285"/>
                  </a:lnTo>
                  <a:lnTo>
                    <a:pt x="33995" y="564975"/>
                  </a:lnTo>
                  <a:lnTo>
                    <a:pt x="42834" y="500901"/>
                  </a:lnTo>
                  <a:lnTo>
                    <a:pt x="25765" y="472535"/>
                  </a:lnTo>
                  <a:lnTo>
                    <a:pt x="24127" y="395916"/>
                  </a:lnTo>
                  <a:lnTo>
                    <a:pt x="41462" y="339662"/>
                  </a:lnTo>
                  <a:lnTo>
                    <a:pt x="67961" y="340700"/>
                  </a:lnTo>
                  <a:lnTo>
                    <a:pt x="77248" y="316373"/>
                  </a:lnTo>
                  <a:lnTo>
                    <a:pt x="67523" y="295113"/>
                  </a:lnTo>
                  <a:lnTo>
                    <a:pt x="108995" y="204626"/>
                  </a:lnTo>
                  <a:lnTo>
                    <a:pt x="135703" y="129692"/>
                  </a:lnTo>
                  <a:lnTo>
                    <a:pt x="153343" y="79753"/>
                  </a:lnTo>
                  <a:lnTo>
                    <a:pt x="178984" y="79991"/>
                  </a:lnTo>
                  <a:lnTo>
                    <a:pt x="186052" y="39824"/>
                  </a:lnTo>
                  <a:lnTo>
                    <a:pt x="236382" y="51483"/>
                  </a:lnTo>
                  <a:lnTo>
                    <a:pt x="240306" y="3077"/>
                  </a:lnTo>
                  <a:lnTo>
                    <a:pt x="256870" y="0"/>
                  </a:lnTo>
                  <a:lnTo>
                    <a:pt x="292465" y="36214"/>
                  </a:lnTo>
                  <a:lnTo>
                    <a:pt x="334156" y="85296"/>
                  </a:lnTo>
                  <a:lnTo>
                    <a:pt x="334861" y="191214"/>
                  </a:lnTo>
                  <a:lnTo>
                    <a:pt x="343871" y="216932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3" name="Forme libre : forme 5792">
              <a:extLst>
                <a:ext uri="{FF2B5EF4-FFF2-40B4-BE49-F238E27FC236}">
                  <a16:creationId xmlns:a16="http://schemas.microsoft.com/office/drawing/2014/main" id="{5ED386DB-37F3-700B-9953-8ACF1EBF2435}"/>
                </a:ext>
              </a:extLst>
            </p:cNvPr>
            <p:cNvSpPr/>
            <p:nvPr/>
          </p:nvSpPr>
          <p:spPr>
            <a:xfrm>
              <a:off x="6186735" y="3330344"/>
              <a:ext cx="76552" cy="53806"/>
            </a:xfrm>
            <a:custGeom>
              <a:avLst/>
              <a:gdLst>
                <a:gd name="connsiteX0" fmla="*/ 2886 w 76552"/>
                <a:gd name="connsiteY0" fmla="*/ 13316 h 53806"/>
                <a:gd name="connsiteX1" fmla="*/ 24946 w 76552"/>
                <a:gd name="connsiteY1" fmla="*/ 16307 h 53806"/>
                <a:gd name="connsiteX2" fmla="*/ 38424 w 76552"/>
                <a:gd name="connsiteY2" fmla="*/ 7525 h 53806"/>
                <a:gd name="connsiteX3" fmla="*/ 61779 w 76552"/>
                <a:gd name="connsiteY3" fmla="*/ 6563 h 53806"/>
                <a:gd name="connsiteX4" fmla="*/ 66875 w 76552"/>
                <a:gd name="connsiteY4" fmla="*/ 0 h 53806"/>
                <a:gd name="connsiteX5" fmla="*/ 71361 w 76552"/>
                <a:gd name="connsiteY5" fmla="*/ 429 h 53806"/>
                <a:gd name="connsiteX6" fmla="*/ 76552 w 76552"/>
                <a:gd name="connsiteY6" fmla="*/ 13526 h 53806"/>
                <a:gd name="connsiteX7" fmla="*/ 55293 w 76552"/>
                <a:gd name="connsiteY7" fmla="*/ 23774 h 53806"/>
                <a:gd name="connsiteX8" fmla="*/ 52692 w 76552"/>
                <a:gd name="connsiteY8" fmla="*/ 39272 h 53806"/>
                <a:gd name="connsiteX9" fmla="*/ 43415 w 76552"/>
                <a:gd name="connsiteY9" fmla="*/ 43177 h 53806"/>
                <a:gd name="connsiteX10" fmla="*/ 43510 w 76552"/>
                <a:gd name="connsiteY10" fmla="*/ 53807 h 53806"/>
                <a:gd name="connsiteX11" fmla="*/ 33033 w 76552"/>
                <a:gd name="connsiteY11" fmla="*/ 53074 h 53806"/>
                <a:gd name="connsiteX12" fmla="*/ 23946 w 76552"/>
                <a:gd name="connsiteY12" fmla="*/ 46863 h 53806"/>
                <a:gd name="connsiteX13" fmla="*/ 19059 w 76552"/>
                <a:gd name="connsiteY13" fmla="*/ 53283 h 53806"/>
                <a:gd name="connsiteX14" fmla="*/ 448 w 76552"/>
                <a:gd name="connsiteY14" fmla="*/ 51988 h 53806"/>
                <a:gd name="connsiteX15" fmla="*/ 6391 w 76552"/>
                <a:gd name="connsiteY15" fmla="*/ 48539 h 53806"/>
                <a:gd name="connsiteX16" fmla="*/ 0 w 76552"/>
                <a:gd name="connsiteY16" fmla="*/ 32280 h 53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552" h="53806">
                  <a:moveTo>
                    <a:pt x="2886" y="13316"/>
                  </a:moveTo>
                  <a:lnTo>
                    <a:pt x="24946" y="16307"/>
                  </a:lnTo>
                  <a:lnTo>
                    <a:pt x="38424" y="7525"/>
                  </a:lnTo>
                  <a:lnTo>
                    <a:pt x="61779" y="6563"/>
                  </a:lnTo>
                  <a:lnTo>
                    <a:pt x="66875" y="0"/>
                  </a:lnTo>
                  <a:lnTo>
                    <a:pt x="71361" y="429"/>
                  </a:lnTo>
                  <a:lnTo>
                    <a:pt x="76552" y="13526"/>
                  </a:lnTo>
                  <a:lnTo>
                    <a:pt x="55293" y="23774"/>
                  </a:lnTo>
                  <a:lnTo>
                    <a:pt x="52692" y="39272"/>
                  </a:lnTo>
                  <a:lnTo>
                    <a:pt x="43415" y="43177"/>
                  </a:lnTo>
                  <a:lnTo>
                    <a:pt x="43510" y="53807"/>
                  </a:lnTo>
                  <a:lnTo>
                    <a:pt x="33033" y="53074"/>
                  </a:lnTo>
                  <a:lnTo>
                    <a:pt x="23946" y="46863"/>
                  </a:lnTo>
                  <a:lnTo>
                    <a:pt x="19059" y="53283"/>
                  </a:lnTo>
                  <a:lnTo>
                    <a:pt x="448" y="51988"/>
                  </a:lnTo>
                  <a:lnTo>
                    <a:pt x="6391" y="48539"/>
                  </a:lnTo>
                  <a:lnTo>
                    <a:pt x="0" y="3228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4" name="Forme libre : forme 5793">
              <a:extLst>
                <a:ext uri="{FF2B5EF4-FFF2-40B4-BE49-F238E27FC236}">
                  <a16:creationId xmlns:a16="http://schemas.microsoft.com/office/drawing/2014/main" id="{94547FDD-3713-1597-EA71-FCC5D4BB5970}"/>
                </a:ext>
              </a:extLst>
            </p:cNvPr>
            <p:cNvSpPr/>
            <p:nvPr/>
          </p:nvSpPr>
          <p:spPr>
            <a:xfrm>
              <a:off x="6099819" y="920376"/>
              <a:ext cx="453037" cy="535562"/>
            </a:xfrm>
            <a:custGeom>
              <a:avLst/>
              <a:gdLst>
                <a:gd name="connsiteX0" fmla="*/ 381381 w 453037"/>
                <a:gd name="connsiteY0" fmla="*/ 403784 h 535562"/>
                <a:gd name="connsiteX1" fmla="*/ 321726 w 453037"/>
                <a:gd name="connsiteY1" fmla="*/ 454828 h 535562"/>
                <a:gd name="connsiteX2" fmla="*/ 274606 w 453037"/>
                <a:gd name="connsiteY2" fmla="*/ 426053 h 535562"/>
                <a:gd name="connsiteX3" fmla="*/ 293037 w 453037"/>
                <a:gd name="connsiteY3" fmla="*/ 393440 h 535562"/>
                <a:gd name="connsiteX4" fmla="*/ 276901 w 453037"/>
                <a:gd name="connsiteY4" fmla="*/ 352073 h 535562"/>
                <a:gd name="connsiteX5" fmla="*/ 332251 w 453037"/>
                <a:gd name="connsiteY5" fmla="*/ 325574 h 535562"/>
                <a:gd name="connsiteX6" fmla="*/ 342852 w 453037"/>
                <a:gd name="connsiteY6" fmla="*/ 374866 h 535562"/>
                <a:gd name="connsiteX7" fmla="*/ 381381 w 453037"/>
                <a:gd name="connsiteY7" fmla="*/ 403784 h 535562"/>
                <a:gd name="connsiteX8" fmla="*/ 208521 w 453037"/>
                <a:gd name="connsiteY8" fmla="*/ 149695 h 535562"/>
                <a:gd name="connsiteX9" fmla="*/ 296437 w 453037"/>
                <a:gd name="connsiteY9" fmla="*/ 257251 h 535562"/>
                <a:gd name="connsiteX10" fmla="*/ 229228 w 453037"/>
                <a:gd name="connsiteY10" fmla="*/ 311163 h 535562"/>
                <a:gd name="connsiteX11" fmla="*/ 214389 w 453037"/>
                <a:gd name="connsiteY11" fmla="*/ 407232 h 535562"/>
                <a:gd name="connsiteX12" fmla="*/ 190957 w 453037"/>
                <a:gd name="connsiteY12" fmla="*/ 430949 h 535562"/>
                <a:gd name="connsiteX13" fmla="*/ 178241 w 453037"/>
                <a:gd name="connsiteY13" fmla="*/ 531009 h 535562"/>
                <a:gd name="connsiteX14" fmla="*/ 146056 w 453037"/>
                <a:gd name="connsiteY14" fmla="*/ 535562 h 535562"/>
                <a:gd name="connsiteX15" fmla="*/ 88621 w 453037"/>
                <a:gd name="connsiteY15" fmla="*/ 462753 h 535562"/>
                <a:gd name="connsiteX16" fmla="*/ 112843 w 453037"/>
                <a:gd name="connsiteY16" fmla="*/ 418719 h 535562"/>
                <a:gd name="connsiteX17" fmla="*/ 72809 w 453037"/>
                <a:gd name="connsiteY17" fmla="*/ 381933 h 535562"/>
                <a:gd name="connsiteX18" fmla="*/ 20774 w 453037"/>
                <a:gd name="connsiteY18" fmla="*/ 269319 h 535562"/>
                <a:gd name="connsiteX19" fmla="*/ 0 w 453037"/>
                <a:gd name="connsiteY19" fmla="*/ 157058 h 535562"/>
                <a:gd name="connsiteX20" fmla="*/ 72809 w 453037"/>
                <a:gd name="connsiteY20" fmla="*/ 102899 h 535562"/>
                <a:gd name="connsiteX21" fmla="*/ 87439 w 453037"/>
                <a:gd name="connsiteY21" fmla="*/ 155867 h 535562"/>
                <a:gd name="connsiteX22" fmla="*/ 125473 w 453037"/>
                <a:gd name="connsiteY22" fmla="*/ 153800 h 535562"/>
                <a:gd name="connsiteX23" fmla="*/ 135617 w 453037"/>
                <a:gd name="connsiteY23" fmla="*/ 102032 h 535562"/>
                <a:gd name="connsiteX24" fmla="*/ 174831 w 453037"/>
                <a:gd name="connsiteY24" fmla="*/ 96669 h 535562"/>
                <a:gd name="connsiteX25" fmla="*/ 208521 w 453037"/>
                <a:gd name="connsiteY25" fmla="*/ 149695 h 535562"/>
                <a:gd name="connsiteX26" fmla="*/ 400698 w 453037"/>
                <a:gd name="connsiteY26" fmla="*/ 40557 h 535562"/>
                <a:gd name="connsiteX27" fmla="*/ 453037 w 453037"/>
                <a:gd name="connsiteY27" fmla="*/ 95793 h 535562"/>
                <a:gd name="connsiteX28" fmla="*/ 413432 w 453037"/>
                <a:gd name="connsiteY28" fmla="*/ 176917 h 535562"/>
                <a:gd name="connsiteX29" fmla="*/ 335975 w 453037"/>
                <a:gd name="connsiteY29" fmla="*/ 194119 h 535562"/>
                <a:gd name="connsiteX30" fmla="*/ 257213 w 453037"/>
                <a:gd name="connsiteY30" fmla="*/ 169716 h 535562"/>
                <a:gd name="connsiteX31" fmla="*/ 252460 w 453037"/>
                <a:gd name="connsiteY31" fmla="*/ 128549 h 535562"/>
                <a:gd name="connsiteX32" fmla="*/ 214141 w 453037"/>
                <a:gd name="connsiteY32" fmla="*/ 125892 h 535562"/>
                <a:gd name="connsiteX33" fmla="*/ 184918 w 453037"/>
                <a:gd name="connsiteY33" fmla="*/ 54664 h 535562"/>
                <a:gd name="connsiteX34" fmla="*/ 267385 w 453037"/>
                <a:gd name="connsiteY34" fmla="*/ 9677 h 535562"/>
                <a:gd name="connsiteX35" fmla="*/ 306162 w 453037"/>
                <a:gd name="connsiteY35" fmla="*/ 48492 h 535562"/>
                <a:gd name="connsiteX36" fmla="*/ 333165 w 453037"/>
                <a:gd name="connsiteY36" fmla="*/ 0 h 535562"/>
                <a:gd name="connsiteX37" fmla="*/ 400698 w 453037"/>
                <a:gd name="connsiteY37" fmla="*/ 40557 h 535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53037" h="535562">
                  <a:moveTo>
                    <a:pt x="381381" y="403784"/>
                  </a:moveTo>
                  <a:lnTo>
                    <a:pt x="321726" y="454828"/>
                  </a:lnTo>
                  <a:lnTo>
                    <a:pt x="274606" y="426053"/>
                  </a:lnTo>
                  <a:lnTo>
                    <a:pt x="293037" y="393440"/>
                  </a:lnTo>
                  <a:lnTo>
                    <a:pt x="276901" y="352073"/>
                  </a:lnTo>
                  <a:lnTo>
                    <a:pt x="332251" y="325574"/>
                  </a:lnTo>
                  <a:lnTo>
                    <a:pt x="342852" y="374866"/>
                  </a:lnTo>
                  <a:lnTo>
                    <a:pt x="381381" y="403784"/>
                  </a:lnTo>
                  <a:close/>
                  <a:moveTo>
                    <a:pt x="208521" y="149695"/>
                  </a:moveTo>
                  <a:lnTo>
                    <a:pt x="296437" y="257251"/>
                  </a:lnTo>
                  <a:lnTo>
                    <a:pt x="229228" y="311163"/>
                  </a:lnTo>
                  <a:lnTo>
                    <a:pt x="214389" y="407232"/>
                  </a:lnTo>
                  <a:lnTo>
                    <a:pt x="190957" y="430949"/>
                  </a:lnTo>
                  <a:lnTo>
                    <a:pt x="178241" y="531009"/>
                  </a:lnTo>
                  <a:lnTo>
                    <a:pt x="146056" y="535562"/>
                  </a:lnTo>
                  <a:lnTo>
                    <a:pt x="88621" y="462753"/>
                  </a:lnTo>
                  <a:lnTo>
                    <a:pt x="112843" y="418719"/>
                  </a:lnTo>
                  <a:lnTo>
                    <a:pt x="72809" y="381933"/>
                  </a:lnTo>
                  <a:lnTo>
                    <a:pt x="20774" y="269319"/>
                  </a:lnTo>
                  <a:lnTo>
                    <a:pt x="0" y="157058"/>
                  </a:lnTo>
                  <a:lnTo>
                    <a:pt x="72809" y="102899"/>
                  </a:lnTo>
                  <a:lnTo>
                    <a:pt x="87439" y="155867"/>
                  </a:lnTo>
                  <a:lnTo>
                    <a:pt x="125473" y="153800"/>
                  </a:lnTo>
                  <a:lnTo>
                    <a:pt x="135617" y="102032"/>
                  </a:lnTo>
                  <a:lnTo>
                    <a:pt x="174831" y="96669"/>
                  </a:lnTo>
                  <a:lnTo>
                    <a:pt x="208521" y="149695"/>
                  </a:lnTo>
                  <a:close/>
                  <a:moveTo>
                    <a:pt x="400698" y="40557"/>
                  </a:moveTo>
                  <a:lnTo>
                    <a:pt x="453037" y="95793"/>
                  </a:lnTo>
                  <a:lnTo>
                    <a:pt x="413432" y="176917"/>
                  </a:lnTo>
                  <a:lnTo>
                    <a:pt x="335975" y="194119"/>
                  </a:lnTo>
                  <a:lnTo>
                    <a:pt x="257213" y="169716"/>
                  </a:lnTo>
                  <a:lnTo>
                    <a:pt x="252460" y="128549"/>
                  </a:lnTo>
                  <a:lnTo>
                    <a:pt x="214141" y="125892"/>
                  </a:lnTo>
                  <a:lnTo>
                    <a:pt x="184918" y="54664"/>
                  </a:lnTo>
                  <a:lnTo>
                    <a:pt x="267385" y="9677"/>
                  </a:lnTo>
                  <a:lnTo>
                    <a:pt x="306162" y="48492"/>
                  </a:lnTo>
                  <a:lnTo>
                    <a:pt x="333165" y="0"/>
                  </a:lnTo>
                  <a:lnTo>
                    <a:pt x="400698" y="4055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5" name="Forme libre : forme 5794">
              <a:extLst>
                <a:ext uri="{FF2B5EF4-FFF2-40B4-BE49-F238E27FC236}">
                  <a16:creationId xmlns:a16="http://schemas.microsoft.com/office/drawing/2014/main" id="{BB0639D3-88F1-7130-1B17-FFCE11CF6F0D}"/>
                </a:ext>
              </a:extLst>
            </p:cNvPr>
            <p:cNvSpPr/>
            <p:nvPr/>
          </p:nvSpPr>
          <p:spPr>
            <a:xfrm>
              <a:off x="6271707" y="3221654"/>
              <a:ext cx="151638" cy="73113"/>
            </a:xfrm>
            <a:custGeom>
              <a:avLst/>
              <a:gdLst>
                <a:gd name="connsiteX0" fmla="*/ 52693 w 151638"/>
                <a:gd name="connsiteY0" fmla="*/ 3095 h 73113"/>
                <a:gd name="connsiteX1" fmla="*/ 54197 w 151638"/>
                <a:gd name="connsiteY1" fmla="*/ 5572 h 73113"/>
                <a:gd name="connsiteX2" fmla="*/ 65180 w 151638"/>
                <a:gd name="connsiteY2" fmla="*/ 0 h 73113"/>
                <a:gd name="connsiteX3" fmla="*/ 78648 w 151638"/>
                <a:gd name="connsiteY3" fmla="*/ 14506 h 73113"/>
                <a:gd name="connsiteX4" fmla="*/ 94431 w 151638"/>
                <a:gd name="connsiteY4" fmla="*/ 5753 h 73113"/>
                <a:gd name="connsiteX5" fmla="*/ 107042 w 151638"/>
                <a:gd name="connsiteY5" fmla="*/ 9953 h 73113"/>
                <a:gd name="connsiteX6" fmla="*/ 126264 w 151638"/>
                <a:gd name="connsiteY6" fmla="*/ 4162 h 73113"/>
                <a:gd name="connsiteX7" fmla="*/ 151638 w 151638"/>
                <a:gd name="connsiteY7" fmla="*/ 19860 h 73113"/>
                <a:gd name="connsiteX8" fmla="*/ 144237 w 151638"/>
                <a:gd name="connsiteY8" fmla="*/ 30413 h 73113"/>
                <a:gd name="connsiteX9" fmla="*/ 139027 w 151638"/>
                <a:gd name="connsiteY9" fmla="*/ 46653 h 73113"/>
                <a:gd name="connsiteX10" fmla="*/ 133331 w 151638"/>
                <a:gd name="connsiteY10" fmla="*/ 50749 h 73113"/>
                <a:gd name="connsiteX11" fmla="*/ 104728 w 151638"/>
                <a:gd name="connsiteY11" fmla="*/ 38548 h 73113"/>
                <a:gd name="connsiteX12" fmla="*/ 95974 w 151638"/>
                <a:gd name="connsiteY12" fmla="*/ 41005 h 73113"/>
                <a:gd name="connsiteX13" fmla="*/ 89707 w 151638"/>
                <a:gd name="connsiteY13" fmla="*/ 50454 h 73113"/>
                <a:gd name="connsiteX14" fmla="*/ 77172 w 151638"/>
                <a:gd name="connsiteY14" fmla="*/ 55445 h 73113"/>
                <a:gd name="connsiteX15" fmla="*/ 74276 w 151638"/>
                <a:gd name="connsiteY15" fmla="*/ 52883 h 73113"/>
                <a:gd name="connsiteX16" fmla="*/ 61275 w 151638"/>
                <a:gd name="connsiteY16" fmla="*/ 59084 h 73113"/>
                <a:gd name="connsiteX17" fmla="*/ 50664 w 151638"/>
                <a:gd name="connsiteY17" fmla="*/ 60265 h 73113"/>
                <a:gd name="connsiteX18" fmla="*/ 48511 w 151638"/>
                <a:gd name="connsiteY18" fmla="*/ 68256 h 73113"/>
                <a:gd name="connsiteX19" fmla="*/ 26099 w 151638"/>
                <a:gd name="connsiteY19" fmla="*/ 73114 h 73113"/>
                <a:gd name="connsiteX20" fmla="*/ 16250 w 151638"/>
                <a:gd name="connsiteY20" fmla="*/ 68789 h 73113"/>
                <a:gd name="connsiteX21" fmla="*/ 2658 w 151638"/>
                <a:gd name="connsiteY21" fmla="*/ 58607 h 73113"/>
                <a:gd name="connsiteX22" fmla="*/ 0 w 151638"/>
                <a:gd name="connsiteY22" fmla="*/ 44729 h 73113"/>
                <a:gd name="connsiteX23" fmla="*/ 2143 w 151638"/>
                <a:gd name="connsiteY23" fmla="*/ 39633 h 73113"/>
                <a:gd name="connsiteX24" fmla="*/ 5935 w 151638"/>
                <a:gd name="connsiteY24" fmla="*/ 30756 h 73113"/>
                <a:gd name="connsiteX25" fmla="*/ 17765 w 151638"/>
                <a:gd name="connsiteY25" fmla="*/ 31432 h 73113"/>
                <a:gd name="connsiteX26" fmla="*/ 26880 w 151638"/>
                <a:gd name="connsiteY26" fmla="*/ 27251 h 73113"/>
                <a:gd name="connsiteX27" fmla="*/ 27604 w 151638"/>
                <a:gd name="connsiteY27" fmla="*/ 23479 h 73113"/>
                <a:gd name="connsiteX28" fmla="*/ 32719 w 151638"/>
                <a:gd name="connsiteY28" fmla="*/ 21555 h 73113"/>
                <a:gd name="connsiteX29" fmla="*/ 34462 w 151638"/>
                <a:gd name="connsiteY29" fmla="*/ 12287 h 73113"/>
                <a:gd name="connsiteX30" fmla="*/ 40596 w 151638"/>
                <a:gd name="connsiteY30" fmla="*/ 10515 h 73113"/>
                <a:gd name="connsiteX31" fmla="*/ 44730 w 151638"/>
                <a:gd name="connsiteY31" fmla="*/ 3143 h 73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51638" h="73113">
                  <a:moveTo>
                    <a:pt x="52693" y="3095"/>
                  </a:moveTo>
                  <a:lnTo>
                    <a:pt x="54197" y="5572"/>
                  </a:lnTo>
                  <a:lnTo>
                    <a:pt x="65180" y="0"/>
                  </a:lnTo>
                  <a:lnTo>
                    <a:pt x="78648" y="14506"/>
                  </a:lnTo>
                  <a:lnTo>
                    <a:pt x="94431" y="5753"/>
                  </a:lnTo>
                  <a:lnTo>
                    <a:pt x="107042" y="9953"/>
                  </a:lnTo>
                  <a:lnTo>
                    <a:pt x="126264" y="4162"/>
                  </a:lnTo>
                  <a:lnTo>
                    <a:pt x="151638" y="19860"/>
                  </a:lnTo>
                  <a:lnTo>
                    <a:pt x="144237" y="30413"/>
                  </a:lnTo>
                  <a:lnTo>
                    <a:pt x="139027" y="46653"/>
                  </a:lnTo>
                  <a:lnTo>
                    <a:pt x="133331" y="50749"/>
                  </a:lnTo>
                  <a:lnTo>
                    <a:pt x="104728" y="38548"/>
                  </a:lnTo>
                  <a:lnTo>
                    <a:pt x="95974" y="41005"/>
                  </a:lnTo>
                  <a:lnTo>
                    <a:pt x="89707" y="50454"/>
                  </a:lnTo>
                  <a:lnTo>
                    <a:pt x="77172" y="55445"/>
                  </a:lnTo>
                  <a:lnTo>
                    <a:pt x="74276" y="52883"/>
                  </a:lnTo>
                  <a:lnTo>
                    <a:pt x="61275" y="59084"/>
                  </a:lnTo>
                  <a:lnTo>
                    <a:pt x="50664" y="60265"/>
                  </a:lnTo>
                  <a:lnTo>
                    <a:pt x="48511" y="68256"/>
                  </a:lnTo>
                  <a:lnTo>
                    <a:pt x="26099" y="73114"/>
                  </a:lnTo>
                  <a:lnTo>
                    <a:pt x="16250" y="68789"/>
                  </a:lnTo>
                  <a:lnTo>
                    <a:pt x="2658" y="58607"/>
                  </a:lnTo>
                  <a:lnTo>
                    <a:pt x="0" y="44729"/>
                  </a:lnTo>
                  <a:lnTo>
                    <a:pt x="2143" y="39633"/>
                  </a:lnTo>
                  <a:lnTo>
                    <a:pt x="5935" y="30756"/>
                  </a:lnTo>
                  <a:lnTo>
                    <a:pt x="17765" y="31432"/>
                  </a:lnTo>
                  <a:lnTo>
                    <a:pt x="26880" y="27251"/>
                  </a:lnTo>
                  <a:lnTo>
                    <a:pt x="27604" y="23479"/>
                  </a:lnTo>
                  <a:lnTo>
                    <a:pt x="32719" y="21555"/>
                  </a:lnTo>
                  <a:lnTo>
                    <a:pt x="34462" y="12287"/>
                  </a:lnTo>
                  <a:lnTo>
                    <a:pt x="40596" y="10515"/>
                  </a:lnTo>
                  <a:lnTo>
                    <a:pt x="44730" y="314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6" name="Forme libre : forme 5795">
              <a:extLst>
                <a:ext uri="{FF2B5EF4-FFF2-40B4-BE49-F238E27FC236}">
                  <a16:creationId xmlns:a16="http://schemas.microsoft.com/office/drawing/2014/main" id="{A5BE51A4-AC7D-4AD5-151C-B9741C33F5A5}"/>
                </a:ext>
              </a:extLst>
            </p:cNvPr>
            <p:cNvSpPr/>
            <p:nvPr/>
          </p:nvSpPr>
          <p:spPr>
            <a:xfrm>
              <a:off x="5467130" y="4474734"/>
              <a:ext cx="80552" cy="87477"/>
            </a:xfrm>
            <a:custGeom>
              <a:avLst/>
              <a:gdLst>
                <a:gd name="connsiteX0" fmla="*/ 48273 w 80552"/>
                <a:gd name="connsiteY0" fmla="*/ 87478 h 87477"/>
                <a:gd name="connsiteX1" fmla="*/ 41081 w 80552"/>
                <a:gd name="connsiteY1" fmla="*/ 85497 h 87477"/>
                <a:gd name="connsiteX2" fmla="*/ 21850 w 80552"/>
                <a:gd name="connsiteY2" fmla="*/ 74724 h 87477"/>
                <a:gd name="connsiteX3" fmla="*/ 7944 w 80552"/>
                <a:gd name="connsiteY3" fmla="*/ 60388 h 87477"/>
                <a:gd name="connsiteX4" fmla="*/ 3267 w 80552"/>
                <a:gd name="connsiteY4" fmla="*/ 50597 h 87477"/>
                <a:gd name="connsiteX5" fmla="*/ 0 w 80552"/>
                <a:gd name="connsiteY5" fmla="*/ 30775 h 87477"/>
                <a:gd name="connsiteX6" fmla="*/ 14268 w 80552"/>
                <a:gd name="connsiteY6" fmla="*/ 18955 h 87477"/>
                <a:gd name="connsiteX7" fmla="*/ 17354 w 80552"/>
                <a:gd name="connsiteY7" fmla="*/ 11497 h 87477"/>
                <a:gd name="connsiteX8" fmla="*/ 21917 w 80552"/>
                <a:gd name="connsiteY8" fmla="*/ 5687 h 87477"/>
                <a:gd name="connsiteX9" fmla="*/ 29270 w 80552"/>
                <a:gd name="connsiteY9" fmla="*/ 5077 h 87477"/>
                <a:gd name="connsiteX10" fmla="*/ 35500 w 80552"/>
                <a:gd name="connsiteY10" fmla="*/ 0 h 87477"/>
                <a:gd name="connsiteX11" fmla="*/ 56855 w 80552"/>
                <a:gd name="connsiteY11" fmla="*/ 29 h 87477"/>
                <a:gd name="connsiteX12" fmla="*/ 64284 w 80552"/>
                <a:gd name="connsiteY12" fmla="*/ 9658 h 87477"/>
                <a:gd name="connsiteX13" fmla="*/ 70075 w 80552"/>
                <a:gd name="connsiteY13" fmla="*/ 20965 h 87477"/>
                <a:gd name="connsiteX14" fmla="*/ 69209 w 80552"/>
                <a:gd name="connsiteY14" fmla="*/ 28785 h 87477"/>
                <a:gd name="connsiteX15" fmla="*/ 73505 w 80552"/>
                <a:gd name="connsiteY15" fmla="*/ 35805 h 87477"/>
                <a:gd name="connsiteX16" fmla="*/ 73200 w 80552"/>
                <a:gd name="connsiteY16" fmla="*/ 45644 h 87477"/>
                <a:gd name="connsiteX17" fmla="*/ 80553 w 80552"/>
                <a:gd name="connsiteY17" fmla="*/ 44110 h 87477"/>
                <a:gd name="connsiteX18" fmla="*/ 68123 w 80552"/>
                <a:gd name="connsiteY18" fmla="*/ 56617 h 87477"/>
                <a:gd name="connsiteX19" fmla="*/ 56074 w 80552"/>
                <a:gd name="connsiteY19" fmla="*/ 71152 h 87477"/>
                <a:gd name="connsiteX20" fmla="*/ 54664 w 80552"/>
                <a:gd name="connsiteY20" fmla="*/ 78924 h 8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552" h="87477">
                  <a:moveTo>
                    <a:pt x="48273" y="87478"/>
                  </a:moveTo>
                  <a:lnTo>
                    <a:pt x="41081" y="85497"/>
                  </a:lnTo>
                  <a:lnTo>
                    <a:pt x="21850" y="74724"/>
                  </a:lnTo>
                  <a:lnTo>
                    <a:pt x="7944" y="60388"/>
                  </a:lnTo>
                  <a:lnTo>
                    <a:pt x="3267" y="50597"/>
                  </a:lnTo>
                  <a:lnTo>
                    <a:pt x="0" y="30775"/>
                  </a:lnTo>
                  <a:lnTo>
                    <a:pt x="14268" y="18955"/>
                  </a:lnTo>
                  <a:lnTo>
                    <a:pt x="17354" y="11497"/>
                  </a:lnTo>
                  <a:lnTo>
                    <a:pt x="21917" y="5687"/>
                  </a:lnTo>
                  <a:lnTo>
                    <a:pt x="29270" y="5077"/>
                  </a:lnTo>
                  <a:lnTo>
                    <a:pt x="35500" y="0"/>
                  </a:lnTo>
                  <a:lnTo>
                    <a:pt x="56855" y="29"/>
                  </a:lnTo>
                  <a:lnTo>
                    <a:pt x="64284" y="9658"/>
                  </a:lnTo>
                  <a:lnTo>
                    <a:pt x="70075" y="20965"/>
                  </a:lnTo>
                  <a:lnTo>
                    <a:pt x="69209" y="28785"/>
                  </a:lnTo>
                  <a:lnTo>
                    <a:pt x="73505" y="35805"/>
                  </a:lnTo>
                  <a:lnTo>
                    <a:pt x="73200" y="45644"/>
                  </a:lnTo>
                  <a:lnTo>
                    <a:pt x="80553" y="44110"/>
                  </a:lnTo>
                  <a:lnTo>
                    <a:pt x="68123" y="56617"/>
                  </a:lnTo>
                  <a:lnTo>
                    <a:pt x="56074" y="71152"/>
                  </a:lnTo>
                  <a:lnTo>
                    <a:pt x="54664" y="7892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7" name="Forme libre : forme 5796">
              <a:extLst>
                <a:ext uri="{FF2B5EF4-FFF2-40B4-BE49-F238E27FC236}">
                  <a16:creationId xmlns:a16="http://schemas.microsoft.com/office/drawing/2014/main" id="{8752D02E-D49B-23C8-DC3A-AF42BFA80715}"/>
                </a:ext>
              </a:extLst>
            </p:cNvPr>
            <p:cNvSpPr/>
            <p:nvPr/>
          </p:nvSpPr>
          <p:spPr>
            <a:xfrm>
              <a:off x="5350192" y="4295960"/>
              <a:ext cx="164439" cy="116966"/>
            </a:xfrm>
            <a:custGeom>
              <a:avLst/>
              <a:gdLst>
                <a:gd name="connsiteX0" fmla="*/ 24337 w 164439"/>
                <a:gd name="connsiteY0" fmla="*/ 82572 h 116966"/>
                <a:gd name="connsiteX1" fmla="*/ 13326 w 164439"/>
                <a:gd name="connsiteY1" fmla="*/ 61274 h 116966"/>
                <a:gd name="connsiteX2" fmla="*/ 0 w 164439"/>
                <a:gd name="connsiteY2" fmla="*/ 51511 h 116966"/>
                <a:gd name="connsiteX3" fmla="*/ 11744 w 164439"/>
                <a:gd name="connsiteY3" fmla="*/ 46301 h 116966"/>
                <a:gd name="connsiteX4" fmla="*/ 24689 w 164439"/>
                <a:gd name="connsiteY4" fmla="*/ 26984 h 116966"/>
                <a:gd name="connsiteX5" fmla="*/ 31032 w 164439"/>
                <a:gd name="connsiteY5" fmla="*/ 12821 h 116966"/>
                <a:gd name="connsiteX6" fmla="*/ 40177 w 164439"/>
                <a:gd name="connsiteY6" fmla="*/ 3953 h 116966"/>
                <a:gd name="connsiteX7" fmla="*/ 53445 w 164439"/>
                <a:gd name="connsiteY7" fmla="*/ 6344 h 116966"/>
                <a:gd name="connsiteX8" fmla="*/ 66475 w 164439"/>
                <a:gd name="connsiteY8" fmla="*/ 314 h 116966"/>
                <a:gd name="connsiteX9" fmla="*/ 81391 w 164439"/>
                <a:gd name="connsiteY9" fmla="*/ 0 h 116966"/>
                <a:gd name="connsiteX10" fmla="*/ 94155 w 164439"/>
                <a:gd name="connsiteY10" fmla="*/ 8144 h 116966"/>
                <a:gd name="connsiteX11" fmla="*/ 111881 w 164439"/>
                <a:gd name="connsiteY11" fmla="*/ 15459 h 116966"/>
                <a:gd name="connsiteX12" fmla="*/ 128045 w 164439"/>
                <a:gd name="connsiteY12" fmla="*/ 35738 h 116966"/>
                <a:gd name="connsiteX13" fmla="*/ 145666 w 164439"/>
                <a:gd name="connsiteY13" fmla="*/ 54607 h 116966"/>
                <a:gd name="connsiteX14" fmla="*/ 146885 w 164439"/>
                <a:gd name="connsiteY14" fmla="*/ 71647 h 116966"/>
                <a:gd name="connsiteX15" fmla="*/ 152162 w 164439"/>
                <a:gd name="connsiteY15" fmla="*/ 87287 h 116966"/>
                <a:gd name="connsiteX16" fmla="*/ 162154 w 164439"/>
                <a:gd name="connsiteY16" fmla="*/ 94945 h 116966"/>
                <a:gd name="connsiteX17" fmla="*/ 164440 w 164439"/>
                <a:gd name="connsiteY17" fmla="*/ 105480 h 116966"/>
                <a:gd name="connsiteX18" fmla="*/ 163211 w 164439"/>
                <a:gd name="connsiteY18" fmla="*/ 113947 h 116966"/>
                <a:gd name="connsiteX19" fmla="*/ 159353 w 164439"/>
                <a:gd name="connsiteY19" fmla="*/ 115481 h 116966"/>
                <a:gd name="connsiteX20" fmla="*/ 144790 w 164439"/>
                <a:gd name="connsiteY20" fmla="*/ 113328 h 116966"/>
                <a:gd name="connsiteX21" fmla="*/ 142789 w 164439"/>
                <a:gd name="connsiteY21" fmla="*/ 116357 h 116966"/>
                <a:gd name="connsiteX22" fmla="*/ 136903 w 164439"/>
                <a:gd name="connsiteY22" fmla="*/ 116967 h 116966"/>
                <a:gd name="connsiteX23" fmla="*/ 117700 w 164439"/>
                <a:gd name="connsiteY23" fmla="*/ 110337 h 116966"/>
                <a:gd name="connsiteX24" fmla="*/ 104813 w 164439"/>
                <a:gd name="connsiteY24" fmla="*/ 110052 h 116966"/>
                <a:gd name="connsiteX25" fmla="*/ 55455 w 164439"/>
                <a:gd name="connsiteY25" fmla="*/ 108918 h 116966"/>
                <a:gd name="connsiteX26" fmla="*/ 48301 w 164439"/>
                <a:gd name="connsiteY26" fmla="*/ 111976 h 116966"/>
                <a:gd name="connsiteX27" fmla="*/ 39453 w 164439"/>
                <a:gd name="connsiteY27" fmla="*/ 111100 h 116966"/>
                <a:gd name="connsiteX28" fmla="*/ 25308 w 164439"/>
                <a:gd name="connsiteY28" fmla="*/ 115529 h 116966"/>
                <a:gd name="connsiteX29" fmla="*/ 20927 w 164439"/>
                <a:gd name="connsiteY29" fmla="*/ 94669 h 116966"/>
                <a:gd name="connsiteX30" fmla="*/ 45234 w 164439"/>
                <a:gd name="connsiteY30" fmla="*/ 95250 h 116966"/>
                <a:gd name="connsiteX31" fmla="*/ 51654 w 164439"/>
                <a:gd name="connsiteY31" fmla="*/ 91430 h 116966"/>
                <a:gd name="connsiteX32" fmla="*/ 56436 w 164439"/>
                <a:gd name="connsiteY32" fmla="*/ 91202 h 116966"/>
                <a:gd name="connsiteX33" fmla="*/ 66332 w 164439"/>
                <a:gd name="connsiteY33" fmla="*/ 84906 h 116966"/>
                <a:gd name="connsiteX34" fmla="*/ 77791 w 164439"/>
                <a:gd name="connsiteY34" fmla="*/ 90668 h 116966"/>
                <a:gd name="connsiteX35" fmla="*/ 89392 w 164439"/>
                <a:gd name="connsiteY35" fmla="*/ 91154 h 116966"/>
                <a:gd name="connsiteX36" fmla="*/ 100955 w 164439"/>
                <a:gd name="connsiteY36" fmla="*/ 85030 h 116966"/>
                <a:gd name="connsiteX37" fmla="*/ 95555 w 164439"/>
                <a:gd name="connsiteY37" fmla="*/ 77133 h 116966"/>
                <a:gd name="connsiteX38" fmla="*/ 86754 w 164439"/>
                <a:gd name="connsiteY38" fmla="*/ 81734 h 116966"/>
                <a:gd name="connsiteX39" fmla="*/ 78467 w 164439"/>
                <a:gd name="connsiteY39" fmla="*/ 81610 h 116966"/>
                <a:gd name="connsiteX40" fmla="*/ 67923 w 164439"/>
                <a:gd name="connsiteY40" fmla="*/ 74886 h 116966"/>
                <a:gd name="connsiteX41" fmla="*/ 59455 w 164439"/>
                <a:gd name="connsiteY41" fmla="*/ 75324 h 116966"/>
                <a:gd name="connsiteX42" fmla="*/ 53426 w 164439"/>
                <a:gd name="connsiteY42" fmla="*/ 81791 h 11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64439" h="116966">
                  <a:moveTo>
                    <a:pt x="24337" y="82572"/>
                  </a:moveTo>
                  <a:lnTo>
                    <a:pt x="13326" y="61274"/>
                  </a:lnTo>
                  <a:lnTo>
                    <a:pt x="0" y="51511"/>
                  </a:lnTo>
                  <a:lnTo>
                    <a:pt x="11744" y="46301"/>
                  </a:lnTo>
                  <a:lnTo>
                    <a:pt x="24689" y="26984"/>
                  </a:lnTo>
                  <a:lnTo>
                    <a:pt x="31032" y="12821"/>
                  </a:lnTo>
                  <a:lnTo>
                    <a:pt x="40177" y="3953"/>
                  </a:lnTo>
                  <a:lnTo>
                    <a:pt x="53445" y="6344"/>
                  </a:lnTo>
                  <a:lnTo>
                    <a:pt x="66475" y="314"/>
                  </a:lnTo>
                  <a:lnTo>
                    <a:pt x="81391" y="0"/>
                  </a:lnTo>
                  <a:lnTo>
                    <a:pt x="94155" y="8144"/>
                  </a:lnTo>
                  <a:lnTo>
                    <a:pt x="111881" y="15459"/>
                  </a:lnTo>
                  <a:lnTo>
                    <a:pt x="128045" y="35738"/>
                  </a:lnTo>
                  <a:lnTo>
                    <a:pt x="145666" y="54607"/>
                  </a:lnTo>
                  <a:lnTo>
                    <a:pt x="146885" y="71647"/>
                  </a:lnTo>
                  <a:lnTo>
                    <a:pt x="152162" y="87287"/>
                  </a:lnTo>
                  <a:lnTo>
                    <a:pt x="162154" y="94945"/>
                  </a:lnTo>
                  <a:lnTo>
                    <a:pt x="164440" y="105480"/>
                  </a:lnTo>
                  <a:lnTo>
                    <a:pt x="163211" y="113947"/>
                  </a:lnTo>
                  <a:lnTo>
                    <a:pt x="159353" y="115481"/>
                  </a:lnTo>
                  <a:lnTo>
                    <a:pt x="144790" y="113328"/>
                  </a:lnTo>
                  <a:lnTo>
                    <a:pt x="142789" y="116357"/>
                  </a:lnTo>
                  <a:lnTo>
                    <a:pt x="136903" y="116967"/>
                  </a:lnTo>
                  <a:lnTo>
                    <a:pt x="117700" y="110337"/>
                  </a:lnTo>
                  <a:lnTo>
                    <a:pt x="104813" y="110052"/>
                  </a:lnTo>
                  <a:lnTo>
                    <a:pt x="55455" y="108918"/>
                  </a:lnTo>
                  <a:lnTo>
                    <a:pt x="48301" y="111976"/>
                  </a:lnTo>
                  <a:lnTo>
                    <a:pt x="39453" y="111100"/>
                  </a:lnTo>
                  <a:lnTo>
                    <a:pt x="25308" y="115529"/>
                  </a:lnTo>
                  <a:lnTo>
                    <a:pt x="20927" y="94669"/>
                  </a:lnTo>
                  <a:lnTo>
                    <a:pt x="45234" y="95250"/>
                  </a:lnTo>
                  <a:lnTo>
                    <a:pt x="51654" y="91430"/>
                  </a:lnTo>
                  <a:lnTo>
                    <a:pt x="56436" y="91202"/>
                  </a:lnTo>
                  <a:lnTo>
                    <a:pt x="66332" y="84906"/>
                  </a:lnTo>
                  <a:lnTo>
                    <a:pt x="77791" y="90668"/>
                  </a:lnTo>
                  <a:lnTo>
                    <a:pt x="89392" y="91154"/>
                  </a:lnTo>
                  <a:lnTo>
                    <a:pt x="100955" y="85030"/>
                  </a:lnTo>
                  <a:lnTo>
                    <a:pt x="95555" y="77133"/>
                  </a:lnTo>
                  <a:lnTo>
                    <a:pt x="86754" y="81734"/>
                  </a:lnTo>
                  <a:lnTo>
                    <a:pt x="78467" y="81610"/>
                  </a:lnTo>
                  <a:lnTo>
                    <a:pt x="67923" y="74886"/>
                  </a:lnTo>
                  <a:lnTo>
                    <a:pt x="59455" y="75324"/>
                  </a:lnTo>
                  <a:lnTo>
                    <a:pt x="53426" y="817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8" name="Forme libre : forme 5797">
              <a:extLst>
                <a:ext uri="{FF2B5EF4-FFF2-40B4-BE49-F238E27FC236}">
                  <a16:creationId xmlns:a16="http://schemas.microsoft.com/office/drawing/2014/main" id="{D61E63FE-C707-7E96-7EFC-4F57CE3FB583}"/>
                </a:ext>
              </a:extLst>
            </p:cNvPr>
            <p:cNvSpPr/>
            <p:nvPr/>
          </p:nvSpPr>
          <p:spPr>
            <a:xfrm>
              <a:off x="6915369" y="4421271"/>
              <a:ext cx="271147" cy="366045"/>
            </a:xfrm>
            <a:custGeom>
              <a:avLst/>
              <a:gdLst>
                <a:gd name="connsiteX0" fmla="*/ 271148 w 271147"/>
                <a:gd name="connsiteY0" fmla="*/ 7496 h 366045"/>
                <a:gd name="connsiteX1" fmla="*/ 270548 w 271147"/>
                <a:gd name="connsiteY1" fmla="*/ 0 h 366045"/>
                <a:gd name="connsiteX2" fmla="*/ 260413 w 271147"/>
                <a:gd name="connsiteY2" fmla="*/ 67 h 366045"/>
                <a:gd name="connsiteX3" fmla="*/ 247774 w 271147"/>
                <a:gd name="connsiteY3" fmla="*/ 9353 h 366045"/>
                <a:gd name="connsiteX4" fmla="*/ 233619 w 271147"/>
                <a:gd name="connsiteY4" fmla="*/ 12077 h 366045"/>
                <a:gd name="connsiteX5" fmla="*/ 221313 w 271147"/>
                <a:gd name="connsiteY5" fmla="*/ 16097 h 366045"/>
                <a:gd name="connsiteX6" fmla="*/ 212779 w 271147"/>
                <a:gd name="connsiteY6" fmla="*/ 16640 h 366045"/>
                <a:gd name="connsiteX7" fmla="*/ 197568 w 271147"/>
                <a:gd name="connsiteY7" fmla="*/ 17583 h 366045"/>
                <a:gd name="connsiteX8" fmla="*/ 188023 w 271147"/>
                <a:gd name="connsiteY8" fmla="*/ 22527 h 366045"/>
                <a:gd name="connsiteX9" fmla="*/ 174784 w 271147"/>
                <a:gd name="connsiteY9" fmla="*/ 24308 h 366045"/>
                <a:gd name="connsiteX10" fmla="*/ 151276 w 271147"/>
                <a:gd name="connsiteY10" fmla="*/ 32699 h 366045"/>
                <a:gd name="connsiteX11" fmla="*/ 122205 w 271147"/>
                <a:gd name="connsiteY11" fmla="*/ 35900 h 366045"/>
                <a:gd name="connsiteX12" fmla="*/ 97031 w 271147"/>
                <a:gd name="connsiteY12" fmla="*/ 42805 h 366045"/>
                <a:gd name="connsiteX13" fmla="*/ 83772 w 271147"/>
                <a:gd name="connsiteY13" fmla="*/ 42719 h 366045"/>
                <a:gd name="connsiteX14" fmla="*/ 71723 w 271147"/>
                <a:gd name="connsiteY14" fmla="*/ 31413 h 366045"/>
                <a:gd name="connsiteX15" fmla="*/ 66484 w 271147"/>
                <a:gd name="connsiteY15" fmla="*/ 20241 h 366045"/>
                <a:gd name="connsiteX16" fmla="*/ 57798 w 271147"/>
                <a:gd name="connsiteY16" fmla="*/ 15249 h 366045"/>
                <a:gd name="connsiteX17" fmla="*/ 47958 w 271147"/>
                <a:gd name="connsiteY17" fmla="*/ 29718 h 366045"/>
                <a:gd name="connsiteX18" fmla="*/ 42138 w 271147"/>
                <a:gd name="connsiteY18" fmla="*/ 39291 h 366045"/>
                <a:gd name="connsiteX19" fmla="*/ 51997 w 271147"/>
                <a:gd name="connsiteY19" fmla="*/ 54140 h 366045"/>
                <a:gd name="connsiteX20" fmla="*/ 61846 w 271147"/>
                <a:gd name="connsiteY20" fmla="*/ 67103 h 366045"/>
                <a:gd name="connsiteX21" fmla="*/ 72047 w 271147"/>
                <a:gd name="connsiteY21" fmla="*/ 76695 h 366045"/>
                <a:gd name="connsiteX22" fmla="*/ 159362 w 271147"/>
                <a:gd name="connsiteY22" fmla="*/ 108547 h 366045"/>
                <a:gd name="connsiteX23" fmla="*/ 181832 w 271147"/>
                <a:gd name="connsiteY23" fmla="*/ 108375 h 366045"/>
                <a:gd name="connsiteX24" fmla="*/ 106356 w 271147"/>
                <a:gd name="connsiteY24" fmla="*/ 188538 h 366045"/>
                <a:gd name="connsiteX25" fmla="*/ 71571 w 271147"/>
                <a:gd name="connsiteY25" fmla="*/ 189709 h 366045"/>
                <a:gd name="connsiteX26" fmla="*/ 47767 w 271147"/>
                <a:gd name="connsiteY26" fmla="*/ 208464 h 366045"/>
                <a:gd name="connsiteX27" fmla="*/ 30642 w 271147"/>
                <a:gd name="connsiteY27" fmla="*/ 208959 h 366045"/>
                <a:gd name="connsiteX28" fmla="*/ 23336 w 271147"/>
                <a:gd name="connsiteY28" fmla="*/ 217341 h 366045"/>
                <a:gd name="connsiteX29" fmla="*/ 0 w 271147"/>
                <a:gd name="connsiteY29" fmla="*/ 247488 h 366045"/>
                <a:gd name="connsiteX30" fmla="*/ 314 w 271147"/>
                <a:gd name="connsiteY30" fmla="*/ 344148 h 366045"/>
                <a:gd name="connsiteX31" fmla="*/ 16135 w 271147"/>
                <a:gd name="connsiteY31" fmla="*/ 366046 h 366045"/>
                <a:gd name="connsiteX32" fmla="*/ 22164 w 271147"/>
                <a:gd name="connsiteY32" fmla="*/ 359759 h 366045"/>
                <a:gd name="connsiteX33" fmla="*/ 28317 w 271147"/>
                <a:gd name="connsiteY33" fmla="*/ 345767 h 366045"/>
                <a:gd name="connsiteX34" fmla="*/ 57550 w 271147"/>
                <a:gd name="connsiteY34" fmla="*/ 313630 h 366045"/>
                <a:gd name="connsiteX35" fmla="*/ 82439 w 271147"/>
                <a:gd name="connsiteY35" fmla="*/ 293456 h 366045"/>
                <a:gd name="connsiteX36" fmla="*/ 122396 w 271147"/>
                <a:gd name="connsiteY36" fmla="*/ 267110 h 366045"/>
                <a:gd name="connsiteX37" fmla="*/ 149114 w 271147"/>
                <a:gd name="connsiteY37" fmla="*/ 245611 h 366045"/>
                <a:gd name="connsiteX38" fmla="*/ 180527 w 271147"/>
                <a:gd name="connsiteY38" fmla="*/ 209350 h 366045"/>
                <a:gd name="connsiteX39" fmla="*/ 203330 w 271147"/>
                <a:gd name="connsiteY39" fmla="*/ 179546 h 366045"/>
                <a:gd name="connsiteX40" fmla="*/ 226247 w 271147"/>
                <a:gd name="connsiteY40" fmla="*/ 140436 h 366045"/>
                <a:gd name="connsiteX41" fmla="*/ 242764 w 271147"/>
                <a:gd name="connsiteY41" fmla="*/ 106270 h 366045"/>
                <a:gd name="connsiteX42" fmla="*/ 255613 w 271147"/>
                <a:gd name="connsiteY42" fmla="*/ 76295 h 366045"/>
                <a:gd name="connsiteX43" fmla="*/ 263137 w 271147"/>
                <a:gd name="connsiteY43" fmla="*/ 47196 h 366045"/>
                <a:gd name="connsiteX44" fmla="*/ 268786 w 271147"/>
                <a:gd name="connsiteY44" fmla="*/ 37443 h 366045"/>
                <a:gd name="connsiteX45" fmla="*/ 268681 w 271147"/>
                <a:gd name="connsiteY45" fmla="*/ 23241 h 36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71147" h="366045">
                  <a:moveTo>
                    <a:pt x="271148" y="7496"/>
                  </a:moveTo>
                  <a:lnTo>
                    <a:pt x="270548" y="0"/>
                  </a:lnTo>
                  <a:lnTo>
                    <a:pt x="260413" y="67"/>
                  </a:lnTo>
                  <a:lnTo>
                    <a:pt x="247774" y="9353"/>
                  </a:lnTo>
                  <a:lnTo>
                    <a:pt x="233619" y="12077"/>
                  </a:lnTo>
                  <a:lnTo>
                    <a:pt x="221313" y="16097"/>
                  </a:lnTo>
                  <a:lnTo>
                    <a:pt x="212779" y="16640"/>
                  </a:lnTo>
                  <a:lnTo>
                    <a:pt x="197568" y="17583"/>
                  </a:lnTo>
                  <a:lnTo>
                    <a:pt x="188023" y="22527"/>
                  </a:lnTo>
                  <a:lnTo>
                    <a:pt x="174784" y="24308"/>
                  </a:lnTo>
                  <a:lnTo>
                    <a:pt x="151276" y="32699"/>
                  </a:lnTo>
                  <a:lnTo>
                    <a:pt x="122205" y="35900"/>
                  </a:lnTo>
                  <a:lnTo>
                    <a:pt x="97031" y="42805"/>
                  </a:lnTo>
                  <a:lnTo>
                    <a:pt x="83772" y="42719"/>
                  </a:lnTo>
                  <a:lnTo>
                    <a:pt x="71723" y="31413"/>
                  </a:lnTo>
                  <a:lnTo>
                    <a:pt x="66484" y="20241"/>
                  </a:lnTo>
                  <a:lnTo>
                    <a:pt x="57798" y="15249"/>
                  </a:lnTo>
                  <a:lnTo>
                    <a:pt x="47958" y="29718"/>
                  </a:lnTo>
                  <a:lnTo>
                    <a:pt x="42138" y="39291"/>
                  </a:lnTo>
                  <a:lnTo>
                    <a:pt x="51997" y="54140"/>
                  </a:lnTo>
                  <a:lnTo>
                    <a:pt x="61846" y="67103"/>
                  </a:lnTo>
                  <a:lnTo>
                    <a:pt x="72047" y="76695"/>
                  </a:lnTo>
                  <a:lnTo>
                    <a:pt x="159362" y="108547"/>
                  </a:lnTo>
                  <a:lnTo>
                    <a:pt x="181832" y="108375"/>
                  </a:lnTo>
                  <a:lnTo>
                    <a:pt x="106356" y="188538"/>
                  </a:lnTo>
                  <a:lnTo>
                    <a:pt x="71571" y="189709"/>
                  </a:lnTo>
                  <a:lnTo>
                    <a:pt x="47767" y="208464"/>
                  </a:lnTo>
                  <a:lnTo>
                    <a:pt x="30642" y="208959"/>
                  </a:lnTo>
                  <a:lnTo>
                    <a:pt x="23336" y="217341"/>
                  </a:lnTo>
                  <a:lnTo>
                    <a:pt x="0" y="247488"/>
                  </a:lnTo>
                  <a:lnTo>
                    <a:pt x="314" y="344148"/>
                  </a:lnTo>
                  <a:lnTo>
                    <a:pt x="16135" y="366046"/>
                  </a:lnTo>
                  <a:lnTo>
                    <a:pt x="22164" y="359759"/>
                  </a:lnTo>
                  <a:lnTo>
                    <a:pt x="28317" y="345767"/>
                  </a:lnTo>
                  <a:lnTo>
                    <a:pt x="57550" y="313630"/>
                  </a:lnTo>
                  <a:lnTo>
                    <a:pt x="82439" y="293456"/>
                  </a:lnTo>
                  <a:lnTo>
                    <a:pt x="122396" y="267110"/>
                  </a:lnTo>
                  <a:lnTo>
                    <a:pt x="149114" y="245611"/>
                  </a:lnTo>
                  <a:lnTo>
                    <a:pt x="180527" y="209350"/>
                  </a:lnTo>
                  <a:lnTo>
                    <a:pt x="203330" y="179546"/>
                  </a:lnTo>
                  <a:lnTo>
                    <a:pt x="226247" y="140436"/>
                  </a:lnTo>
                  <a:lnTo>
                    <a:pt x="242764" y="106270"/>
                  </a:lnTo>
                  <a:lnTo>
                    <a:pt x="255613" y="76295"/>
                  </a:lnTo>
                  <a:lnTo>
                    <a:pt x="263137" y="47196"/>
                  </a:lnTo>
                  <a:lnTo>
                    <a:pt x="268786" y="37443"/>
                  </a:lnTo>
                  <a:lnTo>
                    <a:pt x="268681" y="232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9" name="Forme libre : forme 5798">
              <a:extLst>
                <a:ext uri="{FF2B5EF4-FFF2-40B4-BE49-F238E27FC236}">
                  <a16:creationId xmlns:a16="http://schemas.microsoft.com/office/drawing/2014/main" id="{4CFCEB54-1291-F8FE-75A2-FA4472B408D6}"/>
                </a:ext>
              </a:extLst>
            </p:cNvPr>
            <p:cNvSpPr/>
            <p:nvPr/>
          </p:nvSpPr>
          <p:spPr>
            <a:xfrm>
              <a:off x="4270714" y="4582519"/>
              <a:ext cx="109137" cy="111909"/>
            </a:xfrm>
            <a:custGeom>
              <a:avLst/>
              <a:gdLst>
                <a:gd name="connsiteX0" fmla="*/ 23965 w 109137"/>
                <a:gd name="connsiteY0" fmla="*/ 1391 h 111909"/>
                <a:gd name="connsiteX1" fmla="*/ 55959 w 109137"/>
                <a:gd name="connsiteY1" fmla="*/ 6734 h 111909"/>
                <a:gd name="connsiteX2" fmla="*/ 58836 w 109137"/>
                <a:gd name="connsiteY2" fmla="*/ 1924 h 111909"/>
                <a:gd name="connsiteX3" fmla="*/ 80429 w 109137"/>
                <a:gd name="connsiteY3" fmla="*/ 0 h 111909"/>
                <a:gd name="connsiteX4" fmla="*/ 109138 w 109137"/>
                <a:gd name="connsiteY4" fmla="*/ 7163 h 111909"/>
                <a:gd name="connsiteX5" fmla="*/ 95240 w 109137"/>
                <a:gd name="connsiteY5" fmla="*/ 30071 h 111909"/>
                <a:gd name="connsiteX6" fmla="*/ 97355 w 109137"/>
                <a:gd name="connsiteY6" fmla="*/ 48282 h 111909"/>
                <a:gd name="connsiteX7" fmla="*/ 107842 w 109137"/>
                <a:gd name="connsiteY7" fmla="*/ 64037 h 111909"/>
                <a:gd name="connsiteX8" fmla="*/ 103165 w 109137"/>
                <a:gd name="connsiteY8" fmla="*/ 75476 h 111909"/>
                <a:gd name="connsiteX9" fmla="*/ 100822 w 109137"/>
                <a:gd name="connsiteY9" fmla="*/ 87621 h 111909"/>
                <a:gd name="connsiteX10" fmla="*/ 94012 w 109137"/>
                <a:gd name="connsiteY10" fmla="*/ 98793 h 111909"/>
                <a:gd name="connsiteX11" fmla="*/ 78715 w 109137"/>
                <a:gd name="connsiteY11" fmla="*/ 93164 h 111909"/>
                <a:gd name="connsiteX12" fmla="*/ 66094 w 109137"/>
                <a:gd name="connsiteY12" fmla="*/ 95879 h 111909"/>
                <a:gd name="connsiteX13" fmla="*/ 55321 w 109137"/>
                <a:gd name="connsiteY13" fmla="*/ 93516 h 111909"/>
                <a:gd name="connsiteX14" fmla="*/ 52654 w 109137"/>
                <a:gd name="connsiteY14" fmla="*/ 101203 h 111909"/>
                <a:gd name="connsiteX15" fmla="*/ 57131 w 109137"/>
                <a:gd name="connsiteY15" fmla="*/ 106480 h 111909"/>
                <a:gd name="connsiteX16" fmla="*/ 54731 w 109137"/>
                <a:gd name="connsiteY16" fmla="*/ 111909 h 111909"/>
                <a:gd name="connsiteX17" fmla="*/ 40205 w 109137"/>
                <a:gd name="connsiteY17" fmla="*/ 109737 h 111909"/>
                <a:gd name="connsiteX18" fmla="*/ 23898 w 109137"/>
                <a:gd name="connsiteY18" fmla="*/ 86649 h 111909"/>
                <a:gd name="connsiteX19" fmla="*/ 20393 w 109137"/>
                <a:gd name="connsiteY19" fmla="*/ 71657 h 111909"/>
                <a:gd name="connsiteX20" fmla="*/ 11840 w 109137"/>
                <a:gd name="connsiteY20" fmla="*/ 71628 h 111909"/>
                <a:gd name="connsiteX21" fmla="*/ 0 w 109137"/>
                <a:gd name="connsiteY21" fmla="*/ 52321 h 111909"/>
                <a:gd name="connsiteX22" fmla="*/ 4924 w 109137"/>
                <a:gd name="connsiteY22" fmla="*/ 38595 h 111909"/>
                <a:gd name="connsiteX23" fmla="*/ 3486 w 109137"/>
                <a:gd name="connsiteY23" fmla="*/ 32318 h 111909"/>
                <a:gd name="connsiteX24" fmla="*/ 19698 w 109137"/>
                <a:gd name="connsiteY24" fmla="*/ 25365 h 11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9137" h="111909">
                  <a:moveTo>
                    <a:pt x="23965" y="1391"/>
                  </a:moveTo>
                  <a:lnTo>
                    <a:pt x="55959" y="6734"/>
                  </a:lnTo>
                  <a:lnTo>
                    <a:pt x="58836" y="1924"/>
                  </a:lnTo>
                  <a:lnTo>
                    <a:pt x="80429" y="0"/>
                  </a:lnTo>
                  <a:lnTo>
                    <a:pt x="109138" y="7163"/>
                  </a:lnTo>
                  <a:lnTo>
                    <a:pt x="95240" y="30071"/>
                  </a:lnTo>
                  <a:lnTo>
                    <a:pt x="97355" y="48282"/>
                  </a:lnTo>
                  <a:lnTo>
                    <a:pt x="107842" y="64037"/>
                  </a:lnTo>
                  <a:lnTo>
                    <a:pt x="103165" y="75476"/>
                  </a:lnTo>
                  <a:lnTo>
                    <a:pt x="100822" y="87621"/>
                  </a:lnTo>
                  <a:lnTo>
                    <a:pt x="94012" y="98793"/>
                  </a:lnTo>
                  <a:lnTo>
                    <a:pt x="78715" y="93164"/>
                  </a:lnTo>
                  <a:lnTo>
                    <a:pt x="66094" y="95879"/>
                  </a:lnTo>
                  <a:lnTo>
                    <a:pt x="55321" y="93516"/>
                  </a:lnTo>
                  <a:lnTo>
                    <a:pt x="52654" y="101203"/>
                  </a:lnTo>
                  <a:lnTo>
                    <a:pt x="57131" y="106480"/>
                  </a:lnTo>
                  <a:lnTo>
                    <a:pt x="54731" y="111909"/>
                  </a:lnTo>
                  <a:lnTo>
                    <a:pt x="40205" y="109737"/>
                  </a:lnTo>
                  <a:lnTo>
                    <a:pt x="23898" y="86649"/>
                  </a:lnTo>
                  <a:lnTo>
                    <a:pt x="20393" y="71657"/>
                  </a:lnTo>
                  <a:lnTo>
                    <a:pt x="11840" y="71628"/>
                  </a:lnTo>
                  <a:lnTo>
                    <a:pt x="0" y="52321"/>
                  </a:lnTo>
                  <a:lnTo>
                    <a:pt x="4924" y="38595"/>
                  </a:lnTo>
                  <a:lnTo>
                    <a:pt x="3486" y="32318"/>
                  </a:lnTo>
                  <a:lnTo>
                    <a:pt x="19698" y="253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0" name="Forme libre : forme 5799">
              <a:extLst>
                <a:ext uri="{FF2B5EF4-FFF2-40B4-BE49-F238E27FC236}">
                  <a16:creationId xmlns:a16="http://schemas.microsoft.com/office/drawing/2014/main" id="{7C6D73FB-E759-E6FB-DF53-083AA4505F93}"/>
                </a:ext>
              </a:extLst>
            </p:cNvPr>
            <p:cNvSpPr/>
            <p:nvPr/>
          </p:nvSpPr>
          <p:spPr>
            <a:xfrm>
              <a:off x="6458845" y="4415203"/>
              <a:ext cx="304752" cy="234296"/>
            </a:xfrm>
            <a:custGeom>
              <a:avLst/>
              <a:gdLst>
                <a:gd name="connsiteX0" fmla="*/ 269100 w 304752"/>
                <a:gd name="connsiteY0" fmla="*/ 75219 h 234296"/>
                <a:gd name="connsiteX1" fmla="*/ 269414 w 304752"/>
                <a:gd name="connsiteY1" fmla="*/ 96174 h 234296"/>
                <a:gd name="connsiteX2" fmla="*/ 265423 w 304752"/>
                <a:gd name="connsiteY2" fmla="*/ 104365 h 234296"/>
                <a:gd name="connsiteX3" fmla="*/ 251241 w 304752"/>
                <a:gd name="connsiteY3" fmla="*/ 105023 h 234296"/>
                <a:gd name="connsiteX4" fmla="*/ 242145 w 304752"/>
                <a:gd name="connsiteY4" fmla="*/ 120282 h 234296"/>
                <a:gd name="connsiteX5" fmla="*/ 258556 w 304752"/>
                <a:gd name="connsiteY5" fmla="*/ 122206 h 234296"/>
                <a:gd name="connsiteX6" fmla="*/ 272082 w 304752"/>
                <a:gd name="connsiteY6" fmla="*/ 135246 h 234296"/>
                <a:gd name="connsiteX7" fmla="*/ 276768 w 304752"/>
                <a:gd name="connsiteY7" fmla="*/ 145933 h 234296"/>
                <a:gd name="connsiteX8" fmla="*/ 288960 w 304752"/>
                <a:gd name="connsiteY8" fmla="*/ 152133 h 234296"/>
                <a:gd name="connsiteX9" fmla="*/ 304752 w 304752"/>
                <a:gd name="connsiteY9" fmla="*/ 181156 h 234296"/>
                <a:gd name="connsiteX10" fmla="*/ 286645 w 304752"/>
                <a:gd name="connsiteY10" fmla="*/ 198711 h 234296"/>
                <a:gd name="connsiteX11" fmla="*/ 270215 w 304752"/>
                <a:gd name="connsiteY11" fmla="*/ 214608 h 234296"/>
                <a:gd name="connsiteX12" fmla="*/ 253794 w 304752"/>
                <a:gd name="connsiteY12" fmla="*/ 226838 h 234296"/>
                <a:gd name="connsiteX13" fmla="*/ 235001 w 304752"/>
                <a:gd name="connsiteY13" fmla="*/ 226771 h 234296"/>
                <a:gd name="connsiteX14" fmla="*/ 213503 w 304752"/>
                <a:gd name="connsiteY14" fmla="*/ 233001 h 234296"/>
                <a:gd name="connsiteX15" fmla="*/ 196520 w 304752"/>
                <a:gd name="connsiteY15" fmla="*/ 227057 h 234296"/>
                <a:gd name="connsiteX16" fmla="*/ 185528 w 304752"/>
                <a:gd name="connsiteY16" fmla="*/ 234296 h 234296"/>
                <a:gd name="connsiteX17" fmla="*/ 162010 w 304752"/>
                <a:gd name="connsiteY17" fmla="*/ 216627 h 234296"/>
                <a:gd name="connsiteX18" fmla="*/ 155667 w 304752"/>
                <a:gd name="connsiteY18" fmla="*/ 205274 h 234296"/>
                <a:gd name="connsiteX19" fmla="*/ 140798 w 304752"/>
                <a:gd name="connsiteY19" fmla="*/ 210893 h 234296"/>
                <a:gd name="connsiteX20" fmla="*/ 128444 w 304752"/>
                <a:gd name="connsiteY20" fmla="*/ 209150 h 234296"/>
                <a:gd name="connsiteX21" fmla="*/ 121301 w 304752"/>
                <a:gd name="connsiteY21" fmla="*/ 213617 h 234296"/>
                <a:gd name="connsiteX22" fmla="*/ 109309 w 304752"/>
                <a:gd name="connsiteY22" fmla="*/ 210388 h 234296"/>
                <a:gd name="connsiteX23" fmla="*/ 93126 w 304752"/>
                <a:gd name="connsiteY23" fmla="*/ 188414 h 234296"/>
                <a:gd name="connsiteX24" fmla="*/ 88830 w 304752"/>
                <a:gd name="connsiteY24" fmla="*/ 179965 h 234296"/>
                <a:gd name="connsiteX25" fmla="*/ 68866 w 304752"/>
                <a:gd name="connsiteY25" fmla="*/ 169412 h 234296"/>
                <a:gd name="connsiteX26" fmla="*/ 62122 w 304752"/>
                <a:gd name="connsiteY26" fmla="*/ 153400 h 234296"/>
                <a:gd name="connsiteX27" fmla="*/ 50997 w 304752"/>
                <a:gd name="connsiteY27" fmla="*/ 141837 h 234296"/>
                <a:gd name="connsiteX28" fmla="*/ 33033 w 304752"/>
                <a:gd name="connsiteY28" fmla="*/ 127911 h 234296"/>
                <a:gd name="connsiteX29" fmla="*/ 32785 w 304752"/>
                <a:gd name="connsiteY29" fmla="*/ 119206 h 234296"/>
                <a:gd name="connsiteX30" fmla="*/ 18164 w 304752"/>
                <a:gd name="connsiteY30" fmla="*/ 108385 h 234296"/>
                <a:gd name="connsiteX31" fmla="*/ 0 w 304752"/>
                <a:gd name="connsiteY31" fmla="*/ 97908 h 234296"/>
                <a:gd name="connsiteX32" fmla="*/ 8191 w 304752"/>
                <a:gd name="connsiteY32" fmla="*/ 94983 h 234296"/>
                <a:gd name="connsiteX33" fmla="*/ 17364 w 304752"/>
                <a:gd name="connsiteY33" fmla="*/ 89916 h 234296"/>
                <a:gd name="connsiteX34" fmla="*/ 24241 w 304752"/>
                <a:gd name="connsiteY34" fmla="*/ 65913 h 234296"/>
                <a:gd name="connsiteX35" fmla="*/ 31575 w 304752"/>
                <a:gd name="connsiteY35" fmla="*/ 53416 h 234296"/>
                <a:gd name="connsiteX36" fmla="*/ 50835 w 304752"/>
                <a:gd name="connsiteY36" fmla="*/ 49721 h 234296"/>
                <a:gd name="connsiteX37" fmla="*/ 55416 w 304752"/>
                <a:gd name="connsiteY37" fmla="*/ 57122 h 234296"/>
                <a:gd name="connsiteX38" fmla="*/ 69171 w 304752"/>
                <a:gd name="connsiteY38" fmla="*/ 72838 h 234296"/>
                <a:gd name="connsiteX39" fmla="*/ 76515 w 304752"/>
                <a:gd name="connsiteY39" fmla="*/ 75143 h 234296"/>
                <a:gd name="connsiteX40" fmla="*/ 86134 w 304752"/>
                <a:gd name="connsiteY40" fmla="*/ 70533 h 234296"/>
                <a:gd name="connsiteX41" fmla="*/ 105394 w 304752"/>
                <a:gd name="connsiteY41" fmla="*/ 71457 h 234296"/>
                <a:gd name="connsiteX42" fmla="*/ 109061 w 304752"/>
                <a:gd name="connsiteY42" fmla="*/ 77000 h 234296"/>
                <a:gd name="connsiteX43" fmla="*/ 135655 w 304752"/>
                <a:gd name="connsiteY43" fmla="*/ 77000 h 234296"/>
                <a:gd name="connsiteX44" fmla="*/ 136570 w 304752"/>
                <a:gd name="connsiteY44" fmla="*/ 71457 h 234296"/>
                <a:gd name="connsiteX45" fmla="*/ 150323 w 304752"/>
                <a:gd name="connsiteY45" fmla="*/ 66370 h 234296"/>
                <a:gd name="connsiteX46" fmla="*/ 153076 w 304752"/>
                <a:gd name="connsiteY46" fmla="*/ 58512 h 234296"/>
                <a:gd name="connsiteX47" fmla="*/ 163163 w 304752"/>
                <a:gd name="connsiteY47" fmla="*/ 52950 h 234296"/>
                <a:gd name="connsiteX48" fmla="*/ 185633 w 304752"/>
                <a:gd name="connsiteY48" fmla="*/ 68685 h 234296"/>
                <a:gd name="connsiteX49" fmla="*/ 199387 w 304752"/>
                <a:gd name="connsiteY49" fmla="*/ 65913 h 234296"/>
                <a:gd name="connsiteX50" fmla="*/ 212684 w 304752"/>
                <a:gd name="connsiteY50" fmla="*/ 46472 h 234296"/>
                <a:gd name="connsiteX51" fmla="*/ 227352 w 304752"/>
                <a:gd name="connsiteY51" fmla="*/ 31633 h 234296"/>
                <a:gd name="connsiteX52" fmla="*/ 225057 w 304752"/>
                <a:gd name="connsiteY52" fmla="*/ 15373 h 234296"/>
                <a:gd name="connsiteX53" fmla="*/ 218647 w 304752"/>
                <a:gd name="connsiteY53" fmla="*/ 7458 h 234296"/>
                <a:gd name="connsiteX54" fmla="*/ 234686 w 304752"/>
                <a:gd name="connsiteY54" fmla="*/ 6058 h 234296"/>
                <a:gd name="connsiteX55" fmla="*/ 236525 w 304752"/>
                <a:gd name="connsiteY55" fmla="*/ 0 h 234296"/>
                <a:gd name="connsiteX56" fmla="*/ 248898 w 304752"/>
                <a:gd name="connsiteY56" fmla="*/ 1867 h 234296"/>
                <a:gd name="connsiteX57" fmla="*/ 245688 w 304752"/>
                <a:gd name="connsiteY57" fmla="*/ 21879 h 234296"/>
                <a:gd name="connsiteX58" fmla="*/ 248898 w 304752"/>
                <a:gd name="connsiteY58" fmla="*/ 41377 h 234296"/>
                <a:gd name="connsiteX59" fmla="*/ 262652 w 304752"/>
                <a:gd name="connsiteY59" fmla="*/ 52026 h 234296"/>
                <a:gd name="connsiteX60" fmla="*/ 265862 w 304752"/>
                <a:gd name="connsiteY60" fmla="*/ 61284 h 234296"/>
                <a:gd name="connsiteX61" fmla="*/ 265405 w 304752"/>
                <a:gd name="connsiteY61" fmla="*/ 74686 h 23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04752" h="234296">
                  <a:moveTo>
                    <a:pt x="269100" y="75219"/>
                  </a:moveTo>
                  <a:lnTo>
                    <a:pt x="269414" y="96174"/>
                  </a:lnTo>
                  <a:lnTo>
                    <a:pt x="265423" y="104365"/>
                  </a:lnTo>
                  <a:lnTo>
                    <a:pt x="251241" y="105023"/>
                  </a:lnTo>
                  <a:lnTo>
                    <a:pt x="242145" y="120282"/>
                  </a:lnTo>
                  <a:lnTo>
                    <a:pt x="258556" y="122206"/>
                  </a:lnTo>
                  <a:lnTo>
                    <a:pt x="272082" y="135246"/>
                  </a:lnTo>
                  <a:lnTo>
                    <a:pt x="276768" y="145933"/>
                  </a:lnTo>
                  <a:lnTo>
                    <a:pt x="288960" y="152133"/>
                  </a:lnTo>
                  <a:lnTo>
                    <a:pt x="304752" y="181156"/>
                  </a:lnTo>
                  <a:lnTo>
                    <a:pt x="286645" y="198711"/>
                  </a:lnTo>
                  <a:lnTo>
                    <a:pt x="270215" y="214608"/>
                  </a:lnTo>
                  <a:lnTo>
                    <a:pt x="253794" y="226838"/>
                  </a:lnTo>
                  <a:lnTo>
                    <a:pt x="235001" y="226771"/>
                  </a:lnTo>
                  <a:lnTo>
                    <a:pt x="213503" y="233001"/>
                  </a:lnTo>
                  <a:lnTo>
                    <a:pt x="196520" y="227057"/>
                  </a:lnTo>
                  <a:lnTo>
                    <a:pt x="185528" y="234296"/>
                  </a:lnTo>
                  <a:lnTo>
                    <a:pt x="162010" y="216627"/>
                  </a:lnTo>
                  <a:lnTo>
                    <a:pt x="155667" y="205274"/>
                  </a:lnTo>
                  <a:lnTo>
                    <a:pt x="140798" y="210893"/>
                  </a:lnTo>
                  <a:lnTo>
                    <a:pt x="128444" y="209150"/>
                  </a:lnTo>
                  <a:lnTo>
                    <a:pt x="121301" y="213617"/>
                  </a:lnTo>
                  <a:lnTo>
                    <a:pt x="109309" y="210388"/>
                  </a:lnTo>
                  <a:lnTo>
                    <a:pt x="93126" y="188414"/>
                  </a:lnTo>
                  <a:lnTo>
                    <a:pt x="88830" y="179965"/>
                  </a:lnTo>
                  <a:lnTo>
                    <a:pt x="68866" y="169412"/>
                  </a:lnTo>
                  <a:lnTo>
                    <a:pt x="62122" y="153400"/>
                  </a:lnTo>
                  <a:lnTo>
                    <a:pt x="50997" y="141837"/>
                  </a:lnTo>
                  <a:lnTo>
                    <a:pt x="33033" y="127911"/>
                  </a:lnTo>
                  <a:lnTo>
                    <a:pt x="32785" y="119206"/>
                  </a:lnTo>
                  <a:lnTo>
                    <a:pt x="18164" y="108385"/>
                  </a:lnTo>
                  <a:lnTo>
                    <a:pt x="0" y="97908"/>
                  </a:lnTo>
                  <a:lnTo>
                    <a:pt x="8191" y="94983"/>
                  </a:lnTo>
                  <a:lnTo>
                    <a:pt x="17364" y="89916"/>
                  </a:lnTo>
                  <a:lnTo>
                    <a:pt x="24241" y="65913"/>
                  </a:lnTo>
                  <a:lnTo>
                    <a:pt x="31575" y="53416"/>
                  </a:lnTo>
                  <a:lnTo>
                    <a:pt x="50835" y="49721"/>
                  </a:lnTo>
                  <a:lnTo>
                    <a:pt x="55416" y="57122"/>
                  </a:lnTo>
                  <a:lnTo>
                    <a:pt x="69171" y="72838"/>
                  </a:lnTo>
                  <a:lnTo>
                    <a:pt x="76515" y="75143"/>
                  </a:lnTo>
                  <a:lnTo>
                    <a:pt x="86134" y="70533"/>
                  </a:lnTo>
                  <a:lnTo>
                    <a:pt x="105394" y="71457"/>
                  </a:lnTo>
                  <a:lnTo>
                    <a:pt x="109061" y="77000"/>
                  </a:lnTo>
                  <a:lnTo>
                    <a:pt x="135655" y="77000"/>
                  </a:lnTo>
                  <a:lnTo>
                    <a:pt x="136570" y="71457"/>
                  </a:lnTo>
                  <a:lnTo>
                    <a:pt x="150323" y="66370"/>
                  </a:lnTo>
                  <a:lnTo>
                    <a:pt x="153076" y="58512"/>
                  </a:lnTo>
                  <a:lnTo>
                    <a:pt x="163163" y="52950"/>
                  </a:lnTo>
                  <a:lnTo>
                    <a:pt x="185633" y="68685"/>
                  </a:lnTo>
                  <a:lnTo>
                    <a:pt x="199387" y="65913"/>
                  </a:lnTo>
                  <a:lnTo>
                    <a:pt x="212684" y="46472"/>
                  </a:lnTo>
                  <a:lnTo>
                    <a:pt x="227352" y="31633"/>
                  </a:lnTo>
                  <a:lnTo>
                    <a:pt x="225057" y="15373"/>
                  </a:lnTo>
                  <a:lnTo>
                    <a:pt x="218647" y="7458"/>
                  </a:lnTo>
                  <a:lnTo>
                    <a:pt x="234686" y="6058"/>
                  </a:lnTo>
                  <a:lnTo>
                    <a:pt x="236525" y="0"/>
                  </a:lnTo>
                  <a:lnTo>
                    <a:pt x="248898" y="1867"/>
                  </a:lnTo>
                  <a:lnTo>
                    <a:pt x="245688" y="21879"/>
                  </a:lnTo>
                  <a:lnTo>
                    <a:pt x="248898" y="41377"/>
                  </a:lnTo>
                  <a:lnTo>
                    <a:pt x="262652" y="52026"/>
                  </a:lnTo>
                  <a:lnTo>
                    <a:pt x="265862" y="61284"/>
                  </a:lnTo>
                  <a:lnTo>
                    <a:pt x="265405" y="746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1" name="Forme libre : forme 5800">
              <a:extLst>
                <a:ext uri="{FF2B5EF4-FFF2-40B4-BE49-F238E27FC236}">
                  <a16:creationId xmlns:a16="http://schemas.microsoft.com/office/drawing/2014/main" id="{696253B2-CE34-8C97-3E9E-AA4A300DB12A}"/>
                </a:ext>
              </a:extLst>
            </p:cNvPr>
            <p:cNvSpPr/>
            <p:nvPr/>
          </p:nvSpPr>
          <p:spPr>
            <a:xfrm>
              <a:off x="3414740" y="4355853"/>
              <a:ext cx="63350" cy="34842"/>
            </a:xfrm>
            <a:custGeom>
              <a:avLst/>
              <a:gdLst>
                <a:gd name="connsiteX0" fmla="*/ 61493 w 63350"/>
                <a:gd name="connsiteY0" fmla="*/ 28423 h 34842"/>
                <a:gd name="connsiteX1" fmla="*/ 58531 w 63350"/>
                <a:gd name="connsiteY1" fmla="*/ 34842 h 34842"/>
                <a:gd name="connsiteX2" fmla="*/ 43062 w 63350"/>
                <a:gd name="connsiteY2" fmla="*/ 34433 h 34842"/>
                <a:gd name="connsiteX3" fmla="*/ 33442 w 63350"/>
                <a:gd name="connsiteY3" fmla="*/ 31823 h 34842"/>
                <a:gd name="connsiteX4" fmla="*/ 22403 w 63350"/>
                <a:gd name="connsiteY4" fmla="*/ 26403 h 34842"/>
                <a:gd name="connsiteX5" fmla="*/ 7563 w 63350"/>
                <a:gd name="connsiteY5" fmla="*/ 24708 h 34842"/>
                <a:gd name="connsiteX6" fmla="*/ 0 w 63350"/>
                <a:gd name="connsiteY6" fmla="*/ 18840 h 34842"/>
                <a:gd name="connsiteX7" fmla="*/ 829 w 63350"/>
                <a:gd name="connsiteY7" fmla="*/ 14840 h 34842"/>
                <a:gd name="connsiteX8" fmla="*/ 9982 w 63350"/>
                <a:gd name="connsiteY8" fmla="*/ 7934 h 34842"/>
                <a:gd name="connsiteX9" fmla="*/ 14992 w 63350"/>
                <a:gd name="connsiteY9" fmla="*/ 4915 h 34842"/>
                <a:gd name="connsiteX10" fmla="*/ 13573 w 63350"/>
                <a:gd name="connsiteY10" fmla="*/ 1686 h 34842"/>
                <a:gd name="connsiteX11" fmla="*/ 19821 w 63350"/>
                <a:gd name="connsiteY11" fmla="*/ 0 h 34842"/>
                <a:gd name="connsiteX12" fmla="*/ 27699 w 63350"/>
                <a:gd name="connsiteY12" fmla="*/ 2305 h 34842"/>
                <a:gd name="connsiteX13" fmla="*/ 33452 w 63350"/>
                <a:gd name="connsiteY13" fmla="*/ 7763 h 34842"/>
                <a:gd name="connsiteX14" fmla="*/ 41519 w 63350"/>
                <a:gd name="connsiteY14" fmla="*/ 12154 h 34842"/>
                <a:gd name="connsiteX15" fmla="*/ 42510 w 63350"/>
                <a:gd name="connsiteY15" fmla="*/ 15830 h 34842"/>
                <a:gd name="connsiteX16" fmla="*/ 54226 w 63350"/>
                <a:gd name="connsiteY16" fmla="*/ 12582 h 34842"/>
                <a:gd name="connsiteX17" fmla="*/ 59722 w 63350"/>
                <a:gd name="connsiteY17" fmla="*/ 14526 h 34842"/>
                <a:gd name="connsiteX18" fmla="*/ 63351 w 63350"/>
                <a:gd name="connsiteY18" fmla="*/ 17488 h 3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3350" h="34842">
                  <a:moveTo>
                    <a:pt x="61493" y="28423"/>
                  </a:moveTo>
                  <a:lnTo>
                    <a:pt x="58531" y="34842"/>
                  </a:lnTo>
                  <a:lnTo>
                    <a:pt x="43062" y="34433"/>
                  </a:lnTo>
                  <a:lnTo>
                    <a:pt x="33442" y="31823"/>
                  </a:lnTo>
                  <a:lnTo>
                    <a:pt x="22403" y="26403"/>
                  </a:lnTo>
                  <a:lnTo>
                    <a:pt x="7563" y="24708"/>
                  </a:lnTo>
                  <a:lnTo>
                    <a:pt x="0" y="18840"/>
                  </a:lnTo>
                  <a:lnTo>
                    <a:pt x="829" y="14840"/>
                  </a:lnTo>
                  <a:lnTo>
                    <a:pt x="9982" y="7934"/>
                  </a:lnTo>
                  <a:lnTo>
                    <a:pt x="14992" y="4915"/>
                  </a:lnTo>
                  <a:lnTo>
                    <a:pt x="13573" y="1686"/>
                  </a:lnTo>
                  <a:lnTo>
                    <a:pt x="19821" y="0"/>
                  </a:lnTo>
                  <a:lnTo>
                    <a:pt x="27699" y="2305"/>
                  </a:lnTo>
                  <a:lnTo>
                    <a:pt x="33452" y="7763"/>
                  </a:lnTo>
                  <a:lnTo>
                    <a:pt x="41519" y="12154"/>
                  </a:lnTo>
                  <a:lnTo>
                    <a:pt x="42510" y="15830"/>
                  </a:lnTo>
                  <a:lnTo>
                    <a:pt x="54226" y="12582"/>
                  </a:lnTo>
                  <a:lnTo>
                    <a:pt x="59722" y="14526"/>
                  </a:lnTo>
                  <a:lnTo>
                    <a:pt x="63351" y="174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2" name="Forme libre : forme 5801">
              <a:extLst>
                <a:ext uri="{FF2B5EF4-FFF2-40B4-BE49-F238E27FC236}">
                  <a16:creationId xmlns:a16="http://schemas.microsoft.com/office/drawing/2014/main" id="{0BFC981F-F8BE-6013-896A-9DCB5E76D4B3}"/>
                </a:ext>
              </a:extLst>
            </p:cNvPr>
            <p:cNvSpPr/>
            <p:nvPr/>
          </p:nvSpPr>
          <p:spPr>
            <a:xfrm>
              <a:off x="6774351" y="3676168"/>
              <a:ext cx="177564" cy="159238"/>
            </a:xfrm>
            <a:custGeom>
              <a:avLst/>
              <a:gdLst>
                <a:gd name="connsiteX0" fmla="*/ 82562 w 177564"/>
                <a:gd name="connsiteY0" fmla="*/ 125521 h 159238"/>
                <a:gd name="connsiteX1" fmla="*/ 30261 w 177564"/>
                <a:gd name="connsiteY1" fmla="*/ 159239 h 159238"/>
                <a:gd name="connsiteX2" fmla="*/ 505 w 177564"/>
                <a:gd name="connsiteY2" fmla="*/ 146752 h 159238"/>
                <a:gd name="connsiteX3" fmla="*/ 0 w 177564"/>
                <a:gd name="connsiteY3" fmla="*/ 146533 h 159238"/>
                <a:gd name="connsiteX4" fmla="*/ 3619 w 177564"/>
                <a:gd name="connsiteY4" fmla="*/ 141722 h 159238"/>
                <a:gd name="connsiteX5" fmla="*/ 3210 w 177564"/>
                <a:gd name="connsiteY5" fmla="*/ 128740 h 159238"/>
                <a:gd name="connsiteX6" fmla="*/ 9763 w 177564"/>
                <a:gd name="connsiteY6" fmla="*/ 111281 h 159238"/>
                <a:gd name="connsiteX7" fmla="*/ 24326 w 177564"/>
                <a:gd name="connsiteY7" fmla="*/ 99193 h 159238"/>
                <a:gd name="connsiteX8" fmla="*/ 19955 w 177564"/>
                <a:gd name="connsiteY8" fmla="*/ 86554 h 159238"/>
                <a:gd name="connsiteX9" fmla="*/ 7944 w 177564"/>
                <a:gd name="connsiteY9" fmla="*/ 84906 h 159238"/>
                <a:gd name="connsiteX10" fmla="*/ 5448 w 177564"/>
                <a:gd name="connsiteY10" fmla="*/ 60065 h 159238"/>
                <a:gd name="connsiteX11" fmla="*/ 11982 w 177564"/>
                <a:gd name="connsiteY11" fmla="*/ 46615 h 159238"/>
                <a:gd name="connsiteX12" fmla="*/ 19135 w 177564"/>
                <a:gd name="connsiteY12" fmla="*/ 39414 h 159238"/>
                <a:gd name="connsiteX13" fmla="*/ 26289 w 177564"/>
                <a:gd name="connsiteY13" fmla="*/ 32204 h 159238"/>
                <a:gd name="connsiteX14" fmla="*/ 27737 w 177564"/>
                <a:gd name="connsiteY14" fmla="*/ 13735 h 159238"/>
                <a:gd name="connsiteX15" fmla="*/ 36480 w 177564"/>
                <a:gd name="connsiteY15" fmla="*/ 20193 h 159238"/>
                <a:gd name="connsiteX16" fmla="*/ 65884 w 177564"/>
                <a:gd name="connsiteY16" fmla="*/ 10954 h 159238"/>
                <a:gd name="connsiteX17" fmla="*/ 80096 w 177564"/>
                <a:gd name="connsiteY17" fmla="*/ 17212 h 159238"/>
                <a:gd name="connsiteX18" fmla="*/ 102060 w 177564"/>
                <a:gd name="connsiteY18" fmla="*/ 17107 h 159238"/>
                <a:gd name="connsiteX19" fmla="*/ 132797 w 177564"/>
                <a:gd name="connsiteY19" fmla="*/ 4629 h 159238"/>
                <a:gd name="connsiteX20" fmla="*/ 147190 w 177564"/>
                <a:gd name="connsiteY20" fmla="*/ 5191 h 159238"/>
                <a:gd name="connsiteX21" fmla="*/ 177565 w 177564"/>
                <a:gd name="connsiteY21" fmla="*/ 0 h 159238"/>
                <a:gd name="connsiteX22" fmla="*/ 163877 w 177564"/>
                <a:gd name="connsiteY22" fmla="*/ 20764 h 159238"/>
                <a:gd name="connsiteX23" fmla="*/ 149257 w 177564"/>
                <a:gd name="connsiteY23" fmla="*/ 28927 h 159238"/>
                <a:gd name="connsiteX24" fmla="*/ 151781 w 177564"/>
                <a:gd name="connsiteY24" fmla="*/ 52940 h 159238"/>
                <a:gd name="connsiteX25" fmla="*/ 141684 w 177564"/>
                <a:gd name="connsiteY25" fmla="*/ 92192 h 15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7564" h="159238">
                  <a:moveTo>
                    <a:pt x="82562" y="125521"/>
                  </a:moveTo>
                  <a:lnTo>
                    <a:pt x="30261" y="159239"/>
                  </a:lnTo>
                  <a:lnTo>
                    <a:pt x="505" y="146752"/>
                  </a:lnTo>
                  <a:lnTo>
                    <a:pt x="0" y="146533"/>
                  </a:lnTo>
                  <a:lnTo>
                    <a:pt x="3619" y="141722"/>
                  </a:lnTo>
                  <a:lnTo>
                    <a:pt x="3210" y="128740"/>
                  </a:lnTo>
                  <a:lnTo>
                    <a:pt x="9763" y="111281"/>
                  </a:lnTo>
                  <a:lnTo>
                    <a:pt x="24326" y="99193"/>
                  </a:lnTo>
                  <a:lnTo>
                    <a:pt x="19955" y="86554"/>
                  </a:lnTo>
                  <a:lnTo>
                    <a:pt x="7944" y="84906"/>
                  </a:lnTo>
                  <a:lnTo>
                    <a:pt x="5448" y="60065"/>
                  </a:lnTo>
                  <a:lnTo>
                    <a:pt x="11982" y="46615"/>
                  </a:lnTo>
                  <a:lnTo>
                    <a:pt x="19135" y="39414"/>
                  </a:lnTo>
                  <a:lnTo>
                    <a:pt x="26289" y="32204"/>
                  </a:lnTo>
                  <a:lnTo>
                    <a:pt x="27737" y="13735"/>
                  </a:lnTo>
                  <a:lnTo>
                    <a:pt x="36480" y="20193"/>
                  </a:lnTo>
                  <a:lnTo>
                    <a:pt x="65884" y="10954"/>
                  </a:lnTo>
                  <a:lnTo>
                    <a:pt x="80096" y="17212"/>
                  </a:lnTo>
                  <a:lnTo>
                    <a:pt x="102060" y="17107"/>
                  </a:lnTo>
                  <a:lnTo>
                    <a:pt x="132797" y="4629"/>
                  </a:lnTo>
                  <a:lnTo>
                    <a:pt x="147190" y="5191"/>
                  </a:lnTo>
                  <a:lnTo>
                    <a:pt x="177565" y="0"/>
                  </a:lnTo>
                  <a:lnTo>
                    <a:pt x="163877" y="20764"/>
                  </a:lnTo>
                  <a:lnTo>
                    <a:pt x="149257" y="28927"/>
                  </a:lnTo>
                  <a:lnTo>
                    <a:pt x="151781" y="52940"/>
                  </a:lnTo>
                  <a:lnTo>
                    <a:pt x="141684" y="9219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3" name="Forme libre : forme 5802">
              <a:extLst>
                <a:ext uri="{FF2B5EF4-FFF2-40B4-BE49-F238E27FC236}">
                  <a16:creationId xmlns:a16="http://schemas.microsoft.com/office/drawing/2014/main" id="{4FD479CB-02CB-92E3-66FE-D06D8D50011A}"/>
                </a:ext>
              </a:extLst>
            </p:cNvPr>
            <p:cNvSpPr/>
            <p:nvPr/>
          </p:nvSpPr>
          <p:spPr>
            <a:xfrm>
              <a:off x="6640172" y="5447647"/>
              <a:ext cx="37252" cy="48244"/>
            </a:xfrm>
            <a:custGeom>
              <a:avLst/>
              <a:gdLst>
                <a:gd name="connsiteX0" fmla="*/ 37252 w 37252"/>
                <a:gd name="connsiteY0" fmla="*/ 31785 h 48244"/>
                <a:gd name="connsiteX1" fmla="*/ 31814 w 37252"/>
                <a:gd name="connsiteY1" fmla="*/ 45015 h 48244"/>
                <a:gd name="connsiteX2" fmla="*/ 16183 w 37252"/>
                <a:gd name="connsiteY2" fmla="*/ 48244 h 48244"/>
                <a:gd name="connsiteX3" fmla="*/ 248 w 37252"/>
                <a:gd name="connsiteY3" fmla="*/ 32080 h 48244"/>
                <a:gd name="connsiteX4" fmla="*/ 0 w 37252"/>
                <a:gd name="connsiteY4" fmla="*/ 21812 h 48244"/>
                <a:gd name="connsiteX5" fmla="*/ 7287 w 37252"/>
                <a:gd name="connsiteY5" fmla="*/ 10696 h 48244"/>
                <a:gd name="connsiteX6" fmla="*/ 9811 w 37252"/>
                <a:gd name="connsiteY6" fmla="*/ 2105 h 48244"/>
                <a:gd name="connsiteX7" fmla="*/ 17526 w 37252"/>
                <a:gd name="connsiteY7" fmla="*/ 0 h 48244"/>
                <a:gd name="connsiteX8" fmla="*/ 31004 w 37252"/>
                <a:gd name="connsiteY8" fmla="*/ 5400 h 48244"/>
                <a:gd name="connsiteX9" fmla="*/ 34966 w 37252"/>
                <a:gd name="connsiteY9" fmla="*/ 18659 h 48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252" h="48244">
                  <a:moveTo>
                    <a:pt x="37252" y="31785"/>
                  </a:moveTo>
                  <a:lnTo>
                    <a:pt x="31814" y="45015"/>
                  </a:lnTo>
                  <a:lnTo>
                    <a:pt x="16183" y="48244"/>
                  </a:lnTo>
                  <a:lnTo>
                    <a:pt x="248" y="32080"/>
                  </a:lnTo>
                  <a:lnTo>
                    <a:pt x="0" y="21812"/>
                  </a:lnTo>
                  <a:lnTo>
                    <a:pt x="7287" y="10696"/>
                  </a:lnTo>
                  <a:lnTo>
                    <a:pt x="9811" y="2105"/>
                  </a:lnTo>
                  <a:lnTo>
                    <a:pt x="17526" y="0"/>
                  </a:lnTo>
                  <a:lnTo>
                    <a:pt x="31004" y="5400"/>
                  </a:lnTo>
                  <a:lnTo>
                    <a:pt x="34966" y="1865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4" name="Forme libre : forme 5803">
              <a:extLst>
                <a:ext uri="{FF2B5EF4-FFF2-40B4-BE49-F238E27FC236}">
                  <a16:creationId xmlns:a16="http://schemas.microsoft.com/office/drawing/2014/main" id="{4431B141-CD3D-76C1-63A2-5A08E04458E0}"/>
                </a:ext>
              </a:extLst>
            </p:cNvPr>
            <p:cNvSpPr/>
            <p:nvPr/>
          </p:nvSpPr>
          <p:spPr>
            <a:xfrm>
              <a:off x="6182515" y="4103374"/>
              <a:ext cx="276329" cy="441836"/>
            </a:xfrm>
            <a:custGeom>
              <a:avLst/>
              <a:gdLst>
                <a:gd name="connsiteX0" fmla="*/ 25517 w 276329"/>
                <a:gd name="connsiteY0" fmla="*/ 295208 h 441836"/>
                <a:gd name="connsiteX1" fmla="*/ 28184 w 276329"/>
                <a:gd name="connsiteY1" fmla="*/ 282378 h 441836"/>
                <a:gd name="connsiteX2" fmla="*/ 11059 w 276329"/>
                <a:gd name="connsiteY2" fmla="*/ 281749 h 441836"/>
                <a:gd name="connsiteX3" fmla="*/ 11125 w 276329"/>
                <a:gd name="connsiteY3" fmla="*/ 264176 h 441836"/>
                <a:gd name="connsiteX4" fmla="*/ 0 w 276329"/>
                <a:gd name="connsiteY4" fmla="*/ 254041 h 441836"/>
                <a:gd name="connsiteX5" fmla="*/ 11535 w 276329"/>
                <a:gd name="connsiteY5" fmla="*/ 217846 h 441836"/>
                <a:gd name="connsiteX6" fmla="*/ 45596 w 276329"/>
                <a:gd name="connsiteY6" fmla="*/ 191786 h 441836"/>
                <a:gd name="connsiteX7" fmla="*/ 47006 w 276329"/>
                <a:gd name="connsiteY7" fmla="*/ 155629 h 441836"/>
                <a:gd name="connsiteX8" fmla="*/ 57292 w 276329"/>
                <a:gd name="connsiteY8" fmla="*/ 98669 h 441836"/>
                <a:gd name="connsiteX9" fmla="*/ 63103 w 276329"/>
                <a:gd name="connsiteY9" fmla="*/ 86496 h 441836"/>
                <a:gd name="connsiteX10" fmla="*/ 51997 w 276329"/>
                <a:gd name="connsiteY10" fmla="*/ 76781 h 441836"/>
                <a:gd name="connsiteX11" fmla="*/ 51558 w 276329"/>
                <a:gd name="connsiteY11" fmla="*/ 67742 h 441836"/>
                <a:gd name="connsiteX12" fmla="*/ 41577 w 276329"/>
                <a:gd name="connsiteY12" fmla="*/ 60341 h 441836"/>
                <a:gd name="connsiteX13" fmla="*/ 35014 w 276329"/>
                <a:gd name="connsiteY13" fmla="*/ 15792 h 441836"/>
                <a:gd name="connsiteX14" fmla="*/ 61979 w 276329"/>
                <a:gd name="connsiteY14" fmla="*/ 0 h 441836"/>
                <a:gd name="connsiteX15" fmla="*/ 168487 w 276329"/>
                <a:gd name="connsiteY15" fmla="*/ 55016 h 441836"/>
                <a:gd name="connsiteX16" fmla="*/ 275006 w 276329"/>
                <a:gd name="connsiteY16" fmla="*/ 109299 h 441836"/>
                <a:gd name="connsiteX17" fmla="*/ 276330 w 276329"/>
                <a:gd name="connsiteY17" fmla="*/ 219875 h 441836"/>
                <a:gd name="connsiteX18" fmla="*/ 253298 w 276329"/>
                <a:gd name="connsiteY18" fmla="*/ 217941 h 441836"/>
                <a:gd name="connsiteX19" fmla="*/ 241097 w 276329"/>
                <a:gd name="connsiteY19" fmla="*/ 238201 h 441836"/>
                <a:gd name="connsiteX20" fmla="*/ 234039 w 276329"/>
                <a:gd name="connsiteY20" fmla="*/ 255146 h 441836"/>
                <a:gd name="connsiteX21" fmla="*/ 239611 w 276329"/>
                <a:gd name="connsiteY21" fmla="*/ 261547 h 441836"/>
                <a:gd name="connsiteX22" fmla="*/ 230829 w 276329"/>
                <a:gd name="connsiteY22" fmla="*/ 269929 h 441836"/>
                <a:gd name="connsiteX23" fmla="*/ 233858 w 276329"/>
                <a:gd name="connsiteY23" fmla="*/ 281235 h 441836"/>
                <a:gd name="connsiteX24" fmla="*/ 226933 w 276329"/>
                <a:gd name="connsiteY24" fmla="*/ 292589 h 441836"/>
                <a:gd name="connsiteX25" fmla="*/ 224247 w 276329"/>
                <a:gd name="connsiteY25" fmla="*/ 302590 h 441836"/>
                <a:gd name="connsiteX26" fmla="*/ 233619 w 276329"/>
                <a:gd name="connsiteY26" fmla="*/ 301019 h 441836"/>
                <a:gd name="connsiteX27" fmla="*/ 239220 w 276329"/>
                <a:gd name="connsiteY27" fmla="*/ 311496 h 441836"/>
                <a:gd name="connsiteX28" fmla="*/ 239516 w 276329"/>
                <a:gd name="connsiteY28" fmla="*/ 327250 h 441836"/>
                <a:gd name="connsiteX29" fmla="*/ 249336 w 276329"/>
                <a:gd name="connsiteY29" fmla="*/ 335232 h 441836"/>
                <a:gd name="connsiteX30" fmla="*/ 249012 w 276329"/>
                <a:gd name="connsiteY30" fmla="*/ 341786 h 441836"/>
                <a:gd name="connsiteX31" fmla="*/ 232105 w 276329"/>
                <a:gd name="connsiteY31" fmla="*/ 346405 h 441836"/>
                <a:gd name="connsiteX32" fmla="*/ 218551 w 276329"/>
                <a:gd name="connsiteY32" fmla="*/ 357340 h 441836"/>
                <a:gd name="connsiteX33" fmla="*/ 199244 w 276329"/>
                <a:gd name="connsiteY33" fmla="*/ 386734 h 441836"/>
                <a:gd name="connsiteX34" fmla="*/ 174117 w 276329"/>
                <a:gd name="connsiteY34" fmla="*/ 399193 h 441836"/>
                <a:gd name="connsiteX35" fmla="*/ 148323 w 276329"/>
                <a:gd name="connsiteY35" fmla="*/ 397516 h 441836"/>
                <a:gd name="connsiteX36" fmla="*/ 140789 w 276329"/>
                <a:gd name="connsiteY36" fmla="*/ 399993 h 441836"/>
                <a:gd name="connsiteX37" fmla="*/ 143437 w 276329"/>
                <a:gd name="connsiteY37" fmla="*/ 409442 h 441836"/>
                <a:gd name="connsiteX38" fmla="*/ 129502 w 276329"/>
                <a:gd name="connsiteY38" fmla="*/ 418814 h 441836"/>
                <a:gd name="connsiteX39" fmla="*/ 118167 w 276329"/>
                <a:gd name="connsiteY39" fmla="*/ 429273 h 441836"/>
                <a:gd name="connsiteX40" fmla="*/ 84544 w 276329"/>
                <a:gd name="connsiteY40" fmla="*/ 439521 h 441836"/>
                <a:gd name="connsiteX41" fmla="*/ 77876 w 276329"/>
                <a:gd name="connsiteY41" fmla="*/ 433454 h 441836"/>
                <a:gd name="connsiteX42" fmla="*/ 73447 w 276329"/>
                <a:gd name="connsiteY42" fmla="*/ 432940 h 441836"/>
                <a:gd name="connsiteX43" fmla="*/ 68532 w 276329"/>
                <a:gd name="connsiteY43" fmla="*/ 439817 h 441836"/>
                <a:gd name="connsiteX44" fmla="*/ 46444 w 276329"/>
                <a:gd name="connsiteY44" fmla="*/ 441836 h 441836"/>
                <a:gd name="connsiteX45" fmla="*/ 50635 w 276329"/>
                <a:gd name="connsiteY45" fmla="*/ 434587 h 441836"/>
                <a:gd name="connsiteX46" fmla="*/ 42205 w 276329"/>
                <a:gd name="connsiteY46" fmla="*/ 416109 h 441836"/>
                <a:gd name="connsiteX47" fmla="*/ 38452 w 276329"/>
                <a:gd name="connsiteY47" fmla="*/ 405003 h 441836"/>
                <a:gd name="connsiteX48" fmla="*/ 26822 w 276329"/>
                <a:gd name="connsiteY48" fmla="*/ 400450 h 441836"/>
                <a:gd name="connsiteX49" fmla="*/ 11049 w 276329"/>
                <a:gd name="connsiteY49" fmla="*/ 384762 h 441836"/>
                <a:gd name="connsiteX50" fmla="*/ 16859 w 276329"/>
                <a:gd name="connsiteY50" fmla="*/ 372056 h 441836"/>
                <a:gd name="connsiteX51" fmla="*/ 29032 w 276329"/>
                <a:gd name="connsiteY51" fmla="*/ 374761 h 441836"/>
                <a:gd name="connsiteX52" fmla="*/ 36566 w 276329"/>
                <a:gd name="connsiteY52" fmla="*/ 372837 h 441836"/>
                <a:gd name="connsiteX53" fmla="*/ 51482 w 276329"/>
                <a:gd name="connsiteY53" fmla="*/ 373104 h 441836"/>
                <a:gd name="connsiteX54" fmla="*/ 36947 w 276329"/>
                <a:gd name="connsiteY54" fmla="*/ 348577 h 441836"/>
                <a:gd name="connsiteX55" fmla="*/ 37919 w 276329"/>
                <a:gd name="connsiteY55" fmla="*/ 330613 h 441836"/>
                <a:gd name="connsiteX56" fmla="*/ 36138 w 276329"/>
                <a:gd name="connsiteY56" fmla="*/ 312620 h 441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76329" h="441836">
                  <a:moveTo>
                    <a:pt x="25517" y="295208"/>
                  </a:moveTo>
                  <a:lnTo>
                    <a:pt x="28184" y="282378"/>
                  </a:lnTo>
                  <a:lnTo>
                    <a:pt x="11059" y="281749"/>
                  </a:lnTo>
                  <a:lnTo>
                    <a:pt x="11125" y="264176"/>
                  </a:lnTo>
                  <a:lnTo>
                    <a:pt x="0" y="254041"/>
                  </a:lnTo>
                  <a:lnTo>
                    <a:pt x="11535" y="217846"/>
                  </a:lnTo>
                  <a:lnTo>
                    <a:pt x="45596" y="191786"/>
                  </a:lnTo>
                  <a:lnTo>
                    <a:pt x="47006" y="155629"/>
                  </a:lnTo>
                  <a:lnTo>
                    <a:pt x="57292" y="98669"/>
                  </a:lnTo>
                  <a:lnTo>
                    <a:pt x="63103" y="86496"/>
                  </a:lnTo>
                  <a:lnTo>
                    <a:pt x="51997" y="76781"/>
                  </a:lnTo>
                  <a:lnTo>
                    <a:pt x="51558" y="67742"/>
                  </a:lnTo>
                  <a:lnTo>
                    <a:pt x="41577" y="60341"/>
                  </a:lnTo>
                  <a:lnTo>
                    <a:pt x="35014" y="15792"/>
                  </a:lnTo>
                  <a:lnTo>
                    <a:pt x="61979" y="0"/>
                  </a:lnTo>
                  <a:lnTo>
                    <a:pt x="168487" y="55016"/>
                  </a:lnTo>
                  <a:lnTo>
                    <a:pt x="275006" y="109299"/>
                  </a:lnTo>
                  <a:lnTo>
                    <a:pt x="276330" y="219875"/>
                  </a:lnTo>
                  <a:lnTo>
                    <a:pt x="253298" y="217941"/>
                  </a:lnTo>
                  <a:lnTo>
                    <a:pt x="241097" y="238201"/>
                  </a:lnTo>
                  <a:lnTo>
                    <a:pt x="234039" y="255146"/>
                  </a:lnTo>
                  <a:lnTo>
                    <a:pt x="239611" y="261547"/>
                  </a:lnTo>
                  <a:lnTo>
                    <a:pt x="230829" y="269929"/>
                  </a:lnTo>
                  <a:lnTo>
                    <a:pt x="233858" y="281235"/>
                  </a:lnTo>
                  <a:lnTo>
                    <a:pt x="226933" y="292589"/>
                  </a:lnTo>
                  <a:lnTo>
                    <a:pt x="224247" y="302590"/>
                  </a:lnTo>
                  <a:lnTo>
                    <a:pt x="233619" y="301019"/>
                  </a:lnTo>
                  <a:lnTo>
                    <a:pt x="239220" y="311496"/>
                  </a:lnTo>
                  <a:lnTo>
                    <a:pt x="239516" y="327250"/>
                  </a:lnTo>
                  <a:lnTo>
                    <a:pt x="249336" y="335232"/>
                  </a:lnTo>
                  <a:lnTo>
                    <a:pt x="249012" y="341786"/>
                  </a:lnTo>
                  <a:lnTo>
                    <a:pt x="232105" y="346405"/>
                  </a:lnTo>
                  <a:lnTo>
                    <a:pt x="218551" y="357340"/>
                  </a:lnTo>
                  <a:lnTo>
                    <a:pt x="199244" y="386734"/>
                  </a:lnTo>
                  <a:lnTo>
                    <a:pt x="174117" y="399193"/>
                  </a:lnTo>
                  <a:lnTo>
                    <a:pt x="148323" y="397516"/>
                  </a:lnTo>
                  <a:lnTo>
                    <a:pt x="140789" y="399993"/>
                  </a:lnTo>
                  <a:lnTo>
                    <a:pt x="143437" y="409442"/>
                  </a:lnTo>
                  <a:lnTo>
                    <a:pt x="129502" y="418814"/>
                  </a:lnTo>
                  <a:lnTo>
                    <a:pt x="118167" y="429273"/>
                  </a:lnTo>
                  <a:lnTo>
                    <a:pt x="84544" y="439521"/>
                  </a:lnTo>
                  <a:lnTo>
                    <a:pt x="77876" y="433454"/>
                  </a:lnTo>
                  <a:lnTo>
                    <a:pt x="73447" y="432940"/>
                  </a:lnTo>
                  <a:lnTo>
                    <a:pt x="68532" y="439817"/>
                  </a:lnTo>
                  <a:lnTo>
                    <a:pt x="46444" y="441836"/>
                  </a:lnTo>
                  <a:lnTo>
                    <a:pt x="50635" y="434587"/>
                  </a:lnTo>
                  <a:lnTo>
                    <a:pt x="42205" y="416109"/>
                  </a:lnTo>
                  <a:lnTo>
                    <a:pt x="38452" y="405003"/>
                  </a:lnTo>
                  <a:lnTo>
                    <a:pt x="26822" y="400450"/>
                  </a:lnTo>
                  <a:lnTo>
                    <a:pt x="11049" y="384762"/>
                  </a:lnTo>
                  <a:lnTo>
                    <a:pt x="16859" y="372056"/>
                  </a:lnTo>
                  <a:lnTo>
                    <a:pt x="29032" y="374761"/>
                  </a:lnTo>
                  <a:lnTo>
                    <a:pt x="36566" y="372837"/>
                  </a:lnTo>
                  <a:lnTo>
                    <a:pt x="51482" y="373104"/>
                  </a:lnTo>
                  <a:lnTo>
                    <a:pt x="36947" y="348577"/>
                  </a:lnTo>
                  <a:lnTo>
                    <a:pt x="37919" y="330613"/>
                  </a:lnTo>
                  <a:lnTo>
                    <a:pt x="36138" y="31262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5" name="Forme libre : forme 5804">
              <a:extLst>
                <a:ext uri="{FF2B5EF4-FFF2-40B4-BE49-F238E27FC236}">
                  <a16:creationId xmlns:a16="http://schemas.microsoft.com/office/drawing/2014/main" id="{CC1F39C8-C7B7-C037-1D11-D8CAF3F7D2B4}"/>
                </a:ext>
              </a:extLst>
            </p:cNvPr>
            <p:cNvSpPr/>
            <p:nvPr/>
          </p:nvSpPr>
          <p:spPr>
            <a:xfrm>
              <a:off x="7656185" y="6225153"/>
              <a:ext cx="49139" cy="46872"/>
            </a:xfrm>
            <a:custGeom>
              <a:avLst/>
              <a:gdLst>
                <a:gd name="connsiteX0" fmla="*/ 5734 w 49139"/>
                <a:gd name="connsiteY0" fmla="*/ 0 h 46872"/>
                <a:gd name="connsiteX1" fmla="*/ 22964 w 49139"/>
                <a:gd name="connsiteY1" fmla="*/ 12725 h 46872"/>
                <a:gd name="connsiteX2" fmla="*/ 48196 w 49139"/>
                <a:gd name="connsiteY2" fmla="*/ 17802 h 46872"/>
                <a:gd name="connsiteX3" fmla="*/ 49139 w 49139"/>
                <a:gd name="connsiteY3" fmla="*/ 25546 h 46872"/>
                <a:gd name="connsiteX4" fmla="*/ 41662 w 49139"/>
                <a:gd name="connsiteY4" fmla="*/ 44196 h 46872"/>
                <a:gd name="connsiteX5" fmla="*/ 667 w 49139"/>
                <a:gd name="connsiteY5" fmla="*/ 46872 h 46872"/>
                <a:gd name="connsiteX6" fmla="*/ 0 w 49139"/>
                <a:gd name="connsiteY6" fmla="*/ 25032 h 46872"/>
                <a:gd name="connsiteX7" fmla="*/ 3943 w 49139"/>
                <a:gd name="connsiteY7" fmla="*/ 8268 h 46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139" h="46872">
                  <a:moveTo>
                    <a:pt x="5734" y="0"/>
                  </a:moveTo>
                  <a:lnTo>
                    <a:pt x="22964" y="12725"/>
                  </a:lnTo>
                  <a:lnTo>
                    <a:pt x="48196" y="17802"/>
                  </a:lnTo>
                  <a:lnTo>
                    <a:pt x="49139" y="25546"/>
                  </a:lnTo>
                  <a:lnTo>
                    <a:pt x="41662" y="44196"/>
                  </a:lnTo>
                  <a:lnTo>
                    <a:pt x="667" y="46872"/>
                  </a:lnTo>
                  <a:lnTo>
                    <a:pt x="0" y="25032"/>
                  </a:lnTo>
                  <a:lnTo>
                    <a:pt x="3943" y="826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6" name="Forme libre : forme 5805">
              <a:extLst>
                <a:ext uri="{FF2B5EF4-FFF2-40B4-BE49-F238E27FC236}">
                  <a16:creationId xmlns:a16="http://schemas.microsoft.com/office/drawing/2014/main" id="{36516D96-D673-0315-CAF2-8B5B1374BB63}"/>
                </a:ext>
              </a:extLst>
            </p:cNvPr>
            <p:cNvSpPr/>
            <p:nvPr/>
          </p:nvSpPr>
          <p:spPr>
            <a:xfrm>
              <a:off x="5819565" y="4448512"/>
              <a:ext cx="51149" cy="136578"/>
            </a:xfrm>
            <a:custGeom>
              <a:avLst/>
              <a:gdLst>
                <a:gd name="connsiteX0" fmla="*/ 51149 w 51149"/>
                <a:gd name="connsiteY0" fmla="*/ 130893 h 136578"/>
                <a:gd name="connsiteX1" fmla="*/ 29651 w 51149"/>
                <a:gd name="connsiteY1" fmla="*/ 136579 h 136578"/>
                <a:gd name="connsiteX2" fmla="*/ 23689 w 51149"/>
                <a:gd name="connsiteY2" fmla="*/ 127206 h 136578"/>
                <a:gd name="connsiteX3" fmla="*/ 16564 w 51149"/>
                <a:gd name="connsiteY3" fmla="*/ 110271 h 136578"/>
                <a:gd name="connsiteX4" fmla="*/ 14440 w 51149"/>
                <a:gd name="connsiteY4" fmla="*/ 96964 h 136578"/>
                <a:gd name="connsiteX5" fmla="*/ 20355 w 51149"/>
                <a:gd name="connsiteY5" fmla="*/ 72838 h 136578"/>
                <a:gd name="connsiteX6" fmla="*/ 13649 w 51149"/>
                <a:gd name="connsiteY6" fmla="*/ 63055 h 136578"/>
                <a:gd name="connsiteX7" fmla="*/ 11106 w 51149"/>
                <a:gd name="connsiteY7" fmla="*/ 41891 h 136578"/>
                <a:gd name="connsiteX8" fmla="*/ 11154 w 51149"/>
                <a:gd name="connsiteY8" fmla="*/ 22336 h 136578"/>
                <a:gd name="connsiteX9" fmla="*/ 0 w 51149"/>
                <a:gd name="connsiteY9" fmla="*/ 8420 h 136578"/>
                <a:gd name="connsiteX10" fmla="*/ 1972 w 51149"/>
                <a:gd name="connsiteY10" fmla="*/ 0 h 136578"/>
                <a:gd name="connsiteX11" fmla="*/ 25355 w 51149"/>
                <a:gd name="connsiteY11" fmla="*/ 571 h 136578"/>
                <a:gd name="connsiteX12" fmla="*/ 21955 w 51149"/>
                <a:gd name="connsiteY12" fmla="*/ 14792 h 136578"/>
                <a:gd name="connsiteX13" fmla="*/ 30118 w 51149"/>
                <a:gd name="connsiteY13" fmla="*/ 22755 h 136578"/>
                <a:gd name="connsiteX14" fmla="*/ 39395 w 51149"/>
                <a:gd name="connsiteY14" fmla="*/ 32195 h 136578"/>
                <a:gd name="connsiteX15" fmla="*/ 40405 w 51149"/>
                <a:gd name="connsiteY15" fmla="*/ 45396 h 136578"/>
                <a:gd name="connsiteX16" fmla="*/ 45787 w 51149"/>
                <a:gd name="connsiteY16" fmla="*/ 50940 h 136578"/>
                <a:gd name="connsiteX17" fmla="*/ 44567 w 51149"/>
                <a:gd name="connsiteY17" fmla="*/ 112471 h 136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149" h="136578">
                  <a:moveTo>
                    <a:pt x="51149" y="130893"/>
                  </a:moveTo>
                  <a:lnTo>
                    <a:pt x="29651" y="136579"/>
                  </a:lnTo>
                  <a:lnTo>
                    <a:pt x="23689" y="127206"/>
                  </a:lnTo>
                  <a:lnTo>
                    <a:pt x="16564" y="110271"/>
                  </a:lnTo>
                  <a:lnTo>
                    <a:pt x="14440" y="96964"/>
                  </a:lnTo>
                  <a:lnTo>
                    <a:pt x="20355" y="72838"/>
                  </a:lnTo>
                  <a:lnTo>
                    <a:pt x="13649" y="63055"/>
                  </a:lnTo>
                  <a:lnTo>
                    <a:pt x="11106" y="41891"/>
                  </a:lnTo>
                  <a:lnTo>
                    <a:pt x="11154" y="22336"/>
                  </a:lnTo>
                  <a:lnTo>
                    <a:pt x="0" y="8420"/>
                  </a:lnTo>
                  <a:lnTo>
                    <a:pt x="1972" y="0"/>
                  </a:lnTo>
                  <a:lnTo>
                    <a:pt x="25355" y="571"/>
                  </a:lnTo>
                  <a:lnTo>
                    <a:pt x="21955" y="14792"/>
                  </a:lnTo>
                  <a:lnTo>
                    <a:pt x="30118" y="22755"/>
                  </a:lnTo>
                  <a:lnTo>
                    <a:pt x="39395" y="32195"/>
                  </a:lnTo>
                  <a:lnTo>
                    <a:pt x="40405" y="45396"/>
                  </a:lnTo>
                  <a:lnTo>
                    <a:pt x="45787" y="50940"/>
                  </a:lnTo>
                  <a:lnTo>
                    <a:pt x="44567" y="1124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7" name="Forme libre : forme 5806">
              <a:extLst>
                <a:ext uri="{FF2B5EF4-FFF2-40B4-BE49-F238E27FC236}">
                  <a16:creationId xmlns:a16="http://schemas.microsoft.com/office/drawing/2014/main" id="{9CA45204-16C1-A767-1A93-54E7CC0DCF45}"/>
                </a:ext>
              </a:extLst>
            </p:cNvPr>
            <p:cNvSpPr/>
            <p:nvPr/>
          </p:nvSpPr>
          <p:spPr>
            <a:xfrm>
              <a:off x="8421481" y="4189013"/>
              <a:ext cx="219351" cy="402412"/>
            </a:xfrm>
            <a:custGeom>
              <a:avLst/>
              <a:gdLst>
                <a:gd name="connsiteX0" fmla="*/ 139122 w 219351"/>
                <a:gd name="connsiteY0" fmla="*/ 227857 h 402412"/>
                <a:gd name="connsiteX1" fmla="*/ 115148 w 219351"/>
                <a:gd name="connsiteY1" fmla="*/ 215389 h 402412"/>
                <a:gd name="connsiteX2" fmla="*/ 92307 w 219351"/>
                <a:gd name="connsiteY2" fmla="*/ 215894 h 402412"/>
                <a:gd name="connsiteX3" fmla="*/ 96221 w 219351"/>
                <a:gd name="connsiteY3" fmla="*/ 194491 h 402412"/>
                <a:gd name="connsiteX4" fmla="*/ 72694 w 219351"/>
                <a:gd name="connsiteY4" fmla="*/ 194653 h 402412"/>
                <a:gd name="connsiteX5" fmla="*/ 70580 w 219351"/>
                <a:gd name="connsiteY5" fmla="*/ 224590 h 402412"/>
                <a:gd name="connsiteX6" fmla="*/ 56169 w 219351"/>
                <a:gd name="connsiteY6" fmla="*/ 264157 h 402412"/>
                <a:gd name="connsiteX7" fmla="*/ 47491 w 219351"/>
                <a:gd name="connsiteY7" fmla="*/ 287988 h 402412"/>
                <a:gd name="connsiteX8" fmla="*/ 49320 w 219351"/>
                <a:gd name="connsiteY8" fmla="*/ 307457 h 402412"/>
                <a:gd name="connsiteX9" fmla="*/ 66713 w 219351"/>
                <a:gd name="connsiteY9" fmla="*/ 308305 h 402412"/>
                <a:gd name="connsiteX10" fmla="*/ 77552 w 219351"/>
                <a:gd name="connsiteY10" fmla="*/ 332804 h 402412"/>
                <a:gd name="connsiteX11" fmla="*/ 82353 w 219351"/>
                <a:gd name="connsiteY11" fmla="*/ 355987 h 402412"/>
                <a:gd name="connsiteX12" fmla="*/ 97250 w 219351"/>
                <a:gd name="connsiteY12" fmla="*/ 371304 h 402412"/>
                <a:gd name="connsiteX13" fmla="*/ 113433 w 219351"/>
                <a:gd name="connsiteY13" fmla="*/ 374409 h 402412"/>
                <a:gd name="connsiteX14" fmla="*/ 127273 w 219351"/>
                <a:gd name="connsiteY14" fmla="*/ 388268 h 402412"/>
                <a:gd name="connsiteX15" fmla="*/ 118548 w 219351"/>
                <a:gd name="connsiteY15" fmla="*/ 399221 h 402412"/>
                <a:gd name="connsiteX16" fmla="*/ 100908 w 219351"/>
                <a:gd name="connsiteY16" fmla="*/ 402412 h 402412"/>
                <a:gd name="connsiteX17" fmla="*/ 98812 w 219351"/>
                <a:gd name="connsiteY17" fmla="*/ 388715 h 402412"/>
                <a:gd name="connsiteX18" fmla="*/ 77019 w 219351"/>
                <a:gd name="connsiteY18" fmla="*/ 377019 h 402412"/>
                <a:gd name="connsiteX19" fmla="*/ 72380 w 219351"/>
                <a:gd name="connsiteY19" fmla="*/ 381781 h 402412"/>
                <a:gd name="connsiteX20" fmla="*/ 61826 w 219351"/>
                <a:gd name="connsiteY20" fmla="*/ 371532 h 402412"/>
                <a:gd name="connsiteX21" fmla="*/ 57255 w 219351"/>
                <a:gd name="connsiteY21" fmla="*/ 358292 h 402412"/>
                <a:gd name="connsiteX22" fmla="*/ 43072 w 219351"/>
                <a:gd name="connsiteY22" fmla="*/ 343186 h 402412"/>
                <a:gd name="connsiteX23" fmla="*/ 30127 w 219351"/>
                <a:gd name="connsiteY23" fmla="*/ 330470 h 402412"/>
                <a:gd name="connsiteX24" fmla="*/ 25736 w 219351"/>
                <a:gd name="connsiteY24" fmla="*/ 346215 h 402412"/>
                <a:gd name="connsiteX25" fmla="*/ 20678 w 219351"/>
                <a:gd name="connsiteY25" fmla="*/ 331336 h 402412"/>
                <a:gd name="connsiteX26" fmla="*/ 23593 w 219351"/>
                <a:gd name="connsiteY26" fmla="*/ 314592 h 402412"/>
                <a:gd name="connsiteX27" fmla="*/ 31461 w 219351"/>
                <a:gd name="connsiteY27" fmla="*/ 288798 h 402412"/>
                <a:gd name="connsiteX28" fmla="*/ 44396 w 219351"/>
                <a:gd name="connsiteY28" fmla="*/ 261071 h 402412"/>
                <a:gd name="connsiteX29" fmla="*/ 59064 w 219351"/>
                <a:gd name="connsiteY29" fmla="*/ 235830 h 402412"/>
                <a:gd name="connsiteX30" fmla="*/ 48625 w 219351"/>
                <a:gd name="connsiteY30" fmla="*/ 211055 h 402412"/>
                <a:gd name="connsiteX31" fmla="*/ 49044 w 219351"/>
                <a:gd name="connsiteY31" fmla="*/ 198406 h 402412"/>
                <a:gd name="connsiteX32" fmla="*/ 45986 w 219351"/>
                <a:gd name="connsiteY32" fmla="*/ 183166 h 402412"/>
                <a:gd name="connsiteX33" fmla="*/ 28174 w 219351"/>
                <a:gd name="connsiteY33" fmla="*/ 161411 h 402412"/>
                <a:gd name="connsiteX34" fmla="*/ 21802 w 219351"/>
                <a:gd name="connsiteY34" fmla="*/ 147638 h 402412"/>
                <a:gd name="connsiteX35" fmla="*/ 31023 w 219351"/>
                <a:gd name="connsiteY35" fmla="*/ 142560 h 402412"/>
                <a:gd name="connsiteX36" fmla="*/ 40795 w 219351"/>
                <a:gd name="connsiteY36" fmla="*/ 118577 h 402412"/>
                <a:gd name="connsiteX37" fmla="*/ 29860 w 219351"/>
                <a:gd name="connsiteY37" fmla="*/ 100317 h 402412"/>
                <a:gd name="connsiteX38" fmla="*/ 12915 w 219351"/>
                <a:gd name="connsiteY38" fmla="*/ 80029 h 402412"/>
                <a:gd name="connsiteX39" fmla="*/ 0 w 219351"/>
                <a:gd name="connsiteY39" fmla="*/ 55531 h 402412"/>
                <a:gd name="connsiteX40" fmla="*/ 11277 w 219351"/>
                <a:gd name="connsiteY40" fmla="*/ 50444 h 402412"/>
                <a:gd name="connsiteX41" fmla="*/ 23450 w 219351"/>
                <a:gd name="connsiteY41" fmla="*/ 20060 h 402412"/>
                <a:gd name="connsiteX42" fmla="*/ 42310 w 219351"/>
                <a:gd name="connsiteY42" fmla="*/ 18793 h 402412"/>
                <a:gd name="connsiteX43" fmla="*/ 57883 w 219351"/>
                <a:gd name="connsiteY43" fmla="*/ 6543 h 402412"/>
                <a:gd name="connsiteX44" fmla="*/ 73190 w 219351"/>
                <a:gd name="connsiteY44" fmla="*/ 0 h 402412"/>
                <a:gd name="connsiteX45" fmla="*/ 84744 w 219351"/>
                <a:gd name="connsiteY45" fmla="*/ 8734 h 402412"/>
                <a:gd name="connsiteX46" fmla="*/ 86277 w 219351"/>
                <a:gd name="connsiteY46" fmla="*/ 25689 h 402412"/>
                <a:gd name="connsiteX47" fmla="*/ 104317 w 219351"/>
                <a:gd name="connsiteY47" fmla="*/ 26984 h 402412"/>
                <a:gd name="connsiteX48" fmla="*/ 97755 w 219351"/>
                <a:gd name="connsiteY48" fmla="*/ 56550 h 402412"/>
                <a:gd name="connsiteX49" fmla="*/ 98384 w 219351"/>
                <a:gd name="connsiteY49" fmla="*/ 81562 h 402412"/>
                <a:gd name="connsiteX50" fmla="*/ 126530 w 219351"/>
                <a:gd name="connsiteY50" fmla="*/ 64932 h 402412"/>
                <a:gd name="connsiteX51" fmla="*/ 134531 w 219351"/>
                <a:gd name="connsiteY51" fmla="*/ 69856 h 402412"/>
                <a:gd name="connsiteX52" fmla="*/ 150171 w 219351"/>
                <a:gd name="connsiteY52" fmla="*/ 69047 h 402412"/>
                <a:gd name="connsiteX53" fmla="*/ 155553 w 219351"/>
                <a:gd name="connsiteY53" fmla="*/ 59331 h 402412"/>
                <a:gd name="connsiteX54" fmla="*/ 175746 w 219351"/>
                <a:gd name="connsiteY54" fmla="*/ 61246 h 402412"/>
                <a:gd name="connsiteX55" fmla="*/ 196062 w 219351"/>
                <a:gd name="connsiteY55" fmla="*/ 83896 h 402412"/>
                <a:gd name="connsiteX56" fmla="*/ 197729 w 219351"/>
                <a:gd name="connsiteY56" fmla="*/ 111280 h 402412"/>
                <a:gd name="connsiteX57" fmla="*/ 219351 w 219351"/>
                <a:gd name="connsiteY57" fmla="*/ 135350 h 402412"/>
                <a:gd name="connsiteX58" fmla="*/ 218161 w 219351"/>
                <a:gd name="connsiteY58" fmla="*/ 158620 h 402412"/>
                <a:gd name="connsiteX59" fmla="*/ 209464 w 219351"/>
                <a:gd name="connsiteY59" fmla="*/ 170974 h 402412"/>
                <a:gd name="connsiteX60" fmla="*/ 184432 w 219351"/>
                <a:gd name="connsiteY60" fmla="*/ 167040 h 402412"/>
                <a:gd name="connsiteX61" fmla="*/ 149904 w 219351"/>
                <a:gd name="connsiteY61" fmla="*/ 172278 h 402412"/>
                <a:gd name="connsiteX62" fmla="*/ 132797 w 219351"/>
                <a:gd name="connsiteY62" fmla="*/ 194996 h 40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19351" h="402412">
                  <a:moveTo>
                    <a:pt x="139122" y="227857"/>
                  </a:moveTo>
                  <a:lnTo>
                    <a:pt x="115148" y="215389"/>
                  </a:lnTo>
                  <a:lnTo>
                    <a:pt x="92307" y="215894"/>
                  </a:lnTo>
                  <a:lnTo>
                    <a:pt x="96221" y="194491"/>
                  </a:lnTo>
                  <a:lnTo>
                    <a:pt x="72694" y="194653"/>
                  </a:lnTo>
                  <a:lnTo>
                    <a:pt x="70580" y="224590"/>
                  </a:lnTo>
                  <a:lnTo>
                    <a:pt x="56169" y="264157"/>
                  </a:lnTo>
                  <a:lnTo>
                    <a:pt x="47491" y="287988"/>
                  </a:lnTo>
                  <a:lnTo>
                    <a:pt x="49320" y="307457"/>
                  </a:lnTo>
                  <a:lnTo>
                    <a:pt x="66713" y="308305"/>
                  </a:lnTo>
                  <a:lnTo>
                    <a:pt x="77552" y="332804"/>
                  </a:lnTo>
                  <a:lnTo>
                    <a:pt x="82353" y="355987"/>
                  </a:lnTo>
                  <a:lnTo>
                    <a:pt x="97250" y="371304"/>
                  </a:lnTo>
                  <a:lnTo>
                    <a:pt x="113433" y="374409"/>
                  </a:lnTo>
                  <a:lnTo>
                    <a:pt x="127273" y="388268"/>
                  </a:lnTo>
                  <a:lnTo>
                    <a:pt x="118548" y="399221"/>
                  </a:lnTo>
                  <a:lnTo>
                    <a:pt x="100908" y="402412"/>
                  </a:lnTo>
                  <a:lnTo>
                    <a:pt x="98812" y="388715"/>
                  </a:lnTo>
                  <a:lnTo>
                    <a:pt x="77019" y="377019"/>
                  </a:lnTo>
                  <a:lnTo>
                    <a:pt x="72380" y="381781"/>
                  </a:lnTo>
                  <a:lnTo>
                    <a:pt x="61826" y="371532"/>
                  </a:lnTo>
                  <a:lnTo>
                    <a:pt x="57255" y="358292"/>
                  </a:lnTo>
                  <a:lnTo>
                    <a:pt x="43072" y="343186"/>
                  </a:lnTo>
                  <a:lnTo>
                    <a:pt x="30127" y="330470"/>
                  </a:lnTo>
                  <a:lnTo>
                    <a:pt x="25736" y="346215"/>
                  </a:lnTo>
                  <a:lnTo>
                    <a:pt x="20678" y="331336"/>
                  </a:lnTo>
                  <a:lnTo>
                    <a:pt x="23593" y="314592"/>
                  </a:lnTo>
                  <a:lnTo>
                    <a:pt x="31461" y="288798"/>
                  </a:lnTo>
                  <a:lnTo>
                    <a:pt x="44396" y="261071"/>
                  </a:lnTo>
                  <a:lnTo>
                    <a:pt x="59064" y="235830"/>
                  </a:lnTo>
                  <a:lnTo>
                    <a:pt x="48625" y="211055"/>
                  </a:lnTo>
                  <a:lnTo>
                    <a:pt x="49044" y="198406"/>
                  </a:lnTo>
                  <a:lnTo>
                    <a:pt x="45986" y="183166"/>
                  </a:lnTo>
                  <a:lnTo>
                    <a:pt x="28174" y="161411"/>
                  </a:lnTo>
                  <a:lnTo>
                    <a:pt x="21802" y="147638"/>
                  </a:lnTo>
                  <a:lnTo>
                    <a:pt x="31023" y="142560"/>
                  </a:lnTo>
                  <a:lnTo>
                    <a:pt x="40795" y="118577"/>
                  </a:lnTo>
                  <a:lnTo>
                    <a:pt x="29860" y="100317"/>
                  </a:lnTo>
                  <a:lnTo>
                    <a:pt x="12915" y="80029"/>
                  </a:lnTo>
                  <a:lnTo>
                    <a:pt x="0" y="55531"/>
                  </a:lnTo>
                  <a:lnTo>
                    <a:pt x="11277" y="50444"/>
                  </a:lnTo>
                  <a:lnTo>
                    <a:pt x="23450" y="20060"/>
                  </a:lnTo>
                  <a:lnTo>
                    <a:pt x="42310" y="18793"/>
                  </a:lnTo>
                  <a:lnTo>
                    <a:pt x="57883" y="6543"/>
                  </a:lnTo>
                  <a:lnTo>
                    <a:pt x="73190" y="0"/>
                  </a:lnTo>
                  <a:lnTo>
                    <a:pt x="84744" y="8734"/>
                  </a:lnTo>
                  <a:lnTo>
                    <a:pt x="86277" y="25689"/>
                  </a:lnTo>
                  <a:lnTo>
                    <a:pt x="104317" y="26984"/>
                  </a:lnTo>
                  <a:lnTo>
                    <a:pt x="97755" y="56550"/>
                  </a:lnTo>
                  <a:lnTo>
                    <a:pt x="98384" y="81562"/>
                  </a:lnTo>
                  <a:lnTo>
                    <a:pt x="126530" y="64932"/>
                  </a:lnTo>
                  <a:lnTo>
                    <a:pt x="134531" y="69856"/>
                  </a:lnTo>
                  <a:lnTo>
                    <a:pt x="150171" y="69047"/>
                  </a:lnTo>
                  <a:lnTo>
                    <a:pt x="155553" y="59331"/>
                  </a:lnTo>
                  <a:lnTo>
                    <a:pt x="175746" y="61246"/>
                  </a:lnTo>
                  <a:lnTo>
                    <a:pt x="196062" y="83896"/>
                  </a:lnTo>
                  <a:lnTo>
                    <a:pt x="197729" y="111280"/>
                  </a:lnTo>
                  <a:lnTo>
                    <a:pt x="219351" y="135350"/>
                  </a:lnTo>
                  <a:lnTo>
                    <a:pt x="218161" y="158620"/>
                  </a:lnTo>
                  <a:lnTo>
                    <a:pt x="209464" y="170974"/>
                  </a:lnTo>
                  <a:lnTo>
                    <a:pt x="184432" y="167040"/>
                  </a:lnTo>
                  <a:lnTo>
                    <a:pt x="149904" y="172278"/>
                  </a:lnTo>
                  <a:lnTo>
                    <a:pt x="132797" y="19499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8" name="Forme libre : forme 5807">
              <a:extLst>
                <a:ext uri="{FF2B5EF4-FFF2-40B4-BE49-F238E27FC236}">
                  <a16:creationId xmlns:a16="http://schemas.microsoft.com/office/drawing/2014/main" id="{99A73462-DDC6-81DC-EA08-AB4835F7A02A}"/>
                </a:ext>
              </a:extLst>
            </p:cNvPr>
            <p:cNvSpPr/>
            <p:nvPr/>
          </p:nvSpPr>
          <p:spPr>
            <a:xfrm>
              <a:off x="7622057" y="3548276"/>
              <a:ext cx="201310" cy="144265"/>
            </a:xfrm>
            <a:custGeom>
              <a:avLst/>
              <a:gdLst>
                <a:gd name="connsiteX0" fmla="*/ 95393 w 201310"/>
                <a:gd name="connsiteY0" fmla="*/ 25079 h 144265"/>
                <a:gd name="connsiteX1" fmla="*/ 85620 w 201310"/>
                <a:gd name="connsiteY1" fmla="*/ 35805 h 144265"/>
                <a:gd name="connsiteX2" fmla="*/ 56550 w 201310"/>
                <a:gd name="connsiteY2" fmla="*/ 29994 h 144265"/>
                <a:gd name="connsiteX3" fmla="*/ 54016 w 201310"/>
                <a:gd name="connsiteY3" fmla="*/ 49959 h 144265"/>
                <a:gd name="connsiteX4" fmla="*/ 82982 w 201310"/>
                <a:gd name="connsiteY4" fmla="*/ 47282 h 144265"/>
                <a:gd name="connsiteX5" fmla="*/ 115967 w 201310"/>
                <a:gd name="connsiteY5" fmla="*/ 58464 h 144265"/>
                <a:gd name="connsiteX6" fmla="*/ 166468 w 201310"/>
                <a:gd name="connsiteY6" fmla="*/ 53254 h 144265"/>
                <a:gd name="connsiteX7" fmla="*/ 173241 w 201310"/>
                <a:gd name="connsiteY7" fmla="*/ 84906 h 144265"/>
                <a:gd name="connsiteX8" fmla="*/ 182013 w 201310"/>
                <a:gd name="connsiteY8" fmla="*/ 81486 h 144265"/>
                <a:gd name="connsiteX9" fmla="*/ 198234 w 201310"/>
                <a:gd name="connsiteY9" fmla="*/ 89221 h 144265"/>
                <a:gd name="connsiteX10" fmla="*/ 197301 w 201310"/>
                <a:gd name="connsiteY10" fmla="*/ 102375 h 144265"/>
                <a:gd name="connsiteX11" fmla="*/ 201311 w 201310"/>
                <a:gd name="connsiteY11" fmla="*/ 121539 h 144265"/>
                <a:gd name="connsiteX12" fmla="*/ 173764 w 201310"/>
                <a:gd name="connsiteY12" fmla="*/ 121482 h 144265"/>
                <a:gd name="connsiteX13" fmla="*/ 155372 w 201310"/>
                <a:gd name="connsiteY13" fmla="*/ 119015 h 144265"/>
                <a:gd name="connsiteX14" fmla="*/ 138732 w 201310"/>
                <a:gd name="connsiteY14" fmla="*/ 133979 h 144265"/>
                <a:gd name="connsiteX15" fmla="*/ 126882 w 201310"/>
                <a:gd name="connsiteY15" fmla="*/ 137284 h 144265"/>
                <a:gd name="connsiteX16" fmla="*/ 117567 w 201310"/>
                <a:gd name="connsiteY16" fmla="*/ 144266 h 144265"/>
                <a:gd name="connsiteX17" fmla="*/ 107004 w 201310"/>
                <a:gd name="connsiteY17" fmla="*/ 133378 h 144265"/>
                <a:gd name="connsiteX18" fmla="*/ 109490 w 201310"/>
                <a:gd name="connsiteY18" fmla="*/ 105223 h 144265"/>
                <a:gd name="connsiteX19" fmla="*/ 101412 w 201310"/>
                <a:gd name="connsiteY19" fmla="*/ 103613 h 144265"/>
                <a:gd name="connsiteX20" fmla="*/ 104317 w 201310"/>
                <a:gd name="connsiteY20" fmla="*/ 93288 h 144265"/>
                <a:gd name="connsiteX21" fmla="*/ 89858 w 201310"/>
                <a:gd name="connsiteY21" fmla="*/ 85573 h 144265"/>
                <a:gd name="connsiteX22" fmla="*/ 78362 w 201310"/>
                <a:gd name="connsiteY22" fmla="*/ 97365 h 144265"/>
                <a:gd name="connsiteX23" fmla="*/ 75533 w 201310"/>
                <a:gd name="connsiteY23" fmla="*/ 110966 h 144265"/>
                <a:gd name="connsiteX24" fmla="*/ 71428 w 201310"/>
                <a:gd name="connsiteY24" fmla="*/ 115900 h 144265"/>
                <a:gd name="connsiteX25" fmla="*/ 55464 w 201310"/>
                <a:gd name="connsiteY25" fmla="*/ 115195 h 144265"/>
                <a:gd name="connsiteX26" fmla="*/ 46854 w 201310"/>
                <a:gd name="connsiteY26" fmla="*/ 130521 h 144265"/>
                <a:gd name="connsiteX27" fmla="*/ 37842 w 201310"/>
                <a:gd name="connsiteY27" fmla="*/ 124073 h 144265"/>
                <a:gd name="connsiteX28" fmla="*/ 18516 w 201310"/>
                <a:gd name="connsiteY28" fmla="*/ 134798 h 144265"/>
                <a:gd name="connsiteX29" fmla="*/ 10353 w 201310"/>
                <a:gd name="connsiteY29" fmla="*/ 130731 h 144265"/>
                <a:gd name="connsiteX30" fmla="*/ 25365 w 201310"/>
                <a:gd name="connsiteY30" fmla="*/ 96736 h 144265"/>
                <a:gd name="connsiteX31" fmla="*/ 19593 w 201310"/>
                <a:gd name="connsiteY31" fmla="*/ 71419 h 144265"/>
                <a:gd name="connsiteX32" fmla="*/ 0 w 201310"/>
                <a:gd name="connsiteY32" fmla="*/ 63255 h 144265"/>
                <a:gd name="connsiteX33" fmla="*/ 6925 w 201310"/>
                <a:gd name="connsiteY33" fmla="*/ 48101 h 144265"/>
                <a:gd name="connsiteX34" fmla="*/ 29223 w 201310"/>
                <a:gd name="connsiteY34" fmla="*/ 49721 h 144265"/>
                <a:gd name="connsiteX35" fmla="*/ 41910 w 201310"/>
                <a:gd name="connsiteY35" fmla="*/ 30585 h 144265"/>
                <a:gd name="connsiteX36" fmla="*/ 50406 w 201310"/>
                <a:gd name="connsiteY36" fmla="*/ 8172 h 144265"/>
                <a:gd name="connsiteX37" fmla="*/ 86116 w 201310"/>
                <a:gd name="connsiteY37" fmla="*/ 0 h 144265"/>
                <a:gd name="connsiteX38" fmla="*/ 80553 w 201310"/>
                <a:gd name="connsiteY38" fmla="*/ 16278 h 144265"/>
                <a:gd name="connsiteX39" fmla="*/ 84372 w 201310"/>
                <a:gd name="connsiteY39" fmla="*/ 25984 h 14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01310" h="144265">
                  <a:moveTo>
                    <a:pt x="95393" y="25079"/>
                  </a:moveTo>
                  <a:lnTo>
                    <a:pt x="85620" y="35805"/>
                  </a:lnTo>
                  <a:lnTo>
                    <a:pt x="56550" y="29994"/>
                  </a:lnTo>
                  <a:lnTo>
                    <a:pt x="54016" y="49959"/>
                  </a:lnTo>
                  <a:lnTo>
                    <a:pt x="82982" y="47282"/>
                  </a:lnTo>
                  <a:lnTo>
                    <a:pt x="115967" y="58464"/>
                  </a:lnTo>
                  <a:lnTo>
                    <a:pt x="166468" y="53254"/>
                  </a:lnTo>
                  <a:lnTo>
                    <a:pt x="173241" y="84906"/>
                  </a:lnTo>
                  <a:lnTo>
                    <a:pt x="182013" y="81486"/>
                  </a:lnTo>
                  <a:lnTo>
                    <a:pt x="198234" y="89221"/>
                  </a:lnTo>
                  <a:lnTo>
                    <a:pt x="197301" y="102375"/>
                  </a:lnTo>
                  <a:lnTo>
                    <a:pt x="201311" y="121539"/>
                  </a:lnTo>
                  <a:lnTo>
                    <a:pt x="173764" y="121482"/>
                  </a:lnTo>
                  <a:lnTo>
                    <a:pt x="155372" y="119015"/>
                  </a:lnTo>
                  <a:lnTo>
                    <a:pt x="138732" y="133979"/>
                  </a:lnTo>
                  <a:lnTo>
                    <a:pt x="126882" y="137284"/>
                  </a:lnTo>
                  <a:lnTo>
                    <a:pt x="117567" y="144266"/>
                  </a:lnTo>
                  <a:lnTo>
                    <a:pt x="107004" y="133378"/>
                  </a:lnTo>
                  <a:lnTo>
                    <a:pt x="109490" y="105223"/>
                  </a:lnTo>
                  <a:lnTo>
                    <a:pt x="101412" y="103613"/>
                  </a:lnTo>
                  <a:lnTo>
                    <a:pt x="104317" y="93288"/>
                  </a:lnTo>
                  <a:lnTo>
                    <a:pt x="89858" y="85573"/>
                  </a:lnTo>
                  <a:lnTo>
                    <a:pt x="78362" y="97365"/>
                  </a:lnTo>
                  <a:lnTo>
                    <a:pt x="75533" y="110966"/>
                  </a:lnTo>
                  <a:lnTo>
                    <a:pt x="71428" y="115900"/>
                  </a:lnTo>
                  <a:lnTo>
                    <a:pt x="55464" y="115195"/>
                  </a:lnTo>
                  <a:lnTo>
                    <a:pt x="46854" y="130521"/>
                  </a:lnTo>
                  <a:lnTo>
                    <a:pt x="37842" y="124073"/>
                  </a:lnTo>
                  <a:lnTo>
                    <a:pt x="18516" y="134798"/>
                  </a:lnTo>
                  <a:lnTo>
                    <a:pt x="10353" y="130731"/>
                  </a:lnTo>
                  <a:lnTo>
                    <a:pt x="25365" y="96736"/>
                  </a:lnTo>
                  <a:lnTo>
                    <a:pt x="19593" y="71419"/>
                  </a:lnTo>
                  <a:lnTo>
                    <a:pt x="0" y="63255"/>
                  </a:lnTo>
                  <a:lnTo>
                    <a:pt x="6925" y="48101"/>
                  </a:lnTo>
                  <a:lnTo>
                    <a:pt x="29223" y="49721"/>
                  </a:lnTo>
                  <a:lnTo>
                    <a:pt x="41910" y="30585"/>
                  </a:lnTo>
                  <a:lnTo>
                    <a:pt x="50406" y="8172"/>
                  </a:lnTo>
                  <a:lnTo>
                    <a:pt x="86116" y="0"/>
                  </a:lnTo>
                  <a:lnTo>
                    <a:pt x="80553" y="16278"/>
                  </a:lnTo>
                  <a:lnTo>
                    <a:pt x="84372" y="2598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9" name="Forme libre : forme 5808">
              <a:extLst>
                <a:ext uri="{FF2B5EF4-FFF2-40B4-BE49-F238E27FC236}">
                  <a16:creationId xmlns:a16="http://schemas.microsoft.com/office/drawing/2014/main" id="{24123397-52AE-F7B9-CAC4-456EC432D5DE}"/>
                </a:ext>
              </a:extLst>
            </p:cNvPr>
            <p:cNvSpPr/>
            <p:nvPr/>
          </p:nvSpPr>
          <p:spPr>
            <a:xfrm>
              <a:off x="9158392" y="4962910"/>
              <a:ext cx="63226" cy="30070"/>
            </a:xfrm>
            <a:custGeom>
              <a:avLst/>
              <a:gdLst>
                <a:gd name="connsiteX0" fmla="*/ 0 w 63226"/>
                <a:gd name="connsiteY0" fmla="*/ 16621 h 30070"/>
                <a:gd name="connsiteX1" fmla="*/ 3153 w 63226"/>
                <a:gd name="connsiteY1" fmla="*/ 10287 h 30070"/>
                <a:gd name="connsiteX2" fmla="*/ 26137 w 63226"/>
                <a:gd name="connsiteY2" fmla="*/ 4258 h 30070"/>
                <a:gd name="connsiteX3" fmla="*/ 44768 w 63226"/>
                <a:gd name="connsiteY3" fmla="*/ 3343 h 30070"/>
                <a:gd name="connsiteX4" fmla="*/ 53121 w 63226"/>
                <a:gd name="connsiteY4" fmla="*/ 0 h 30070"/>
                <a:gd name="connsiteX5" fmla="*/ 63227 w 63226"/>
                <a:gd name="connsiteY5" fmla="*/ 3315 h 30070"/>
                <a:gd name="connsiteX6" fmla="*/ 53407 w 63226"/>
                <a:gd name="connsiteY6" fmla="*/ 10592 h 30070"/>
                <a:gd name="connsiteX7" fmla="*/ 25565 w 63226"/>
                <a:gd name="connsiteY7" fmla="*/ 22346 h 30070"/>
                <a:gd name="connsiteX8" fmla="*/ 3200 w 63226"/>
                <a:gd name="connsiteY8" fmla="*/ 30070 h 30070"/>
                <a:gd name="connsiteX9" fmla="*/ 2715 w 63226"/>
                <a:gd name="connsiteY9" fmla="*/ 21917 h 30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226" h="30070">
                  <a:moveTo>
                    <a:pt x="0" y="16621"/>
                  </a:moveTo>
                  <a:lnTo>
                    <a:pt x="3153" y="10287"/>
                  </a:lnTo>
                  <a:lnTo>
                    <a:pt x="26137" y="4258"/>
                  </a:lnTo>
                  <a:lnTo>
                    <a:pt x="44768" y="3343"/>
                  </a:lnTo>
                  <a:lnTo>
                    <a:pt x="53121" y="0"/>
                  </a:lnTo>
                  <a:lnTo>
                    <a:pt x="63227" y="3315"/>
                  </a:lnTo>
                  <a:lnTo>
                    <a:pt x="53407" y="10592"/>
                  </a:lnTo>
                  <a:lnTo>
                    <a:pt x="25565" y="22346"/>
                  </a:lnTo>
                  <a:lnTo>
                    <a:pt x="3200" y="30070"/>
                  </a:lnTo>
                  <a:lnTo>
                    <a:pt x="2715" y="219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90" name="Forme libre : forme 5809">
              <a:extLst>
                <a:ext uri="{FF2B5EF4-FFF2-40B4-BE49-F238E27FC236}">
                  <a16:creationId xmlns:a16="http://schemas.microsoft.com/office/drawing/2014/main" id="{90ED526E-5404-DFB0-3940-7AFAC02B3E17}"/>
                </a:ext>
              </a:extLst>
            </p:cNvPr>
            <p:cNvSpPr/>
            <p:nvPr/>
          </p:nvSpPr>
          <p:spPr>
            <a:xfrm>
              <a:off x="7223064" y="3484268"/>
              <a:ext cx="375066" cy="256508"/>
            </a:xfrm>
            <a:custGeom>
              <a:avLst/>
              <a:gdLst>
                <a:gd name="connsiteX0" fmla="*/ 232572 w 375066"/>
                <a:gd name="connsiteY0" fmla="*/ 244126 h 256508"/>
                <a:gd name="connsiteX1" fmla="*/ 230229 w 375066"/>
                <a:gd name="connsiteY1" fmla="*/ 216446 h 256508"/>
                <a:gd name="connsiteX2" fmla="*/ 210322 w 375066"/>
                <a:gd name="connsiteY2" fmla="*/ 215255 h 256508"/>
                <a:gd name="connsiteX3" fmla="*/ 179804 w 375066"/>
                <a:gd name="connsiteY3" fmla="*/ 185776 h 256508"/>
                <a:gd name="connsiteX4" fmla="*/ 158477 w 375066"/>
                <a:gd name="connsiteY4" fmla="*/ 182118 h 256508"/>
                <a:gd name="connsiteX5" fmla="*/ 128940 w 375066"/>
                <a:gd name="connsiteY5" fmla="*/ 165059 h 256508"/>
                <a:gd name="connsiteX6" fmla="*/ 109947 w 375066"/>
                <a:gd name="connsiteY6" fmla="*/ 161944 h 256508"/>
                <a:gd name="connsiteX7" fmla="*/ 98222 w 375066"/>
                <a:gd name="connsiteY7" fmla="*/ 168240 h 256508"/>
                <a:gd name="connsiteX8" fmla="*/ 80363 w 375066"/>
                <a:gd name="connsiteY8" fmla="*/ 167259 h 256508"/>
                <a:gd name="connsiteX9" fmla="*/ 61370 w 375066"/>
                <a:gd name="connsiteY9" fmla="*/ 186471 h 256508"/>
                <a:gd name="connsiteX10" fmla="*/ 37900 w 375066"/>
                <a:gd name="connsiteY10" fmla="*/ 192939 h 256508"/>
                <a:gd name="connsiteX11" fmla="*/ 32938 w 375066"/>
                <a:gd name="connsiteY11" fmla="*/ 169212 h 256508"/>
                <a:gd name="connsiteX12" fmla="*/ 36815 w 375066"/>
                <a:gd name="connsiteY12" fmla="*/ 133703 h 256508"/>
                <a:gd name="connsiteX13" fmla="*/ 15993 w 375066"/>
                <a:gd name="connsiteY13" fmla="*/ 122091 h 256508"/>
                <a:gd name="connsiteX14" fmla="*/ 22841 w 375066"/>
                <a:gd name="connsiteY14" fmla="*/ 98441 h 256508"/>
                <a:gd name="connsiteX15" fmla="*/ 5115 w 375066"/>
                <a:gd name="connsiteY15" fmla="*/ 96422 h 256508"/>
                <a:gd name="connsiteX16" fmla="*/ 11021 w 375066"/>
                <a:gd name="connsiteY16" fmla="*/ 66951 h 256508"/>
                <a:gd name="connsiteX17" fmla="*/ 36214 w 375066"/>
                <a:gd name="connsiteY17" fmla="*/ 75571 h 256508"/>
                <a:gd name="connsiteX18" fmla="*/ 59674 w 375066"/>
                <a:gd name="connsiteY18" fmla="*/ 64322 h 256508"/>
                <a:gd name="connsiteX19" fmla="*/ 40224 w 375066"/>
                <a:gd name="connsiteY19" fmla="*/ 43091 h 256508"/>
                <a:gd name="connsiteX20" fmla="*/ 32566 w 375066"/>
                <a:gd name="connsiteY20" fmla="*/ 22660 h 256508"/>
                <a:gd name="connsiteX21" fmla="*/ 11069 w 375066"/>
                <a:gd name="connsiteY21" fmla="*/ 31795 h 256508"/>
                <a:gd name="connsiteX22" fmla="*/ 8344 w 375066"/>
                <a:gd name="connsiteY22" fmla="*/ 57826 h 256508"/>
                <a:gd name="connsiteX23" fmla="*/ 0 w 375066"/>
                <a:gd name="connsiteY23" fmla="*/ 34823 h 256508"/>
                <a:gd name="connsiteX24" fmla="*/ 11802 w 375066"/>
                <a:gd name="connsiteY24" fmla="*/ 22917 h 256508"/>
                <a:gd name="connsiteX25" fmla="*/ 42120 w 375066"/>
                <a:gd name="connsiteY25" fmla="*/ 15440 h 256508"/>
                <a:gd name="connsiteX26" fmla="*/ 60170 w 375066"/>
                <a:gd name="connsiteY26" fmla="*/ 25498 h 256508"/>
                <a:gd name="connsiteX27" fmla="*/ 78858 w 375066"/>
                <a:gd name="connsiteY27" fmla="*/ 53426 h 256508"/>
                <a:gd name="connsiteX28" fmla="*/ 92564 w 375066"/>
                <a:gd name="connsiteY28" fmla="*/ 51692 h 256508"/>
                <a:gd name="connsiteX29" fmla="*/ 122692 w 375066"/>
                <a:gd name="connsiteY29" fmla="*/ 51206 h 256508"/>
                <a:gd name="connsiteX30" fmla="*/ 118310 w 375066"/>
                <a:gd name="connsiteY30" fmla="*/ 33299 h 256508"/>
                <a:gd name="connsiteX31" fmla="*/ 141123 w 375066"/>
                <a:gd name="connsiteY31" fmla="*/ 20964 h 256508"/>
                <a:gd name="connsiteX32" fmla="*/ 163621 w 375066"/>
                <a:gd name="connsiteY32" fmla="*/ 0 h 256508"/>
                <a:gd name="connsiteX33" fmla="*/ 199606 w 375066"/>
                <a:gd name="connsiteY33" fmla="*/ 19069 h 256508"/>
                <a:gd name="connsiteX34" fmla="*/ 202464 w 375066"/>
                <a:gd name="connsiteY34" fmla="*/ 47568 h 256508"/>
                <a:gd name="connsiteX35" fmla="*/ 212684 w 375066"/>
                <a:gd name="connsiteY35" fmla="*/ 54816 h 256508"/>
                <a:gd name="connsiteX36" fmla="*/ 241554 w 375066"/>
                <a:gd name="connsiteY36" fmla="*/ 53188 h 256508"/>
                <a:gd name="connsiteX37" fmla="*/ 250517 w 375066"/>
                <a:gd name="connsiteY37" fmla="*/ 59607 h 256508"/>
                <a:gd name="connsiteX38" fmla="*/ 263653 w 375066"/>
                <a:gd name="connsiteY38" fmla="*/ 95717 h 256508"/>
                <a:gd name="connsiteX39" fmla="*/ 294190 w 375066"/>
                <a:gd name="connsiteY39" fmla="*/ 119596 h 256508"/>
                <a:gd name="connsiteX40" fmla="*/ 311611 w 375066"/>
                <a:gd name="connsiteY40" fmla="*/ 135741 h 256508"/>
                <a:gd name="connsiteX41" fmla="*/ 339538 w 375066"/>
                <a:gd name="connsiteY41" fmla="*/ 152419 h 256508"/>
                <a:gd name="connsiteX42" fmla="*/ 375066 w 375066"/>
                <a:gd name="connsiteY42" fmla="*/ 166897 h 256508"/>
                <a:gd name="connsiteX43" fmla="*/ 374333 w 375066"/>
                <a:gd name="connsiteY43" fmla="*/ 187462 h 256508"/>
                <a:gd name="connsiteX44" fmla="*/ 366284 w 375066"/>
                <a:gd name="connsiteY44" fmla="*/ 186423 h 256508"/>
                <a:gd name="connsiteX45" fmla="*/ 353682 w 375066"/>
                <a:gd name="connsiteY45" fmla="*/ 177460 h 256508"/>
                <a:gd name="connsiteX46" fmla="*/ 349491 w 375066"/>
                <a:gd name="connsiteY46" fmla="*/ 189386 h 256508"/>
                <a:gd name="connsiteX47" fmla="*/ 326984 w 375066"/>
                <a:gd name="connsiteY47" fmla="*/ 195844 h 256508"/>
                <a:gd name="connsiteX48" fmla="*/ 321650 w 375066"/>
                <a:gd name="connsiteY48" fmla="*/ 222371 h 256508"/>
                <a:gd name="connsiteX49" fmla="*/ 306600 w 375066"/>
                <a:gd name="connsiteY49" fmla="*/ 232391 h 256508"/>
                <a:gd name="connsiteX50" fmla="*/ 285522 w 375066"/>
                <a:gd name="connsiteY50" fmla="*/ 237334 h 256508"/>
                <a:gd name="connsiteX51" fmla="*/ 279950 w 375066"/>
                <a:gd name="connsiteY51" fmla="*/ 252165 h 256508"/>
                <a:gd name="connsiteX52" fmla="*/ 259804 w 375066"/>
                <a:gd name="connsiteY52" fmla="*/ 256508 h 256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75066" h="256508">
                  <a:moveTo>
                    <a:pt x="232572" y="244126"/>
                  </a:moveTo>
                  <a:lnTo>
                    <a:pt x="230229" y="216446"/>
                  </a:lnTo>
                  <a:lnTo>
                    <a:pt x="210322" y="215255"/>
                  </a:lnTo>
                  <a:lnTo>
                    <a:pt x="179804" y="185776"/>
                  </a:lnTo>
                  <a:lnTo>
                    <a:pt x="158477" y="182118"/>
                  </a:lnTo>
                  <a:lnTo>
                    <a:pt x="128940" y="165059"/>
                  </a:lnTo>
                  <a:lnTo>
                    <a:pt x="109947" y="161944"/>
                  </a:lnTo>
                  <a:lnTo>
                    <a:pt x="98222" y="168240"/>
                  </a:lnTo>
                  <a:lnTo>
                    <a:pt x="80363" y="167259"/>
                  </a:lnTo>
                  <a:lnTo>
                    <a:pt x="61370" y="186471"/>
                  </a:lnTo>
                  <a:lnTo>
                    <a:pt x="37900" y="192939"/>
                  </a:lnTo>
                  <a:lnTo>
                    <a:pt x="32938" y="169212"/>
                  </a:lnTo>
                  <a:lnTo>
                    <a:pt x="36815" y="133703"/>
                  </a:lnTo>
                  <a:lnTo>
                    <a:pt x="15993" y="122091"/>
                  </a:lnTo>
                  <a:lnTo>
                    <a:pt x="22841" y="98441"/>
                  </a:lnTo>
                  <a:lnTo>
                    <a:pt x="5115" y="96422"/>
                  </a:lnTo>
                  <a:lnTo>
                    <a:pt x="11021" y="66951"/>
                  </a:lnTo>
                  <a:lnTo>
                    <a:pt x="36214" y="75571"/>
                  </a:lnTo>
                  <a:lnTo>
                    <a:pt x="59674" y="64322"/>
                  </a:lnTo>
                  <a:lnTo>
                    <a:pt x="40224" y="43091"/>
                  </a:lnTo>
                  <a:lnTo>
                    <a:pt x="32566" y="22660"/>
                  </a:lnTo>
                  <a:lnTo>
                    <a:pt x="11069" y="31795"/>
                  </a:lnTo>
                  <a:lnTo>
                    <a:pt x="8344" y="57826"/>
                  </a:lnTo>
                  <a:lnTo>
                    <a:pt x="0" y="34823"/>
                  </a:lnTo>
                  <a:lnTo>
                    <a:pt x="11802" y="22917"/>
                  </a:lnTo>
                  <a:lnTo>
                    <a:pt x="42120" y="15440"/>
                  </a:lnTo>
                  <a:lnTo>
                    <a:pt x="60170" y="25498"/>
                  </a:lnTo>
                  <a:lnTo>
                    <a:pt x="78858" y="53426"/>
                  </a:lnTo>
                  <a:lnTo>
                    <a:pt x="92564" y="51692"/>
                  </a:lnTo>
                  <a:lnTo>
                    <a:pt x="122692" y="51206"/>
                  </a:lnTo>
                  <a:lnTo>
                    <a:pt x="118310" y="33299"/>
                  </a:lnTo>
                  <a:lnTo>
                    <a:pt x="141123" y="20964"/>
                  </a:lnTo>
                  <a:lnTo>
                    <a:pt x="163621" y="0"/>
                  </a:lnTo>
                  <a:lnTo>
                    <a:pt x="199606" y="19069"/>
                  </a:lnTo>
                  <a:lnTo>
                    <a:pt x="202464" y="47568"/>
                  </a:lnTo>
                  <a:lnTo>
                    <a:pt x="212684" y="54816"/>
                  </a:lnTo>
                  <a:lnTo>
                    <a:pt x="241554" y="53188"/>
                  </a:lnTo>
                  <a:lnTo>
                    <a:pt x="250517" y="59607"/>
                  </a:lnTo>
                  <a:lnTo>
                    <a:pt x="263653" y="95717"/>
                  </a:lnTo>
                  <a:lnTo>
                    <a:pt x="294190" y="119596"/>
                  </a:lnTo>
                  <a:lnTo>
                    <a:pt x="311611" y="135741"/>
                  </a:lnTo>
                  <a:lnTo>
                    <a:pt x="339538" y="152419"/>
                  </a:lnTo>
                  <a:lnTo>
                    <a:pt x="375066" y="166897"/>
                  </a:lnTo>
                  <a:lnTo>
                    <a:pt x="374333" y="187462"/>
                  </a:lnTo>
                  <a:lnTo>
                    <a:pt x="366284" y="186423"/>
                  </a:lnTo>
                  <a:lnTo>
                    <a:pt x="353682" y="177460"/>
                  </a:lnTo>
                  <a:lnTo>
                    <a:pt x="349491" y="189386"/>
                  </a:lnTo>
                  <a:lnTo>
                    <a:pt x="326984" y="195844"/>
                  </a:lnTo>
                  <a:lnTo>
                    <a:pt x="321650" y="222371"/>
                  </a:lnTo>
                  <a:lnTo>
                    <a:pt x="306600" y="232391"/>
                  </a:lnTo>
                  <a:lnTo>
                    <a:pt x="285522" y="237334"/>
                  </a:lnTo>
                  <a:lnTo>
                    <a:pt x="279950" y="252165"/>
                  </a:lnTo>
                  <a:lnTo>
                    <a:pt x="259804" y="2565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91" name="Forme libre : forme 5810">
              <a:extLst>
                <a:ext uri="{FF2B5EF4-FFF2-40B4-BE49-F238E27FC236}">
                  <a16:creationId xmlns:a16="http://schemas.microsoft.com/office/drawing/2014/main" id="{9CB6B68E-F577-9D19-A25A-D19D9A2A3E52}"/>
                </a:ext>
              </a:extLst>
            </p:cNvPr>
            <p:cNvSpPr/>
            <p:nvPr/>
          </p:nvSpPr>
          <p:spPr>
            <a:xfrm>
              <a:off x="6021857" y="3672158"/>
              <a:ext cx="105870" cy="225637"/>
            </a:xfrm>
            <a:custGeom>
              <a:avLst/>
              <a:gdLst>
                <a:gd name="connsiteX0" fmla="*/ 52273 w 105870"/>
                <a:gd name="connsiteY0" fmla="*/ 225638 h 225637"/>
                <a:gd name="connsiteX1" fmla="*/ 40891 w 105870"/>
                <a:gd name="connsiteY1" fmla="*/ 169850 h 225637"/>
                <a:gd name="connsiteX2" fmla="*/ 24422 w 105870"/>
                <a:gd name="connsiteY2" fmla="*/ 157163 h 225637"/>
                <a:gd name="connsiteX3" fmla="*/ 24193 w 105870"/>
                <a:gd name="connsiteY3" fmla="*/ 149523 h 225637"/>
                <a:gd name="connsiteX4" fmla="*/ 2352 w 105870"/>
                <a:gd name="connsiteY4" fmla="*/ 130626 h 225637"/>
                <a:gd name="connsiteX5" fmla="*/ 0 w 105870"/>
                <a:gd name="connsiteY5" fmla="*/ 106556 h 225637"/>
                <a:gd name="connsiteX6" fmla="*/ 16459 w 105870"/>
                <a:gd name="connsiteY6" fmla="*/ 88582 h 225637"/>
                <a:gd name="connsiteX7" fmla="*/ 22746 w 105870"/>
                <a:gd name="connsiteY7" fmla="*/ 61798 h 225637"/>
                <a:gd name="connsiteX8" fmla="*/ 18507 w 105870"/>
                <a:gd name="connsiteY8" fmla="*/ 30480 h 225637"/>
                <a:gd name="connsiteX9" fmla="*/ 23936 w 105870"/>
                <a:gd name="connsiteY9" fmla="*/ 13459 h 225637"/>
                <a:gd name="connsiteX10" fmla="*/ 53016 w 105870"/>
                <a:gd name="connsiteY10" fmla="*/ 0 h 225637"/>
                <a:gd name="connsiteX11" fmla="*/ 71714 w 105870"/>
                <a:gd name="connsiteY11" fmla="*/ 4010 h 225637"/>
                <a:gd name="connsiteX12" fmla="*/ 70933 w 105870"/>
                <a:gd name="connsiteY12" fmla="*/ 20850 h 225637"/>
                <a:gd name="connsiteX13" fmla="*/ 93583 w 105870"/>
                <a:gd name="connsiteY13" fmla="*/ 8611 h 225637"/>
                <a:gd name="connsiteX14" fmla="*/ 95488 w 105870"/>
                <a:gd name="connsiteY14" fmla="*/ 15011 h 225637"/>
                <a:gd name="connsiteX15" fmla="*/ 82134 w 105870"/>
                <a:gd name="connsiteY15" fmla="*/ 31252 h 225637"/>
                <a:gd name="connsiteX16" fmla="*/ 81953 w 105870"/>
                <a:gd name="connsiteY16" fmla="*/ 46482 h 225637"/>
                <a:gd name="connsiteX17" fmla="*/ 91202 w 105870"/>
                <a:gd name="connsiteY17" fmla="*/ 54635 h 225637"/>
                <a:gd name="connsiteX18" fmla="*/ 87687 w 105870"/>
                <a:gd name="connsiteY18" fmla="*/ 82820 h 225637"/>
                <a:gd name="connsiteX19" fmla="*/ 70104 w 105870"/>
                <a:gd name="connsiteY19" fmla="*/ 99050 h 225637"/>
                <a:gd name="connsiteX20" fmla="*/ 75181 w 105870"/>
                <a:gd name="connsiteY20" fmla="*/ 116538 h 225637"/>
                <a:gd name="connsiteX21" fmla="*/ 88992 w 105870"/>
                <a:gd name="connsiteY21" fmla="*/ 117081 h 225637"/>
                <a:gd name="connsiteX22" fmla="*/ 95707 w 105870"/>
                <a:gd name="connsiteY22" fmla="*/ 132245 h 225637"/>
                <a:gd name="connsiteX23" fmla="*/ 105870 w 105870"/>
                <a:gd name="connsiteY23" fmla="*/ 137208 h 225637"/>
                <a:gd name="connsiteX24" fmla="*/ 104356 w 105870"/>
                <a:gd name="connsiteY24" fmla="*/ 161487 h 225637"/>
                <a:gd name="connsiteX25" fmla="*/ 91335 w 105870"/>
                <a:gd name="connsiteY25" fmla="*/ 170507 h 225637"/>
                <a:gd name="connsiteX26" fmla="*/ 83115 w 105870"/>
                <a:gd name="connsiteY26" fmla="*/ 180537 h 225637"/>
                <a:gd name="connsiteX27" fmla="*/ 64779 w 105870"/>
                <a:gd name="connsiteY27" fmla="*/ 192557 h 225637"/>
                <a:gd name="connsiteX28" fmla="*/ 67618 w 105870"/>
                <a:gd name="connsiteY28" fmla="*/ 205426 h 225637"/>
                <a:gd name="connsiteX29" fmla="*/ 65313 w 105870"/>
                <a:gd name="connsiteY29" fmla="*/ 218494 h 22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870" h="225637">
                  <a:moveTo>
                    <a:pt x="52273" y="225638"/>
                  </a:moveTo>
                  <a:lnTo>
                    <a:pt x="40891" y="169850"/>
                  </a:lnTo>
                  <a:lnTo>
                    <a:pt x="24422" y="157163"/>
                  </a:lnTo>
                  <a:lnTo>
                    <a:pt x="24193" y="149523"/>
                  </a:lnTo>
                  <a:lnTo>
                    <a:pt x="2352" y="130626"/>
                  </a:lnTo>
                  <a:lnTo>
                    <a:pt x="0" y="106556"/>
                  </a:lnTo>
                  <a:lnTo>
                    <a:pt x="16459" y="88582"/>
                  </a:lnTo>
                  <a:lnTo>
                    <a:pt x="22746" y="61798"/>
                  </a:lnTo>
                  <a:lnTo>
                    <a:pt x="18507" y="30480"/>
                  </a:lnTo>
                  <a:lnTo>
                    <a:pt x="23936" y="13459"/>
                  </a:lnTo>
                  <a:lnTo>
                    <a:pt x="53016" y="0"/>
                  </a:lnTo>
                  <a:lnTo>
                    <a:pt x="71714" y="4010"/>
                  </a:lnTo>
                  <a:lnTo>
                    <a:pt x="70933" y="20850"/>
                  </a:lnTo>
                  <a:lnTo>
                    <a:pt x="93583" y="8611"/>
                  </a:lnTo>
                  <a:lnTo>
                    <a:pt x="95488" y="15011"/>
                  </a:lnTo>
                  <a:lnTo>
                    <a:pt x="82134" y="31252"/>
                  </a:lnTo>
                  <a:lnTo>
                    <a:pt x="81953" y="46482"/>
                  </a:lnTo>
                  <a:lnTo>
                    <a:pt x="91202" y="54635"/>
                  </a:lnTo>
                  <a:lnTo>
                    <a:pt x="87687" y="82820"/>
                  </a:lnTo>
                  <a:lnTo>
                    <a:pt x="70104" y="99050"/>
                  </a:lnTo>
                  <a:lnTo>
                    <a:pt x="75181" y="116538"/>
                  </a:lnTo>
                  <a:lnTo>
                    <a:pt x="88992" y="117081"/>
                  </a:lnTo>
                  <a:lnTo>
                    <a:pt x="95707" y="132245"/>
                  </a:lnTo>
                  <a:lnTo>
                    <a:pt x="105870" y="137208"/>
                  </a:lnTo>
                  <a:lnTo>
                    <a:pt x="104356" y="161487"/>
                  </a:lnTo>
                  <a:lnTo>
                    <a:pt x="91335" y="170507"/>
                  </a:lnTo>
                  <a:lnTo>
                    <a:pt x="83115" y="180537"/>
                  </a:lnTo>
                  <a:lnTo>
                    <a:pt x="64779" y="192557"/>
                  </a:lnTo>
                  <a:lnTo>
                    <a:pt x="67618" y="205426"/>
                  </a:lnTo>
                  <a:lnTo>
                    <a:pt x="65313" y="218494"/>
                  </a:lnTo>
                  <a:close/>
                </a:path>
              </a:pathLst>
            </a:custGeom>
            <a:gradFill>
              <a:gsLst>
                <a:gs pos="58000">
                  <a:schemeClr val="accent1"/>
                </a:gs>
                <a:gs pos="16000">
                  <a:srgbClr val="8B1D82"/>
                </a:gs>
                <a:gs pos="0">
                  <a:srgbClr val="4D1D82"/>
                </a:gs>
                <a:gs pos="100000">
                  <a:srgbClr val="F07D00"/>
                </a:gs>
              </a:gsLst>
              <a:lin ang="18900000" scaled="0"/>
            </a:gra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92" name="Forme libre : forme 5811">
              <a:extLst>
                <a:ext uri="{FF2B5EF4-FFF2-40B4-BE49-F238E27FC236}">
                  <a16:creationId xmlns:a16="http://schemas.microsoft.com/office/drawing/2014/main" id="{E4F344C7-10B4-8D9C-9778-DFF4EDE593CC}"/>
                </a:ext>
              </a:extLst>
            </p:cNvPr>
            <p:cNvSpPr/>
            <p:nvPr/>
          </p:nvSpPr>
          <p:spPr>
            <a:xfrm>
              <a:off x="6516433" y="3506270"/>
              <a:ext cx="500757" cy="216512"/>
            </a:xfrm>
            <a:custGeom>
              <a:avLst/>
              <a:gdLst>
                <a:gd name="connsiteX0" fmla="*/ 290293 w 500757"/>
                <a:gd name="connsiteY0" fmla="*/ 28747 h 216512"/>
                <a:gd name="connsiteX1" fmla="*/ 328603 w 500757"/>
                <a:gd name="connsiteY1" fmla="*/ 42415 h 216512"/>
                <a:gd name="connsiteX2" fmla="*/ 359711 w 500757"/>
                <a:gd name="connsiteY2" fmla="*/ 36976 h 216512"/>
                <a:gd name="connsiteX3" fmla="*/ 382705 w 500757"/>
                <a:gd name="connsiteY3" fmla="*/ 40119 h 216512"/>
                <a:gd name="connsiteX4" fmla="*/ 414242 w 500757"/>
                <a:gd name="connsiteY4" fmla="*/ 21641 h 216512"/>
                <a:gd name="connsiteX5" fmla="*/ 442693 w 500757"/>
                <a:gd name="connsiteY5" fmla="*/ 19955 h 216512"/>
                <a:gd name="connsiteX6" fmla="*/ 468420 w 500757"/>
                <a:gd name="connsiteY6" fmla="*/ 37357 h 216512"/>
                <a:gd name="connsiteX7" fmla="*/ 472954 w 500757"/>
                <a:gd name="connsiteY7" fmla="*/ 49749 h 216512"/>
                <a:gd name="connsiteX8" fmla="*/ 470382 w 500757"/>
                <a:gd name="connsiteY8" fmla="*/ 66780 h 216512"/>
                <a:gd name="connsiteX9" fmla="*/ 490242 w 500757"/>
                <a:gd name="connsiteY9" fmla="*/ 75429 h 216512"/>
                <a:gd name="connsiteX10" fmla="*/ 500758 w 500757"/>
                <a:gd name="connsiteY10" fmla="*/ 85554 h 216512"/>
                <a:gd name="connsiteX11" fmla="*/ 482469 w 500757"/>
                <a:gd name="connsiteY11" fmla="*/ 95383 h 216512"/>
                <a:gd name="connsiteX12" fmla="*/ 490804 w 500757"/>
                <a:gd name="connsiteY12" fmla="*/ 134550 h 216512"/>
                <a:gd name="connsiteX13" fmla="*/ 485575 w 500757"/>
                <a:gd name="connsiteY13" fmla="*/ 145028 h 216512"/>
                <a:gd name="connsiteX14" fmla="*/ 500186 w 500757"/>
                <a:gd name="connsiteY14" fmla="*/ 171907 h 216512"/>
                <a:gd name="connsiteX15" fmla="*/ 487384 w 500757"/>
                <a:gd name="connsiteY15" fmla="*/ 177537 h 216512"/>
                <a:gd name="connsiteX16" fmla="*/ 478002 w 500757"/>
                <a:gd name="connsiteY16" fmla="*/ 169040 h 216512"/>
                <a:gd name="connsiteX17" fmla="*/ 446941 w 500757"/>
                <a:gd name="connsiteY17" fmla="*/ 164725 h 216512"/>
                <a:gd name="connsiteX18" fmla="*/ 435473 w 500757"/>
                <a:gd name="connsiteY18" fmla="*/ 169917 h 216512"/>
                <a:gd name="connsiteX19" fmla="*/ 405098 w 500757"/>
                <a:gd name="connsiteY19" fmla="*/ 175098 h 216512"/>
                <a:gd name="connsiteX20" fmla="*/ 390706 w 500757"/>
                <a:gd name="connsiteY20" fmla="*/ 174536 h 216512"/>
                <a:gd name="connsiteX21" fmla="*/ 359969 w 500757"/>
                <a:gd name="connsiteY21" fmla="*/ 187014 h 216512"/>
                <a:gd name="connsiteX22" fmla="*/ 337995 w 500757"/>
                <a:gd name="connsiteY22" fmla="*/ 187119 h 216512"/>
                <a:gd name="connsiteX23" fmla="*/ 323783 w 500757"/>
                <a:gd name="connsiteY23" fmla="*/ 180870 h 216512"/>
                <a:gd name="connsiteX24" fmla="*/ 294380 w 500757"/>
                <a:gd name="connsiteY24" fmla="*/ 190100 h 216512"/>
                <a:gd name="connsiteX25" fmla="*/ 285645 w 500757"/>
                <a:gd name="connsiteY25" fmla="*/ 183652 h 216512"/>
                <a:gd name="connsiteX26" fmla="*/ 284197 w 500757"/>
                <a:gd name="connsiteY26" fmla="*/ 202111 h 216512"/>
                <a:gd name="connsiteX27" fmla="*/ 277044 w 500757"/>
                <a:gd name="connsiteY27" fmla="*/ 209322 h 216512"/>
                <a:gd name="connsiteX28" fmla="*/ 269891 w 500757"/>
                <a:gd name="connsiteY28" fmla="*/ 216513 h 216512"/>
                <a:gd name="connsiteX29" fmla="*/ 260070 w 500757"/>
                <a:gd name="connsiteY29" fmla="*/ 201597 h 216512"/>
                <a:gd name="connsiteX30" fmla="*/ 270186 w 500757"/>
                <a:gd name="connsiteY30" fmla="*/ 189176 h 216512"/>
                <a:gd name="connsiteX31" fmla="*/ 253898 w 500757"/>
                <a:gd name="connsiteY31" fmla="*/ 191996 h 216512"/>
                <a:gd name="connsiteX32" fmla="*/ 231562 w 500757"/>
                <a:gd name="connsiteY32" fmla="*/ 184366 h 216512"/>
                <a:gd name="connsiteX33" fmla="*/ 213198 w 500757"/>
                <a:gd name="connsiteY33" fmla="*/ 203406 h 216512"/>
                <a:gd name="connsiteX34" fmla="*/ 172669 w 500757"/>
                <a:gd name="connsiteY34" fmla="*/ 207112 h 216512"/>
                <a:gd name="connsiteX35" fmla="*/ 151047 w 500757"/>
                <a:gd name="connsiteY35" fmla="*/ 189386 h 216512"/>
                <a:gd name="connsiteX36" fmla="*/ 122263 w 500757"/>
                <a:gd name="connsiteY36" fmla="*/ 188271 h 216512"/>
                <a:gd name="connsiteX37" fmla="*/ 116110 w 500757"/>
                <a:gd name="connsiteY37" fmla="*/ 201987 h 216512"/>
                <a:gd name="connsiteX38" fmla="*/ 97650 w 500757"/>
                <a:gd name="connsiteY38" fmla="*/ 205902 h 216512"/>
                <a:gd name="connsiteX39" fmla="*/ 71828 w 500757"/>
                <a:gd name="connsiteY39" fmla="*/ 188309 h 216512"/>
                <a:gd name="connsiteX40" fmla="*/ 42672 w 500757"/>
                <a:gd name="connsiteY40" fmla="*/ 188909 h 216512"/>
                <a:gd name="connsiteX41" fmla="*/ 26851 w 500757"/>
                <a:gd name="connsiteY41" fmla="*/ 155724 h 216512"/>
                <a:gd name="connsiteX42" fmla="*/ 7344 w 500757"/>
                <a:gd name="connsiteY42" fmla="*/ 137017 h 216512"/>
                <a:gd name="connsiteX43" fmla="*/ 20335 w 500757"/>
                <a:gd name="connsiteY43" fmla="*/ 110557 h 216512"/>
                <a:gd name="connsiteX44" fmla="*/ 3410 w 500757"/>
                <a:gd name="connsiteY44" fmla="*/ 94145 h 216512"/>
                <a:gd name="connsiteX45" fmla="*/ 33032 w 500757"/>
                <a:gd name="connsiteY45" fmla="*/ 60960 h 216512"/>
                <a:gd name="connsiteX46" fmla="*/ 74161 w 500757"/>
                <a:gd name="connsiteY46" fmla="*/ 59560 h 216512"/>
                <a:gd name="connsiteX47" fmla="*/ 85382 w 500757"/>
                <a:gd name="connsiteY47" fmla="*/ 32833 h 216512"/>
                <a:gd name="connsiteX48" fmla="*/ 136284 w 500757"/>
                <a:gd name="connsiteY48" fmla="*/ 37510 h 216512"/>
                <a:gd name="connsiteX49" fmla="*/ 168392 w 500757"/>
                <a:gd name="connsiteY49" fmla="*/ 14497 h 216512"/>
                <a:gd name="connsiteX50" fmla="*/ 199511 w 500757"/>
                <a:gd name="connsiteY50" fmla="*/ 4391 h 216512"/>
                <a:gd name="connsiteX51" fmla="*/ 243697 w 500757"/>
                <a:gd name="connsiteY51" fmla="*/ 3629 h 216512"/>
                <a:gd name="connsiteX52" fmla="*/ 290293 w 500757"/>
                <a:gd name="connsiteY52" fmla="*/ 28747 h 216512"/>
                <a:gd name="connsiteX53" fmla="*/ 30689 w 500757"/>
                <a:gd name="connsiteY53" fmla="*/ 51483 h 216512"/>
                <a:gd name="connsiteX54" fmla="*/ 8401 w 500757"/>
                <a:gd name="connsiteY54" fmla="*/ 70304 h 216512"/>
                <a:gd name="connsiteX55" fmla="*/ 0 w 500757"/>
                <a:gd name="connsiteY55" fmla="*/ 54035 h 216512"/>
                <a:gd name="connsiteX56" fmla="*/ 371 w 500757"/>
                <a:gd name="connsiteY56" fmla="*/ 46787 h 216512"/>
                <a:gd name="connsiteX57" fmla="*/ 6715 w 500757"/>
                <a:gd name="connsiteY57" fmla="*/ 42844 h 216512"/>
                <a:gd name="connsiteX58" fmla="*/ 14983 w 500757"/>
                <a:gd name="connsiteY58" fmla="*/ 20698 h 216512"/>
                <a:gd name="connsiteX59" fmla="*/ 1971 w 500757"/>
                <a:gd name="connsiteY59" fmla="*/ 11268 h 216512"/>
                <a:gd name="connsiteX60" fmla="*/ 29175 w 500757"/>
                <a:gd name="connsiteY60" fmla="*/ 0 h 216512"/>
                <a:gd name="connsiteX61" fmla="*/ 52168 w 500757"/>
                <a:gd name="connsiteY61" fmla="*/ 4810 h 216512"/>
                <a:gd name="connsiteX62" fmla="*/ 55340 w 500757"/>
                <a:gd name="connsiteY62" fmla="*/ 18536 h 216512"/>
                <a:gd name="connsiteX63" fmla="*/ 78648 w 500757"/>
                <a:gd name="connsiteY63" fmla="*/ 30004 h 216512"/>
                <a:gd name="connsiteX64" fmla="*/ 73790 w 500757"/>
                <a:gd name="connsiteY64" fmla="*/ 38662 h 216512"/>
                <a:gd name="connsiteX65" fmla="*/ 42072 w 500757"/>
                <a:gd name="connsiteY65" fmla="*/ 40605 h 216512"/>
                <a:gd name="connsiteX66" fmla="*/ 30689 w 500757"/>
                <a:gd name="connsiteY66" fmla="*/ 51483 h 216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500757" h="216512">
                  <a:moveTo>
                    <a:pt x="290293" y="28747"/>
                  </a:moveTo>
                  <a:lnTo>
                    <a:pt x="328603" y="42415"/>
                  </a:lnTo>
                  <a:lnTo>
                    <a:pt x="359711" y="36976"/>
                  </a:lnTo>
                  <a:lnTo>
                    <a:pt x="382705" y="40119"/>
                  </a:lnTo>
                  <a:lnTo>
                    <a:pt x="414242" y="21641"/>
                  </a:lnTo>
                  <a:lnTo>
                    <a:pt x="442693" y="19955"/>
                  </a:lnTo>
                  <a:lnTo>
                    <a:pt x="468420" y="37357"/>
                  </a:lnTo>
                  <a:lnTo>
                    <a:pt x="472954" y="49749"/>
                  </a:lnTo>
                  <a:lnTo>
                    <a:pt x="470382" y="66780"/>
                  </a:lnTo>
                  <a:lnTo>
                    <a:pt x="490242" y="75429"/>
                  </a:lnTo>
                  <a:lnTo>
                    <a:pt x="500758" y="85554"/>
                  </a:lnTo>
                  <a:lnTo>
                    <a:pt x="482469" y="95383"/>
                  </a:lnTo>
                  <a:lnTo>
                    <a:pt x="490804" y="134550"/>
                  </a:lnTo>
                  <a:lnTo>
                    <a:pt x="485575" y="145028"/>
                  </a:lnTo>
                  <a:lnTo>
                    <a:pt x="500186" y="171907"/>
                  </a:lnTo>
                  <a:lnTo>
                    <a:pt x="487384" y="177537"/>
                  </a:lnTo>
                  <a:lnTo>
                    <a:pt x="478002" y="169040"/>
                  </a:lnTo>
                  <a:lnTo>
                    <a:pt x="446941" y="164725"/>
                  </a:lnTo>
                  <a:lnTo>
                    <a:pt x="435473" y="169917"/>
                  </a:lnTo>
                  <a:lnTo>
                    <a:pt x="405098" y="175098"/>
                  </a:lnTo>
                  <a:lnTo>
                    <a:pt x="390706" y="174536"/>
                  </a:lnTo>
                  <a:lnTo>
                    <a:pt x="359969" y="187014"/>
                  </a:lnTo>
                  <a:lnTo>
                    <a:pt x="337995" y="187119"/>
                  </a:lnTo>
                  <a:lnTo>
                    <a:pt x="323783" y="180870"/>
                  </a:lnTo>
                  <a:lnTo>
                    <a:pt x="294380" y="190100"/>
                  </a:lnTo>
                  <a:lnTo>
                    <a:pt x="285645" y="183652"/>
                  </a:lnTo>
                  <a:lnTo>
                    <a:pt x="284197" y="202111"/>
                  </a:lnTo>
                  <a:lnTo>
                    <a:pt x="277044" y="209322"/>
                  </a:lnTo>
                  <a:lnTo>
                    <a:pt x="269891" y="216513"/>
                  </a:lnTo>
                  <a:lnTo>
                    <a:pt x="260070" y="201597"/>
                  </a:lnTo>
                  <a:lnTo>
                    <a:pt x="270186" y="189176"/>
                  </a:lnTo>
                  <a:lnTo>
                    <a:pt x="253898" y="191996"/>
                  </a:lnTo>
                  <a:lnTo>
                    <a:pt x="231562" y="184366"/>
                  </a:lnTo>
                  <a:lnTo>
                    <a:pt x="213198" y="203406"/>
                  </a:lnTo>
                  <a:lnTo>
                    <a:pt x="172669" y="207112"/>
                  </a:lnTo>
                  <a:lnTo>
                    <a:pt x="151047" y="189386"/>
                  </a:lnTo>
                  <a:lnTo>
                    <a:pt x="122263" y="188271"/>
                  </a:lnTo>
                  <a:lnTo>
                    <a:pt x="116110" y="201987"/>
                  </a:lnTo>
                  <a:lnTo>
                    <a:pt x="97650" y="205902"/>
                  </a:lnTo>
                  <a:lnTo>
                    <a:pt x="71828" y="188309"/>
                  </a:lnTo>
                  <a:lnTo>
                    <a:pt x="42672" y="188909"/>
                  </a:lnTo>
                  <a:lnTo>
                    <a:pt x="26851" y="155724"/>
                  </a:lnTo>
                  <a:lnTo>
                    <a:pt x="7344" y="137017"/>
                  </a:lnTo>
                  <a:lnTo>
                    <a:pt x="20335" y="110557"/>
                  </a:lnTo>
                  <a:lnTo>
                    <a:pt x="3410" y="94145"/>
                  </a:lnTo>
                  <a:lnTo>
                    <a:pt x="33032" y="60960"/>
                  </a:lnTo>
                  <a:lnTo>
                    <a:pt x="74161" y="59560"/>
                  </a:lnTo>
                  <a:lnTo>
                    <a:pt x="85382" y="32833"/>
                  </a:lnTo>
                  <a:lnTo>
                    <a:pt x="136284" y="37510"/>
                  </a:lnTo>
                  <a:lnTo>
                    <a:pt x="168392" y="14497"/>
                  </a:lnTo>
                  <a:lnTo>
                    <a:pt x="199511" y="4391"/>
                  </a:lnTo>
                  <a:lnTo>
                    <a:pt x="243697" y="3629"/>
                  </a:lnTo>
                  <a:lnTo>
                    <a:pt x="290293" y="28747"/>
                  </a:lnTo>
                  <a:close/>
                  <a:moveTo>
                    <a:pt x="30689" y="51483"/>
                  </a:moveTo>
                  <a:lnTo>
                    <a:pt x="8401" y="70304"/>
                  </a:lnTo>
                  <a:lnTo>
                    <a:pt x="0" y="54035"/>
                  </a:lnTo>
                  <a:lnTo>
                    <a:pt x="371" y="46787"/>
                  </a:lnTo>
                  <a:lnTo>
                    <a:pt x="6715" y="42844"/>
                  </a:lnTo>
                  <a:lnTo>
                    <a:pt x="14983" y="20698"/>
                  </a:lnTo>
                  <a:lnTo>
                    <a:pt x="1971" y="11268"/>
                  </a:lnTo>
                  <a:lnTo>
                    <a:pt x="29175" y="0"/>
                  </a:lnTo>
                  <a:lnTo>
                    <a:pt x="52168" y="4810"/>
                  </a:lnTo>
                  <a:lnTo>
                    <a:pt x="55340" y="18536"/>
                  </a:lnTo>
                  <a:lnTo>
                    <a:pt x="78648" y="30004"/>
                  </a:lnTo>
                  <a:lnTo>
                    <a:pt x="73790" y="38662"/>
                  </a:lnTo>
                  <a:lnTo>
                    <a:pt x="42072" y="40605"/>
                  </a:lnTo>
                  <a:lnTo>
                    <a:pt x="30689" y="514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93" name="Forme libre : forme 5812">
              <a:extLst>
                <a:ext uri="{FF2B5EF4-FFF2-40B4-BE49-F238E27FC236}">
                  <a16:creationId xmlns:a16="http://schemas.microsoft.com/office/drawing/2014/main" id="{D5F05EDE-E943-55B0-2945-FD650ADEE14F}"/>
                </a:ext>
              </a:extLst>
            </p:cNvPr>
            <p:cNvSpPr/>
            <p:nvPr/>
          </p:nvSpPr>
          <p:spPr>
            <a:xfrm>
              <a:off x="4166415" y="4451989"/>
              <a:ext cx="28175" cy="24012"/>
            </a:xfrm>
            <a:custGeom>
              <a:avLst/>
              <a:gdLst>
                <a:gd name="connsiteX0" fmla="*/ 7220 w 28175"/>
                <a:gd name="connsiteY0" fmla="*/ 3515 h 24012"/>
                <a:gd name="connsiteX1" fmla="*/ 22565 w 28175"/>
                <a:gd name="connsiteY1" fmla="*/ 0 h 24012"/>
                <a:gd name="connsiteX2" fmla="*/ 28175 w 28175"/>
                <a:gd name="connsiteY2" fmla="*/ 943 h 24012"/>
                <a:gd name="connsiteX3" fmla="*/ 27108 w 28175"/>
                <a:gd name="connsiteY3" fmla="*/ 21050 h 24012"/>
                <a:gd name="connsiteX4" fmla="*/ 4810 w 28175"/>
                <a:gd name="connsiteY4" fmla="*/ 24013 h 24012"/>
                <a:gd name="connsiteX5" fmla="*/ 0 w 28175"/>
                <a:gd name="connsiteY5" fmla="*/ 21584 h 24012"/>
                <a:gd name="connsiteX6" fmla="*/ 7744 w 28175"/>
                <a:gd name="connsiteY6" fmla="*/ 14173 h 24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75" h="24012">
                  <a:moveTo>
                    <a:pt x="7220" y="3515"/>
                  </a:moveTo>
                  <a:lnTo>
                    <a:pt x="22565" y="0"/>
                  </a:lnTo>
                  <a:lnTo>
                    <a:pt x="28175" y="943"/>
                  </a:lnTo>
                  <a:lnTo>
                    <a:pt x="27108" y="21050"/>
                  </a:lnTo>
                  <a:lnTo>
                    <a:pt x="4810" y="24013"/>
                  </a:lnTo>
                  <a:lnTo>
                    <a:pt x="0" y="21584"/>
                  </a:lnTo>
                  <a:lnTo>
                    <a:pt x="7744" y="141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94" name="Forme libre : forme 5813">
              <a:extLst>
                <a:ext uri="{FF2B5EF4-FFF2-40B4-BE49-F238E27FC236}">
                  <a16:creationId xmlns:a16="http://schemas.microsoft.com/office/drawing/2014/main" id="{A5E26227-86DF-C5E4-F180-738AC11A3162}"/>
                </a:ext>
              </a:extLst>
            </p:cNvPr>
            <p:cNvSpPr/>
            <p:nvPr/>
          </p:nvSpPr>
          <p:spPr>
            <a:xfrm>
              <a:off x="9028537" y="4048396"/>
              <a:ext cx="49282" cy="96402"/>
            </a:xfrm>
            <a:custGeom>
              <a:avLst/>
              <a:gdLst>
                <a:gd name="connsiteX0" fmla="*/ 44644 w 49282"/>
                <a:gd name="connsiteY0" fmla="*/ 26375 h 96402"/>
                <a:gd name="connsiteX1" fmla="*/ 28566 w 49282"/>
                <a:gd name="connsiteY1" fmla="*/ 72847 h 96402"/>
                <a:gd name="connsiteX2" fmla="*/ 17116 w 49282"/>
                <a:gd name="connsiteY2" fmla="*/ 96403 h 96402"/>
                <a:gd name="connsiteX3" fmla="*/ 3038 w 49282"/>
                <a:gd name="connsiteY3" fmla="*/ 72152 h 96402"/>
                <a:gd name="connsiteX4" fmla="*/ 0 w 49282"/>
                <a:gd name="connsiteY4" fmla="*/ 50730 h 96402"/>
                <a:gd name="connsiteX5" fmla="*/ 15716 w 49282"/>
                <a:gd name="connsiteY5" fmla="*/ 22174 h 96402"/>
                <a:gd name="connsiteX6" fmla="*/ 37090 w 49282"/>
                <a:gd name="connsiteY6" fmla="*/ 0 h 96402"/>
                <a:gd name="connsiteX7" fmla="*/ 49282 w 49282"/>
                <a:gd name="connsiteY7" fmla="*/ 8744 h 9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282" h="96402">
                  <a:moveTo>
                    <a:pt x="44644" y="26375"/>
                  </a:moveTo>
                  <a:lnTo>
                    <a:pt x="28566" y="72847"/>
                  </a:lnTo>
                  <a:lnTo>
                    <a:pt x="17116" y="96403"/>
                  </a:lnTo>
                  <a:lnTo>
                    <a:pt x="3038" y="72152"/>
                  </a:lnTo>
                  <a:lnTo>
                    <a:pt x="0" y="50730"/>
                  </a:lnTo>
                  <a:lnTo>
                    <a:pt x="15716" y="22174"/>
                  </a:lnTo>
                  <a:lnTo>
                    <a:pt x="37090" y="0"/>
                  </a:lnTo>
                  <a:lnTo>
                    <a:pt x="49282" y="87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95" name="Forme libre : forme 5814">
              <a:extLst>
                <a:ext uri="{FF2B5EF4-FFF2-40B4-BE49-F238E27FC236}">
                  <a16:creationId xmlns:a16="http://schemas.microsoft.com/office/drawing/2014/main" id="{E34E8792-BCF2-F29D-76A3-E36434458BD2}"/>
                </a:ext>
              </a:extLst>
            </p:cNvPr>
            <p:cNvSpPr/>
            <p:nvPr/>
          </p:nvSpPr>
          <p:spPr>
            <a:xfrm>
              <a:off x="6604473" y="4767857"/>
              <a:ext cx="293150" cy="287950"/>
            </a:xfrm>
            <a:custGeom>
              <a:avLst/>
              <a:gdLst>
                <a:gd name="connsiteX0" fmla="*/ 121882 w 293150"/>
                <a:gd name="connsiteY0" fmla="*/ 0 h 287950"/>
                <a:gd name="connsiteX1" fmla="*/ 126397 w 293150"/>
                <a:gd name="connsiteY1" fmla="*/ 2915 h 287950"/>
                <a:gd name="connsiteX2" fmla="*/ 223238 w 293150"/>
                <a:gd name="connsiteY2" fmla="*/ 56998 h 287950"/>
                <a:gd name="connsiteX3" fmla="*/ 225057 w 293150"/>
                <a:gd name="connsiteY3" fmla="*/ 72409 h 287950"/>
                <a:gd name="connsiteX4" fmla="*/ 263385 w 293150"/>
                <a:gd name="connsiteY4" fmla="*/ 99003 h 287950"/>
                <a:gd name="connsiteX5" fmla="*/ 251060 w 293150"/>
                <a:gd name="connsiteY5" fmla="*/ 131836 h 287950"/>
                <a:gd name="connsiteX6" fmla="*/ 252641 w 293150"/>
                <a:gd name="connsiteY6" fmla="*/ 146952 h 287950"/>
                <a:gd name="connsiteX7" fmla="*/ 269738 w 293150"/>
                <a:gd name="connsiteY7" fmla="*/ 156686 h 287950"/>
                <a:gd name="connsiteX8" fmla="*/ 270539 w 293150"/>
                <a:gd name="connsiteY8" fmla="*/ 163639 h 287950"/>
                <a:gd name="connsiteX9" fmla="*/ 263185 w 293150"/>
                <a:gd name="connsiteY9" fmla="*/ 179794 h 287950"/>
                <a:gd name="connsiteX10" fmla="*/ 264719 w 293150"/>
                <a:gd name="connsiteY10" fmla="*/ 187938 h 287950"/>
                <a:gd name="connsiteX11" fmla="*/ 262966 w 293150"/>
                <a:gd name="connsiteY11" fmla="*/ 200739 h 287950"/>
                <a:gd name="connsiteX12" fmla="*/ 272291 w 293150"/>
                <a:gd name="connsiteY12" fmla="*/ 217570 h 287950"/>
                <a:gd name="connsiteX13" fmla="*/ 283350 w 293150"/>
                <a:gd name="connsiteY13" fmla="*/ 244107 h 287950"/>
                <a:gd name="connsiteX14" fmla="*/ 293151 w 293150"/>
                <a:gd name="connsiteY14" fmla="*/ 250003 h 287950"/>
                <a:gd name="connsiteX15" fmla="*/ 271901 w 293150"/>
                <a:gd name="connsiteY15" fmla="*/ 265652 h 287950"/>
                <a:gd name="connsiteX16" fmla="*/ 242697 w 293150"/>
                <a:gd name="connsiteY16" fmla="*/ 276149 h 287950"/>
                <a:gd name="connsiteX17" fmla="*/ 226676 w 293150"/>
                <a:gd name="connsiteY17" fmla="*/ 275711 h 287950"/>
                <a:gd name="connsiteX18" fmla="*/ 217161 w 293150"/>
                <a:gd name="connsiteY18" fmla="*/ 283826 h 287950"/>
                <a:gd name="connsiteX19" fmla="*/ 198568 w 293150"/>
                <a:gd name="connsiteY19" fmla="*/ 284521 h 287950"/>
                <a:gd name="connsiteX20" fmla="*/ 191595 w 293150"/>
                <a:gd name="connsiteY20" fmla="*/ 287950 h 287950"/>
                <a:gd name="connsiteX21" fmla="*/ 159505 w 293150"/>
                <a:gd name="connsiteY21" fmla="*/ 280321 h 287950"/>
                <a:gd name="connsiteX22" fmla="*/ 139408 w 293150"/>
                <a:gd name="connsiteY22" fmla="*/ 282502 h 287950"/>
                <a:gd name="connsiteX23" fmla="*/ 131931 w 293150"/>
                <a:gd name="connsiteY23" fmla="*/ 245764 h 287950"/>
                <a:gd name="connsiteX24" fmla="*/ 122873 w 293150"/>
                <a:gd name="connsiteY24" fmla="*/ 233201 h 287950"/>
                <a:gd name="connsiteX25" fmla="*/ 117500 w 293150"/>
                <a:gd name="connsiteY25" fmla="*/ 225762 h 287950"/>
                <a:gd name="connsiteX26" fmla="*/ 91316 w 293150"/>
                <a:gd name="connsiteY26" fmla="*/ 220751 h 287950"/>
                <a:gd name="connsiteX27" fmla="*/ 76162 w 293150"/>
                <a:gd name="connsiteY27" fmla="*/ 212674 h 287950"/>
                <a:gd name="connsiteX28" fmla="*/ 59188 w 293150"/>
                <a:gd name="connsiteY28" fmla="*/ 208159 h 287950"/>
                <a:gd name="connsiteX29" fmla="*/ 48549 w 293150"/>
                <a:gd name="connsiteY29" fmla="*/ 203663 h 287950"/>
                <a:gd name="connsiteX30" fmla="*/ 37386 w 293150"/>
                <a:gd name="connsiteY30" fmla="*/ 196834 h 287950"/>
                <a:gd name="connsiteX31" fmla="*/ 22965 w 293150"/>
                <a:gd name="connsiteY31" fmla="*/ 163106 h 287950"/>
                <a:gd name="connsiteX32" fmla="*/ 7477 w 293150"/>
                <a:gd name="connsiteY32" fmla="*/ 148142 h 287950"/>
                <a:gd name="connsiteX33" fmla="*/ 2134 w 293150"/>
                <a:gd name="connsiteY33" fmla="*/ 132655 h 287950"/>
                <a:gd name="connsiteX34" fmla="*/ 4800 w 293150"/>
                <a:gd name="connsiteY34" fmla="*/ 118796 h 287950"/>
                <a:gd name="connsiteX35" fmla="*/ 0 w 293150"/>
                <a:gd name="connsiteY35" fmla="*/ 94297 h 287950"/>
                <a:gd name="connsiteX36" fmla="*/ 11039 w 293150"/>
                <a:gd name="connsiteY36" fmla="*/ 93031 h 287950"/>
                <a:gd name="connsiteX37" fmla="*/ 20736 w 293150"/>
                <a:gd name="connsiteY37" fmla="*/ 83391 h 287950"/>
                <a:gd name="connsiteX38" fmla="*/ 31128 w 293150"/>
                <a:gd name="connsiteY38" fmla="*/ 69532 h 287950"/>
                <a:gd name="connsiteX39" fmla="*/ 37719 w 293150"/>
                <a:gd name="connsiteY39" fmla="*/ 63970 h 287950"/>
                <a:gd name="connsiteX40" fmla="*/ 37472 w 293150"/>
                <a:gd name="connsiteY40" fmla="*/ 55331 h 287950"/>
                <a:gd name="connsiteX41" fmla="*/ 31718 w 293150"/>
                <a:gd name="connsiteY41" fmla="*/ 49311 h 287950"/>
                <a:gd name="connsiteX42" fmla="*/ 30175 w 293150"/>
                <a:gd name="connsiteY42" fmla="*/ 38852 h 287950"/>
                <a:gd name="connsiteX43" fmla="*/ 37881 w 293150"/>
                <a:gd name="connsiteY43" fmla="*/ 35490 h 287950"/>
                <a:gd name="connsiteX44" fmla="*/ 39424 w 293150"/>
                <a:gd name="connsiteY44" fmla="*/ 19879 h 287950"/>
                <a:gd name="connsiteX45" fmla="*/ 28813 w 293150"/>
                <a:gd name="connsiteY45" fmla="*/ 4896 h 287950"/>
                <a:gd name="connsiteX46" fmla="*/ 38185 w 293150"/>
                <a:gd name="connsiteY46" fmla="*/ 1714 h 287950"/>
                <a:gd name="connsiteX47" fmla="*/ 67466 w 293150"/>
                <a:gd name="connsiteY47" fmla="*/ 2057 h 28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93150" h="287950">
                  <a:moveTo>
                    <a:pt x="121882" y="0"/>
                  </a:moveTo>
                  <a:lnTo>
                    <a:pt x="126397" y="2915"/>
                  </a:lnTo>
                  <a:lnTo>
                    <a:pt x="223238" y="56998"/>
                  </a:lnTo>
                  <a:lnTo>
                    <a:pt x="225057" y="72409"/>
                  </a:lnTo>
                  <a:lnTo>
                    <a:pt x="263385" y="99003"/>
                  </a:lnTo>
                  <a:lnTo>
                    <a:pt x="251060" y="131836"/>
                  </a:lnTo>
                  <a:lnTo>
                    <a:pt x="252641" y="146952"/>
                  </a:lnTo>
                  <a:lnTo>
                    <a:pt x="269738" y="156686"/>
                  </a:lnTo>
                  <a:lnTo>
                    <a:pt x="270539" y="163639"/>
                  </a:lnTo>
                  <a:lnTo>
                    <a:pt x="263185" y="179794"/>
                  </a:lnTo>
                  <a:lnTo>
                    <a:pt x="264719" y="187938"/>
                  </a:lnTo>
                  <a:lnTo>
                    <a:pt x="262966" y="200739"/>
                  </a:lnTo>
                  <a:lnTo>
                    <a:pt x="272291" y="217570"/>
                  </a:lnTo>
                  <a:lnTo>
                    <a:pt x="283350" y="244107"/>
                  </a:lnTo>
                  <a:lnTo>
                    <a:pt x="293151" y="250003"/>
                  </a:lnTo>
                  <a:lnTo>
                    <a:pt x="271901" y="265652"/>
                  </a:lnTo>
                  <a:lnTo>
                    <a:pt x="242697" y="276149"/>
                  </a:lnTo>
                  <a:lnTo>
                    <a:pt x="226676" y="275711"/>
                  </a:lnTo>
                  <a:lnTo>
                    <a:pt x="217161" y="283826"/>
                  </a:lnTo>
                  <a:lnTo>
                    <a:pt x="198568" y="284521"/>
                  </a:lnTo>
                  <a:lnTo>
                    <a:pt x="191595" y="287950"/>
                  </a:lnTo>
                  <a:lnTo>
                    <a:pt x="159505" y="280321"/>
                  </a:lnTo>
                  <a:lnTo>
                    <a:pt x="139408" y="282502"/>
                  </a:lnTo>
                  <a:lnTo>
                    <a:pt x="131931" y="245764"/>
                  </a:lnTo>
                  <a:lnTo>
                    <a:pt x="122873" y="233201"/>
                  </a:lnTo>
                  <a:lnTo>
                    <a:pt x="117500" y="225762"/>
                  </a:lnTo>
                  <a:lnTo>
                    <a:pt x="91316" y="220751"/>
                  </a:lnTo>
                  <a:lnTo>
                    <a:pt x="76162" y="212674"/>
                  </a:lnTo>
                  <a:lnTo>
                    <a:pt x="59188" y="208159"/>
                  </a:lnTo>
                  <a:lnTo>
                    <a:pt x="48549" y="203663"/>
                  </a:lnTo>
                  <a:lnTo>
                    <a:pt x="37386" y="196834"/>
                  </a:lnTo>
                  <a:lnTo>
                    <a:pt x="22965" y="163106"/>
                  </a:lnTo>
                  <a:lnTo>
                    <a:pt x="7477" y="148142"/>
                  </a:lnTo>
                  <a:lnTo>
                    <a:pt x="2134" y="132655"/>
                  </a:lnTo>
                  <a:lnTo>
                    <a:pt x="4800" y="118796"/>
                  </a:lnTo>
                  <a:lnTo>
                    <a:pt x="0" y="94297"/>
                  </a:lnTo>
                  <a:lnTo>
                    <a:pt x="11039" y="93031"/>
                  </a:lnTo>
                  <a:lnTo>
                    <a:pt x="20736" y="83391"/>
                  </a:lnTo>
                  <a:lnTo>
                    <a:pt x="31128" y="69532"/>
                  </a:lnTo>
                  <a:lnTo>
                    <a:pt x="37719" y="63970"/>
                  </a:lnTo>
                  <a:lnTo>
                    <a:pt x="37472" y="55331"/>
                  </a:lnTo>
                  <a:lnTo>
                    <a:pt x="31718" y="49311"/>
                  </a:lnTo>
                  <a:lnTo>
                    <a:pt x="30175" y="38852"/>
                  </a:lnTo>
                  <a:lnTo>
                    <a:pt x="37881" y="35490"/>
                  </a:lnTo>
                  <a:lnTo>
                    <a:pt x="39424" y="19879"/>
                  </a:lnTo>
                  <a:lnTo>
                    <a:pt x="28813" y="4896"/>
                  </a:lnTo>
                  <a:lnTo>
                    <a:pt x="38185" y="1714"/>
                  </a:lnTo>
                  <a:lnTo>
                    <a:pt x="67466" y="205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96" name="Forme libre : forme 5815">
              <a:extLst>
                <a:ext uri="{FF2B5EF4-FFF2-40B4-BE49-F238E27FC236}">
                  <a16:creationId xmlns:a16="http://schemas.microsoft.com/office/drawing/2014/main" id="{8F62855D-D8A8-839E-0D5D-8BCA61D862A2}"/>
                </a:ext>
              </a:extLst>
            </p:cNvPr>
            <p:cNvSpPr/>
            <p:nvPr/>
          </p:nvSpPr>
          <p:spPr>
            <a:xfrm>
              <a:off x="6410734" y="3104763"/>
              <a:ext cx="480593" cy="320382"/>
            </a:xfrm>
            <a:custGeom>
              <a:avLst/>
              <a:gdLst>
                <a:gd name="connsiteX0" fmla="*/ 259061 w 480593"/>
                <a:gd name="connsiteY0" fmla="*/ 10153 h 320382"/>
                <a:gd name="connsiteX1" fmla="*/ 269034 w 480593"/>
                <a:gd name="connsiteY1" fmla="*/ 11906 h 320382"/>
                <a:gd name="connsiteX2" fmla="*/ 275787 w 480593"/>
                <a:gd name="connsiteY2" fmla="*/ 2029 h 320382"/>
                <a:gd name="connsiteX3" fmla="*/ 283893 w 480593"/>
                <a:gd name="connsiteY3" fmla="*/ 4210 h 320382"/>
                <a:gd name="connsiteX4" fmla="*/ 311591 w 480593"/>
                <a:gd name="connsiteY4" fmla="*/ 0 h 320382"/>
                <a:gd name="connsiteX5" fmla="*/ 328651 w 480593"/>
                <a:gd name="connsiteY5" fmla="*/ 24527 h 320382"/>
                <a:gd name="connsiteX6" fmla="*/ 321983 w 480593"/>
                <a:gd name="connsiteY6" fmla="*/ 33223 h 320382"/>
                <a:gd name="connsiteX7" fmla="*/ 324193 w 480593"/>
                <a:gd name="connsiteY7" fmla="*/ 46482 h 320382"/>
                <a:gd name="connsiteX8" fmla="*/ 345491 w 480593"/>
                <a:gd name="connsiteY8" fmla="*/ 48539 h 320382"/>
                <a:gd name="connsiteX9" fmla="*/ 354988 w 480593"/>
                <a:gd name="connsiteY9" fmla="*/ 66894 h 320382"/>
                <a:gd name="connsiteX10" fmla="*/ 354406 w 480593"/>
                <a:gd name="connsiteY10" fmla="*/ 75162 h 320382"/>
                <a:gd name="connsiteX11" fmla="*/ 388325 w 480593"/>
                <a:gd name="connsiteY11" fmla="*/ 89849 h 320382"/>
                <a:gd name="connsiteX12" fmla="*/ 408823 w 480593"/>
                <a:gd name="connsiteY12" fmla="*/ 83248 h 320382"/>
                <a:gd name="connsiteX13" fmla="*/ 425301 w 480593"/>
                <a:gd name="connsiteY13" fmla="*/ 102708 h 320382"/>
                <a:gd name="connsiteX14" fmla="*/ 440913 w 480593"/>
                <a:gd name="connsiteY14" fmla="*/ 102270 h 320382"/>
                <a:gd name="connsiteX15" fmla="*/ 480279 w 480593"/>
                <a:gd name="connsiteY15" fmla="*/ 115681 h 320382"/>
                <a:gd name="connsiteX16" fmla="*/ 480593 w 480593"/>
                <a:gd name="connsiteY16" fmla="*/ 127711 h 320382"/>
                <a:gd name="connsiteX17" fmla="*/ 469745 w 480593"/>
                <a:gd name="connsiteY17" fmla="*/ 148980 h 320382"/>
                <a:gd name="connsiteX18" fmla="*/ 475641 w 480593"/>
                <a:gd name="connsiteY18" fmla="*/ 171145 h 320382"/>
                <a:gd name="connsiteX19" fmla="*/ 471440 w 480593"/>
                <a:gd name="connsiteY19" fmla="*/ 184432 h 320382"/>
                <a:gd name="connsiteX20" fmla="*/ 445599 w 480593"/>
                <a:gd name="connsiteY20" fmla="*/ 187347 h 320382"/>
                <a:gd name="connsiteX21" fmla="*/ 431835 w 480593"/>
                <a:gd name="connsiteY21" fmla="*/ 198387 h 320382"/>
                <a:gd name="connsiteX22" fmla="*/ 430988 w 480593"/>
                <a:gd name="connsiteY22" fmla="*/ 215837 h 320382"/>
                <a:gd name="connsiteX23" fmla="*/ 409670 w 480593"/>
                <a:gd name="connsiteY23" fmla="*/ 218960 h 320382"/>
                <a:gd name="connsiteX24" fmla="*/ 391897 w 480593"/>
                <a:gd name="connsiteY24" fmla="*/ 231553 h 320382"/>
                <a:gd name="connsiteX25" fmla="*/ 366894 w 480593"/>
                <a:gd name="connsiteY25" fmla="*/ 233601 h 320382"/>
                <a:gd name="connsiteX26" fmla="*/ 343891 w 480593"/>
                <a:gd name="connsiteY26" fmla="*/ 248012 h 320382"/>
                <a:gd name="connsiteX27" fmla="*/ 331280 w 480593"/>
                <a:gd name="connsiteY27" fmla="*/ 257823 h 320382"/>
                <a:gd name="connsiteX28" fmla="*/ 345453 w 480593"/>
                <a:gd name="connsiteY28" fmla="*/ 271824 h 320382"/>
                <a:gd name="connsiteX29" fmla="*/ 358521 w 480593"/>
                <a:gd name="connsiteY29" fmla="*/ 280997 h 320382"/>
                <a:gd name="connsiteX30" fmla="*/ 385763 w 480593"/>
                <a:gd name="connsiteY30" fmla="*/ 278711 h 320382"/>
                <a:gd name="connsiteX31" fmla="*/ 380543 w 480593"/>
                <a:gd name="connsiteY31" fmla="*/ 292217 h 320382"/>
                <a:gd name="connsiteX32" fmla="*/ 351311 w 480593"/>
                <a:gd name="connsiteY32" fmla="*/ 298742 h 320382"/>
                <a:gd name="connsiteX33" fmla="*/ 315049 w 480593"/>
                <a:gd name="connsiteY33" fmla="*/ 320383 h 320382"/>
                <a:gd name="connsiteX34" fmla="*/ 300200 w 480593"/>
                <a:gd name="connsiteY34" fmla="*/ 312801 h 320382"/>
                <a:gd name="connsiteX35" fmla="*/ 306086 w 480593"/>
                <a:gd name="connsiteY35" fmla="*/ 295170 h 320382"/>
                <a:gd name="connsiteX36" fmla="*/ 276911 w 480593"/>
                <a:gd name="connsiteY36" fmla="*/ 284121 h 320382"/>
                <a:gd name="connsiteX37" fmla="*/ 281626 w 480593"/>
                <a:gd name="connsiteY37" fmla="*/ 276853 h 320382"/>
                <a:gd name="connsiteX38" fmla="*/ 311754 w 480593"/>
                <a:gd name="connsiteY38" fmla="*/ 261271 h 320382"/>
                <a:gd name="connsiteX39" fmla="*/ 308010 w 480593"/>
                <a:gd name="connsiteY39" fmla="*/ 253498 h 320382"/>
                <a:gd name="connsiteX40" fmla="*/ 303705 w 480593"/>
                <a:gd name="connsiteY40" fmla="*/ 257413 h 320382"/>
                <a:gd name="connsiteX41" fmla="*/ 299457 w 480593"/>
                <a:gd name="connsiteY41" fmla="*/ 255413 h 320382"/>
                <a:gd name="connsiteX42" fmla="*/ 257946 w 480593"/>
                <a:gd name="connsiteY42" fmla="*/ 245688 h 320382"/>
                <a:gd name="connsiteX43" fmla="*/ 256108 w 480593"/>
                <a:gd name="connsiteY43" fmla="*/ 231267 h 320382"/>
                <a:gd name="connsiteX44" fmla="*/ 231363 w 480593"/>
                <a:gd name="connsiteY44" fmla="*/ 236039 h 320382"/>
                <a:gd name="connsiteX45" fmla="*/ 221447 w 480593"/>
                <a:gd name="connsiteY45" fmla="*/ 257261 h 320382"/>
                <a:gd name="connsiteX46" fmla="*/ 200768 w 480593"/>
                <a:gd name="connsiteY46" fmla="*/ 285417 h 320382"/>
                <a:gd name="connsiteX47" fmla="*/ 188652 w 480593"/>
                <a:gd name="connsiteY47" fmla="*/ 278911 h 320382"/>
                <a:gd name="connsiteX48" fmla="*/ 176108 w 480593"/>
                <a:gd name="connsiteY48" fmla="*/ 285007 h 320382"/>
                <a:gd name="connsiteX49" fmla="*/ 164192 w 480593"/>
                <a:gd name="connsiteY49" fmla="*/ 278025 h 320382"/>
                <a:gd name="connsiteX50" fmla="*/ 170917 w 480593"/>
                <a:gd name="connsiteY50" fmla="*/ 273901 h 320382"/>
                <a:gd name="connsiteX51" fmla="*/ 175575 w 480593"/>
                <a:gd name="connsiteY51" fmla="*/ 260804 h 320382"/>
                <a:gd name="connsiteX52" fmla="*/ 182890 w 480593"/>
                <a:gd name="connsiteY52" fmla="*/ 248555 h 320382"/>
                <a:gd name="connsiteX53" fmla="*/ 181004 w 480593"/>
                <a:gd name="connsiteY53" fmla="*/ 241659 h 320382"/>
                <a:gd name="connsiteX54" fmla="*/ 186586 w 480593"/>
                <a:gd name="connsiteY54" fmla="*/ 238573 h 320382"/>
                <a:gd name="connsiteX55" fmla="*/ 189215 w 480593"/>
                <a:gd name="connsiteY55" fmla="*/ 243916 h 320382"/>
                <a:gd name="connsiteX56" fmla="*/ 204950 w 480593"/>
                <a:gd name="connsiteY56" fmla="*/ 245050 h 320382"/>
                <a:gd name="connsiteX57" fmla="*/ 212027 w 480593"/>
                <a:gd name="connsiteY57" fmla="*/ 242192 h 320382"/>
                <a:gd name="connsiteX58" fmla="*/ 207045 w 480593"/>
                <a:gd name="connsiteY58" fmla="*/ 238277 h 320382"/>
                <a:gd name="connsiteX59" fmla="*/ 208931 w 480593"/>
                <a:gd name="connsiteY59" fmla="*/ 232496 h 320382"/>
                <a:gd name="connsiteX60" fmla="*/ 199606 w 480593"/>
                <a:gd name="connsiteY60" fmla="*/ 222609 h 320382"/>
                <a:gd name="connsiteX61" fmla="*/ 195749 w 480593"/>
                <a:gd name="connsiteY61" fmla="*/ 206254 h 320382"/>
                <a:gd name="connsiteX62" fmla="*/ 186024 w 480593"/>
                <a:gd name="connsiteY62" fmla="*/ 199815 h 320382"/>
                <a:gd name="connsiteX63" fmla="*/ 187938 w 480593"/>
                <a:gd name="connsiteY63" fmla="*/ 186414 h 320382"/>
                <a:gd name="connsiteX64" fmla="*/ 175870 w 480593"/>
                <a:gd name="connsiteY64" fmla="*/ 175708 h 320382"/>
                <a:gd name="connsiteX65" fmla="*/ 164888 w 480593"/>
                <a:gd name="connsiteY65" fmla="*/ 174212 h 320382"/>
                <a:gd name="connsiteX66" fmla="*/ 145199 w 480593"/>
                <a:gd name="connsiteY66" fmla="*/ 161744 h 320382"/>
                <a:gd name="connsiteX67" fmla="*/ 127454 w 480593"/>
                <a:gd name="connsiteY67" fmla="*/ 165716 h 320382"/>
                <a:gd name="connsiteX68" fmla="*/ 121082 w 480593"/>
                <a:gd name="connsiteY68" fmla="*/ 171612 h 320382"/>
                <a:gd name="connsiteX69" fmla="*/ 109814 w 480593"/>
                <a:gd name="connsiteY69" fmla="*/ 171602 h 320382"/>
                <a:gd name="connsiteX70" fmla="*/ 103089 w 480593"/>
                <a:gd name="connsiteY70" fmla="*/ 180927 h 320382"/>
                <a:gd name="connsiteX71" fmla="*/ 83382 w 480593"/>
                <a:gd name="connsiteY71" fmla="*/ 184747 h 320382"/>
                <a:gd name="connsiteX72" fmla="*/ 74266 w 480593"/>
                <a:gd name="connsiteY72" fmla="*/ 190833 h 320382"/>
                <a:gd name="connsiteX73" fmla="*/ 61865 w 480593"/>
                <a:gd name="connsiteY73" fmla="*/ 181137 h 320382"/>
                <a:gd name="connsiteX74" fmla="*/ 44739 w 480593"/>
                <a:gd name="connsiteY74" fmla="*/ 180994 h 320382"/>
                <a:gd name="connsiteX75" fmla="*/ 28223 w 480593"/>
                <a:gd name="connsiteY75" fmla="*/ 176574 h 320382"/>
                <a:gd name="connsiteX76" fmla="*/ 16688 w 480593"/>
                <a:gd name="connsiteY76" fmla="*/ 185099 h 320382"/>
                <a:gd name="connsiteX77" fmla="*/ 14821 w 480593"/>
                <a:gd name="connsiteY77" fmla="*/ 174431 h 320382"/>
                <a:gd name="connsiteX78" fmla="*/ 0 w 480593"/>
                <a:gd name="connsiteY78" fmla="*/ 163544 h 320382"/>
                <a:gd name="connsiteX79" fmla="*/ 5210 w 480593"/>
                <a:gd name="connsiteY79" fmla="*/ 147304 h 320382"/>
                <a:gd name="connsiteX80" fmla="*/ 12611 w 480593"/>
                <a:gd name="connsiteY80" fmla="*/ 136750 h 320382"/>
                <a:gd name="connsiteX81" fmla="*/ 18450 w 480593"/>
                <a:gd name="connsiteY81" fmla="*/ 139112 h 320382"/>
                <a:gd name="connsiteX82" fmla="*/ 11564 w 480593"/>
                <a:gd name="connsiteY82" fmla="*/ 120777 h 320382"/>
                <a:gd name="connsiteX83" fmla="*/ 35814 w 480593"/>
                <a:gd name="connsiteY83" fmla="*/ 86401 h 320382"/>
                <a:gd name="connsiteX84" fmla="*/ 49063 w 480593"/>
                <a:gd name="connsiteY84" fmla="*/ 81534 h 320382"/>
                <a:gd name="connsiteX85" fmla="*/ 51921 w 480593"/>
                <a:gd name="connsiteY85" fmla="*/ 69770 h 320382"/>
                <a:gd name="connsiteX86" fmla="*/ 38491 w 480593"/>
                <a:gd name="connsiteY86" fmla="*/ 32709 h 320382"/>
                <a:gd name="connsiteX87" fmla="*/ 51264 w 480593"/>
                <a:gd name="connsiteY87" fmla="*/ 31042 h 320382"/>
                <a:gd name="connsiteX88" fmla="*/ 65894 w 480593"/>
                <a:gd name="connsiteY88" fmla="*/ 19374 h 320382"/>
                <a:gd name="connsiteX89" fmla="*/ 86592 w 480593"/>
                <a:gd name="connsiteY89" fmla="*/ 18412 h 320382"/>
                <a:gd name="connsiteX90" fmla="*/ 113567 w 480593"/>
                <a:gd name="connsiteY90" fmla="*/ 21793 h 320382"/>
                <a:gd name="connsiteX91" fmla="*/ 143370 w 480593"/>
                <a:gd name="connsiteY91" fmla="*/ 32118 h 320382"/>
                <a:gd name="connsiteX92" fmla="*/ 164402 w 480593"/>
                <a:gd name="connsiteY92" fmla="*/ 32976 h 320382"/>
                <a:gd name="connsiteX93" fmla="*/ 174450 w 480593"/>
                <a:gd name="connsiteY93" fmla="*/ 39157 h 320382"/>
                <a:gd name="connsiteX94" fmla="*/ 184461 w 480593"/>
                <a:gd name="connsiteY94" fmla="*/ 31699 h 320382"/>
                <a:gd name="connsiteX95" fmla="*/ 191462 w 480593"/>
                <a:gd name="connsiteY95" fmla="*/ 41700 h 320382"/>
                <a:gd name="connsiteX96" fmla="*/ 215570 w 480593"/>
                <a:gd name="connsiteY96" fmla="*/ 39653 h 320382"/>
                <a:gd name="connsiteX97" fmla="*/ 226190 w 480593"/>
                <a:gd name="connsiteY97" fmla="*/ 43777 h 320382"/>
                <a:gd name="connsiteX98" fmla="*/ 227905 w 480593"/>
                <a:gd name="connsiteY98" fmla="*/ 22203 h 320382"/>
                <a:gd name="connsiteX99" fmla="*/ 236134 w 480593"/>
                <a:gd name="connsiteY99" fmla="*/ 12725 h 320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480593" h="320382">
                  <a:moveTo>
                    <a:pt x="259061" y="10153"/>
                  </a:moveTo>
                  <a:lnTo>
                    <a:pt x="269034" y="11906"/>
                  </a:lnTo>
                  <a:lnTo>
                    <a:pt x="275787" y="2029"/>
                  </a:lnTo>
                  <a:lnTo>
                    <a:pt x="283893" y="4210"/>
                  </a:lnTo>
                  <a:lnTo>
                    <a:pt x="311591" y="0"/>
                  </a:lnTo>
                  <a:lnTo>
                    <a:pt x="328651" y="24527"/>
                  </a:lnTo>
                  <a:lnTo>
                    <a:pt x="321983" y="33223"/>
                  </a:lnTo>
                  <a:lnTo>
                    <a:pt x="324193" y="46482"/>
                  </a:lnTo>
                  <a:lnTo>
                    <a:pt x="345491" y="48539"/>
                  </a:lnTo>
                  <a:lnTo>
                    <a:pt x="354988" y="66894"/>
                  </a:lnTo>
                  <a:lnTo>
                    <a:pt x="354406" y="75162"/>
                  </a:lnTo>
                  <a:lnTo>
                    <a:pt x="388325" y="89849"/>
                  </a:lnTo>
                  <a:lnTo>
                    <a:pt x="408823" y="83248"/>
                  </a:lnTo>
                  <a:lnTo>
                    <a:pt x="425301" y="102708"/>
                  </a:lnTo>
                  <a:lnTo>
                    <a:pt x="440913" y="102270"/>
                  </a:lnTo>
                  <a:lnTo>
                    <a:pt x="480279" y="115681"/>
                  </a:lnTo>
                  <a:lnTo>
                    <a:pt x="480593" y="127711"/>
                  </a:lnTo>
                  <a:lnTo>
                    <a:pt x="469745" y="148980"/>
                  </a:lnTo>
                  <a:lnTo>
                    <a:pt x="475641" y="171145"/>
                  </a:lnTo>
                  <a:lnTo>
                    <a:pt x="471440" y="184432"/>
                  </a:lnTo>
                  <a:lnTo>
                    <a:pt x="445599" y="187347"/>
                  </a:lnTo>
                  <a:lnTo>
                    <a:pt x="431835" y="198387"/>
                  </a:lnTo>
                  <a:lnTo>
                    <a:pt x="430988" y="215837"/>
                  </a:lnTo>
                  <a:lnTo>
                    <a:pt x="409670" y="218960"/>
                  </a:lnTo>
                  <a:lnTo>
                    <a:pt x="391897" y="231553"/>
                  </a:lnTo>
                  <a:lnTo>
                    <a:pt x="366894" y="233601"/>
                  </a:lnTo>
                  <a:lnTo>
                    <a:pt x="343891" y="248012"/>
                  </a:lnTo>
                  <a:lnTo>
                    <a:pt x="331280" y="257823"/>
                  </a:lnTo>
                  <a:lnTo>
                    <a:pt x="345453" y="271824"/>
                  </a:lnTo>
                  <a:lnTo>
                    <a:pt x="358521" y="280997"/>
                  </a:lnTo>
                  <a:lnTo>
                    <a:pt x="385763" y="278711"/>
                  </a:lnTo>
                  <a:lnTo>
                    <a:pt x="380543" y="292217"/>
                  </a:lnTo>
                  <a:lnTo>
                    <a:pt x="351311" y="298742"/>
                  </a:lnTo>
                  <a:lnTo>
                    <a:pt x="315049" y="320383"/>
                  </a:lnTo>
                  <a:lnTo>
                    <a:pt x="300200" y="312801"/>
                  </a:lnTo>
                  <a:lnTo>
                    <a:pt x="306086" y="295170"/>
                  </a:lnTo>
                  <a:lnTo>
                    <a:pt x="276911" y="284121"/>
                  </a:lnTo>
                  <a:lnTo>
                    <a:pt x="281626" y="276853"/>
                  </a:lnTo>
                  <a:lnTo>
                    <a:pt x="311754" y="261271"/>
                  </a:lnTo>
                  <a:lnTo>
                    <a:pt x="308010" y="253498"/>
                  </a:lnTo>
                  <a:lnTo>
                    <a:pt x="303705" y="257413"/>
                  </a:lnTo>
                  <a:lnTo>
                    <a:pt x="299457" y="255413"/>
                  </a:lnTo>
                  <a:lnTo>
                    <a:pt x="257946" y="245688"/>
                  </a:lnTo>
                  <a:lnTo>
                    <a:pt x="256108" y="231267"/>
                  </a:lnTo>
                  <a:lnTo>
                    <a:pt x="231363" y="236039"/>
                  </a:lnTo>
                  <a:lnTo>
                    <a:pt x="221447" y="257261"/>
                  </a:lnTo>
                  <a:lnTo>
                    <a:pt x="200768" y="285417"/>
                  </a:lnTo>
                  <a:lnTo>
                    <a:pt x="188652" y="278911"/>
                  </a:lnTo>
                  <a:lnTo>
                    <a:pt x="176108" y="285007"/>
                  </a:lnTo>
                  <a:lnTo>
                    <a:pt x="164192" y="278025"/>
                  </a:lnTo>
                  <a:lnTo>
                    <a:pt x="170917" y="273901"/>
                  </a:lnTo>
                  <a:lnTo>
                    <a:pt x="175575" y="260804"/>
                  </a:lnTo>
                  <a:lnTo>
                    <a:pt x="182890" y="248555"/>
                  </a:lnTo>
                  <a:lnTo>
                    <a:pt x="181004" y="241659"/>
                  </a:lnTo>
                  <a:lnTo>
                    <a:pt x="186586" y="238573"/>
                  </a:lnTo>
                  <a:lnTo>
                    <a:pt x="189215" y="243916"/>
                  </a:lnTo>
                  <a:lnTo>
                    <a:pt x="204950" y="245050"/>
                  </a:lnTo>
                  <a:lnTo>
                    <a:pt x="212027" y="242192"/>
                  </a:lnTo>
                  <a:lnTo>
                    <a:pt x="207045" y="238277"/>
                  </a:lnTo>
                  <a:lnTo>
                    <a:pt x="208931" y="232496"/>
                  </a:lnTo>
                  <a:lnTo>
                    <a:pt x="199606" y="222609"/>
                  </a:lnTo>
                  <a:lnTo>
                    <a:pt x="195749" y="206254"/>
                  </a:lnTo>
                  <a:lnTo>
                    <a:pt x="186024" y="199815"/>
                  </a:lnTo>
                  <a:lnTo>
                    <a:pt x="187938" y="186414"/>
                  </a:lnTo>
                  <a:lnTo>
                    <a:pt x="175870" y="175708"/>
                  </a:lnTo>
                  <a:lnTo>
                    <a:pt x="164888" y="174212"/>
                  </a:lnTo>
                  <a:lnTo>
                    <a:pt x="145199" y="161744"/>
                  </a:lnTo>
                  <a:lnTo>
                    <a:pt x="127454" y="165716"/>
                  </a:lnTo>
                  <a:lnTo>
                    <a:pt x="121082" y="171612"/>
                  </a:lnTo>
                  <a:lnTo>
                    <a:pt x="109814" y="171602"/>
                  </a:lnTo>
                  <a:lnTo>
                    <a:pt x="103089" y="180927"/>
                  </a:lnTo>
                  <a:lnTo>
                    <a:pt x="83382" y="184747"/>
                  </a:lnTo>
                  <a:lnTo>
                    <a:pt x="74266" y="190833"/>
                  </a:lnTo>
                  <a:lnTo>
                    <a:pt x="61865" y="181137"/>
                  </a:lnTo>
                  <a:lnTo>
                    <a:pt x="44739" y="180994"/>
                  </a:lnTo>
                  <a:lnTo>
                    <a:pt x="28223" y="176574"/>
                  </a:lnTo>
                  <a:lnTo>
                    <a:pt x="16688" y="185099"/>
                  </a:lnTo>
                  <a:lnTo>
                    <a:pt x="14821" y="174431"/>
                  </a:lnTo>
                  <a:lnTo>
                    <a:pt x="0" y="163544"/>
                  </a:lnTo>
                  <a:lnTo>
                    <a:pt x="5210" y="147304"/>
                  </a:lnTo>
                  <a:lnTo>
                    <a:pt x="12611" y="136750"/>
                  </a:lnTo>
                  <a:lnTo>
                    <a:pt x="18450" y="139112"/>
                  </a:lnTo>
                  <a:lnTo>
                    <a:pt x="11564" y="120777"/>
                  </a:lnTo>
                  <a:lnTo>
                    <a:pt x="35814" y="86401"/>
                  </a:lnTo>
                  <a:lnTo>
                    <a:pt x="49063" y="81534"/>
                  </a:lnTo>
                  <a:lnTo>
                    <a:pt x="51921" y="69770"/>
                  </a:lnTo>
                  <a:lnTo>
                    <a:pt x="38491" y="32709"/>
                  </a:lnTo>
                  <a:lnTo>
                    <a:pt x="51264" y="31042"/>
                  </a:lnTo>
                  <a:lnTo>
                    <a:pt x="65894" y="19374"/>
                  </a:lnTo>
                  <a:lnTo>
                    <a:pt x="86592" y="18412"/>
                  </a:lnTo>
                  <a:lnTo>
                    <a:pt x="113567" y="21793"/>
                  </a:lnTo>
                  <a:lnTo>
                    <a:pt x="143370" y="32118"/>
                  </a:lnTo>
                  <a:lnTo>
                    <a:pt x="164402" y="32976"/>
                  </a:lnTo>
                  <a:lnTo>
                    <a:pt x="174450" y="39157"/>
                  </a:lnTo>
                  <a:lnTo>
                    <a:pt x="184461" y="31699"/>
                  </a:lnTo>
                  <a:lnTo>
                    <a:pt x="191462" y="41700"/>
                  </a:lnTo>
                  <a:lnTo>
                    <a:pt x="215570" y="39653"/>
                  </a:lnTo>
                  <a:lnTo>
                    <a:pt x="226190" y="43777"/>
                  </a:lnTo>
                  <a:lnTo>
                    <a:pt x="227905" y="22203"/>
                  </a:lnTo>
                  <a:lnTo>
                    <a:pt x="236134" y="1272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97" name="Forme libre : forme 5816">
              <a:extLst>
                <a:ext uri="{FF2B5EF4-FFF2-40B4-BE49-F238E27FC236}">
                  <a16:creationId xmlns:a16="http://schemas.microsoft.com/office/drawing/2014/main" id="{2C06969B-E3E4-8848-CD95-EA28C6ED1845}"/>
                </a:ext>
              </a:extLst>
            </p:cNvPr>
            <p:cNvSpPr/>
            <p:nvPr/>
          </p:nvSpPr>
          <p:spPr>
            <a:xfrm>
              <a:off x="6610864" y="4629811"/>
              <a:ext cx="145732" cy="151133"/>
            </a:xfrm>
            <a:custGeom>
              <a:avLst/>
              <a:gdLst>
                <a:gd name="connsiteX0" fmla="*/ 61074 w 145732"/>
                <a:gd name="connsiteY0" fmla="*/ 140103 h 151133"/>
                <a:gd name="connsiteX1" fmla="*/ 31794 w 145732"/>
                <a:gd name="connsiteY1" fmla="*/ 139760 h 151133"/>
                <a:gd name="connsiteX2" fmla="*/ 22422 w 145732"/>
                <a:gd name="connsiteY2" fmla="*/ 142942 h 151133"/>
                <a:gd name="connsiteX3" fmla="*/ 6467 w 145732"/>
                <a:gd name="connsiteY3" fmla="*/ 151133 h 151133"/>
                <a:gd name="connsiteX4" fmla="*/ 0 w 145732"/>
                <a:gd name="connsiteY4" fmla="*/ 148428 h 151133"/>
                <a:gd name="connsiteX5" fmla="*/ 228 w 145732"/>
                <a:gd name="connsiteY5" fmla="*/ 128426 h 151133"/>
                <a:gd name="connsiteX6" fmla="*/ 6410 w 145732"/>
                <a:gd name="connsiteY6" fmla="*/ 118291 h 151133"/>
                <a:gd name="connsiteX7" fmla="*/ 7925 w 145732"/>
                <a:gd name="connsiteY7" fmla="*/ 96993 h 151133"/>
                <a:gd name="connsiteX8" fmla="*/ 13535 w 145732"/>
                <a:gd name="connsiteY8" fmla="*/ 84658 h 151133"/>
                <a:gd name="connsiteX9" fmla="*/ 23746 w 145732"/>
                <a:gd name="connsiteY9" fmla="*/ 70828 h 151133"/>
                <a:gd name="connsiteX10" fmla="*/ 34004 w 145732"/>
                <a:gd name="connsiteY10" fmla="*/ 63770 h 151133"/>
                <a:gd name="connsiteX11" fmla="*/ 42596 w 145732"/>
                <a:gd name="connsiteY11" fmla="*/ 54350 h 151133"/>
                <a:gd name="connsiteX12" fmla="*/ 31889 w 145732"/>
                <a:gd name="connsiteY12" fmla="*/ 50759 h 151133"/>
                <a:gd name="connsiteX13" fmla="*/ 33508 w 145732"/>
                <a:gd name="connsiteY13" fmla="*/ 19688 h 151133"/>
                <a:gd name="connsiteX14" fmla="*/ 44501 w 145732"/>
                <a:gd name="connsiteY14" fmla="*/ 12449 h 151133"/>
                <a:gd name="connsiteX15" fmla="*/ 61483 w 145732"/>
                <a:gd name="connsiteY15" fmla="*/ 18393 h 151133"/>
                <a:gd name="connsiteX16" fmla="*/ 82982 w 145732"/>
                <a:gd name="connsiteY16" fmla="*/ 12164 h 151133"/>
                <a:gd name="connsiteX17" fmla="*/ 101775 w 145732"/>
                <a:gd name="connsiteY17" fmla="*/ 12230 h 151133"/>
                <a:gd name="connsiteX18" fmla="*/ 118196 w 145732"/>
                <a:gd name="connsiteY18" fmla="*/ 0 h 151133"/>
                <a:gd name="connsiteX19" fmla="*/ 130854 w 145732"/>
                <a:gd name="connsiteY19" fmla="*/ 18460 h 151133"/>
                <a:gd name="connsiteX20" fmla="*/ 133978 w 145732"/>
                <a:gd name="connsiteY20" fmla="*/ 31795 h 151133"/>
                <a:gd name="connsiteX21" fmla="*/ 145732 w 145732"/>
                <a:gd name="connsiteY21" fmla="*/ 62274 h 151133"/>
                <a:gd name="connsiteX22" fmla="*/ 136007 w 145732"/>
                <a:gd name="connsiteY22" fmla="*/ 81620 h 151133"/>
                <a:gd name="connsiteX23" fmla="*/ 122872 w 145732"/>
                <a:gd name="connsiteY23" fmla="*/ 99184 h 151133"/>
                <a:gd name="connsiteX24" fmla="*/ 115224 w 145732"/>
                <a:gd name="connsiteY24" fmla="*/ 109928 h 151133"/>
                <a:gd name="connsiteX25" fmla="*/ 115491 w 145732"/>
                <a:gd name="connsiteY25" fmla="*/ 138046 h 15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5732" h="151133">
                  <a:moveTo>
                    <a:pt x="61074" y="140103"/>
                  </a:moveTo>
                  <a:lnTo>
                    <a:pt x="31794" y="139760"/>
                  </a:lnTo>
                  <a:lnTo>
                    <a:pt x="22422" y="142942"/>
                  </a:lnTo>
                  <a:lnTo>
                    <a:pt x="6467" y="151133"/>
                  </a:lnTo>
                  <a:lnTo>
                    <a:pt x="0" y="148428"/>
                  </a:lnTo>
                  <a:lnTo>
                    <a:pt x="228" y="128426"/>
                  </a:lnTo>
                  <a:lnTo>
                    <a:pt x="6410" y="118291"/>
                  </a:lnTo>
                  <a:lnTo>
                    <a:pt x="7925" y="96993"/>
                  </a:lnTo>
                  <a:lnTo>
                    <a:pt x="13535" y="84658"/>
                  </a:lnTo>
                  <a:lnTo>
                    <a:pt x="23746" y="70828"/>
                  </a:lnTo>
                  <a:lnTo>
                    <a:pt x="34004" y="63770"/>
                  </a:lnTo>
                  <a:lnTo>
                    <a:pt x="42596" y="54350"/>
                  </a:lnTo>
                  <a:lnTo>
                    <a:pt x="31889" y="50759"/>
                  </a:lnTo>
                  <a:lnTo>
                    <a:pt x="33508" y="19688"/>
                  </a:lnTo>
                  <a:lnTo>
                    <a:pt x="44501" y="12449"/>
                  </a:lnTo>
                  <a:lnTo>
                    <a:pt x="61483" y="18393"/>
                  </a:lnTo>
                  <a:lnTo>
                    <a:pt x="82982" y="12164"/>
                  </a:lnTo>
                  <a:lnTo>
                    <a:pt x="101775" y="12230"/>
                  </a:lnTo>
                  <a:lnTo>
                    <a:pt x="118196" y="0"/>
                  </a:lnTo>
                  <a:lnTo>
                    <a:pt x="130854" y="18460"/>
                  </a:lnTo>
                  <a:lnTo>
                    <a:pt x="133978" y="31795"/>
                  </a:lnTo>
                  <a:lnTo>
                    <a:pt x="145732" y="62274"/>
                  </a:lnTo>
                  <a:lnTo>
                    <a:pt x="136007" y="81620"/>
                  </a:lnTo>
                  <a:lnTo>
                    <a:pt x="122872" y="99184"/>
                  </a:lnTo>
                  <a:lnTo>
                    <a:pt x="115224" y="109928"/>
                  </a:lnTo>
                  <a:lnTo>
                    <a:pt x="115491" y="13804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98" name="Forme libre : forme 5817">
              <a:extLst>
                <a:ext uri="{FF2B5EF4-FFF2-40B4-BE49-F238E27FC236}">
                  <a16:creationId xmlns:a16="http://schemas.microsoft.com/office/drawing/2014/main" id="{9DC07BF2-CA7B-6E4E-F23E-8527FBEA39C8}"/>
                </a:ext>
              </a:extLst>
            </p:cNvPr>
            <p:cNvSpPr/>
            <p:nvPr/>
          </p:nvSpPr>
          <p:spPr>
            <a:xfrm>
              <a:off x="1294114" y="1987214"/>
              <a:ext cx="2738294" cy="2244147"/>
            </a:xfrm>
            <a:custGeom>
              <a:avLst/>
              <a:gdLst>
                <a:gd name="connsiteX0" fmla="*/ 1040597 w 2738294"/>
                <a:gd name="connsiteY0" fmla="*/ 1006792 h 2244147"/>
                <a:gd name="connsiteX1" fmla="*/ 1040597 w 2738294"/>
                <a:gd name="connsiteY1" fmla="*/ 1006792 h 2244147"/>
                <a:gd name="connsiteX2" fmla="*/ 1025909 w 2738294"/>
                <a:gd name="connsiteY2" fmla="*/ 989324 h 2244147"/>
                <a:gd name="connsiteX3" fmla="*/ 1002373 w 2738294"/>
                <a:gd name="connsiteY3" fmla="*/ 974379 h 2244147"/>
                <a:gd name="connsiteX4" fmla="*/ 994820 w 2738294"/>
                <a:gd name="connsiteY4" fmla="*/ 932888 h 2244147"/>
                <a:gd name="connsiteX5" fmla="*/ 960387 w 2738294"/>
                <a:gd name="connsiteY5" fmla="*/ 893540 h 2244147"/>
                <a:gd name="connsiteX6" fmla="*/ 945994 w 2738294"/>
                <a:gd name="connsiteY6" fmla="*/ 846506 h 2244147"/>
                <a:gd name="connsiteX7" fmla="*/ 920353 w 2738294"/>
                <a:gd name="connsiteY7" fmla="*/ 843239 h 2244147"/>
                <a:gd name="connsiteX8" fmla="*/ 877891 w 2738294"/>
                <a:gd name="connsiteY8" fmla="*/ 842000 h 2244147"/>
                <a:gd name="connsiteX9" fmla="*/ 846592 w 2738294"/>
                <a:gd name="connsiteY9" fmla="*/ 827379 h 2244147"/>
                <a:gd name="connsiteX10" fmla="*/ 791375 w 2738294"/>
                <a:gd name="connsiteY10" fmla="*/ 773630 h 2244147"/>
                <a:gd name="connsiteX11" fmla="*/ 765801 w 2738294"/>
                <a:gd name="connsiteY11" fmla="*/ 763629 h 2244147"/>
                <a:gd name="connsiteX12" fmla="*/ 719080 w 2738294"/>
                <a:gd name="connsiteY12" fmla="*/ 744645 h 2244147"/>
                <a:gd name="connsiteX13" fmla="*/ 682104 w 2738294"/>
                <a:gd name="connsiteY13" fmla="*/ 749198 h 2244147"/>
                <a:gd name="connsiteX14" fmla="*/ 629583 w 2738294"/>
                <a:gd name="connsiteY14" fmla="*/ 724529 h 2244147"/>
                <a:gd name="connsiteX15" fmla="*/ 597837 w 2738294"/>
                <a:gd name="connsiteY15" fmla="*/ 701335 h 2244147"/>
                <a:gd name="connsiteX16" fmla="*/ 568195 w 2738294"/>
                <a:gd name="connsiteY16" fmla="*/ 712889 h 2244147"/>
                <a:gd name="connsiteX17" fmla="*/ 573700 w 2738294"/>
                <a:gd name="connsiteY17" fmla="*/ 750303 h 2244147"/>
                <a:gd name="connsiteX18" fmla="*/ 558937 w 2738294"/>
                <a:gd name="connsiteY18" fmla="*/ 753713 h 2244147"/>
                <a:gd name="connsiteX19" fmla="*/ 528037 w 2738294"/>
                <a:gd name="connsiteY19" fmla="*/ 764772 h 2244147"/>
                <a:gd name="connsiteX20" fmla="*/ 504530 w 2738294"/>
                <a:gd name="connsiteY20" fmla="*/ 782517 h 2244147"/>
                <a:gd name="connsiteX21" fmla="*/ 474936 w 2738294"/>
                <a:gd name="connsiteY21" fmla="*/ 793594 h 2244147"/>
                <a:gd name="connsiteX22" fmla="*/ 471116 w 2738294"/>
                <a:gd name="connsiteY22" fmla="*/ 762686 h 2244147"/>
                <a:gd name="connsiteX23" fmla="*/ 483127 w 2738294"/>
                <a:gd name="connsiteY23" fmla="*/ 710003 h 2244147"/>
                <a:gd name="connsiteX24" fmla="*/ 511502 w 2738294"/>
                <a:gd name="connsiteY24" fmla="*/ 693134 h 2244147"/>
                <a:gd name="connsiteX25" fmla="*/ 504177 w 2738294"/>
                <a:gd name="connsiteY25" fmla="*/ 679266 h 2244147"/>
                <a:gd name="connsiteX26" fmla="*/ 470135 w 2738294"/>
                <a:gd name="connsiteY26" fmla="*/ 709917 h 2244147"/>
                <a:gd name="connsiteX27" fmla="*/ 451904 w 2738294"/>
                <a:gd name="connsiteY27" fmla="*/ 745836 h 2244147"/>
                <a:gd name="connsiteX28" fmla="*/ 413423 w 2738294"/>
                <a:gd name="connsiteY28" fmla="*/ 783431 h 2244147"/>
                <a:gd name="connsiteX29" fmla="*/ 432968 w 2738294"/>
                <a:gd name="connsiteY29" fmla="*/ 808644 h 2244147"/>
                <a:gd name="connsiteX30" fmla="*/ 407727 w 2738294"/>
                <a:gd name="connsiteY30" fmla="*/ 845306 h 2244147"/>
                <a:gd name="connsiteX31" fmla="*/ 379019 w 2738294"/>
                <a:gd name="connsiteY31" fmla="*/ 866327 h 2244147"/>
                <a:gd name="connsiteX32" fmla="*/ 352292 w 2738294"/>
                <a:gd name="connsiteY32" fmla="*/ 881491 h 2244147"/>
                <a:gd name="connsiteX33" fmla="*/ 345681 w 2738294"/>
                <a:gd name="connsiteY33" fmla="*/ 903275 h 2244147"/>
                <a:gd name="connsiteX34" fmla="*/ 303990 w 2738294"/>
                <a:gd name="connsiteY34" fmla="*/ 928364 h 2244147"/>
                <a:gd name="connsiteX35" fmla="*/ 295551 w 2738294"/>
                <a:gd name="connsiteY35" fmla="*/ 950871 h 2244147"/>
                <a:gd name="connsiteX36" fmla="*/ 264300 w 2738294"/>
                <a:gd name="connsiteY36" fmla="*/ 971131 h 2244147"/>
                <a:gd name="connsiteX37" fmla="*/ 245974 w 2738294"/>
                <a:gd name="connsiteY37" fmla="*/ 967502 h 2244147"/>
                <a:gd name="connsiteX38" fmla="*/ 221047 w 2738294"/>
                <a:gd name="connsiteY38" fmla="*/ 980618 h 2244147"/>
                <a:gd name="connsiteX39" fmla="*/ 193948 w 2738294"/>
                <a:gd name="connsiteY39" fmla="*/ 996515 h 2244147"/>
                <a:gd name="connsiteX40" fmla="*/ 171736 w 2738294"/>
                <a:gd name="connsiteY40" fmla="*/ 1012003 h 2244147"/>
                <a:gd name="connsiteX41" fmla="*/ 125901 w 2738294"/>
                <a:gd name="connsiteY41" fmla="*/ 1025119 h 2244147"/>
                <a:gd name="connsiteX42" fmla="*/ 121720 w 2738294"/>
                <a:gd name="connsiteY42" fmla="*/ 1017413 h 2244147"/>
                <a:gd name="connsiteX43" fmla="*/ 150933 w 2738294"/>
                <a:gd name="connsiteY43" fmla="*/ 995810 h 2244147"/>
                <a:gd name="connsiteX44" fmla="*/ 177060 w 2738294"/>
                <a:gd name="connsiteY44" fmla="*/ 981399 h 2244147"/>
                <a:gd name="connsiteX45" fmla="*/ 205530 w 2738294"/>
                <a:gd name="connsiteY45" fmla="*/ 955586 h 2244147"/>
                <a:gd name="connsiteX46" fmla="*/ 238658 w 2738294"/>
                <a:gd name="connsiteY46" fmla="*/ 950205 h 2244147"/>
                <a:gd name="connsiteX47" fmla="*/ 251831 w 2738294"/>
                <a:gd name="connsiteY47" fmla="*/ 930554 h 2244147"/>
                <a:gd name="connsiteX48" fmla="*/ 288846 w 2738294"/>
                <a:gd name="connsiteY48" fmla="*/ 901475 h 2244147"/>
                <a:gd name="connsiteX49" fmla="*/ 294808 w 2738294"/>
                <a:gd name="connsiteY49" fmla="*/ 891645 h 2244147"/>
                <a:gd name="connsiteX50" fmla="*/ 314525 w 2738294"/>
                <a:gd name="connsiteY50" fmla="*/ 874185 h 2244147"/>
                <a:gd name="connsiteX51" fmla="*/ 319135 w 2738294"/>
                <a:gd name="connsiteY51" fmla="*/ 836085 h 2244147"/>
                <a:gd name="connsiteX52" fmla="*/ 332718 w 2738294"/>
                <a:gd name="connsiteY52" fmla="*/ 805853 h 2244147"/>
                <a:gd name="connsiteX53" fmla="*/ 301923 w 2738294"/>
                <a:gd name="connsiteY53" fmla="*/ 821436 h 2244147"/>
                <a:gd name="connsiteX54" fmla="*/ 293313 w 2738294"/>
                <a:gd name="connsiteY54" fmla="*/ 812606 h 2244147"/>
                <a:gd name="connsiteX55" fmla="*/ 278854 w 2738294"/>
                <a:gd name="connsiteY55" fmla="*/ 831218 h 2244147"/>
                <a:gd name="connsiteX56" fmla="*/ 261414 w 2738294"/>
                <a:gd name="connsiteY56" fmla="*/ 805215 h 2244147"/>
                <a:gd name="connsiteX57" fmla="*/ 254213 w 2738294"/>
                <a:gd name="connsiteY57" fmla="*/ 823655 h 2244147"/>
                <a:gd name="connsiteX58" fmla="*/ 244231 w 2738294"/>
                <a:gd name="connsiteY58" fmla="*/ 797985 h 2244147"/>
                <a:gd name="connsiteX59" fmla="*/ 217532 w 2738294"/>
                <a:gd name="connsiteY59" fmla="*/ 818626 h 2244147"/>
                <a:gd name="connsiteX60" fmla="*/ 201139 w 2738294"/>
                <a:gd name="connsiteY60" fmla="*/ 818588 h 2244147"/>
                <a:gd name="connsiteX61" fmla="*/ 198834 w 2738294"/>
                <a:gd name="connsiteY61" fmla="*/ 787803 h 2244147"/>
                <a:gd name="connsiteX62" fmla="*/ 203664 w 2738294"/>
                <a:gd name="connsiteY62" fmla="*/ 768563 h 2244147"/>
                <a:gd name="connsiteX63" fmla="*/ 186461 w 2738294"/>
                <a:gd name="connsiteY63" fmla="*/ 749684 h 2244147"/>
                <a:gd name="connsiteX64" fmla="*/ 151733 w 2738294"/>
                <a:gd name="connsiteY64" fmla="*/ 759876 h 2244147"/>
                <a:gd name="connsiteX65" fmla="*/ 129197 w 2738294"/>
                <a:gd name="connsiteY65" fmla="*/ 734816 h 2244147"/>
                <a:gd name="connsiteX66" fmla="*/ 110928 w 2738294"/>
                <a:gd name="connsiteY66" fmla="*/ 721871 h 2244147"/>
                <a:gd name="connsiteX67" fmla="*/ 110814 w 2738294"/>
                <a:gd name="connsiteY67" fmla="*/ 690915 h 2244147"/>
                <a:gd name="connsiteX68" fmla="*/ 90230 w 2738294"/>
                <a:gd name="connsiteY68" fmla="*/ 667264 h 2244147"/>
                <a:gd name="connsiteX69" fmla="*/ 100565 w 2738294"/>
                <a:gd name="connsiteY69" fmla="*/ 634832 h 2244147"/>
                <a:gd name="connsiteX70" fmla="*/ 122339 w 2738294"/>
                <a:gd name="connsiteY70" fmla="*/ 602751 h 2244147"/>
                <a:gd name="connsiteX71" fmla="*/ 131864 w 2738294"/>
                <a:gd name="connsiteY71" fmla="*/ 572710 h 2244147"/>
                <a:gd name="connsiteX72" fmla="*/ 153476 w 2738294"/>
                <a:gd name="connsiteY72" fmla="*/ 568385 h 2244147"/>
                <a:gd name="connsiteX73" fmla="*/ 171802 w 2738294"/>
                <a:gd name="connsiteY73" fmla="*/ 577834 h 2244147"/>
                <a:gd name="connsiteX74" fmla="*/ 193348 w 2738294"/>
                <a:gd name="connsiteY74" fmla="*/ 549192 h 2244147"/>
                <a:gd name="connsiteX75" fmla="*/ 212741 w 2738294"/>
                <a:gd name="connsiteY75" fmla="*/ 554345 h 2244147"/>
                <a:gd name="connsiteX76" fmla="*/ 233096 w 2738294"/>
                <a:gd name="connsiteY76" fmla="*/ 535724 h 2244147"/>
                <a:gd name="connsiteX77" fmla="*/ 228133 w 2738294"/>
                <a:gd name="connsiteY77" fmla="*/ 507940 h 2244147"/>
                <a:gd name="connsiteX78" fmla="*/ 213179 w 2738294"/>
                <a:gd name="connsiteY78" fmla="*/ 496862 h 2244147"/>
                <a:gd name="connsiteX79" fmla="*/ 232953 w 2738294"/>
                <a:gd name="connsiteY79" fmla="*/ 472869 h 2244147"/>
                <a:gd name="connsiteX80" fmla="*/ 216551 w 2738294"/>
                <a:gd name="connsiteY80" fmla="*/ 473583 h 2244147"/>
                <a:gd name="connsiteX81" fmla="*/ 188214 w 2738294"/>
                <a:gd name="connsiteY81" fmla="*/ 487166 h 2244147"/>
                <a:gd name="connsiteX82" fmla="*/ 180080 w 2738294"/>
                <a:gd name="connsiteY82" fmla="*/ 500824 h 2244147"/>
                <a:gd name="connsiteX83" fmla="*/ 159020 w 2738294"/>
                <a:gd name="connsiteY83" fmla="*/ 487185 h 2244147"/>
                <a:gd name="connsiteX84" fmla="*/ 121244 w 2738294"/>
                <a:gd name="connsiteY84" fmla="*/ 494128 h 2244147"/>
                <a:gd name="connsiteX85" fmla="*/ 82134 w 2738294"/>
                <a:gd name="connsiteY85" fmla="*/ 479241 h 2244147"/>
                <a:gd name="connsiteX86" fmla="*/ 70923 w 2738294"/>
                <a:gd name="connsiteY86" fmla="*/ 453961 h 2244147"/>
                <a:gd name="connsiteX87" fmla="*/ 37128 w 2738294"/>
                <a:gd name="connsiteY87" fmla="*/ 416757 h 2244147"/>
                <a:gd name="connsiteX88" fmla="*/ 74657 w 2738294"/>
                <a:gd name="connsiteY88" fmla="*/ 389449 h 2244147"/>
                <a:gd name="connsiteX89" fmla="*/ 134226 w 2738294"/>
                <a:gd name="connsiteY89" fmla="*/ 356997 h 2244147"/>
                <a:gd name="connsiteX90" fmla="*/ 156181 w 2738294"/>
                <a:gd name="connsiteY90" fmla="*/ 356997 h 2244147"/>
                <a:gd name="connsiteX91" fmla="*/ 152543 w 2738294"/>
                <a:gd name="connsiteY91" fmla="*/ 390182 h 2244147"/>
                <a:gd name="connsiteX92" fmla="*/ 208912 w 2738294"/>
                <a:gd name="connsiteY92" fmla="*/ 387620 h 2244147"/>
                <a:gd name="connsiteX93" fmla="*/ 187233 w 2738294"/>
                <a:gd name="connsiteY93" fmla="*/ 346291 h 2244147"/>
                <a:gd name="connsiteX94" fmla="*/ 154381 w 2738294"/>
                <a:gd name="connsiteY94" fmla="*/ 320364 h 2244147"/>
                <a:gd name="connsiteX95" fmla="*/ 135388 w 2738294"/>
                <a:gd name="connsiteY95" fmla="*/ 285702 h 2244147"/>
                <a:gd name="connsiteX96" fmla="*/ 109766 w 2738294"/>
                <a:gd name="connsiteY96" fmla="*/ 255546 h 2244147"/>
                <a:gd name="connsiteX97" fmla="*/ 73066 w 2738294"/>
                <a:gd name="connsiteY97" fmla="*/ 232829 h 2244147"/>
                <a:gd name="connsiteX98" fmla="*/ 88011 w 2738294"/>
                <a:gd name="connsiteY98" fmla="*/ 194462 h 2244147"/>
                <a:gd name="connsiteX99" fmla="*/ 135388 w 2738294"/>
                <a:gd name="connsiteY99" fmla="*/ 192053 h 2244147"/>
                <a:gd name="connsiteX100" fmla="*/ 169097 w 2738294"/>
                <a:gd name="connsiteY100" fmla="*/ 157905 h 2244147"/>
                <a:gd name="connsiteX101" fmla="*/ 175451 w 2738294"/>
                <a:gd name="connsiteY101" fmla="*/ 120596 h 2244147"/>
                <a:gd name="connsiteX102" fmla="*/ 202730 w 2738294"/>
                <a:gd name="connsiteY102" fmla="*/ 83344 h 2244147"/>
                <a:gd name="connsiteX103" fmla="*/ 228743 w 2738294"/>
                <a:gd name="connsiteY103" fmla="*/ 74247 h 2244147"/>
                <a:gd name="connsiteX104" fmla="*/ 279368 w 2738294"/>
                <a:gd name="connsiteY104" fmla="*/ 38452 h 2244147"/>
                <a:gd name="connsiteX105" fmla="*/ 303924 w 2738294"/>
                <a:gd name="connsiteY105" fmla="*/ 43901 h 2244147"/>
                <a:gd name="connsiteX106" fmla="*/ 345024 w 2738294"/>
                <a:gd name="connsiteY106" fmla="*/ 0 h 2244147"/>
                <a:gd name="connsiteX107" fmla="*/ 385429 w 2738294"/>
                <a:gd name="connsiteY107" fmla="*/ 17440 h 2244147"/>
                <a:gd name="connsiteX108" fmla="*/ 404755 w 2738294"/>
                <a:gd name="connsiteY108" fmla="*/ 54292 h 2244147"/>
                <a:gd name="connsiteX109" fmla="*/ 416624 w 2738294"/>
                <a:gd name="connsiteY109" fmla="*/ 38595 h 2244147"/>
                <a:gd name="connsiteX110" fmla="*/ 461753 w 2738294"/>
                <a:gd name="connsiteY110" fmla="*/ 43482 h 2244147"/>
                <a:gd name="connsiteX111" fmla="*/ 460153 w 2738294"/>
                <a:gd name="connsiteY111" fmla="*/ 62065 h 2244147"/>
                <a:gd name="connsiteX112" fmla="*/ 501015 w 2738294"/>
                <a:gd name="connsiteY112" fmla="*/ 75667 h 2244147"/>
                <a:gd name="connsiteX113" fmla="*/ 528257 w 2738294"/>
                <a:gd name="connsiteY113" fmla="*/ 67685 h 2244147"/>
                <a:gd name="connsiteX114" fmla="*/ 584521 w 2738294"/>
                <a:gd name="connsiteY114" fmla="*/ 92783 h 2244147"/>
                <a:gd name="connsiteX115" fmla="*/ 635889 w 2738294"/>
                <a:gd name="connsiteY115" fmla="*/ 100174 h 2244147"/>
                <a:gd name="connsiteX116" fmla="*/ 656453 w 2738294"/>
                <a:gd name="connsiteY116" fmla="*/ 110347 h 2244147"/>
                <a:gd name="connsiteX117" fmla="*/ 691991 w 2738294"/>
                <a:gd name="connsiteY117" fmla="*/ 97631 h 2244147"/>
                <a:gd name="connsiteX118" fmla="*/ 732501 w 2738294"/>
                <a:gd name="connsiteY118" fmla="*/ 121082 h 2244147"/>
                <a:gd name="connsiteX119" fmla="*/ 761514 w 2738294"/>
                <a:gd name="connsiteY119" fmla="*/ 131893 h 2244147"/>
                <a:gd name="connsiteX120" fmla="*/ 761333 w 2738294"/>
                <a:gd name="connsiteY120" fmla="*/ 395240 h 2244147"/>
                <a:gd name="connsiteX121" fmla="*/ 761190 w 2738294"/>
                <a:gd name="connsiteY121" fmla="*/ 732711 h 2244147"/>
                <a:gd name="connsiteX122" fmla="*/ 787489 w 2738294"/>
                <a:gd name="connsiteY122" fmla="*/ 734301 h 2244147"/>
                <a:gd name="connsiteX123" fmla="*/ 813502 w 2738294"/>
                <a:gd name="connsiteY123" fmla="*/ 749122 h 2244147"/>
                <a:gd name="connsiteX124" fmla="*/ 832152 w 2738294"/>
                <a:gd name="connsiteY124" fmla="*/ 772325 h 2244147"/>
                <a:gd name="connsiteX125" fmla="*/ 855878 w 2738294"/>
                <a:gd name="connsiteY125" fmla="*/ 806577 h 2244147"/>
                <a:gd name="connsiteX126" fmla="*/ 881863 w 2738294"/>
                <a:gd name="connsiteY126" fmla="*/ 777488 h 2244147"/>
                <a:gd name="connsiteX127" fmla="*/ 908676 w 2738294"/>
                <a:gd name="connsiteY127" fmla="*/ 760409 h 2244147"/>
                <a:gd name="connsiteX128" fmla="*/ 922849 w 2738294"/>
                <a:gd name="connsiteY128" fmla="*/ 787603 h 2244147"/>
                <a:gd name="connsiteX129" fmla="*/ 940841 w 2738294"/>
                <a:gd name="connsiteY129" fmla="*/ 808834 h 2244147"/>
                <a:gd name="connsiteX130" fmla="*/ 965292 w 2738294"/>
                <a:gd name="connsiteY130" fmla="*/ 831923 h 2244147"/>
                <a:gd name="connsiteX131" fmla="*/ 981989 w 2738294"/>
                <a:gd name="connsiteY131" fmla="*/ 868061 h 2244147"/>
                <a:gd name="connsiteX132" fmla="*/ 1009298 w 2738294"/>
                <a:gd name="connsiteY132" fmla="*/ 924077 h 2244147"/>
                <a:gd name="connsiteX133" fmla="*/ 1054703 w 2738294"/>
                <a:gd name="connsiteY133" fmla="*/ 954596 h 2244147"/>
                <a:gd name="connsiteX134" fmla="*/ 1055446 w 2738294"/>
                <a:gd name="connsiteY134" fmla="*/ 984352 h 2244147"/>
                <a:gd name="connsiteX135" fmla="*/ 1040597 w 2738294"/>
                <a:gd name="connsiteY135" fmla="*/ 1006792 h 2244147"/>
                <a:gd name="connsiteX136" fmla="*/ 2716330 w 2738294"/>
                <a:gd name="connsiteY136" fmla="*/ 1334786 h 2244147"/>
                <a:gd name="connsiteX137" fmla="*/ 2704471 w 2738294"/>
                <a:gd name="connsiteY137" fmla="*/ 1323480 h 2244147"/>
                <a:gd name="connsiteX138" fmla="*/ 2686564 w 2738294"/>
                <a:gd name="connsiteY138" fmla="*/ 1330147 h 2244147"/>
                <a:gd name="connsiteX139" fmla="*/ 2677687 w 2738294"/>
                <a:gd name="connsiteY139" fmla="*/ 1319832 h 2244147"/>
                <a:gd name="connsiteX140" fmla="*/ 2657313 w 2738294"/>
                <a:gd name="connsiteY140" fmla="*/ 1349330 h 2244147"/>
                <a:gd name="connsiteX141" fmla="*/ 2649169 w 2738294"/>
                <a:gd name="connsiteY141" fmla="*/ 1379315 h 2244147"/>
                <a:gd name="connsiteX142" fmla="*/ 2639692 w 2738294"/>
                <a:gd name="connsiteY142" fmla="*/ 1396651 h 2244147"/>
                <a:gd name="connsiteX143" fmla="*/ 2628348 w 2738294"/>
                <a:gd name="connsiteY143" fmla="*/ 1402518 h 2244147"/>
                <a:gd name="connsiteX144" fmla="*/ 2619804 w 2738294"/>
                <a:gd name="connsiteY144" fmla="*/ 1404423 h 2244147"/>
                <a:gd name="connsiteX145" fmla="*/ 2617127 w 2738294"/>
                <a:gd name="connsiteY145" fmla="*/ 1413738 h 2244147"/>
                <a:gd name="connsiteX146" fmla="*/ 2567911 w 2738294"/>
                <a:gd name="connsiteY146" fmla="*/ 1413767 h 2244147"/>
                <a:gd name="connsiteX147" fmla="*/ 2527335 w 2738294"/>
                <a:gd name="connsiteY147" fmla="*/ 1414024 h 2244147"/>
                <a:gd name="connsiteX148" fmla="*/ 2515286 w 2738294"/>
                <a:gd name="connsiteY148" fmla="*/ 1420939 h 2244147"/>
                <a:gd name="connsiteX149" fmla="*/ 2487949 w 2738294"/>
                <a:gd name="connsiteY149" fmla="*/ 1446943 h 2244147"/>
                <a:gd name="connsiteX150" fmla="*/ 2490683 w 2738294"/>
                <a:gd name="connsiteY150" fmla="*/ 1452124 h 2244147"/>
                <a:gd name="connsiteX151" fmla="*/ 2492264 w 2738294"/>
                <a:gd name="connsiteY151" fmla="*/ 1466469 h 2244147"/>
                <a:gd name="connsiteX152" fmla="*/ 2472233 w 2738294"/>
                <a:gd name="connsiteY152" fmla="*/ 1478566 h 2244147"/>
                <a:gd name="connsiteX153" fmla="*/ 2450354 w 2738294"/>
                <a:gd name="connsiteY153" fmla="*/ 1475537 h 2244147"/>
                <a:gd name="connsiteX154" fmla="*/ 2429361 w 2738294"/>
                <a:gd name="connsiteY154" fmla="*/ 1474175 h 2244147"/>
                <a:gd name="connsiteX155" fmla="*/ 2416712 w 2738294"/>
                <a:gd name="connsiteY155" fmla="*/ 1478356 h 2244147"/>
                <a:gd name="connsiteX156" fmla="*/ 2419083 w 2738294"/>
                <a:gd name="connsiteY156" fmla="*/ 1489310 h 2244147"/>
                <a:gd name="connsiteX157" fmla="*/ 2419083 w 2738294"/>
                <a:gd name="connsiteY157" fmla="*/ 1489329 h 2244147"/>
                <a:gd name="connsiteX158" fmla="*/ 2419607 w 2738294"/>
                <a:gd name="connsiteY158" fmla="*/ 1492882 h 2244147"/>
                <a:gd name="connsiteX159" fmla="*/ 2396595 w 2738294"/>
                <a:gd name="connsiteY159" fmla="*/ 1514456 h 2244147"/>
                <a:gd name="connsiteX160" fmla="*/ 2376450 w 2738294"/>
                <a:gd name="connsiteY160" fmla="*/ 1524829 h 2244147"/>
                <a:gd name="connsiteX161" fmla="*/ 2362705 w 2738294"/>
                <a:gd name="connsiteY161" fmla="*/ 1529648 h 2244147"/>
                <a:gd name="connsiteX162" fmla="*/ 2346884 w 2738294"/>
                <a:gd name="connsiteY162" fmla="*/ 1539507 h 2244147"/>
                <a:gd name="connsiteX163" fmla="*/ 2327548 w 2738294"/>
                <a:gd name="connsiteY163" fmla="*/ 1544231 h 2244147"/>
                <a:gd name="connsiteX164" fmla="*/ 2314232 w 2738294"/>
                <a:gd name="connsiteY164" fmla="*/ 1542412 h 2244147"/>
                <a:gd name="connsiteX165" fmla="*/ 2297764 w 2738294"/>
                <a:gd name="connsiteY165" fmla="*/ 1535058 h 2244147"/>
                <a:gd name="connsiteX166" fmla="*/ 2306917 w 2738294"/>
                <a:gd name="connsiteY166" fmla="*/ 1521257 h 2244147"/>
                <a:gd name="connsiteX167" fmla="*/ 2312794 w 2738294"/>
                <a:gd name="connsiteY167" fmla="*/ 1508674 h 2244147"/>
                <a:gd name="connsiteX168" fmla="*/ 2325348 w 2738294"/>
                <a:gd name="connsiteY168" fmla="*/ 1488757 h 2244147"/>
                <a:gd name="connsiteX169" fmla="*/ 2324014 w 2738294"/>
                <a:gd name="connsiteY169" fmla="*/ 1473794 h 2244147"/>
                <a:gd name="connsiteX170" fmla="*/ 2319204 w 2738294"/>
                <a:gd name="connsiteY170" fmla="*/ 1452448 h 2244147"/>
                <a:gd name="connsiteX171" fmla="*/ 2309327 w 2738294"/>
                <a:gd name="connsiteY171" fmla="*/ 1448753 h 2244147"/>
                <a:gd name="connsiteX172" fmla="*/ 2292772 w 2738294"/>
                <a:gd name="connsiteY172" fmla="*/ 1464993 h 2244147"/>
                <a:gd name="connsiteX173" fmla="*/ 2287467 w 2738294"/>
                <a:gd name="connsiteY173" fmla="*/ 1464688 h 2244147"/>
                <a:gd name="connsiteX174" fmla="*/ 2286095 w 2738294"/>
                <a:gd name="connsiteY174" fmla="*/ 1455410 h 2244147"/>
                <a:gd name="connsiteX175" fmla="*/ 2300783 w 2738294"/>
                <a:gd name="connsiteY175" fmla="*/ 1440589 h 2244147"/>
                <a:gd name="connsiteX176" fmla="*/ 2303221 w 2738294"/>
                <a:gd name="connsiteY176" fmla="*/ 1423578 h 2244147"/>
                <a:gd name="connsiteX177" fmla="*/ 2301050 w 2738294"/>
                <a:gd name="connsiteY177" fmla="*/ 1406490 h 2244147"/>
                <a:gd name="connsiteX178" fmla="*/ 2281285 w 2738294"/>
                <a:gd name="connsiteY178" fmla="*/ 1391707 h 2244147"/>
                <a:gd name="connsiteX179" fmla="*/ 2258587 w 2738294"/>
                <a:gd name="connsiteY179" fmla="*/ 1384087 h 2244147"/>
                <a:gd name="connsiteX180" fmla="*/ 2254853 w 2738294"/>
                <a:gd name="connsiteY180" fmla="*/ 1398546 h 2244147"/>
                <a:gd name="connsiteX181" fmla="*/ 2248967 w 2738294"/>
                <a:gd name="connsiteY181" fmla="*/ 1402404 h 2244147"/>
                <a:gd name="connsiteX182" fmla="*/ 2244242 w 2738294"/>
                <a:gd name="connsiteY182" fmla="*/ 1421006 h 2244147"/>
                <a:gd name="connsiteX183" fmla="*/ 2241766 w 2738294"/>
                <a:gd name="connsiteY183" fmla="*/ 1408386 h 2244147"/>
                <a:gd name="connsiteX184" fmla="*/ 2231089 w 2738294"/>
                <a:gd name="connsiteY184" fmla="*/ 1417406 h 2244147"/>
                <a:gd name="connsiteX185" fmla="*/ 2224421 w 2738294"/>
                <a:gd name="connsiteY185" fmla="*/ 1429988 h 2244147"/>
                <a:gd name="connsiteX186" fmla="*/ 2217458 w 2738294"/>
                <a:gd name="connsiteY186" fmla="*/ 1448238 h 2244147"/>
                <a:gd name="connsiteX187" fmla="*/ 2216125 w 2738294"/>
                <a:gd name="connsiteY187" fmla="*/ 1463907 h 2244147"/>
                <a:gd name="connsiteX188" fmla="*/ 2224983 w 2738294"/>
                <a:gd name="connsiteY188" fmla="*/ 1486538 h 2244147"/>
                <a:gd name="connsiteX189" fmla="*/ 2224250 w 2738294"/>
                <a:gd name="connsiteY189" fmla="*/ 1510427 h 2244147"/>
                <a:gd name="connsiteX190" fmla="*/ 2213410 w 2738294"/>
                <a:gd name="connsiteY190" fmla="*/ 1527915 h 2244147"/>
                <a:gd name="connsiteX191" fmla="*/ 2208000 w 2738294"/>
                <a:gd name="connsiteY191" fmla="*/ 1532849 h 2244147"/>
                <a:gd name="connsiteX192" fmla="*/ 2200789 w 2738294"/>
                <a:gd name="connsiteY192" fmla="*/ 1536773 h 2244147"/>
                <a:gd name="connsiteX193" fmla="*/ 2191712 w 2738294"/>
                <a:gd name="connsiteY193" fmla="*/ 1536973 h 2244147"/>
                <a:gd name="connsiteX194" fmla="*/ 2189255 w 2738294"/>
                <a:gd name="connsiteY194" fmla="*/ 1534563 h 2244147"/>
                <a:gd name="connsiteX195" fmla="*/ 2182063 w 2738294"/>
                <a:gd name="connsiteY195" fmla="*/ 1515751 h 2244147"/>
                <a:gd name="connsiteX196" fmla="*/ 2181854 w 2738294"/>
                <a:gd name="connsiteY196" fmla="*/ 1506398 h 2244147"/>
                <a:gd name="connsiteX197" fmla="*/ 2182568 w 2738294"/>
                <a:gd name="connsiteY197" fmla="*/ 1497473 h 2244147"/>
                <a:gd name="connsiteX198" fmla="*/ 2179215 w 2738294"/>
                <a:gd name="connsiteY198" fmla="*/ 1479661 h 2244147"/>
                <a:gd name="connsiteX199" fmla="*/ 2184292 w 2738294"/>
                <a:gd name="connsiteY199" fmla="*/ 1458887 h 2244147"/>
                <a:gd name="connsiteX200" fmla="*/ 2190322 w 2738294"/>
                <a:gd name="connsiteY200" fmla="*/ 1433046 h 2244147"/>
                <a:gd name="connsiteX201" fmla="*/ 2204180 w 2738294"/>
                <a:gd name="connsiteY201" fmla="*/ 1404137 h 2244147"/>
                <a:gd name="connsiteX202" fmla="*/ 2200161 w 2738294"/>
                <a:gd name="connsiteY202" fmla="*/ 1404271 h 2244147"/>
                <a:gd name="connsiteX203" fmla="*/ 2180539 w 2738294"/>
                <a:gd name="connsiteY203" fmla="*/ 1428493 h 2244147"/>
                <a:gd name="connsiteX204" fmla="*/ 2176920 w 2738294"/>
                <a:gd name="connsiteY204" fmla="*/ 1424073 h 2244147"/>
                <a:gd name="connsiteX205" fmla="*/ 2187388 w 2738294"/>
                <a:gd name="connsiteY205" fmla="*/ 1410529 h 2244147"/>
                <a:gd name="connsiteX206" fmla="*/ 2203314 w 2738294"/>
                <a:gd name="connsiteY206" fmla="*/ 1386021 h 2244147"/>
                <a:gd name="connsiteX207" fmla="*/ 2221478 w 2738294"/>
                <a:gd name="connsiteY207" fmla="*/ 1382582 h 2244147"/>
                <a:gd name="connsiteX208" fmla="*/ 2242309 w 2738294"/>
                <a:gd name="connsiteY208" fmla="*/ 1374924 h 2244147"/>
                <a:gd name="connsiteX209" fmla="*/ 2263312 w 2738294"/>
                <a:gd name="connsiteY209" fmla="*/ 1378963 h 2244147"/>
                <a:gd name="connsiteX210" fmla="*/ 2264207 w 2738294"/>
                <a:gd name="connsiteY210" fmla="*/ 1379134 h 2244147"/>
                <a:gd name="connsiteX211" fmla="*/ 2287734 w 2738294"/>
                <a:gd name="connsiteY211" fmla="*/ 1375677 h 2244147"/>
                <a:gd name="connsiteX212" fmla="*/ 2274446 w 2738294"/>
                <a:gd name="connsiteY212" fmla="*/ 1360351 h 2244147"/>
                <a:gd name="connsiteX213" fmla="*/ 2267284 w 2738294"/>
                <a:gd name="connsiteY213" fmla="*/ 1359160 h 2244147"/>
                <a:gd name="connsiteX214" fmla="*/ 2259140 w 2738294"/>
                <a:gd name="connsiteY214" fmla="*/ 1357598 h 2244147"/>
                <a:gd name="connsiteX215" fmla="*/ 2253529 w 2738294"/>
                <a:gd name="connsiteY215" fmla="*/ 1346740 h 2244147"/>
                <a:gd name="connsiteX216" fmla="*/ 2227288 w 2738294"/>
                <a:gd name="connsiteY216" fmla="*/ 1350131 h 2244147"/>
                <a:gd name="connsiteX217" fmla="*/ 2203590 w 2738294"/>
                <a:gd name="connsiteY217" fmla="*/ 1358751 h 2244147"/>
                <a:gd name="connsiteX218" fmla="*/ 2184778 w 2738294"/>
                <a:gd name="connsiteY218" fmla="*/ 1343978 h 2244147"/>
                <a:gd name="connsiteX219" fmla="*/ 2169643 w 2738294"/>
                <a:gd name="connsiteY219" fmla="*/ 1339015 h 2244147"/>
                <a:gd name="connsiteX220" fmla="*/ 2178225 w 2738294"/>
                <a:gd name="connsiteY220" fmla="*/ 1318346 h 2244147"/>
                <a:gd name="connsiteX221" fmla="*/ 2154650 w 2738294"/>
                <a:gd name="connsiteY221" fmla="*/ 1331347 h 2244147"/>
                <a:gd name="connsiteX222" fmla="*/ 2133219 w 2738294"/>
                <a:gd name="connsiteY222" fmla="*/ 1343997 h 2244147"/>
                <a:gd name="connsiteX223" fmla="*/ 2112597 w 2738294"/>
                <a:gd name="connsiteY223" fmla="*/ 1353874 h 2244147"/>
                <a:gd name="connsiteX224" fmla="*/ 2096224 w 2738294"/>
                <a:gd name="connsiteY224" fmla="*/ 1340530 h 2244147"/>
                <a:gd name="connsiteX225" fmla="*/ 2069468 w 2738294"/>
                <a:gd name="connsiteY225" fmla="*/ 1348635 h 2244147"/>
                <a:gd name="connsiteX226" fmla="*/ 2069554 w 2738294"/>
                <a:gd name="connsiteY226" fmla="*/ 1342930 h 2244147"/>
                <a:gd name="connsiteX227" fmla="*/ 2087680 w 2738294"/>
                <a:gd name="connsiteY227" fmla="*/ 1326451 h 2244147"/>
                <a:gd name="connsiteX228" fmla="*/ 2106644 w 2738294"/>
                <a:gd name="connsiteY228" fmla="*/ 1310697 h 2244147"/>
                <a:gd name="connsiteX229" fmla="*/ 2133886 w 2738294"/>
                <a:gd name="connsiteY229" fmla="*/ 1297600 h 2244147"/>
                <a:gd name="connsiteX230" fmla="*/ 2101034 w 2738294"/>
                <a:gd name="connsiteY230" fmla="*/ 1287228 h 2244147"/>
                <a:gd name="connsiteX231" fmla="*/ 2079403 w 2738294"/>
                <a:gd name="connsiteY231" fmla="*/ 1292419 h 2244147"/>
                <a:gd name="connsiteX232" fmla="*/ 2053495 w 2738294"/>
                <a:gd name="connsiteY232" fmla="*/ 1280008 h 2244147"/>
                <a:gd name="connsiteX233" fmla="*/ 2026225 w 2738294"/>
                <a:gd name="connsiteY233" fmla="*/ 1273607 h 2244147"/>
                <a:gd name="connsiteX234" fmla="*/ 2007575 w 2738294"/>
                <a:gd name="connsiteY234" fmla="*/ 1271130 h 2244147"/>
                <a:gd name="connsiteX235" fmla="*/ 1999269 w 2738294"/>
                <a:gd name="connsiteY235" fmla="*/ 1264291 h 2244147"/>
                <a:gd name="connsiteX236" fmla="*/ 1994526 w 2738294"/>
                <a:gd name="connsiteY236" fmla="*/ 1241955 h 2244147"/>
                <a:gd name="connsiteX237" fmla="*/ 1985486 w 2738294"/>
                <a:gd name="connsiteY237" fmla="*/ 1242155 h 2244147"/>
                <a:gd name="connsiteX238" fmla="*/ 1985410 w 2738294"/>
                <a:gd name="connsiteY238" fmla="*/ 1257814 h 2244147"/>
                <a:gd name="connsiteX239" fmla="*/ 1930137 w 2738294"/>
                <a:gd name="connsiteY239" fmla="*/ 1257786 h 2244147"/>
                <a:gd name="connsiteX240" fmla="*/ 1838763 w 2738294"/>
                <a:gd name="connsiteY240" fmla="*/ 1257814 h 2244147"/>
                <a:gd name="connsiteX241" fmla="*/ 1748009 w 2738294"/>
                <a:gd name="connsiteY241" fmla="*/ 1257814 h 2244147"/>
                <a:gd name="connsiteX242" fmla="*/ 1667837 w 2738294"/>
                <a:gd name="connsiteY242" fmla="*/ 1257814 h 2244147"/>
                <a:gd name="connsiteX243" fmla="*/ 1587713 w 2738294"/>
                <a:gd name="connsiteY243" fmla="*/ 1257814 h 2244147"/>
                <a:gd name="connsiteX244" fmla="*/ 1508932 w 2738294"/>
                <a:gd name="connsiteY244" fmla="*/ 1257814 h 2244147"/>
                <a:gd name="connsiteX245" fmla="*/ 1427531 w 2738294"/>
                <a:gd name="connsiteY245" fmla="*/ 1257814 h 2244147"/>
                <a:gd name="connsiteX246" fmla="*/ 1401280 w 2738294"/>
                <a:gd name="connsiteY246" fmla="*/ 1257814 h 2244147"/>
                <a:gd name="connsiteX247" fmla="*/ 1321994 w 2738294"/>
                <a:gd name="connsiteY247" fmla="*/ 1257814 h 2244147"/>
                <a:gd name="connsiteX248" fmla="*/ 1246146 w 2738294"/>
                <a:gd name="connsiteY248" fmla="*/ 1257814 h 2244147"/>
                <a:gd name="connsiteX249" fmla="*/ 1255233 w 2738294"/>
                <a:gd name="connsiteY249" fmla="*/ 1290828 h 2244147"/>
                <a:gd name="connsiteX250" fmla="*/ 1259500 w 2738294"/>
                <a:gd name="connsiteY250" fmla="*/ 1323308 h 2244147"/>
                <a:gd name="connsiteX251" fmla="*/ 1252899 w 2738294"/>
                <a:gd name="connsiteY251" fmla="*/ 1333662 h 2244147"/>
                <a:gd name="connsiteX252" fmla="*/ 1238669 w 2738294"/>
                <a:gd name="connsiteY252" fmla="*/ 1296410 h 2244147"/>
                <a:gd name="connsiteX253" fmla="*/ 1200045 w 2738294"/>
                <a:gd name="connsiteY253" fmla="*/ 1282837 h 2244147"/>
                <a:gd name="connsiteX254" fmla="*/ 1196816 w 2738294"/>
                <a:gd name="connsiteY254" fmla="*/ 1290647 h 2244147"/>
                <a:gd name="connsiteX255" fmla="*/ 1204598 w 2738294"/>
                <a:gd name="connsiteY255" fmla="*/ 1309106 h 2244147"/>
                <a:gd name="connsiteX256" fmla="*/ 1213037 w 2738294"/>
                <a:gd name="connsiteY256" fmla="*/ 1342682 h 2244147"/>
                <a:gd name="connsiteX257" fmla="*/ 1217857 w 2738294"/>
                <a:gd name="connsiteY257" fmla="*/ 1394270 h 2244147"/>
                <a:gd name="connsiteX258" fmla="*/ 1214609 w 2738294"/>
                <a:gd name="connsiteY258" fmla="*/ 1428474 h 2244147"/>
                <a:gd name="connsiteX259" fmla="*/ 1211361 w 2738294"/>
                <a:gd name="connsiteY259" fmla="*/ 1462145 h 2244147"/>
                <a:gd name="connsiteX260" fmla="*/ 1200922 w 2738294"/>
                <a:gd name="connsiteY260" fmla="*/ 1496568 h 2244147"/>
                <a:gd name="connsiteX261" fmla="*/ 1209446 w 2738294"/>
                <a:gd name="connsiteY261" fmla="*/ 1524172 h 2244147"/>
                <a:gd name="connsiteX262" fmla="*/ 1210380 w 2738294"/>
                <a:gd name="connsiteY262" fmla="*/ 1554671 h 2244147"/>
                <a:gd name="connsiteX263" fmla="*/ 1204522 w 2738294"/>
                <a:gd name="connsiteY263" fmla="*/ 1583769 h 2244147"/>
                <a:gd name="connsiteX264" fmla="*/ 1218752 w 2738294"/>
                <a:gd name="connsiteY264" fmla="*/ 1602743 h 2244147"/>
                <a:gd name="connsiteX265" fmla="*/ 1222439 w 2738294"/>
                <a:gd name="connsiteY265" fmla="*/ 1630794 h 2244147"/>
                <a:gd name="connsiteX266" fmla="*/ 1243108 w 2738294"/>
                <a:gd name="connsiteY266" fmla="*/ 1659284 h 2244147"/>
                <a:gd name="connsiteX267" fmla="*/ 1254890 w 2738294"/>
                <a:gd name="connsiteY267" fmla="*/ 1670418 h 2244147"/>
                <a:gd name="connsiteX268" fmla="*/ 1253938 w 2738294"/>
                <a:gd name="connsiteY268" fmla="*/ 1678200 h 2244147"/>
                <a:gd name="connsiteX269" fmla="*/ 1276179 w 2738294"/>
                <a:gd name="connsiteY269" fmla="*/ 1724406 h 2244147"/>
                <a:gd name="connsiteX270" fmla="*/ 1302087 w 2738294"/>
                <a:gd name="connsiteY270" fmla="*/ 1757286 h 2244147"/>
                <a:gd name="connsiteX271" fmla="*/ 1305335 w 2738294"/>
                <a:gd name="connsiteY271" fmla="*/ 1775060 h 2244147"/>
                <a:gd name="connsiteX272" fmla="*/ 1312145 w 2738294"/>
                <a:gd name="connsiteY272" fmla="*/ 1780270 h 2244147"/>
                <a:gd name="connsiteX273" fmla="*/ 1336958 w 2738294"/>
                <a:gd name="connsiteY273" fmla="*/ 1783442 h 2244147"/>
                <a:gd name="connsiteX274" fmla="*/ 1346511 w 2738294"/>
                <a:gd name="connsiteY274" fmla="*/ 1792138 h 2244147"/>
                <a:gd name="connsiteX275" fmla="*/ 1361494 w 2738294"/>
                <a:gd name="connsiteY275" fmla="*/ 1793748 h 2244147"/>
                <a:gd name="connsiteX276" fmla="*/ 1364418 w 2738294"/>
                <a:gd name="connsiteY276" fmla="*/ 1802940 h 2244147"/>
                <a:gd name="connsiteX277" fmla="*/ 1376877 w 2738294"/>
                <a:gd name="connsiteY277" fmla="*/ 1806759 h 2244147"/>
                <a:gd name="connsiteX278" fmla="*/ 1394184 w 2738294"/>
                <a:gd name="connsiteY278" fmla="*/ 1825047 h 2244147"/>
                <a:gd name="connsiteX279" fmla="*/ 1398680 w 2738294"/>
                <a:gd name="connsiteY279" fmla="*/ 1841202 h 2244147"/>
                <a:gd name="connsiteX280" fmla="*/ 1429026 w 2738294"/>
                <a:gd name="connsiteY280" fmla="*/ 1838773 h 2244147"/>
                <a:gd name="connsiteX281" fmla="*/ 1462945 w 2738294"/>
                <a:gd name="connsiteY281" fmla="*/ 1835353 h 2244147"/>
                <a:gd name="connsiteX282" fmla="*/ 1460440 w 2738294"/>
                <a:gd name="connsiteY282" fmla="*/ 1841525 h 2244147"/>
                <a:gd name="connsiteX283" fmla="*/ 1500769 w 2738294"/>
                <a:gd name="connsiteY283" fmla="*/ 1856804 h 2244147"/>
                <a:gd name="connsiteX284" fmla="*/ 1561690 w 2738294"/>
                <a:gd name="connsiteY284" fmla="*/ 1878806 h 2244147"/>
                <a:gd name="connsiteX285" fmla="*/ 1614802 w 2738294"/>
                <a:gd name="connsiteY285" fmla="*/ 1878587 h 2244147"/>
                <a:gd name="connsiteX286" fmla="*/ 1635976 w 2738294"/>
                <a:gd name="connsiteY286" fmla="*/ 1878578 h 2244147"/>
                <a:gd name="connsiteX287" fmla="*/ 1636033 w 2738294"/>
                <a:gd name="connsiteY287" fmla="*/ 1865709 h 2244147"/>
                <a:gd name="connsiteX288" fmla="*/ 1682296 w 2738294"/>
                <a:gd name="connsiteY288" fmla="*/ 1865719 h 2244147"/>
                <a:gd name="connsiteX289" fmla="*/ 1692031 w 2738294"/>
                <a:gd name="connsiteY289" fmla="*/ 1876787 h 2244147"/>
                <a:gd name="connsiteX290" fmla="*/ 1705689 w 2738294"/>
                <a:gd name="connsiteY290" fmla="*/ 1886617 h 2244147"/>
                <a:gd name="connsiteX291" fmla="*/ 1721558 w 2738294"/>
                <a:gd name="connsiteY291" fmla="*/ 1900228 h 2244147"/>
                <a:gd name="connsiteX292" fmla="*/ 1730416 w 2738294"/>
                <a:gd name="connsiteY292" fmla="*/ 1916316 h 2244147"/>
                <a:gd name="connsiteX293" fmla="*/ 1737065 w 2738294"/>
                <a:gd name="connsiteY293" fmla="*/ 1933165 h 2244147"/>
                <a:gd name="connsiteX294" fmla="*/ 1750866 w 2738294"/>
                <a:gd name="connsiteY294" fmla="*/ 1942376 h 2244147"/>
                <a:gd name="connsiteX295" fmla="*/ 1773041 w 2738294"/>
                <a:gd name="connsiteY295" fmla="*/ 1951501 h 2244147"/>
                <a:gd name="connsiteX296" fmla="*/ 1789862 w 2738294"/>
                <a:gd name="connsiteY296" fmla="*/ 1927422 h 2244147"/>
                <a:gd name="connsiteX297" fmla="*/ 1811693 w 2738294"/>
                <a:gd name="connsiteY297" fmla="*/ 1926822 h 2244147"/>
                <a:gd name="connsiteX298" fmla="*/ 1830514 w 2738294"/>
                <a:gd name="connsiteY298" fmla="*/ 1939004 h 2244147"/>
                <a:gd name="connsiteX299" fmla="*/ 1843916 w 2738294"/>
                <a:gd name="connsiteY299" fmla="*/ 1959807 h 2244147"/>
                <a:gd name="connsiteX300" fmla="*/ 1853146 w 2738294"/>
                <a:gd name="connsiteY300" fmla="*/ 1977514 h 2244147"/>
                <a:gd name="connsiteX301" fmla="*/ 1868900 w 2738294"/>
                <a:gd name="connsiteY301" fmla="*/ 1994630 h 2244147"/>
                <a:gd name="connsiteX302" fmla="*/ 1874777 w 2738294"/>
                <a:gd name="connsiteY302" fmla="*/ 2015538 h 2244147"/>
                <a:gd name="connsiteX303" fmla="*/ 1882254 w 2738294"/>
                <a:gd name="connsiteY303" fmla="*/ 2029501 h 2244147"/>
                <a:gd name="connsiteX304" fmla="*/ 1903085 w 2738294"/>
                <a:gd name="connsiteY304" fmla="*/ 2038674 h 2244147"/>
                <a:gd name="connsiteX305" fmla="*/ 1922050 w 2738294"/>
                <a:gd name="connsiteY305" fmla="*/ 2045170 h 2244147"/>
                <a:gd name="connsiteX306" fmla="*/ 1932461 w 2738294"/>
                <a:gd name="connsiteY306" fmla="*/ 2044284 h 2244147"/>
                <a:gd name="connsiteX307" fmla="*/ 1927384 w 2738294"/>
                <a:gd name="connsiteY307" fmla="*/ 2034235 h 2244147"/>
                <a:gd name="connsiteX308" fmla="*/ 1926050 w 2738294"/>
                <a:gd name="connsiteY308" fmla="*/ 2019995 h 2244147"/>
                <a:gd name="connsiteX309" fmla="*/ 1926317 w 2738294"/>
                <a:gd name="connsiteY309" fmla="*/ 1999412 h 2244147"/>
                <a:gd name="connsiteX310" fmla="*/ 1932461 w 2738294"/>
                <a:gd name="connsiteY310" fmla="*/ 1985924 h 2244147"/>
                <a:gd name="connsiteX311" fmla="*/ 1947043 w 2738294"/>
                <a:gd name="connsiteY311" fmla="*/ 1971551 h 2244147"/>
                <a:gd name="connsiteX312" fmla="*/ 1973590 w 2738294"/>
                <a:gd name="connsiteY312" fmla="*/ 1958511 h 2244147"/>
                <a:gd name="connsiteX313" fmla="*/ 1997897 w 2738294"/>
                <a:gd name="connsiteY313" fmla="*/ 1935966 h 2244147"/>
                <a:gd name="connsiteX314" fmla="*/ 2020367 w 2738294"/>
                <a:gd name="connsiteY314" fmla="*/ 1928822 h 2244147"/>
                <a:gd name="connsiteX315" fmla="*/ 2036978 w 2738294"/>
                <a:gd name="connsiteY315" fmla="*/ 1926679 h 2244147"/>
                <a:gd name="connsiteX316" fmla="*/ 2056409 w 2738294"/>
                <a:gd name="connsiteY316" fmla="*/ 1933756 h 2244147"/>
                <a:gd name="connsiteX317" fmla="*/ 2079698 w 2738294"/>
                <a:gd name="connsiteY317" fmla="*/ 1929946 h 2244147"/>
                <a:gd name="connsiteX318" fmla="*/ 2099634 w 2738294"/>
                <a:gd name="connsiteY318" fmla="*/ 1946062 h 2244147"/>
                <a:gd name="connsiteX319" fmla="*/ 2119017 w 2738294"/>
                <a:gd name="connsiteY319" fmla="*/ 1947015 h 2244147"/>
                <a:gd name="connsiteX320" fmla="*/ 2129038 w 2738294"/>
                <a:gd name="connsiteY320" fmla="*/ 1941243 h 2244147"/>
                <a:gd name="connsiteX321" fmla="*/ 2138953 w 2738294"/>
                <a:gd name="connsiteY321" fmla="*/ 1945739 h 2244147"/>
                <a:gd name="connsiteX322" fmla="*/ 2144039 w 2738294"/>
                <a:gd name="connsiteY322" fmla="*/ 1941738 h 2244147"/>
                <a:gd name="connsiteX323" fmla="*/ 2138372 w 2738294"/>
                <a:gd name="connsiteY323" fmla="*/ 1935718 h 2244147"/>
                <a:gd name="connsiteX324" fmla="*/ 2138801 w 2738294"/>
                <a:gd name="connsiteY324" fmla="*/ 1923317 h 2244147"/>
                <a:gd name="connsiteX325" fmla="*/ 2133991 w 2738294"/>
                <a:gd name="connsiteY325" fmla="*/ 1915163 h 2244147"/>
                <a:gd name="connsiteX326" fmla="*/ 2145030 w 2738294"/>
                <a:gd name="connsiteY326" fmla="*/ 1910363 h 2244147"/>
                <a:gd name="connsiteX327" fmla="*/ 2165395 w 2738294"/>
                <a:gd name="connsiteY327" fmla="*/ 1908239 h 2244147"/>
                <a:gd name="connsiteX328" fmla="*/ 2189093 w 2738294"/>
                <a:gd name="connsiteY328" fmla="*/ 1911639 h 2244147"/>
                <a:gd name="connsiteX329" fmla="*/ 2219277 w 2738294"/>
                <a:gd name="connsiteY329" fmla="*/ 1907772 h 2244147"/>
                <a:gd name="connsiteX330" fmla="*/ 2236023 w 2738294"/>
                <a:gd name="connsiteY330" fmla="*/ 1915382 h 2244147"/>
                <a:gd name="connsiteX331" fmla="*/ 2248986 w 2738294"/>
                <a:gd name="connsiteY331" fmla="*/ 1929689 h 2244147"/>
                <a:gd name="connsiteX332" fmla="*/ 2253767 w 2738294"/>
                <a:gd name="connsiteY332" fmla="*/ 1931213 h 2244147"/>
                <a:gd name="connsiteX333" fmla="*/ 2280714 w 2738294"/>
                <a:gd name="connsiteY333" fmla="*/ 1917306 h 2244147"/>
                <a:gd name="connsiteX334" fmla="*/ 2291134 w 2738294"/>
                <a:gd name="connsiteY334" fmla="*/ 1922012 h 2244147"/>
                <a:gd name="connsiteX335" fmla="*/ 2311956 w 2738294"/>
                <a:gd name="connsiteY335" fmla="*/ 1947558 h 2244147"/>
                <a:gd name="connsiteX336" fmla="*/ 2319433 w 2738294"/>
                <a:gd name="connsiteY336" fmla="*/ 1964236 h 2244147"/>
                <a:gd name="connsiteX337" fmla="*/ 2313947 w 2738294"/>
                <a:gd name="connsiteY337" fmla="*/ 1984248 h 2244147"/>
                <a:gd name="connsiteX338" fmla="*/ 2317956 w 2738294"/>
                <a:gd name="connsiteY338" fmla="*/ 1995983 h 2244147"/>
                <a:gd name="connsiteX339" fmla="*/ 2330377 w 2738294"/>
                <a:gd name="connsiteY339" fmla="*/ 2018814 h 2244147"/>
                <a:gd name="connsiteX340" fmla="*/ 2344531 w 2738294"/>
                <a:gd name="connsiteY340" fmla="*/ 2044294 h 2244147"/>
                <a:gd name="connsiteX341" fmla="*/ 2354675 w 2738294"/>
                <a:gd name="connsiteY341" fmla="*/ 2051075 h 2244147"/>
                <a:gd name="connsiteX342" fmla="*/ 2358885 w 2738294"/>
                <a:gd name="connsiteY342" fmla="*/ 2063972 h 2244147"/>
                <a:gd name="connsiteX343" fmla="*/ 2372030 w 2738294"/>
                <a:gd name="connsiteY343" fmla="*/ 2067535 h 2244147"/>
                <a:gd name="connsiteX344" fmla="*/ 2380012 w 2738294"/>
                <a:gd name="connsiteY344" fmla="*/ 2063829 h 2244147"/>
                <a:gd name="connsiteX345" fmla="*/ 2386670 w 2738294"/>
                <a:gd name="connsiteY345" fmla="*/ 2045856 h 2244147"/>
                <a:gd name="connsiteX346" fmla="*/ 2387832 w 2738294"/>
                <a:gd name="connsiteY346" fmla="*/ 2034359 h 2244147"/>
                <a:gd name="connsiteX347" fmla="*/ 2388670 w 2738294"/>
                <a:gd name="connsiteY347" fmla="*/ 2014338 h 2244147"/>
                <a:gd name="connsiteX348" fmla="*/ 2376021 w 2738294"/>
                <a:gd name="connsiteY348" fmla="*/ 1979609 h 2244147"/>
                <a:gd name="connsiteX349" fmla="*/ 2375868 w 2738294"/>
                <a:gd name="connsiteY349" fmla="*/ 1966570 h 2244147"/>
                <a:gd name="connsiteX350" fmla="*/ 2364000 w 2738294"/>
                <a:gd name="connsiteY350" fmla="*/ 1945110 h 2244147"/>
                <a:gd name="connsiteX351" fmla="*/ 2355085 w 2738294"/>
                <a:gd name="connsiteY351" fmla="*/ 1918964 h 2244147"/>
                <a:gd name="connsiteX352" fmla="*/ 2350361 w 2738294"/>
                <a:gd name="connsiteY352" fmla="*/ 1897571 h 2244147"/>
                <a:gd name="connsiteX353" fmla="*/ 2354485 w 2738294"/>
                <a:gd name="connsiteY353" fmla="*/ 1875520 h 2244147"/>
                <a:gd name="connsiteX354" fmla="*/ 2367067 w 2738294"/>
                <a:gd name="connsiteY354" fmla="*/ 1856994 h 2244147"/>
                <a:gd name="connsiteX355" fmla="*/ 2382126 w 2738294"/>
                <a:gd name="connsiteY355" fmla="*/ 1842030 h 2244147"/>
                <a:gd name="connsiteX356" fmla="*/ 2411444 w 2738294"/>
                <a:gd name="connsiteY356" fmla="*/ 1821494 h 2244147"/>
                <a:gd name="connsiteX357" fmla="*/ 2415264 w 2738294"/>
                <a:gd name="connsiteY357" fmla="*/ 1810817 h 2244147"/>
                <a:gd name="connsiteX358" fmla="*/ 2428780 w 2738294"/>
                <a:gd name="connsiteY358" fmla="*/ 1799082 h 2244147"/>
                <a:gd name="connsiteX359" fmla="*/ 2442115 w 2738294"/>
                <a:gd name="connsiteY359" fmla="*/ 1797034 h 2244147"/>
                <a:gd name="connsiteX360" fmla="*/ 2459669 w 2738294"/>
                <a:gd name="connsiteY360" fmla="*/ 1778175 h 2244147"/>
                <a:gd name="connsiteX361" fmla="*/ 2487302 w 2738294"/>
                <a:gd name="connsiteY361" fmla="*/ 1768592 h 2244147"/>
                <a:gd name="connsiteX362" fmla="*/ 2504275 w 2738294"/>
                <a:gd name="connsiteY362" fmla="*/ 1744456 h 2244147"/>
                <a:gd name="connsiteX363" fmla="*/ 2500522 w 2738294"/>
                <a:gd name="connsiteY363" fmla="*/ 1711547 h 2244147"/>
                <a:gd name="connsiteX364" fmla="*/ 2497750 w 2738294"/>
                <a:gd name="connsiteY364" fmla="*/ 1700070 h 2244147"/>
                <a:gd name="connsiteX365" fmla="*/ 2490083 w 2738294"/>
                <a:gd name="connsiteY365" fmla="*/ 1697774 h 2244147"/>
                <a:gd name="connsiteX366" fmla="*/ 2488940 w 2738294"/>
                <a:gd name="connsiteY366" fmla="*/ 1665903 h 2244147"/>
                <a:gd name="connsiteX367" fmla="*/ 2470557 w 2738294"/>
                <a:gd name="connsiteY367" fmla="*/ 1655016 h 2244147"/>
                <a:gd name="connsiteX368" fmla="*/ 2488206 w 2738294"/>
                <a:gd name="connsiteY368" fmla="*/ 1660322 h 2244147"/>
                <a:gd name="connsiteX369" fmla="*/ 2482511 w 2738294"/>
                <a:gd name="connsiteY369" fmla="*/ 1638795 h 2244147"/>
                <a:gd name="connsiteX370" fmla="*/ 2487654 w 2738294"/>
                <a:gd name="connsiteY370" fmla="*/ 1624013 h 2244147"/>
                <a:gd name="connsiteX371" fmla="*/ 2490788 w 2738294"/>
                <a:gd name="connsiteY371" fmla="*/ 1652340 h 2244147"/>
                <a:gd name="connsiteX372" fmla="*/ 2504427 w 2738294"/>
                <a:gd name="connsiteY372" fmla="*/ 1665256 h 2244147"/>
                <a:gd name="connsiteX373" fmla="*/ 2496169 w 2738294"/>
                <a:gd name="connsiteY373" fmla="*/ 1688097 h 2244147"/>
                <a:gd name="connsiteX374" fmla="*/ 2498598 w 2738294"/>
                <a:gd name="connsiteY374" fmla="*/ 1689421 h 2244147"/>
                <a:gd name="connsiteX375" fmla="*/ 2513629 w 2738294"/>
                <a:gd name="connsiteY375" fmla="*/ 1662608 h 2244147"/>
                <a:gd name="connsiteX376" fmla="*/ 2522192 w 2738294"/>
                <a:gd name="connsiteY376" fmla="*/ 1649454 h 2244147"/>
                <a:gd name="connsiteX377" fmla="*/ 2521792 w 2738294"/>
                <a:gd name="connsiteY377" fmla="*/ 1636595 h 2244147"/>
                <a:gd name="connsiteX378" fmla="*/ 2515162 w 2738294"/>
                <a:gd name="connsiteY378" fmla="*/ 1630509 h 2244147"/>
                <a:gd name="connsiteX379" fmla="*/ 2509609 w 2738294"/>
                <a:gd name="connsiteY379" fmla="*/ 1612021 h 2244147"/>
                <a:gd name="connsiteX380" fmla="*/ 2518372 w 2738294"/>
                <a:gd name="connsiteY380" fmla="*/ 1620621 h 2244147"/>
                <a:gd name="connsiteX381" fmla="*/ 2524239 w 2738294"/>
                <a:gd name="connsiteY381" fmla="*/ 1622412 h 2244147"/>
                <a:gd name="connsiteX382" fmla="*/ 2526221 w 2738294"/>
                <a:gd name="connsiteY382" fmla="*/ 1631213 h 2244147"/>
                <a:gd name="connsiteX383" fmla="*/ 2545652 w 2738294"/>
                <a:gd name="connsiteY383" fmla="*/ 1604743 h 2244147"/>
                <a:gd name="connsiteX384" fmla="*/ 2551414 w 2738294"/>
                <a:gd name="connsiteY384" fmla="*/ 1579769 h 2244147"/>
                <a:gd name="connsiteX385" fmla="*/ 2543556 w 2738294"/>
                <a:gd name="connsiteY385" fmla="*/ 1578169 h 2244147"/>
                <a:gd name="connsiteX386" fmla="*/ 2551691 w 2738294"/>
                <a:gd name="connsiteY386" fmla="*/ 1568453 h 2244147"/>
                <a:gd name="connsiteX387" fmla="*/ 2550900 w 2738294"/>
                <a:gd name="connsiteY387" fmla="*/ 1572758 h 2244147"/>
                <a:gd name="connsiteX388" fmla="*/ 2567911 w 2738294"/>
                <a:gd name="connsiteY388" fmla="*/ 1572692 h 2244147"/>
                <a:gd name="connsiteX389" fmla="*/ 2605297 w 2738294"/>
                <a:gd name="connsiteY389" fmla="*/ 1562157 h 2244147"/>
                <a:gd name="connsiteX390" fmla="*/ 2597382 w 2738294"/>
                <a:gd name="connsiteY390" fmla="*/ 1555471 h 2244147"/>
                <a:gd name="connsiteX391" fmla="*/ 2558158 w 2738294"/>
                <a:gd name="connsiteY391" fmla="*/ 1562110 h 2244147"/>
                <a:gd name="connsiteX392" fmla="*/ 2580418 w 2738294"/>
                <a:gd name="connsiteY392" fmla="*/ 1551889 h 2244147"/>
                <a:gd name="connsiteX393" fmla="*/ 2595944 w 2738294"/>
                <a:gd name="connsiteY393" fmla="*/ 1550137 h 2244147"/>
                <a:gd name="connsiteX394" fmla="*/ 2607564 w 2738294"/>
                <a:gd name="connsiteY394" fmla="*/ 1548365 h 2244147"/>
                <a:gd name="connsiteX395" fmla="*/ 2627319 w 2738294"/>
                <a:gd name="connsiteY395" fmla="*/ 1542174 h 2244147"/>
                <a:gd name="connsiteX396" fmla="*/ 2640149 w 2738294"/>
                <a:gd name="connsiteY396" fmla="*/ 1542869 h 2244147"/>
                <a:gd name="connsiteX397" fmla="*/ 2658180 w 2738294"/>
                <a:gd name="connsiteY397" fmla="*/ 1537107 h 2244147"/>
                <a:gd name="connsiteX398" fmla="*/ 2660314 w 2738294"/>
                <a:gd name="connsiteY398" fmla="*/ 1526915 h 2244147"/>
                <a:gd name="connsiteX399" fmla="*/ 2652303 w 2738294"/>
                <a:gd name="connsiteY399" fmla="*/ 1518961 h 2244147"/>
                <a:gd name="connsiteX400" fmla="*/ 2655103 w 2738294"/>
                <a:gd name="connsiteY400" fmla="*/ 1532030 h 2244147"/>
                <a:gd name="connsiteX401" fmla="*/ 2644016 w 2738294"/>
                <a:gd name="connsiteY401" fmla="*/ 1531134 h 2244147"/>
                <a:gd name="connsiteX402" fmla="*/ 2635206 w 2738294"/>
                <a:gd name="connsiteY402" fmla="*/ 1512132 h 2244147"/>
                <a:gd name="connsiteX403" fmla="*/ 2635472 w 2738294"/>
                <a:gd name="connsiteY403" fmla="*/ 1492958 h 2244147"/>
                <a:gd name="connsiteX404" fmla="*/ 2639997 w 2738294"/>
                <a:gd name="connsiteY404" fmla="*/ 1484776 h 2244147"/>
                <a:gd name="connsiteX405" fmla="*/ 2654132 w 2738294"/>
                <a:gd name="connsiteY405" fmla="*/ 1463031 h 2244147"/>
                <a:gd name="connsiteX406" fmla="*/ 2682335 w 2738294"/>
                <a:gd name="connsiteY406" fmla="*/ 1452115 h 2244147"/>
                <a:gd name="connsiteX407" fmla="*/ 2709777 w 2738294"/>
                <a:gd name="connsiteY407" fmla="*/ 1439313 h 2244147"/>
                <a:gd name="connsiteX408" fmla="*/ 2738295 w 2738294"/>
                <a:gd name="connsiteY408" fmla="*/ 1421216 h 2244147"/>
                <a:gd name="connsiteX409" fmla="*/ 2733685 w 2738294"/>
                <a:gd name="connsiteY409" fmla="*/ 1408881 h 2244147"/>
                <a:gd name="connsiteX410" fmla="*/ 2716225 w 2738294"/>
                <a:gd name="connsiteY410" fmla="*/ 1387440 h 2244147"/>
                <a:gd name="connsiteX411" fmla="*/ 2716330 w 2738294"/>
                <a:gd name="connsiteY411" fmla="*/ 1334786 h 2244147"/>
                <a:gd name="connsiteX412" fmla="*/ 434550 w 2738294"/>
                <a:gd name="connsiteY412" fmla="*/ 854259 h 2244147"/>
                <a:gd name="connsiteX413" fmla="*/ 420291 w 2738294"/>
                <a:gd name="connsiteY413" fmla="*/ 861898 h 2244147"/>
                <a:gd name="connsiteX414" fmla="*/ 396030 w 2738294"/>
                <a:gd name="connsiteY414" fmla="*/ 879596 h 2244147"/>
                <a:gd name="connsiteX415" fmla="*/ 400164 w 2738294"/>
                <a:gd name="connsiteY415" fmla="*/ 902656 h 2244147"/>
                <a:gd name="connsiteX416" fmla="*/ 413823 w 2738294"/>
                <a:gd name="connsiteY416" fmla="*/ 915238 h 2244147"/>
                <a:gd name="connsiteX417" fmla="*/ 440493 w 2738294"/>
                <a:gd name="connsiteY417" fmla="*/ 896617 h 2244147"/>
                <a:gd name="connsiteX418" fmla="*/ 463601 w 2738294"/>
                <a:gd name="connsiteY418" fmla="*/ 873138 h 2244147"/>
                <a:gd name="connsiteX419" fmla="*/ 452285 w 2738294"/>
                <a:gd name="connsiteY419" fmla="*/ 857640 h 2244147"/>
                <a:gd name="connsiteX420" fmla="*/ 434550 w 2738294"/>
                <a:gd name="connsiteY420" fmla="*/ 854259 h 2244147"/>
                <a:gd name="connsiteX421" fmla="*/ 0 w 2738294"/>
                <a:gd name="connsiteY421" fmla="*/ 582216 h 2244147"/>
                <a:gd name="connsiteX422" fmla="*/ 19450 w 2738294"/>
                <a:gd name="connsiteY422" fmla="*/ 570233 h 2244147"/>
                <a:gd name="connsiteX423" fmla="*/ 21650 w 2738294"/>
                <a:gd name="connsiteY423" fmla="*/ 563785 h 2244147"/>
                <a:gd name="connsiteX424" fmla="*/ 0 w 2738294"/>
                <a:gd name="connsiteY424" fmla="*/ 557289 h 2244147"/>
                <a:gd name="connsiteX425" fmla="*/ 0 w 2738294"/>
                <a:gd name="connsiteY425" fmla="*/ 582216 h 2244147"/>
                <a:gd name="connsiteX426" fmla="*/ 80982 w 2738294"/>
                <a:gd name="connsiteY426" fmla="*/ 728539 h 2244147"/>
                <a:gd name="connsiteX427" fmla="*/ 54607 w 2738294"/>
                <a:gd name="connsiteY427" fmla="*/ 737749 h 2244147"/>
                <a:gd name="connsiteX428" fmla="*/ 70818 w 2738294"/>
                <a:gd name="connsiteY428" fmla="*/ 752265 h 2244147"/>
                <a:gd name="connsiteX429" fmla="*/ 88325 w 2738294"/>
                <a:gd name="connsiteY429" fmla="*/ 762190 h 2244147"/>
                <a:gd name="connsiteX430" fmla="*/ 104718 w 2738294"/>
                <a:gd name="connsiteY430" fmla="*/ 753932 h 2244147"/>
                <a:gd name="connsiteX431" fmla="*/ 102165 w 2738294"/>
                <a:gd name="connsiteY431" fmla="*/ 733415 h 2244147"/>
                <a:gd name="connsiteX432" fmla="*/ 80982 w 2738294"/>
                <a:gd name="connsiteY432" fmla="*/ 728539 h 2244147"/>
                <a:gd name="connsiteX433" fmla="*/ 1008174 w 2738294"/>
                <a:gd name="connsiteY433" fmla="*/ 1038101 h 2244147"/>
                <a:gd name="connsiteX434" fmla="*/ 982542 w 2738294"/>
                <a:gd name="connsiteY434" fmla="*/ 1041730 h 2244147"/>
                <a:gd name="connsiteX435" fmla="*/ 969988 w 2738294"/>
                <a:gd name="connsiteY435" fmla="*/ 1035825 h 2244147"/>
                <a:gd name="connsiteX436" fmla="*/ 968397 w 2738294"/>
                <a:gd name="connsiteY436" fmla="*/ 1050284 h 2244147"/>
                <a:gd name="connsiteX437" fmla="*/ 973341 w 2738294"/>
                <a:gd name="connsiteY437" fmla="*/ 1070039 h 2244147"/>
                <a:gd name="connsiteX438" fmla="*/ 986819 w 2738294"/>
                <a:gd name="connsiteY438" fmla="*/ 1083907 h 2244147"/>
                <a:gd name="connsiteX439" fmla="*/ 996687 w 2738294"/>
                <a:gd name="connsiteY439" fmla="*/ 1104224 h 2244147"/>
                <a:gd name="connsiteX440" fmla="*/ 1012774 w 2738294"/>
                <a:gd name="connsiteY440" fmla="*/ 1124198 h 2244147"/>
                <a:gd name="connsiteX441" fmla="*/ 1023423 w 2738294"/>
                <a:gd name="connsiteY441" fmla="*/ 1124283 h 2244147"/>
                <a:gd name="connsiteX442" fmla="*/ 1000182 w 2738294"/>
                <a:gd name="connsiteY442" fmla="*/ 1089022 h 2244147"/>
                <a:gd name="connsiteX443" fmla="*/ 1008174 w 2738294"/>
                <a:gd name="connsiteY443" fmla="*/ 1038101 h 2244147"/>
                <a:gd name="connsiteX444" fmla="*/ 353673 w 2738294"/>
                <a:gd name="connsiteY444" fmla="*/ 2187626 h 2244147"/>
                <a:gd name="connsiteX445" fmla="*/ 344176 w 2738294"/>
                <a:gd name="connsiteY445" fmla="*/ 2184921 h 2244147"/>
                <a:gd name="connsiteX446" fmla="*/ 341567 w 2738294"/>
                <a:gd name="connsiteY446" fmla="*/ 2187359 h 2244147"/>
                <a:gd name="connsiteX447" fmla="*/ 341805 w 2738294"/>
                <a:gd name="connsiteY447" fmla="*/ 2189131 h 2244147"/>
                <a:gd name="connsiteX448" fmla="*/ 344872 w 2738294"/>
                <a:gd name="connsiteY448" fmla="*/ 2191445 h 2244147"/>
                <a:gd name="connsiteX449" fmla="*/ 349472 w 2738294"/>
                <a:gd name="connsiteY449" fmla="*/ 2197417 h 2244147"/>
                <a:gd name="connsiteX450" fmla="*/ 358426 w 2738294"/>
                <a:gd name="connsiteY450" fmla="*/ 2195389 h 2244147"/>
                <a:gd name="connsiteX451" fmla="*/ 360655 w 2738294"/>
                <a:gd name="connsiteY451" fmla="*/ 2191988 h 2244147"/>
                <a:gd name="connsiteX452" fmla="*/ 353673 w 2738294"/>
                <a:gd name="connsiteY452" fmla="*/ 2187626 h 2244147"/>
                <a:gd name="connsiteX453" fmla="*/ 325145 w 2738294"/>
                <a:gd name="connsiteY453" fmla="*/ 2182492 h 2244147"/>
                <a:gd name="connsiteX454" fmla="*/ 339452 w 2738294"/>
                <a:gd name="connsiteY454" fmla="*/ 2183321 h 2244147"/>
                <a:gd name="connsiteX455" fmla="*/ 340281 w 2738294"/>
                <a:gd name="connsiteY455" fmla="*/ 2180244 h 2244147"/>
                <a:gd name="connsiteX456" fmla="*/ 327136 w 2738294"/>
                <a:gd name="connsiteY456" fmla="*/ 2179025 h 2244147"/>
                <a:gd name="connsiteX457" fmla="*/ 325145 w 2738294"/>
                <a:gd name="connsiteY457" fmla="*/ 2182492 h 2244147"/>
                <a:gd name="connsiteX458" fmla="*/ 381248 w 2738294"/>
                <a:gd name="connsiteY458" fmla="*/ 2213820 h 2244147"/>
                <a:gd name="connsiteX459" fmla="*/ 376504 w 2738294"/>
                <a:gd name="connsiteY459" fmla="*/ 2211372 h 2244147"/>
                <a:gd name="connsiteX460" fmla="*/ 366274 w 2738294"/>
                <a:gd name="connsiteY460" fmla="*/ 2206600 h 2244147"/>
                <a:gd name="connsiteX461" fmla="*/ 364246 w 2738294"/>
                <a:gd name="connsiteY461" fmla="*/ 2206076 h 2244147"/>
                <a:gd name="connsiteX462" fmla="*/ 362693 w 2738294"/>
                <a:gd name="connsiteY462" fmla="*/ 2208714 h 2244147"/>
                <a:gd name="connsiteX463" fmla="*/ 364531 w 2738294"/>
                <a:gd name="connsiteY463" fmla="*/ 2214267 h 2244147"/>
                <a:gd name="connsiteX464" fmla="*/ 359893 w 2738294"/>
                <a:gd name="connsiteY464" fmla="*/ 2218868 h 2244147"/>
                <a:gd name="connsiteX465" fmla="*/ 358559 w 2738294"/>
                <a:gd name="connsiteY465" fmla="*/ 2222011 h 2244147"/>
                <a:gd name="connsiteX466" fmla="*/ 362979 w 2738294"/>
                <a:gd name="connsiteY466" fmla="*/ 2232270 h 2244147"/>
                <a:gd name="connsiteX467" fmla="*/ 362217 w 2738294"/>
                <a:gd name="connsiteY467" fmla="*/ 2240128 h 2244147"/>
                <a:gd name="connsiteX468" fmla="*/ 368846 w 2738294"/>
                <a:gd name="connsiteY468" fmla="*/ 2244147 h 2244147"/>
                <a:gd name="connsiteX469" fmla="*/ 372751 w 2738294"/>
                <a:gd name="connsiteY469" fmla="*/ 2239452 h 2244147"/>
                <a:gd name="connsiteX470" fmla="*/ 381295 w 2738294"/>
                <a:gd name="connsiteY470" fmla="*/ 2235061 h 2244147"/>
                <a:gd name="connsiteX471" fmla="*/ 391735 w 2738294"/>
                <a:gd name="connsiteY471" fmla="*/ 2229050 h 2244147"/>
                <a:gd name="connsiteX472" fmla="*/ 392373 w 2738294"/>
                <a:gd name="connsiteY472" fmla="*/ 2227488 h 2244147"/>
                <a:gd name="connsiteX473" fmla="*/ 385572 w 2738294"/>
                <a:gd name="connsiteY473" fmla="*/ 2217611 h 2244147"/>
                <a:gd name="connsiteX474" fmla="*/ 381248 w 2738294"/>
                <a:gd name="connsiteY474" fmla="*/ 2213820 h 2244147"/>
                <a:gd name="connsiteX475" fmla="*/ 306457 w 2738294"/>
                <a:gd name="connsiteY475" fmla="*/ 2164833 h 2244147"/>
                <a:gd name="connsiteX476" fmla="*/ 299314 w 2738294"/>
                <a:gd name="connsiteY476" fmla="*/ 2168776 h 2244147"/>
                <a:gd name="connsiteX477" fmla="*/ 300352 w 2738294"/>
                <a:gd name="connsiteY477" fmla="*/ 2169919 h 2244147"/>
                <a:gd name="connsiteX478" fmla="*/ 303743 w 2738294"/>
                <a:gd name="connsiteY478" fmla="*/ 2176386 h 2244147"/>
                <a:gd name="connsiteX479" fmla="*/ 313039 w 2738294"/>
                <a:gd name="connsiteY479" fmla="*/ 2177386 h 2244147"/>
                <a:gd name="connsiteX480" fmla="*/ 314954 w 2738294"/>
                <a:gd name="connsiteY480" fmla="*/ 2177758 h 2244147"/>
                <a:gd name="connsiteX481" fmla="*/ 316401 w 2738294"/>
                <a:gd name="connsiteY481" fmla="*/ 2176110 h 2244147"/>
                <a:gd name="connsiteX482" fmla="*/ 308686 w 2738294"/>
                <a:gd name="connsiteY482" fmla="*/ 2166680 h 2244147"/>
                <a:gd name="connsiteX483" fmla="*/ 306457 w 2738294"/>
                <a:gd name="connsiteY483" fmla="*/ 2164833 h 2244147"/>
                <a:gd name="connsiteX484" fmla="*/ 264500 w 2738294"/>
                <a:gd name="connsiteY484" fmla="*/ 2149964 h 2244147"/>
                <a:gd name="connsiteX485" fmla="*/ 260423 w 2738294"/>
                <a:gd name="connsiteY485" fmla="*/ 2152774 h 2244147"/>
                <a:gd name="connsiteX486" fmla="*/ 259042 w 2738294"/>
                <a:gd name="connsiteY486" fmla="*/ 2154860 h 2244147"/>
                <a:gd name="connsiteX487" fmla="*/ 268034 w 2738294"/>
                <a:gd name="connsiteY487" fmla="*/ 2160080 h 2244147"/>
                <a:gd name="connsiteX488" fmla="*/ 271205 w 2738294"/>
                <a:gd name="connsiteY488" fmla="*/ 2157251 h 2244147"/>
                <a:gd name="connsiteX489" fmla="*/ 270653 w 2738294"/>
                <a:gd name="connsiteY489" fmla="*/ 2150574 h 2244147"/>
                <a:gd name="connsiteX490" fmla="*/ 264500 w 2738294"/>
                <a:gd name="connsiteY490" fmla="*/ 2149964 h 224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</a:cxnLst>
              <a:rect l="l" t="t" r="r" b="b"/>
              <a:pathLst>
                <a:path w="2738294" h="2244147">
                  <a:moveTo>
                    <a:pt x="1040597" y="1006792"/>
                  </a:moveTo>
                  <a:lnTo>
                    <a:pt x="1040597" y="1006792"/>
                  </a:lnTo>
                  <a:lnTo>
                    <a:pt x="1025909" y="989324"/>
                  </a:lnTo>
                  <a:lnTo>
                    <a:pt x="1002373" y="974379"/>
                  </a:lnTo>
                  <a:lnTo>
                    <a:pt x="994820" y="932888"/>
                  </a:lnTo>
                  <a:lnTo>
                    <a:pt x="960387" y="893540"/>
                  </a:lnTo>
                  <a:lnTo>
                    <a:pt x="945994" y="846506"/>
                  </a:lnTo>
                  <a:lnTo>
                    <a:pt x="920353" y="843239"/>
                  </a:lnTo>
                  <a:lnTo>
                    <a:pt x="877891" y="842000"/>
                  </a:lnTo>
                  <a:lnTo>
                    <a:pt x="846592" y="827379"/>
                  </a:lnTo>
                  <a:lnTo>
                    <a:pt x="791375" y="773630"/>
                  </a:lnTo>
                  <a:lnTo>
                    <a:pt x="765801" y="763629"/>
                  </a:lnTo>
                  <a:lnTo>
                    <a:pt x="719080" y="744645"/>
                  </a:lnTo>
                  <a:lnTo>
                    <a:pt x="682104" y="749198"/>
                  </a:lnTo>
                  <a:lnTo>
                    <a:pt x="629583" y="724529"/>
                  </a:lnTo>
                  <a:lnTo>
                    <a:pt x="597837" y="701335"/>
                  </a:lnTo>
                  <a:lnTo>
                    <a:pt x="568195" y="712889"/>
                  </a:lnTo>
                  <a:lnTo>
                    <a:pt x="573700" y="750303"/>
                  </a:lnTo>
                  <a:lnTo>
                    <a:pt x="558937" y="753713"/>
                  </a:lnTo>
                  <a:lnTo>
                    <a:pt x="528037" y="764772"/>
                  </a:lnTo>
                  <a:lnTo>
                    <a:pt x="504530" y="782517"/>
                  </a:lnTo>
                  <a:lnTo>
                    <a:pt x="474936" y="793594"/>
                  </a:lnTo>
                  <a:lnTo>
                    <a:pt x="471116" y="762686"/>
                  </a:lnTo>
                  <a:lnTo>
                    <a:pt x="483127" y="710003"/>
                  </a:lnTo>
                  <a:lnTo>
                    <a:pt x="511502" y="693134"/>
                  </a:lnTo>
                  <a:lnTo>
                    <a:pt x="504177" y="679266"/>
                  </a:lnTo>
                  <a:lnTo>
                    <a:pt x="470135" y="709917"/>
                  </a:lnTo>
                  <a:lnTo>
                    <a:pt x="451904" y="745836"/>
                  </a:lnTo>
                  <a:lnTo>
                    <a:pt x="413423" y="783431"/>
                  </a:lnTo>
                  <a:lnTo>
                    <a:pt x="432968" y="808644"/>
                  </a:lnTo>
                  <a:lnTo>
                    <a:pt x="407727" y="845306"/>
                  </a:lnTo>
                  <a:lnTo>
                    <a:pt x="379019" y="866327"/>
                  </a:lnTo>
                  <a:lnTo>
                    <a:pt x="352292" y="881491"/>
                  </a:lnTo>
                  <a:lnTo>
                    <a:pt x="345681" y="903275"/>
                  </a:lnTo>
                  <a:lnTo>
                    <a:pt x="303990" y="928364"/>
                  </a:lnTo>
                  <a:lnTo>
                    <a:pt x="295551" y="950871"/>
                  </a:lnTo>
                  <a:lnTo>
                    <a:pt x="264300" y="971131"/>
                  </a:lnTo>
                  <a:lnTo>
                    <a:pt x="245974" y="967502"/>
                  </a:lnTo>
                  <a:lnTo>
                    <a:pt x="221047" y="980618"/>
                  </a:lnTo>
                  <a:lnTo>
                    <a:pt x="193948" y="996515"/>
                  </a:lnTo>
                  <a:lnTo>
                    <a:pt x="171736" y="1012003"/>
                  </a:lnTo>
                  <a:lnTo>
                    <a:pt x="125901" y="1025119"/>
                  </a:lnTo>
                  <a:lnTo>
                    <a:pt x="121720" y="1017413"/>
                  </a:lnTo>
                  <a:lnTo>
                    <a:pt x="150933" y="995810"/>
                  </a:lnTo>
                  <a:lnTo>
                    <a:pt x="177060" y="981399"/>
                  </a:lnTo>
                  <a:lnTo>
                    <a:pt x="205530" y="955586"/>
                  </a:lnTo>
                  <a:lnTo>
                    <a:pt x="238658" y="950205"/>
                  </a:lnTo>
                  <a:lnTo>
                    <a:pt x="251831" y="930554"/>
                  </a:lnTo>
                  <a:lnTo>
                    <a:pt x="288846" y="901475"/>
                  </a:lnTo>
                  <a:lnTo>
                    <a:pt x="294808" y="891645"/>
                  </a:lnTo>
                  <a:lnTo>
                    <a:pt x="314525" y="874185"/>
                  </a:lnTo>
                  <a:lnTo>
                    <a:pt x="319135" y="836085"/>
                  </a:lnTo>
                  <a:lnTo>
                    <a:pt x="332718" y="805853"/>
                  </a:lnTo>
                  <a:lnTo>
                    <a:pt x="301923" y="821436"/>
                  </a:lnTo>
                  <a:lnTo>
                    <a:pt x="293313" y="812606"/>
                  </a:lnTo>
                  <a:lnTo>
                    <a:pt x="278854" y="831218"/>
                  </a:lnTo>
                  <a:lnTo>
                    <a:pt x="261414" y="805215"/>
                  </a:lnTo>
                  <a:lnTo>
                    <a:pt x="254213" y="823655"/>
                  </a:lnTo>
                  <a:lnTo>
                    <a:pt x="244231" y="797985"/>
                  </a:lnTo>
                  <a:lnTo>
                    <a:pt x="217532" y="818626"/>
                  </a:lnTo>
                  <a:lnTo>
                    <a:pt x="201139" y="818588"/>
                  </a:lnTo>
                  <a:lnTo>
                    <a:pt x="198834" y="787803"/>
                  </a:lnTo>
                  <a:lnTo>
                    <a:pt x="203664" y="768563"/>
                  </a:lnTo>
                  <a:lnTo>
                    <a:pt x="186461" y="749684"/>
                  </a:lnTo>
                  <a:lnTo>
                    <a:pt x="151733" y="759876"/>
                  </a:lnTo>
                  <a:lnTo>
                    <a:pt x="129197" y="734816"/>
                  </a:lnTo>
                  <a:lnTo>
                    <a:pt x="110928" y="721871"/>
                  </a:lnTo>
                  <a:lnTo>
                    <a:pt x="110814" y="690915"/>
                  </a:lnTo>
                  <a:lnTo>
                    <a:pt x="90230" y="667264"/>
                  </a:lnTo>
                  <a:lnTo>
                    <a:pt x="100565" y="634832"/>
                  </a:lnTo>
                  <a:lnTo>
                    <a:pt x="122339" y="602751"/>
                  </a:lnTo>
                  <a:lnTo>
                    <a:pt x="131864" y="572710"/>
                  </a:lnTo>
                  <a:lnTo>
                    <a:pt x="153476" y="568385"/>
                  </a:lnTo>
                  <a:lnTo>
                    <a:pt x="171802" y="577834"/>
                  </a:lnTo>
                  <a:lnTo>
                    <a:pt x="193348" y="549192"/>
                  </a:lnTo>
                  <a:lnTo>
                    <a:pt x="212741" y="554345"/>
                  </a:lnTo>
                  <a:lnTo>
                    <a:pt x="233096" y="535724"/>
                  </a:lnTo>
                  <a:lnTo>
                    <a:pt x="228133" y="507940"/>
                  </a:lnTo>
                  <a:lnTo>
                    <a:pt x="213179" y="496862"/>
                  </a:lnTo>
                  <a:lnTo>
                    <a:pt x="232953" y="472869"/>
                  </a:lnTo>
                  <a:lnTo>
                    <a:pt x="216551" y="473583"/>
                  </a:lnTo>
                  <a:lnTo>
                    <a:pt x="188214" y="487166"/>
                  </a:lnTo>
                  <a:lnTo>
                    <a:pt x="180080" y="500824"/>
                  </a:lnTo>
                  <a:lnTo>
                    <a:pt x="159020" y="487185"/>
                  </a:lnTo>
                  <a:lnTo>
                    <a:pt x="121244" y="494128"/>
                  </a:lnTo>
                  <a:lnTo>
                    <a:pt x="82134" y="479241"/>
                  </a:lnTo>
                  <a:lnTo>
                    <a:pt x="70923" y="453961"/>
                  </a:lnTo>
                  <a:lnTo>
                    <a:pt x="37128" y="416757"/>
                  </a:lnTo>
                  <a:lnTo>
                    <a:pt x="74657" y="389449"/>
                  </a:lnTo>
                  <a:lnTo>
                    <a:pt x="134226" y="356997"/>
                  </a:lnTo>
                  <a:lnTo>
                    <a:pt x="156181" y="356997"/>
                  </a:lnTo>
                  <a:lnTo>
                    <a:pt x="152543" y="390182"/>
                  </a:lnTo>
                  <a:lnTo>
                    <a:pt x="208912" y="387620"/>
                  </a:lnTo>
                  <a:lnTo>
                    <a:pt x="187233" y="346291"/>
                  </a:lnTo>
                  <a:lnTo>
                    <a:pt x="154381" y="320364"/>
                  </a:lnTo>
                  <a:lnTo>
                    <a:pt x="135388" y="285702"/>
                  </a:lnTo>
                  <a:lnTo>
                    <a:pt x="109766" y="255546"/>
                  </a:lnTo>
                  <a:lnTo>
                    <a:pt x="73066" y="232829"/>
                  </a:lnTo>
                  <a:lnTo>
                    <a:pt x="88011" y="194462"/>
                  </a:lnTo>
                  <a:lnTo>
                    <a:pt x="135388" y="192053"/>
                  </a:lnTo>
                  <a:lnTo>
                    <a:pt x="169097" y="157905"/>
                  </a:lnTo>
                  <a:lnTo>
                    <a:pt x="175451" y="120596"/>
                  </a:lnTo>
                  <a:lnTo>
                    <a:pt x="202730" y="83344"/>
                  </a:lnTo>
                  <a:lnTo>
                    <a:pt x="228743" y="74247"/>
                  </a:lnTo>
                  <a:lnTo>
                    <a:pt x="279368" y="38452"/>
                  </a:lnTo>
                  <a:lnTo>
                    <a:pt x="303924" y="43901"/>
                  </a:lnTo>
                  <a:lnTo>
                    <a:pt x="345024" y="0"/>
                  </a:lnTo>
                  <a:lnTo>
                    <a:pt x="385429" y="17440"/>
                  </a:lnTo>
                  <a:lnTo>
                    <a:pt x="404755" y="54292"/>
                  </a:lnTo>
                  <a:lnTo>
                    <a:pt x="416624" y="38595"/>
                  </a:lnTo>
                  <a:lnTo>
                    <a:pt x="461753" y="43482"/>
                  </a:lnTo>
                  <a:lnTo>
                    <a:pt x="460153" y="62065"/>
                  </a:lnTo>
                  <a:lnTo>
                    <a:pt x="501015" y="75667"/>
                  </a:lnTo>
                  <a:lnTo>
                    <a:pt x="528257" y="67685"/>
                  </a:lnTo>
                  <a:lnTo>
                    <a:pt x="584521" y="92783"/>
                  </a:lnTo>
                  <a:lnTo>
                    <a:pt x="635889" y="100174"/>
                  </a:lnTo>
                  <a:lnTo>
                    <a:pt x="656453" y="110347"/>
                  </a:lnTo>
                  <a:lnTo>
                    <a:pt x="691991" y="97631"/>
                  </a:lnTo>
                  <a:lnTo>
                    <a:pt x="732501" y="121082"/>
                  </a:lnTo>
                  <a:lnTo>
                    <a:pt x="761514" y="131893"/>
                  </a:lnTo>
                  <a:lnTo>
                    <a:pt x="761333" y="395240"/>
                  </a:lnTo>
                  <a:lnTo>
                    <a:pt x="761190" y="732711"/>
                  </a:lnTo>
                  <a:lnTo>
                    <a:pt x="787489" y="734301"/>
                  </a:lnTo>
                  <a:lnTo>
                    <a:pt x="813502" y="749122"/>
                  </a:lnTo>
                  <a:lnTo>
                    <a:pt x="832152" y="772325"/>
                  </a:lnTo>
                  <a:lnTo>
                    <a:pt x="855878" y="806577"/>
                  </a:lnTo>
                  <a:lnTo>
                    <a:pt x="881863" y="777488"/>
                  </a:lnTo>
                  <a:lnTo>
                    <a:pt x="908676" y="760409"/>
                  </a:lnTo>
                  <a:lnTo>
                    <a:pt x="922849" y="787603"/>
                  </a:lnTo>
                  <a:lnTo>
                    <a:pt x="940841" y="808834"/>
                  </a:lnTo>
                  <a:lnTo>
                    <a:pt x="965292" y="831923"/>
                  </a:lnTo>
                  <a:lnTo>
                    <a:pt x="981989" y="868061"/>
                  </a:lnTo>
                  <a:lnTo>
                    <a:pt x="1009298" y="924077"/>
                  </a:lnTo>
                  <a:lnTo>
                    <a:pt x="1054703" y="954596"/>
                  </a:lnTo>
                  <a:lnTo>
                    <a:pt x="1055446" y="984352"/>
                  </a:lnTo>
                  <a:lnTo>
                    <a:pt x="1040597" y="1006792"/>
                  </a:lnTo>
                  <a:close/>
                  <a:moveTo>
                    <a:pt x="2716330" y="1334786"/>
                  </a:moveTo>
                  <a:lnTo>
                    <a:pt x="2704471" y="1323480"/>
                  </a:lnTo>
                  <a:lnTo>
                    <a:pt x="2686564" y="1330147"/>
                  </a:lnTo>
                  <a:lnTo>
                    <a:pt x="2677687" y="1319832"/>
                  </a:lnTo>
                  <a:lnTo>
                    <a:pt x="2657313" y="1349330"/>
                  </a:lnTo>
                  <a:lnTo>
                    <a:pt x="2649169" y="1379315"/>
                  </a:lnTo>
                  <a:lnTo>
                    <a:pt x="2639692" y="1396651"/>
                  </a:lnTo>
                  <a:lnTo>
                    <a:pt x="2628348" y="1402518"/>
                  </a:lnTo>
                  <a:lnTo>
                    <a:pt x="2619804" y="1404423"/>
                  </a:lnTo>
                  <a:lnTo>
                    <a:pt x="2617127" y="1413738"/>
                  </a:lnTo>
                  <a:lnTo>
                    <a:pt x="2567911" y="1413767"/>
                  </a:lnTo>
                  <a:lnTo>
                    <a:pt x="2527335" y="1414024"/>
                  </a:lnTo>
                  <a:lnTo>
                    <a:pt x="2515286" y="1420939"/>
                  </a:lnTo>
                  <a:lnTo>
                    <a:pt x="2487949" y="1446943"/>
                  </a:lnTo>
                  <a:lnTo>
                    <a:pt x="2490683" y="1452124"/>
                  </a:lnTo>
                  <a:lnTo>
                    <a:pt x="2492264" y="1466469"/>
                  </a:lnTo>
                  <a:lnTo>
                    <a:pt x="2472233" y="1478566"/>
                  </a:lnTo>
                  <a:lnTo>
                    <a:pt x="2450354" y="1475537"/>
                  </a:lnTo>
                  <a:lnTo>
                    <a:pt x="2429361" y="1474175"/>
                  </a:lnTo>
                  <a:lnTo>
                    <a:pt x="2416712" y="1478356"/>
                  </a:lnTo>
                  <a:lnTo>
                    <a:pt x="2419083" y="1489310"/>
                  </a:lnTo>
                  <a:lnTo>
                    <a:pt x="2419083" y="1489329"/>
                  </a:lnTo>
                  <a:lnTo>
                    <a:pt x="2419607" y="1492882"/>
                  </a:lnTo>
                  <a:lnTo>
                    <a:pt x="2396595" y="1514456"/>
                  </a:lnTo>
                  <a:lnTo>
                    <a:pt x="2376450" y="1524829"/>
                  </a:lnTo>
                  <a:lnTo>
                    <a:pt x="2362705" y="1529648"/>
                  </a:lnTo>
                  <a:lnTo>
                    <a:pt x="2346884" y="1539507"/>
                  </a:lnTo>
                  <a:lnTo>
                    <a:pt x="2327548" y="1544231"/>
                  </a:lnTo>
                  <a:lnTo>
                    <a:pt x="2314232" y="1542412"/>
                  </a:lnTo>
                  <a:lnTo>
                    <a:pt x="2297764" y="1535058"/>
                  </a:lnTo>
                  <a:lnTo>
                    <a:pt x="2306917" y="1521257"/>
                  </a:lnTo>
                  <a:lnTo>
                    <a:pt x="2312794" y="1508674"/>
                  </a:lnTo>
                  <a:lnTo>
                    <a:pt x="2325348" y="1488757"/>
                  </a:lnTo>
                  <a:lnTo>
                    <a:pt x="2324014" y="1473794"/>
                  </a:lnTo>
                  <a:lnTo>
                    <a:pt x="2319204" y="1452448"/>
                  </a:lnTo>
                  <a:lnTo>
                    <a:pt x="2309327" y="1448753"/>
                  </a:lnTo>
                  <a:lnTo>
                    <a:pt x="2292772" y="1464993"/>
                  </a:lnTo>
                  <a:lnTo>
                    <a:pt x="2287467" y="1464688"/>
                  </a:lnTo>
                  <a:lnTo>
                    <a:pt x="2286095" y="1455410"/>
                  </a:lnTo>
                  <a:lnTo>
                    <a:pt x="2300783" y="1440589"/>
                  </a:lnTo>
                  <a:lnTo>
                    <a:pt x="2303221" y="1423578"/>
                  </a:lnTo>
                  <a:lnTo>
                    <a:pt x="2301050" y="1406490"/>
                  </a:lnTo>
                  <a:lnTo>
                    <a:pt x="2281285" y="1391707"/>
                  </a:lnTo>
                  <a:lnTo>
                    <a:pt x="2258587" y="1384087"/>
                  </a:lnTo>
                  <a:lnTo>
                    <a:pt x="2254853" y="1398546"/>
                  </a:lnTo>
                  <a:lnTo>
                    <a:pt x="2248967" y="1402404"/>
                  </a:lnTo>
                  <a:lnTo>
                    <a:pt x="2244242" y="1421006"/>
                  </a:lnTo>
                  <a:lnTo>
                    <a:pt x="2241766" y="1408386"/>
                  </a:lnTo>
                  <a:lnTo>
                    <a:pt x="2231089" y="1417406"/>
                  </a:lnTo>
                  <a:lnTo>
                    <a:pt x="2224421" y="1429988"/>
                  </a:lnTo>
                  <a:lnTo>
                    <a:pt x="2217458" y="1448238"/>
                  </a:lnTo>
                  <a:lnTo>
                    <a:pt x="2216125" y="1463907"/>
                  </a:lnTo>
                  <a:lnTo>
                    <a:pt x="2224983" y="1486538"/>
                  </a:lnTo>
                  <a:lnTo>
                    <a:pt x="2224250" y="1510427"/>
                  </a:lnTo>
                  <a:lnTo>
                    <a:pt x="2213410" y="1527915"/>
                  </a:lnTo>
                  <a:lnTo>
                    <a:pt x="2208000" y="1532849"/>
                  </a:lnTo>
                  <a:lnTo>
                    <a:pt x="2200789" y="1536773"/>
                  </a:lnTo>
                  <a:lnTo>
                    <a:pt x="2191712" y="1536973"/>
                  </a:lnTo>
                  <a:lnTo>
                    <a:pt x="2189255" y="1534563"/>
                  </a:lnTo>
                  <a:lnTo>
                    <a:pt x="2182063" y="1515751"/>
                  </a:lnTo>
                  <a:lnTo>
                    <a:pt x="2181854" y="1506398"/>
                  </a:lnTo>
                  <a:lnTo>
                    <a:pt x="2182568" y="1497473"/>
                  </a:lnTo>
                  <a:lnTo>
                    <a:pt x="2179215" y="1479661"/>
                  </a:lnTo>
                  <a:lnTo>
                    <a:pt x="2184292" y="1458887"/>
                  </a:lnTo>
                  <a:lnTo>
                    <a:pt x="2190322" y="1433046"/>
                  </a:lnTo>
                  <a:lnTo>
                    <a:pt x="2204180" y="1404137"/>
                  </a:lnTo>
                  <a:lnTo>
                    <a:pt x="2200161" y="1404271"/>
                  </a:lnTo>
                  <a:lnTo>
                    <a:pt x="2180539" y="1428493"/>
                  </a:lnTo>
                  <a:lnTo>
                    <a:pt x="2176920" y="1424073"/>
                  </a:lnTo>
                  <a:lnTo>
                    <a:pt x="2187388" y="1410529"/>
                  </a:lnTo>
                  <a:lnTo>
                    <a:pt x="2203314" y="1386021"/>
                  </a:lnTo>
                  <a:lnTo>
                    <a:pt x="2221478" y="1382582"/>
                  </a:lnTo>
                  <a:lnTo>
                    <a:pt x="2242309" y="1374924"/>
                  </a:lnTo>
                  <a:lnTo>
                    <a:pt x="2263312" y="1378963"/>
                  </a:lnTo>
                  <a:lnTo>
                    <a:pt x="2264207" y="1379134"/>
                  </a:lnTo>
                  <a:lnTo>
                    <a:pt x="2287734" y="1375677"/>
                  </a:lnTo>
                  <a:lnTo>
                    <a:pt x="2274446" y="1360351"/>
                  </a:lnTo>
                  <a:lnTo>
                    <a:pt x="2267284" y="1359160"/>
                  </a:lnTo>
                  <a:lnTo>
                    <a:pt x="2259140" y="1357598"/>
                  </a:lnTo>
                  <a:lnTo>
                    <a:pt x="2253529" y="1346740"/>
                  </a:lnTo>
                  <a:lnTo>
                    <a:pt x="2227288" y="1350131"/>
                  </a:lnTo>
                  <a:lnTo>
                    <a:pt x="2203590" y="1358751"/>
                  </a:lnTo>
                  <a:lnTo>
                    <a:pt x="2184778" y="1343978"/>
                  </a:lnTo>
                  <a:lnTo>
                    <a:pt x="2169643" y="1339015"/>
                  </a:lnTo>
                  <a:lnTo>
                    <a:pt x="2178225" y="1318346"/>
                  </a:lnTo>
                  <a:lnTo>
                    <a:pt x="2154650" y="1331347"/>
                  </a:lnTo>
                  <a:lnTo>
                    <a:pt x="2133219" y="1343997"/>
                  </a:lnTo>
                  <a:lnTo>
                    <a:pt x="2112597" y="1353874"/>
                  </a:lnTo>
                  <a:lnTo>
                    <a:pt x="2096224" y="1340530"/>
                  </a:lnTo>
                  <a:lnTo>
                    <a:pt x="2069468" y="1348635"/>
                  </a:lnTo>
                  <a:lnTo>
                    <a:pt x="2069554" y="1342930"/>
                  </a:lnTo>
                  <a:lnTo>
                    <a:pt x="2087680" y="1326451"/>
                  </a:lnTo>
                  <a:lnTo>
                    <a:pt x="2106644" y="1310697"/>
                  </a:lnTo>
                  <a:lnTo>
                    <a:pt x="2133886" y="1297600"/>
                  </a:lnTo>
                  <a:lnTo>
                    <a:pt x="2101034" y="1287228"/>
                  </a:lnTo>
                  <a:lnTo>
                    <a:pt x="2079403" y="1292419"/>
                  </a:lnTo>
                  <a:lnTo>
                    <a:pt x="2053495" y="1280008"/>
                  </a:lnTo>
                  <a:lnTo>
                    <a:pt x="2026225" y="1273607"/>
                  </a:lnTo>
                  <a:lnTo>
                    <a:pt x="2007575" y="1271130"/>
                  </a:lnTo>
                  <a:lnTo>
                    <a:pt x="1999269" y="1264291"/>
                  </a:lnTo>
                  <a:lnTo>
                    <a:pt x="1994526" y="1241955"/>
                  </a:lnTo>
                  <a:lnTo>
                    <a:pt x="1985486" y="1242155"/>
                  </a:lnTo>
                  <a:lnTo>
                    <a:pt x="1985410" y="1257814"/>
                  </a:lnTo>
                  <a:lnTo>
                    <a:pt x="1930137" y="1257786"/>
                  </a:lnTo>
                  <a:lnTo>
                    <a:pt x="1838763" y="1257814"/>
                  </a:lnTo>
                  <a:lnTo>
                    <a:pt x="1748009" y="1257814"/>
                  </a:lnTo>
                  <a:lnTo>
                    <a:pt x="1667837" y="1257814"/>
                  </a:lnTo>
                  <a:lnTo>
                    <a:pt x="1587713" y="1257814"/>
                  </a:lnTo>
                  <a:lnTo>
                    <a:pt x="1508932" y="1257814"/>
                  </a:lnTo>
                  <a:lnTo>
                    <a:pt x="1427531" y="1257814"/>
                  </a:lnTo>
                  <a:lnTo>
                    <a:pt x="1401280" y="1257814"/>
                  </a:lnTo>
                  <a:lnTo>
                    <a:pt x="1321994" y="1257814"/>
                  </a:lnTo>
                  <a:lnTo>
                    <a:pt x="1246146" y="1257814"/>
                  </a:lnTo>
                  <a:lnTo>
                    <a:pt x="1255233" y="1290828"/>
                  </a:lnTo>
                  <a:lnTo>
                    <a:pt x="1259500" y="1323308"/>
                  </a:lnTo>
                  <a:lnTo>
                    <a:pt x="1252899" y="1333662"/>
                  </a:lnTo>
                  <a:lnTo>
                    <a:pt x="1238669" y="1296410"/>
                  </a:lnTo>
                  <a:lnTo>
                    <a:pt x="1200045" y="1282837"/>
                  </a:lnTo>
                  <a:lnTo>
                    <a:pt x="1196816" y="1290647"/>
                  </a:lnTo>
                  <a:lnTo>
                    <a:pt x="1204598" y="1309106"/>
                  </a:lnTo>
                  <a:lnTo>
                    <a:pt x="1213037" y="1342682"/>
                  </a:lnTo>
                  <a:lnTo>
                    <a:pt x="1217857" y="1394270"/>
                  </a:lnTo>
                  <a:lnTo>
                    <a:pt x="1214609" y="1428474"/>
                  </a:lnTo>
                  <a:lnTo>
                    <a:pt x="1211361" y="1462145"/>
                  </a:lnTo>
                  <a:lnTo>
                    <a:pt x="1200922" y="1496568"/>
                  </a:lnTo>
                  <a:lnTo>
                    <a:pt x="1209446" y="1524172"/>
                  </a:lnTo>
                  <a:lnTo>
                    <a:pt x="1210380" y="1554671"/>
                  </a:lnTo>
                  <a:lnTo>
                    <a:pt x="1204522" y="1583769"/>
                  </a:lnTo>
                  <a:lnTo>
                    <a:pt x="1218752" y="1602743"/>
                  </a:lnTo>
                  <a:lnTo>
                    <a:pt x="1222439" y="1630794"/>
                  </a:lnTo>
                  <a:lnTo>
                    <a:pt x="1243108" y="1659284"/>
                  </a:lnTo>
                  <a:lnTo>
                    <a:pt x="1254890" y="1670418"/>
                  </a:lnTo>
                  <a:lnTo>
                    <a:pt x="1253938" y="1678200"/>
                  </a:lnTo>
                  <a:lnTo>
                    <a:pt x="1276179" y="1724406"/>
                  </a:lnTo>
                  <a:lnTo>
                    <a:pt x="1302087" y="1757286"/>
                  </a:lnTo>
                  <a:lnTo>
                    <a:pt x="1305335" y="1775060"/>
                  </a:lnTo>
                  <a:lnTo>
                    <a:pt x="1312145" y="1780270"/>
                  </a:lnTo>
                  <a:lnTo>
                    <a:pt x="1336958" y="1783442"/>
                  </a:lnTo>
                  <a:lnTo>
                    <a:pt x="1346511" y="1792138"/>
                  </a:lnTo>
                  <a:lnTo>
                    <a:pt x="1361494" y="1793748"/>
                  </a:lnTo>
                  <a:lnTo>
                    <a:pt x="1364418" y="1802940"/>
                  </a:lnTo>
                  <a:lnTo>
                    <a:pt x="1376877" y="1806759"/>
                  </a:lnTo>
                  <a:lnTo>
                    <a:pt x="1394184" y="1825047"/>
                  </a:lnTo>
                  <a:lnTo>
                    <a:pt x="1398680" y="1841202"/>
                  </a:lnTo>
                  <a:lnTo>
                    <a:pt x="1429026" y="1838773"/>
                  </a:lnTo>
                  <a:lnTo>
                    <a:pt x="1462945" y="1835353"/>
                  </a:lnTo>
                  <a:lnTo>
                    <a:pt x="1460440" y="1841525"/>
                  </a:lnTo>
                  <a:lnTo>
                    <a:pt x="1500769" y="1856804"/>
                  </a:lnTo>
                  <a:lnTo>
                    <a:pt x="1561690" y="1878806"/>
                  </a:lnTo>
                  <a:lnTo>
                    <a:pt x="1614802" y="1878587"/>
                  </a:lnTo>
                  <a:lnTo>
                    <a:pt x="1635976" y="1878578"/>
                  </a:lnTo>
                  <a:lnTo>
                    <a:pt x="1636033" y="1865709"/>
                  </a:lnTo>
                  <a:lnTo>
                    <a:pt x="1682296" y="1865719"/>
                  </a:lnTo>
                  <a:lnTo>
                    <a:pt x="1692031" y="1876787"/>
                  </a:lnTo>
                  <a:lnTo>
                    <a:pt x="1705689" y="1886617"/>
                  </a:lnTo>
                  <a:lnTo>
                    <a:pt x="1721558" y="1900228"/>
                  </a:lnTo>
                  <a:lnTo>
                    <a:pt x="1730416" y="1916316"/>
                  </a:lnTo>
                  <a:lnTo>
                    <a:pt x="1737065" y="1933165"/>
                  </a:lnTo>
                  <a:lnTo>
                    <a:pt x="1750866" y="1942376"/>
                  </a:lnTo>
                  <a:lnTo>
                    <a:pt x="1773041" y="1951501"/>
                  </a:lnTo>
                  <a:lnTo>
                    <a:pt x="1789862" y="1927422"/>
                  </a:lnTo>
                  <a:lnTo>
                    <a:pt x="1811693" y="1926822"/>
                  </a:lnTo>
                  <a:lnTo>
                    <a:pt x="1830514" y="1939004"/>
                  </a:lnTo>
                  <a:lnTo>
                    <a:pt x="1843916" y="1959807"/>
                  </a:lnTo>
                  <a:lnTo>
                    <a:pt x="1853146" y="1977514"/>
                  </a:lnTo>
                  <a:lnTo>
                    <a:pt x="1868900" y="1994630"/>
                  </a:lnTo>
                  <a:lnTo>
                    <a:pt x="1874777" y="2015538"/>
                  </a:lnTo>
                  <a:lnTo>
                    <a:pt x="1882254" y="2029501"/>
                  </a:lnTo>
                  <a:lnTo>
                    <a:pt x="1903085" y="2038674"/>
                  </a:lnTo>
                  <a:lnTo>
                    <a:pt x="1922050" y="2045170"/>
                  </a:lnTo>
                  <a:lnTo>
                    <a:pt x="1932461" y="2044284"/>
                  </a:lnTo>
                  <a:lnTo>
                    <a:pt x="1927384" y="2034235"/>
                  </a:lnTo>
                  <a:lnTo>
                    <a:pt x="1926050" y="2019995"/>
                  </a:lnTo>
                  <a:lnTo>
                    <a:pt x="1926317" y="1999412"/>
                  </a:lnTo>
                  <a:lnTo>
                    <a:pt x="1932461" y="1985924"/>
                  </a:lnTo>
                  <a:lnTo>
                    <a:pt x="1947043" y="1971551"/>
                  </a:lnTo>
                  <a:lnTo>
                    <a:pt x="1973590" y="1958511"/>
                  </a:lnTo>
                  <a:lnTo>
                    <a:pt x="1997897" y="1935966"/>
                  </a:lnTo>
                  <a:lnTo>
                    <a:pt x="2020367" y="1928822"/>
                  </a:lnTo>
                  <a:lnTo>
                    <a:pt x="2036978" y="1926679"/>
                  </a:lnTo>
                  <a:lnTo>
                    <a:pt x="2056409" y="1933756"/>
                  </a:lnTo>
                  <a:lnTo>
                    <a:pt x="2079698" y="1929946"/>
                  </a:lnTo>
                  <a:lnTo>
                    <a:pt x="2099634" y="1946062"/>
                  </a:lnTo>
                  <a:lnTo>
                    <a:pt x="2119017" y="1947015"/>
                  </a:lnTo>
                  <a:lnTo>
                    <a:pt x="2129038" y="1941243"/>
                  </a:lnTo>
                  <a:lnTo>
                    <a:pt x="2138953" y="1945739"/>
                  </a:lnTo>
                  <a:lnTo>
                    <a:pt x="2144039" y="1941738"/>
                  </a:lnTo>
                  <a:lnTo>
                    <a:pt x="2138372" y="1935718"/>
                  </a:lnTo>
                  <a:lnTo>
                    <a:pt x="2138801" y="1923317"/>
                  </a:lnTo>
                  <a:lnTo>
                    <a:pt x="2133991" y="1915163"/>
                  </a:lnTo>
                  <a:lnTo>
                    <a:pt x="2145030" y="1910363"/>
                  </a:lnTo>
                  <a:lnTo>
                    <a:pt x="2165395" y="1908239"/>
                  </a:lnTo>
                  <a:lnTo>
                    <a:pt x="2189093" y="1911639"/>
                  </a:lnTo>
                  <a:lnTo>
                    <a:pt x="2219277" y="1907772"/>
                  </a:lnTo>
                  <a:lnTo>
                    <a:pt x="2236023" y="1915382"/>
                  </a:lnTo>
                  <a:lnTo>
                    <a:pt x="2248986" y="1929689"/>
                  </a:lnTo>
                  <a:lnTo>
                    <a:pt x="2253767" y="1931213"/>
                  </a:lnTo>
                  <a:lnTo>
                    <a:pt x="2280714" y="1917306"/>
                  </a:lnTo>
                  <a:lnTo>
                    <a:pt x="2291134" y="1922012"/>
                  </a:lnTo>
                  <a:lnTo>
                    <a:pt x="2311956" y="1947558"/>
                  </a:lnTo>
                  <a:lnTo>
                    <a:pt x="2319433" y="1964236"/>
                  </a:lnTo>
                  <a:lnTo>
                    <a:pt x="2313947" y="1984248"/>
                  </a:lnTo>
                  <a:lnTo>
                    <a:pt x="2317956" y="1995983"/>
                  </a:lnTo>
                  <a:lnTo>
                    <a:pt x="2330377" y="2018814"/>
                  </a:lnTo>
                  <a:lnTo>
                    <a:pt x="2344531" y="2044294"/>
                  </a:lnTo>
                  <a:lnTo>
                    <a:pt x="2354675" y="2051075"/>
                  </a:lnTo>
                  <a:lnTo>
                    <a:pt x="2358885" y="2063972"/>
                  </a:lnTo>
                  <a:lnTo>
                    <a:pt x="2372030" y="2067535"/>
                  </a:lnTo>
                  <a:lnTo>
                    <a:pt x="2380012" y="2063829"/>
                  </a:lnTo>
                  <a:lnTo>
                    <a:pt x="2386670" y="2045856"/>
                  </a:lnTo>
                  <a:lnTo>
                    <a:pt x="2387832" y="2034359"/>
                  </a:lnTo>
                  <a:lnTo>
                    <a:pt x="2388670" y="2014338"/>
                  </a:lnTo>
                  <a:lnTo>
                    <a:pt x="2376021" y="1979609"/>
                  </a:lnTo>
                  <a:lnTo>
                    <a:pt x="2375868" y="1966570"/>
                  </a:lnTo>
                  <a:lnTo>
                    <a:pt x="2364000" y="1945110"/>
                  </a:lnTo>
                  <a:lnTo>
                    <a:pt x="2355085" y="1918964"/>
                  </a:lnTo>
                  <a:lnTo>
                    <a:pt x="2350361" y="1897571"/>
                  </a:lnTo>
                  <a:lnTo>
                    <a:pt x="2354485" y="1875520"/>
                  </a:lnTo>
                  <a:lnTo>
                    <a:pt x="2367067" y="1856994"/>
                  </a:lnTo>
                  <a:lnTo>
                    <a:pt x="2382126" y="1842030"/>
                  </a:lnTo>
                  <a:lnTo>
                    <a:pt x="2411444" y="1821494"/>
                  </a:lnTo>
                  <a:lnTo>
                    <a:pt x="2415264" y="1810817"/>
                  </a:lnTo>
                  <a:lnTo>
                    <a:pt x="2428780" y="1799082"/>
                  </a:lnTo>
                  <a:lnTo>
                    <a:pt x="2442115" y="1797034"/>
                  </a:lnTo>
                  <a:lnTo>
                    <a:pt x="2459669" y="1778175"/>
                  </a:lnTo>
                  <a:lnTo>
                    <a:pt x="2487302" y="1768592"/>
                  </a:lnTo>
                  <a:lnTo>
                    <a:pt x="2504275" y="1744456"/>
                  </a:lnTo>
                  <a:lnTo>
                    <a:pt x="2500522" y="1711547"/>
                  </a:lnTo>
                  <a:lnTo>
                    <a:pt x="2497750" y="1700070"/>
                  </a:lnTo>
                  <a:lnTo>
                    <a:pt x="2490083" y="1697774"/>
                  </a:lnTo>
                  <a:lnTo>
                    <a:pt x="2488940" y="1665903"/>
                  </a:lnTo>
                  <a:lnTo>
                    <a:pt x="2470557" y="1655016"/>
                  </a:lnTo>
                  <a:lnTo>
                    <a:pt x="2488206" y="1660322"/>
                  </a:lnTo>
                  <a:lnTo>
                    <a:pt x="2482511" y="1638795"/>
                  </a:lnTo>
                  <a:lnTo>
                    <a:pt x="2487654" y="1624013"/>
                  </a:lnTo>
                  <a:lnTo>
                    <a:pt x="2490788" y="1652340"/>
                  </a:lnTo>
                  <a:lnTo>
                    <a:pt x="2504427" y="1665256"/>
                  </a:lnTo>
                  <a:lnTo>
                    <a:pt x="2496169" y="1688097"/>
                  </a:lnTo>
                  <a:lnTo>
                    <a:pt x="2498598" y="1689421"/>
                  </a:lnTo>
                  <a:lnTo>
                    <a:pt x="2513629" y="1662608"/>
                  </a:lnTo>
                  <a:lnTo>
                    <a:pt x="2522192" y="1649454"/>
                  </a:lnTo>
                  <a:lnTo>
                    <a:pt x="2521792" y="1636595"/>
                  </a:lnTo>
                  <a:lnTo>
                    <a:pt x="2515162" y="1630509"/>
                  </a:lnTo>
                  <a:lnTo>
                    <a:pt x="2509609" y="1612021"/>
                  </a:lnTo>
                  <a:lnTo>
                    <a:pt x="2518372" y="1620621"/>
                  </a:lnTo>
                  <a:lnTo>
                    <a:pt x="2524239" y="1622412"/>
                  </a:lnTo>
                  <a:lnTo>
                    <a:pt x="2526221" y="1631213"/>
                  </a:lnTo>
                  <a:lnTo>
                    <a:pt x="2545652" y="1604743"/>
                  </a:lnTo>
                  <a:lnTo>
                    <a:pt x="2551414" y="1579769"/>
                  </a:lnTo>
                  <a:lnTo>
                    <a:pt x="2543556" y="1578169"/>
                  </a:lnTo>
                  <a:lnTo>
                    <a:pt x="2551691" y="1568453"/>
                  </a:lnTo>
                  <a:lnTo>
                    <a:pt x="2550900" y="1572758"/>
                  </a:lnTo>
                  <a:lnTo>
                    <a:pt x="2567911" y="1572692"/>
                  </a:lnTo>
                  <a:lnTo>
                    <a:pt x="2605297" y="1562157"/>
                  </a:lnTo>
                  <a:lnTo>
                    <a:pt x="2597382" y="1555471"/>
                  </a:lnTo>
                  <a:lnTo>
                    <a:pt x="2558158" y="1562110"/>
                  </a:lnTo>
                  <a:lnTo>
                    <a:pt x="2580418" y="1551889"/>
                  </a:lnTo>
                  <a:lnTo>
                    <a:pt x="2595944" y="1550137"/>
                  </a:lnTo>
                  <a:lnTo>
                    <a:pt x="2607564" y="1548365"/>
                  </a:lnTo>
                  <a:lnTo>
                    <a:pt x="2627319" y="1542174"/>
                  </a:lnTo>
                  <a:lnTo>
                    <a:pt x="2640149" y="1542869"/>
                  </a:lnTo>
                  <a:lnTo>
                    <a:pt x="2658180" y="1537107"/>
                  </a:lnTo>
                  <a:lnTo>
                    <a:pt x="2660314" y="1526915"/>
                  </a:lnTo>
                  <a:lnTo>
                    <a:pt x="2652303" y="1518961"/>
                  </a:lnTo>
                  <a:lnTo>
                    <a:pt x="2655103" y="1532030"/>
                  </a:lnTo>
                  <a:lnTo>
                    <a:pt x="2644016" y="1531134"/>
                  </a:lnTo>
                  <a:lnTo>
                    <a:pt x="2635206" y="1512132"/>
                  </a:lnTo>
                  <a:lnTo>
                    <a:pt x="2635472" y="1492958"/>
                  </a:lnTo>
                  <a:lnTo>
                    <a:pt x="2639997" y="1484776"/>
                  </a:lnTo>
                  <a:lnTo>
                    <a:pt x="2654132" y="1463031"/>
                  </a:lnTo>
                  <a:lnTo>
                    <a:pt x="2682335" y="1452115"/>
                  </a:lnTo>
                  <a:lnTo>
                    <a:pt x="2709777" y="1439313"/>
                  </a:lnTo>
                  <a:lnTo>
                    <a:pt x="2738295" y="1421216"/>
                  </a:lnTo>
                  <a:lnTo>
                    <a:pt x="2733685" y="1408881"/>
                  </a:lnTo>
                  <a:lnTo>
                    <a:pt x="2716225" y="1387440"/>
                  </a:lnTo>
                  <a:lnTo>
                    <a:pt x="2716330" y="1334786"/>
                  </a:lnTo>
                  <a:close/>
                  <a:moveTo>
                    <a:pt x="434550" y="854259"/>
                  </a:moveTo>
                  <a:lnTo>
                    <a:pt x="420291" y="861898"/>
                  </a:lnTo>
                  <a:lnTo>
                    <a:pt x="396030" y="879596"/>
                  </a:lnTo>
                  <a:lnTo>
                    <a:pt x="400164" y="902656"/>
                  </a:lnTo>
                  <a:lnTo>
                    <a:pt x="413823" y="915238"/>
                  </a:lnTo>
                  <a:lnTo>
                    <a:pt x="440493" y="896617"/>
                  </a:lnTo>
                  <a:lnTo>
                    <a:pt x="463601" y="873138"/>
                  </a:lnTo>
                  <a:lnTo>
                    <a:pt x="452285" y="857640"/>
                  </a:lnTo>
                  <a:lnTo>
                    <a:pt x="434550" y="854259"/>
                  </a:lnTo>
                  <a:close/>
                  <a:moveTo>
                    <a:pt x="0" y="582216"/>
                  </a:moveTo>
                  <a:lnTo>
                    <a:pt x="19450" y="570233"/>
                  </a:lnTo>
                  <a:lnTo>
                    <a:pt x="21650" y="563785"/>
                  </a:lnTo>
                  <a:lnTo>
                    <a:pt x="0" y="557289"/>
                  </a:lnTo>
                  <a:lnTo>
                    <a:pt x="0" y="582216"/>
                  </a:lnTo>
                  <a:close/>
                  <a:moveTo>
                    <a:pt x="80982" y="728539"/>
                  </a:moveTo>
                  <a:lnTo>
                    <a:pt x="54607" y="737749"/>
                  </a:lnTo>
                  <a:lnTo>
                    <a:pt x="70818" y="752265"/>
                  </a:lnTo>
                  <a:lnTo>
                    <a:pt x="88325" y="762190"/>
                  </a:lnTo>
                  <a:lnTo>
                    <a:pt x="104718" y="753932"/>
                  </a:lnTo>
                  <a:lnTo>
                    <a:pt x="102165" y="733415"/>
                  </a:lnTo>
                  <a:lnTo>
                    <a:pt x="80982" y="728539"/>
                  </a:lnTo>
                  <a:close/>
                  <a:moveTo>
                    <a:pt x="1008174" y="1038101"/>
                  </a:moveTo>
                  <a:lnTo>
                    <a:pt x="982542" y="1041730"/>
                  </a:lnTo>
                  <a:lnTo>
                    <a:pt x="969988" y="1035825"/>
                  </a:lnTo>
                  <a:lnTo>
                    <a:pt x="968397" y="1050284"/>
                  </a:lnTo>
                  <a:lnTo>
                    <a:pt x="973341" y="1070039"/>
                  </a:lnTo>
                  <a:lnTo>
                    <a:pt x="986819" y="1083907"/>
                  </a:lnTo>
                  <a:lnTo>
                    <a:pt x="996687" y="1104224"/>
                  </a:lnTo>
                  <a:lnTo>
                    <a:pt x="1012774" y="1124198"/>
                  </a:lnTo>
                  <a:lnTo>
                    <a:pt x="1023423" y="1124283"/>
                  </a:lnTo>
                  <a:lnTo>
                    <a:pt x="1000182" y="1089022"/>
                  </a:lnTo>
                  <a:lnTo>
                    <a:pt x="1008174" y="1038101"/>
                  </a:lnTo>
                  <a:close/>
                  <a:moveTo>
                    <a:pt x="353673" y="2187626"/>
                  </a:moveTo>
                  <a:lnTo>
                    <a:pt x="344176" y="2184921"/>
                  </a:lnTo>
                  <a:lnTo>
                    <a:pt x="341567" y="2187359"/>
                  </a:lnTo>
                  <a:lnTo>
                    <a:pt x="341805" y="2189131"/>
                  </a:lnTo>
                  <a:lnTo>
                    <a:pt x="344872" y="2191445"/>
                  </a:lnTo>
                  <a:lnTo>
                    <a:pt x="349472" y="2197417"/>
                  </a:lnTo>
                  <a:lnTo>
                    <a:pt x="358426" y="2195389"/>
                  </a:lnTo>
                  <a:lnTo>
                    <a:pt x="360655" y="2191988"/>
                  </a:lnTo>
                  <a:lnTo>
                    <a:pt x="353673" y="2187626"/>
                  </a:lnTo>
                  <a:close/>
                  <a:moveTo>
                    <a:pt x="325145" y="2182492"/>
                  </a:moveTo>
                  <a:lnTo>
                    <a:pt x="339452" y="2183321"/>
                  </a:lnTo>
                  <a:lnTo>
                    <a:pt x="340281" y="2180244"/>
                  </a:lnTo>
                  <a:lnTo>
                    <a:pt x="327136" y="2179025"/>
                  </a:lnTo>
                  <a:lnTo>
                    <a:pt x="325145" y="2182492"/>
                  </a:lnTo>
                  <a:close/>
                  <a:moveTo>
                    <a:pt x="381248" y="2213820"/>
                  </a:moveTo>
                  <a:lnTo>
                    <a:pt x="376504" y="2211372"/>
                  </a:lnTo>
                  <a:lnTo>
                    <a:pt x="366274" y="2206600"/>
                  </a:lnTo>
                  <a:lnTo>
                    <a:pt x="364246" y="2206076"/>
                  </a:lnTo>
                  <a:lnTo>
                    <a:pt x="362693" y="2208714"/>
                  </a:lnTo>
                  <a:lnTo>
                    <a:pt x="364531" y="2214267"/>
                  </a:lnTo>
                  <a:lnTo>
                    <a:pt x="359893" y="2218868"/>
                  </a:lnTo>
                  <a:lnTo>
                    <a:pt x="358559" y="2222011"/>
                  </a:lnTo>
                  <a:lnTo>
                    <a:pt x="362979" y="2232270"/>
                  </a:lnTo>
                  <a:lnTo>
                    <a:pt x="362217" y="2240128"/>
                  </a:lnTo>
                  <a:lnTo>
                    <a:pt x="368846" y="2244147"/>
                  </a:lnTo>
                  <a:lnTo>
                    <a:pt x="372751" y="2239452"/>
                  </a:lnTo>
                  <a:lnTo>
                    <a:pt x="381295" y="2235061"/>
                  </a:lnTo>
                  <a:lnTo>
                    <a:pt x="391735" y="2229050"/>
                  </a:lnTo>
                  <a:lnTo>
                    <a:pt x="392373" y="2227488"/>
                  </a:lnTo>
                  <a:lnTo>
                    <a:pt x="385572" y="2217611"/>
                  </a:lnTo>
                  <a:lnTo>
                    <a:pt x="381248" y="2213820"/>
                  </a:lnTo>
                  <a:close/>
                  <a:moveTo>
                    <a:pt x="306457" y="2164833"/>
                  </a:moveTo>
                  <a:lnTo>
                    <a:pt x="299314" y="2168776"/>
                  </a:lnTo>
                  <a:lnTo>
                    <a:pt x="300352" y="2169919"/>
                  </a:lnTo>
                  <a:lnTo>
                    <a:pt x="303743" y="2176386"/>
                  </a:lnTo>
                  <a:lnTo>
                    <a:pt x="313039" y="2177386"/>
                  </a:lnTo>
                  <a:lnTo>
                    <a:pt x="314954" y="2177758"/>
                  </a:lnTo>
                  <a:lnTo>
                    <a:pt x="316401" y="2176110"/>
                  </a:lnTo>
                  <a:lnTo>
                    <a:pt x="308686" y="2166680"/>
                  </a:lnTo>
                  <a:lnTo>
                    <a:pt x="306457" y="2164833"/>
                  </a:lnTo>
                  <a:close/>
                  <a:moveTo>
                    <a:pt x="264500" y="2149964"/>
                  </a:moveTo>
                  <a:lnTo>
                    <a:pt x="260423" y="2152774"/>
                  </a:lnTo>
                  <a:lnTo>
                    <a:pt x="259042" y="2154860"/>
                  </a:lnTo>
                  <a:lnTo>
                    <a:pt x="268034" y="2160080"/>
                  </a:lnTo>
                  <a:lnTo>
                    <a:pt x="271205" y="2157251"/>
                  </a:lnTo>
                  <a:lnTo>
                    <a:pt x="270653" y="2150574"/>
                  </a:lnTo>
                  <a:lnTo>
                    <a:pt x="264500" y="2149964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99" name="Forme libre : forme 5818">
              <a:extLst>
                <a:ext uri="{FF2B5EF4-FFF2-40B4-BE49-F238E27FC236}">
                  <a16:creationId xmlns:a16="http://schemas.microsoft.com/office/drawing/2014/main" id="{E4A26C06-F912-97EE-CA3B-0643EBDF6806}"/>
                </a:ext>
              </a:extLst>
            </p:cNvPr>
            <p:cNvSpPr/>
            <p:nvPr/>
          </p:nvSpPr>
          <p:spPr>
            <a:xfrm>
              <a:off x="4260503" y="5581434"/>
              <a:ext cx="139341" cy="152762"/>
            </a:xfrm>
            <a:custGeom>
              <a:avLst/>
              <a:gdLst>
                <a:gd name="connsiteX0" fmla="*/ 21422 w 139341"/>
                <a:gd name="connsiteY0" fmla="*/ 3277 h 152762"/>
                <a:gd name="connsiteX1" fmla="*/ 38748 w 139341"/>
                <a:gd name="connsiteY1" fmla="*/ 0 h 152762"/>
                <a:gd name="connsiteX2" fmla="*/ 65541 w 139341"/>
                <a:gd name="connsiteY2" fmla="*/ 23851 h 152762"/>
                <a:gd name="connsiteX3" fmla="*/ 75457 w 139341"/>
                <a:gd name="connsiteY3" fmla="*/ 22946 h 152762"/>
                <a:gd name="connsiteX4" fmla="*/ 102946 w 139341"/>
                <a:gd name="connsiteY4" fmla="*/ 42843 h 152762"/>
                <a:gd name="connsiteX5" fmla="*/ 123892 w 139341"/>
                <a:gd name="connsiteY5" fmla="*/ 60131 h 152762"/>
                <a:gd name="connsiteX6" fmla="*/ 139341 w 139341"/>
                <a:gd name="connsiteY6" fmla="*/ 81544 h 152762"/>
                <a:gd name="connsiteX7" fmla="*/ 127568 w 139341"/>
                <a:gd name="connsiteY7" fmla="*/ 96574 h 152762"/>
                <a:gd name="connsiteX8" fmla="*/ 134960 w 139341"/>
                <a:gd name="connsiteY8" fmla="*/ 114624 h 152762"/>
                <a:gd name="connsiteX9" fmla="*/ 123406 w 139341"/>
                <a:gd name="connsiteY9" fmla="*/ 134798 h 152762"/>
                <a:gd name="connsiteX10" fmla="*/ 93240 w 139341"/>
                <a:gd name="connsiteY10" fmla="*/ 152762 h 152762"/>
                <a:gd name="connsiteX11" fmla="*/ 73523 w 139341"/>
                <a:gd name="connsiteY11" fmla="*/ 146285 h 152762"/>
                <a:gd name="connsiteX12" fmla="*/ 59074 w 139341"/>
                <a:gd name="connsiteY12" fmla="*/ 149752 h 152762"/>
                <a:gd name="connsiteX13" fmla="*/ 34385 w 139341"/>
                <a:gd name="connsiteY13" fmla="*/ 135874 h 152762"/>
                <a:gd name="connsiteX14" fmla="*/ 16269 w 139341"/>
                <a:gd name="connsiteY14" fmla="*/ 136913 h 152762"/>
                <a:gd name="connsiteX15" fmla="*/ 0 w 139341"/>
                <a:gd name="connsiteY15" fmla="*/ 119139 h 152762"/>
                <a:gd name="connsiteX16" fmla="*/ 2067 w 139341"/>
                <a:gd name="connsiteY16" fmla="*/ 98517 h 152762"/>
                <a:gd name="connsiteX17" fmla="*/ 7868 w 139341"/>
                <a:gd name="connsiteY17" fmla="*/ 91450 h 152762"/>
                <a:gd name="connsiteX18" fmla="*/ 7601 w 139341"/>
                <a:gd name="connsiteY18" fmla="*/ 60046 h 152762"/>
                <a:gd name="connsiteX19" fmla="*/ 14745 w 139341"/>
                <a:gd name="connsiteY19" fmla="*/ 27984 h 15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9341" h="152762">
                  <a:moveTo>
                    <a:pt x="21422" y="3277"/>
                  </a:moveTo>
                  <a:lnTo>
                    <a:pt x="38748" y="0"/>
                  </a:lnTo>
                  <a:lnTo>
                    <a:pt x="65541" y="23851"/>
                  </a:lnTo>
                  <a:lnTo>
                    <a:pt x="75457" y="22946"/>
                  </a:lnTo>
                  <a:lnTo>
                    <a:pt x="102946" y="42843"/>
                  </a:lnTo>
                  <a:lnTo>
                    <a:pt x="123892" y="60131"/>
                  </a:lnTo>
                  <a:lnTo>
                    <a:pt x="139341" y="81544"/>
                  </a:lnTo>
                  <a:lnTo>
                    <a:pt x="127568" y="96574"/>
                  </a:lnTo>
                  <a:lnTo>
                    <a:pt x="134960" y="114624"/>
                  </a:lnTo>
                  <a:lnTo>
                    <a:pt x="123406" y="134798"/>
                  </a:lnTo>
                  <a:lnTo>
                    <a:pt x="93240" y="152762"/>
                  </a:lnTo>
                  <a:lnTo>
                    <a:pt x="73523" y="146285"/>
                  </a:lnTo>
                  <a:lnTo>
                    <a:pt x="59074" y="149752"/>
                  </a:lnTo>
                  <a:lnTo>
                    <a:pt x="34385" y="135874"/>
                  </a:lnTo>
                  <a:lnTo>
                    <a:pt x="16269" y="136913"/>
                  </a:lnTo>
                  <a:lnTo>
                    <a:pt x="0" y="119139"/>
                  </a:lnTo>
                  <a:lnTo>
                    <a:pt x="2067" y="98517"/>
                  </a:lnTo>
                  <a:lnTo>
                    <a:pt x="7868" y="91450"/>
                  </a:lnTo>
                  <a:lnTo>
                    <a:pt x="7601" y="60046"/>
                  </a:lnTo>
                  <a:lnTo>
                    <a:pt x="14745" y="2798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00" name="Forme libre : forme 5819">
              <a:extLst>
                <a:ext uri="{FF2B5EF4-FFF2-40B4-BE49-F238E27FC236}">
                  <a16:creationId xmlns:a16="http://schemas.microsoft.com/office/drawing/2014/main" id="{AD5E14DA-47D7-A57D-36B6-2918C36DEC58}"/>
                </a:ext>
              </a:extLst>
            </p:cNvPr>
            <p:cNvSpPr/>
            <p:nvPr/>
          </p:nvSpPr>
          <p:spPr>
            <a:xfrm>
              <a:off x="7314570" y="3379045"/>
              <a:ext cx="457400" cy="299961"/>
            </a:xfrm>
            <a:custGeom>
              <a:avLst/>
              <a:gdLst>
                <a:gd name="connsiteX0" fmla="*/ 282826 w 457400"/>
                <a:gd name="connsiteY0" fmla="*/ 292684 h 299961"/>
                <a:gd name="connsiteX1" fmla="*/ 283559 w 457400"/>
                <a:gd name="connsiteY1" fmla="*/ 272120 h 299961"/>
                <a:gd name="connsiteX2" fmla="*/ 248031 w 457400"/>
                <a:gd name="connsiteY2" fmla="*/ 257642 h 299961"/>
                <a:gd name="connsiteX3" fmla="*/ 220104 w 457400"/>
                <a:gd name="connsiteY3" fmla="*/ 240963 h 299961"/>
                <a:gd name="connsiteX4" fmla="*/ 202683 w 457400"/>
                <a:gd name="connsiteY4" fmla="*/ 224819 h 299961"/>
                <a:gd name="connsiteX5" fmla="*/ 172146 w 457400"/>
                <a:gd name="connsiteY5" fmla="*/ 200939 h 299961"/>
                <a:gd name="connsiteX6" fmla="*/ 159011 w 457400"/>
                <a:gd name="connsiteY6" fmla="*/ 164830 h 299961"/>
                <a:gd name="connsiteX7" fmla="*/ 150048 w 457400"/>
                <a:gd name="connsiteY7" fmla="*/ 158410 h 299961"/>
                <a:gd name="connsiteX8" fmla="*/ 121177 w 457400"/>
                <a:gd name="connsiteY8" fmla="*/ 160039 h 299961"/>
                <a:gd name="connsiteX9" fmla="*/ 110957 w 457400"/>
                <a:gd name="connsiteY9" fmla="*/ 152791 h 299961"/>
                <a:gd name="connsiteX10" fmla="*/ 108100 w 457400"/>
                <a:gd name="connsiteY10" fmla="*/ 124292 h 299961"/>
                <a:gd name="connsiteX11" fmla="*/ 72114 w 457400"/>
                <a:gd name="connsiteY11" fmla="*/ 105223 h 299961"/>
                <a:gd name="connsiteX12" fmla="*/ 49616 w 457400"/>
                <a:gd name="connsiteY12" fmla="*/ 126187 h 299961"/>
                <a:gd name="connsiteX13" fmla="*/ 26804 w 457400"/>
                <a:gd name="connsiteY13" fmla="*/ 138522 h 299961"/>
                <a:gd name="connsiteX14" fmla="*/ 31185 w 457400"/>
                <a:gd name="connsiteY14" fmla="*/ 156429 h 299961"/>
                <a:gd name="connsiteX15" fmla="*/ 1057 w 457400"/>
                <a:gd name="connsiteY15" fmla="*/ 156915 h 299961"/>
                <a:gd name="connsiteX16" fmla="*/ 0 w 457400"/>
                <a:gd name="connsiteY16" fmla="*/ 22355 h 299961"/>
                <a:gd name="connsiteX17" fmla="*/ 68752 w 457400"/>
                <a:gd name="connsiteY17" fmla="*/ 0 h 299961"/>
                <a:gd name="connsiteX18" fmla="*/ 73743 w 457400"/>
                <a:gd name="connsiteY18" fmla="*/ 3296 h 299961"/>
                <a:gd name="connsiteX19" fmla="*/ 115138 w 457400"/>
                <a:gd name="connsiteY19" fmla="*/ 30318 h 299961"/>
                <a:gd name="connsiteX20" fmla="*/ 136989 w 457400"/>
                <a:gd name="connsiteY20" fmla="*/ 44453 h 299961"/>
                <a:gd name="connsiteX21" fmla="*/ 162497 w 457400"/>
                <a:gd name="connsiteY21" fmla="*/ 77772 h 299961"/>
                <a:gd name="connsiteX22" fmla="*/ 193815 w 457400"/>
                <a:gd name="connsiteY22" fmla="*/ 72428 h 299961"/>
                <a:gd name="connsiteX23" fmla="*/ 239621 w 457400"/>
                <a:gd name="connsiteY23" fmla="*/ 69552 h 299961"/>
                <a:gd name="connsiteX24" fmla="*/ 271586 w 457400"/>
                <a:gd name="connsiteY24" fmla="*/ 96288 h 299961"/>
                <a:gd name="connsiteX25" fmla="*/ 269596 w 457400"/>
                <a:gd name="connsiteY25" fmla="*/ 132493 h 299961"/>
                <a:gd name="connsiteX26" fmla="*/ 282607 w 457400"/>
                <a:gd name="connsiteY26" fmla="*/ 132740 h 299961"/>
                <a:gd name="connsiteX27" fmla="*/ 288046 w 457400"/>
                <a:gd name="connsiteY27" fmla="*/ 161877 h 299961"/>
                <a:gd name="connsiteX28" fmla="*/ 322002 w 457400"/>
                <a:gd name="connsiteY28" fmla="*/ 163020 h 299961"/>
                <a:gd name="connsiteX29" fmla="*/ 329327 w 457400"/>
                <a:gd name="connsiteY29" fmla="*/ 179699 h 299961"/>
                <a:gd name="connsiteX30" fmla="*/ 339271 w 457400"/>
                <a:gd name="connsiteY30" fmla="*/ 179470 h 299961"/>
                <a:gd name="connsiteX31" fmla="*/ 350958 w 457400"/>
                <a:gd name="connsiteY31" fmla="*/ 154238 h 299961"/>
                <a:gd name="connsiteX32" fmla="*/ 386182 w 457400"/>
                <a:gd name="connsiteY32" fmla="*/ 129388 h 299961"/>
                <a:gd name="connsiteX33" fmla="*/ 401498 w 457400"/>
                <a:gd name="connsiteY33" fmla="*/ 122749 h 299961"/>
                <a:gd name="connsiteX34" fmla="*/ 409433 w 457400"/>
                <a:gd name="connsiteY34" fmla="*/ 126282 h 299961"/>
                <a:gd name="connsiteX35" fmla="*/ 387011 w 457400"/>
                <a:gd name="connsiteY35" fmla="*/ 149419 h 299961"/>
                <a:gd name="connsiteX36" fmla="*/ 406728 w 457400"/>
                <a:gd name="connsiteY36" fmla="*/ 162763 h 299961"/>
                <a:gd name="connsiteX37" fmla="*/ 425749 w 457400"/>
                <a:gd name="connsiteY37" fmla="*/ 153934 h 299961"/>
                <a:gd name="connsiteX38" fmla="*/ 457401 w 457400"/>
                <a:gd name="connsiteY38" fmla="*/ 172545 h 299961"/>
                <a:gd name="connsiteX39" fmla="*/ 423196 w 457400"/>
                <a:gd name="connsiteY39" fmla="*/ 197739 h 299961"/>
                <a:gd name="connsiteX40" fmla="*/ 402879 w 457400"/>
                <a:gd name="connsiteY40" fmla="*/ 194310 h 299961"/>
                <a:gd name="connsiteX41" fmla="*/ 391859 w 457400"/>
                <a:gd name="connsiteY41" fmla="*/ 195215 h 299961"/>
                <a:gd name="connsiteX42" fmla="*/ 388039 w 457400"/>
                <a:gd name="connsiteY42" fmla="*/ 185509 h 299961"/>
                <a:gd name="connsiteX43" fmla="*/ 393602 w 457400"/>
                <a:gd name="connsiteY43" fmla="*/ 169231 h 299961"/>
                <a:gd name="connsiteX44" fmla="*/ 357893 w 457400"/>
                <a:gd name="connsiteY44" fmla="*/ 177403 h 299961"/>
                <a:gd name="connsiteX45" fmla="*/ 349396 w 457400"/>
                <a:gd name="connsiteY45" fmla="*/ 199815 h 299961"/>
                <a:gd name="connsiteX46" fmla="*/ 336709 w 457400"/>
                <a:gd name="connsiteY46" fmla="*/ 218951 h 299961"/>
                <a:gd name="connsiteX47" fmla="*/ 314411 w 457400"/>
                <a:gd name="connsiteY47" fmla="*/ 217332 h 299961"/>
                <a:gd name="connsiteX48" fmla="*/ 307486 w 457400"/>
                <a:gd name="connsiteY48" fmla="*/ 232486 h 299961"/>
                <a:gd name="connsiteX49" fmla="*/ 327079 w 457400"/>
                <a:gd name="connsiteY49" fmla="*/ 240649 h 299961"/>
                <a:gd name="connsiteX50" fmla="*/ 332851 w 457400"/>
                <a:gd name="connsiteY50" fmla="*/ 265967 h 299961"/>
                <a:gd name="connsiteX51" fmla="*/ 317840 w 457400"/>
                <a:gd name="connsiteY51" fmla="*/ 299961 h 299961"/>
                <a:gd name="connsiteX52" fmla="*/ 297695 w 457400"/>
                <a:gd name="connsiteY52" fmla="*/ 292903 h 29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57400" h="299961">
                  <a:moveTo>
                    <a:pt x="282826" y="292684"/>
                  </a:moveTo>
                  <a:lnTo>
                    <a:pt x="283559" y="272120"/>
                  </a:lnTo>
                  <a:lnTo>
                    <a:pt x="248031" y="257642"/>
                  </a:lnTo>
                  <a:lnTo>
                    <a:pt x="220104" y="240963"/>
                  </a:lnTo>
                  <a:lnTo>
                    <a:pt x="202683" y="224819"/>
                  </a:lnTo>
                  <a:lnTo>
                    <a:pt x="172146" y="200939"/>
                  </a:lnTo>
                  <a:lnTo>
                    <a:pt x="159011" y="164830"/>
                  </a:lnTo>
                  <a:lnTo>
                    <a:pt x="150048" y="158410"/>
                  </a:lnTo>
                  <a:lnTo>
                    <a:pt x="121177" y="160039"/>
                  </a:lnTo>
                  <a:lnTo>
                    <a:pt x="110957" y="152791"/>
                  </a:lnTo>
                  <a:lnTo>
                    <a:pt x="108100" y="124292"/>
                  </a:lnTo>
                  <a:lnTo>
                    <a:pt x="72114" y="105223"/>
                  </a:lnTo>
                  <a:lnTo>
                    <a:pt x="49616" y="126187"/>
                  </a:lnTo>
                  <a:lnTo>
                    <a:pt x="26804" y="138522"/>
                  </a:lnTo>
                  <a:lnTo>
                    <a:pt x="31185" y="156429"/>
                  </a:lnTo>
                  <a:lnTo>
                    <a:pt x="1057" y="156915"/>
                  </a:lnTo>
                  <a:lnTo>
                    <a:pt x="0" y="22355"/>
                  </a:lnTo>
                  <a:lnTo>
                    <a:pt x="68752" y="0"/>
                  </a:lnTo>
                  <a:lnTo>
                    <a:pt x="73743" y="3296"/>
                  </a:lnTo>
                  <a:lnTo>
                    <a:pt x="115138" y="30318"/>
                  </a:lnTo>
                  <a:lnTo>
                    <a:pt x="136989" y="44453"/>
                  </a:lnTo>
                  <a:lnTo>
                    <a:pt x="162497" y="77772"/>
                  </a:lnTo>
                  <a:lnTo>
                    <a:pt x="193815" y="72428"/>
                  </a:lnTo>
                  <a:lnTo>
                    <a:pt x="239621" y="69552"/>
                  </a:lnTo>
                  <a:lnTo>
                    <a:pt x="271586" y="96288"/>
                  </a:lnTo>
                  <a:lnTo>
                    <a:pt x="269596" y="132493"/>
                  </a:lnTo>
                  <a:lnTo>
                    <a:pt x="282607" y="132740"/>
                  </a:lnTo>
                  <a:lnTo>
                    <a:pt x="288046" y="161877"/>
                  </a:lnTo>
                  <a:lnTo>
                    <a:pt x="322002" y="163020"/>
                  </a:lnTo>
                  <a:lnTo>
                    <a:pt x="329327" y="179699"/>
                  </a:lnTo>
                  <a:lnTo>
                    <a:pt x="339271" y="179470"/>
                  </a:lnTo>
                  <a:lnTo>
                    <a:pt x="350958" y="154238"/>
                  </a:lnTo>
                  <a:lnTo>
                    <a:pt x="386182" y="129388"/>
                  </a:lnTo>
                  <a:lnTo>
                    <a:pt x="401498" y="122749"/>
                  </a:lnTo>
                  <a:lnTo>
                    <a:pt x="409433" y="126282"/>
                  </a:lnTo>
                  <a:lnTo>
                    <a:pt x="387011" y="149419"/>
                  </a:lnTo>
                  <a:lnTo>
                    <a:pt x="406728" y="162763"/>
                  </a:lnTo>
                  <a:lnTo>
                    <a:pt x="425749" y="153934"/>
                  </a:lnTo>
                  <a:lnTo>
                    <a:pt x="457401" y="172545"/>
                  </a:lnTo>
                  <a:lnTo>
                    <a:pt x="423196" y="197739"/>
                  </a:lnTo>
                  <a:lnTo>
                    <a:pt x="402879" y="194310"/>
                  </a:lnTo>
                  <a:lnTo>
                    <a:pt x="391859" y="195215"/>
                  </a:lnTo>
                  <a:lnTo>
                    <a:pt x="388039" y="185509"/>
                  </a:lnTo>
                  <a:lnTo>
                    <a:pt x="393602" y="169231"/>
                  </a:lnTo>
                  <a:lnTo>
                    <a:pt x="357893" y="177403"/>
                  </a:lnTo>
                  <a:lnTo>
                    <a:pt x="349396" y="199815"/>
                  </a:lnTo>
                  <a:lnTo>
                    <a:pt x="336709" y="218951"/>
                  </a:lnTo>
                  <a:lnTo>
                    <a:pt x="314411" y="217332"/>
                  </a:lnTo>
                  <a:lnTo>
                    <a:pt x="307486" y="232486"/>
                  </a:lnTo>
                  <a:lnTo>
                    <a:pt x="327079" y="240649"/>
                  </a:lnTo>
                  <a:lnTo>
                    <a:pt x="332851" y="265967"/>
                  </a:lnTo>
                  <a:lnTo>
                    <a:pt x="317840" y="299961"/>
                  </a:lnTo>
                  <a:lnTo>
                    <a:pt x="297695" y="2929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01" name="Forme libre : forme 5820">
              <a:extLst>
                <a:ext uri="{FF2B5EF4-FFF2-40B4-BE49-F238E27FC236}">
                  <a16:creationId xmlns:a16="http://schemas.microsoft.com/office/drawing/2014/main" id="{831B9A1E-2E01-2C78-7E87-87E898A9B560}"/>
                </a:ext>
              </a:extLst>
            </p:cNvPr>
            <p:cNvSpPr/>
            <p:nvPr/>
          </p:nvSpPr>
          <p:spPr>
            <a:xfrm>
              <a:off x="3863168" y="4417527"/>
              <a:ext cx="361788" cy="305904"/>
            </a:xfrm>
            <a:custGeom>
              <a:avLst/>
              <a:gdLst>
                <a:gd name="connsiteX0" fmla="*/ 52702 w 361788"/>
                <a:gd name="connsiteY0" fmla="*/ 10478 h 305904"/>
                <a:gd name="connsiteX1" fmla="*/ 51940 w 361788"/>
                <a:gd name="connsiteY1" fmla="*/ 16878 h 305904"/>
                <a:gd name="connsiteX2" fmla="*/ 36261 w 361788"/>
                <a:gd name="connsiteY2" fmla="*/ 20031 h 305904"/>
                <a:gd name="connsiteX3" fmla="*/ 44967 w 361788"/>
                <a:gd name="connsiteY3" fmla="*/ 32318 h 305904"/>
                <a:gd name="connsiteX4" fmla="*/ 44643 w 361788"/>
                <a:gd name="connsiteY4" fmla="*/ 46434 h 305904"/>
                <a:gd name="connsiteX5" fmla="*/ 32861 w 361788"/>
                <a:gd name="connsiteY5" fmla="*/ 62093 h 305904"/>
                <a:gd name="connsiteX6" fmla="*/ 42977 w 361788"/>
                <a:gd name="connsiteY6" fmla="*/ 83439 h 305904"/>
                <a:gd name="connsiteX7" fmla="*/ 54492 w 361788"/>
                <a:gd name="connsiteY7" fmla="*/ 81686 h 305904"/>
                <a:gd name="connsiteX8" fmla="*/ 60484 w 361788"/>
                <a:gd name="connsiteY8" fmla="*/ 62246 h 305904"/>
                <a:gd name="connsiteX9" fmla="*/ 52206 w 361788"/>
                <a:gd name="connsiteY9" fmla="*/ 52759 h 305904"/>
                <a:gd name="connsiteX10" fmla="*/ 50854 w 361788"/>
                <a:gd name="connsiteY10" fmla="*/ 32328 h 305904"/>
                <a:gd name="connsiteX11" fmla="*/ 84115 w 361788"/>
                <a:gd name="connsiteY11" fmla="*/ 21326 h 305904"/>
                <a:gd name="connsiteX12" fmla="*/ 80410 w 361788"/>
                <a:gd name="connsiteY12" fmla="*/ 8563 h 305904"/>
                <a:gd name="connsiteX13" fmla="*/ 89783 w 361788"/>
                <a:gd name="connsiteY13" fmla="*/ 0 h 305904"/>
                <a:gd name="connsiteX14" fmla="*/ 99365 w 361788"/>
                <a:gd name="connsiteY14" fmla="*/ 19050 h 305904"/>
                <a:gd name="connsiteX15" fmla="*/ 118091 w 361788"/>
                <a:gd name="connsiteY15" fmla="*/ 19488 h 305904"/>
                <a:gd name="connsiteX16" fmla="*/ 135446 w 361788"/>
                <a:gd name="connsiteY16" fmla="*/ 34576 h 305904"/>
                <a:gd name="connsiteX17" fmla="*/ 136493 w 361788"/>
                <a:gd name="connsiteY17" fmla="*/ 43520 h 305904"/>
                <a:gd name="connsiteX18" fmla="*/ 160468 w 361788"/>
                <a:gd name="connsiteY18" fmla="*/ 43758 h 305904"/>
                <a:gd name="connsiteX19" fmla="*/ 189004 w 361788"/>
                <a:gd name="connsiteY19" fmla="*/ 40977 h 305904"/>
                <a:gd name="connsiteX20" fmla="*/ 204301 w 361788"/>
                <a:gd name="connsiteY20" fmla="*/ 53064 h 305904"/>
                <a:gd name="connsiteX21" fmla="*/ 224723 w 361788"/>
                <a:gd name="connsiteY21" fmla="*/ 56388 h 305904"/>
                <a:gd name="connsiteX22" fmla="*/ 239706 w 361788"/>
                <a:gd name="connsiteY22" fmla="*/ 47968 h 305904"/>
                <a:gd name="connsiteX23" fmla="*/ 240011 w 361788"/>
                <a:gd name="connsiteY23" fmla="*/ 41177 h 305904"/>
                <a:gd name="connsiteX24" fmla="*/ 273091 w 361788"/>
                <a:gd name="connsiteY24" fmla="*/ 39548 h 305904"/>
                <a:gd name="connsiteX25" fmla="*/ 305095 w 361788"/>
                <a:gd name="connsiteY25" fmla="*/ 39167 h 305904"/>
                <a:gd name="connsiteX26" fmla="*/ 282416 w 361788"/>
                <a:gd name="connsiteY26" fmla="*/ 47139 h 305904"/>
                <a:gd name="connsiteX27" fmla="*/ 291541 w 361788"/>
                <a:gd name="connsiteY27" fmla="*/ 59874 h 305904"/>
                <a:gd name="connsiteX28" fmla="*/ 312896 w 361788"/>
                <a:gd name="connsiteY28" fmla="*/ 61893 h 305904"/>
                <a:gd name="connsiteX29" fmla="*/ 333146 w 361788"/>
                <a:gd name="connsiteY29" fmla="*/ 75124 h 305904"/>
                <a:gd name="connsiteX30" fmla="*/ 337404 w 361788"/>
                <a:gd name="connsiteY30" fmla="*/ 96641 h 305904"/>
                <a:gd name="connsiteX31" fmla="*/ 351320 w 361788"/>
                <a:gd name="connsiteY31" fmla="*/ 96041 h 305904"/>
                <a:gd name="connsiteX32" fmla="*/ 361788 w 361788"/>
                <a:gd name="connsiteY32" fmla="*/ 102365 h 305904"/>
                <a:gd name="connsiteX33" fmla="*/ 340623 w 361788"/>
                <a:gd name="connsiteY33" fmla="*/ 118100 h 305904"/>
                <a:gd name="connsiteX34" fmla="*/ 338290 w 361788"/>
                <a:gd name="connsiteY34" fmla="*/ 127863 h 305904"/>
                <a:gd name="connsiteX35" fmla="*/ 347434 w 361788"/>
                <a:gd name="connsiteY35" fmla="*/ 137789 h 305904"/>
                <a:gd name="connsiteX36" fmla="*/ 340805 w 361788"/>
                <a:gd name="connsiteY36" fmla="*/ 142799 h 305904"/>
                <a:gd name="connsiteX37" fmla="*/ 324364 w 361788"/>
                <a:gd name="connsiteY37" fmla="*/ 147085 h 305904"/>
                <a:gd name="connsiteX38" fmla="*/ 324898 w 361788"/>
                <a:gd name="connsiteY38" fmla="*/ 159410 h 305904"/>
                <a:gd name="connsiteX39" fmla="*/ 317659 w 361788"/>
                <a:gd name="connsiteY39" fmla="*/ 166754 h 305904"/>
                <a:gd name="connsiteX40" fmla="*/ 335737 w 361788"/>
                <a:gd name="connsiteY40" fmla="*/ 186985 h 305904"/>
                <a:gd name="connsiteX41" fmla="*/ 339271 w 361788"/>
                <a:gd name="connsiteY41" fmla="*/ 194500 h 305904"/>
                <a:gd name="connsiteX42" fmla="*/ 329508 w 361788"/>
                <a:gd name="connsiteY42" fmla="*/ 204654 h 305904"/>
                <a:gd name="connsiteX43" fmla="*/ 299637 w 361788"/>
                <a:gd name="connsiteY43" fmla="*/ 214617 h 305904"/>
                <a:gd name="connsiteX44" fmla="*/ 280425 w 361788"/>
                <a:gd name="connsiteY44" fmla="*/ 218742 h 305904"/>
                <a:gd name="connsiteX45" fmla="*/ 272720 w 361788"/>
                <a:gd name="connsiteY45" fmla="*/ 225028 h 305904"/>
                <a:gd name="connsiteX46" fmla="*/ 251488 w 361788"/>
                <a:gd name="connsiteY46" fmla="*/ 218380 h 305904"/>
                <a:gd name="connsiteX47" fmla="*/ 231715 w 361788"/>
                <a:gd name="connsiteY47" fmla="*/ 214979 h 305904"/>
                <a:gd name="connsiteX48" fmla="*/ 226704 w 361788"/>
                <a:gd name="connsiteY48" fmla="*/ 217427 h 305904"/>
                <a:gd name="connsiteX49" fmla="*/ 238658 w 361788"/>
                <a:gd name="connsiteY49" fmla="*/ 224323 h 305904"/>
                <a:gd name="connsiteX50" fmla="*/ 237582 w 361788"/>
                <a:gd name="connsiteY50" fmla="*/ 242135 h 305904"/>
                <a:gd name="connsiteX51" fmla="*/ 241287 w 361788"/>
                <a:gd name="connsiteY51" fmla="*/ 258870 h 305904"/>
                <a:gd name="connsiteX52" fmla="*/ 263918 w 361788"/>
                <a:gd name="connsiteY52" fmla="*/ 261147 h 305904"/>
                <a:gd name="connsiteX53" fmla="*/ 265357 w 361788"/>
                <a:gd name="connsiteY53" fmla="*/ 266729 h 305904"/>
                <a:gd name="connsiteX54" fmla="*/ 246278 w 361788"/>
                <a:gd name="connsiteY54" fmla="*/ 274282 h 305904"/>
                <a:gd name="connsiteX55" fmla="*/ 243183 w 361788"/>
                <a:gd name="connsiteY55" fmla="*/ 285521 h 305904"/>
                <a:gd name="connsiteX56" fmla="*/ 232181 w 361788"/>
                <a:gd name="connsiteY56" fmla="*/ 289874 h 305904"/>
                <a:gd name="connsiteX57" fmla="*/ 212322 w 361788"/>
                <a:gd name="connsiteY57" fmla="*/ 296066 h 305904"/>
                <a:gd name="connsiteX58" fmla="*/ 207150 w 361788"/>
                <a:gd name="connsiteY58" fmla="*/ 304190 h 305904"/>
                <a:gd name="connsiteX59" fmla="*/ 186385 w 361788"/>
                <a:gd name="connsiteY59" fmla="*/ 305905 h 305904"/>
                <a:gd name="connsiteX60" fmla="*/ 171688 w 361788"/>
                <a:gd name="connsiteY60" fmla="*/ 291875 h 305904"/>
                <a:gd name="connsiteX61" fmla="*/ 163544 w 361788"/>
                <a:gd name="connsiteY61" fmla="*/ 265404 h 305904"/>
                <a:gd name="connsiteX62" fmla="*/ 156438 w 361788"/>
                <a:gd name="connsiteY62" fmla="*/ 256127 h 305904"/>
                <a:gd name="connsiteX63" fmla="*/ 146752 w 361788"/>
                <a:gd name="connsiteY63" fmla="*/ 250269 h 305904"/>
                <a:gd name="connsiteX64" fmla="*/ 160287 w 361788"/>
                <a:gd name="connsiteY64" fmla="*/ 237049 h 305904"/>
                <a:gd name="connsiteX65" fmla="*/ 159363 w 361788"/>
                <a:gd name="connsiteY65" fmla="*/ 231095 h 305904"/>
                <a:gd name="connsiteX66" fmla="*/ 151771 w 361788"/>
                <a:gd name="connsiteY66" fmla="*/ 223199 h 305904"/>
                <a:gd name="connsiteX67" fmla="*/ 146399 w 361788"/>
                <a:gd name="connsiteY67" fmla="*/ 205521 h 305904"/>
                <a:gd name="connsiteX68" fmla="*/ 148495 w 361788"/>
                <a:gd name="connsiteY68" fmla="*/ 186423 h 305904"/>
                <a:gd name="connsiteX69" fmla="*/ 154457 w 361788"/>
                <a:gd name="connsiteY69" fmla="*/ 177479 h 305904"/>
                <a:gd name="connsiteX70" fmla="*/ 159267 w 361788"/>
                <a:gd name="connsiteY70" fmla="*/ 163116 h 305904"/>
                <a:gd name="connsiteX71" fmla="*/ 149819 w 361788"/>
                <a:gd name="connsiteY71" fmla="*/ 158534 h 305904"/>
                <a:gd name="connsiteX72" fmla="*/ 134598 w 361788"/>
                <a:gd name="connsiteY72" fmla="*/ 161572 h 305904"/>
                <a:gd name="connsiteX73" fmla="*/ 115357 w 361788"/>
                <a:gd name="connsiteY73" fmla="*/ 160144 h 305904"/>
                <a:gd name="connsiteX74" fmla="*/ 104565 w 361788"/>
                <a:gd name="connsiteY74" fmla="*/ 163001 h 305904"/>
                <a:gd name="connsiteX75" fmla="*/ 85772 w 361788"/>
                <a:gd name="connsiteY75" fmla="*/ 140017 h 305904"/>
                <a:gd name="connsiteX76" fmla="*/ 70256 w 361788"/>
                <a:gd name="connsiteY76" fmla="*/ 136617 h 305904"/>
                <a:gd name="connsiteX77" fmla="*/ 35909 w 361788"/>
                <a:gd name="connsiteY77" fmla="*/ 139189 h 305904"/>
                <a:gd name="connsiteX78" fmla="*/ 29546 w 361788"/>
                <a:gd name="connsiteY78" fmla="*/ 129864 h 305904"/>
                <a:gd name="connsiteX79" fmla="*/ 22974 w 361788"/>
                <a:gd name="connsiteY79" fmla="*/ 127625 h 305904"/>
                <a:gd name="connsiteX80" fmla="*/ 22041 w 361788"/>
                <a:gd name="connsiteY80" fmla="*/ 122044 h 305904"/>
                <a:gd name="connsiteX81" fmla="*/ 25213 w 361788"/>
                <a:gd name="connsiteY81" fmla="*/ 112128 h 305904"/>
                <a:gd name="connsiteX82" fmla="*/ 23098 w 361788"/>
                <a:gd name="connsiteY82" fmla="*/ 101337 h 305904"/>
                <a:gd name="connsiteX83" fmla="*/ 17202 w 361788"/>
                <a:gd name="connsiteY83" fmla="*/ 95440 h 305904"/>
                <a:gd name="connsiteX84" fmla="*/ 13783 w 361788"/>
                <a:gd name="connsiteY84" fmla="*/ 83096 h 305904"/>
                <a:gd name="connsiteX85" fmla="*/ 0 w 361788"/>
                <a:gd name="connsiteY85" fmla="*/ 81296 h 305904"/>
                <a:gd name="connsiteX86" fmla="*/ 7401 w 361788"/>
                <a:gd name="connsiteY86" fmla="*/ 65561 h 305904"/>
                <a:gd name="connsiteX87" fmla="*/ 10668 w 361788"/>
                <a:gd name="connsiteY87" fmla="*/ 46329 h 305904"/>
                <a:gd name="connsiteX88" fmla="*/ 18431 w 361788"/>
                <a:gd name="connsiteY88" fmla="*/ 36300 h 305904"/>
                <a:gd name="connsiteX89" fmla="*/ 28765 w 361788"/>
                <a:gd name="connsiteY89" fmla="*/ 28546 h 305904"/>
                <a:gd name="connsiteX90" fmla="*/ 35547 w 361788"/>
                <a:gd name="connsiteY90" fmla="*/ 15021 h 30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361788" h="305904">
                  <a:moveTo>
                    <a:pt x="52702" y="10478"/>
                  </a:moveTo>
                  <a:lnTo>
                    <a:pt x="51940" y="16878"/>
                  </a:lnTo>
                  <a:lnTo>
                    <a:pt x="36261" y="20031"/>
                  </a:lnTo>
                  <a:lnTo>
                    <a:pt x="44967" y="32318"/>
                  </a:lnTo>
                  <a:lnTo>
                    <a:pt x="44643" y="46434"/>
                  </a:lnTo>
                  <a:lnTo>
                    <a:pt x="32861" y="62093"/>
                  </a:lnTo>
                  <a:lnTo>
                    <a:pt x="42977" y="83439"/>
                  </a:lnTo>
                  <a:lnTo>
                    <a:pt x="54492" y="81686"/>
                  </a:lnTo>
                  <a:lnTo>
                    <a:pt x="60484" y="62246"/>
                  </a:lnTo>
                  <a:lnTo>
                    <a:pt x="52206" y="52759"/>
                  </a:lnTo>
                  <a:lnTo>
                    <a:pt x="50854" y="32328"/>
                  </a:lnTo>
                  <a:lnTo>
                    <a:pt x="84115" y="21326"/>
                  </a:lnTo>
                  <a:lnTo>
                    <a:pt x="80410" y="8563"/>
                  </a:lnTo>
                  <a:lnTo>
                    <a:pt x="89783" y="0"/>
                  </a:lnTo>
                  <a:lnTo>
                    <a:pt x="99365" y="19050"/>
                  </a:lnTo>
                  <a:lnTo>
                    <a:pt x="118091" y="19488"/>
                  </a:lnTo>
                  <a:lnTo>
                    <a:pt x="135446" y="34576"/>
                  </a:lnTo>
                  <a:lnTo>
                    <a:pt x="136493" y="43520"/>
                  </a:lnTo>
                  <a:lnTo>
                    <a:pt x="160468" y="43758"/>
                  </a:lnTo>
                  <a:lnTo>
                    <a:pt x="189004" y="40977"/>
                  </a:lnTo>
                  <a:lnTo>
                    <a:pt x="204301" y="53064"/>
                  </a:lnTo>
                  <a:lnTo>
                    <a:pt x="224723" y="56388"/>
                  </a:lnTo>
                  <a:lnTo>
                    <a:pt x="239706" y="47968"/>
                  </a:lnTo>
                  <a:lnTo>
                    <a:pt x="240011" y="41177"/>
                  </a:lnTo>
                  <a:lnTo>
                    <a:pt x="273091" y="39548"/>
                  </a:lnTo>
                  <a:lnTo>
                    <a:pt x="305095" y="39167"/>
                  </a:lnTo>
                  <a:lnTo>
                    <a:pt x="282416" y="47139"/>
                  </a:lnTo>
                  <a:lnTo>
                    <a:pt x="291541" y="59874"/>
                  </a:lnTo>
                  <a:lnTo>
                    <a:pt x="312896" y="61893"/>
                  </a:lnTo>
                  <a:lnTo>
                    <a:pt x="333146" y="75124"/>
                  </a:lnTo>
                  <a:lnTo>
                    <a:pt x="337404" y="96641"/>
                  </a:lnTo>
                  <a:lnTo>
                    <a:pt x="351320" y="96041"/>
                  </a:lnTo>
                  <a:lnTo>
                    <a:pt x="361788" y="102365"/>
                  </a:lnTo>
                  <a:lnTo>
                    <a:pt x="340623" y="118100"/>
                  </a:lnTo>
                  <a:lnTo>
                    <a:pt x="338290" y="127863"/>
                  </a:lnTo>
                  <a:lnTo>
                    <a:pt x="347434" y="137789"/>
                  </a:lnTo>
                  <a:lnTo>
                    <a:pt x="340805" y="142799"/>
                  </a:lnTo>
                  <a:lnTo>
                    <a:pt x="324364" y="147085"/>
                  </a:lnTo>
                  <a:lnTo>
                    <a:pt x="324898" y="159410"/>
                  </a:lnTo>
                  <a:lnTo>
                    <a:pt x="317659" y="166754"/>
                  </a:lnTo>
                  <a:lnTo>
                    <a:pt x="335737" y="186985"/>
                  </a:lnTo>
                  <a:lnTo>
                    <a:pt x="339271" y="194500"/>
                  </a:lnTo>
                  <a:lnTo>
                    <a:pt x="329508" y="204654"/>
                  </a:lnTo>
                  <a:lnTo>
                    <a:pt x="299637" y="214617"/>
                  </a:lnTo>
                  <a:lnTo>
                    <a:pt x="280425" y="218742"/>
                  </a:lnTo>
                  <a:lnTo>
                    <a:pt x="272720" y="225028"/>
                  </a:lnTo>
                  <a:lnTo>
                    <a:pt x="251488" y="218380"/>
                  </a:lnTo>
                  <a:lnTo>
                    <a:pt x="231715" y="214979"/>
                  </a:lnTo>
                  <a:lnTo>
                    <a:pt x="226704" y="217427"/>
                  </a:lnTo>
                  <a:lnTo>
                    <a:pt x="238658" y="224323"/>
                  </a:lnTo>
                  <a:lnTo>
                    <a:pt x="237582" y="242135"/>
                  </a:lnTo>
                  <a:lnTo>
                    <a:pt x="241287" y="258870"/>
                  </a:lnTo>
                  <a:lnTo>
                    <a:pt x="263918" y="261147"/>
                  </a:lnTo>
                  <a:lnTo>
                    <a:pt x="265357" y="266729"/>
                  </a:lnTo>
                  <a:lnTo>
                    <a:pt x="246278" y="274282"/>
                  </a:lnTo>
                  <a:lnTo>
                    <a:pt x="243183" y="285521"/>
                  </a:lnTo>
                  <a:lnTo>
                    <a:pt x="232181" y="289874"/>
                  </a:lnTo>
                  <a:lnTo>
                    <a:pt x="212322" y="296066"/>
                  </a:lnTo>
                  <a:lnTo>
                    <a:pt x="207150" y="304190"/>
                  </a:lnTo>
                  <a:lnTo>
                    <a:pt x="186385" y="305905"/>
                  </a:lnTo>
                  <a:lnTo>
                    <a:pt x="171688" y="291875"/>
                  </a:lnTo>
                  <a:lnTo>
                    <a:pt x="163544" y="265404"/>
                  </a:lnTo>
                  <a:lnTo>
                    <a:pt x="156438" y="256127"/>
                  </a:lnTo>
                  <a:lnTo>
                    <a:pt x="146752" y="250269"/>
                  </a:lnTo>
                  <a:lnTo>
                    <a:pt x="160287" y="237049"/>
                  </a:lnTo>
                  <a:lnTo>
                    <a:pt x="159363" y="231095"/>
                  </a:lnTo>
                  <a:lnTo>
                    <a:pt x="151771" y="223199"/>
                  </a:lnTo>
                  <a:lnTo>
                    <a:pt x="146399" y="205521"/>
                  </a:lnTo>
                  <a:lnTo>
                    <a:pt x="148495" y="186423"/>
                  </a:lnTo>
                  <a:lnTo>
                    <a:pt x="154457" y="177479"/>
                  </a:lnTo>
                  <a:lnTo>
                    <a:pt x="159267" y="163116"/>
                  </a:lnTo>
                  <a:lnTo>
                    <a:pt x="149819" y="158534"/>
                  </a:lnTo>
                  <a:lnTo>
                    <a:pt x="134598" y="161572"/>
                  </a:lnTo>
                  <a:lnTo>
                    <a:pt x="115357" y="160144"/>
                  </a:lnTo>
                  <a:lnTo>
                    <a:pt x="104565" y="163001"/>
                  </a:lnTo>
                  <a:lnTo>
                    <a:pt x="85772" y="140017"/>
                  </a:lnTo>
                  <a:lnTo>
                    <a:pt x="70256" y="136617"/>
                  </a:lnTo>
                  <a:lnTo>
                    <a:pt x="35909" y="139189"/>
                  </a:lnTo>
                  <a:lnTo>
                    <a:pt x="29546" y="129864"/>
                  </a:lnTo>
                  <a:lnTo>
                    <a:pt x="22974" y="127625"/>
                  </a:lnTo>
                  <a:lnTo>
                    <a:pt x="22041" y="122044"/>
                  </a:lnTo>
                  <a:lnTo>
                    <a:pt x="25213" y="112128"/>
                  </a:lnTo>
                  <a:lnTo>
                    <a:pt x="23098" y="101337"/>
                  </a:lnTo>
                  <a:lnTo>
                    <a:pt x="17202" y="95440"/>
                  </a:lnTo>
                  <a:lnTo>
                    <a:pt x="13783" y="83096"/>
                  </a:lnTo>
                  <a:lnTo>
                    <a:pt x="0" y="81296"/>
                  </a:lnTo>
                  <a:lnTo>
                    <a:pt x="7401" y="65561"/>
                  </a:lnTo>
                  <a:lnTo>
                    <a:pt x="10668" y="46329"/>
                  </a:lnTo>
                  <a:lnTo>
                    <a:pt x="18431" y="36300"/>
                  </a:lnTo>
                  <a:lnTo>
                    <a:pt x="28765" y="28546"/>
                  </a:lnTo>
                  <a:lnTo>
                    <a:pt x="35547" y="150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02" name="Forme libre : forme 5821">
              <a:extLst>
                <a:ext uri="{FF2B5EF4-FFF2-40B4-BE49-F238E27FC236}">
                  <a16:creationId xmlns:a16="http://schemas.microsoft.com/office/drawing/2014/main" id="{BAEA9336-A987-AF3B-039A-CEDAD5DF24CA}"/>
                </a:ext>
              </a:extLst>
            </p:cNvPr>
            <p:cNvSpPr/>
            <p:nvPr/>
          </p:nvSpPr>
          <p:spPr>
            <a:xfrm>
              <a:off x="8549535" y="4105041"/>
              <a:ext cx="191347" cy="408603"/>
            </a:xfrm>
            <a:custGeom>
              <a:avLst/>
              <a:gdLst>
                <a:gd name="connsiteX0" fmla="*/ 157029 w 191347"/>
                <a:gd name="connsiteY0" fmla="*/ 51711 h 408603"/>
                <a:gd name="connsiteX1" fmla="*/ 121368 w 191347"/>
                <a:gd name="connsiteY1" fmla="*/ 76067 h 408603"/>
                <a:gd name="connsiteX2" fmla="*/ 99117 w 191347"/>
                <a:gd name="connsiteY2" fmla="*/ 102794 h 408603"/>
                <a:gd name="connsiteX3" fmla="*/ 93250 w 191347"/>
                <a:gd name="connsiteY3" fmla="*/ 122329 h 408603"/>
                <a:gd name="connsiteX4" fmla="*/ 113672 w 191347"/>
                <a:gd name="connsiteY4" fmla="*/ 151838 h 408603"/>
                <a:gd name="connsiteX5" fmla="*/ 138646 w 191347"/>
                <a:gd name="connsiteY5" fmla="*/ 188176 h 408603"/>
                <a:gd name="connsiteX6" fmla="*/ 162877 w 191347"/>
                <a:gd name="connsiteY6" fmla="*/ 205264 h 408603"/>
                <a:gd name="connsiteX7" fmla="*/ 179108 w 191347"/>
                <a:gd name="connsiteY7" fmla="*/ 227400 h 408603"/>
                <a:gd name="connsiteX8" fmla="*/ 191348 w 191347"/>
                <a:gd name="connsiteY8" fmla="*/ 278101 h 408603"/>
                <a:gd name="connsiteX9" fmla="*/ 187738 w 191347"/>
                <a:gd name="connsiteY9" fmla="*/ 325926 h 408603"/>
                <a:gd name="connsiteX10" fmla="*/ 165468 w 191347"/>
                <a:gd name="connsiteY10" fmla="*/ 343748 h 408603"/>
                <a:gd name="connsiteX11" fmla="*/ 134884 w 191347"/>
                <a:gd name="connsiteY11" fmla="*/ 361131 h 408603"/>
                <a:gd name="connsiteX12" fmla="*/ 113100 w 191347"/>
                <a:gd name="connsiteY12" fmla="*/ 383591 h 408603"/>
                <a:gd name="connsiteX13" fmla="*/ 79800 w 191347"/>
                <a:gd name="connsiteY13" fmla="*/ 408604 h 408603"/>
                <a:gd name="connsiteX14" fmla="*/ 70095 w 191347"/>
                <a:gd name="connsiteY14" fmla="*/ 391382 h 408603"/>
                <a:gd name="connsiteX15" fmla="*/ 77600 w 191347"/>
                <a:gd name="connsiteY15" fmla="*/ 373161 h 408603"/>
                <a:gd name="connsiteX16" fmla="*/ 57788 w 191347"/>
                <a:gd name="connsiteY16" fmla="*/ 357845 h 408603"/>
                <a:gd name="connsiteX17" fmla="*/ 80906 w 191347"/>
                <a:gd name="connsiteY17" fmla="*/ 346967 h 408603"/>
                <a:gd name="connsiteX18" fmla="*/ 108938 w 191347"/>
                <a:gd name="connsiteY18" fmla="*/ 345005 h 408603"/>
                <a:gd name="connsiteX19" fmla="*/ 97212 w 191347"/>
                <a:gd name="connsiteY19" fmla="*/ 328613 h 408603"/>
                <a:gd name="connsiteX20" fmla="*/ 142104 w 191347"/>
                <a:gd name="connsiteY20" fmla="*/ 307743 h 408603"/>
                <a:gd name="connsiteX21" fmla="*/ 145389 w 191347"/>
                <a:gd name="connsiteY21" fmla="*/ 275111 h 408603"/>
                <a:gd name="connsiteX22" fmla="*/ 139198 w 191347"/>
                <a:gd name="connsiteY22" fmla="*/ 256880 h 408603"/>
                <a:gd name="connsiteX23" fmla="*/ 144056 w 191347"/>
                <a:gd name="connsiteY23" fmla="*/ 229448 h 408603"/>
                <a:gd name="connsiteX24" fmla="*/ 137332 w 191347"/>
                <a:gd name="connsiteY24" fmla="*/ 209988 h 408603"/>
                <a:gd name="connsiteX25" fmla="*/ 117129 w 191347"/>
                <a:gd name="connsiteY25" fmla="*/ 190757 h 408603"/>
                <a:gd name="connsiteX26" fmla="*/ 100289 w 191347"/>
                <a:gd name="connsiteY26" fmla="*/ 166297 h 408603"/>
                <a:gd name="connsiteX27" fmla="*/ 78095 w 191347"/>
                <a:gd name="connsiteY27" fmla="*/ 133293 h 408603"/>
                <a:gd name="connsiteX28" fmla="*/ 46091 w 191347"/>
                <a:gd name="connsiteY28" fmla="*/ 116510 h 408603"/>
                <a:gd name="connsiteX29" fmla="*/ 53759 w 191347"/>
                <a:gd name="connsiteY29" fmla="*/ 106385 h 408603"/>
                <a:gd name="connsiteX30" fmla="*/ 70828 w 191347"/>
                <a:gd name="connsiteY30" fmla="*/ 98993 h 408603"/>
                <a:gd name="connsiteX31" fmla="*/ 60474 w 191347"/>
                <a:gd name="connsiteY31" fmla="*/ 74304 h 408603"/>
                <a:gd name="connsiteX32" fmla="*/ 27594 w 191347"/>
                <a:gd name="connsiteY32" fmla="*/ 74085 h 408603"/>
                <a:gd name="connsiteX33" fmla="*/ 15602 w 191347"/>
                <a:gd name="connsiteY33" fmla="*/ 48206 h 408603"/>
                <a:gd name="connsiteX34" fmla="*/ 0 w 191347"/>
                <a:gd name="connsiteY34" fmla="*/ 25575 h 408603"/>
                <a:gd name="connsiteX35" fmla="*/ 14335 w 191347"/>
                <a:gd name="connsiteY35" fmla="*/ 18564 h 408603"/>
                <a:gd name="connsiteX36" fmla="*/ 35633 w 191347"/>
                <a:gd name="connsiteY36" fmla="*/ 18707 h 408603"/>
                <a:gd name="connsiteX37" fmla="*/ 61589 w 191347"/>
                <a:gd name="connsiteY37" fmla="*/ 15383 h 408603"/>
                <a:gd name="connsiteX38" fmla="*/ 84354 w 191347"/>
                <a:gd name="connsiteY38" fmla="*/ 0 h 408603"/>
                <a:gd name="connsiteX39" fmla="*/ 97231 w 191347"/>
                <a:gd name="connsiteY39" fmla="*/ 10839 h 408603"/>
                <a:gd name="connsiteX40" fmla="*/ 121644 w 191347"/>
                <a:gd name="connsiteY40" fmla="*/ 16097 h 408603"/>
                <a:gd name="connsiteX41" fmla="*/ 117424 w 191347"/>
                <a:gd name="connsiteY41" fmla="*/ 32661 h 408603"/>
                <a:gd name="connsiteX42" fmla="*/ 130140 w 191347"/>
                <a:gd name="connsiteY42" fmla="*/ 44301 h 40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91347" h="408603">
                  <a:moveTo>
                    <a:pt x="157029" y="51711"/>
                  </a:moveTo>
                  <a:lnTo>
                    <a:pt x="121368" y="76067"/>
                  </a:lnTo>
                  <a:lnTo>
                    <a:pt x="99117" y="102794"/>
                  </a:lnTo>
                  <a:lnTo>
                    <a:pt x="93250" y="122329"/>
                  </a:lnTo>
                  <a:lnTo>
                    <a:pt x="113672" y="151838"/>
                  </a:lnTo>
                  <a:lnTo>
                    <a:pt x="138646" y="188176"/>
                  </a:lnTo>
                  <a:lnTo>
                    <a:pt x="162877" y="205264"/>
                  </a:lnTo>
                  <a:lnTo>
                    <a:pt x="179108" y="227400"/>
                  </a:lnTo>
                  <a:lnTo>
                    <a:pt x="191348" y="278101"/>
                  </a:lnTo>
                  <a:lnTo>
                    <a:pt x="187738" y="325926"/>
                  </a:lnTo>
                  <a:lnTo>
                    <a:pt x="165468" y="343748"/>
                  </a:lnTo>
                  <a:lnTo>
                    <a:pt x="134884" y="361131"/>
                  </a:lnTo>
                  <a:lnTo>
                    <a:pt x="113100" y="383591"/>
                  </a:lnTo>
                  <a:lnTo>
                    <a:pt x="79800" y="408604"/>
                  </a:lnTo>
                  <a:lnTo>
                    <a:pt x="70095" y="391382"/>
                  </a:lnTo>
                  <a:lnTo>
                    <a:pt x="77600" y="373161"/>
                  </a:lnTo>
                  <a:lnTo>
                    <a:pt x="57788" y="357845"/>
                  </a:lnTo>
                  <a:lnTo>
                    <a:pt x="80906" y="346967"/>
                  </a:lnTo>
                  <a:lnTo>
                    <a:pt x="108938" y="345005"/>
                  </a:lnTo>
                  <a:lnTo>
                    <a:pt x="97212" y="328613"/>
                  </a:lnTo>
                  <a:lnTo>
                    <a:pt x="142104" y="307743"/>
                  </a:lnTo>
                  <a:lnTo>
                    <a:pt x="145389" y="275111"/>
                  </a:lnTo>
                  <a:lnTo>
                    <a:pt x="139198" y="256880"/>
                  </a:lnTo>
                  <a:lnTo>
                    <a:pt x="144056" y="229448"/>
                  </a:lnTo>
                  <a:lnTo>
                    <a:pt x="137332" y="209988"/>
                  </a:lnTo>
                  <a:lnTo>
                    <a:pt x="117129" y="190757"/>
                  </a:lnTo>
                  <a:lnTo>
                    <a:pt x="100289" y="166297"/>
                  </a:lnTo>
                  <a:lnTo>
                    <a:pt x="78095" y="133293"/>
                  </a:lnTo>
                  <a:lnTo>
                    <a:pt x="46091" y="116510"/>
                  </a:lnTo>
                  <a:lnTo>
                    <a:pt x="53759" y="106385"/>
                  </a:lnTo>
                  <a:lnTo>
                    <a:pt x="70828" y="98993"/>
                  </a:lnTo>
                  <a:lnTo>
                    <a:pt x="60474" y="74304"/>
                  </a:lnTo>
                  <a:lnTo>
                    <a:pt x="27594" y="74085"/>
                  </a:lnTo>
                  <a:lnTo>
                    <a:pt x="15602" y="48206"/>
                  </a:lnTo>
                  <a:lnTo>
                    <a:pt x="0" y="25575"/>
                  </a:lnTo>
                  <a:lnTo>
                    <a:pt x="14335" y="18564"/>
                  </a:lnTo>
                  <a:lnTo>
                    <a:pt x="35633" y="18707"/>
                  </a:lnTo>
                  <a:lnTo>
                    <a:pt x="61589" y="15383"/>
                  </a:lnTo>
                  <a:lnTo>
                    <a:pt x="84354" y="0"/>
                  </a:lnTo>
                  <a:lnTo>
                    <a:pt x="97231" y="10839"/>
                  </a:lnTo>
                  <a:lnTo>
                    <a:pt x="121644" y="16097"/>
                  </a:lnTo>
                  <a:lnTo>
                    <a:pt x="117424" y="32661"/>
                  </a:lnTo>
                  <a:lnTo>
                    <a:pt x="130140" y="443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03" name="Forme libre : forme 5822">
              <a:extLst>
                <a:ext uri="{FF2B5EF4-FFF2-40B4-BE49-F238E27FC236}">
                  <a16:creationId xmlns:a16="http://schemas.microsoft.com/office/drawing/2014/main" id="{138D6C6D-7CC4-FF1D-1C9D-852F6CB1E492}"/>
                </a:ext>
              </a:extLst>
            </p:cNvPr>
            <p:cNvSpPr/>
            <p:nvPr/>
          </p:nvSpPr>
          <p:spPr>
            <a:xfrm>
              <a:off x="10271007" y="5135007"/>
              <a:ext cx="32470" cy="54321"/>
            </a:xfrm>
            <a:custGeom>
              <a:avLst/>
              <a:gdLst>
                <a:gd name="connsiteX0" fmla="*/ 32471 w 32470"/>
                <a:gd name="connsiteY0" fmla="*/ 50683 h 54321"/>
                <a:gd name="connsiteX1" fmla="*/ 23660 w 32470"/>
                <a:gd name="connsiteY1" fmla="*/ 54321 h 54321"/>
                <a:gd name="connsiteX2" fmla="*/ 14716 w 32470"/>
                <a:gd name="connsiteY2" fmla="*/ 42205 h 54321"/>
                <a:gd name="connsiteX3" fmla="*/ 15707 w 32470"/>
                <a:gd name="connsiteY3" fmla="*/ 34804 h 54321"/>
                <a:gd name="connsiteX4" fmla="*/ 32471 w 32470"/>
                <a:gd name="connsiteY4" fmla="*/ 50683 h 54321"/>
                <a:gd name="connsiteX5" fmla="*/ 12792 w 32470"/>
                <a:gd name="connsiteY5" fmla="*/ 8439 h 54321"/>
                <a:gd name="connsiteX6" fmla="*/ 17126 w 32470"/>
                <a:gd name="connsiteY6" fmla="*/ 30623 h 54321"/>
                <a:gd name="connsiteX7" fmla="*/ 9944 w 32470"/>
                <a:gd name="connsiteY7" fmla="*/ 27165 h 54321"/>
                <a:gd name="connsiteX8" fmla="*/ 4382 w 32470"/>
                <a:gd name="connsiteY8" fmla="*/ 28661 h 54321"/>
                <a:gd name="connsiteX9" fmla="*/ 562 w 32470"/>
                <a:gd name="connsiteY9" fmla="*/ 21050 h 54321"/>
                <a:gd name="connsiteX10" fmla="*/ 0 w 32470"/>
                <a:gd name="connsiteY10" fmla="*/ 0 h 54321"/>
                <a:gd name="connsiteX11" fmla="*/ 12792 w 32470"/>
                <a:gd name="connsiteY11" fmla="*/ 8439 h 54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470" h="54321">
                  <a:moveTo>
                    <a:pt x="32471" y="50683"/>
                  </a:moveTo>
                  <a:lnTo>
                    <a:pt x="23660" y="54321"/>
                  </a:lnTo>
                  <a:lnTo>
                    <a:pt x="14716" y="42205"/>
                  </a:lnTo>
                  <a:lnTo>
                    <a:pt x="15707" y="34804"/>
                  </a:lnTo>
                  <a:lnTo>
                    <a:pt x="32471" y="50683"/>
                  </a:lnTo>
                  <a:close/>
                  <a:moveTo>
                    <a:pt x="12792" y="8439"/>
                  </a:moveTo>
                  <a:lnTo>
                    <a:pt x="17126" y="30623"/>
                  </a:lnTo>
                  <a:lnTo>
                    <a:pt x="9944" y="27165"/>
                  </a:lnTo>
                  <a:lnTo>
                    <a:pt x="4382" y="28661"/>
                  </a:lnTo>
                  <a:lnTo>
                    <a:pt x="562" y="21050"/>
                  </a:lnTo>
                  <a:lnTo>
                    <a:pt x="0" y="0"/>
                  </a:lnTo>
                  <a:lnTo>
                    <a:pt x="12792" y="84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04" name="Forme libre : forme 5823">
              <a:extLst>
                <a:ext uri="{FF2B5EF4-FFF2-40B4-BE49-F238E27FC236}">
                  <a16:creationId xmlns:a16="http://schemas.microsoft.com/office/drawing/2014/main" id="{D8968CCC-8FB4-44F1-D83D-8BBFB00DCD32}"/>
                </a:ext>
              </a:extLst>
            </p:cNvPr>
            <p:cNvSpPr/>
            <p:nvPr/>
          </p:nvSpPr>
          <p:spPr>
            <a:xfrm>
              <a:off x="6958736" y="4228999"/>
              <a:ext cx="280511" cy="177022"/>
            </a:xfrm>
            <a:custGeom>
              <a:avLst/>
              <a:gdLst>
                <a:gd name="connsiteX0" fmla="*/ 280511 w 280511"/>
                <a:gd name="connsiteY0" fmla="*/ 65503 h 177022"/>
                <a:gd name="connsiteX1" fmla="*/ 261204 w 280511"/>
                <a:gd name="connsiteY1" fmla="*/ 72942 h 177022"/>
                <a:gd name="connsiteX2" fmla="*/ 256032 w 280511"/>
                <a:gd name="connsiteY2" fmla="*/ 85211 h 177022"/>
                <a:gd name="connsiteX3" fmla="*/ 255394 w 280511"/>
                <a:gd name="connsiteY3" fmla="*/ 94612 h 177022"/>
                <a:gd name="connsiteX4" fmla="*/ 228809 w 280511"/>
                <a:gd name="connsiteY4" fmla="*/ 106232 h 177022"/>
                <a:gd name="connsiteX5" fmla="*/ 186137 w 280511"/>
                <a:gd name="connsiteY5" fmla="*/ 119053 h 177022"/>
                <a:gd name="connsiteX6" fmla="*/ 162220 w 280511"/>
                <a:gd name="connsiteY6" fmla="*/ 138379 h 177022"/>
                <a:gd name="connsiteX7" fmla="*/ 150466 w 280511"/>
                <a:gd name="connsiteY7" fmla="*/ 139884 h 177022"/>
                <a:gd name="connsiteX8" fmla="*/ 142456 w 280511"/>
                <a:gd name="connsiteY8" fmla="*/ 138265 h 177022"/>
                <a:gd name="connsiteX9" fmla="*/ 126845 w 280511"/>
                <a:gd name="connsiteY9" fmla="*/ 149609 h 177022"/>
                <a:gd name="connsiteX10" fmla="*/ 109824 w 280511"/>
                <a:gd name="connsiteY10" fmla="*/ 154857 h 177022"/>
                <a:gd name="connsiteX11" fmla="*/ 87402 w 280511"/>
                <a:gd name="connsiteY11" fmla="*/ 156277 h 177022"/>
                <a:gd name="connsiteX12" fmla="*/ 80658 w 280511"/>
                <a:gd name="connsiteY12" fmla="*/ 157829 h 177022"/>
                <a:gd name="connsiteX13" fmla="*/ 74819 w 280511"/>
                <a:gd name="connsiteY13" fmla="*/ 165020 h 177022"/>
                <a:gd name="connsiteX14" fmla="*/ 67818 w 280511"/>
                <a:gd name="connsiteY14" fmla="*/ 167011 h 177022"/>
                <a:gd name="connsiteX15" fmla="*/ 63684 w 280511"/>
                <a:gd name="connsiteY15" fmla="*/ 173936 h 177022"/>
                <a:gd name="connsiteX16" fmla="*/ 50463 w 280511"/>
                <a:gd name="connsiteY16" fmla="*/ 173336 h 177022"/>
                <a:gd name="connsiteX17" fmla="*/ 41929 w 280511"/>
                <a:gd name="connsiteY17" fmla="*/ 177022 h 177022"/>
                <a:gd name="connsiteX18" fmla="*/ 23450 w 280511"/>
                <a:gd name="connsiteY18" fmla="*/ 175641 h 177022"/>
                <a:gd name="connsiteX19" fmla="*/ 16497 w 280511"/>
                <a:gd name="connsiteY19" fmla="*/ 159734 h 177022"/>
                <a:gd name="connsiteX20" fmla="*/ 17259 w 280511"/>
                <a:gd name="connsiteY20" fmla="*/ 144818 h 177022"/>
                <a:gd name="connsiteX21" fmla="*/ 12897 w 280511"/>
                <a:gd name="connsiteY21" fmla="*/ 136750 h 177022"/>
                <a:gd name="connsiteX22" fmla="*/ 7677 w 280511"/>
                <a:gd name="connsiteY22" fmla="*/ 116481 h 177022"/>
                <a:gd name="connsiteX23" fmla="*/ 0 w 280511"/>
                <a:gd name="connsiteY23" fmla="*/ 105185 h 177022"/>
                <a:gd name="connsiteX24" fmla="*/ 5343 w 280511"/>
                <a:gd name="connsiteY24" fmla="*/ 103851 h 177022"/>
                <a:gd name="connsiteX25" fmla="*/ 2600 w 280511"/>
                <a:gd name="connsiteY25" fmla="*/ 91269 h 177022"/>
                <a:gd name="connsiteX26" fmla="*/ 5839 w 280511"/>
                <a:gd name="connsiteY26" fmla="*/ 85944 h 177022"/>
                <a:gd name="connsiteX27" fmla="*/ 4658 w 280511"/>
                <a:gd name="connsiteY27" fmla="*/ 73895 h 177022"/>
                <a:gd name="connsiteX28" fmla="*/ 16383 w 280511"/>
                <a:gd name="connsiteY28" fmla="*/ 65065 h 177022"/>
                <a:gd name="connsiteX29" fmla="*/ 13649 w 280511"/>
                <a:gd name="connsiteY29" fmla="*/ 53369 h 177022"/>
                <a:gd name="connsiteX30" fmla="*/ 20717 w 280511"/>
                <a:gd name="connsiteY30" fmla="*/ 39700 h 177022"/>
                <a:gd name="connsiteX31" fmla="*/ 31690 w 280511"/>
                <a:gd name="connsiteY31" fmla="*/ 46939 h 177022"/>
                <a:gd name="connsiteX32" fmla="*/ 38928 w 280511"/>
                <a:gd name="connsiteY32" fmla="*/ 44425 h 177022"/>
                <a:gd name="connsiteX33" fmla="*/ 69752 w 280511"/>
                <a:gd name="connsiteY33" fmla="*/ 43786 h 177022"/>
                <a:gd name="connsiteX34" fmla="*/ 74647 w 280511"/>
                <a:gd name="connsiteY34" fmla="*/ 46568 h 177022"/>
                <a:gd name="connsiteX35" fmla="*/ 100460 w 280511"/>
                <a:gd name="connsiteY35" fmla="*/ 49349 h 177022"/>
                <a:gd name="connsiteX36" fmla="*/ 110700 w 280511"/>
                <a:gd name="connsiteY36" fmla="*/ 47958 h 177022"/>
                <a:gd name="connsiteX37" fmla="*/ 117377 w 280511"/>
                <a:gd name="connsiteY37" fmla="*/ 57217 h 177022"/>
                <a:gd name="connsiteX38" fmla="*/ 129845 w 280511"/>
                <a:gd name="connsiteY38" fmla="*/ 52587 h 177022"/>
                <a:gd name="connsiteX39" fmla="*/ 148980 w 280511"/>
                <a:gd name="connsiteY39" fmla="*/ 23336 h 177022"/>
                <a:gd name="connsiteX40" fmla="*/ 173907 w 280511"/>
                <a:gd name="connsiteY40" fmla="*/ 10754 h 177022"/>
                <a:gd name="connsiteX41" fmla="*/ 250917 w 280511"/>
                <a:gd name="connsiteY41" fmla="*/ 0 h 177022"/>
                <a:gd name="connsiteX42" fmla="*/ 271796 w 280511"/>
                <a:gd name="connsiteY42" fmla="*/ 46111 h 177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80511" h="177022">
                  <a:moveTo>
                    <a:pt x="280511" y="65503"/>
                  </a:moveTo>
                  <a:lnTo>
                    <a:pt x="261204" y="72942"/>
                  </a:lnTo>
                  <a:lnTo>
                    <a:pt x="256032" y="85211"/>
                  </a:lnTo>
                  <a:lnTo>
                    <a:pt x="255394" y="94612"/>
                  </a:lnTo>
                  <a:lnTo>
                    <a:pt x="228809" y="106232"/>
                  </a:lnTo>
                  <a:lnTo>
                    <a:pt x="186137" y="119053"/>
                  </a:lnTo>
                  <a:lnTo>
                    <a:pt x="162220" y="138379"/>
                  </a:lnTo>
                  <a:lnTo>
                    <a:pt x="150466" y="139884"/>
                  </a:lnTo>
                  <a:lnTo>
                    <a:pt x="142456" y="138265"/>
                  </a:lnTo>
                  <a:lnTo>
                    <a:pt x="126845" y="149609"/>
                  </a:lnTo>
                  <a:lnTo>
                    <a:pt x="109824" y="154857"/>
                  </a:lnTo>
                  <a:lnTo>
                    <a:pt x="87402" y="156277"/>
                  </a:lnTo>
                  <a:lnTo>
                    <a:pt x="80658" y="157829"/>
                  </a:lnTo>
                  <a:lnTo>
                    <a:pt x="74819" y="165020"/>
                  </a:lnTo>
                  <a:lnTo>
                    <a:pt x="67818" y="167011"/>
                  </a:lnTo>
                  <a:lnTo>
                    <a:pt x="63684" y="173936"/>
                  </a:lnTo>
                  <a:lnTo>
                    <a:pt x="50463" y="173336"/>
                  </a:lnTo>
                  <a:lnTo>
                    <a:pt x="41929" y="177022"/>
                  </a:lnTo>
                  <a:lnTo>
                    <a:pt x="23450" y="175641"/>
                  </a:lnTo>
                  <a:lnTo>
                    <a:pt x="16497" y="159734"/>
                  </a:lnTo>
                  <a:lnTo>
                    <a:pt x="17259" y="144818"/>
                  </a:lnTo>
                  <a:lnTo>
                    <a:pt x="12897" y="136750"/>
                  </a:lnTo>
                  <a:lnTo>
                    <a:pt x="7677" y="116481"/>
                  </a:lnTo>
                  <a:lnTo>
                    <a:pt x="0" y="105185"/>
                  </a:lnTo>
                  <a:lnTo>
                    <a:pt x="5343" y="103851"/>
                  </a:lnTo>
                  <a:lnTo>
                    <a:pt x="2600" y="91269"/>
                  </a:lnTo>
                  <a:lnTo>
                    <a:pt x="5839" y="85944"/>
                  </a:lnTo>
                  <a:lnTo>
                    <a:pt x="4658" y="73895"/>
                  </a:lnTo>
                  <a:lnTo>
                    <a:pt x="16383" y="65065"/>
                  </a:lnTo>
                  <a:lnTo>
                    <a:pt x="13649" y="53369"/>
                  </a:lnTo>
                  <a:lnTo>
                    <a:pt x="20717" y="39700"/>
                  </a:lnTo>
                  <a:lnTo>
                    <a:pt x="31690" y="46939"/>
                  </a:lnTo>
                  <a:lnTo>
                    <a:pt x="38928" y="44425"/>
                  </a:lnTo>
                  <a:lnTo>
                    <a:pt x="69752" y="43786"/>
                  </a:lnTo>
                  <a:lnTo>
                    <a:pt x="74647" y="46568"/>
                  </a:lnTo>
                  <a:lnTo>
                    <a:pt x="100460" y="49349"/>
                  </a:lnTo>
                  <a:lnTo>
                    <a:pt x="110700" y="47958"/>
                  </a:lnTo>
                  <a:lnTo>
                    <a:pt x="117377" y="57217"/>
                  </a:lnTo>
                  <a:lnTo>
                    <a:pt x="129845" y="52587"/>
                  </a:lnTo>
                  <a:lnTo>
                    <a:pt x="148980" y="23336"/>
                  </a:lnTo>
                  <a:lnTo>
                    <a:pt x="173907" y="10754"/>
                  </a:lnTo>
                  <a:lnTo>
                    <a:pt x="250917" y="0"/>
                  </a:lnTo>
                  <a:lnTo>
                    <a:pt x="271796" y="461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05" name="Forme libre : forme 5824">
              <a:extLst>
                <a:ext uri="{FF2B5EF4-FFF2-40B4-BE49-F238E27FC236}">
                  <a16:creationId xmlns:a16="http://schemas.microsoft.com/office/drawing/2014/main" id="{01FB48F6-4B50-02A6-2A6C-1AEA5026F253}"/>
                </a:ext>
              </a:extLst>
            </p:cNvPr>
            <p:cNvSpPr/>
            <p:nvPr/>
          </p:nvSpPr>
          <p:spPr>
            <a:xfrm>
              <a:off x="6257410" y="5343948"/>
              <a:ext cx="440226" cy="385914"/>
            </a:xfrm>
            <a:custGeom>
              <a:avLst/>
              <a:gdLst>
                <a:gd name="connsiteX0" fmla="*/ 405308 w 440226"/>
                <a:gd name="connsiteY0" fmla="*/ 211417 h 385914"/>
                <a:gd name="connsiteX1" fmla="*/ 400088 w 440226"/>
                <a:gd name="connsiteY1" fmla="*/ 215818 h 385914"/>
                <a:gd name="connsiteX2" fmla="*/ 388772 w 440226"/>
                <a:gd name="connsiteY2" fmla="*/ 231353 h 385914"/>
                <a:gd name="connsiteX3" fmla="*/ 381324 w 440226"/>
                <a:gd name="connsiteY3" fmla="*/ 247145 h 385914"/>
                <a:gd name="connsiteX4" fmla="*/ 366179 w 440226"/>
                <a:gd name="connsiteY4" fmla="*/ 269310 h 385914"/>
                <a:gd name="connsiteX5" fmla="*/ 335995 w 440226"/>
                <a:gd name="connsiteY5" fmla="*/ 301523 h 385914"/>
                <a:gd name="connsiteX6" fmla="*/ 317145 w 440226"/>
                <a:gd name="connsiteY6" fmla="*/ 320421 h 385914"/>
                <a:gd name="connsiteX7" fmla="*/ 296980 w 440226"/>
                <a:gd name="connsiteY7" fmla="*/ 334842 h 385914"/>
                <a:gd name="connsiteX8" fmla="*/ 269062 w 440226"/>
                <a:gd name="connsiteY8" fmla="*/ 347196 h 385914"/>
                <a:gd name="connsiteX9" fmla="*/ 255451 w 440226"/>
                <a:gd name="connsiteY9" fmla="*/ 348853 h 385914"/>
                <a:gd name="connsiteX10" fmla="*/ 252003 w 440226"/>
                <a:gd name="connsiteY10" fmla="*/ 357740 h 385914"/>
                <a:gd name="connsiteX11" fmla="*/ 235772 w 440226"/>
                <a:gd name="connsiteY11" fmla="*/ 353006 h 385914"/>
                <a:gd name="connsiteX12" fmla="*/ 222552 w 440226"/>
                <a:gd name="connsiteY12" fmla="*/ 359102 h 385914"/>
                <a:gd name="connsiteX13" fmla="*/ 193605 w 440226"/>
                <a:gd name="connsiteY13" fmla="*/ 352930 h 385914"/>
                <a:gd name="connsiteX14" fmla="*/ 177422 w 440226"/>
                <a:gd name="connsiteY14" fmla="*/ 356835 h 385914"/>
                <a:gd name="connsiteX15" fmla="*/ 166364 w 440226"/>
                <a:gd name="connsiteY15" fmla="*/ 355159 h 385914"/>
                <a:gd name="connsiteX16" fmla="*/ 138818 w 440226"/>
                <a:gd name="connsiteY16" fmla="*/ 367827 h 385914"/>
                <a:gd name="connsiteX17" fmla="*/ 116014 w 440226"/>
                <a:gd name="connsiteY17" fmla="*/ 372923 h 385914"/>
                <a:gd name="connsiteX18" fmla="*/ 99517 w 440226"/>
                <a:gd name="connsiteY18" fmla="*/ 385134 h 385914"/>
                <a:gd name="connsiteX19" fmla="*/ 87373 w 440226"/>
                <a:gd name="connsiteY19" fmla="*/ 385915 h 385914"/>
                <a:gd name="connsiteX20" fmla="*/ 76067 w 440226"/>
                <a:gd name="connsiteY20" fmla="*/ 374399 h 385914"/>
                <a:gd name="connsiteX21" fmla="*/ 67046 w 440226"/>
                <a:gd name="connsiteY21" fmla="*/ 373809 h 385914"/>
                <a:gd name="connsiteX22" fmla="*/ 55540 w 440226"/>
                <a:gd name="connsiteY22" fmla="*/ 359454 h 385914"/>
                <a:gd name="connsiteX23" fmla="*/ 54273 w 440226"/>
                <a:gd name="connsiteY23" fmla="*/ 363903 h 385914"/>
                <a:gd name="connsiteX24" fmla="*/ 50721 w 440226"/>
                <a:gd name="connsiteY24" fmla="*/ 355282 h 385914"/>
                <a:gd name="connsiteX25" fmla="*/ 50873 w 440226"/>
                <a:gd name="connsiteY25" fmla="*/ 336575 h 385914"/>
                <a:gd name="connsiteX26" fmla="*/ 42196 w 440226"/>
                <a:gd name="connsiteY26" fmla="*/ 315344 h 385914"/>
                <a:gd name="connsiteX27" fmla="*/ 50816 w 440226"/>
                <a:gd name="connsiteY27" fmla="*/ 309601 h 385914"/>
                <a:gd name="connsiteX28" fmla="*/ 50121 w 440226"/>
                <a:gd name="connsiteY28" fmla="*/ 285531 h 385914"/>
                <a:gd name="connsiteX29" fmla="*/ 32633 w 440226"/>
                <a:gd name="connsiteY29" fmla="*/ 256451 h 385914"/>
                <a:gd name="connsiteX30" fmla="*/ 19212 w 440226"/>
                <a:gd name="connsiteY30" fmla="*/ 230381 h 385914"/>
                <a:gd name="connsiteX31" fmla="*/ 19174 w 440226"/>
                <a:gd name="connsiteY31" fmla="*/ 230295 h 385914"/>
                <a:gd name="connsiteX32" fmla="*/ 0 w 440226"/>
                <a:gd name="connsiteY32" fmla="*/ 190738 h 385914"/>
                <a:gd name="connsiteX33" fmla="*/ 12792 w 440226"/>
                <a:gd name="connsiteY33" fmla="*/ 175813 h 385914"/>
                <a:gd name="connsiteX34" fmla="*/ 23336 w 440226"/>
                <a:gd name="connsiteY34" fmla="*/ 184071 h 385914"/>
                <a:gd name="connsiteX35" fmla="*/ 27842 w 440226"/>
                <a:gd name="connsiteY35" fmla="*/ 197005 h 385914"/>
                <a:gd name="connsiteX36" fmla="*/ 39824 w 440226"/>
                <a:gd name="connsiteY36" fmla="*/ 199215 h 385914"/>
                <a:gd name="connsiteX37" fmla="*/ 56617 w 440226"/>
                <a:gd name="connsiteY37" fmla="*/ 204959 h 385914"/>
                <a:gd name="connsiteX38" fmla="*/ 70961 w 440226"/>
                <a:gd name="connsiteY38" fmla="*/ 202739 h 385914"/>
                <a:gd name="connsiteX39" fmla="*/ 94793 w 440226"/>
                <a:gd name="connsiteY39" fmla="*/ 187252 h 385914"/>
                <a:gd name="connsiteX40" fmla="*/ 94822 w 440226"/>
                <a:gd name="connsiteY40" fmla="*/ 77486 h 385914"/>
                <a:gd name="connsiteX41" fmla="*/ 102032 w 440226"/>
                <a:gd name="connsiteY41" fmla="*/ 81877 h 385914"/>
                <a:gd name="connsiteX42" fmla="*/ 117863 w 440226"/>
                <a:gd name="connsiteY42" fmla="*/ 109814 h 385914"/>
                <a:gd name="connsiteX43" fmla="*/ 115405 w 440226"/>
                <a:gd name="connsiteY43" fmla="*/ 127845 h 385914"/>
                <a:gd name="connsiteX44" fmla="*/ 121358 w 440226"/>
                <a:gd name="connsiteY44" fmla="*/ 138284 h 385914"/>
                <a:gd name="connsiteX45" fmla="*/ 140484 w 440226"/>
                <a:gd name="connsiteY45" fmla="*/ 135245 h 385914"/>
                <a:gd name="connsiteX46" fmla="*/ 153838 w 440226"/>
                <a:gd name="connsiteY46" fmla="*/ 121996 h 385914"/>
                <a:gd name="connsiteX47" fmla="*/ 166488 w 440226"/>
                <a:gd name="connsiteY47" fmla="*/ 113090 h 385914"/>
                <a:gd name="connsiteX48" fmla="*/ 173031 w 440226"/>
                <a:gd name="connsiteY48" fmla="*/ 98974 h 385914"/>
                <a:gd name="connsiteX49" fmla="*/ 186061 w 440226"/>
                <a:gd name="connsiteY49" fmla="*/ 92154 h 385914"/>
                <a:gd name="connsiteX50" fmla="*/ 197320 w 440226"/>
                <a:gd name="connsiteY50" fmla="*/ 95726 h 385914"/>
                <a:gd name="connsiteX51" fmla="*/ 210074 w 440226"/>
                <a:gd name="connsiteY51" fmla="*/ 103965 h 385914"/>
                <a:gd name="connsiteX52" fmla="*/ 231810 w 440226"/>
                <a:gd name="connsiteY52" fmla="*/ 105423 h 385914"/>
                <a:gd name="connsiteX53" fmla="*/ 248888 w 440226"/>
                <a:gd name="connsiteY53" fmla="*/ 98565 h 385914"/>
                <a:gd name="connsiteX54" fmla="*/ 251593 w 440226"/>
                <a:gd name="connsiteY54" fmla="*/ 89402 h 385914"/>
                <a:gd name="connsiteX55" fmla="*/ 256289 w 440226"/>
                <a:gd name="connsiteY55" fmla="*/ 75390 h 385914"/>
                <a:gd name="connsiteX56" fmla="*/ 270824 w 440226"/>
                <a:gd name="connsiteY56" fmla="*/ 73047 h 385914"/>
                <a:gd name="connsiteX57" fmla="*/ 278854 w 440226"/>
                <a:gd name="connsiteY57" fmla="*/ 62093 h 385914"/>
                <a:gd name="connsiteX58" fmla="*/ 287750 w 440226"/>
                <a:gd name="connsiteY58" fmla="*/ 42739 h 385914"/>
                <a:gd name="connsiteX59" fmla="*/ 311725 w 440226"/>
                <a:gd name="connsiteY59" fmla="*/ 21164 h 385914"/>
                <a:gd name="connsiteX60" fmla="*/ 349511 w 440226"/>
                <a:gd name="connsiteY60" fmla="*/ 0 h 385914"/>
                <a:gd name="connsiteX61" fmla="*/ 360379 w 440226"/>
                <a:gd name="connsiteY61" fmla="*/ 315 h 385914"/>
                <a:gd name="connsiteX62" fmla="*/ 373304 w 440226"/>
                <a:gd name="connsiteY62" fmla="*/ 5172 h 385914"/>
                <a:gd name="connsiteX63" fmla="*/ 382305 w 440226"/>
                <a:gd name="connsiteY63" fmla="*/ 1734 h 385914"/>
                <a:gd name="connsiteX64" fmla="*/ 396497 w 440226"/>
                <a:gd name="connsiteY64" fmla="*/ 4600 h 385914"/>
                <a:gd name="connsiteX65" fmla="*/ 409290 w 440226"/>
                <a:gd name="connsiteY65" fmla="*/ 45187 h 385914"/>
                <a:gd name="connsiteX66" fmla="*/ 416233 w 440226"/>
                <a:gd name="connsiteY66" fmla="*/ 65837 h 385914"/>
                <a:gd name="connsiteX67" fmla="*/ 411471 w 440226"/>
                <a:gd name="connsiteY67" fmla="*/ 98489 h 385914"/>
                <a:gd name="connsiteX68" fmla="*/ 413747 w 440226"/>
                <a:gd name="connsiteY68" fmla="*/ 109071 h 385914"/>
                <a:gd name="connsiteX69" fmla="*/ 400269 w 440226"/>
                <a:gd name="connsiteY69" fmla="*/ 103670 h 385914"/>
                <a:gd name="connsiteX70" fmla="*/ 392545 w 440226"/>
                <a:gd name="connsiteY70" fmla="*/ 105775 h 385914"/>
                <a:gd name="connsiteX71" fmla="*/ 390020 w 440226"/>
                <a:gd name="connsiteY71" fmla="*/ 114367 h 385914"/>
                <a:gd name="connsiteX72" fmla="*/ 382724 w 440226"/>
                <a:gd name="connsiteY72" fmla="*/ 125482 h 385914"/>
                <a:gd name="connsiteX73" fmla="*/ 382972 w 440226"/>
                <a:gd name="connsiteY73" fmla="*/ 135750 h 385914"/>
                <a:gd name="connsiteX74" fmla="*/ 398907 w 440226"/>
                <a:gd name="connsiteY74" fmla="*/ 151914 h 385914"/>
                <a:gd name="connsiteX75" fmla="*/ 414538 w 440226"/>
                <a:gd name="connsiteY75" fmla="*/ 148695 h 385914"/>
                <a:gd name="connsiteX76" fmla="*/ 419976 w 440226"/>
                <a:gd name="connsiteY76" fmla="*/ 135455 h 385914"/>
                <a:gd name="connsiteX77" fmla="*/ 440227 w 440226"/>
                <a:gd name="connsiteY77" fmla="*/ 135703 h 385914"/>
                <a:gd name="connsiteX78" fmla="*/ 433550 w 440226"/>
                <a:gd name="connsiteY78" fmla="*/ 157429 h 385914"/>
                <a:gd name="connsiteX79" fmla="*/ 430397 w 440226"/>
                <a:gd name="connsiteY79" fmla="*/ 182404 h 385914"/>
                <a:gd name="connsiteX80" fmla="*/ 423482 w 440226"/>
                <a:gd name="connsiteY80" fmla="*/ 196053 h 385914"/>
                <a:gd name="connsiteX81" fmla="*/ 405308 w 440226"/>
                <a:gd name="connsiteY81" fmla="*/ 211417 h 385914"/>
                <a:gd name="connsiteX82" fmla="*/ 337404 w 440226"/>
                <a:gd name="connsiteY82" fmla="*/ 202244 h 385914"/>
                <a:gd name="connsiteX83" fmla="*/ 325746 w 440226"/>
                <a:gd name="connsiteY83" fmla="*/ 192910 h 385914"/>
                <a:gd name="connsiteX84" fmla="*/ 313258 w 440226"/>
                <a:gd name="connsiteY84" fmla="*/ 199091 h 385914"/>
                <a:gd name="connsiteX85" fmla="*/ 298790 w 440226"/>
                <a:gd name="connsiteY85" fmla="*/ 210979 h 385914"/>
                <a:gd name="connsiteX86" fmla="*/ 284550 w 440226"/>
                <a:gd name="connsiteY86" fmla="*/ 230324 h 385914"/>
                <a:gd name="connsiteX87" fmla="*/ 304581 w 440226"/>
                <a:gd name="connsiteY87" fmla="*/ 253984 h 385914"/>
                <a:gd name="connsiteX88" fmla="*/ 314134 w 440226"/>
                <a:gd name="connsiteY88" fmla="*/ 250917 h 385914"/>
                <a:gd name="connsiteX89" fmla="*/ 319050 w 440226"/>
                <a:gd name="connsiteY89" fmla="*/ 241078 h 385914"/>
                <a:gd name="connsiteX90" fmla="*/ 333937 w 440226"/>
                <a:gd name="connsiteY90" fmla="*/ 236277 h 385914"/>
                <a:gd name="connsiteX91" fmla="*/ 338481 w 440226"/>
                <a:gd name="connsiteY91" fmla="*/ 226276 h 385914"/>
                <a:gd name="connsiteX92" fmla="*/ 346672 w 440226"/>
                <a:gd name="connsiteY92" fmla="*/ 211427 h 385914"/>
                <a:gd name="connsiteX93" fmla="*/ 337404 w 440226"/>
                <a:gd name="connsiteY93" fmla="*/ 202244 h 385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40226" h="385914">
                  <a:moveTo>
                    <a:pt x="405308" y="211417"/>
                  </a:moveTo>
                  <a:lnTo>
                    <a:pt x="400088" y="215818"/>
                  </a:lnTo>
                  <a:lnTo>
                    <a:pt x="388772" y="231353"/>
                  </a:lnTo>
                  <a:lnTo>
                    <a:pt x="381324" y="247145"/>
                  </a:lnTo>
                  <a:lnTo>
                    <a:pt x="366179" y="269310"/>
                  </a:lnTo>
                  <a:lnTo>
                    <a:pt x="335995" y="301523"/>
                  </a:lnTo>
                  <a:lnTo>
                    <a:pt x="317145" y="320421"/>
                  </a:lnTo>
                  <a:lnTo>
                    <a:pt x="296980" y="334842"/>
                  </a:lnTo>
                  <a:lnTo>
                    <a:pt x="269062" y="347196"/>
                  </a:lnTo>
                  <a:lnTo>
                    <a:pt x="255451" y="348853"/>
                  </a:lnTo>
                  <a:lnTo>
                    <a:pt x="252003" y="357740"/>
                  </a:lnTo>
                  <a:lnTo>
                    <a:pt x="235772" y="353006"/>
                  </a:lnTo>
                  <a:lnTo>
                    <a:pt x="222552" y="359102"/>
                  </a:lnTo>
                  <a:lnTo>
                    <a:pt x="193605" y="352930"/>
                  </a:lnTo>
                  <a:lnTo>
                    <a:pt x="177422" y="356835"/>
                  </a:lnTo>
                  <a:lnTo>
                    <a:pt x="166364" y="355159"/>
                  </a:lnTo>
                  <a:lnTo>
                    <a:pt x="138818" y="367827"/>
                  </a:lnTo>
                  <a:lnTo>
                    <a:pt x="116014" y="372923"/>
                  </a:lnTo>
                  <a:lnTo>
                    <a:pt x="99517" y="385134"/>
                  </a:lnTo>
                  <a:lnTo>
                    <a:pt x="87373" y="385915"/>
                  </a:lnTo>
                  <a:lnTo>
                    <a:pt x="76067" y="374399"/>
                  </a:lnTo>
                  <a:lnTo>
                    <a:pt x="67046" y="373809"/>
                  </a:lnTo>
                  <a:lnTo>
                    <a:pt x="55540" y="359454"/>
                  </a:lnTo>
                  <a:lnTo>
                    <a:pt x="54273" y="363903"/>
                  </a:lnTo>
                  <a:lnTo>
                    <a:pt x="50721" y="355282"/>
                  </a:lnTo>
                  <a:lnTo>
                    <a:pt x="50873" y="336575"/>
                  </a:lnTo>
                  <a:lnTo>
                    <a:pt x="42196" y="315344"/>
                  </a:lnTo>
                  <a:lnTo>
                    <a:pt x="50816" y="309601"/>
                  </a:lnTo>
                  <a:lnTo>
                    <a:pt x="50121" y="285531"/>
                  </a:lnTo>
                  <a:lnTo>
                    <a:pt x="32633" y="256451"/>
                  </a:lnTo>
                  <a:lnTo>
                    <a:pt x="19212" y="230381"/>
                  </a:lnTo>
                  <a:lnTo>
                    <a:pt x="19174" y="230295"/>
                  </a:lnTo>
                  <a:lnTo>
                    <a:pt x="0" y="190738"/>
                  </a:lnTo>
                  <a:lnTo>
                    <a:pt x="12792" y="175813"/>
                  </a:lnTo>
                  <a:lnTo>
                    <a:pt x="23336" y="184071"/>
                  </a:lnTo>
                  <a:lnTo>
                    <a:pt x="27842" y="197005"/>
                  </a:lnTo>
                  <a:lnTo>
                    <a:pt x="39824" y="199215"/>
                  </a:lnTo>
                  <a:lnTo>
                    <a:pt x="56617" y="204959"/>
                  </a:lnTo>
                  <a:lnTo>
                    <a:pt x="70961" y="202739"/>
                  </a:lnTo>
                  <a:lnTo>
                    <a:pt x="94793" y="187252"/>
                  </a:lnTo>
                  <a:lnTo>
                    <a:pt x="94822" y="77486"/>
                  </a:lnTo>
                  <a:lnTo>
                    <a:pt x="102032" y="81877"/>
                  </a:lnTo>
                  <a:lnTo>
                    <a:pt x="117863" y="109814"/>
                  </a:lnTo>
                  <a:lnTo>
                    <a:pt x="115405" y="127845"/>
                  </a:lnTo>
                  <a:lnTo>
                    <a:pt x="121358" y="138284"/>
                  </a:lnTo>
                  <a:lnTo>
                    <a:pt x="140484" y="135245"/>
                  </a:lnTo>
                  <a:lnTo>
                    <a:pt x="153838" y="121996"/>
                  </a:lnTo>
                  <a:lnTo>
                    <a:pt x="166488" y="113090"/>
                  </a:lnTo>
                  <a:lnTo>
                    <a:pt x="173031" y="98974"/>
                  </a:lnTo>
                  <a:lnTo>
                    <a:pt x="186061" y="92154"/>
                  </a:lnTo>
                  <a:lnTo>
                    <a:pt x="197320" y="95726"/>
                  </a:lnTo>
                  <a:lnTo>
                    <a:pt x="210074" y="103965"/>
                  </a:lnTo>
                  <a:lnTo>
                    <a:pt x="231810" y="105423"/>
                  </a:lnTo>
                  <a:lnTo>
                    <a:pt x="248888" y="98565"/>
                  </a:lnTo>
                  <a:lnTo>
                    <a:pt x="251593" y="89402"/>
                  </a:lnTo>
                  <a:lnTo>
                    <a:pt x="256289" y="75390"/>
                  </a:lnTo>
                  <a:lnTo>
                    <a:pt x="270824" y="73047"/>
                  </a:lnTo>
                  <a:lnTo>
                    <a:pt x="278854" y="62093"/>
                  </a:lnTo>
                  <a:lnTo>
                    <a:pt x="287750" y="42739"/>
                  </a:lnTo>
                  <a:lnTo>
                    <a:pt x="311725" y="21164"/>
                  </a:lnTo>
                  <a:lnTo>
                    <a:pt x="349511" y="0"/>
                  </a:lnTo>
                  <a:lnTo>
                    <a:pt x="360379" y="315"/>
                  </a:lnTo>
                  <a:lnTo>
                    <a:pt x="373304" y="5172"/>
                  </a:lnTo>
                  <a:lnTo>
                    <a:pt x="382305" y="1734"/>
                  </a:lnTo>
                  <a:lnTo>
                    <a:pt x="396497" y="4600"/>
                  </a:lnTo>
                  <a:lnTo>
                    <a:pt x="409290" y="45187"/>
                  </a:lnTo>
                  <a:lnTo>
                    <a:pt x="416233" y="65837"/>
                  </a:lnTo>
                  <a:lnTo>
                    <a:pt x="411471" y="98489"/>
                  </a:lnTo>
                  <a:lnTo>
                    <a:pt x="413747" y="109071"/>
                  </a:lnTo>
                  <a:lnTo>
                    <a:pt x="400269" y="103670"/>
                  </a:lnTo>
                  <a:lnTo>
                    <a:pt x="392545" y="105775"/>
                  </a:lnTo>
                  <a:lnTo>
                    <a:pt x="390020" y="114367"/>
                  </a:lnTo>
                  <a:lnTo>
                    <a:pt x="382724" y="125482"/>
                  </a:lnTo>
                  <a:lnTo>
                    <a:pt x="382972" y="135750"/>
                  </a:lnTo>
                  <a:lnTo>
                    <a:pt x="398907" y="151914"/>
                  </a:lnTo>
                  <a:lnTo>
                    <a:pt x="414538" y="148695"/>
                  </a:lnTo>
                  <a:lnTo>
                    <a:pt x="419976" y="135455"/>
                  </a:lnTo>
                  <a:lnTo>
                    <a:pt x="440227" y="135703"/>
                  </a:lnTo>
                  <a:lnTo>
                    <a:pt x="433550" y="157429"/>
                  </a:lnTo>
                  <a:lnTo>
                    <a:pt x="430397" y="182404"/>
                  </a:lnTo>
                  <a:lnTo>
                    <a:pt x="423482" y="196053"/>
                  </a:lnTo>
                  <a:lnTo>
                    <a:pt x="405308" y="211417"/>
                  </a:lnTo>
                  <a:close/>
                  <a:moveTo>
                    <a:pt x="337404" y="202244"/>
                  </a:moveTo>
                  <a:lnTo>
                    <a:pt x="325746" y="192910"/>
                  </a:lnTo>
                  <a:lnTo>
                    <a:pt x="313258" y="199091"/>
                  </a:lnTo>
                  <a:lnTo>
                    <a:pt x="298790" y="210979"/>
                  </a:lnTo>
                  <a:lnTo>
                    <a:pt x="284550" y="230324"/>
                  </a:lnTo>
                  <a:lnTo>
                    <a:pt x="304581" y="253984"/>
                  </a:lnTo>
                  <a:lnTo>
                    <a:pt x="314134" y="250917"/>
                  </a:lnTo>
                  <a:lnTo>
                    <a:pt x="319050" y="241078"/>
                  </a:lnTo>
                  <a:lnTo>
                    <a:pt x="333937" y="236277"/>
                  </a:lnTo>
                  <a:lnTo>
                    <a:pt x="338481" y="226276"/>
                  </a:lnTo>
                  <a:lnTo>
                    <a:pt x="346672" y="211427"/>
                  </a:lnTo>
                  <a:lnTo>
                    <a:pt x="337404" y="2022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06" name="Forme libre : forme 5825">
              <a:extLst>
                <a:ext uri="{FF2B5EF4-FFF2-40B4-BE49-F238E27FC236}">
                  <a16:creationId xmlns:a16="http://schemas.microsoft.com/office/drawing/2014/main" id="{2E640805-21DA-EB25-2A73-2CA9A32A6908}"/>
                </a:ext>
              </a:extLst>
            </p:cNvPr>
            <p:cNvSpPr/>
            <p:nvPr/>
          </p:nvSpPr>
          <p:spPr>
            <a:xfrm>
              <a:off x="6405447" y="4961967"/>
              <a:ext cx="309743" cy="265271"/>
            </a:xfrm>
            <a:custGeom>
              <a:avLst/>
              <a:gdLst>
                <a:gd name="connsiteX0" fmla="*/ 290341 w 309743"/>
                <a:gd name="connsiteY0" fmla="*/ 26641 h 265271"/>
                <a:gd name="connsiteX1" fmla="*/ 302952 w 309743"/>
                <a:gd name="connsiteY1" fmla="*/ 38633 h 265271"/>
                <a:gd name="connsiteX2" fmla="*/ 309744 w 309743"/>
                <a:gd name="connsiteY2" fmla="*/ 61513 h 265271"/>
                <a:gd name="connsiteX3" fmla="*/ 305191 w 309743"/>
                <a:gd name="connsiteY3" fmla="*/ 68827 h 265271"/>
                <a:gd name="connsiteX4" fmla="*/ 299828 w 309743"/>
                <a:gd name="connsiteY4" fmla="*/ 90754 h 265271"/>
                <a:gd name="connsiteX5" fmla="*/ 304952 w 309743"/>
                <a:gd name="connsiteY5" fmla="*/ 113243 h 265271"/>
                <a:gd name="connsiteX6" fmla="*/ 296552 w 309743"/>
                <a:gd name="connsiteY6" fmla="*/ 122701 h 265271"/>
                <a:gd name="connsiteX7" fmla="*/ 288446 w 309743"/>
                <a:gd name="connsiteY7" fmla="*/ 148028 h 265271"/>
                <a:gd name="connsiteX8" fmla="*/ 302486 w 309743"/>
                <a:gd name="connsiteY8" fmla="*/ 155115 h 265271"/>
                <a:gd name="connsiteX9" fmla="*/ 221447 w 309743"/>
                <a:gd name="connsiteY9" fmla="*/ 177689 h 265271"/>
                <a:gd name="connsiteX10" fmla="*/ 223981 w 309743"/>
                <a:gd name="connsiteY10" fmla="*/ 197263 h 265271"/>
                <a:gd name="connsiteX11" fmla="*/ 203749 w 309743"/>
                <a:gd name="connsiteY11" fmla="*/ 201035 h 265271"/>
                <a:gd name="connsiteX12" fmla="*/ 188538 w 309743"/>
                <a:gd name="connsiteY12" fmla="*/ 212027 h 265271"/>
                <a:gd name="connsiteX13" fmla="*/ 185290 w 309743"/>
                <a:gd name="connsiteY13" fmla="*/ 221609 h 265271"/>
                <a:gd name="connsiteX14" fmla="*/ 175736 w 309743"/>
                <a:gd name="connsiteY14" fmla="*/ 223780 h 265271"/>
                <a:gd name="connsiteX15" fmla="*/ 152505 w 309743"/>
                <a:gd name="connsiteY15" fmla="*/ 246593 h 265271"/>
                <a:gd name="connsiteX16" fmla="*/ 137722 w 309743"/>
                <a:gd name="connsiteY16" fmla="*/ 264624 h 265271"/>
                <a:gd name="connsiteX17" fmla="*/ 128702 w 309743"/>
                <a:gd name="connsiteY17" fmla="*/ 265271 h 265271"/>
                <a:gd name="connsiteX18" fmla="*/ 120025 w 309743"/>
                <a:gd name="connsiteY18" fmla="*/ 262052 h 265271"/>
                <a:gd name="connsiteX19" fmla="*/ 90174 w 309743"/>
                <a:gd name="connsiteY19" fmla="*/ 259004 h 265271"/>
                <a:gd name="connsiteX20" fmla="*/ 85373 w 309743"/>
                <a:gd name="connsiteY20" fmla="*/ 256918 h 265271"/>
                <a:gd name="connsiteX21" fmla="*/ 85173 w 309743"/>
                <a:gd name="connsiteY21" fmla="*/ 254613 h 265271"/>
                <a:gd name="connsiteX22" fmla="*/ 74629 w 309743"/>
                <a:gd name="connsiteY22" fmla="*/ 248336 h 265271"/>
                <a:gd name="connsiteX23" fmla="*/ 57322 w 309743"/>
                <a:gd name="connsiteY23" fmla="*/ 246736 h 265271"/>
                <a:gd name="connsiteX24" fmla="*/ 35452 w 309743"/>
                <a:gd name="connsiteY24" fmla="*/ 253060 h 265271"/>
                <a:gd name="connsiteX25" fmla="*/ 18022 w 309743"/>
                <a:gd name="connsiteY25" fmla="*/ 235696 h 265271"/>
                <a:gd name="connsiteX26" fmla="*/ 0 w 309743"/>
                <a:gd name="connsiteY26" fmla="*/ 213055 h 265271"/>
                <a:gd name="connsiteX27" fmla="*/ 1229 w 309743"/>
                <a:gd name="connsiteY27" fmla="*/ 125825 h 265271"/>
                <a:gd name="connsiteX28" fmla="*/ 56845 w 309743"/>
                <a:gd name="connsiteY28" fmla="*/ 126168 h 265271"/>
                <a:gd name="connsiteX29" fmla="*/ 54569 w 309743"/>
                <a:gd name="connsiteY29" fmla="*/ 116777 h 265271"/>
                <a:gd name="connsiteX30" fmla="*/ 58550 w 309743"/>
                <a:gd name="connsiteY30" fmla="*/ 106604 h 265271"/>
                <a:gd name="connsiteX31" fmla="*/ 53854 w 309743"/>
                <a:gd name="connsiteY31" fmla="*/ 93878 h 265271"/>
                <a:gd name="connsiteX32" fmla="*/ 56893 w 309743"/>
                <a:gd name="connsiteY32" fmla="*/ 80743 h 265271"/>
                <a:gd name="connsiteX33" fmla="*/ 54064 w 309743"/>
                <a:gd name="connsiteY33" fmla="*/ 72352 h 265271"/>
                <a:gd name="connsiteX34" fmla="*/ 63285 w 309743"/>
                <a:gd name="connsiteY34" fmla="*/ 73028 h 265271"/>
                <a:gd name="connsiteX35" fmla="*/ 64808 w 309743"/>
                <a:gd name="connsiteY35" fmla="*/ 81439 h 265271"/>
                <a:gd name="connsiteX36" fmla="*/ 77324 w 309743"/>
                <a:gd name="connsiteY36" fmla="*/ 80781 h 265271"/>
                <a:gd name="connsiteX37" fmla="*/ 94279 w 309743"/>
                <a:gd name="connsiteY37" fmla="*/ 83277 h 265271"/>
                <a:gd name="connsiteX38" fmla="*/ 103204 w 309743"/>
                <a:gd name="connsiteY38" fmla="*/ 95574 h 265271"/>
                <a:gd name="connsiteX39" fmla="*/ 124596 w 309743"/>
                <a:gd name="connsiteY39" fmla="*/ 99355 h 265271"/>
                <a:gd name="connsiteX40" fmla="*/ 140923 w 309743"/>
                <a:gd name="connsiteY40" fmla="*/ 90802 h 265271"/>
                <a:gd name="connsiteX41" fmla="*/ 146914 w 309743"/>
                <a:gd name="connsiteY41" fmla="*/ 105013 h 265271"/>
                <a:gd name="connsiteX42" fmla="*/ 167383 w 309743"/>
                <a:gd name="connsiteY42" fmla="*/ 108804 h 265271"/>
                <a:gd name="connsiteX43" fmla="*/ 177222 w 309743"/>
                <a:gd name="connsiteY43" fmla="*/ 120387 h 265271"/>
                <a:gd name="connsiteX44" fmla="*/ 188186 w 309743"/>
                <a:gd name="connsiteY44" fmla="*/ 135369 h 265271"/>
                <a:gd name="connsiteX45" fmla="*/ 208626 w 309743"/>
                <a:gd name="connsiteY45" fmla="*/ 135598 h 265271"/>
                <a:gd name="connsiteX46" fmla="*/ 206397 w 309743"/>
                <a:gd name="connsiteY46" fmla="*/ 106261 h 265271"/>
                <a:gd name="connsiteX47" fmla="*/ 199063 w 309743"/>
                <a:gd name="connsiteY47" fmla="*/ 111195 h 265271"/>
                <a:gd name="connsiteX48" fmla="*/ 180394 w 309743"/>
                <a:gd name="connsiteY48" fmla="*/ 100641 h 265271"/>
                <a:gd name="connsiteX49" fmla="*/ 173184 w 309743"/>
                <a:gd name="connsiteY49" fmla="*/ 95812 h 265271"/>
                <a:gd name="connsiteX50" fmla="*/ 176489 w 309743"/>
                <a:gd name="connsiteY50" fmla="*/ 68656 h 265271"/>
                <a:gd name="connsiteX51" fmla="*/ 181233 w 309743"/>
                <a:gd name="connsiteY51" fmla="*/ 36738 h 265271"/>
                <a:gd name="connsiteX52" fmla="*/ 175250 w 309743"/>
                <a:gd name="connsiteY52" fmla="*/ 24870 h 265271"/>
                <a:gd name="connsiteX53" fmla="*/ 182861 w 309743"/>
                <a:gd name="connsiteY53" fmla="*/ 7734 h 265271"/>
                <a:gd name="connsiteX54" fmla="*/ 190024 w 309743"/>
                <a:gd name="connsiteY54" fmla="*/ 4524 h 265271"/>
                <a:gd name="connsiteX55" fmla="*/ 225895 w 309743"/>
                <a:gd name="connsiteY55" fmla="*/ 0 h 265271"/>
                <a:gd name="connsiteX56" fmla="*/ 236411 w 309743"/>
                <a:gd name="connsiteY56" fmla="*/ 2724 h 265271"/>
                <a:gd name="connsiteX57" fmla="*/ 247574 w 309743"/>
                <a:gd name="connsiteY57" fmla="*/ 9553 h 265271"/>
                <a:gd name="connsiteX58" fmla="*/ 258213 w 309743"/>
                <a:gd name="connsiteY58" fmla="*/ 14049 h 265271"/>
                <a:gd name="connsiteX59" fmla="*/ 275187 w 309743"/>
                <a:gd name="connsiteY59" fmla="*/ 18564 h 26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09743" h="265271">
                  <a:moveTo>
                    <a:pt x="290341" y="26641"/>
                  </a:moveTo>
                  <a:lnTo>
                    <a:pt x="302952" y="38633"/>
                  </a:lnTo>
                  <a:lnTo>
                    <a:pt x="309744" y="61513"/>
                  </a:lnTo>
                  <a:lnTo>
                    <a:pt x="305191" y="68827"/>
                  </a:lnTo>
                  <a:lnTo>
                    <a:pt x="299828" y="90754"/>
                  </a:lnTo>
                  <a:lnTo>
                    <a:pt x="304952" y="113243"/>
                  </a:lnTo>
                  <a:lnTo>
                    <a:pt x="296552" y="122701"/>
                  </a:lnTo>
                  <a:lnTo>
                    <a:pt x="288446" y="148028"/>
                  </a:lnTo>
                  <a:lnTo>
                    <a:pt x="302486" y="155115"/>
                  </a:lnTo>
                  <a:lnTo>
                    <a:pt x="221447" y="177689"/>
                  </a:lnTo>
                  <a:lnTo>
                    <a:pt x="223981" y="197263"/>
                  </a:lnTo>
                  <a:lnTo>
                    <a:pt x="203749" y="201035"/>
                  </a:lnTo>
                  <a:lnTo>
                    <a:pt x="188538" y="212027"/>
                  </a:lnTo>
                  <a:lnTo>
                    <a:pt x="185290" y="221609"/>
                  </a:lnTo>
                  <a:lnTo>
                    <a:pt x="175736" y="223780"/>
                  </a:lnTo>
                  <a:lnTo>
                    <a:pt x="152505" y="246593"/>
                  </a:lnTo>
                  <a:lnTo>
                    <a:pt x="137722" y="264624"/>
                  </a:lnTo>
                  <a:lnTo>
                    <a:pt x="128702" y="265271"/>
                  </a:lnTo>
                  <a:lnTo>
                    <a:pt x="120025" y="262052"/>
                  </a:lnTo>
                  <a:lnTo>
                    <a:pt x="90174" y="259004"/>
                  </a:lnTo>
                  <a:lnTo>
                    <a:pt x="85373" y="256918"/>
                  </a:lnTo>
                  <a:lnTo>
                    <a:pt x="85173" y="254613"/>
                  </a:lnTo>
                  <a:lnTo>
                    <a:pt x="74629" y="248336"/>
                  </a:lnTo>
                  <a:lnTo>
                    <a:pt x="57322" y="246736"/>
                  </a:lnTo>
                  <a:lnTo>
                    <a:pt x="35452" y="253060"/>
                  </a:lnTo>
                  <a:lnTo>
                    <a:pt x="18022" y="235696"/>
                  </a:lnTo>
                  <a:lnTo>
                    <a:pt x="0" y="213055"/>
                  </a:lnTo>
                  <a:lnTo>
                    <a:pt x="1229" y="125825"/>
                  </a:lnTo>
                  <a:lnTo>
                    <a:pt x="56845" y="126168"/>
                  </a:lnTo>
                  <a:lnTo>
                    <a:pt x="54569" y="116777"/>
                  </a:lnTo>
                  <a:lnTo>
                    <a:pt x="58550" y="106604"/>
                  </a:lnTo>
                  <a:lnTo>
                    <a:pt x="53854" y="93878"/>
                  </a:lnTo>
                  <a:lnTo>
                    <a:pt x="56893" y="80743"/>
                  </a:lnTo>
                  <a:lnTo>
                    <a:pt x="54064" y="72352"/>
                  </a:lnTo>
                  <a:lnTo>
                    <a:pt x="63285" y="73028"/>
                  </a:lnTo>
                  <a:lnTo>
                    <a:pt x="64808" y="81439"/>
                  </a:lnTo>
                  <a:lnTo>
                    <a:pt x="77324" y="80781"/>
                  </a:lnTo>
                  <a:lnTo>
                    <a:pt x="94279" y="83277"/>
                  </a:lnTo>
                  <a:lnTo>
                    <a:pt x="103204" y="95574"/>
                  </a:lnTo>
                  <a:lnTo>
                    <a:pt x="124596" y="99355"/>
                  </a:lnTo>
                  <a:lnTo>
                    <a:pt x="140923" y="90802"/>
                  </a:lnTo>
                  <a:lnTo>
                    <a:pt x="146914" y="105013"/>
                  </a:lnTo>
                  <a:lnTo>
                    <a:pt x="167383" y="108804"/>
                  </a:lnTo>
                  <a:lnTo>
                    <a:pt x="177222" y="120387"/>
                  </a:lnTo>
                  <a:lnTo>
                    <a:pt x="188186" y="135369"/>
                  </a:lnTo>
                  <a:lnTo>
                    <a:pt x="208626" y="135598"/>
                  </a:lnTo>
                  <a:lnTo>
                    <a:pt x="206397" y="106261"/>
                  </a:lnTo>
                  <a:lnTo>
                    <a:pt x="199063" y="111195"/>
                  </a:lnTo>
                  <a:lnTo>
                    <a:pt x="180394" y="100641"/>
                  </a:lnTo>
                  <a:lnTo>
                    <a:pt x="173184" y="95812"/>
                  </a:lnTo>
                  <a:lnTo>
                    <a:pt x="176489" y="68656"/>
                  </a:lnTo>
                  <a:lnTo>
                    <a:pt x="181233" y="36738"/>
                  </a:lnTo>
                  <a:lnTo>
                    <a:pt x="175250" y="24870"/>
                  </a:lnTo>
                  <a:lnTo>
                    <a:pt x="182861" y="7734"/>
                  </a:lnTo>
                  <a:lnTo>
                    <a:pt x="190024" y="4524"/>
                  </a:lnTo>
                  <a:lnTo>
                    <a:pt x="225895" y="0"/>
                  </a:lnTo>
                  <a:lnTo>
                    <a:pt x="236411" y="2724"/>
                  </a:lnTo>
                  <a:lnTo>
                    <a:pt x="247574" y="9553"/>
                  </a:lnTo>
                  <a:lnTo>
                    <a:pt x="258213" y="14049"/>
                  </a:lnTo>
                  <a:lnTo>
                    <a:pt x="275187" y="185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07" name="Forme libre : forme 5826">
              <a:extLst>
                <a:ext uri="{FF2B5EF4-FFF2-40B4-BE49-F238E27FC236}">
                  <a16:creationId xmlns:a16="http://schemas.microsoft.com/office/drawing/2014/main" id="{17A51BFF-731F-2B9B-E45B-043ED31D8827}"/>
                </a:ext>
              </a:extLst>
            </p:cNvPr>
            <p:cNvSpPr/>
            <p:nvPr/>
          </p:nvSpPr>
          <p:spPr>
            <a:xfrm>
              <a:off x="6495621" y="5159229"/>
              <a:ext cx="202587" cy="189919"/>
            </a:xfrm>
            <a:custGeom>
              <a:avLst/>
              <a:gdLst>
                <a:gd name="connsiteX0" fmla="*/ 158296 w 202587"/>
                <a:gd name="connsiteY0" fmla="*/ 189338 h 189919"/>
                <a:gd name="connsiteX1" fmla="*/ 144103 w 202587"/>
                <a:gd name="connsiteY1" fmla="*/ 186471 h 189919"/>
                <a:gd name="connsiteX2" fmla="*/ 135102 w 202587"/>
                <a:gd name="connsiteY2" fmla="*/ 189919 h 189919"/>
                <a:gd name="connsiteX3" fmla="*/ 122177 w 202587"/>
                <a:gd name="connsiteY3" fmla="*/ 185052 h 189919"/>
                <a:gd name="connsiteX4" fmla="*/ 111309 w 202587"/>
                <a:gd name="connsiteY4" fmla="*/ 184747 h 189919"/>
                <a:gd name="connsiteX5" fmla="*/ 94288 w 202587"/>
                <a:gd name="connsiteY5" fmla="*/ 171812 h 189919"/>
                <a:gd name="connsiteX6" fmla="*/ 73637 w 202587"/>
                <a:gd name="connsiteY6" fmla="*/ 167430 h 189919"/>
                <a:gd name="connsiteX7" fmla="*/ 65779 w 202587"/>
                <a:gd name="connsiteY7" fmla="*/ 149380 h 189919"/>
                <a:gd name="connsiteX8" fmla="*/ 65713 w 202587"/>
                <a:gd name="connsiteY8" fmla="*/ 139370 h 189919"/>
                <a:gd name="connsiteX9" fmla="*/ 54273 w 202587"/>
                <a:gd name="connsiteY9" fmla="*/ 136322 h 189919"/>
                <a:gd name="connsiteX10" fmla="*/ 24050 w 202587"/>
                <a:gd name="connsiteY10" fmla="*/ 105318 h 189919"/>
                <a:gd name="connsiteX11" fmla="*/ 15649 w 202587"/>
                <a:gd name="connsiteY11" fmla="*/ 89068 h 189919"/>
                <a:gd name="connsiteX12" fmla="*/ 10277 w 202587"/>
                <a:gd name="connsiteY12" fmla="*/ 84068 h 189919"/>
                <a:gd name="connsiteX13" fmla="*/ 0 w 202587"/>
                <a:gd name="connsiteY13" fmla="*/ 61741 h 189919"/>
                <a:gd name="connsiteX14" fmla="*/ 29851 w 202587"/>
                <a:gd name="connsiteY14" fmla="*/ 64789 h 189919"/>
                <a:gd name="connsiteX15" fmla="*/ 38528 w 202587"/>
                <a:gd name="connsiteY15" fmla="*/ 68009 h 189919"/>
                <a:gd name="connsiteX16" fmla="*/ 47548 w 202587"/>
                <a:gd name="connsiteY16" fmla="*/ 67361 h 189919"/>
                <a:gd name="connsiteX17" fmla="*/ 62331 w 202587"/>
                <a:gd name="connsiteY17" fmla="*/ 49330 h 189919"/>
                <a:gd name="connsiteX18" fmla="*/ 85563 w 202587"/>
                <a:gd name="connsiteY18" fmla="*/ 26518 h 189919"/>
                <a:gd name="connsiteX19" fmla="*/ 95116 w 202587"/>
                <a:gd name="connsiteY19" fmla="*/ 24346 h 189919"/>
                <a:gd name="connsiteX20" fmla="*/ 98364 w 202587"/>
                <a:gd name="connsiteY20" fmla="*/ 14764 h 189919"/>
                <a:gd name="connsiteX21" fmla="*/ 113576 w 202587"/>
                <a:gd name="connsiteY21" fmla="*/ 3772 h 189919"/>
                <a:gd name="connsiteX22" fmla="*/ 133807 w 202587"/>
                <a:gd name="connsiteY22" fmla="*/ 0 h 189919"/>
                <a:gd name="connsiteX23" fmla="*/ 135531 w 202587"/>
                <a:gd name="connsiteY23" fmla="*/ 10287 h 189919"/>
                <a:gd name="connsiteX24" fmla="*/ 157810 w 202587"/>
                <a:gd name="connsiteY24" fmla="*/ 9735 h 189919"/>
                <a:gd name="connsiteX25" fmla="*/ 170183 w 202587"/>
                <a:gd name="connsiteY25" fmla="*/ 15564 h 189919"/>
                <a:gd name="connsiteX26" fmla="*/ 175946 w 202587"/>
                <a:gd name="connsiteY26" fmla="*/ 22403 h 189919"/>
                <a:gd name="connsiteX27" fmla="*/ 188652 w 202587"/>
                <a:gd name="connsiteY27" fmla="*/ 24413 h 189919"/>
                <a:gd name="connsiteX28" fmla="*/ 202530 w 202587"/>
                <a:gd name="connsiteY28" fmla="*/ 33309 h 189919"/>
                <a:gd name="connsiteX29" fmla="*/ 202587 w 202587"/>
                <a:gd name="connsiteY29" fmla="*/ 68504 h 189919"/>
                <a:gd name="connsiteX30" fmla="*/ 197386 w 202587"/>
                <a:gd name="connsiteY30" fmla="*/ 87887 h 189919"/>
                <a:gd name="connsiteX31" fmla="*/ 196234 w 202587"/>
                <a:gd name="connsiteY31" fmla="*/ 108871 h 189919"/>
                <a:gd name="connsiteX32" fmla="*/ 200530 w 202587"/>
                <a:gd name="connsiteY32" fmla="*/ 117215 h 189919"/>
                <a:gd name="connsiteX33" fmla="*/ 197510 w 202587"/>
                <a:gd name="connsiteY33" fmla="*/ 133845 h 189919"/>
                <a:gd name="connsiteX34" fmla="*/ 193471 w 202587"/>
                <a:gd name="connsiteY34" fmla="*/ 136427 h 189919"/>
                <a:gd name="connsiteX35" fmla="*/ 186433 w 202587"/>
                <a:gd name="connsiteY35" fmla="*/ 156906 h 189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02587" h="189919">
                  <a:moveTo>
                    <a:pt x="158296" y="189338"/>
                  </a:moveTo>
                  <a:lnTo>
                    <a:pt x="144103" y="186471"/>
                  </a:lnTo>
                  <a:lnTo>
                    <a:pt x="135102" y="189919"/>
                  </a:lnTo>
                  <a:lnTo>
                    <a:pt x="122177" y="185052"/>
                  </a:lnTo>
                  <a:lnTo>
                    <a:pt x="111309" y="184747"/>
                  </a:lnTo>
                  <a:lnTo>
                    <a:pt x="94288" y="171812"/>
                  </a:lnTo>
                  <a:lnTo>
                    <a:pt x="73637" y="167430"/>
                  </a:lnTo>
                  <a:lnTo>
                    <a:pt x="65779" y="149380"/>
                  </a:lnTo>
                  <a:lnTo>
                    <a:pt x="65713" y="139370"/>
                  </a:lnTo>
                  <a:lnTo>
                    <a:pt x="54273" y="136322"/>
                  </a:lnTo>
                  <a:lnTo>
                    <a:pt x="24050" y="105318"/>
                  </a:lnTo>
                  <a:lnTo>
                    <a:pt x="15649" y="89068"/>
                  </a:lnTo>
                  <a:lnTo>
                    <a:pt x="10277" y="84068"/>
                  </a:lnTo>
                  <a:lnTo>
                    <a:pt x="0" y="61741"/>
                  </a:lnTo>
                  <a:lnTo>
                    <a:pt x="29851" y="64789"/>
                  </a:lnTo>
                  <a:lnTo>
                    <a:pt x="38528" y="68009"/>
                  </a:lnTo>
                  <a:lnTo>
                    <a:pt x="47548" y="67361"/>
                  </a:lnTo>
                  <a:lnTo>
                    <a:pt x="62331" y="49330"/>
                  </a:lnTo>
                  <a:lnTo>
                    <a:pt x="85563" y="26518"/>
                  </a:lnTo>
                  <a:lnTo>
                    <a:pt x="95116" y="24346"/>
                  </a:lnTo>
                  <a:lnTo>
                    <a:pt x="98364" y="14764"/>
                  </a:lnTo>
                  <a:lnTo>
                    <a:pt x="113576" y="3772"/>
                  </a:lnTo>
                  <a:lnTo>
                    <a:pt x="133807" y="0"/>
                  </a:lnTo>
                  <a:lnTo>
                    <a:pt x="135531" y="10287"/>
                  </a:lnTo>
                  <a:lnTo>
                    <a:pt x="157810" y="9735"/>
                  </a:lnTo>
                  <a:lnTo>
                    <a:pt x="170183" y="15564"/>
                  </a:lnTo>
                  <a:lnTo>
                    <a:pt x="175946" y="22403"/>
                  </a:lnTo>
                  <a:lnTo>
                    <a:pt x="188652" y="24413"/>
                  </a:lnTo>
                  <a:lnTo>
                    <a:pt x="202530" y="33309"/>
                  </a:lnTo>
                  <a:lnTo>
                    <a:pt x="202587" y="68504"/>
                  </a:lnTo>
                  <a:lnTo>
                    <a:pt x="197386" y="87887"/>
                  </a:lnTo>
                  <a:lnTo>
                    <a:pt x="196234" y="108871"/>
                  </a:lnTo>
                  <a:lnTo>
                    <a:pt x="200530" y="117215"/>
                  </a:lnTo>
                  <a:lnTo>
                    <a:pt x="197510" y="133845"/>
                  </a:lnTo>
                  <a:lnTo>
                    <a:pt x="193471" y="136427"/>
                  </a:lnTo>
                  <a:lnTo>
                    <a:pt x="186433" y="1569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</p:grpSp>
      <p:sp>
        <p:nvSpPr>
          <p:cNvPr id="84" name="Ellipse 605">
            <a:extLst>
              <a:ext uri="{FF2B5EF4-FFF2-40B4-BE49-F238E27FC236}">
                <a16:creationId xmlns:a16="http://schemas.microsoft.com/office/drawing/2014/main" id="{79BDDBB7-40D3-24D4-9546-A72156429690}"/>
              </a:ext>
            </a:extLst>
          </p:cNvPr>
          <p:cNvSpPr/>
          <p:nvPr/>
        </p:nvSpPr>
        <p:spPr>
          <a:xfrm>
            <a:off x="4980139" y="2384839"/>
            <a:ext cx="1965036" cy="1926123"/>
          </a:xfrm>
          <a:prstGeom prst="ellipse">
            <a:avLst/>
          </a:prstGeom>
          <a:solidFill>
            <a:schemeClr val="bg1"/>
          </a:solidFill>
          <a:ln w="3175">
            <a:gradFill>
              <a:gsLst>
                <a:gs pos="0">
                  <a:schemeClr val="accent6"/>
                </a:gs>
                <a:gs pos="10000">
                  <a:srgbClr val="8C1E8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252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EEEEE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5" name="Forme libre : forme 4">
            <a:extLst>
              <a:ext uri="{FF2B5EF4-FFF2-40B4-BE49-F238E27FC236}">
                <a16:creationId xmlns:a16="http://schemas.microsoft.com/office/drawing/2014/main" id="{A9A05F00-AD02-885B-6E73-58B4C9AA9C08}"/>
              </a:ext>
            </a:extLst>
          </p:cNvPr>
          <p:cNvSpPr/>
          <p:nvPr/>
        </p:nvSpPr>
        <p:spPr>
          <a:xfrm>
            <a:off x="5570870" y="3928061"/>
            <a:ext cx="11342" cy="9814"/>
          </a:xfrm>
          <a:custGeom>
            <a:avLst/>
            <a:gdLst>
              <a:gd name="connsiteX0" fmla="*/ 7782 w 8696"/>
              <a:gd name="connsiteY0" fmla="*/ 5039 h 7524"/>
              <a:gd name="connsiteX1" fmla="*/ 7048 w 8696"/>
              <a:gd name="connsiteY1" fmla="*/ 5277 h 7524"/>
              <a:gd name="connsiteX2" fmla="*/ 4591 w 8696"/>
              <a:gd name="connsiteY2" fmla="*/ 6753 h 7524"/>
              <a:gd name="connsiteX3" fmla="*/ 3191 w 8696"/>
              <a:gd name="connsiteY3" fmla="*/ 7268 h 7524"/>
              <a:gd name="connsiteX4" fmla="*/ 1914 w 8696"/>
              <a:gd name="connsiteY4" fmla="*/ 7525 h 7524"/>
              <a:gd name="connsiteX5" fmla="*/ 914 w 8696"/>
              <a:gd name="connsiteY5" fmla="*/ 7420 h 7524"/>
              <a:gd name="connsiteX6" fmla="*/ 362 w 8696"/>
              <a:gd name="connsiteY6" fmla="*/ 6553 h 7524"/>
              <a:gd name="connsiteX7" fmla="*/ 419 w 8696"/>
              <a:gd name="connsiteY7" fmla="*/ 5229 h 7524"/>
              <a:gd name="connsiteX8" fmla="*/ 190 w 8696"/>
              <a:gd name="connsiteY8" fmla="*/ 4048 h 7524"/>
              <a:gd name="connsiteX9" fmla="*/ 0 w 8696"/>
              <a:gd name="connsiteY9" fmla="*/ 3410 h 7524"/>
              <a:gd name="connsiteX10" fmla="*/ 362 w 8696"/>
              <a:gd name="connsiteY10" fmla="*/ 1686 h 7524"/>
              <a:gd name="connsiteX11" fmla="*/ 1181 w 8696"/>
              <a:gd name="connsiteY11" fmla="*/ 762 h 7524"/>
              <a:gd name="connsiteX12" fmla="*/ 2314 w 8696"/>
              <a:gd name="connsiteY12" fmla="*/ 0 h 7524"/>
              <a:gd name="connsiteX13" fmla="*/ 4105 w 8696"/>
              <a:gd name="connsiteY13" fmla="*/ 276 h 7524"/>
              <a:gd name="connsiteX14" fmla="*/ 7896 w 8696"/>
              <a:gd name="connsiteY14" fmla="*/ 1381 h 7524"/>
              <a:gd name="connsiteX15" fmla="*/ 8687 w 8696"/>
              <a:gd name="connsiteY15" fmla="*/ 2420 h 7524"/>
              <a:gd name="connsiteX16" fmla="*/ 8696 w 8696"/>
              <a:gd name="connsiteY16" fmla="*/ 3105 h 7524"/>
              <a:gd name="connsiteX17" fmla="*/ 8001 w 8696"/>
              <a:gd name="connsiteY17" fmla="*/ 4239 h 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696" h="7524">
                <a:moveTo>
                  <a:pt x="7782" y="5039"/>
                </a:moveTo>
                <a:lnTo>
                  <a:pt x="7048" y="5277"/>
                </a:lnTo>
                <a:lnTo>
                  <a:pt x="4591" y="6753"/>
                </a:lnTo>
                <a:lnTo>
                  <a:pt x="3191" y="7268"/>
                </a:lnTo>
                <a:lnTo>
                  <a:pt x="1914" y="7525"/>
                </a:lnTo>
                <a:lnTo>
                  <a:pt x="914" y="7420"/>
                </a:lnTo>
                <a:lnTo>
                  <a:pt x="362" y="6553"/>
                </a:lnTo>
                <a:lnTo>
                  <a:pt x="419" y="5229"/>
                </a:lnTo>
                <a:lnTo>
                  <a:pt x="190" y="4048"/>
                </a:lnTo>
                <a:lnTo>
                  <a:pt x="0" y="3410"/>
                </a:lnTo>
                <a:lnTo>
                  <a:pt x="362" y="1686"/>
                </a:lnTo>
                <a:lnTo>
                  <a:pt x="1181" y="762"/>
                </a:lnTo>
                <a:lnTo>
                  <a:pt x="2314" y="0"/>
                </a:lnTo>
                <a:lnTo>
                  <a:pt x="4105" y="276"/>
                </a:lnTo>
                <a:lnTo>
                  <a:pt x="7896" y="1381"/>
                </a:lnTo>
                <a:lnTo>
                  <a:pt x="8687" y="2420"/>
                </a:lnTo>
                <a:lnTo>
                  <a:pt x="8696" y="3105"/>
                </a:lnTo>
                <a:lnTo>
                  <a:pt x="8001" y="4239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6" name="Forme libre : forme 5">
            <a:extLst>
              <a:ext uri="{FF2B5EF4-FFF2-40B4-BE49-F238E27FC236}">
                <a16:creationId xmlns:a16="http://schemas.microsoft.com/office/drawing/2014/main" id="{745DD4E5-50F4-F41D-5DD7-7B6590DB374B}"/>
              </a:ext>
            </a:extLst>
          </p:cNvPr>
          <p:cNvSpPr/>
          <p:nvPr/>
        </p:nvSpPr>
        <p:spPr>
          <a:xfrm>
            <a:off x="6193794" y="3927812"/>
            <a:ext cx="61024" cy="138160"/>
          </a:xfrm>
          <a:custGeom>
            <a:avLst/>
            <a:gdLst>
              <a:gd name="connsiteX0" fmla="*/ 20936 w 46787"/>
              <a:gd name="connsiteY0" fmla="*/ 3639 h 105927"/>
              <a:gd name="connsiteX1" fmla="*/ 21993 w 46787"/>
              <a:gd name="connsiteY1" fmla="*/ 4458 h 105927"/>
              <a:gd name="connsiteX2" fmla="*/ 24194 w 46787"/>
              <a:gd name="connsiteY2" fmla="*/ 8020 h 105927"/>
              <a:gd name="connsiteX3" fmla="*/ 25651 w 46787"/>
              <a:gd name="connsiteY3" fmla="*/ 11163 h 105927"/>
              <a:gd name="connsiteX4" fmla="*/ 28537 w 46787"/>
              <a:gd name="connsiteY4" fmla="*/ 12249 h 105927"/>
              <a:gd name="connsiteX5" fmla="*/ 30137 w 46787"/>
              <a:gd name="connsiteY5" fmla="*/ 13468 h 105927"/>
              <a:gd name="connsiteX6" fmla="*/ 32204 w 46787"/>
              <a:gd name="connsiteY6" fmla="*/ 15326 h 105927"/>
              <a:gd name="connsiteX7" fmla="*/ 33195 w 46787"/>
              <a:gd name="connsiteY7" fmla="*/ 17183 h 105927"/>
              <a:gd name="connsiteX8" fmla="*/ 34604 w 46787"/>
              <a:gd name="connsiteY8" fmla="*/ 22870 h 105927"/>
              <a:gd name="connsiteX9" fmla="*/ 34766 w 46787"/>
              <a:gd name="connsiteY9" fmla="*/ 26299 h 105927"/>
              <a:gd name="connsiteX10" fmla="*/ 34357 w 46787"/>
              <a:gd name="connsiteY10" fmla="*/ 27861 h 105927"/>
              <a:gd name="connsiteX11" fmla="*/ 34014 w 46787"/>
              <a:gd name="connsiteY11" fmla="*/ 28270 h 105927"/>
              <a:gd name="connsiteX12" fmla="*/ 32728 w 46787"/>
              <a:gd name="connsiteY12" fmla="*/ 33833 h 105927"/>
              <a:gd name="connsiteX13" fmla="*/ 33033 w 46787"/>
              <a:gd name="connsiteY13" fmla="*/ 36662 h 105927"/>
              <a:gd name="connsiteX14" fmla="*/ 33024 w 46787"/>
              <a:gd name="connsiteY14" fmla="*/ 38529 h 105927"/>
              <a:gd name="connsiteX15" fmla="*/ 31938 w 46787"/>
              <a:gd name="connsiteY15" fmla="*/ 39262 h 105927"/>
              <a:gd name="connsiteX16" fmla="*/ 31214 w 46787"/>
              <a:gd name="connsiteY16" fmla="*/ 40434 h 105927"/>
              <a:gd name="connsiteX17" fmla="*/ 32385 w 46787"/>
              <a:gd name="connsiteY17" fmla="*/ 45044 h 105927"/>
              <a:gd name="connsiteX18" fmla="*/ 32242 w 46787"/>
              <a:gd name="connsiteY18" fmla="*/ 47015 h 105927"/>
              <a:gd name="connsiteX19" fmla="*/ 32300 w 46787"/>
              <a:gd name="connsiteY19" fmla="*/ 49263 h 105927"/>
              <a:gd name="connsiteX20" fmla="*/ 34404 w 46787"/>
              <a:gd name="connsiteY20" fmla="*/ 54388 h 105927"/>
              <a:gd name="connsiteX21" fmla="*/ 35652 w 46787"/>
              <a:gd name="connsiteY21" fmla="*/ 55969 h 105927"/>
              <a:gd name="connsiteX22" fmla="*/ 36757 w 46787"/>
              <a:gd name="connsiteY22" fmla="*/ 56722 h 105927"/>
              <a:gd name="connsiteX23" fmla="*/ 38186 w 46787"/>
              <a:gd name="connsiteY23" fmla="*/ 61427 h 105927"/>
              <a:gd name="connsiteX24" fmla="*/ 39024 w 46787"/>
              <a:gd name="connsiteY24" fmla="*/ 62236 h 105927"/>
              <a:gd name="connsiteX25" fmla="*/ 42482 w 46787"/>
              <a:gd name="connsiteY25" fmla="*/ 61789 h 105927"/>
              <a:gd name="connsiteX26" fmla="*/ 44177 w 46787"/>
              <a:gd name="connsiteY26" fmla="*/ 62312 h 105927"/>
              <a:gd name="connsiteX27" fmla="*/ 44854 w 46787"/>
              <a:gd name="connsiteY27" fmla="*/ 63427 h 105927"/>
              <a:gd name="connsiteX28" fmla="*/ 45006 w 46787"/>
              <a:gd name="connsiteY28" fmla="*/ 64189 h 105927"/>
              <a:gd name="connsiteX29" fmla="*/ 44778 w 46787"/>
              <a:gd name="connsiteY29" fmla="*/ 66818 h 105927"/>
              <a:gd name="connsiteX30" fmla="*/ 45634 w 46787"/>
              <a:gd name="connsiteY30" fmla="*/ 68837 h 105927"/>
              <a:gd name="connsiteX31" fmla="*/ 46787 w 46787"/>
              <a:gd name="connsiteY31" fmla="*/ 70914 h 105927"/>
              <a:gd name="connsiteX32" fmla="*/ 46787 w 46787"/>
              <a:gd name="connsiteY32" fmla="*/ 72180 h 105927"/>
              <a:gd name="connsiteX33" fmla="*/ 46006 w 46787"/>
              <a:gd name="connsiteY33" fmla="*/ 74257 h 105927"/>
              <a:gd name="connsiteX34" fmla="*/ 44625 w 46787"/>
              <a:gd name="connsiteY34" fmla="*/ 76667 h 105927"/>
              <a:gd name="connsiteX35" fmla="*/ 42796 w 46787"/>
              <a:gd name="connsiteY35" fmla="*/ 77600 h 105927"/>
              <a:gd name="connsiteX36" fmla="*/ 40777 w 46787"/>
              <a:gd name="connsiteY36" fmla="*/ 78381 h 105927"/>
              <a:gd name="connsiteX37" fmla="*/ 39805 w 46787"/>
              <a:gd name="connsiteY37" fmla="*/ 80258 h 105927"/>
              <a:gd name="connsiteX38" fmla="*/ 39320 w 46787"/>
              <a:gd name="connsiteY38" fmla="*/ 82248 h 105927"/>
              <a:gd name="connsiteX39" fmla="*/ 38415 w 46787"/>
              <a:gd name="connsiteY39" fmla="*/ 83725 h 105927"/>
              <a:gd name="connsiteX40" fmla="*/ 37862 w 46787"/>
              <a:gd name="connsiteY40" fmla="*/ 85344 h 105927"/>
              <a:gd name="connsiteX41" fmla="*/ 36995 w 46787"/>
              <a:gd name="connsiteY41" fmla="*/ 88640 h 105927"/>
              <a:gd name="connsiteX42" fmla="*/ 36795 w 46787"/>
              <a:gd name="connsiteY42" fmla="*/ 89830 h 105927"/>
              <a:gd name="connsiteX43" fmla="*/ 35433 w 46787"/>
              <a:gd name="connsiteY43" fmla="*/ 91040 h 105927"/>
              <a:gd name="connsiteX44" fmla="*/ 33319 w 46787"/>
              <a:gd name="connsiteY44" fmla="*/ 91535 h 105927"/>
              <a:gd name="connsiteX45" fmla="*/ 31414 w 46787"/>
              <a:gd name="connsiteY45" fmla="*/ 91640 h 105927"/>
              <a:gd name="connsiteX46" fmla="*/ 30137 w 46787"/>
              <a:gd name="connsiteY46" fmla="*/ 92202 h 105927"/>
              <a:gd name="connsiteX47" fmla="*/ 29480 w 46787"/>
              <a:gd name="connsiteY47" fmla="*/ 93326 h 105927"/>
              <a:gd name="connsiteX48" fmla="*/ 28270 w 46787"/>
              <a:gd name="connsiteY48" fmla="*/ 94231 h 105927"/>
              <a:gd name="connsiteX49" fmla="*/ 27547 w 46787"/>
              <a:gd name="connsiteY49" fmla="*/ 94631 h 105927"/>
              <a:gd name="connsiteX50" fmla="*/ 27547 w 46787"/>
              <a:gd name="connsiteY50" fmla="*/ 95631 h 105927"/>
              <a:gd name="connsiteX51" fmla="*/ 28423 w 46787"/>
              <a:gd name="connsiteY51" fmla="*/ 97717 h 105927"/>
              <a:gd name="connsiteX52" fmla="*/ 29423 w 46787"/>
              <a:gd name="connsiteY52" fmla="*/ 99413 h 105927"/>
              <a:gd name="connsiteX53" fmla="*/ 29452 w 46787"/>
              <a:gd name="connsiteY53" fmla="*/ 100765 h 105927"/>
              <a:gd name="connsiteX54" fmla="*/ 28956 w 46787"/>
              <a:gd name="connsiteY54" fmla="*/ 101146 h 105927"/>
              <a:gd name="connsiteX55" fmla="*/ 27404 w 46787"/>
              <a:gd name="connsiteY55" fmla="*/ 100975 h 105927"/>
              <a:gd name="connsiteX56" fmla="*/ 27080 w 46787"/>
              <a:gd name="connsiteY56" fmla="*/ 101470 h 105927"/>
              <a:gd name="connsiteX57" fmla="*/ 26908 w 46787"/>
              <a:gd name="connsiteY57" fmla="*/ 102994 h 105927"/>
              <a:gd name="connsiteX58" fmla="*/ 26499 w 46787"/>
              <a:gd name="connsiteY58" fmla="*/ 104280 h 105927"/>
              <a:gd name="connsiteX59" fmla="*/ 25861 w 46787"/>
              <a:gd name="connsiteY59" fmla="*/ 105070 h 105927"/>
              <a:gd name="connsiteX60" fmla="*/ 24755 w 46787"/>
              <a:gd name="connsiteY60" fmla="*/ 105928 h 105927"/>
              <a:gd name="connsiteX61" fmla="*/ 22727 w 46787"/>
              <a:gd name="connsiteY61" fmla="*/ 105651 h 105927"/>
              <a:gd name="connsiteX62" fmla="*/ 20822 w 46787"/>
              <a:gd name="connsiteY62" fmla="*/ 104356 h 105927"/>
              <a:gd name="connsiteX63" fmla="*/ 19831 w 46787"/>
              <a:gd name="connsiteY63" fmla="*/ 103956 h 105927"/>
              <a:gd name="connsiteX64" fmla="*/ 19260 w 46787"/>
              <a:gd name="connsiteY64" fmla="*/ 103994 h 105927"/>
              <a:gd name="connsiteX65" fmla="*/ 19108 w 46787"/>
              <a:gd name="connsiteY65" fmla="*/ 100822 h 105927"/>
              <a:gd name="connsiteX66" fmla="*/ 18279 w 46787"/>
              <a:gd name="connsiteY66" fmla="*/ 98355 h 105927"/>
              <a:gd name="connsiteX67" fmla="*/ 15269 w 46787"/>
              <a:gd name="connsiteY67" fmla="*/ 92402 h 105927"/>
              <a:gd name="connsiteX68" fmla="*/ 5449 w 46787"/>
              <a:gd name="connsiteY68" fmla="*/ 86611 h 105927"/>
              <a:gd name="connsiteX69" fmla="*/ 3134 w 46787"/>
              <a:gd name="connsiteY69" fmla="*/ 84001 h 105927"/>
              <a:gd name="connsiteX70" fmla="*/ 2124 w 46787"/>
              <a:gd name="connsiteY70" fmla="*/ 81801 h 105927"/>
              <a:gd name="connsiteX71" fmla="*/ 1105 w 46787"/>
              <a:gd name="connsiteY71" fmla="*/ 79724 h 105927"/>
              <a:gd name="connsiteX72" fmla="*/ 2077 w 46787"/>
              <a:gd name="connsiteY72" fmla="*/ 79667 h 105927"/>
              <a:gd name="connsiteX73" fmla="*/ 3039 w 46787"/>
              <a:gd name="connsiteY73" fmla="*/ 80191 h 105927"/>
              <a:gd name="connsiteX74" fmla="*/ 4267 w 46787"/>
              <a:gd name="connsiteY74" fmla="*/ 80829 h 105927"/>
              <a:gd name="connsiteX75" fmla="*/ 4772 w 46787"/>
              <a:gd name="connsiteY75" fmla="*/ 79791 h 105927"/>
              <a:gd name="connsiteX76" fmla="*/ 4239 w 46787"/>
              <a:gd name="connsiteY76" fmla="*/ 77514 h 105927"/>
              <a:gd name="connsiteX77" fmla="*/ 1705 w 46787"/>
              <a:gd name="connsiteY77" fmla="*/ 72200 h 105927"/>
              <a:gd name="connsiteX78" fmla="*/ 1514 w 46787"/>
              <a:gd name="connsiteY78" fmla="*/ 70733 h 105927"/>
              <a:gd name="connsiteX79" fmla="*/ 2753 w 46787"/>
              <a:gd name="connsiteY79" fmla="*/ 66275 h 105927"/>
              <a:gd name="connsiteX80" fmla="*/ 4820 w 46787"/>
              <a:gd name="connsiteY80" fmla="*/ 61255 h 105927"/>
              <a:gd name="connsiteX81" fmla="*/ 4686 w 46787"/>
              <a:gd name="connsiteY81" fmla="*/ 55159 h 105927"/>
              <a:gd name="connsiteX82" fmla="*/ 5325 w 46787"/>
              <a:gd name="connsiteY82" fmla="*/ 50540 h 105927"/>
              <a:gd name="connsiteX83" fmla="*/ 4610 w 46787"/>
              <a:gd name="connsiteY83" fmla="*/ 47539 h 105927"/>
              <a:gd name="connsiteX84" fmla="*/ 4267 w 46787"/>
              <a:gd name="connsiteY84" fmla="*/ 43863 h 105927"/>
              <a:gd name="connsiteX85" fmla="*/ 5782 w 46787"/>
              <a:gd name="connsiteY85" fmla="*/ 38957 h 105927"/>
              <a:gd name="connsiteX86" fmla="*/ 7087 w 46787"/>
              <a:gd name="connsiteY86" fmla="*/ 37748 h 105927"/>
              <a:gd name="connsiteX87" fmla="*/ 7887 w 46787"/>
              <a:gd name="connsiteY87" fmla="*/ 36186 h 105927"/>
              <a:gd name="connsiteX88" fmla="*/ 7934 w 46787"/>
              <a:gd name="connsiteY88" fmla="*/ 30947 h 105927"/>
              <a:gd name="connsiteX89" fmla="*/ 5010 w 46787"/>
              <a:gd name="connsiteY89" fmla="*/ 28489 h 105927"/>
              <a:gd name="connsiteX90" fmla="*/ 1648 w 46787"/>
              <a:gd name="connsiteY90" fmla="*/ 28032 h 105927"/>
              <a:gd name="connsiteX91" fmla="*/ 1724 w 46787"/>
              <a:gd name="connsiteY91" fmla="*/ 26251 h 105927"/>
              <a:gd name="connsiteX92" fmla="*/ 2143 w 46787"/>
              <a:gd name="connsiteY92" fmla="*/ 23422 h 105927"/>
              <a:gd name="connsiteX93" fmla="*/ 1905 w 46787"/>
              <a:gd name="connsiteY93" fmla="*/ 22479 h 105927"/>
              <a:gd name="connsiteX94" fmla="*/ 2153 w 46787"/>
              <a:gd name="connsiteY94" fmla="*/ 20860 h 105927"/>
              <a:gd name="connsiteX95" fmla="*/ 1334 w 46787"/>
              <a:gd name="connsiteY95" fmla="*/ 18707 h 105927"/>
              <a:gd name="connsiteX96" fmla="*/ 0 w 46787"/>
              <a:gd name="connsiteY96" fmla="*/ 17145 h 105927"/>
              <a:gd name="connsiteX97" fmla="*/ 1286 w 46787"/>
              <a:gd name="connsiteY97" fmla="*/ 14392 h 105927"/>
              <a:gd name="connsiteX98" fmla="*/ 3172 w 46787"/>
              <a:gd name="connsiteY98" fmla="*/ 11049 h 105927"/>
              <a:gd name="connsiteX99" fmla="*/ 4925 w 46787"/>
              <a:gd name="connsiteY99" fmla="*/ 8401 h 105927"/>
              <a:gd name="connsiteX100" fmla="*/ 7049 w 46787"/>
              <a:gd name="connsiteY100" fmla="*/ 5639 h 105927"/>
              <a:gd name="connsiteX101" fmla="*/ 8468 w 46787"/>
              <a:gd name="connsiteY101" fmla="*/ 2991 h 105927"/>
              <a:gd name="connsiteX102" fmla="*/ 9983 w 46787"/>
              <a:gd name="connsiteY102" fmla="*/ 695 h 105927"/>
              <a:gd name="connsiteX103" fmla="*/ 11297 w 46787"/>
              <a:gd name="connsiteY103" fmla="*/ 0 h 105927"/>
              <a:gd name="connsiteX104" fmla="*/ 11945 w 46787"/>
              <a:gd name="connsiteY104" fmla="*/ 486 h 105927"/>
              <a:gd name="connsiteX105" fmla="*/ 12297 w 46787"/>
              <a:gd name="connsiteY105" fmla="*/ 1486 h 105927"/>
              <a:gd name="connsiteX106" fmla="*/ 12211 w 46787"/>
              <a:gd name="connsiteY106" fmla="*/ 4439 h 105927"/>
              <a:gd name="connsiteX107" fmla="*/ 12659 w 46787"/>
              <a:gd name="connsiteY107" fmla="*/ 5458 h 105927"/>
              <a:gd name="connsiteX108" fmla="*/ 13564 w 46787"/>
              <a:gd name="connsiteY108" fmla="*/ 6210 h 105927"/>
              <a:gd name="connsiteX109" fmla="*/ 15478 w 46787"/>
              <a:gd name="connsiteY109" fmla="*/ 5839 h 105927"/>
              <a:gd name="connsiteX110" fmla="*/ 17593 w 46787"/>
              <a:gd name="connsiteY110" fmla="*/ 5106 h 105927"/>
              <a:gd name="connsiteX111" fmla="*/ 20450 w 46787"/>
              <a:gd name="connsiteY111" fmla="*/ 3543 h 105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46787" h="105927">
                <a:moveTo>
                  <a:pt x="20936" y="3639"/>
                </a:moveTo>
                <a:lnTo>
                  <a:pt x="21993" y="4458"/>
                </a:lnTo>
                <a:lnTo>
                  <a:pt x="24194" y="8020"/>
                </a:lnTo>
                <a:lnTo>
                  <a:pt x="25651" y="11163"/>
                </a:lnTo>
                <a:lnTo>
                  <a:pt x="28537" y="12249"/>
                </a:lnTo>
                <a:lnTo>
                  <a:pt x="30137" y="13468"/>
                </a:lnTo>
                <a:lnTo>
                  <a:pt x="32204" y="15326"/>
                </a:lnTo>
                <a:lnTo>
                  <a:pt x="33195" y="17183"/>
                </a:lnTo>
                <a:lnTo>
                  <a:pt x="34604" y="22870"/>
                </a:lnTo>
                <a:lnTo>
                  <a:pt x="34766" y="26299"/>
                </a:lnTo>
                <a:lnTo>
                  <a:pt x="34357" y="27861"/>
                </a:lnTo>
                <a:lnTo>
                  <a:pt x="34014" y="28270"/>
                </a:lnTo>
                <a:lnTo>
                  <a:pt x="32728" y="33833"/>
                </a:lnTo>
                <a:lnTo>
                  <a:pt x="33033" y="36662"/>
                </a:lnTo>
                <a:lnTo>
                  <a:pt x="33024" y="38529"/>
                </a:lnTo>
                <a:lnTo>
                  <a:pt x="31938" y="39262"/>
                </a:lnTo>
                <a:lnTo>
                  <a:pt x="31214" y="40434"/>
                </a:lnTo>
                <a:lnTo>
                  <a:pt x="32385" y="45044"/>
                </a:lnTo>
                <a:lnTo>
                  <a:pt x="32242" y="47015"/>
                </a:lnTo>
                <a:lnTo>
                  <a:pt x="32300" y="49263"/>
                </a:lnTo>
                <a:lnTo>
                  <a:pt x="34404" y="54388"/>
                </a:lnTo>
                <a:lnTo>
                  <a:pt x="35652" y="55969"/>
                </a:lnTo>
                <a:lnTo>
                  <a:pt x="36757" y="56722"/>
                </a:lnTo>
                <a:lnTo>
                  <a:pt x="38186" y="61427"/>
                </a:lnTo>
                <a:lnTo>
                  <a:pt x="39024" y="62236"/>
                </a:lnTo>
                <a:lnTo>
                  <a:pt x="42482" y="61789"/>
                </a:lnTo>
                <a:lnTo>
                  <a:pt x="44177" y="62312"/>
                </a:lnTo>
                <a:lnTo>
                  <a:pt x="44854" y="63427"/>
                </a:lnTo>
                <a:lnTo>
                  <a:pt x="45006" y="64189"/>
                </a:lnTo>
                <a:lnTo>
                  <a:pt x="44778" y="66818"/>
                </a:lnTo>
                <a:lnTo>
                  <a:pt x="45634" y="68837"/>
                </a:lnTo>
                <a:lnTo>
                  <a:pt x="46787" y="70914"/>
                </a:lnTo>
                <a:lnTo>
                  <a:pt x="46787" y="72180"/>
                </a:lnTo>
                <a:lnTo>
                  <a:pt x="46006" y="74257"/>
                </a:lnTo>
                <a:lnTo>
                  <a:pt x="44625" y="76667"/>
                </a:lnTo>
                <a:lnTo>
                  <a:pt x="42796" y="77600"/>
                </a:lnTo>
                <a:lnTo>
                  <a:pt x="40777" y="78381"/>
                </a:lnTo>
                <a:lnTo>
                  <a:pt x="39805" y="80258"/>
                </a:lnTo>
                <a:lnTo>
                  <a:pt x="39320" y="82248"/>
                </a:lnTo>
                <a:lnTo>
                  <a:pt x="38415" y="83725"/>
                </a:lnTo>
                <a:lnTo>
                  <a:pt x="37862" y="85344"/>
                </a:lnTo>
                <a:lnTo>
                  <a:pt x="36995" y="88640"/>
                </a:lnTo>
                <a:lnTo>
                  <a:pt x="36795" y="89830"/>
                </a:lnTo>
                <a:lnTo>
                  <a:pt x="35433" y="91040"/>
                </a:lnTo>
                <a:lnTo>
                  <a:pt x="33319" y="91535"/>
                </a:lnTo>
                <a:lnTo>
                  <a:pt x="31414" y="91640"/>
                </a:lnTo>
                <a:lnTo>
                  <a:pt x="30137" y="92202"/>
                </a:lnTo>
                <a:lnTo>
                  <a:pt x="29480" y="93326"/>
                </a:lnTo>
                <a:lnTo>
                  <a:pt x="28270" y="94231"/>
                </a:lnTo>
                <a:lnTo>
                  <a:pt x="27547" y="94631"/>
                </a:lnTo>
                <a:lnTo>
                  <a:pt x="27547" y="95631"/>
                </a:lnTo>
                <a:lnTo>
                  <a:pt x="28423" y="97717"/>
                </a:lnTo>
                <a:lnTo>
                  <a:pt x="29423" y="99413"/>
                </a:lnTo>
                <a:lnTo>
                  <a:pt x="29452" y="100765"/>
                </a:lnTo>
                <a:lnTo>
                  <a:pt x="28956" y="101146"/>
                </a:lnTo>
                <a:lnTo>
                  <a:pt x="27404" y="100975"/>
                </a:lnTo>
                <a:lnTo>
                  <a:pt x="27080" y="101470"/>
                </a:lnTo>
                <a:lnTo>
                  <a:pt x="26908" y="102994"/>
                </a:lnTo>
                <a:lnTo>
                  <a:pt x="26499" y="104280"/>
                </a:lnTo>
                <a:lnTo>
                  <a:pt x="25861" y="105070"/>
                </a:lnTo>
                <a:lnTo>
                  <a:pt x="24755" y="105928"/>
                </a:lnTo>
                <a:lnTo>
                  <a:pt x="22727" y="105651"/>
                </a:lnTo>
                <a:lnTo>
                  <a:pt x="20822" y="104356"/>
                </a:lnTo>
                <a:lnTo>
                  <a:pt x="19831" y="103956"/>
                </a:lnTo>
                <a:lnTo>
                  <a:pt x="19260" y="103994"/>
                </a:lnTo>
                <a:lnTo>
                  <a:pt x="19108" y="100822"/>
                </a:lnTo>
                <a:lnTo>
                  <a:pt x="18279" y="98355"/>
                </a:lnTo>
                <a:lnTo>
                  <a:pt x="15269" y="92402"/>
                </a:lnTo>
                <a:lnTo>
                  <a:pt x="5449" y="86611"/>
                </a:lnTo>
                <a:lnTo>
                  <a:pt x="3134" y="84001"/>
                </a:lnTo>
                <a:lnTo>
                  <a:pt x="2124" y="81801"/>
                </a:lnTo>
                <a:lnTo>
                  <a:pt x="1105" y="79724"/>
                </a:lnTo>
                <a:lnTo>
                  <a:pt x="2077" y="79667"/>
                </a:lnTo>
                <a:lnTo>
                  <a:pt x="3039" y="80191"/>
                </a:lnTo>
                <a:lnTo>
                  <a:pt x="4267" y="80829"/>
                </a:lnTo>
                <a:lnTo>
                  <a:pt x="4772" y="79791"/>
                </a:lnTo>
                <a:lnTo>
                  <a:pt x="4239" y="77514"/>
                </a:lnTo>
                <a:lnTo>
                  <a:pt x="1705" y="72200"/>
                </a:lnTo>
                <a:lnTo>
                  <a:pt x="1514" y="70733"/>
                </a:lnTo>
                <a:lnTo>
                  <a:pt x="2753" y="66275"/>
                </a:lnTo>
                <a:lnTo>
                  <a:pt x="4820" y="61255"/>
                </a:lnTo>
                <a:lnTo>
                  <a:pt x="4686" y="55159"/>
                </a:lnTo>
                <a:lnTo>
                  <a:pt x="5325" y="50540"/>
                </a:lnTo>
                <a:lnTo>
                  <a:pt x="4610" y="47539"/>
                </a:lnTo>
                <a:lnTo>
                  <a:pt x="4267" y="43863"/>
                </a:lnTo>
                <a:lnTo>
                  <a:pt x="5782" y="38957"/>
                </a:lnTo>
                <a:lnTo>
                  <a:pt x="7087" y="37748"/>
                </a:lnTo>
                <a:lnTo>
                  <a:pt x="7887" y="36186"/>
                </a:lnTo>
                <a:lnTo>
                  <a:pt x="7934" y="30947"/>
                </a:lnTo>
                <a:lnTo>
                  <a:pt x="5010" y="28489"/>
                </a:lnTo>
                <a:lnTo>
                  <a:pt x="1648" y="28032"/>
                </a:lnTo>
                <a:lnTo>
                  <a:pt x="1724" y="26251"/>
                </a:lnTo>
                <a:lnTo>
                  <a:pt x="2143" y="23422"/>
                </a:lnTo>
                <a:lnTo>
                  <a:pt x="1905" y="22479"/>
                </a:lnTo>
                <a:lnTo>
                  <a:pt x="2153" y="20860"/>
                </a:lnTo>
                <a:lnTo>
                  <a:pt x="1334" y="18707"/>
                </a:lnTo>
                <a:lnTo>
                  <a:pt x="0" y="17145"/>
                </a:lnTo>
                <a:lnTo>
                  <a:pt x="1286" y="14392"/>
                </a:lnTo>
                <a:lnTo>
                  <a:pt x="3172" y="11049"/>
                </a:lnTo>
                <a:lnTo>
                  <a:pt x="4925" y="8401"/>
                </a:lnTo>
                <a:lnTo>
                  <a:pt x="7049" y="5639"/>
                </a:lnTo>
                <a:lnTo>
                  <a:pt x="8468" y="2991"/>
                </a:lnTo>
                <a:lnTo>
                  <a:pt x="9983" y="695"/>
                </a:lnTo>
                <a:lnTo>
                  <a:pt x="11297" y="0"/>
                </a:lnTo>
                <a:lnTo>
                  <a:pt x="11945" y="486"/>
                </a:lnTo>
                <a:lnTo>
                  <a:pt x="12297" y="1486"/>
                </a:lnTo>
                <a:lnTo>
                  <a:pt x="12211" y="4439"/>
                </a:lnTo>
                <a:lnTo>
                  <a:pt x="12659" y="5458"/>
                </a:lnTo>
                <a:lnTo>
                  <a:pt x="13564" y="6210"/>
                </a:lnTo>
                <a:lnTo>
                  <a:pt x="15478" y="5839"/>
                </a:lnTo>
                <a:lnTo>
                  <a:pt x="17593" y="5106"/>
                </a:lnTo>
                <a:lnTo>
                  <a:pt x="20450" y="3543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7" name="Forme libre : forme 6">
            <a:extLst>
              <a:ext uri="{FF2B5EF4-FFF2-40B4-BE49-F238E27FC236}">
                <a16:creationId xmlns:a16="http://schemas.microsoft.com/office/drawing/2014/main" id="{47809C02-A44B-88BC-A182-15E673000504}"/>
              </a:ext>
            </a:extLst>
          </p:cNvPr>
          <p:cNvSpPr/>
          <p:nvPr/>
        </p:nvSpPr>
        <p:spPr>
          <a:xfrm>
            <a:off x="5853616" y="3610468"/>
            <a:ext cx="265786" cy="134396"/>
          </a:xfrm>
          <a:custGeom>
            <a:avLst/>
            <a:gdLst>
              <a:gd name="connsiteX0" fmla="*/ 198587 w 203777"/>
              <a:gd name="connsiteY0" fmla="*/ 16278 h 103041"/>
              <a:gd name="connsiteX1" fmla="*/ 198482 w 203777"/>
              <a:gd name="connsiteY1" fmla="*/ 16688 h 103041"/>
              <a:gd name="connsiteX2" fmla="*/ 198329 w 203777"/>
              <a:gd name="connsiteY2" fmla="*/ 18202 h 103041"/>
              <a:gd name="connsiteX3" fmla="*/ 197292 w 203777"/>
              <a:gd name="connsiteY3" fmla="*/ 20117 h 103041"/>
              <a:gd name="connsiteX4" fmla="*/ 196167 w 203777"/>
              <a:gd name="connsiteY4" fmla="*/ 22613 h 103041"/>
              <a:gd name="connsiteX5" fmla="*/ 196244 w 203777"/>
              <a:gd name="connsiteY5" fmla="*/ 24803 h 103041"/>
              <a:gd name="connsiteX6" fmla="*/ 199111 w 203777"/>
              <a:gd name="connsiteY6" fmla="*/ 32366 h 103041"/>
              <a:gd name="connsiteX7" fmla="*/ 201664 w 203777"/>
              <a:gd name="connsiteY7" fmla="*/ 36947 h 103041"/>
              <a:gd name="connsiteX8" fmla="*/ 202140 w 203777"/>
              <a:gd name="connsiteY8" fmla="*/ 38691 h 103041"/>
              <a:gd name="connsiteX9" fmla="*/ 203778 w 203777"/>
              <a:gd name="connsiteY9" fmla="*/ 40034 h 103041"/>
              <a:gd name="connsiteX10" fmla="*/ 202225 w 203777"/>
              <a:gd name="connsiteY10" fmla="*/ 41720 h 103041"/>
              <a:gd name="connsiteX11" fmla="*/ 201921 w 203777"/>
              <a:gd name="connsiteY11" fmla="*/ 44215 h 103041"/>
              <a:gd name="connsiteX12" fmla="*/ 200911 w 203777"/>
              <a:gd name="connsiteY12" fmla="*/ 45330 h 103041"/>
              <a:gd name="connsiteX13" fmla="*/ 200644 w 203777"/>
              <a:gd name="connsiteY13" fmla="*/ 46749 h 103041"/>
              <a:gd name="connsiteX14" fmla="*/ 201073 w 203777"/>
              <a:gd name="connsiteY14" fmla="*/ 48044 h 103041"/>
              <a:gd name="connsiteX15" fmla="*/ 201064 w 203777"/>
              <a:gd name="connsiteY15" fmla="*/ 49664 h 103041"/>
              <a:gd name="connsiteX16" fmla="*/ 201625 w 203777"/>
              <a:gd name="connsiteY16" fmla="*/ 51883 h 103041"/>
              <a:gd name="connsiteX17" fmla="*/ 199130 w 203777"/>
              <a:gd name="connsiteY17" fmla="*/ 52369 h 103041"/>
              <a:gd name="connsiteX18" fmla="*/ 196167 w 203777"/>
              <a:gd name="connsiteY18" fmla="*/ 52292 h 103041"/>
              <a:gd name="connsiteX19" fmla="*/ 195110 w 203777"/>
              <a:gd name="connsiteY19" fmla="*/ 52426 h 103041"/>
              <a:gd name="connsiteX20" fmla="*/ 194120 w 203777"/>
              <a:gd name="connsiteY20" fmla="*/ 53035 h 103041"/>
              <a:gd name="connsiteX21" fmla="*/ 193101 w 203777"/>
              <a:gd name="connsiteY21" fmla="*/ 52731 h 103041"/>
              <a:gd name="connsiteX22" fmla="*/ 190414 w 203777"/>
              <a:gd name="connsiteY22" fmla="*/ 50645 h 103041"/>
              <a:gd name="connsiteX23" fmla="*/ 188910 w 203777"/>
              <a:gd name="connsiteY23" fmla="*/ 50178 h 103041"/>
              <a:gd name="connsiteX24" fmla="*/ 187843 w 203777"/>
              <a:gd name="connsiteY24" fmla="*/ 50302 h 103041"/>
              <a:gd name="connsiteX25" fmla="*/ 187042 w 203777"/>
              <a:gd name="connsiteY25" fmla="*/ 51216 h 103041"/>
              <a:gd name="connsiteX26" fmla="*/ 185662 w 203777"/>
              <a:gd name="connsiteY26" fmla="*/ 52378 h 103041"/>
              <a:gd name="connsiteX27" fmla="*/ 184376 w 203777"/>
              <a:gd name="connsiteY27" fmla="*/ 53197 h 103041"/>
              <a:gd name="connsiteX28" fmla="*/ 184661 w 203777"/>
              <a:gd name="connsiteY28" fmla="*/ 53912 h 103041"/>
              <a:gd name="connsiteX29" fmla="*/ 190214 w 203777"/>
              <a:gd name="connsiteY29" fmla="*/ 55788 h 103041"/>
              <a:gd name="connsiteX30" fmla="*/ 191196 w 203777"/>
              <a:gd name="connsiteY30" fmla="*/ 58664 h 103041"/>
              <a:gd name="connsiteX31" fmla="*/ 190129 w 203777"/>
              <a:gd name="connsiteY31" fmla="*/ 61008 h 103041"/>
              <a:gd name="connsiteX32" fmla="*/ 189767 w 203777"/>
              <a:gd name="connsiteY32" fmla="*/ 62160 h 103041"/>
              <a:gd name="connsiteX33" fmla="*/ 188462 w 203777"/>
              <a:gd name="connsiteY33" fmla="*/ 63056 h 103041"/>
              <a:gd name="connsiteX34" fmla="*/ 186871 w 203777"/>
              <a:gd name="connsiteY34" fmla="*/ 63846 h 103041"/>
              <a:gd name="connsiteX35" fmla="*/ 184947 w 203777"/>
              <a:gd name="connsiteY35" fmla="*/ 64046 h 103041"/>
              <a:gd name="connsiteX36" fmla="*/ 184719 w 203777"/>
              <a:gd name="connsiteY36" fmla="*/ 65313 h 103041"/>
              <a:gd name="connsiteX37" fmla="*/ 185471 w 203777"/>
              <a:gd name="connsiteY37" fmla="*/ 69018 h 103041"/>
              <a:gd name="connsiteX38" fmla="*/ 184861 w 203777"/>
              <a:gd name="connsiteY38" fmla="*/ 69818 h 103041"/>
              <a:gd name="connsiteX39" fmla="*/ 184252 w 203777"/>
              <a:gd name="connsiteY39" fmla="*/ 70971 h 103041"/>
              <a:gd name="connsiteX40" fmla="*/ 184823 w 203777"/>
              <a:gd name="connsiteY40" fmla="*/ 74009 h 103041"/>
              <a:gd name="connsiteX41" fmla="*/ 186014 w 203777"/>
              <a:gd name="connsiteY41" fmla="*/ 74228 h 103041"/>
              <a:gd name="connsiteX42" fmla="*/ 186281 w 203777"/>
              <a:gd name="connsiteY42" fmla="*/ 74914 h 103041"/>
              <a:gd name="connsiteX43" fmla="*/ 186071 w 203777"/>
              <a:gd name="connsiteY43" fmla="*/ 76153 h 103041"/>
              <a:gd name="connsiteX44" fmla="*/ 185862 w 203777"/>
              <a:gd name="connsiteY44" fmla="*/ 77457 h 103041"/>
              <a:gd name="connsiteX45" fmla="*/ 185442 w 203777"/>
              <a:gd name="connsiteY45" fmla="*/ 78839 h 103041"/>
              <a:gd name="connsiteX46" fmla="*/ 185233 w 203777"/>
              <a:gd name="connsiteY46" fmla="*/ 79458 h 103041"/>
              <a:gd name="connsiteX47" fmla="*/ 184443 w 203777"/>
              <a:gd name="connsiteY47" fmla="*/ 79839 h 103041"/>
              <a:gd name="connsiteX48" fmla="*/ 181985 w 203777"/>
              <a:gd name="connsiteY48" fmla="*/ 79639 h 103041"/>
              <a:gd name="connsiteX49" fmla="*/ 179861 w 203777"/>
              <a:gd name="connsiteY49" fmla="*/ 80820 h 103041"/>
              <a:gd name="connsiteX50" fmla="*/ 175594 w 203777"/>
              <a:gd name="connsiteY50" fmla="*/ 85049 h 103041"/>
              <a:gd name="connsiteX51" fmla="*/ 174108 w 203777"/>
              <a:gd name="connsiteY51" fmla="*/ 85773 h 103041"/>
              <a:gd name="connsiteX52" fmla="*/ 172489 w 203777"/>
              <a:gd name="connsiteY52" fmla="*/ 87468 h 103041"/>
              <a:gd name="connsiteX53" fmla="*/ 172583 w 203777"/>
              <a:gd name="connsiteY53" fmla="*/ 91174 h 103041"/>
              <a:gd name="connsiteX54" fmla="*/ 172365 w 203777"/>
              <a:gd name="connsiteY54" fmla="*/ 91516 h 103041"/>
              <a:gd name="connsiteX55" fmla="*/ 171974 w 203777"/>
              <a:gd name="connsiteY55" fmla="*/ 92278 h 103041"/>
              <a:gd name="connsiteX56" fmla="*/ 166878 w 203777"/>
              <a:gd name="connsiteY56" fmla="*/ 90964 h 103041"/>
              <a:gd name="connsiteX57" fmla="*/ 166707 w 203777"/>
              <a:gd name="connsiteY57" fmla="*/ 90992 h 103041"/>
              <a:gd name="connsiteX58" fmla="*/ 163287 w 203777"/>
              <a:gd name="connsiteY58" fmla="*/ 91469 h 103041"/>
              <a:gd name="connsiteX59" fmla="*/ 160954 w 203777"/>
              <a:gd name="connsiteY59" fmla="*/ 93164 h 103041"/>
              <a:gd name="connsiteX60" fmla="*/ 158125 w 203777"/>
              <a:gd name="connsiteY60" fmla="*/ 94145 h 103041"/>
              <a:gd name="connsiteX61" fmla="*/ 152181 w 203777"/>
              <a:gd name="connsiteY61" fmla="*/ 93621 h 103041"/>
              <a:gd name="connsiteX62" fmla="*/ 146400 w 203777"/>
              <a:gd name="connsiteY62" fmla="*/ 94279 h 103041"/>
              <a:gd name="connsiteX63" fmla="*/ 145028 w 203777"/>
              <a:gd name="connsiteY63" fmla="*/ 94774 h 103041"/>
              <a:gd name="connsiteX64" fmla="*/ 143532 w 203777"/>
              <a:gd name="connsiteY64" fmla="*/ 95060 h 103041"/>
              <a:gd name="connsiteX65" fmla="*/ 142122 w 203777"/>
              <a:gd name="connsiteY65" fmla="*/ 96050 h 103041"/>
              <a:gd name="connsiteX66" fmla="*/ 141313 w 203777"/>
              <a:gd name="connsiteY66" fmla="*/ 97441 h 103041"/>
              <a:gd name="connsiteX67" fmla="*/ 139875 w 203777"/>
              <a:gd name="connsiteY67" fmla="*/ 99193 h 103041"/>
              <a:gd name="connsiteX68" fmla="*/ 137827 w 203777"/>
              <a:gd name="connsiteY68" fmla="*/ 100575 h 103041"/>
              <a:gd name="connsiteX69" fmla="*/ 135608 w 203777"/>
              <a:gd name="connsiteY69" fmla="*/ 101641 h 103041"/>
              <a:gd name="connsiteX70" fmla="*/ 135074 w 203777"/>
              <a:gd name="connsiteY70" fmla="*/ 102527 h 103041"/>
              <a:gd name="connsiteX71" fmla="*/ 134350 w 203777"/>
              <a:gd name="connsiteY71" fmla="*/ 103042 h 103041"/>
              <a:gd name="connsiteX72" fmla="*/ 133103 w 203777"/>
              <a:gd name="connsiteY72" fmla="*/ 102375 h 103041"/>
              <a:gd name="connsiteX73" fmla="*/ 132102 w 203777"/>
              <a:gd name="connsiteY73" fmla="*/ 102413 h 103041"/>
              <a:gd name="connsiteX74" fmla="*/ 130874 w 203777"/>
              <a:gd name="connsiteY74" fmla="*/ 101956 h 103041"/>
              <a:gd name="connsiteX75" fmla="*/ 126787 w 203777"/>
              <a:gd name="connsiteY75" fmla="*/ 101460 h 103041"/>
              <a:gd name="connsiteX76" fmla="*/ 122311 w 203777"/>
              <a:gd name="connsiteY76" fmla="*/ 100641 h 103041"/>
              <a:gd name="connsiteX77" fmla="*/ 120167 w 203777"/>
              <a:gd name="connsiteY77" fmla="*/ 99860 h 103041"/>
              <a:gd name="connsiteX78" fmla="*/ 117748 w 203777"/>
              <a:gd name="connsiteY78" fmla="*/ 99231 h 103041"/>
              <a:gd name="connsiteX79" fmla="*/ 115139 w 203777"/>
              <a:gd name="connsiteY79" fmla="*/ 98727 h 103041"/>
              <a:gd name="connsiteX80" fmla="*/ 112804 w 203777"/>
              <a:gd name="connsiteY80" fmla="*/ 98612 h 103041"/>
              <a:gd name="connsiteX81" fmla="*/ 111624 w 203777"/>
              <a:gd name="connsiteY81" fmla="*/ 98374 h 103041"/>
              <a:gd name="connsiteX82" fmla="*/ 106014 w 203777"/>
              <a:gd name="connsiteY82" fmla="*/ 97012 h 103041"/>
              <a:gd name="connsiteX83" fmla="*/ 102308 w 203777"/>
              <a:gd name="connsiteY83" fmla="*/ 96917 h 103041"/>
              <a:gd name="connsiteX84" fmla="*/ 97422 w 203777"/>
              <a:gd name="connsiteY84" fmla="*/ 96346 h 103041"/>
              <a:gd name="connsiteX85" fmla="*/ 87716 w 203777"/>
              <a:gd name="connsiteY85" fmla="*/ 94288 h 103041"/>
              <a:gd name="connsiteX86" fmla="*/ 84887 w 203777"/>
              <a:gd name="connsiteY86" fmla="*/ 93450 h 103041"/>
              <a:gd name="connsiteX87" fmla="*/ 82191 w 203777"/>
              <a:gd name="connsiteY87" fmla="*/ 93193 h 103041"/>
              <a:gd name="connsiteX88" fmla="*/ 78991 w 203777"/>
              <a:gd name="connsiteY88" fmla="*/ 92478 h 103041"/>
              <a:gd name="connsiteX89" fmla="*/ 76562 w 203777"/>
              <a:gd name="connsiteY89" fmla="*/ 91307 h 103041"/>
              <a:gd name="connsiteX90" fmla="*/ 75009 w 203777"/>
              <a:gd name="connsiteY90" fmla="*/ 89078 h 103041"/>
              <a:gd name="connsiteX91" fmla="*/ 73343 w 203777"/>
              <a:gd name="connsiteY91" fmla="*/ 86125 h 103041"/>
              <a:gd name="connsiteX92" fmla="*/ 70304 w 203777"/>
              <a:gd name="connsiteY92" fmla="*/ 82248 h 103041"/>
              <a:gd name="connsiteX93" fmla="*/ 69675 w 203777"/>
              <a:gd name="connsiteY93" fmla="*/ 80315 h 103041"/>
              <a:gd name="connsiteX94" fmla="*/ 70609 w 203777"/>
              <a:gd name="connsiteY94" fmla="*/ 78619 h 103041"/>
              <a:gd name="connsiteX95" fmla="*/ 71561 w 203777"/>
              <a:gd name="connsiteY95" fmla="*/ 77334 h 103041"/>
              <a:gd name="connsiteX96" fmla="*/ 71457 w 203777"/>
              <a:gd name="connsiteY96" fmla="*/ 76791 h 103041"/>
              <a:gd name="connsiteX97" fmla="*/ 70714 w 203777"/>
              <a:gd name="connsiteY97" fmla="*/ 76505 h 103041"/>
              <a:gd name="connsiteX98" fmla="*/ 65370 w 203777"/>
              <a:gd name="connsiteY98" fmla="*/ 78162 h 103041"/>
              <a:gd name="connsiteX99" fmla="*/ 60188 w 203777"/>
              <a:gd name="connsiteY99" fmla="*/ 80258 h 103041"/>
              <a:gd name="connsiteX100" fmla="*/ 58150 w 203777"/>
              <a:gd name="connsiteY100" fmla="*/ 80315 h 103041"/>
              <a:gd name="connsiteX101" fmla="*/ 56179 w 203777"/>
              <a:gd name="connsiteY101" fmla="*/ 79858 h 103041"/>
              <a:gd name="connsiteX102" fmla="*/ 53550 w 203777"/>
              <a:gd name="connsiteY102" fmla="*/ 79820 h 103041"/>
              <a:gd name="connsiteX103" fmla="*/ 51035 w 203777"/>
              <a:gd name="connsiteY103" fmla="*/ 80381 h 103041"/>
              <a:gd name="connsiteX104" fmla="*/ 45987 w 203777"/>
              <a:gd name="connsiteY104" fmla="*/ 80667 h 103041"/>
              <a:gd name="connsiteX105" fmla="*/ 43034 w 203777"/>
              <a:gd name="connsiteY105" fmla="*/ 82210 h 103041"/>
              <a:gd name="connsiteX106" fmla="*/ 41148 w 203777"/>
              <a:gd name="connsiteY106" fmla="*/ 85211 h 103041"/>
              <a:gd name="connsiteX107" fmla="*/ 40129 w 203777"/>
              <a:gd name="connsiteY107" fmla="*/ 87630 h 103041"/>
              <a:gd name="connsiteX108" fmla="*/ 39272 w 203777"/>
              <a:gd name="connsiteY108" fmla="*/ 88411 h 103041"/>
              <a:gd name="connsiteX109" fmla="*/ 37510 w 203777"/>
              <a:gd name="connsiteY109" fmla="*/ 88707 h 103041"/>
              <a:gd name="connsiteX110" fmla="*/ 34881 w 203777"/>
              <a:gd name="connsiteY110" fmla="*/ 88478 h 103041"/>
              <a:gd name="connsiteX111" fmla="*/ 33033 w 203777"/>
              <a:gd name="connsiteY111" fmla="*/ 87782 h 103041"/>
              <a:gd name="connsiteX112" fmla="*/ 31147 w 203777"/>
              <a:gd name="connsiteY112" fmla="*/ 85716 h 103041"/>
              <a:gd name="connsiteX113" fmla="*/ 28223 w 203777"/>
              <a:gd name="connsiteY113" fmla="*/ 85420 h 103041"/>
              <a:gd name="connsiteX114" fmla="*/ 25537 w 203777"/>
              <a:gd name="connsiteY114" fmla="*/ 85373 h 103041"/>
              <a:gd name="connsiteX115" fmla="*/ 24822 w 203777"/>
              <a:gd name="connsiteY115" fmla="*/ 84992 h 103041"/>
              <a:gd name="connsiteX116" fmla="*/ 24870 w 203777"/>
              <a:gd name="connsiteY116" fmla="*/ 83639 h 103041"/>
              <a:gd name="connsiteX117" fmla="*/ 23813 w 203777"/>
              <a:gd name="connsiteY117" fmla="*/ 81106 h 103041"/>
              <a:gd name="connsiteX118" fmla="*/ 22060 w 203777"/>
              <a:gd name="connsiteY118" fmla="*/ 80315 h 103041"/>
              <a:gd name="connsiteX119" fmla="*/ 17526 w 203777"/>
              <a:gd name="connsiteY119" fmla="*/ 85087 h 103041"/>
              <a:gd name="connsiteX120" fmla="*/ 16288 w 203777"/>
              <a:gd name="connsiteY120" fmla="*/ 85515 h 103041"/>
              <a:gd name="connsiteX121" fmla="*/ 12640 w 203777"/>
              <a:gd name="connsiteY121" fmla="*/ 84192 h 103041"/>
              <a:gd name="connsiteX122" fmla="*/ 9449 w 203777"/>
              <a:gd name="connsiteY122" fmla="*/ 82153 h 103041"/>
              <a:gd name="connsiteX123" fmla="*/ 9106 w 203777"/>
              <a:gd name="connsiteY123" fmla="*/ 80658 h 103041"/>
              <a:gd name="connsiteX124" fmla="*/ 8582 w 203777"/>
              <a:gd name="connsiteY124" fmla="*/ 79429 h 103041"/>
              <a:gd name="connsiteX125" fmla="*/ 5906 w 203777"/>
              <a:gd name="connsiteY125" fmla="*/ 78267 h 103041"/>
              <a:gd name="connsiteX126" fmla="*/ 2562 w 203777"/>
              <a:gd name="connsiteY126" fmla="*/ 77476 h 103041"/>
              <a:gd name="connsiteX127" fmla="*/ 1496 w 203777"/>
              <a:gd name="connsiteY127" fmla="*/ 77476 h 103041"/>
              <a:gd name="connsiteX128" fmla="*/ 1915 w 203777"/>
              <a:gd name="connsiteY128" fmla="*/ 76753 h 103041"/>
              <a:gd name="connsiteX129" fmla="*/ 2305 w 203777"/>
              <a:gd name="connsiteY129" fmla="*/ 75524 h 103041"/>
              <a:gd name="connsiteX130" fmla="*/ 2057 w 203777"/>
              <a:gd name="connsiteY130" fmla="*/ 74552 h 103041"/>
              <a:gd name="connsiteX131" fmla="*/ 1276 w 203777"/>
              <a:gd name="connsiteY131" fmla="*/ 73533 h 103041"/>
              <a:gd name="connsiteX132" fmla="*/ 848 w 203777"/>
              <a:gd name="connsiteY132" fmla="*/ 72457 h 103041"/>
              <a:gd name="connsiteX133" fmla="*/ 714 w 203777"/>
              <a:gd name="connsiteY133" fmla="*/ 71409 h 103041"/>
              <a:gd name="connsiteX134" fmla="*/ 476 w 203777"/>
              <a:gd name="connsiteY134" fmla="*/ 70552 h 103041"/>
              <a:gd name="connsiteX135" fmla="*/ 333 w 203777"/>
              <a:gd name="connsiteY135" fmla="*/ 69742 h 103041"/>
              <a:gd name="connsiteX136" fmla="*/ 86 w 203777"/>
              <a:gd name="connsiteY136" fmla="*/ 69114 h 103041"/>
              <a:gd name="connsiteX137" fmla="*/ 2267 w 203777"/>
              <a:gd name="connsiteY137" fmla="*/ 64351 h 103041"/>
              <a:gd name="connsiteX138" fmla="*/ 2715 w 203777"/>
              <a:gd name="connsiteY138" fmla="*/ 61389 h 103041"/>
              <a:gd name="connsiteX139" fmla="*/ 810 w 203777"/>
              <a:gd name="connsiteY139" fmla="*/ 59646 h 103041"/>
              <a:gd name="connsiteX140" fmla="*/ 0 w 203777"/>
              <a:gd name="connsiteY140" fmla="*/ 59131 h 103041"/>
              <a:gd name="connsiteX141" fmla="*/ 667 w 203777"/>
              <a:gd name="connsiteY141" fmla="*/ 58741 h 103041"/>
              <a:gd name="connsiteX142" fmla="*/ 3381 w 203777"/>
              <a:gd name="connsiteY142" fmla="*/ 59065 h 103041"/>
              <a:gd name="connsiteX143" fmla="*/ 5106 w 203777"/>
              <a:gd name="connsiteY143" fmla="*/ 58084 h 103041"/>
              <a:gd name="connsiteX144" fmla="*/ 6010 w 203777"/>
              <a:gd name="connsiteY144" fmla="*/ 57103 h 103041"/>
              <a:gd name="connsiteX145" fmla="*/ 8420 w 203777"/>
              <a:gd name="connsiteY145" fmla="*/ 58026 h 103041"/>
              <a:gd name="connsiteX146" fmla="*/ 11964 w 203777"/>
              <a:gd name="connsiteY146" fmla="*/ 59874 h 103041"/>
              <a:gd name="connsiteX147" fmla="*/ 13630 w 203777"/>
              <a:gd name="connsiteY147" fmla="*/ 61131 h 103041"/>
              <a:gd name="connsiteX148" fmla="*/ 14316 w 203777"/>
              <a:gd name="connsiteY148" fmla="*/ 62094 h 103041"/>
              <a:gd name="connsiteX149" fmla="*/ 14707 w 203777"/>
              <a:gd name="connsiteY149" fmla="*/ 62903 h 103041"/>
              <a:gd name="connsiteX150" fmla="*/ 14497 w 203777"/>
              <a:gd name="connsiteY150" fmla="*/ 64294 h 103041"/>
              <a:gd name="connsiteX151" fmla="*/ 15297 w 203777"/>
              <a:gd name="connsiteY151" fmla="*/ 64837 h 103041"/>
              <a:gd name="connsiteX152" fmla="*/ 16964 w 203777"/>
              <a:gd name="connsiteY152" fmla="*/ 65037 h 103041"/>
              <a:gd name="connsiteX153" fmla="*/ 18079 w 203777"/>
              <a:gd name="connsiteY153" fmla="*/ 65465 h 103041"/>
              <a:gd name="connsiteX154" fmla="*/ 17688 w 203777"/>
              <a:gd name="connsiteY154" fmla="*/ 67294 h 103041"/>
              <a:gd name="connsiteX155" fmla="*/ 17612 w 203777"/>
              <a:gd name="connsiteY155" fmla="*/ 68790 h 103041"/>
              <a:gd name="connsiteX156" fmla="*/ 19145 w 203777"/>
              <a:gd name="connsiteY156" fmla="*/ 68580 h 103041"/>
              <a:gd name="connsiteX157" fmla="*/ 21079 w 203777"/>
              <a:gd name="connsiteY157" fmla="*/ 67437 h 103041"/>
              <a:gd name="connsiteX158" fmla="*/ 22584 w 203777"/>
              <a:gd name="connsiteY158" fmla="*/ 65370 h 103041"/>
              <a:gd name="connsiteX159" fmla="*/ 23517 w 203777"/>
              <a:gd name="connsiteY159" fmla="*/ 63360 h 103041"/>
              <a:gd name="connsiteX160" fmla="*/ 24222 w 203777"/>
              <a:gd name="connsiteY160" fmla="*/ 58464 h 103041"/>
              <a:gd name="connsiteX161" fmla="*/ 24470 w 203777"/>
              <a:gd name="connsiteY161" fmla="*/ 58055 h 103041"/>
              <a:gd name="connsiteX162" fmla="*/ 25632 w 203777"/>
              <a:gd name="connsiteY162" fmla="*/ 58436 h 103041"/>
              <a:gd name="connsiteX163" fmla="*/ 30328 w 203777"/>
              <a:gd name="connsiteY163" fmla="*/ 58226 h 103041"/>
              <a:gd name="connsiteX164" fmla="*/ 32547 w 203777"/>
              <a:gd name="connsiteY164" fmla="*/ 59141 h 103041"/>
              <a:gd name="connsiteX165" fmla="*/ 36062 w 203777"/>
              <a:gd name="connsiteY165" fmla="*/ 59293 h 103041"/>
              <a:gd name="connsiteX166" fmla="*/ 35995 w 203777"/>
              <a:gd name="connsiteY166" fmla="*/ 60055 h 103041"/>
              <a:gd name="connsiteX167" fmla="*/ 36614 w 203777"/>
              <a:gd name="connsiteY167" fmla="*/ 61255 h 103041"/>
              <a:gd name="connsiteX168" fmla="*/ 38176 w 203777"/>
              <a:gd name="connsiteY168" fmla="*/ 62979 h 103041"/>
              <a:gd name="connsiteX169" fmla="*/ 38938 w 203777"/>
              <a:gd name="connsiteY169" fmla="*/ 64103 h 103041"/>
              <a:gd name="connsiteX170" fmla="*/ 40567 w 203777"/>
              <a:gd name="connsiteY170" fmla="*/ 64303 h 103041"/>
              <a:gd name="connsiteX171" fmla="*/ 43091 w 203777"/>
              <a:gd name="connsiteY171" fmla="*/ 63684 h 103041"/>
              <a:gd name="connsiteX172" fmla="*/ 44558 w 203777"/>
              <a:gd name="connsiteY172" fmla="*/ 63037 h 103041"/>
              <a:gd name="connsiteX173" fmla="*/ 45120 w 203777"/>
              <a:gd name="connsiteY173" fmla="*/ 63494 h 103041"/>
              <a:gd name="connsiteX174" fmla="*/ 47416 w 203777"/>
              <a:gd name="connsiteY174" fmla="*/ 63046 h 103041"/>
              <a:gd name="connsiteX175" fmla="*/ 49454 w 203777"/>
              <a:gd name="connsiteY175" fmla="*/ 61656 h 103041"/>
              <a:gd name="connsiteX176" fmla="*/ 49959 w 203777"/>
              <a:gd name="connsiteY176" fmla="*/ 60598 h 103041"/>
              <a:gd name="connsiteX177" fmla="*/ 52016 w 203777"/>
              <a:gd name="connsiteY177" fmla="*/ 59846 h 103041"/>
              <a:gd name="connsiteX178" fmla="*/ 54798 w 203777"/>
              <a:gd name="connsiteY178" fmla="*/ 58122 h 103041"/>
              <a:gd name="connsiteX179" fmla="*/ 58617 w 203777"/>
              <a:gd name="connsiteY179" fmla="*/ 56798 h 103041"/>
              <a:gd name="connsiteX180" fmla="*/ 71142 w 203777"/>
              <a:gd name="connsiteY180" fmla="*/ 55369 h 103041"/>
              <a:gd name="connsiteX181" fmla="*/ 71628 w 203777"/>
              <a:gd name="connsiteY181" fmla="*/ 54293 h 103041"/>
              <a:gd name="connsiteX182" fmla="*/ 71447 w 203777"/>
              <a:gd name="connsiteY182" fmla="*/ 51826 h 103041"/>
              <a:gd name="connsiteX183" fmla="*/ 71781 w 203777"/>
              <a:gd name="connsiteY183" fmla="*/ 51464 h 103041"/>
              <a:gd name="connsiteX184" fmla="*/ 73352 w 203777"/>
              <a:gd name="connsiteY184" fmla="*/ 52073 h 103041"/>
              <a:gd name="connsiteX185" fmla="*/ 75886 w 203777"/>
              <a:gd name="connsiteY185" fmla="*/ 52654 h 103041"/>
              <a:gd name="connsiteX186" fmla="*/ 77839 w 203777"/>
              <a:gd name="connsiteY186" fmla="*/ 53521 h 103041"/>
              <a:gd name="connsiteX187" fmla="*/ 79086 w 203777"/>
              <a:gd name="connsiteY187" fmla="*/ 54664 h 103041"/>
              <a:gd name="connsiteX188" fmla="*/ 80258 w 203777"/>
              <a:gd name="connsiteY188" fmla="*/ 54712 h 103041"/>
              <a:gd name="connsiteX189" fmla="*/ 82068 w 203777"/>
              <a:gd name="connsiteY189" fmla="*/ 53912 h 103041"/>
              <a:gd name="connsiteX190" fmla="*/ 84515 w 203777"/>
              <a:gd name="connsiteY190" fmla="*/ 53397 h 103041"/>
              <a:gd name="connsiteX191" fmla="*/ 86801 w 203777"/>
              <a:gd name="connsiteY191" fmla="*/ 54588 h 103041"/>
              <a:gd name="connsiteX192" fmla="*/ 87468 w 203777"/>
              <a:gd name="connsiteY192" fmla="*/ 55864 h 103041"/>
              <a:gd name="connsiteX193" fmla="*/ 87068 w 203777"/>
              <a:gd name="connsiteY193" fmla="*/ 56522 h 103041"/>
              <a:gd name="connsiteX194" fmla="*/ 87106 w 203777"/>
              <a:gd name="connsiteY194" fmla="*/ 57560 h 103041"/>
              <a:gd name="connsiteX195" fmla="*/ 87821 w 203777"/>
              <a:gd name="connsiteY195" fmla="*/ 58426 h 103041"/>
              <a:gd name="connsiteX196" fmla="*/ 89678 w 203777"/>
              <a:gd name="connsiteY196" fmla="*/ 59836 h 103041"/>
              <a:gd name="connsiteX197" fmla="*/ 92059 w 203777"/>
              <a:gd name="connsiteY197" fmla="*/ 61046 h 103041"/>
              <a:gd name="connsiteX198" fmla="*/ 93298 w 203777"/>
              <a:gd name="connsiteY198" fmla="*/ 60951 h 103041"/>
              <a:gd name="connsiteX199" fmla="*/ 93754 w 203777"/>
              <a:gd name="connsiteY199" fmla="*/ 59779 h 103041"/>
              <a:gd name="connsiteX200" fmla="*/ 94193 w 203777"/>
              <a:gd name="connsiteY200" fmla="*/ 56969 h 103041"/>
              <a:gd name="connsiteX201" fmla="*/ 94355 w 203777"/>
              <a:gd name="connsiteY201" fmla="*/ 53959 h 103041"/>
              <a:gd name="connsiteX202" fmla="*/ 93812 w 203777"/>
              <a:gd name="connsiteY202" fmla="*/ 52235 h 103041"/>
              <a:gd name="connsiteX203" fmla="*/ 92526 w 203777"/>
              <a:gd name="connsiteY203" fmla="*/ 51816 h 103041"/>
              <a:gd name="connsiteX204" fmla="*/ 90992 w 203777"/>
              <a:gd name="connsiteY204" fmla="*/ 51673 h 103041"/>
              <a:gd name="connsiteX205" fmla="*/ 90173 w 203777"/>
              <a:gd name="connsiteY205" fmla="*/ 51311 h 103041"/>
              <a:gd name="connsiteX206" fmla="*/ 90469 w 203777"/>
              <a:gd name="connsiteY206" fmla="*/ 50368 h 103041"/>
              <a:gd name="connsiteX207" fmla="*/ 91688 w 203777"/>
              <a:gd name="connsiteY207" fmla="*/ 47911 h 103041"/>
              <a:gd name="connsiteX208" fmla="*/ 91678 w 203777"/>
              <a:gd name="connsiteY208" fmla="*/ 44625 h 103041"/>
              <a:gd name="connsiteX209" fmla="*/ 88906 w 203777"/>
              <a:gd name="connsiteY209" fmla="*/ 40872 h 103041"/>
              <a:gd name="connsiteX210" fmla="*/ 86497 w 203777"/>
              <a:gd name="connsiteY210" fmla="*/ 37243 h 103041"/>
              <a:gd name="connsiteX211" fmla="*/ 86506 w 203777"/>
              <a:gd name="connsiteY211" fmla="*/ 36004 h 103041"/>
              <a:gd name="connsiteX212" fmla="*/ 87954 w 203777"/>
              <a:gd name="connsiteY212" fmla="*/ 33852 h 103041"/>
              <a:gd name="connsiteX213" fmla="*/ 90173 w 203777"/>
              <a:gd name="connsiteY213" fmla="*/ 32138 h 103041"/>
              <a:gd name="connsiteX214" fmla="*/ 95117 w 203777"/>
              <a:gd name="connsiteY214" fmla="*/ 29280 h 103041"/>
              <a:gd name="connsiteX215" fmla="*/ 96669 w 203777"/>
              <a:gd name="connsiteY215" fmla="*/ 28690 h 103041"/>
              <a:gd name="connsiteX216" fmla="*/ 98670 w 203777"/>
              <a:gd name="connsiteY216" fmla="*/ 28213 h 103041"/>
              <a:gd name="connsiteX217" fmla="*/ 101546 w 203777"/>
              <a:gd name="connsiteY217" fmla="*/ 27032 h 103041"/>
              <a:gd name="connsiteX218" fmla="*/ 102927 w 203777"/>
              <a:gd name="connsiteY218" fmla="*/ 25822 h 103041"/>
              <a:gd name="connsiteX219" fmla="*/ 103861 w 203777"/>
              <a:gd name="connsiteY219" fmla="*/ 24508 h 103041"/>
              <a:gd name="connsiteX220" fmla="*/ 105213 w 203777"/>
              <a:gd name="connsiteY220" fmla="*/ 17659 h 103041"/>
              <a:gd name="connsiteX221" fmla="*/ 105528 w 203777"/>
              <a:gd name="connsiteY221" fmla="*/ 17364 h 103041"/>
              <a:gd name="connsiteX222" fmla="*/ 105928 w 203777"/>
              <a:gd name="connsiteY222" fmla="*/ 16964 h 103041"/>
              <a:gd name="connsiteX223" fmla="*/ 110966 w 203777"/>
              <a:gd name="connsiteY223" fmla="*/ 19336 h 103041"/>
              <a:gd name="connsiteX224" fmla="*/ 111414 w 203777"/>
              <a:gd name="connsiteY224" fmla="*/ 18936 h 103041"/>
              <a:gd name="connsiteX225" fmla="*/ 112271 w 203777"/>
              <a:gd name="connsiteY225" fmla="*/ 18555 h 103041"/>
              <a:gd name="connsiteX226" fmla="*/ 113910 w 203777"/>
              <a:gd name="connsiteY226" fmla="*/ 16736 h 103041"/>
              <a:gd name="connsiteX227" fmla="*/ 114272 w 203777"/>
              <a:gd name="connsiteY227" fmla="*/ 15364 h 103041"/>
              <a:gd name="connsiteX228" fmla="*/ 114233 w 203777"/>
              <a:gd name="connsiteY228" fmla="*/ 12745 h 103041"/>
              <a:gd name="connsiteX229" fmla="*/ 114386 w 203777"/>
              <a:gd name="connsiteY229" fmla="*/ 10278 h 103041"/>
              <a:gd name="connsiteX230" fmla="*/ 114700 w 203777"/>
              <a:gd name="connsiteY230" fmla="*/ 9487 h 103041"/>
              <a:gd name="connsiteX231" fmla="*/ 115453 w 203777"/>
              <a:gd name="connsiteY231" fmla="*/ 9782 h 103041"/>
              <a:gd name="connsiteX232" fmla="*/ 117625 w 203777"/>
              <a:gd name="connsiteY232" fmla="*/ 11059 h 103041"/>
              <a:gd name="connsiteX233" fmla="*/ 119348 w 203777"/>
              <a:gd name="connsiteY233" fmla="*/ 12507 h 103041"/>
              <a:gd name="connsiteX234" fmla="*/ 120958 w 203777"/>
              <a:gd name="connsiteY234" fmla="*/ 16135 h 103041"/>
              <a:gd name="connsiteX235" fmla="*/ 124721 w 203777"/>
              <a:gd name="connsiteY235" fmla="*/ 17098 h 103041"/>
              <a:gd name="connsiteX236" fmla="*/ 129473 w 203777"/>
              <a:gd name="connsiteY236" fmla="*/ 17193 h 103041"/>
              <a:gd name="connsiteX237" fmla="*/ 131169 w 203777"/>
              <a:gd name="connsiteY237" fmla="*/ 15573 h 103041"/>
              <a:gd name="connsiteX238" fmla="*/ 132712 w 203777"/>
              <a:gd name="connsiteY238" fmla="*/ 15202 h 103041"/>
              <a:gd name="connsiteX239" fmla="*/ 134455 w 203777"/>
              <a:gd name="connsiteY239" fmla="*/ 15697 h 103041"/>
              <a:gd name="connsiteX240" fmla="*/ 138132 w 203777"/>
              <a:gd name="connsiteY240" fmla="*/ 16259 h 103041"/>
              <a:gd name="connsiteX241" fmla="*/ 138541 w 203777"/>
              <a:gd name="connsiteY241" fmla="*/ 13335 h 103041"/>
              <a:gd name="connsiteX242" fmla="*/ 140656 w 203777"/>
              <a:gd name="connsiteY242" fmla="*/ 10278 h 103041"/>
              <a:gd name="connsiteX243" fmla="*/ 141618 w 203777"/>
              <a:gd name="connsiteY243" fmla="*/ 9211 h 103041"/>
              <a:gd name="connsiteX244" fmla="*/ 144314 w 203777"/>
              <a:gd name="connsiteY244" fmla="*/ 9315 h 103041"/>
              <a:gd name="connsiteX245" fmla="*/ 144971 w 203777"/>
              <a:gd name="connsiteY245" fmla="*/ 7030 h 103041"/>
              <a:gd name="connsiteX246" fmla="*/ 145637 w 203777"/>
              <a:gd name="connsiteY246" fmla="*/ 695 h 103041"/>
              <a:gd name="connsiteX247" fmla="*/ 146200 w 203777"/>
              <a:gd name="connsiteY247" fmla="*/ 0 h 103041"/>
              <a:gd name="connsiteX248" fmla="*/ 148162 w 203777"/>
              <a:gd name="connsiteY248" fmla="*/ 133 h 103041"/>
              <a:gd name="connsiteX249" fmla="*/ 150114 w 203777"/>
              <a:gd name="connsiteY249" fmla="*/ 1286 h 103041"/>
              <a:gd name="connsiteX250" fmla="*/ 150695 w 203777"/>
              <a:gd name="connsiteY250" fmla="*/ 2229 h 103041"/>
              <a:gd name="connsiteX251" fmla="*/ 151714 w 203777"/>
              <a:gd name="connsiteY251" fmla="*/ 2153 h 103041"/>
              <a:gd name="connsiteX252" fmla="*/ 153133 w 203777"/>
              <a:gd name="connsiteY252" fmla="*/ 1505 h 103041"/>
              <a:gd name="connsiteX253" fmla="*/ 154686 w 203777"/>
              <a:gd name="connsiteY253" fmla="*/ 1096 h 103041"/>
              <a:gd name="connsiteX254" fmla="*/ 157153 w 203777"/>
              <a:gd name="connsiteY254" fmla="*/ 1772 h 103041"/>
              <a:gd name="connsiteX255" fmla="*/ 162401 w 203777"/>
              <a:gd name="connsiteY255" fmla="*/ 4648 h 103041"/>
              <a:gd name="connsiteX256" fmla="*/ 165116 w 203777"/>
              <a:gd name="connsiteY256" fmla="*/ 5705 h 103041"/>
              <a:gd name="connsiteX257" fmla="*/ 166830 w 203777"/>
              <a:gd name="connsiteY257" fmla="*/ 5505 h 103041"/>
              <a:gd name="connsiteX258" fmla="*/ 168440 w 203777"/>
              <a:gd name="connsiteY258" fmla="*/ 5544 h 103041"/>
              <a:gd name="connsiteX259" fmla="*/ 174641 w 203777"/>
              <a:gd name="connsiteY259" fmla="*/ 9982 h 103041"/>
              <a:gd name="connsiteX260" fmla="*/ 178975 w 203777"/>
              <a:gd name="connsiteY260" fmla="*/ 10601 h 103041"/>
              <a:gd name="connsiteX261" fmla="*/ 182928 w 203777"/>
              <a:gd name="connsiteY261" fmla="*/ 10621 h 103041"/>
              <a:gd name="connsiteX262" fmla="*/ 184204 w 203777"/>
              <a:gd name="connsiteY262" fmla="*/ 9287 h 103041"/>
              <a:gd name="connsiteX263" fmla="*/ 185880 w 203777"/>
              <a:gd name="connsiteY263" fmla="*/ 8154 h 103041"/>
              <a:gd name="connsiteX264" fmla="*/ 187643 w 203777"/>
              <a:gd name="connsiteY264" fmla="*/ 8306 h 103041"/>
              <a:gd name="connsiteX265" fmla="*/ 189176 w 203777"/>
              <a:gd name="connsiteY265" fmla="*/ 8887 h 103041"/>
              <a:gd name="connsiteX266" fmla="*/ 192167 w 203777"/>
              <a:gd name="connsiteY266" fmla="*/ 10811 h 103041"/>
              <a:gd name="connsiteX267" fmla="*/ 193548 w 203777"/>
              <a:gd name="connsiteY267" fmla="*/ 11306 h 103041"/>
              <a:gd name="connsiteX268" fmla="*/ 195387 w 203777"/>
              <a:gd name="connsiteY268" fmla="*/ 11621 h 103041"/>
              <a:gd name="connsiteX269" fmla="*/ 196730 w 203777"/>
              <a:gd name="connsiteY269" fmla="*/ 12049 h 103041"/>
              <a:gd name="connsiteX270" fmla="*/ 197920 w 203777"/>
              <a:gd name="connsiteY270" fmla="*/ 15383 h 10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</a:cxnLst>
            <a:rect l="l" t="t" r="r" b="b"/>
            <a:pathLst>
              <a:path w="203777" h="103041">
                <a:moveTo>
                  <a:pt x="198587" y="16278"/>
                </a:moveTo>
                <a:lnTo>
                  <a:pt x="198482" y="16688"/>
                </a:lnTo>
                <a:lnTo>
                  <a:pt x="198329" y="18202"/>
                </a:lnTo>
                <a:lnTo>
                  <a:pt x="197292" y="20117"/>
                </a:lnTo>
                <a:lnTo>
                  <a:pt x="196167" y="22613"/>
                </a:lnTo>
                <a:lnTo>
                  <a:pt x="196244" y="24803"/>
                </a:lnTo>
                <a:lnTo>
                  <a:pt x="199111" y="32366"/>
                </a:lnTo>
                <a:lnTo>
                  <a:pt x="201664" y="36947"/>
                </a:lnTo>
                <a:lnTo>
                  <a:pt x="202140" y="38691"/>
                </a:lnTo>
                <a:lnTo>
                  <a:pt x="203778" y="40034"/>
                </a:lnTo>
                <a:lnTo>
                  <a:pt x="202225" y="41720"/>
                </a:lnTo>
                <a:lnTo>
                  <a:pt x="201921" y="44215"/>
                </a:lnTo>
                <a:lnTo>
                  <a:pt x="200911" y="45330"/>
                </a:lnTo>
                <a:lnTo>
                  <a:pt x="200644" y="46749"/>
                </a:lnTo>
                <a:lnTo>
                  <a:pt x="201073" y="48044"/>
                </a:lnTo>
                <a:lnTo>
                  <a:pt x="201064" y="49664"/>
                </a:lnTo>
                <a:lnTo>
                  <a:pt x="201625" y="51883"/>
                </a:lnTo>
                <a:lnTo>
                  <a:pt x="199130" y="52369"/>
                </a:lnTo>
                <a:lnTo>
                  <a:pt x="196167" y="52292"/>
                </a:lnTo>
                <a:lnTo>
                  <a:pt x="195110" y="52426"/>
                </a:lnTo>
                <a:lnTo>
                  <a:pt x="194120" y="53035"/>
                </a:lnTo>
                <a:lnTo>
                  <a:pt x="193101" y="52731"/>
                </a:lnTo>
                <a:lnTo>
                  <a:pt x="190414" y="50645"/>
                </a:lnTo>
                <a:lnTo>
                  <a:pt x="188910" y="50178"/>
                </a:lnTo>
                <a:lnTo>
                  <a:pt x="187843" y="50302"/>
                </a:lnTo>
                <a:lnTo>
                  <a:pt x="187042" y="51216"/>
                </a:lnTo>
                <a:lnTo>
                  <a:pt x="185662" y="52378"/>
                </a:lnTo>
                <a:lnTo>
                  <a:pt x="184376" y="53197"/>
                </a:lnTo>
                <a:lnTo>
                  <a:pt x="184661" y="53912"/>
                </a:lnTo>
                <a:lnTo>
                  <a:pt x="190214" y="55788"/>
                </a:lnTo>
                <a:lnTo>
                  <a:pt x="191196" y="58664"/>
                </a:lnTo>
                <a:lnTo>
                  <a:pt x="190129" y="61008"/>
                </a:lnTo>
                <a:lnTo>
                  <a:pt x="189767" y="62160"/>
                </a:lnTo>
                <a:lnTo>
                  <a:pt x="188462" y="63056"/>
                </a:lnTo>
                <a:lnTo>
                  <a:pt x="186871" y="63846"/>
                </a:lnTo>
                <a:lnTo>
                  <a:pt x="184947" y="64046"/>
                </a:lnTo>
                <a:lnTo>
                  <a:pt x="184719" y="65313"/>
                </a:lnTo>
                <a:lnTo>
                  <a:pt x="185471" y="69018"/>
                </a:lnTo>
                <a:lnTo>
                  <a:pt x="184861" y="69818"/>
                </a:lnTo>
                <a:lnTo>
                  <a:pt x="184252" y="70971"/>
                </a:lnTo>
                <a:lnTo>
                  <a:pt x="184823" y="74009"/>
                </a:lnTo>
                <a:lnTo>
                  <a:pt x="186014" y="74228"/>
                </a:lnTo>
                <a:lnTo>
                  <a:pt x="186281" y="74914"/>
                </a:lnTo>
                <a:lnTo>
                  <a:pt x="186071" y="76153"/>
                </a:lnTo>
                <a:lnTo>
                  <a:pt x="185862" y="77457"/>
                </a:lnTo>
                <a:lnTo>
                  <a:pt x="185442" y="78839"/>
                </a:lnTo>
                <a:lnTo>
                  <a:pt x="185233" y="79458"/>
                </a:lnTo>
                <a:lnTo>
                  <a:pt x="184443" y="79839"/>
                </a:lnTo>
                <a:lnTo>
                  <a:pt x="181985" y="79639"/>
                </a:lnTo>
                <a:lnTo>
                  <a:pt x="179861" y="80820"/>
                </a:lnTo>
                <a:lnTo>
                  <a:pt x="175594" y="85049"/>
                </a:lnTo>
                <a:lnTo>
                  <a:pt x="174108" y="85773"/>
                </a:lnTo>
                <a:lnTo>
                  <a:pt x="172489" y="87468"/>
                </a:lnTo>
                <a:lnTo>
                  <a:pt x="172583" y="91174"/>
                </a:lnTo>
                <a:lnTo>
                  <a:pt x="172365" y="91516"/>
                </a:lnTo>
                <a:lnTo>
                  <a:pt x="171974" y="92278"/>
                </a:lnTo>
                <a:lnTo>
                  <a:pt x="166878" y="90964"/>
                </a:lnTo>
                <a:lnTo>
                  <a:pt x="166707" y="90992"/>
                </a:lnTo>
                <a:lnTo>
                  <a:pt x="163287" y="91469"/>
                </a:lnTo>
                <a:lnTo>
                  <a:pt x="160954" y="93164"/>
                </a:lnTo>
                <a:lnTo>
                  <a:pt x="158125" y="94145"/>
                </a:lnTo>
                <a:lnTo>
                  <a:pt x="152181" y="93621"/>
                </a:lnTo>
                <a:lnTo>
                  <a:pt x="146400" y="94279"/>
                </a:lnTo>
                <a:lnTo>
                  <a:pt x="145028" y="94774"/>
                </a:lnTo>
                <a:lnTo>
                  <a:pt x="143532" y="95060"/>
                </a:lnTo>
                <a:lnTo>
                  <a:pt x="142122" y="96050"/>
                </a:lnTo>
                <a:lnTo>
                  <a:pt x="141313" y="97441"/>
                </a:lnTo>
                <a:lnTo>
                  <a:pt x="139875" y="99193"/>
                </a:lnTo>
                <a:lnTo>
                  <a:pt x="137827" y="100575"/>
                </a:lnTo>
                <a:lnTo>
                  <a:pt x="135608" y="101641"/>
                </a:lnTo>
                <a:lnTo>
                  <a:pt x="135074" y="102527"/>
                </a:lnTo>
                <a:lnTo>
                  <a:pt x="134350" y="103042"/>
                </a:lnTo>
                <a:lnTo>
                  <a:pt x="133103" y="102375"/>
                </a:lnTo>
                <a:lnTo>
                  <a:pt x="132102" y="102413"/>
                </a:lnTo>
                <a:lnTo>
                  <a:pt x="130874" y="101956"/>
                </a:lnTo>
                <a:lnTo>
                  <a:pt x="126787" y="101460"/>
                </a:lnTo>
                <a:lnTo>
                  <a:pt x="122311" y="100641"/>
                </a:lnTo>
                <a:lnTo>
                  <a:pt x="120167" y="99860"/>
                </a:lnTo>
                <a:lnTo>
                  <a:pt x="117748" y="99231"/>
                </a:lnTo>
                <a:lnTo>
                  <a:pt x="115139" y="98727"/>
                </a:lnTo>
                <a:lnTo>
                  <a:pt x="112804" y="98612"/>
                </a:lnTo>
                <a:lnTo>
                  <a:pt x="111624" y="98374"/>
                </a:lnTo>
                <a:lnTo>
                  <a:pt x="106014" y="97012"/>
                </a:lnTo>
                <a:lnTo>
                  <a:pt x="102308" y="96917"/>
                </a:lnTo>
                <a:lnTo>
                  <a:pt x="97422" y="96346"/>
                </a:lnTo>
                <a:lnTo>
                  <a:pt x="87716" y="94288"/>
                </a:lnTo>
                <a:lnTo>
                  <a:pt x="84887" y="93450"/>
                </a:lnTo>
                <a:lnTo>
                  <a:pt x="82191" y="93193"/>
                </a:lnTo>
                <a:lnTo>
                  <a:pt x="78991" y="92478"/>
                </a:lnTo>
                <a:lnTo>
                  <a:pt x="76562" y="91307"/>
                </a:lnTo>
                <a:lnTo>
                  <a:pt x="75009" y="89078"/>
                </a:lnTo>
                <a:lnTo>
                  <a:pt x="73343" y="86125"/>
                </a:lnTo>
                <a:lnTo>
                  <a:pt x="70304" y="82248"/>
                </a:lnTo>
                <a:lnTo>
                  <a:pt x="69675" y="80315"/>
                </a:lnTo>
                <a:lnTo>
                  <a:pt x="70609" y="78619"/>
                </a:lnTo>
                <a:lnTo>
                  <a:pt x="71561" y="77334"/>
                </a:lnTo>
                <a:lnTo>
                  <a:pt x="71457" y="76791"/>
                </a:lnTo>
                <a:lnTo>
                  <a:pt x="70714" y="76505"/>
                </a:lnTo>
                <a:lnTo>
                  <a:pt x="65370" y="78162"/>
                </a:lnTo>
                <a:lnTo>
                  <a:pt x="60188" y="80258"/>
                </a:lnTo>
                <a:lnTo>
                  <a:pt x="58150" y="80315"/>
                </a:lnTo>
                <a:lnTo>
                  <a:pt x="56179" y="79858"/>
                </a:lnTo>
                <a:lnTo>
                  <a:pt x="53550" y="79820"/>
                </a:lnTo>
                <a:lnTo>
                  <a:pt x="51035" y="80381"/>
                </a:lnTo>
                <a:lnTo>
                  <a:pt x="45987" y="80667"/>
                </a:lnTo>
                <a:lnTo>
                  <a:pt x="43034" y="82210"/>
                </a:lnTo>
                <a:lnTo>
                  <a:pt x="41148" y="85211"/>
                </a:lnTo>
                <a:lnTo>
                  <a:pt x="40129" y="87630"/>
                </a:lnTo>
                <a:lnTo>
                  <a:pt x="39272" y="88411"/>
                </a:lnTo>
                <a:lnTo>
                  <a:pt x="37510" y="88707"/>
                </a:lnTo>
                <a:lnTo>
                  <a:pt x="34881" y="88478"/>
                </a:lnTo>
                <a:lnTo>
                  <a:pt x="33033" y="87782"/>
                </a:lnTo>
                <a:lnTo>
                  <a:pt x="31147" y="85716"/>
                </a:lnTo>
                <a:lnTo>
                  <a:pt x="28223" y="85420"/>
                </a:lnTo>
                <a:lnTo>
                  <a:pt x="25537" y="85373"/>
                </a:lnTo>
                <a:lnTo>
                  <a:pt x="24822" y="84992"/>
                </a:lnTo>
                <a:lnTo>
                  <a:pt x="24870" y="83639"/>
                </a:lnTo>
                <a:lnTo>
                  <a:pt x="23813" y="81106"/>
                </a:lnTo>
                <a:lnTo>
                  <a:pt x="22060" y="80315"/>
                </a:lnTo>
                <a:lnTo>
                  <a:pt x="17526" y="85087"/>
                </a:lnTo>
                <a:lnTo>
                  <a:pt x="16288" y="85515"/>
                </a:lnTo>
                <a:lnTo>
                  <a:pt x="12640" y="84192"/>
                </a:lnTo>
                <a:lnTo>
                  <a:pt x="9449" y="82153"/>
                </a:lnTo>
                <a:lnTo>
                  <a:pt x="9106" y="80658"/>
                </a:lnTo>
                <a:lnTo>
                  <a:pt x="8582" y="79429"/>
                </a:lnTo>
                <a:lnTo>
                  <a:pt x="5906" y="78267"/>
                </a:lnTo>
                <a:lnTo>
                  <a:pt x="2562" y="77476"/>
                </a:lnTo>
                <a:lnTo>
                  <a:pt x="1496" y="77476"/>
                </a:lnTo>
                <a:lnTo>
                  <a:pt x="1915" y="76753"/>
                </a:lnTo>
                <a:lnTo>
                  <a:pt x="2305" y="75524"/>
                </a:lnTo>
                <a:lnTo>
                  <a:pt x="2057" y="74552"/>
                </a:lnTo>
                <a:lnTo>
                  <a:pt x="1276" y="73533"/>
                </a:lnTo>
                <a:lnTo>
                  <a:pt x="848" y="72457"/>
                </a:lnTo>
                <a:lnTo>
                  <a:pt x="714" y="71409"/>
                </a:lnTo>
                <a:lnTo>
                  <a:pt x="476" y="70552"/>
                </a:lnTo>
                <a:lnTo>
                  <a:pt x="333" y="69742"/>
                </a:lnTo>
                <a:lnTo>
                  <a:pt x="86" y="69114"/>
                </a:lnTo>
                <a:lnTo>
                  <a:pt x="2267" y="64351"/>
                </a:lnTo>
                <a:lnTo>
                  <a:pt x="2715" y="61389"/>
                </a:lnTo>
                <a:lnTo>
                  <a:pt x="810" y="59646"/>
                </a:lnTo>
                <a:lnTo>
                  <a:pt x="0" y="59131"/>
                </a:lnTo>
                <a:lnTo>
                  <a:pt x="667" y="58741"/>
                </a:lnTo>
                <a:lnTo>
                  <a:pt x="3381" y="59065"/>
                </a:lnTo>
                <a:lnTo>
                  <a:pt x="5106" y="58084"/>
                </a:lnTo>
                <a:lnTo>
                  <a:pt x="6010" y="57103"/>
                </a:lnTo>
                <a:lnTo>
                  <a:pt x="8420" y="58026"/>
                </a:lnTo>
                <a:lnTo>
                  <a:pt x="11964" y="59874"/>
                </a:lnTo>
                <a:lnTo>
                  <a:pt x="13630" y="61131"/>
                </a:lnTo>
                <a:lnTo>
                  <a:pt x="14316" y="62094"/>
                </a:lnTo>
                <a:lnTo>
                  <a:pt x="14707" y="62903"/>
                </a:lnTo>
                <a:lnTo>
                  <a:pt x="14497" y="64294"/>
                </a:lnTo>
                <a:lnTo>
                  <a:pt x="15297" y="64837"/>
                </a:lnTo>
                <a:lnTo>
                  <a:pt x="16964" y="65037"/>
                </a:lnTo>
                <a:lnTo>
                  <a:pt x="18079" y="65465"/>
                </a:lnTo>
                <a:lnTo>
                  <a:pt x="17688" y="67294"/>
                </a:lnTo>
                <a:lnTo>
                  <a:pt x="17612" y="68790"/>
                </a:lnTo>
                <a:lnTo>
                  <a:pt x="19145" y="68580"/>
                </a:lnTo>
                <a:lnTo>
                  <a:pt x="21079" y="67437"/>
                </a:lnTo>
                <a:lnTo>
                  <a:pt x="22584" y="65370"/>
                </a:lnTo>
                <a:lnTo>
                  <a:pt x="23517" y="63360"/>
                </a:lnTo>
                <a:lnTo>
                  <a:pt x="24222" y="58464"/>
                </a:lnTo>
                <a:lnTo>
                  <a:pt x="24470" y="58055"/>
                </a:lnTo>
                <a:lnTo>
                  <a:pt x="25632" y="58436"/>
                </a:lnTo>
                <a:lnTo>
                  <a:pt x="30328" y="58226"/>
                </a:lnTo>
                <a:lnTo>
                  <a:pt x="32547" y="59141"/>
                </a:lnTo>
                <a:lnTo>
                  <a:pt x="36062" y="59293"/>
                </a:lnTo>
                <a:lnTo>
                  <a:pt x="35995" y="60055"/>
                </a:lnTo>
                <a:lnTo>
                  <a:pt x="36614" y="61255"/>
                </a:lnTo>
                <a:lnTo>
                  <a:pt x="38176" y="62979"/>
                </a:lnTo>
                <a:lnTo>
                  <a:pt x="38938" y="64103"/>
                </a:lnTo>
                <a:lnTo>
                  <a:pt x="40567" y="64303"/>
                </a:lnTo>
                <a:lnTo>
                  <a:pt x="43091" y="63684"/>
                </a:lnTo>
                <a:lnTo>
                  <a:pt x="44558" y="63037"/>
                </a:lnTo>
                <a:lnTo>
                  <a:pt x="45120" y="63494"/>
                </a:lnTo>
                <a:lnTo>
                  <a:pt x="47416" y="63046"/>
                </a:lnTo>
                <a:lnTo>
                  <a:pt x="49454" y="61656"/>
                </a:lnTo>
                <a:lnTo>
                  <a:pt x="49959" y="60598"/>
                </a:lnTo>
                <a:lnTo>
                  <a:pt x="52016" y="59846"/>
                </a:lnTo>
                <a:lnTo>
                  <a:pt x="54798" y="58122"/>
                </a:lnTo>
                <a:lnTo>
                  <a:pt x="58617" y="56798"/>
                </a:lnTo>
                <a:lnTo>
                  <a:pt x="71142" y="55369"/>
                </a:lnTo>
                <a:lnTo>
                  <a:pt x="71628" y="54293"/>
                </a:lnTo>
                <a:lnTo>
                  <a:pt x="71447" y="51826"/>
                </a:lnTo>
                <a:lnTo>
                  <a:pt x="71781" y="51464"/>
                </a:lnTo>
                <a:lnTo>
                  <a:pt x="73352" y="52073"/>
                </a:lnTo>
                <a:lnTo>
                  <a:pt x="75886" y="52654"/>
                </a:lnTo>
                <a:lnTo>
                  <a:pt x="77839" y="53521"/>
                </a:lnTo>
                <a:lnTo>
                  <a:pt x="79086" y="54664"/>
                </a:lnTo>
                <a:lnTo>
                  <a:pt x="80258" y="54712"/>
                </a:lnTo>
                <a:lnTo>
                  <a:pt x="82068" y="53912"/>
                </a:lnTo>
                <a:lnTo>
                  <a:pt x="84515" y="53397"/>
                </a:lnTo>
                <a:lnTo>
                  <a:pt x="86801" y="54588"/>
                </a:lnTo>
                <a:lnTo>
                  <a:pt x="87468" y="55864"/>
                </a:lnTo>
                <a:lnTo>
                  <a:pt x="87068" y="56522"/>
                </a:lnTo>
                <a:lnTo>
                  <a:pt x="87106" y="57560"/>
                </a:lnTo>
                <a:lnTo>
                  <a:pt x="87821" y="58426"/>
                </a:lnTo>
                <a:lnTo>
                  <a:pt x="89678" y="59836"/>
                </a:lnTo>
                <a:lnTo>
                  <a:pt x="92059" y="61046"/>
                </a:lnTo>
                <a:lnTo>
                  <a:pt x="93298" y="60951"/>
                </a:lnTo>
                <a:lnTo>
                  <a:pt x="93754" y="59779"/>
                </a:lnTo>
                <a:lnTo>
                  <a:pt x="94193" y="56969"/>
                </a:lnTo>
                <a:lnTo>
                  <a:pt x="94355" y="53959"/>
                </a:lnTo>
                <a:lnTo>
                  <a:pt x="93812" y="52235"/>
                </a:lnTo>
                <a:lnTo>
                  <a:pt x="92526" y="51816"/>
                </a:lnTo>
                <a:lnTo>
                  <a:pt x="90992" y="51673"/>
                </a:lnTo>
                <a:lnTo>
                  <a:pt x="90173" y="51311"/>
                </a:lnTo>
                <a:lnTo>
                  <a:pt x="90469" y="50368"/>
                </a:lnTo>
                <a:lnTo>
                  <a:pt x="91688" y="47911"/>
                </a:lnTo>
                <a:lnTo>
                  <a:pt x="91678" y="44625"/>
                </a:lnTo>
                <a:lnTo>
                  <a:pt x="88906" y="40872"/>
                </a:lnTo>
                <a:lnTo>
                  <a:pt x="86497" y="37243"/>
                </a:lnTo>
                <a:lnTo>
                  <a:pt x="86506" y="36004"/>
                </a:lnTo>
                <a:lnTo>
                  <a:pt x="87954" y="33852"/>
                </a:lnTo>
                <a:lnTo>
                  <a:pt x="90173" y="32138"/>
                </a:lnTo>
                <a:lnTo>
                  <a:pt x="95117" y="29280"/>
                </a:lnTo>
                <a:lnTo>
                  <a:pt x="96669" y="28690"/>
                </a:lnTo>
                <a:lnTo>
                  <a:pt x="98670" y="28213"/>
                </a:lnTo>
                <a:lnTo>
                  <a:pt x="101546" y="27032"/>
                </a:lnTo>
                <a:lnTo>
                  <a:pt x="102927" y="25822"/>
                </a:lnTo>
                <a:lnTo>
                  <a:pt x="103861" y="24508"/>
                </a:lnTo>
                <a:lnTo>
                  <a:pt x="105213" y="17659"/>
                </a:lnTo>
                <a:lnTo>
                  <a:pt x="105528" y="17364"/>
                </a:lnTo>
                <a:lnTo>
                  <a:pt x="105928" y="16964"/>
                </a:lnTo>
                <a:lnTo>
                  <a:pt x="110966" y="19336"/>
                </a:lnTo>
                <a:lnTo>
                  <a:pt x="111414" y="18936"/>
                </a:lnTo>
                <a:lnTo>
                  <a:pt x="112271" y="18555"/>
                </a:lnTo>
                <a:lnTo>
                  <a:pt x="113910" y="16736"/>
                </a:lnTo>
                <a:lnTo>
                  <a:pt x="114272" y="15364"/>
                </a:lnTo>
                <a:lnTo>
                  <a:pt x="114233" y="12745"/>
                </a:lnTo>
                <a:lnTo>
                  <a:pt x="114386" y="10278"/>
                </a:lnTo>
                <a:lnTo>
                  <a:pt x="114700" y="9487"/>
                </a:lnTo>
                <a:lnTo>
                  <a:pt x="115453" y="9782"/>
                </a:lnTo>
                <a:lnTo>
                  <a:pt x="117625" y="11059"/>
                </a:lnTo>
                <a:lnTo>
                  <a:pt x="119348" y="12507"/>
                </a:lnTo>
                <a:lnTo>
                  <a:pt x="120958" y="16135"/>
                </a:lnTo>
                <a:lnTo>
                  <a:pt x="124721" y="17098"/>
                </a:lnTo>
                <a:lnTo>
                  <a:pt x="129473" y="17193"/>
                </a:lnTo>
                <a:lnTo>
                  <a:pt x="131169" y="15573"/>
                </a:lnTo>
                <a:lnTo>
                  <a:pt x="132712" y="15202"/>
                </a:lnTo>
                <a:lnTo>
                  <a:pt x="134455" y="15697"/>
                </a:lnTo>
                <a:lnTo>
                  <a:pt x="138132" y="16259"/>
                </a:lnTo>
                <a:lnTo>
                  <a:pt x="138541" y="13335"/>
                </a:lnTo>
                <a:lnTo>
                  <a:pt x="140656" y="10278"/>
                </a:lnTo>
                <a:lnTo>
                  <a:pt x="141618" y="9211"/>
                </a:lnTo>
                <a:lnTo>
                  <a:pt x="144314" y="9315"/>
                </a:lnTo>
                <a:lnTo>
                  <a:pt x="144971" y="7030"/>
                </a:lnTo>
                <a:lnTo>
                  <a:pt x="145637" y="695"/>
                </a:lnTo>
                <a:lnTo>
                  <a:pt x="146200" y="0"/>
                </a:lnTo>
                <a:lnTo>
                  <a:pt x="148162" y="133"/>
                </a:lnTo>
                <a:lnTo>
                  <a:pt x="150114" y="1286"/>
                </a:lnTo>
                <a:lnTo>
                  <a:pt x="150695" y="2229"/>
                </a:lnTo>
                <a:lnTo>
                  <a:pt x="151714" y="2153"/>
                </a:lnTo>
                <a:lnTo>
                  <a:pt x="153133" y="1505"/>
                </a:lnTo>
                <a:lnTo>
                  <a:pt x="154686" y="1096"/>
                </a:lnTo>
                <a:lnTo>
                  <a:pt x="157153" y="1772"/>
                </a:lnTo>
                <a:lnTo>
                  <a:pt x="162401" y="4648"/>
                </a:lnTo>
                <a:lnTo>
                  <a:pt x="165116" y="5705"/>
                </a:lnTo>
                <a:lnTo>
                  <a:pt x="166830" y="5505"/>
                </a:lnTo>
                <a:lnTo>
                  <a:pt x="168440" y="5544"/>
                </a:lnTo>
                <a:lnTo>
                  <a:pt x="174641" y="9982"/>
                </a:lnTo>
                <a:lnTo>
                  <a:pt x="178975" y="10601"/>
                </a:lnTo>
                <a:lnTo>
                  <a:pt x="182928" y="10621"/>
                </a:lnTo>
                <a:lnTo>
                  <a:pt x="184204" y="9287"/>
                </a:lnTo>
                <a:lnTo>
                  <a:pt x="185880" y="8154"/>
                </a:lnTo>
                <a:lnTo>
                  <a:pt x="187643" y="8306"/>
                </a:lnTo>
                <a:lnTo>
                  <a:pt x="189176" y="8887"/>
                </a:lnTo>
                <a:lnTo>
                  <a:pt x="192167" y="10811"/>
                </a:lnTo>
                <a:lnTo>
                  <a:pt x="193548" y="11306"/>
                </a:lnTo>
                <a:lnTo>
                  <a:pt x="195387" y="11621"/>
                </a:lnTo>
                <a:lnTo>
                  <a:pt x="196730" y="12049"/>
                </a:lnTo>
                <a:lnTo>
                  <a:pt x="197920" y="15383"/>
                </a:ln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8" name="Forme libre : forme 7">
            <a:extLst>
              <a:ext uri="{FF2B5EF4-FFF2-40B4-BE49-F238E27FC236}">
                <a16:creationId xmlns:a16="http://schemas.microsoft.com/office/drawing/2014/main" id="{1D5413AA-A0E1-1AE0-4D64-AFE885DDCE54}"/>
              </a:ext>
            </a:extLst>
          </p:cNvPr>
          <p:cNvSpPr/>
          <p:nvPr/>
        </p:nvSpPr>
        <p:spPr>
          <a:xfrm>
            <a:off x="6202093" y="2918062"/>
            <a:ext cx="38089" cy="27604"/>
          </a:xfrm>
          <a:custGeom>
            <a:avLst/>
            <a:gdLst>
              <a:gd name="connsiteX0" fmla="*/ 12582 w 29203"/>
              <a:gd name="connsiteY0" fmla="*/ 2953 h 21164"/>
              <a:gd name="connsiteX1" fmla="*/ 13402 w 29203"/>
              <a:gd name="connsiteY1" fmla="*/ 2962 h 21164"/>
              <a:gd name="connsiteX2" fmla="*/ 13773 w 29203"/>
              <a:gd name="connsiteY2" fmla="*/ 2505 h 21164"/>
              <a:gd name="connsiteX3" fmla="*/ 15202 w 29203"/>
              <a:gd name="connsiteY3" fmla="*/ 2829 h 21164"/>
              <a:gd name="connsiteX4" fmla="*/ 17355 w 29203"/>
              <a:gd name="connsiteY4" fmla="*/ 4915 h 21164"/>
              <a:gd name="connsiteX5" fmla="*/ 17793 w 29203"/>
              <a:gd name="connsiteY5" fmla="*/ 6048 h 21164"/>
              <a:gd name="connsiteX6" fmla="*/ 19269 w 29203"/>
              <a:gd name="connsiteY6" fmla="*/ 6629 h 21164"/>
              <a:gd name="connsiteX7" fmla="*/ 19784 w 29203"/>
              <a:gd name="connsiteY7" fmla="*/ 7801 h 21164"/>
              <a:gd name="connsiteX8" fmla="*/ 18069 w 29203"/>
              <a:gd name="connsiteY8" fmla="*/ 11440 h 21164"/>
              <a:gd name="connsiteX9" fmla="*/ 17012 w 29203"/>
              <a:gd name="connsiteY9" fmla="*/ 11506 h 21164"/>
              <a:gd name="connsiteX10" fmla="*/ 16221 w 29203"/>
              <a:gd name="connsiteY10" fmla="*/ 11049 h 21164"/>
              <a:gd name="connsiteX11" fmla="*/ 14821 w 29203"/>
              <a:gd name="connsiteY11" fmla="*/ 11449 h 21164"/>
              <a:gd name="connsiteX12" fmla="*/ 14001 w 29203"/>
              <a:gd name="connsiteY12" fmla="*/ 12135 h 21164"/>
              <a:gd name="connsiteX13" fmla="*/ 13725 w 29203"/>
              <a:gd name="connsiteY13" fmla="*/ 13649 h 21164"/>
              <a:gd name="connsiteX14" fmla="*/ 13773 w 29203"/>
              <a:gd name="connsiteY14" fmla="*/ 16812 h 21164"/>
              <a:gd name="connsiteX15" fmla="*/ 7515 w 29203"/>
              <a:gd name="connsiteY15" fmla="*/ 17440 h 21164"/>
              <a:gd name="connsiteX16" fmla="*/ 6077 w 29203"/>
              <a:gd name="connsiteY16" fmla="*/ 16516 h 21164"/>
              <a:gd name="connsiteX17" fmla="*/ 4105 w 29203"/>
              <a:gd name="connsiteY17" fmla="*/ 9325 h 21164"/>
              <a:gd name="connsiteX18" fmla="*/ 4506 w 29203"/>
              <a:gd name="connsiteY18" fmla="*/ 7458 h 21164"/>
              <a:gd name="connsiteX19" fmla="*/ 5829 w 29203"/>
              <a:gd name="connsiteY19" fmla="*/ 6667 h 21164"/>
              <a:gd name="connsiteX20" fmla="*/ 6963 w 29203"/>
              <a:gd name="connsiteY20" fmla="*/ 6496 h 21164"/>
              <a:gd name="connsiteX21" fmla="*/ 7134 w 29203"/>
              <a:gd name="connsiteY21" fmla="*/ 10382 h 21164"/>
              <a:gd name="connsiteX22" fmla="*/ 8801 w 29203"/>
              <a:gd name="connsiteY22" fmla="*/ 9992 h 21164"/>
              <a:gd name="connsiteX23" fmla="*/ 9325 w 29203"/>
              <a:gd name="connsiteY23" fmla="*/ 7429 h 21164"/>
              <a:gd name="connsiteX24" fmla="*/ 9439 w 29203"/>
              <a:gd name="connsiteY24" fmla="*/ 5629 h 21164"/>
              <a:gd name="connsiteX25" fmla="*/ 8991 w 29203"/>
              <a:gd name="connsiteY25" fmla="*/ 4715 h 21164"/>
              <a:gd name="connsiteX26" fmla="*/ 7858 w 29203"/>
              <a:gd name="connsiteY26" fmla="*/ 4010 h 21164"/>
              <a:gd name="connsiteX27" fmla="*/ 7201 w 29203"/>
              <a:gd name="connsiteY27" fmla="*/ 2800 h 21164"/>
              <a:gd name="connsiteX28" fmla="*/ 8144 w 29203"/>
              <a:gd name="connsiteY28" fmla="*/ 848 h 21164"/>
              <a:gd name="connsiteX29" fmla="*/ 9887 w 29203"/>
              <a:gd name="connsiteY29" fmla="*/ 0 h 21164"/>
              <a:gd name="connsiteX30" fmla="*/ 11392 w 29203"/>
              <a:gd name="connsiteY30" fmla="*/ 2610 h 21164"/>
              <a:gd name="connsiteX31" fmla="*/ 12582 w 29203"/>
              <a:gd name="connsiteY31" fmla="*/ 2953 h 21164"/>
              <a:gd name="connsiteX32" fmla="*/ 3829 w 29203"/>
              <a:gd name="connsiteY32" fmla="*/ 11782 h 21164"/>
              <a:gd name="connsiteX33" fmla="*/ 3972 w 29203"/>
              <a:gd name="connsiteY33" fmla="*/ 12983 h 21164"/>
              <a:gd name="connsiteX34" fmla="*/ 2953 w 29203"/>
              <a:gd name="connsiteY34" fmla="*/ 12678 h 21164"/>
              <a:gd name="connsiteX35" fmla="*/ 2162 w 29203"/>
              <a:gd name="connsiteY35" fmla="*/ 13087 h 21164"/>
              <a:gd name="connsiteX36" fmla="*/ 1629 w 29203"/>
              <a:gd name="connsiteY36" fmla="*/ 14564 h 21164"/>
              <a:gd name="connsiteX37" fmla="*/ 467 w 29203"/>
              <a:gd name="connsiteY37" fmla="*/ 14030 h 21164"/>
              <a:gd name="connsiteX38" fmla="*/ 0 w 29203"/>
              <a:gd name="connsiteY38" fmla="*/ 11906 h 21164"/>
              <a:gd name="connsiteX39" fmla="*/ 867 w 29203"/>
              <a:gd name="connsiteY39" fmla="*/ 8725 h 21164"/>
              <a:gd name="connsiteX40" fmla="*/ 2934 w 29203"/>
              <a:gd name="connsiteY40" fmla="*/ 8601 h 21164"/>
              <a:gd name="connsiteX41" fmla="*/ 3829 w 29203"/>
              <a:gd name="connsiteY41" fmla="*/ 11782 h 21164"/>
              <a:gd name="connsiteX42" fmla="*/ 29203 w 29203"/>
              <a:gd name="connsiteY42" fmla="*/ 19621 h 21164"/>
              <a:gd name="connsiteX43" fmla="*/ 28994 w 29203"/>
              <a:gd name="connsiteY43" fmla="*/ 20888 h 21164"/>
              <a:gd name="connsiteX44" fmla="*/ 26813 w 29203"/>
              <a:gd name="connsiteY44" fmla="*/ 21165 h 21164"/>
              <a:gd name="connsiteX45" fmla="*/ 25898 w 29203"/>
              <a:gd name="connsiteY45" fmla="*/ 20041 h 21164"/>
              <a:gd name="connsiteX46" fmla="*/ 23860 w 29203"/>
              <a:gd name="connsiteY46" fmla="*/ 20184 h 21164"/>
              <a:gd name="connsiteX47" fmla="*/ 23508 w 29203"/>
              <a:gd name="connsiteY47" fmla="*/ 19621 h 21164"/>
              <a:gd name="connsiteX48" fmla="*/ 24355 w 29203"/>
              <a:gd name="connsiteY48" fmla="*/ 18498 h 21164"/>
              <a:gd name="connsiteX49" fmla="*/ 25975 w 29203"/>
              <a:gd name="connsiteY49" fmla="*/ 17793 h 21164"/>
              <a:gd name="connsiteX50" fmla="*/ 28089 w 29203"/>
              <a:gd name="connsiteY50" fmla="*/ 18079 h 21164"/>
              <a:gd name="connsiteX51" fmla="*/ 29203 w 29203"/>
              <a:gd name="connsiteY51" fmla="*/ 19621 h 21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9203" h="21164">
                <a:moveTo>
                  <a:pt x="12582" y="2953"/>
                </a:moveTo>
                <a:lnTo>
                  <a:pt x="13402" y="2962"/>
                </a:lnTo>
                <a:lnTo>
                  <a:pt x="13773" y="2505"/>
                </a:lnTo>
                <a:lnTo>
                  <a:pt x="15202" y="2829"/>
                </a:lnTo>
                <a:lnTo>
                  <a:pt x="17355" y="4915"/>
                </a:lnTo>
                <a:lnTo>
                  <a:pt x="17793" y="6048"/>
                </a:lnTo>
                <a:lnTo>
                  <a:pt x="19269" y="6629"/>
                </a:lnTo>
                <a:lnTo>
                  <a:pt x="19784" y="7801"/>
                </a:lnTo>
                <a:lnTo>
                  <a:pt x="18069" y="11440"/>
                </a:lnTo>
                <a:lnTo>
                  <a:pt x="17012" y="11506"/>
                </a:lnTo>
                <a:lnTo>
                  <a:pt x="16221" y="11049"/>
                </a:lnTo>
                <a:lnTo>
                  <a:pt x="14821" y="11449"/>
                </a:lnTo>
                <a:lnTo>
                  <a:pt x="14001" y="12135"/>
                </a:lnTo>
                <a:lnTo>
                  <a:pt x="13725" y="13649"/>
                </a:lnTo>
                <a:lnTo>
                  <a:pt x="13773" y="16812"/>
                </a:lnTo>
                <a:lnTo>
                  <a:pt x="7515" y="17440"/>
                </a:lnTo>
                <a:lnTo>
                  <a:pt x="6077" y="16516"/>
                </a:lnTo>
                <a:lnTo>
                  <a:pt x="4105" y="9325"/>
                </a:lnTo>
                <a:lnTo>
                  <a:pt x="4506" y="7458"/>
                </a:lnTo>
                <a:lnTo>
                  <a:pt x="5829" y="6667"/>
                </a:lnTo>
                <a:lnTo>
                  <a:pt x="6963" y="6496"/>
                </a:lnTo>
                <a:lnTo>
                  <a:pt x="7134" y="10382"/>
                </a:lnTo>
                <a:lnTo>
                  <a:pt x="8801" y="9992"/>
                </a:lnTo>
                <a:lnTo>
                  <a:pt x="9325" y="7429"/>
                </a:lnTo>
                <a:lnTo>
                  <a:pt x="9439" y="5629"/>
                </a:lnTo>
                <a:lnTo>
                  <a:pt x="8991" y="4715"/>
                </a:lnTo>
                <a:lnTo>
                  <a:pt x="7858" y="4010"/>
                </a:lnTo>
                <a:lnTo>
                  <a:pt x="7201" y="2800"/>
                </a:lnTo>
                <a:lnTo>
                  <a:pt x="8144" y="848"/>
                </a:lnTo>
                <a:lnTo>
                  <a:pt x="9887" y="0"/>
                </a:lnTo>
                <a:lnTo>
                  <a:pt x="11392" y="2610"/>
                </a:lnTo>
                <a:lnTo>
                  <a:pt x="12582" y="2953"/>
                </a:lnTo>
                <a:close/>
                <a:moveTo>
                  <a:pt x="3829" y="11782"/>
                </a:moveTo>
                <a:lnTo>
                  <a:pt x="3972" y="12983"/>
                </a:lnTo>
                <a:lnTo>
                  <a:pt x="2953" y="12678"/>
                </a:lnTo>
                <a:lnTo>
                  <a:pt x="2162" y="13087"/>
                </a:lnTo>
                <a:lnTo>
                  <a:pt x="1629" y="14564"/>
                </a:lnTo>
                <a:lnTo>
                  <a:pt x="467" y="14030"/>
                </a:lnTo>
                <a:lnTo>
                  <a:pt x="0" y="11906"/>
                </a:lnTo>
                <a:lnTo>
                  <a:pt x="867" y="8725"/>
                </a:lnTo>
                <a:lnTo>
                  <a:pt x="2934" y="8601"/>
                </a:lnTo>
                <a:lnTo>
                  <a:pt x="3829" y="11782"/>
                </a:lnTo>
                <a:close/>
                <a:moveTo>
                  <a:pt x="29203" y="19621"/>
                </a:moveTo>
                <a:lnTo>
                  <a:pt x="28994" y="20888"/>
                </a:lnTo>
                <a:lnTo>
                  <a:pt x="26813" y="21165"/>
                </a:lnTo>
                <a:lnTo>
                  <a:pt x="25898" y="20041"/>
                </a:lnTo>
                <a:lnTo>
                  <a:pt x="23860" y="20184"/>
                </a:lnTo>
                <a:lnTo>
                  <a:pt x="23508" y="19621"/>
                </a:lnTo>
                <a:lnTo>
                  <a:pt x="24355" y="18498"/>
                </a:lnTo>
                <a:lnTo>
                  <a:pt x="25975" y="17793"/>
                </a:lnTo>
                <a:lnTo>
                  <a:pt x="28089" y="18079"/>
                </a:lnTo>
                <a:lnTo>
                  <a:pt x="29203" y="19621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9" name="Forme libre : forme 8">
            <a:extLst>
              <a:ext uri="{FF2B5EF4-FFF2-40B4-BE49-F238E27FC236}">
                <a16:creationId xmlns:a16="http://schemas.microsoft.com/office/drawing/2014/main" id="{8155A919-D6FB-96B3-3711-8BAB1B87085F}"/>
              </a:ext>
            </a:extLst>
          </p:cNvPr>
          <p:cNvSpPr/>
          <p:nvPr/>
        </p:nvSpPr>
        <p:spPr>
          <a:xfrm>
            <a:off x="6070218" y="3800894"/>
            <a:ext cx="134135" cy="131079"/>
          </a:xfrm>
          <a:custGeom>
            <a:avLst/>
            <a:gdLst>
              <a:gd name="connsiteX0" fmla="*/ 31604 w 102841"/>
              <a:gd name="connsiteY0" fmla="*/ 0 h 100498"/>
              <a:gd name="connsiteX1" fmla="*/ 37129 w 102841"/>
              <a:gd name="connsiteY1" fmla="*/ 3963 h 100498"/>
              <a:gd name="connsiteX2" fmla="*/ 39405 w 102841"/>
              <a:gd name="connsiteY2" fmla="*/ 4553 h 100498"/>
              <a:gd name="connsiteX3" fmla="*/ 40691 w 102841"/>
              <a:gd name="connsiteY3" fmla="*/ 4010 h 100498"/>
              <a:gd name="connsiteX4" fmla="*/ 42433 w 102841"/>
              <a:gd name="connsiteY4" fmla="*/ 4258 h 100498"/>
              <a:gd name="connsiteX5" fmla="*/ 46320 w 102841"/>
              <a:gd name="connsiteY5" fmla="*/ 5420 h 100498"/>
              <a:gd name="connsiteX6" fmla="*/ 47206 w 102841"/>
              <a:gd name="connsiteY6" fmla="*/ 5905 h 100498"/>
              <a:gd name="connsiteX7" fmla="*/ 48377 w 102841"/>
              <a:gd name="connsiteY7" fmla="*/ 5820 h 100498"/>
              <a:gd name="connsiteX8" fmla="*/ 51245 w 102841"/>
              <a:gd name="connsiteY8" fmla="*/ 4277 h 100498"/>
              <a:gd name="connsiteX9" fmla="*/ 52225 w 102841"/>
              <a:gd name="connsiteY9" fmla="*/ 4467 h 100498"/>
              <a:gd name="connsiteX10" fmla="*/ 55502 w 102841"/>
              <a:gd name="connsiteY10" fmla="*/ 7496 h 100498"/>
              <a:gd name="connsiteX11" fmla="*/ 57150 w 102841"/>
              <a:gd name="connsiteY11" fmla="*/ 7534 h 100498"/>
              <a:gd name="connsiteX12" fmla="*/ 59131 w 102841"/>
              <a:gd name="connsiteY12" fmla="*/ 6230 h 100498"/>
              <a:gd name="connsiteX13" fmla="*/ 60407 w 102841"/>
              <a:gd name="connsiteY13" fmla="*/ 5096 h 100498"/>
              <a:gd name="connsiteX14" fmla="*/ 64179 w 102841"/>
              <a:gd name="connsiteY14" fmla="*/ 5944 h 100498"/>
              <a:gd name="connsiteX15" fmla="*/ 66332 w 102841"/>
              <a:gd name="connsiteY15" fmla="*/ 5429 h 100498"/>
              <a:gd name="connsiteX16" fmla="*/ 68123 w 102841"/>
              <a:gd name="connsiteY16" fmla="*/ 5382 h 100498"/>
              <a:gd name="connsiteX17" fmla="*/ 70065 w 102841"/>
              <a:gd name="connsiteY17" fmla="*/ 5896 h 100498"/>
              <a:gd name="connsiteX18" fmla="*/ 71837 w 102841"/>
              <a:gd name="connsiteY18" fmla="*/ 6601 h 100498"/>
              <a:gd name="connsiteX19" fmla="*/ 73561 w 102841"/>
              <a:gd name="connsiteY19" fmla="*/ 7211 h 100498"/>
              <a:gd name="connsiteX20" fmla="*/ 78219 w 102841"/>
              <a:gd name="connsiteY20" fmla="*/ 7525 h 100498"/>
              <a:gd name="connsiteX21" fmla="*/ 80448 w 102841"/>
              <a:gd name="connsiteY21" fmla="*/ 9449 h 100498"/>
              <a:gd name="connsiteX22" fmla="*/ 81343 w 102841"/>
              <a:gd name="connsiteY22" fmla="*/ 11306 h 100498"/>
              <a:gd name="connsiteX23" fmla="*/ 81362 w 102841"/>
              <a:gd name="connsiteY23" fmla="*/ 12440 h 100498"/>
              <a:gd name="connsiteX24" fmla="*/ 81582 w 102841"/>
              <a:gd name="connsiteY24" fmla="*/ 13649 h 100498"/>
              <a:gd name="connsiteX25" fmla="*/ 82858 w 102841"/>
              <a:gd name="connsiteY25" fmla="*/ 14840 h 100498"/>
              <a:gd name="connsiteX26" fmla="*/ 85667 w 102841"/>
              <a:gd name="connsiteY26" fmla="*/ 15516 h 100498"/>
              <a:gd name="connsiteX27" fmla="*/ 87430 w 102841"/>
              <a:gd name="connsiteY27" fmla="*/ 15373 h 100498"/>
              <a:gd name="connsiteX28" fmla="*/ 88363 w 102841"/>
              <a:gd name="connsiteY28" fmla="*/ 15288 h 100498"/>
              <a:gd name="connsiteX29" fmla="*/ 90754 w 102841"/>
              <a:gd name="connsiteY29" fmla="*/ 14221 h 100498"/>
              <a:gd name="connsiteX30" fmla="*/ 93573 w 102841"/>
              <a:gd name="connsiteY30" fmla="*/ 13668 h 100498"/>
              <a:gd name="connsiteX31" fmla="*/ 95593 w 102841"/>
              <a:gd name="connsiteY31" fmla="*/ 14307 h 100498"/>
              <a:gd name="connsiteX32" fmla="*/ 96555 w 102841"/>
              <a:gd name="connsiteY32" fmla="*/ 14926 h 100498"/>
              <a:gd name="connsiteX33" fmla="*/ 96774 w 102841"/>
              <a:gd name="connsiteY33" fmla="*/ 15773 h 100498"/>
              <a:gd name="connsiteX34" fmla="*/ 96174 w 102841"/>
              <a:gd name="connsiteY34" fmla="*/ 18698 h 100498"/>
              <a:gd name="connsiteX35" fmla="*/ 95040 w 102841"/>
              <a:gd name="connsiteY35" fmla="*/ 21841 h 100498"/>
              <a:gd name="connsiteX36" fmla="*/ 93202 w 102841"/>
              <a:gd name="connsiteY36" fmla="*/ 25108 h 100498"/>
              <a:gd name="connsiteX37" fmla="*/ 91278 w 102841"/>
              <a:gd name="connsiteY37" fmla="*/ 28185 h 100498"/>
              <a:gd name="connsiteX38" fmla="*/ 90783 w 102841"/>
              <a:gd name="connsiteY38" fmla="*/ 29804 h 100498"/>
              <a:gd name="connsiteX39" fmla="*/ 90640 w 102841"/>
              <a:gd name="connsiteY39" fmla="*/ 32395 h 100498"/>
              <a:gd name="connsiteX40" fmla="*/ 90401 w 102841"/>
              <a:gd name="connsiteY40" fmla="*/ 34423 h 100498"/>
              <a:gd name="connsiteX41" fmla="*/ 90668 w 102841"/>
              <a:gd name="connsiteY41" fmla="*/ 35528 h 100498"/>
              <a:gd name="connsiteX42" fmla="*/ 91297 w 102841"/>
              <a:gd name="connsiteY42" fmla="*/ 36567 h 100498"/>
              <a:gd name="connsiteX43" fmla="*/ 93421 w 102841"/>
              <a:gd name="connsiteY43" fmla="*/ 37386 h 100498"/>
              <a:gd name="connsiteX44" fmla="*/ 96298 w 102841"/>
              <a:gd name="connsiteY44" fmla="*/ 39424 h 100498"/>
              <a:gd name="connsiteX45" fmla="*/ 98736 w 102841"/>
              <a:gd name="connsiteY45" fmla="*/ 42072 h 100498"/>
              <a:gd name="connsiteX46" fmla="*/ 101870 w 102841"/>
              <a:gd name="connsiteY46" fmla="*/ 45072 h 100498"/>
              <a:gd name="connsiteX47" fmla="*/ 102841 w 102841"/>
              <a:gd name="connsiteY47" fmla="*/ 46187 h 100498"/>
              <a:gd name="connsiteX48" fmla="*/ 102841 w 102841"/>
              <a:gd name="connsiteY48" fmla="*/ 47387 h 100498"/>
              <a:gd name="connsiteX49" fmla="*/ 101927 w 102841"/>
              <a:gd name="connsiteY49" fmla="*/ 48273 h 100498"/>
              <a:gd name="connsiteX50" fmla="*/ 99250 w 102841"/>
              <a:gd name="connsiteY50" fmla="*/ 48616 h 100498"/>
              <a:gd name="connsiteX51" fmla="*/ 96469 w 102841"/>
              <a:gd name="connsiteY51" fmla="*/ 48349 h 100498"/>
              <a:gd name="connsiteX52" fmla="*/ 95402 w 102841"/>
              <a:gd name="connsiteY52" fmla="*/ 48044 h 100498"/>
              <a:gd name="connsiteX53" fmla="*/ 94402 w 102841"/>
              <a:gd name="connsiteY53" fmla="*/ 48406 h 100498"/>
              <a:gd name="connsiteX54" fmla="*/ 93783 w 102841"/>
              <a:gd name="connsiteY54" fmla="*/ 49092 h 100498"/>
              <a:gd name="connsiteX55" fmla="*/ 94116 w 102841"/>
              <a:gd name="connsiteY55" fmla="*/ 49902 h 100498"/>
              <a:gd name="connsiteX56" fmla="*/ 96964 w 102841"/>
              <a:gd name="connsiteY56" fmla="*/ 53540 h 100498"/>
              <a:gd name="connsiteX57" fmla="*/ 100289 w 102841"/>
              <a:gd name="connsiteY57" fmla="*/ 58750 h 100498"/>
              <a:gd name="connsiteX58" fmla="*/ 100469 w 102841"/>
              <a:gd name="connsiteY58" fmla="*/ 60989 h 100498"/>
              <a:gd name="connsiteX59" fmla="*/ 100069 w 102841"/>
              <a:gd name="connsiteY59" fmla="*/ 62741 h 100498"/>
              <a:gd name="connsiteX60" fmla="*/ 99298 w 102841"/>
              <a:gd name="connsiteY60" fmla="*/ 63960 h 100498"/>
              <a:gd name="connsiteX61" fmla="*/ 97927 w 102841"/>
              <a:gd name="connsiteY61" fmla="*/ 63751 h 100498"/>
              <a:gd name="connsiteX62" fmla="*/ 96869 w 102841"/>
              <a:gd name="connsiteY62" fmla="*/ 62798 h 100498"/>
              <a:gd name="connsiteX63" fmla="*/ 95278 w 102841"/>
              <a:gd name="connsiteY63" fmla="*/ 62865 h 100498"/>
              <a:gd name="connsiteX64" fmla="*/ 94040 w 102841"/>
              <a:gd name="connsiteY64" fmla="*/ 63132 h 100498"/>
              <a:gd name="connsiteX65" fmla="*/ 92430 w 102841"/>
              <a:gd name="connsiteY65" fmla="*/ 65018 h 100498"/>
              <a:gd name="connsiteX66" fmla="*/ 91630 w 102841"/>
              <a:gd name="connsiteY66" fmla="*/ 64932 h 100498"/>
              <a:gd name="connsiteX67" fmla="*/ 90249 w 102841"/>
              <a:gd name="connsiteY67" fmla="*/ 65218 h 100498"/>
              <a:gd name="connsiteX68" fmla="*/ 89382 w 102841"/>
              <a:gd name="connsiteY68" fmla="*/ 65589 h 100498"/>
              <a:gd name="connsiteX69" fmla="*/ 88002 w 102841"/>
              <a:gd name="connsiteY69" fmla="*/ 65037 h 100498"/>
              <a:gd name="connsiteX70" fmla="*/ 86544 w 102841"/>
              <a:gd name="connsiteY70" fmla="*/ 64675 h 100498"/>
              <a:gd name="connsiteX71" fmla="*/ 85915 w 102841"/>
              <a:gd name="connsiteY71" fmla="*/ 65256 h 100498"/>
              <a:gd name="connsiteX72" fmla="*/ 85639 w 102841"/>
              <a:gd name="connsiteY72" fmla="*/ 66361 h 100498"/>
              <a:gd name="connsiteX73" fmla="*/ 86534 w 102841"/>
              <a:gd name="connsiteY73" fmla="*/ 68351 h 100498"/>
              <a:gd name="connsiteX74" fmla="*/ 88220 w 102841"/>
              <a:gd name="connsiteY74" fmla="*/ 71466 h 100498"/>
              <a:gd name="connsiteX75" fmla="*/ 87954 w 102841"/>
              <a:gd name="connsiteY75" fmla="*/ 73848 h 100498"/>
              <a:gd name="connsiteX76" fmla="*/ 86668 w 102841"/>
              <a:gd name="connsiteY76" fmla="*/ 74104 h 100498"/>
              <a:gd name="connsiteX77" fmla="*/ 85487 w 102841"/>
              <a:gd name="connsiteY77" fmla="*/ 72124 h 100498"/>
              <a:gd name="connsiteX78" fmla="*/ 84448 w 102841"/>
              <a:gd name="connsiteY78" fmla="*/ 71799 h 100498"/>
              <a:gd name="connsiteX79" fmla="*/ 83258 w 102841"/>
              <a:gd name="connsiteY79" fmla="*/ 71876 h 100498"/>
              <a:gd name="connsiteX80" fmla="*/ 80533 w 102841"/>
              <a:gd name="connsiteY80" fmla="*/ 74171 h 100498"/>
              <a:gd name="connsiteX81" fmla="*/ 78524 w 102841"/>
              <a:gd name="connsiteY81" fmla="*/ 76105 h 100498"/>
              <a:gd name="connsiteX82" fmla="*/ 78067 w 102841"/>
              <a:gd name="connsiteY82" fmla="*/ 77448 h 100498"/>
              <a:gd name="connsiteX83" fmla="*/ 77343 w 102841"/>
              <a:gd name="connsiteY83" fmla="*/ 78915 h 100498"/>
              <a:gd name="connsiteX84" fmla="*/ 77124 w 102841"/>
              <a:gd name="connsiteY84" fmla="*/ 79981 h 100498"/>
              <a:gd name="connsiteX85" fmla="*/ 77171 w 102841"/>
              <a:gd name="connsiteY85" fmla="*/ 83515 h 100498"/>
              <a:gd name="connsiteX86" fmla="*/ 73561 w 102841"/>
              <a:gd name="connsiteY86" fmla="*/ 84077 h 100498"/>
              <a:gd name="connsiteX87" fmla="*/ 72809 w 102841"/>
              <a:gd name="connsiteY87" fmla="*/ 84601 h 100498"/>
              <a:gd name="connsiteX88" fmla="*/ 72371 w 102841"/>
              <a:gd name="connsiteY88" fmla="*/ 85668 h 100498"/>
              <a:gd name="connsiteX89" fmla="*/ 72666 w 102841"/>
              <a:gd name="connsiteY89" fmla="*/ 90192 h 100498"/>
              <a:gd name="connsiteX90" fmla="*/ 72961 w 102841"/>
              <a:gd name="connsiteY90" fmla="*/ 92621 h 100498"/>
              <a:gd name="connsiteX91" fmla="*/ 75029 w 102841"/>
              <a:gd name="connsiteY91" fmla="*/ 96355 h 100498"/>
              <a:gd name="connsiteX92" fmla="*/ 75105 w 102841"/>
              <a:gd name="connsiteY92" fmla="*/ 97536 h 100498"/>
              <a:gd name="connsiteX93" fmla="*/ 74809 w 102841"/>
              <a:gd name="connsiteY93" fmla="*/ 98317 h 100498"/>
              <a:gd name="connsiteX94" fmla="*/ 73333 w 102841"/>
              <a:gd name="connsiteY94" fmla="*/ 99794 h 100498"/>
              <a:gd name="connsiteX95" fmla="*/ 72637 w 102841"/>
              <a:gd name="connsiteY95" fmla="*/ 100327 h 100498"/>
              <a:gd name="connsiteX96" fmla="*/ 72171 w 102841"/>
              <a:gd name="connsiteY96" fmla="*/ 100498 h 100498"/>
              <a:gd name="connsiteX97" fmla="*/ 69771 w 102841"/>
              <a:gd name="connsiteY97" fmla="*/ 99527 h 100498"/>
              <a:gd name="connsiteX98" fmla="*/ 68627 w 102841"/>
              <a:gd name="connsiteY98" fmla="*/ 99060 h 100498"/>
              <a:gd name="connsiteX99" fmla="*/ 63818 w 102841"/>
              <a:gd name="connsiteY99" fmla="*/ 95765 h 100498"/>
              <a:gd name="connsiteX100" fmla="*/ 61693 w 102841"/>
              <a:gd name="connsiteY100" fmla="*/ 93926 h 100498"/>
              <a:gd name="connsiteX101" fmla="*/ 58331 w 102841"/>
              <a:gd name="connsiteY101" fmla="*/ 91526 h 100498"/>
              <a:gd name="connsiteX102" fmla="*/ 56264 w 102841"/>
              <a:gd name="connsiteY102" fmla="*/ 90154 h 100498"/>
              <a:gd name="connsiteX103" fmla="*/ 55216 w 102841"/>
              <a:gd name="connsiteY103" fmla="*/ 88078 h 100498"/>
              <a:gd name="connsiteX104" fmla="*/ 53559 w 102841"/>
              <a:gd name="connsiteY104" fmla="*/ 87602 h 100498"/>
              <a:gd name="connsiteX105" fmla="*/ 51616 w 102841"/>
              <a:gd name="connsiteY105" fmla="*/ 88268 h 100498"/>
              <a:gd name="connsiteX106" fmla="*/ 49416 w 102841"/>
              <a:gd name="connsiteY106" fmla="*/ 86763 h 100498"/>
              <a:gd name="connsiteX107" fmla="*/ 50978 w 102841"/>
              <a:gd name="connsiteY107" fmla="*/ 85992 h 100498"/>
              <a:gd name="connsiteX108" fmla="*/ 51358 w 102841"/>
              <a:gd name="connsiteY108" fmla="*/ 85249 h 100498"/>
              <a:gd name="connsiteX109" fmla="*/ 51159 w 102841"/>
              <a:gd name="connsiteY109" fmla="*/ 84277 h 100498"/>
              <a:gd name="connsiteX110" fmla="*/ 50473 w 102841"/>
              <a:gd name="connsiteY110" fmla="*/ 82963 h 100498"/>
              <a:gd name="connsiteX111" fmla="*/ 44529 w 102841"/>
              <a:gd name="connsiteY111" fmla="*/ 77267 h 100498"/>
              <a:gd name="connsiteX112" fmla="*/ 41605 w 102841"/>
              <a:gd name="connsiteY112" fmla="*/ 73362 h 100498"/>
              <a:gd name="connsiteX113" fmla="*/ 41138 w 102841"/>
              <a:gd name="connsiteY113" fmla="*/ 71961 h 100498"/>
              <a:gd name="connsiteX114" fmla="*/ 41091 w 102841"/>
              <a:gd name="connsiteY114" fmla="*/ 68228 h 100498"/>
              <a:gd name="connsiteX115" fmla="*/ 40405 w 102841"/>
              <a:gd name="connsiteY115" fmla="*/ 67332 h 100498"/>
              <a:gd name="connsiteX116" fmla="*/ 36033 w 102841"/>
              <a:gd name="connsiteY116" fmla="*/ 65627 h 100498"/>
              <a:gd name="connsiteX117" fmla="*/ 31156 w 102841"/>
              <a:gd name="connsiteY117" fmla="*/ 60760 h 100498"/>
              <a:gd name="connsiteX118" fmla="*/ 26108 w 102841"/>
              <a:gd name="connsiteY118" fmla="*/ 55969 h 100498"/>
              <a:gd name="connsiteX119" fmla="*/ 25422 w 102841"/>
              <a:gd name="connsiteY119" fmla="*/ 54635 h 100498"/>
              <a:gd name="connsiteX120" fmla="*/ 22831 w 102841"/>
              <a:gd name="connsiteY120" fmla="*/ 51006 h 100498"/>
              <a:gd name="connsiteX121" fmla="*/ 19659 w 102841"/>
              <a:gd name="connsiteY121" fmla="*/ 47701 h 100498"/>
              <a:gd name="connsiteX122" fmla="*/ 17136 w 102841"/>
              <a:gd name="connsiteY122" fmla="*/ 45587 h 100498"/>
              <a:gd name="connsiteX123" fmla="*/ 15068 w 102841"/>
              <a:gd name="connsiteY123" fmla="*/ 43186 h 100498"/>
              <a:gd name="connsiteX124" fmla="*/ 12773 w 102841"/>
              <a:gd name="connsiteY124" fmla="*/ 39814 h 100498"/>
              <a:gd name="connsiteX125" fmla="*/ 11582 w 102841"/>
              <a:gd name="connsiteY125" fmla="*/ 34719 h 100498"/>
              <a:gd name="connsiteX126" fmla="*/ 10525 w 102841"/>
              <a:gd name="connsiteY126" fmla="*/ 30185 h 100498"/>
              <a:gd name="connsiteX127" fmla="*/ 9810 w 102841"/>
              <a:gd name="connsiteY127" fmla="*/ 28423 h 100498"/>
              <a:gd name="connsiteX128" fmla="*/ 8354 w 102841"/>
              <a:gd name="connsiteY128" fmla="*/ 27794 h 100498"/>
              <a:gd name="connsiteX129" fmla="*/ 3839 w 102841"/>
              <a:gd name="connsiteY129" fmla="*/ 22393 h 100498"/>
              <a:gd name="connsiteX130" fmla="*/ 0 w 102841"/>
              <a:gd name="connsiteY130" fmla="*/ 19250 h 100498"/>
              <a:gd name="connsiteX131" fmla="*/ 38 w 102841"/>
              <a:gd name="connsiteY131" fmla="*/ 15850 h 100498"/>
              <a:gd name="connsiteX132" fmla="*/ 667 w 102841"/>
              <a:gd name="connsiteY132" fmla="*/ 10163 h 100498"/>
              <a:gd name="connsiteX133" fmla="*/ 1381 w 102841"/>
              <a:gd name="connsiteY133" fmla="*/ 3696 h 100498"/>
              <a:gd name="connsiteX134" fmla="*/ 2305 w 102841"/>
              <a:gd name="connsiteY134" fmla="*/ 2791 h 100498"/>
              <a:gd name="connsiteX135" fmla="*/ 4057 w 102841"/>
              <a:gd name="connsiteY135" fmla="*/ 2305 h 100498"/>
              <a:gd name="connsiteX136" fmla="*/ 6058 w 102841"/>
              <a:gd name="connsiteY136" fmla="*/ 2486 h 100498"/>
              <a:gd name="connsiteX137" fmla="*/ 7801 w 102841"/>
              <a:gd name="connsiteY137" fmla="*/ 3296 h 100498"/>
              <a:gd name="connsiteX138" fmla="*/ 11249 w 102841"/>
              <a:gd name="connsiteY138" fmla="*/ 7725 h 100498"/>
              <a:gd name="connsiteX139" fmla="*/ 13221 w 102841"/>
              <a:gd name="connsiteY139" fmla="*/ 9449 h 100498"/>
              <a:gd name="connsiteX140" fmla="*/ 14887 w 102841"/>
              <a:gd name="connsiteY140" fmla="*/ 10116 h 100498"/>
              <a:gd name="connsiteX141" fmla="*/ 16802 w 102841"/>
              <a:gd name="connsiteY141" fmla="*/ 8249 h 100498"/>
              <a:gd name="connsiteX142" fmla="*/ 19164 w 102841"/>
              <a:gd name="connsiteY142" fmla="*/ 4334 h 100498"/>
              <a:gd name="connsiteX143" fmla="*/ 21231 w 102841"/>
              <a:gd name="connsiteY143" fmla="*/ 2267 h 100498"/>
              <a:gd name="connsiteX144" fmla="*/ 28184 w 102841"/>
              <a:gd name="connsiteY144" fmla="*/ 3020 h 10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102841" h="100498">
                <a:moveTo>
                  <a:pt x="31604" y="0"/>
                </a:moveTo>
                <a:lnTo>
                  <a:pt x="37129" y="3963"/>
                </a:lnTo>
                <a:lnTo>
                  <a:pt x="39405" y="4553"/>
                </a:lnTo>
                <a:lnTo>
                  <a:pt x="40691" y="4010"/>
                </a:lnTo>
                <a:lnTo>
                  <a:pt x="42433" y="4258"/>
                </a:lnTo>
                <a:lnTo>
                  <a:pt x="46320" y="5420"/>
                </a:lnTo>
                <a:lnTo>
                  <a:pt x="47206" y="5905"/>
                </a:lnTo>
                <a:lnTo>
                  <a:pt x="48377" y="5820"/>
                </a:lnTo>
                <a:lnTo>
                  <a:pt x="51245" y="4277"/>
                </a:lnTo>
                <a:lnTo>
                  <a:pt x="52225" y="4467"/>
                </a:lnTo>
                <a:lnTo>
                  <a:pt x="55502" y="7496"/>
                </a:lnTo>
                <a:lnTo>
                  <a:pt x="57150" y="7534"/>
                </a:lnTo>
                <a:lnTo>
                  <a:pt x="59131" y="6230"/>
                </a:lnTo>
                <a:lnTo>
                  <a:pt x="60407" y="5096"/>
                </a:lnTo>
                <a:lnTo>
                  <a:pt x="64179" y="5944"/>
                </a:lnTo>
                <a:lnTo>
                  <a:pt x="66332" y="5429"/>
                </a:lnTo>
                <a:lnTo>
                  <a:pt x="68123" y="5382"/>
                </a:lnTo>
                <a:lnTo>
                  <a:pt x="70065" y="5896"/>
                </a:lnTo>
                <a:lnTo>
                  <a:pt x="71837" y="6601"/>
                </a:lnTo>
                <a:lnTo>
                  <a:pt x="73561" y="7211"/>
                </a:lnTo>
                <a:lnTo>
                  <a:pt x="78219" y="7525"/>
                </a:lnTo>
                <a:lnTo>
                  <a:pt x="80448" y="9449"/>
                </a:lnTo>
                <a:lnTo>
                  <a:pt x="81343" y="11306"/>
                </a:lnTo>
                <a:lnTo>
                  <a:pt x="81362" y="12440"/>
                </a:lnTo>
                <a:lnTo>
                  <a:pt x="81582" y="13649"/>
                </a:lnTo>
                <a:lnTo>
                  <a:pt x="82858" y="14840"/>
                </a:lnTo>
                <a:lnTo>
                  <a:pt x="85667" y="15516"/>
                </a:lnTo>
                <a:lnTo>
                  <a:pt x="87430" y="15373"/>
                </a:lnTo>
                <a:lnTo>
                  <a:pt x="88363" y="15288"/>
                </a:lnTo>
                <a:lnTo>
                  <a:pt x="90754" y="14221"/>
                </a:lnTo>
                <a:lnTo>
                  <a:pt x="93573" y="13668"/>
                </a:lnTo>
                <a:lnTo>
                  <a:pt x="95593" y="14307"/>
                </a:lnTo>
                <a:lnTo>
                  <a:pt x="96555" y="14926"/>
                </a:lnTo>
                <a:lnTo>
                  <a:pt x="96774" y="15773"/>
                </a:lnTo>
                <a:lnTo>
                  <a:pt x="96174" y="18698"/>
                </a:lnTo>
                <a:lnTo>
                  <a:pt x="95040" y="21841"/>
                </a:lnTo>
                <a:lnTo>
                  <a:pt x="93202" y="25108"/>
                </a:lnTo>
                <a:lnTo>
                  <a:pt x="91278" y="28185"/>
                </a:lnTo>
                <a:lnTo>
                  <a:pt x="90783" y="29804"/>
                </a:lnTo>
                <a:lnTo>
                  <a:pt x="90640" y="32395"/>
                </a:lnTo>
                <a:lnTo>
                  <a:pt x="90401" y="34423"/>
                </a:lnTo>
                <a:lnTo>
                  <a:pt x="90668" y="35528"/>
                </a:lnTo>
                <a:lnTo>
                  <a:pt x="91297" y="36567"/>
                </a:lnTo>
                <a:lnTo>
                  <a:pt x="93421" y="37386"/>
                </a:lnTo>
                <a:lnTo>
                  <a:pt x="96298" y="39424"/>
                </a:lnTo>
                <a:lnTo>
                  <a:pt x="98736" y="42072"/>
                </a:lnTo>
                <a:lnTo>
                  <a:pt x="101870" y="45072"/>
                </a:lnTo>
                <a:lnTo>
                  <a:pt x="102841" y="46187"/>
                </a:lnTo>
                <a:lnTo>
                  <a:pt x="102841" y="47387"/>
                </a:lnTo>
                <a:lnTo>
                  <a:pt x="101927" y="48273"/>
                </a:lnTo>
                <a:lnTo>
                  <a:pt x="99250" y="48616"/>
                </a:lnTo>
                <a:lnTo>
                  <a:pt x="96469" y="48349"/>
                </a:lnTo>
                <a:lnTo>
                  <a:pt x="95402" y="48044"/>
                </a:lnTo>
                <a:lnTo>
                  <a:pt x="94402" y="48406"/>
                </a:lnTo>
                <a:lnTo>
                  <a:pt x="93783" y="49092"/>
                </a:lnTo>
                <a:lnTo>
                  <a:pt x="94116" y="49902"/>
                </a:lnTo>
                <a:lnTo>
                  <a:pt x="96964" y="53540"/>
                </a:lnTo>
                <a:lnTo>
                  <a:pt x="100289" y="58750"/>
                </a:lnTo>
                <a:lnTo>
                  <a:pt x="100469" y="60989"/>
                </a:lnTo>
                <a:lnTo>
                  <a:pt x="100069" y="62741"/>
                </a:lnTo>
                <a:lnTo>
                  <a:pt x="99298" y="63960"/>
                </a:lnTo>
                <a:lnTo>
                  <a:pt x="97927" y="63751"/>
                </a:lnTo>
                <a:lnTo>
                  <a:pt x="96869" y="62798"/>
                </a:lnTo>
                <a:lnTo>
                  <a:pt x="95278" y="62865"/>
                </a:lnTo>
                <a:lnTo>
                  <a:pt x="94040" y="63132"/>
                </a:lnTo>
                <a:lnTo>
                  <a:pt x="92430" y="65018"/>
                </a:lnTo>
                <a:lnTo>
                  <a:pt x="91630" y="64932"/>
                </a:lnTo>
                <a:lnTo>
                  <a:pt x="90249" y="65218"/>
                </a:lnTo>
                <a:lnTo>
                  <a:pt x="89382" y="65589"/>
                </a:lnTo>
                <a:lnTo>
                  <a:pt x="88002" y="65037"/>
                </a:lnTo>
                <a:lnTo>
                  <a:pt x="86544" y="64675"/>
                </a:lnTo>
                <a:lnTo>
                  <a:pt x="85915" y="65256"/>
                </a:lnTo>
                <a:lnTo>
                  <a:pt x="85639" y="66361"/>
                </a:lnTo>
                <a:lnTo>
                  <a:pt x="86534" y="68351"/>
                </a:lnTo>
                <a:lnTo>
                  <a:pt x="88220" y="71466"/>
                </a:lnTo>
                <a:lnTo>
                  <a:pt x="87954" y="73848"/>
                </a:lnTo>
                <a:lnTo>
                  <a:pt x="86668" y="74104"/>
                </a:lnTo>
                <a:lnTo>
                  <a:pt x="85487" y="72124"/>
                </a:lnTo>
                <a:lnTo>
                  <a:pt x="84448" y="71799"/>
                </a:lnTo>
                <a:lnTo>
                  <a:pt x="83258" y="71876"/>
                </a:lnTo>
                <a:lnTo>
                  <a:pt x="80533" y="74171"/>
                </a:lnTo>
                <a:lnTo>
                  <a:pt x="78524" y="76105"/>
                </a:lnTo>
                <a:lnTo>
                  <a:pt x="78067" y="77448"/>
                </a:lnTo>
                <a:lnTo>
                  <a:pt x="77343" y="78915"/>
                </a:lnTo>
                <a:lnTo>
                  <a:pt x="77124" y="79981"/>
                </a:lnTo>
                <a:lnTo>
                  <a:pt x="77171" y="83515"/>
                </a:lnTo>
                <a:lnTo>
                  <a:pt x="73561" y="84077"/>
                </a:lnTo>
                <a:lnTo>
                  <a:pt x="72809" y="84601"/>
                </a:lnTo>
                <a:lnTo>
                  <a:pt x="72371" y="85668"/>
                </a:lnTo>
                <a:lnTo>
                  <a:pt x="72666" y="90192"/>
                </a:lnTo>
                <a:lnTo>
                  <a:pt x="72961" y="92621"/>
                </a:lnTo>
                <a:lnTo>
                  <a:pt x="75029" y="96355"/>
                </a:lnTo>
                <a:lnTo>
                  <a:pt x="75105" y="97536"/>
                </a:lnTo>
                <a:lnTo>
                  <a:pt x="74809" y="98317"/>
                </a:lnTo>
                <a:lnTo>
                  <a:pt x="73333" y="99794"/>
                </a:lnTo>
                <a:lnTo>
                  <a:pt x="72637" y="100327"/>
                </a:lnTo>
                <a:lnTo>
                  <a:pt x="72171" y="100498"/>
                </a:lnTo>
                <a:lnTo>
                  <a:pt x="69771" y="99527"/>
                </a:lnTo>
                <a:lnTo>
                  <a:pt x="68627" y="99060"/>
                </a:lnTo>
                <a:lnTo>
                  <a:pt x="63818" y="95765"/>
                </a:lnTo>
                <a:lnTo>
                  <a:pt x="61693" y="93926"/>
                </a:lnTo>
                <a:lnTo>
                  <a:pt x="58331" y="91526"/>
                </a:lnTo>
                <a:lnTo>
                  <a:pt x="56264" y="90154"/>
                </a:lnTo>
                <a:lnTo>
                  <a:pt x="55216" y="88078"/>
                </a:lnTo>
                <a:lnTo>
                  <a:pt x="53559" y="87602"/>
                </a:lnTo>
                <a:lnTo>
                  <a:pt x="51616" y="88268"/>
                </a:lnTo>
                <a:lnTo>
                  <a:pt x="49416" y="86763"/>
                </a:lnTo>
                <a:lnTo>
                  <a:pt x="50978" y="85992"/>
                </a:lnTo>
                <a:lnTo>
                  <a:pt x="51358" y="85249"/>
                </a:lnTo>
                <a:lnTo>
                  <a:pt x="51159" y="84277"/>
                </a:lnTo>
                <a:lnTo>
                  <a:pt x="50473" y="82963"/>
                </a:lnTo>
                <a:lnTo>
                  <a:pt x="44529" y="77267"/>
                </a:lnTo>
                <a:lnTo>
                  <a:pt x="41605" y="73362"/>
                </a:lnTo>
                <a:lnTo>
                  <a:pt x="41138" y="71961"/>
                </a:lnTo>
                <a:lnTo>
                  <a:pt x="41091" y="68228"/>
                </a:lnTo>
                <a:lnTo>
                  <a:pt x="40405" y="67332"/>
                </a:lnTo>
                <a:lnTo>
                  <a:pt x="36033" y="65627"/>
                </a:lnTo>
                <a:lnTo>
                  <a:pt x="31156" y="60760"/>
                </a:lnTo>
                <a:lnTo>
                  <a:pt x="26108" y="55969"/>
                </a:lnTo>
                <a:lnTo>
                  <a:pt x="25422" y="54635"/>
                </a:lnTo>
                <a:lnTo>
                  <a:pt x="22831" y="51006"/>
                </a:lnTo>
                <a:lnTo>
                  <a:pt x="19659" y="47701"/>
                </a:lnTo>
                <a:lnTo>
                  <a:pt x="17136" y="45587"/>
                </a:lnTo>
                <a:lnTo>
                  <a:pt x="15068" y="43186"/>
                </a:lnTo>
                <a:lnTo>
                  <a:pt x="12773" y="39814"/>
                </a:lnTo>
                <a:lnTo>
                  <a:pt x="11582" y="34719"/>
                </a:lnTo>
                <a:lnTo>
                  <a:pt x="10525" y="30185"/>
                </a:lnTo>
                <a:lnTo>
                  <a:pt x="9810" y="28423"/>
                </a:lnTo>
                <a:lnTo>
                  <a:pt x="8354" y="27794"/>
                </a:lnTo>
                <a:lnTo>
                  <a:pt x="3839" y="22393"/>
                </a:lnTo>
                <a:lnTo>
                  <a:pt x="0" y="19250"/>
                </a:lnTo>
                <a:lnTo>
                  <a:pt x="38" y="15850"/>
                </a:lnTo>
                <a:lnTo>
                  <a:pt x="667" y="10163"/>
                </a:lnTo>
                <a:lnTo>
                  <a:pt x="1381" y="3696"/>
                </a:lnTo>
                <a:lnTo>
                  <a:pt x="2305" y="2791"/>
                </a:lnTo>
                <a:lnTo>
                  <a:pt x="4057" y="2305"/>
                </a:lnTo>
                <a:lnTo>
                  <a:pt x="6058" y="2486"/>
                </a:lnTo>
                <a:lnTo>
                  <a:pt x="7801" y="3296"/>
                </a:lnTo>
                <a:lnTo>
                  <a:pt x="11249" y="7725"/>
                </a:lnTo>
                <a:lnTo>
                  <a:pt x="13221" y="9449"/>
                </a:lnTo>
                <a:lnTo>
                  <a:pt x="14887" y="10116"/>
                </a:lnTo>
                <a:lnTo>
                  <a:pt x="16802" y="8249"/>
                </a:lnTo>
                <a:lnTo>
                  <a:pt x="19164" y="4334"/>
                </a:lnTo>
                <a:lnTo>
                  <a:pt x="21231" y="2267"/>
                </a:lnTo>
                <a:lnTo>
                  <a:pt x="28184" y="3020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0" name="Forme libre : forme 9">
            <a:extLst>
              <a:ext uri="{FF2B5EF4-FFF2-40B4-BE49-F238E27FC236}">
                <a16:creationId xmlns:a16="http://schemas.microsoft.com/office/drawing/2014/main" id="{DF699EF0-1823-E2A8-57AF-7809909E7CAB}"/>
              </a:ext>
            </a:extLst>
          </p:cNvPr>
          <p:cNvSpPr/>
          <p:nvPr/>
        </p:nvSpPr>
        <p:spPr>
          <a:xfrm>
            <a:off x="5609582" y="3475041"/>
            <a:ext cx="133874" cy="108270"/>
          </a:xfrm>
          <a:custGeom>
            <a:avLst/>
            <a:gdLst>
              <a:gd name="connsiteX0" fmla="*/ 61246 w 102641"/>
              <a:gd name="connsiteY0" fmla="*/ 2496 h 83010"/>
              <a:gd name="connsiteX1" fmla="*/ 61370 w 102641"/>
              <a:gd name="connsiteY1" fmla="*/ 3381 h 83010"/>
              <a:gd name="connsiteX2" fmla="*/ 62103 w 102641"/>
              <a:gd name="connsiteY2" fmla="*/ 3753 h 83010"/>
              <a:gd name="connsiteX3" fmla="*/ 64665 w 102641"/>
              <a:gd name="connsiteY3" fmla="*/ 3563 h 83010"/>
              <a:gd name="connsiteX4" fmla="*/ 65961 w 102641"/>
              <a:gd name="connsiteY4" fmla="*/ 1953 h 83010"/>
              <a:gd name="connsiteX5" fmla="*/ 66989 w 102641"/>
              <a:gd name="connsiteY5" fmla="*/ 943 h 83010"/>
              <a:gd name="connsiteX6" fmla="*/ 67751 w 102641"/>
              <a:gd name="connsiteY6" fmla="*/ 1629 h 83010"/>
              <a:gd name="connsiteX7" fmla="*/ 68123 w 102641"/>
              <a:gd name="connsiteY7" fmla="*/ 3610 h 83010"/>
              <a:gd name="connsiteX8" fmla="*/ 68827 w 102641"/>
              <a:gd name="connsiteY8" fmla="*/ 6182 h 83010"/>
              <a:gd name="connsiteX9" fmla="*/ 71885 w 102641"/>
              <a:gd name="connsiteY9" fmla="*/ 9058 h 83010"/>
              <a:gd name="connsiteX10" fmla="*/ 74466 w 102641"/>
              <a:gd name="connsiteY10" fmla="*/ 9878 h 83010"/>
              <a:gd name="connsiteX11" fmla="*/ 77648 w 102641"/>
              <a:gd name="connsiteY11" fmla="*/ 9315 h 83010"/>
              <a:gd name="connsiteX12" fmla="*/ 78905 w 102641"/>
              <a:gd name="connsiteY12" fmla="*/ 8801 h 83010"/>
              <a:gd name="connsiteX13" fmla="*/ 79762 w 102641"/>
              <a:gd name="connsiteY13" fmla="*/ 9230 h 83010"/>
              <a:gd name="connsiteX14" fmla="*/ 80610 w 102641"/>
              <a:gd name="connsiteY14" fmla="*/ 10754 h 83010"/>
              <a:gd name="connsiteX15" fmla="*/ 82429 w 102641"/>
              <a:gd name="connsiteY15" fmla="*/ 12487 h 83010"/>
              <a:gd name="connsiteX16" fmla="*/ 86277 w 102641"/>
              <a:gd name="connsiteY16" fmla="*/ 13726 h 83010"/>
              <a:gd name="connsiteX17" fmla="*/ 87449 w 102641"/>
              <a:gd name="connsiteY17" fmla="*/ 14421 h 83010"/>
              <a:gd name="connsiteX18" fmla="*/ 88268 w 102641"/>
              <a:gd name="connsiteY18" fmla="*/ 15593 h 83010"/>
              <a:gd name="connsiteX19" fmla="*/ 88030 w 102641"/>
              <a:gd name="connsiteY19" fmla="*/ 17250 h 83010"/>
              <a:gd name="connsiteX20" fmla="*/ 86201 w 102641"/>
              <a:gd name="connsiteY20" fmla="*/ 21393 h 83010"/>
              <a:gd name="connsiteX21" fmla="*/ 85963 w 102641"/>
              <a:gd name="connsiteY21" fmla="*/ 22613 h 83010"/>
              <a:gd name="connsiteX22" fmla="*/ 86211 w 102641"/>
              <a:gd name="connsiteY22" fmla="*/ 23022 h 83010"/>
              <a:gd name="connsiteX23" fmla="*/ 85849 w 102641"/>
              <a:gd name="connsiteY23" fmla="*/ 23784 h 83010"/>
              <a:gd name="connsiteX24" fmla="*/ 83468 w 102641"/>
              <a:gd name="connsiteY24" fmla="*/ 26556 h 83010"/>
              <a:gd name="connsiteX25" fmla="*/ 83258 w 102641"/>
              <a:gd name="connsiteY25" fmla="*/ 27527 h 83010"/>
              <a:gd name="connsiteX26" fmla="*/ 84048 w 102641"/>
              <a:gd name="connsiteY26" fmla="*/ 29118 h 83010"/>
              <a:gd name="connsiteX27" fmla="*/ 84706 w 102641"/>
              <a:gd name="connsiteY27" fmla="*/ 30432 h 83010"/>
              <a:gd name="connsiteX28" fmla="*/ 84725 w 102641"/>
              <a:gd name="connsiteY28" fmla="*/ 30175 h 83010"/>
              <a:gd name="connsiteX29" fmla="*/ 88373 w 102641"/>
              <a:gd name="connsiteY29" fmla="*/ 28985 h 83010"/>
              <a:gd name="connsiteX30" fmla="*/ 90021 w 102641"/>
              <a:gd name="connsiteY30" fmla="*/ 31375 h 83010"/>
              <a:gd name="connsiteX31" fmla="*/ 92726 w 102641"/>
              <a:gd name="connsiteY31" fmla="*/ 31461 h 83010"/>
              <a:gd name="connsiteX32" fmla="*/ 93050 w 102641"/>
              <a:gd name="connsiteY32" fmla="*/ 32233 h 83010"/>
              <a:gd name="connsiteX33" fmla="*/ 96088 w 102641"/>
              <a:gd name="connsiteY33" fmla="*/ 34462 h 83010"/>
              <a:gd name="connsiteX34" fmla="*/ 97021 w 102641"/>
              <a:gd name="connsiteY34" fmla="*/ 36224 h 83010"/>
              <a:gd name="connsiteX35" fmla="*/ 99203 w 102641"/>
              <a:gd name="connsiteY35" fmla="*/ 37929 h 83010"/>
              <a:gd name="connsiteX36" fmla="*/ 97393 w 102641"/>
              <a:gd name="connsiteY36" fmla="*/ 40081 h 83010"/>
              <a:gd name="connsiteX37" fmla="*/ 97669 w 102641"/>
              <a:gd name="connsiteY37" fmla="*/ 41043 h 83010"/>
              <a:gd name="connsiteX38" fmla="*/ 98317 w 102641"/>
              <a:gd name="connsiteY38" fmla="*/ 42024 h 83010"/>
              <a:gd name="connsiteX39" fmla="*/ 100774 w 102641"/>
              <a:gd name="connsiteY39" fmla="*/ 42596 h 83010"/>
              <a:gd name="connsiteX40" fmla="*/ 102003 w 102641"/>
              <a:gd name="connsiteY40" fmla="*/ 44006 h 83010"/>
              <a:gd name="connsiteX41" fmla="*/ 102079 w 102641"/>
              <a:gd name="connsiteY41" fmla="*/ 46168 h 83010"/>
              <a:gd name="connsiteX42" fmla="*/ 102641 w 102641"/>
              <a:gd name="connsiteY42" fmla="*/ 49673 h 83010"/>
              <a:gd name="connsiteX43" fmla="*/ 97574 w 102641"/>
              <a:gd name="connsiteY43" fmla="*/ 53159 h 83010"/>
              <a:gd name="connsiteX44" fmla="*/ 96136 w 102641"/>
              <a:gd name="connsiteY44" fmla="*/ 57045 h 83010"/>
              <a:gd name="connsiteX45" fmla="*/ 96002 w 102641"/>
              <a:gd name="connsiteY45" fmla="*/ 57807 h 83010"/>
              <a:gd name="connsiteX46" fmla="*/ 95831 w 102641"/>
              <a:gd name="connsiteY46" fmla="*/ 57693 h 83010"/>
              <a:gd name="connsiteX47" fmla="*/ 95278 w 102641"/>
              <a:gd name="connsiteY47" fmla="*/ 56407 h 83010"/>
              <a:gd name="connsiteX48" fmla="*/ 94354 w 102641"/>
              <a:gd name="connsiteY48" fmla="*/ 56426 h 83010"/>
              <a:gd name="connsiteX49" fmla="*/ 92259 w 102641"/>
              <a:gd name="connsiteY49" fmla="*/ 55883 h 83010"/>
              <a:gd name="connsiteX50" fmla="*/ 89335 w 102641"/>
              <a:gd name="connsiteY50" fmla="*/ 59389 h 83010"/>
              <a:gd name="connsiteX51" fmla="*/ 88011 w 102641"/>
              <a:gd name="connsiteY51" fmla="*/ 62303 h 83010"/>
              <a:gd name="connsiteX52" fmla="*/ 87230 w 102641"/>
              <a:gd name="connsiteY52" fmla="*/ 64437 h 83010"/>
              <a:gd name="connsiteX53" fmla="*/ 86049 w 102641"/>
              <a:gd name="connsiteY53" fmla="*/ 66161 h 83010"/>
              <a:gd name="connsiteX54" fmla="*/ 85811 w 102641"/>
              <a:gd name="connsiteY54" fmla="*/ 67980 h 83010"/>
              <a:gd name="connsiteX55" fmla="*/ 85963 w 102641"/>
              <a:gd name="connsiteY55" fmla="*/ 68752 h 83010"/>
              <a:gd name="connsiteX56" fmla="*/ 85563 w 102641"/>
              <a:gd name="connsiteY56" fmla="*/ 69733 h 83010"/>
              <a:gd name="connsiteX57" fmla="*/ 85544 w 102641"/>
              <a:gd name="connsiteY57" fmla="*/ 70771 h 83010"/>
              <a:gd name="connsiteX58" fmla="*/ 87220 w 102641"/>
              <a:gd name="connsiteY58" fmla="*/ 72800 h 83010"/>
              <a:gd name="connsiteX59" fmla="*/ 87649 w 102641"/>
              <a:gd name="connsiteY59" fmla="*/ 73905 h 83010"/>
              <a:gd name="connsiteX60" fmla="*/ 89697 w 102641"/>
              <a:gd name="connsiteY60" fmla="*/ 77514 h 83010"/>
              <a:gd name="connsiteX61" fmla="*/ 89059 w 102641"/>
              <a:gd name="connsiteY61" fmla="*/ 78820 h 83010"/>
              <a:gd name="connsiteX62" fmla="*/ 88554 w 102641"/>
              <a:gd name="connsiteY62" fmla="*/ 80239 h 83010"/>
              <a:gd name="connsiteX63" fmla="*/ 87963 w 102641"/>
              <a:gd name="connsiteY63" fmla="*/ 81248 h 83010"/>
              <a:gd name="connsiteX64" fmla="*/ 87268 w 102641"/>
              <a:gd name="connsiteY64" fmla="*/ 81887 h 83010"/>
              <a:gd name="connsiteX65" fmla="*/ 85154 w 102641"/>
              <a:gd name="connsiteY65" fmla="*/ 81848 h 83010"/>
              <a:gd name="connsiteX66" fmla="*/ 82467 w 102641"/>
              <a:gd name="connsiteY66" fmla="*/ 82296 h 83010"/>
              <a:gd name="connsiteX67" fmla="*/ 80658 w 102641"/>
              <a:gd name="connsiteY67" fmla="*/ 83010 h 83010"/>
              <a:gd name="connsiteX68" fmla="*/ 79724 w 102641"/>
              <a:gd name="connsiteY68" fmla="*/ 83010 h 83010"/>
              <a:gd name="connsiteX69" fmla="*/ 77781 w 102641"/>
              <a:gd name="connsiteY69" fmla="*/ 81220 h 83010"/>
              <a:gd name="connsiteX70" fmla="*/ 75609 w 102641"/>
              <a:gd name="connsiteY70" fmla="*/ 78534 h 83010"/>
              <a:gd name="connsiteX71" fmla="*/ 74238 w 102641"/>
              <a:gd name="connsiteY71" fmla="*/ 77248 h 83010"/>
              <a:gd name="connsiteX72" fmla="*/ 73609 w 102641"/>
              <a:gd name="connsiteY72" fmla="*/ 76143 h 83010"/>
              <a:gd name="connsiteX73" fmla="*/ 71904 w 102641"/>
              <a:gd name="connsiteY73" fmla="*/ 75676 h 83010"/>
              <a:gd name="connsiteX74" fmla="*/ 69475 w 102641"/>
              <a:gd name="connsiteY74" fmla="*/ 74352 h 83010"/>
              <a:gd name="connsiteX75" fmla="*/ 67789 w 102641"/>
              <a:gd name="connsiteY75" fmla="*/ 72905 h 83010"/>
              <a:gd name="connsiteX76" fmla="*/ 66342 w 102641"/>
              <a:gd name="connsiteY76" fmla="*/ 72000 h 83010"/>
              <a:gd name="connsiteX77" fmla="*/ 64303 w 102641"/>
              <a:gd name="connsiteY77" fmla="*/ 71552 h 83010"/>
              <a:gd name="connsiteX78" fmla="*/ 62617 w 102641"/>
              <a:gd name="connsiteY78" fmla="*/ 71599 h 83010"/>
              <a:gd name="connsiteX79" fmla="*/ 62131 w 102641"/>
              <a:gd name="connsiteY79" fmla="*/ 69161 h 83010"/>
              <a:gd name="connsiteX80" fmla="*/ 61922 w 102641"/>
              <a:gd name="connsiteY80" fmla="*/ 66380 h 83010"/>
              <a:gd name="connsiteX81" fmla="*/ 60550 w 102641"/>
              <a:gd name="connsiteY81" fmla="*/ 64503 h 83010"/>
              <a:gd name="connsiteX82" fmla="*/ 62436 w 102641"/>
              <a:gd name="connsiteY82" fmla="*/ 57188 h 83010"/>
              <a:gd name="connsiteX83" fmla="*/ 61312 w 102641"/>
              <a:gd name="connsiteY83" fmla="*/ 56474 h 83010"/>
              <a:gd name="connsiteX84" fmla="*/ 60093 w 102641"/>
              <a:gd name="connsiteY84" fmla="*/ 57055 h 83010"/>
              <a:gd name="connsiteX85" fmla="*/ 58321 w 102641"/>
              <a:gd name="connsiteY85" fmla="*/ 58807 h 83010"/>
              <a:gd name="connsiteX86" fmla="*/ 57474 w 102641"/>
              <a:gd name="connsiteY86" fmla="*/ 60884 h 83010"/>
              <a:gd name="connsiteX87" fmla="*/ 56969 w 102641"/>
              <a:gd name="connsiteY87" fmla="*/ 62732 h 83010"/>
              <a:gd name="connsiteX88" fmla="*/ 53997 w 102641"/>
              <a:gd name="connsiteY88" fmla="*/ 64475 h 83010"/>
              <a:gd name="connsiteX89" fmla="*/ 49282 w 102641"/>
              <a:gd name="connsiteY89" fmla="*/ 65113 h 83010"/>
              <a:gd name="connsiteX90" fmla="*/ 44129 w 102641"/>
              <a:gd name="connsiteY90" fmla="*/ 64475 h 83010"/>
              <a:gd name="connsiteX91" fmla="*/ 43424 w 102641"/>
              <a:gd name="connsiteY91" fmla="*/ 64008 h 83010"/>
              <a:gd name="connsiteX92" fmla="*/ 43091 w 102641"/>
              <a:gd name="connsiteY92" fmla="*/ 63475 h 83010"/>
              <a:gd name="connsiteX93" fmla="*/ 43091 w 102641"/>
              <a:gd name="connsiteY93" fmla="*/ 62837 h 83010"/>
              <a:gd name="connsiteX94" fmla="*/ 43443 w 102641"/>
              <a:gd name="connsiteY94" fmla="*/ 61846 h 83010"/>
              <a:gd name="connsiteX95" fmla="*/ 44339 w 102641"/>
              <a:gd name="connsiteY95" fmla="*/ 60636 h 83010"/>
              <a:gd name="connsiteX96" fmla="*/ 44567 w 102641"/>
              <a:gd name="connsiteY96" fmla="*/ 58922 h 83010"/>
              <a:gd name="connsiteX97" fmla="*/ 43644 w 102641"/>
              <a:gd name="connsiteY97" fmla="*/ 57436 h 83010"/>
              <a:gd name="connsiteX98" fmla="*/ 43043 w 102641"/>
              <a:gd name="connsiteY98" fmla="*/ 56855 h 83010"/>
              <a:gd name="connsiteX99" fmla="*/ 43281 w 102641"/>
              <a:gd name="connsiteY99" fmla="*/ 55417 h 83010"/>
              <a:gd name="connsiteX100" fmla="*/ 43958 w 102641"/>
              <a:gd name="connsiteY100" fmla="*/ 53616 h 83010"/>
              <a:gd name="connsiteX101" fmla="*/ 44101 w 102641"/>
              <a:gd name="connsiteY101" fmla="*/ 52578 h 83010"/>
              <a:gd name="connsiteX102" fmla="*/ 40605 w 102641"/>
              <a:gd name="connsiteY102" fmla="*/ 49464 h 83010"/>
              <a:gd name="connsiteX103" fmla="*/ 38081 w 102641"/>
              <a:gd name="connsiteY103" fmla="*/ 48854 h 83010"/>
              <a:gd name="connsiteX104" fmla="*/ 35633 w 102641"/>
              <a:gd name="connsiteY104" fmla="*/ 48739 h 83010"/>
              <a:gd name="connsiteX105" fmla="*/ 33776 w 102641"/>
              <a:gd name="connsiteY105" fmla="*/ 48387 h 83010"/>
              <a:gd name="connsiteX106" fmla="*/ 32690 w 102641"/>
              <a:gd name="connsiteY106" fmla="*/ 48539 h 83010"/>
              <a:gd name="connsiteX107" fmla="*/ 31918 w 102641"/>
              <a:gd name="connsiteY107" fmla="*/ 49444 h 83010"/>
              <a:gd name="connsiteX108" fmla="*/ 31127 w 102641"/>
              <a:gd name="connsiteY108" fmla="*/ 50102 h 83010"/>
              <a:gd name="connsiteX109" fmla="*/ 30537 w 102641"/>
              <a:gd name="connsiteY109" fmla="*/ 49321 h 83010"/>
              <a:gd name="connsiteX110" fmla="*/ 29451 w 102641"/>
              <a:gd name="connsiteY110" fmla="*/ 43777 h 83010"/>
              <a:gd name="connsiteX111" fmla="*/ 28613 w 102641"/>
              <a:gd name="connsiteY111" fmla="*/ 42939 h 83010"/>
              <a:gd name="connsiteX112" fmla="*/ 25451 w 102641"/>
              <a:gd name="connsiteY112" fmla="*/ 42005 h 83010"/>
              <a:gd name="connsiteX113" fmla="*/ 21146 w 102641"/>
              <a:gd name="connsiteY113" fmla="*/ 41672 h 83010"/>
              <a:gd name="connsiteX114" fmla="*/ 20002 w 102641"/>
              <a:gd name="connsiteY114" fmla="*/ 40662 h 83010"/>
              <a:gd name="connsiteX115" fmla="*/ 19374 w 102641"/>
              <a:gd name="connsiteY115" fmla="*/ 38157 h 83010"/>
              <a:gd name="connsiteX116" fmla="*/ 18974 w 102641"/>
              <a:gd name="connsiteY116" fmla="*/ 35147 h 83010"/>
              <a:gd name="connsiteX117" fmla="*/ 17564 w 102641"/>
              <a:gd name="connsiteY117" fmla="*/ 32252 h 83010"/>
              <a:gd name="connsiteX118" fmla="*/ 16840 w 102641"/>
              <a:gd name="connsiteY118" fmla="*/ 31518 h 83010"/>
              <a:gd name="connsiteX119" fmla="*/ 15554 w 102641"/>
              <a:gd name="connsiteY119" fmla="*/ 30242 h 83010"/>
              <a:gd name="connsiteX120" fmla="*/ 13306 w 102641"/>
              <a:gd name="connsiteY120" fmla="*/ 30766 h 83010"/>
              <a:gd name="connsiteX121" fmla="*/ 10611 w 102641"/>
              <a:gd name="connsiteY121" fmla="*/ 32452 h 83010"/>
              <a:gd name="connsiteX122" fmla="*/ 9020 w 102641"/>
              <a:gd name="connsiteY122" fmla="*/ 32909 h 83010"/>
              <a:gd name="connsiteX123" fmla="*/ 8411 w 102641"/>
              <a:gd name="connsiteY123" fmla="*/ 33090 h 83010"/>
              <a:gd name="connsiteX124" fmla="*/ 6267 w 102641"/>
              <a:gd name="connsiteY124" fmla="*/ 31452 h 83010"/>
              <a:gd name="connsiteX125" fmla="*/ 3848 w 102641"/>
              <a:gd name="connsiteY125" fmla="*/ 28890 h 83010"/>
              <a:gd name="connsiteX126" fmla="*/ 1914 w 102641"/>
              <a:gd name="connsiteY126" fmla="*/ 26165 h 83010"/>
              <a:gd name="connsiteX127" fmla="*/ 1448 w 102641"/>
              <a:gd name="connsiteY127" fmla="*/ 24651 h 83010"/>
              <a:gd name="connsiteX128" fmla="*/ 2038 w 102641"/>
              <a:gd name="connsiteY128" fmla="*/ 22813 h 83010"/>
              <a:gd name="connsiteX129" fmla="*/ 1333 w 102641"/>
              <a:gd name="connsiteY129" fmla="*/ 21403 h 83010"/>
              <a:gd name="connsiteX130" fmla="*/ 295 w 102641"/>
              <a:gd name="connsiteY130" fmla="*/ 18822 h 83010"/>
              <a:gd name="connsiteX131" fmla="*/ 0 w 102641"/>
              <a:gd name="connsiteY131" fmla="*/ 16802 h 83010"/>
              <a:gd name="connsiteX132" fmla="*/ 11630 w 102641"/>
              <a:gd name="connsiteY132" fmla="*/ 9640 h 83010"/>
              <a:gd name="connsiteX133" fmla="*/ 18717 w 102641"/>
              <a:gd name="connsiteY133" fmla="*/ 5963 h 83010"/>
              <a:gd name="connsiteX134" fmla="*/ 22060 w 102641"/>
              <a:gd name="connsiteY134" fmla="*/ 4848 h 83010"/>
              <a:gd name="connsiteX135" fmla="*/ 22860 w 102641"/>
              <a:gd name="connsiteY135" fmla="*/ 8544 h 83010"/>
              <a:gd name="connsiteX136" fmla="*/ 23469 w 102641"/>
              <a:gd name="connsiteY136" fmla="*/ 9716 h 83010"/>
              <a:gd name="connsiteX137" fmla="*/ 24260 w 102641"/>
              <a:gd name="connsiteY137" fmla="*/ 10478 h 83010"/>
              <a:gd name="connsiteX138" fmla="*/ 25308 w 102641"/>
              <a:gd name="connsiteY138" fmla="*/ 10630 h 83010"/>
              <a:gd name="connsiteX139" fmla="*/ 26518 w 102641"/>
              <a:gd name="connsiteY139" fmla="*/ 9716 h 83010"/>
              <a:gd name="connsiteX140" fmla="*/ 28213 w 102641"/>
              <a:gd name="connsiteY140" fmla="*/ 8754 h 83010"/>
              <a:gd name="connsiteX141" fmla="*/ 30927 w 102641"/>
              <a:gd name="connsiteY141" fmla="*/ 9201 h 83010"/>
              <a:gd name="connsiteX142" fmla="*/ 32899 w 102641"/>
              <a:gd name="connsiteY142" fmla="*/ 10087 h 83010"/>
              <a:gd name="connsiteX143" fmla="*/ 33594 w 102641"/>
              <a:gd name="connsiteY143" fmla="*/ 11011 h 83010"/>
              <a:gd name="connsiteX144" fmla="*/ 34909 w 102641"/>
              <a:gd name="connsiteY144" fmla="*/ 11887 h 83010"/>
              <a:gd name="connsiteX145" fmla="*/ 36814 w 102641"/>
              <a:gd name="connsiteY145" fmla="*/ 12097 h 83010"/>
              <a:gd name="connsiteX146" fmla="*/ 40500 w 102641"/>
              <a:gd name="connsiteY146" fmla="*/ 10421 h 83010"/>
              <a:gd name="connsiteX147" fmla="*/ 44044 w 102641"/>
              <a:gd name="connsiteY147" fmla="*/ 7868 h 83010"/>
              <a:gd name="connsiteX148" fmla="*/ 45082 w 102641"/>
              <a:gd name="connsiteY148" fmla="*/ 6087 h 83010"/>
              <a:gd name="connsiteX149" fmla="*/ 45472 w 102641"/>
              <a:gd name="connsiteY149" fmla="*/ 4477 h 83010"/>
              <a:gd name="connsiteX150" fmla="*/ 47568 w 102641"/>
              <a:gd name="connsiteY150" fmla="*/ 5544 h 83010"/>
              <a:gd name="connsiteX151" fmla="*/ 49416 w 102641"/>
              <a:gd name="connsiteY151" fmla="*/ 5772 h 83010"/>
              <a:gd name="connsiteX152" fmla="*/ 50235 w 102641"/>
              <a:gd name="connsiteY152" fmla="*/ 5296 h 83010"/>
              <a:gd name="connsiteX153" fmla="*/ 49711 w 102641"/>
              <a:gd name="connsiteY153" fmla="*/ 2715 h 83010"/>
              <a:gd name="connsiteX154" fmla="*/ 51216 w 102641"/>
              <a:gd name="connsiteY154" fmla="*/ 1334 h 83010"/>
              <a:gd name="connsiteX155" fmla="*/ 52883 w 102641"/>
              <a:gd name="connsiteY155" fmla="*/ 705 h 83010"/>
              <a:gd name="connsiteX156" fmla="*/ 53635 w 102641"/>
              <a:gd name="connsiteY156" fmla="*/ 1819 h 83010"/>
              <a:gd name="connsiteX157" fmla="*/ 55169 w 102641"/>
              <a:gd name="connsiteY157" fmla="*/ 2962 h 83010"/>
              <a:gd name="connsiteX158" fmla="*/ 56378 w 102641"/>
              <a:gd name="connsiteY158" fmla="*/ 2972 h 83010"/>
              <a:gd name="connsiteX159" fmla="*/ 59626 w 102641"/>
              <a:gd name="connsiteY159" fmla="*/ 0 h 83010"/>
              <a:gd name="connsiteX160" fmla="*/ 60388 w 102641"/>
              <a:gd name="connsiteY160" fmla="*/ 591 h 83010"/>
              <a:gd name="connsiteX161" fmla="*/ 61093 w 102641"/>
              <a:gd name="connsiteY161" fmla="*/ 1648 h 8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102641" h="83010">
                <a:moveTo>
                  <a:pt x="61246" y="2496"/>
                </a:moveTo>
                <a:lnTo>
                  <a:pt x="61370" y="3381"/>
                </a:lnTo>
                <a:lnTo>
                  <a:pt x="62103" y="3753"/>
                </a:lnTo>
                <a:lnTo>
                  <a:pt x="64665" y="3563"/>
                </a:lnTo>
                <a:lnTo>
                  <a:pt x="65961" y="1953"/>
                </a:lnTo>
                <a:lnTo>
                  <a:pt x="66989" y="943"/>
                </a:lnTo>
                <a:lnTo>
                  <a:pt x="67751" y="1629"/>
                </a:lnTo>
                <a:lnTo>
                  <a:pt x="68123" y="3610"/>
                </a:lnTo>
                <a:lnTo>
                  <a:pt x="68827" y="6182"/>
                </a:lnTo>
                <a:lnTo>
                  <a:pt x="71885" y="9058"/>
                </a:lnTo>
                <a:lnTo>
                  <a:pt x="74466" y="9878"/>
                </a:lnTo>
                <a:lnTo>
                  <a:pt x="77648" y="9315"/>
                </a:lnTo>
                <a:lnTo>
                  <a:pt x="78905" y="8801"/>
                </a:lnTo>
                <a:lnTo>
                  <a:pt x="79762" y="9230"/>
                </a:lnTo>
                <a:lnTo>
                  <a:pt x="80610" y="10754"/>
                </a:lnTo>
                <a:lnTo>
                  <a:pt x="82429" y="12487"/>
                </a:lnTo>
                <a:lnTo>
                  <a:pt x="86277" y="13726"/>
                </a:lnTo>
                <a:lnTo>
                  <a:pt x="87449" y="14421"/>
                </a:lnTo>
                <a:lnTo>
                  <a:pt x="88268" y="15593"/>
                </a:lnTo>
                <a:lnTo>
                  <a:pt x="88030" y="17250"/>
                </a:lnTo>
                <a:lnTo>
                  <a:pt x="86201" y="21393"/>
                </a:lnTo>
                <a:lnTo>
                  <a:pt x="85963" y="22613"/>
                </a:lnTo>
                <a:lnTo>
                  <a:pt x="86211" y="23022"/>
                </a:lnTo>
                <a:lnTo>
                  <a:pt x="85849" y="23784"/>
                </a:lnTo>
                <a:lnTo>
                  <a:pt x="83468" y="26556"/>
                </a:lnTo>
                <a:lnTo>
                  <a:pt x="83258" y="27527"/>
                </a:lnTo>
                <a:lnTo>
                  <a:pt x="84048" y="29118"/>
                </a:lnTo>
                <a:lnTo>
                  <a:pt x="84706" y="30432"/>
                </a:lnTo>
                <a:lnTo>
                  <a:pt x="84725" y="30175"/>
                </a:lnTo>
                <a:lnTo>
                  <a:pt x="88373" y="28985"/>
                </a:lnTo>
                <a:lnTo>
                  <a:pt x="90021" y="31375"/>
                </a:lnTo>
                <a:lnTo>
                  <a:pt x="92726" y="31461"/>
                </a:lnTo>
                <a:lnTo>
                  <a:pt x="93050" y="32233"/>
                </a:lnTo>
                <a:lnTo>
                  <a:pt x="96088" y="34462"/>
                </a:lnTo>
                <a:lnTo>
                  <a:pt x="97021" y="36224"/>
                </a:lnTo>
                <a:lnTo>
                  <a:pt x="99203" y="37929"/>
                </a:lnTo>
                <a:lnTo>
                  <a:pt x="97393" y="40081"/>
                </a:lnTo>
                <a:lnTo>
                  <a:pt x="97669" y="41043"/>
                </a:lnTo>
                <a:lnTo>
                  <a:pt x="98317" y="42024"/>
                </a:lnTo>
                <a:lnTo>
                  <a:pt x="100774" y="42596"/>
                </a:lnTo>
                <a:lnTo>
                  <a:pt x="102003" y="44006"/>
                </a:lnTo>
                <a:lnTo>
                  <a:pt x="102079" y="46168"/>
                </a:lnTo>
                <a:lnTo>
                  <a:pt x="102641" y="49673"/>
                </a:lnTo>
                <a:lnTo>
                  <a:pt x="97574" y="53159"/>
                </a:lnTo>
                <a:lnTo>
                  <a:pt x="96136" y="57045"/>
                </a:lnTo>
                <a:lnTo>
                  <a:pt x="96002" y="57807"/>
                </a:lnTo>
                <a:lnTo>
                  <a:pt x="95831" y="57693"/>
                </a:lnTo>
                <a:lnTo>
                  <a:pt x="95278" y="56407"/>
                </a:lnTo>
                <a:lnTo>
                  <a:pt x="94354" y="56426"/>
                </a:lnTo>
                <a:lnTo>
                  <a:pt x="92259" y="55883"/>
                </a:lnTo>
                <a:lnTo>
                  <a:pt x="89335" y="59389"/>
                </a:lnTo>
                <a:lnTo>
                  <a:pt x="88011" y="62303"/>
                </a:lnTo>
                <a:lnTo>
                  <a:pt x="87230" y="64437"/>
                </a:lnTo>
                <a:lnTo>
                  <a:pt x="86049" y="66161"/>
                </a:lnTo>
                <a:lnTo>
                  <a:pt x="85811" y="67980"/>
                </a:lnTo>
                <a:lnTo>
                  <a:pt x="85963" y="68752"/>
                </a:lnTo>
                <a:lnTo>
                  <a:pt x="85563" y="69733"/>
                </a:lnTo>
                <a:lnTo>
                  <a:pt x="85544" y="70771"/>
                </a:lnTo>
                <a:lnTo>
                  <a:pt x="87220" y="72800"/>
                </a:lnTo>
                <a:lnTo>
                  <a:pt x="87649" y="73905"/>
                </a:lnTo>
                <a:lnTo>
                  <a:pt x="89697" y="77514"/>
                </a:lnTo>
                <a:lnTo>
                  <a:pt x="89059" y="78820"/>
                </a:lnTo>
                <a:lnTo>
                  <a:pt x="88554" y="80239"/>
                </a:lnTo>
                <a:lnTo>
                  <a:pt x="87963" y="81248"/>
                </a:lnTo>
                <a:lnTo>
                  <a:pt x="87268" y="81887"/>
                </a:lnTo>
                <a:lnTo>
                  <a:pt x="85154" y="81848"/>
                </a:lnTo>
                <a:lnTo>
                  <a:pt x="82467" y="82296"/>
                </a:lnTo>
                <a:lnTo>
                  <a:pt x="80658" y="83010"/>
                </a:lnTo>
                <a:lnTo>
                  <a:pt x="79724" y="83010"/>
                </a:lnTo>
                <a:lnTo>
                  <a:pt x="77781" y="81220"/>
                </a:lnTo>
                <a:lnTo>
                  <a:pt x="75609" y="78534"/>
                </a:lnTo>
                <a:lnTo>
                  <a:pt x="74238" y="77248"/>
                </a:lnTo>
                <a:lnTo>
                  <a:pt x="73609" y="76143"/>
                </a:lnTo>
                <a:lnTo>
                  <a:pt x="71904" y="75676"/>
                </a:lnTo>
                <a:lnTo>
                  <a:pt x="69475" y="74352"/>
                </a:lnTo>
                <a:lnTo>
                  <a:pt x="67789" y="72905"/>
                </a:lnTo>
                <a:lnTo>
                  <a:pt x="66342" y="72000"/>
                </a:lnTo>
                <a:lnTo>
                  <a:pt x="64303" y="71552"/>
                </a:lnTo>
                <a:lnTo>
                  <a:pt x="62617" y="71599"/>
                </a:lnTo>
                <a:lnTo>
                  <a:pt x="62131" y="69161"/>
                </a:lnTo>
                <a:lnTo>
                  <a:pt x="61922" y="66380"/>
                </a:lnTo>
                <a:lnTo>
                  <a:pt x="60550" y="64503"/>
                </a:lnTo>
                <a:lnTo>
                  <a:pt x="62436" y="57188"/>
                </a:lnTo>
                <a:lnTo>
                  <a:pt x="61312" y="56474"/>
                </a:lnTo>
                <a:lnTo>
                  <a:pt x="60093" y="57055"/>
                </a:lnTo>
                <a:lnTo>
                  <a:pt x="58321" y="58807"/>
                </a:lnTo>
                <a:lnTo>
                  <a:pt x="57474" y="60884"/>
                </a:lnTo>
                <a:lnTo>
                  <a:pt x="56969" y="62732"/>
                </a:lnTo>
                <a:lnTo>
                  <a:pt x="53997" y="64475"/>
                </a:lnTo>
                <a:lnTo>
                  <a:pt x="49282" y="65113"/>
                </a:lnTo>
                <a:lnTo>
                  <a:pt x="44129" y="64475"/>
                </a:lnTo>
                <a:lnTo>
                  <a:pt x="43424" y="64008"/>
                </a:lnTo>
                <a:lnTo>
                  <a:pt x="43091" y="63475"/>
                </a:lnTo>
                <a:lnTo>
                  <a:pt x="43091" y="62837"/>
                </a:lnTo>
                <a:lnTo>
                  <a:pt x="43443" y="61846"/>
                </a:lnTo>
                <a:lnTo>
                  <a:pt x="44339" y="60636"/>
                </a:lnTo>
                <a:lnTo>
                  <a:pt x="44567" y="58922"/>
                </a:lnTo>
                <a:lnTo>
                  <a:pt x="43644" y="57436"/>
                </a:lnTo>
                <a:lnTo>
                  <a:pt x="43043" y="56855"/>
                </a:lnTo>
                <a:lnTo>
                  <a:pt x="43281" y="55417"/>
                </a:lnTo>
                <a:lnTo>
                  <a:pt x="43958" y="53616"/>
                </a:lnTo>
                <a:lnTo>
                  <a:pt x="44101" y="52578"/>
                </a:lnTo>
                <a:lnTo>
                  <a:pt x="40605" y="49464"/>
                </a:lnTo>
                <a:lnTo>
                  <a:pt x="38081" y="48854"/>
                </a:lnTo>
                <a:lnTo>
                  <a:pt x="35633" y="48739"/>
                </a:lnTo>
                <a:lnTo>
                  <a:pt x="33776" y="48387"/>
                </a:lnTo>
                <a:lnTo>
                  <a:pt x="32690" y="48539"/>
                </a:lnTo>
                <a:lnTo>
                  <a:pt x="31918" y="49444"/>
                </a:lnTo>
                <a:lnTo>
                  <a:pt x="31127" y="50102"/>
                </a:lnTo>
                <a:lnTo>
                  <a:pt x="30537" y="49321"/>
                </a:lnTo>
                <a:lnTo>
                  <a:pt x="29451" y="43777"/>
                </a:lnTo>
                <a:lnTo>
                  <a:pt x="28613" y="42939"/>
                </a:lnTo>
                <a:lnTo>
                  <a:pt x="25451" y="42005"/>
                </a:lnTo>
                <a:lnTo>
                  <a:pt x="21146" y="41672"/>
                </a:lnTo>
                <a:lnTo>
                  <a:pt x="20002" y="40662"/>
                </a:lnTo>
                <a:lnTo>
                  <a:pt x="19374" y="38157"/>
                </a:lnTo>
                <a:lnTo>
                  <a:pt x="18974" y="35147"/>
                </a:lnTo>
                <a:lnTo>
                  <a:pt x="17564" y="32252"/>
                </a:lnTo>
                <a:lnTo>
                  <a:pt x="16840" y="31518"/>
                </a:lnTo>
                <a:lnTo>
                  <a:pt x="15554" y="30242"/>
                </a:lnTo>
                <a:lnTo>
                  <a:pt x="13306" y="30766"/>
                </a:lnTo>
                <a:lnTo>
                  <a:pt x="10611" y="32452"/>
                </a:lnTo>
                <a:lnTo>
                  <a:pt x="9020" y="32909"/>
                </a:lnTo>
                <a:lnTo>
                  <a:pt x="8411" y="33090"/>
                </a:lnTo>
                <a:lnTo>
                  <a:pt x="6267" y="31452"/>
                </a:lnTo>
                <a:lnTo>
                  <a:pt x="3848" y="28890"/>
                </a:lnTo>
                <a:lnTo>
                  <a:pt x="1914" y="26165"/>
                </a:lnTo>
                <a:lnTo>
                  <a:pt x="1448" y="24651"/>
                </a:lnTo>
                <a:lnTo>
                  <a:pt x="2038" y="22813"/>
                </a:lnTo>
                <a:lnTo>
                  <a:pt x="1333" y="21403"/>
                </a:lnTo>
                <a:lnTo>
                  <a:pt x="295" y="18822"/>
                </a:lnTo>
                <a:lnTo>
                  <a:pt x="0" y="16802"/>
                </a:lnTo>
                <a:lnTo>
                  <a:pt x="11630" y="9640"/>
                </a:lnTo>
                <a:lnTo>
                  <a:pt x="18717" y="5963"/>
                </a:lnTo>
                <a:lnTo>
                  <a:pt x="22060" y="4848"/>
                </a:lnTo>
                <a:lnTo>
                  <a:pt x="22860" y="8544"/>
                </a:lnTo>
                <a:lnTo>
                  <a:pt x="23469" y="9716"/>
                </a:lnTo>
                <a:lnTo>
                  <a:pt x="24260" y="10478"/>
                </a:lnTo>
                <a:lnTo>
                  <a:pt x="25308" y="10630"/>
                </a:lnTo>
                <a:lnTo>
                  <a:pt x="26518" y="9716"/>
                </a:lnTo>
                <a:lnTo>
                  <a:pt x="28213" y="8754"/>
                </a:lnTo>
                <a:lnTo>
                  <a:pt x="30927" y="9201"/>
                </a:lnTo>
                <a:lnTo>
                  <a:pt x="32899" y="10087"/>
                </a:lnTo>
                <a:lnTo>
                  <a:pt x="33594" y="11011"/>
                </a:lnTo>
                <a:lnTo>
                  <a:pt x="34909" y="11887"/>
                </a:lnTo>
                <a:lnTo>
                  <a:pt x="36814" y="12097"/>
                </a:lnTo>
                <a:lnTo>
                  <a:pt x="40500" y="10421"/>
                </a:lnTo>
                <a:lnTo>
                  <a:pt x="44044" y="7868"/>
                </a:lnTo>
                <a:lnTo>
                  <a:pt x="45082" y="6087"/>
                </a:lnTo>
                <a:lnTo>
                  <a:pt x="45472" y="4477"/>
                </a:lnTo>
                <a:lnTo>
                  <a:pt x="47568" y="5544"/>
                </a:lnTo>
                <a:lnTo>
                  <a:pt x="49416" y="5772"/>
                </a:lnTo>
                <a:lnTo>
                  <a:pt x="50235" y="5296"/>
                </a:lnTo>
                <a:lnTo>
                  <a:pt x="49711" y="2715"/>
                </a:lnTo>
                <a:lnTo>
                  <a:pt x="51216" y="1334"/>
                </a:lnTo>
                <a:lnTo>
                  <a:pt x="52883" y="705"/>
                </a:lnTo>
                <a:lnTo>
                  <a:pt x="53635" y="1819"/>
                </a:lnTo>
                <a:lnTo>
                  <a:pt x="55169" y="2962"/>
                </a:lnTo>
                <a:lnTo>
                  <a:pt x="56378" y="2972"/>
                </a:lnTo>
                <a:lnTo>
                  <a:pt x="59626" y="0"/>
                </a:lnTo>
                <a:lnTo>
                  <a:pt x="60388" y="591"/>
                </a:lnTo>
                <a:lnTo>
                  <a:pt x="61093" y="1648"/>
                </a:ln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1" name="Forme libre : forme 10">
            <a:extLst>
              <a:ext uri="{FF2B5EF4-FFF2-40B4-BE49-F238E27FC236}">
                <a16:creationId xmlns:a16="http://schemas.microsoft.com/office/drawing/2014/main" id="{A6F8C910-A769-04DF-2F35-9055027C1492}"/>
              </a:ext>
            </a:extLst>
          </p:cNvPr>
          <p:cNvSpPr/>
          <p:nvPr/>
        </p:nvSpPr>
        <p:spPr>
          <a:xfrm>
            <a:off x="6300598" y="3851732"/>
            <a:ext cx="217608" cy="141676"/>
          </a:xfrm>
          <a:custGeom>
            <a:avLst/>
            <a:gdLst>
              <a:gd name="connsiteX0" fmla="*/ 166840 w 166839"/>
              <a:gd name="connsiteY0" fmla="*/ 18345 h 108623"/>
              <a:gd name="connsiteX1" fmla="*/ 166211 w 166839"/>
              <a:gd name="connsiteY1" fmla="*/ 27213 h 108623"/>
              <a:gd name="connsiteX2" fmla="*/ 163630 w 166839"/>
              <a:gd name="connsiteY2" fmla="*/ 31318 h 108623"/>
              <a:gd name="connsiteX3" fmla="*/ 159734 w 166839"/>
              <a:gd name="connsiteY3" fmla="*/ 29946 h 108623"/>
              <a:gd name="connsiteX4" fmla="*/ 154762 w 166839"/>
              <a:gd name="connsiteY4" fmla="*/ 31090 h 108623"/>
              <a:gd name="connsiteX5" fmla="*/ 152133 w 166839"/>
              <a:gd name="connsiteY5" fmla="*/ 35757 h 108623"/>
              <a:gd name="connsiteX6" fmla="*/ 150638 w 166839"/>
              <a:gd name="connsiteY6" fmla="*/ 37138 h 108623"/>
              <a:gd name="connsiteX7" fmla="*/ 149294 w 166839"/>
              <a:gd name="connsiteY7" fmla="*/ 38757 h 108623"/>
              <a:gd name="connsiteX8" fmla="*/ 148428 w 166839"/>
              <a:gd name="connsiteY8" fmla="*/ 44796 h 108623"/>
              <a:gd name="connsiteX9" fmla="*/ 148218 w 166839"/>
              <a:gd name="connsiteY9" fmla="*/ 54645 h 108623"/>
              <a:gd name="connsiteX10" fmla="*/ 146332 w 166839"/>
              <a:gd name="connsiteY10" fmla="*/ 55836 h 108623"/>
              <a:gd name="connsiteX11" fmla="*/ 144609 w 166839"/>
              <a:gd name="connsiteY11" fmla="*/ 56207 h 108623"/>
              <a:gd name="connsiteX12" fmla="*/ 137417 w 166839"/>
              <a:gd name="connsiteY12" fmla="*/ 64837 h 108623"/>
              <a:gd name="connsiteX13" fmla="*/ 141561 w 166839"/>
              <a:gd name="connsiteY13" fmla="*/ 67256 h 108623"/>
              <a:gd name="connsiteX14" fmla="*/ 143389 w 166839"/>
              <a:gd name="connsiteY14" fmla="*/ 69094 h 108623"/>
              <a:gd name="connsiteX15" fmla="*/ 146418 w 166839"/>
              <a:gd name="connsiteY15" fmla="*/ 74209 h 108623"/>
              <a:gd name="connsiteX16" fmla="*/ 150723 w 166839"/>
              <a:gd name="connsiteY16" fmla="*/ 79972 h 108623"/>
              <a:gd name="connsiteX17" fmla="*/ 151581 w 166839"/>
              <a:gd name="connsiteY17" fmla="*/ 82782 h 108623"/>
              <a:gd name="connsiteX18" fmla="*/ 147961 w 166839"/>
              <a:gd name="connsiteY18" fmla="*/ 82153 h 108623"/>
              <a:gd name="connsiteX19" fmla="*/ 146704 w 166839"/>
              <a:gd name="connsiteY19" fmla="*/ 82344 h 108623"/>
              <a:gd name="connsiteX20" fmla="*/ 145894 w 166839"/>
              <a:gd name="connsiteY20" fmla="*/ 83230 h 108623"/>
              <a:gd name="connsiteX21" fmla="*/ 144208 w 166839"/>
              <a:gd name="connsiteY21" fmla="*/ 83048 h 108623"/>
              <a:gd name="connsiteX22" fmla="*/ 142132 w 166839"/>
              <a:gd name="connsiteY22" fmla="*/ 83058 h 108623"/>
              <a:gd name="connsiteX23" fmla="*/ 139960 w 166839"/>
              <a:gd name="connsiteY23" fmla="*/ 84077 h 108623"/>
              <a:gd name="connsiteX24" fmla="*/ 138760 w 166839"/>
              <a:gd name="connsiteY24" fmla="*/ 84506 h 108623"/>
              <a:gd name="connsiteX25" fmla="*/ 137160 w 166839"/>
              <a:gd name="connsiteY25" fmla="*/ 83572 h 108623"/>
              <a:gd name="connsiteX26" fmla="*/ 134159 w 166839"/>
              <a:gd name="connsiteY26" fmla="*/ 80772 h 108623"/>
              <a:gd name="connsiteX27" fmla="*/ 132340 w 166839"/>
              <a:gd name="connsiteY27" fmla="*/ 78819 h 108623"/>
              <a:gd name="connsiteX28" fmla="*/ 130997 w 166839"/>
              <a:gd name="connsiteY28" fmla="*/ 78324 h 108623"/>
              <a:gd name="connsiteX29" fmla="*/ 129635 w 166839"/>
              <a:gd name="connsiteY29" fmla="*/ 78905 h 108623"/>
              <a:gd name="connsiteX30" fmla="*/ 124777 w 166839"/>
              <a:gd name="connsiteY30" fmla="*/ 79572 h 108623"/>
              <a:gd name="connsiteX31" fmla="*/ 123625 w 166839"/>
              <a:gd name="connsiteY31" fmla="*/ 80705 h 108623"/>
              <a:gd name="connsiteX32" fmla="*/ 121377 w 166839"/>
              <a:gd name="connsiteY32" fmla="*/ 81963 h 108623"/>
              <a:gd name="connsiteX33" fmla="*/ 119129 w 166839"/>
              <a:gd name="connsiteY33" fmla="*/ 82563 h 108623"/>
              <a:gd name="connsiteX34" fmla="*/ 115881 w 166839"/>
              <a:gd name="connsiteY34" fmla="*/ 82991 h 108623"/>
              <a:gd name="connsiteX35" fmla="*/ 114176 w 166839"/>
              <a:gd name="connsiteY35" fmla="*/ 82934 h 108623"/>
              <a:gd name="connsiteX36" fmla="*/ 113223 w 166839"/>
              <a:gd name="connsiteY36" fmla="*/ 83534 h 108623"/>
              <a:gd name="connsiteX37" fmla="*/ 112423 w 166839"/>
              <a:gd name="connsiteY37" fmla="*/ 85372 h 108623"/>
              <a:gd name="connsiteX38" fmla="*/ 111880 w 166839"/>
              <a:gd name="connsiteY38" fmla="*/ 87163 h 108623"/>
              <a:gd name="connsiteX39" fmla="*/ 111404 w 166839"/>
              <a:gd name="connsiteY39" fmla="*/ 87887 h 108623"/>
              <a:gd name="connsiteX40" fmla="*/ 107366 w 166839"/>
              <a:gd name="connsiteY40" fmla="*/ 88773 h 108623"/>
              <a:gd name="connsiteX41" fmla="*/ 106470 w 166839"/>
              <a:gd name="connsiteY41" fmla="*/ 89802 h 108623"/>
              <a:gd name="connsiteX42" fmla="*/ 106232 w 166839"/>
              <a:gd name="connsiteY42" fmla="*/ 90802 h 108623"/>
              <a:gd name="connsiteX43" fmla="*/ 106308 w 166839"/>
              <a:gd name="connsiteY43" fmla="*/ 91802 h 108623"/>
              <a:gd name="connsiteX44" fmla="*/ 103089 w 166839"/>
              <a:gd name="connsiteY44" fmla="*/ 90831 h 108623"/>
              <a:gd name="connsiteX45" fmla="*/ 100603 w 166839"/>
              <a:gd name="connsiteY45" fmla="*/ 91488 h 108623"/>
              <a:gd name="connsiteX46" fmla="*/ 100013 w 166839"/>
              <a:gd name="connsiteY46" fmla="*/ 92250 h 108623"/>
              <a:gd name="connsiteX47" fmla="*/ 99498 w 166839"/>
              <a:gd name="connsiteY47" fmla="*/ 93354 h 108623"/>
              <a:gd name="connsiteX48" fmla="*/ 99783 w 166839"/>
              <a:gd name="connsiteY48" fmla="*/ 94526 h 108623"/>
              <a:gd name="connsiteX49" fmla="*/ 100698 w 166839"/>
              <a:gd name="connsiteY49" fmla="*/ 95669 h 108623"/>
              <a:gd name="connsiteX50" fmla="*/ 101565 w 166839"/>
              <a:gd name="connsiteY50" fmla="*/ 98755 h 108623"/>
              <a:gd name="connsiteX51" fmla="*/ 101879 w 166839"/>
              <a:gd name="connsiteY51" fmla="*/ 101832 h 108623"/>
              <a:gd name="connsiteX52" fmla="*/ 101346 w 166839"/>
              <a:gd name="connsiteY52" fmla="*/ 103584 h 108623"/>
              <a:gd name="connsiteX53" fmla="*/ 99498 w 166839"/>
              <a:gd name="connsiteY53" fmla="*/ 104823 h 108623"/>
              <a:gd name="connsiteX54" fmla="*/ 95678 w 166839"/>
              <a:gd name="connsiteY54" fmla="*/ 106204 h 108623"/>
              <a:gd name="connsiteX55" fmla="*/ 91973 w 166839"/>
              <a:gd name="connsiteY55" fmla="*/ 105546 h 108623"/>
              <a:gd name="connsiteX56" fmla="*/ 90354 w 166839"/>
              <a:gd name="connsiteY56" fmla="*/ 106089 h 108623"/>
              <a:gd name="connsiteX57" fmla="*/ 87611 w 166839"/>
              <a:gd name="connsiteY57" fmla="*/ 106261 h 108623"/>
              <a:gd name="connsiteX58" fmla="*/ 85087 w 166839"/>
              <a:gd name="connsiteY58" fmla="*/ 106623 h 108623"/>
              <a:gd name="connsiteX59" fmla="*/ 81210 w 166839"/>
              <a:gd name="connsiteY59" fmla="*/ 107880 h 108623"/>
              <a:gd name="connsiteX60" fmla="*/ 77705 w 166839"/>
              <a:gd name="connsiteY60" fmla="*/ 108623 h 108623"/>
              <a:gd name="connsiteX61" fmla="*/ 74562 w 166839"/>
              <a:gd name="connsiteY61" fmla="*/ 106061 h 108623"/>
              <a:gd name="connsiteX62" fmla="*/ 70828 w 166839"/>
              <a:gd name="connsiteY62" fmla="*/ 104318 h 108623"/>
              <a:gd name="connsiteX63" fmla="*/ 66903 w 166839"/>
              <a:gd name="connsiteY63" fmla="*/ 103279 h 108623"/>
              <a:gd name="connsiteX64" fmla="*/ 65541 w 166839"/>
              <a:gd name="connsiteY64" fmla="*/ 104032 h 108623"/>
              <a:gd name="connsiteX65" fmla="*/ 64951 w 166839"/>
              <a:gd name="connsiteY65" fmla="*/ 104632 h 108623"/>
              <a:gd name="connsiteX66" fmla="*/ 61665 w 166839"/>
              <a:gd name="connsiteY66" fmla="*/ 102365 h 108623"/>
              <a:gd name="connsiteX67" fmla="*/ 60198 w 166839"/>
              <a:gd name="connsiteY67" fmla="*/ 101555 h 108623"/>
              <a:gd name="connsiteX68" fmla="*/ 59484 w 166839"/>
              <a:gd name="connsiteY68" fmla="*/ 100679 h 108623"/>
              <a:gd name="connsiteX69" fmla="*/ 58121 w 166839"/>
              <a:gd name="connsiteY69" fmla="*/ 97650 h 108623"/>
              <a:gd name="connsiteX70" fmla="*/ 57312 w 166839"/>
              <a:gd name="connsiteY70" fmla="*/ 97555 h 108623"/>
              <a:gd name="connsiteX71" fmla="*/ 54607 w 166839"/>
              <a:gd name="connsiteY71" fmla="*/ 98679 h 108623"/>
              <a:gd name="connsiteX72" fmla="*/ 51997 w 166839"/>
              <a:gd name="connsiteY72" fmla="*/ 98631 h 108623"/>
              <a:gd name="connsiteX73" fmla="*/ 50425 w 166839"/>
              <a:gd name="connsiteY73" fmla="*/ 98422 h 108623"/>
              <a:gd name="connsiteX74" fmla="*/ 45758 w 166839"/>
              <a:gd name="connsiteY74" fmla="*/ 98555 h 108623"/>
              <a:gd name="connsiteX75" fmla="*/ 45139 w 166839"/>
              <a:gd name="connsiteY75" fmla="*/ 100622 h 108623"/>
              <a:gd name="connsiteX76" fmla="*/ 44567 w 166839"/>
              <a:gd name="connsiteY76" fmla="*/ 100936 h 108623"/>
              <a:gd name="connsiteX77" fmla="*/ 43558 w 166839"/>
              <a:gd name="connsiteY77" fmla="*/ 101213 h 108623"/>
              <a:gd name="connsiteX78" fmla="*/ 41081 w 166839"/>
              <a:gd name="connsiteY78" fmla="*/ 101079 h 108623"/>
              <a:gd name="connsiteX79" fmla="*/ 37909 w 166839"/>
              <a:gd name="connsiteY79" fmla="*/ 102613 h 108623"/>
              <a:gd name="connsiteX80" fmla="*/ 34509 w 166839"/>
              <a:gd name="connsiteY80" fmla="*/ 103546 h 108623"/>
              <a:gd name="connsiteX81" fmla="*/ 31852 w 166839"/>
              <a:gd name="connsiteY81" fmla="*/ 103565 h 108623"/>
              <a:gd name="connsiteX82" fmla="*/ 29118 w 166839"/>
              <a:gd name="connsiteY82" fmla="*/ 103118 h 108623"/>
              <a:gd name="connsiteX83" fmla="*/ 27480 w 166839"/>
              <a:gd name="connsiteY83" fmla="*/ 103441 h 108623"/>
              <a:gd name="connsiteX84" fmla="*/ 23946 w 166839"/>
              <a:gd name="connsiteY84" fmla="*/ 103603 h 108623"/>
              <a:gd name="connsiteX85" fmla="*/ 21707 w 166839"/>
              <a:gd name="connsiteY85" fmla="*/ 105832 h 108623"/>
              <a:gd name="connsiteX86" fmla="*/ 18221 w 166839"/>
              <a:gd name="connsiteY86" fmla="*/ 105708 h 108623"/>
              <a:gd name="connsiteX87" fmla="*/ 15287 w 166839"/>
              <a:gd name="connsiteY87" fmla="*/ 105337 h 108623"/>
              <a:gd name="connsiteX88" fmla="*/ 15650 w 166839"/>
              <a:gd name="connsiteY88" fmla="*/ 104632 h 108623"/>
              <a:gd name="connsiteX89" fmla="*/ 16240 w 166839"/>
              <a:gd name="connsiteY89" fmla="*/ 95764 h 108623"/>
              <a:gd name="connsiteX90" fmla="*/ 17688 w 166839"/>
              <a:gd name="connsiteY90" fmla="*/ 91792 h 108623"/>
              <a:gd name="connsiteX91" fmla="*/ 17630 w 166839"/>
              <a:gd name="connsiteY91" fmla="*/ 90973 h 108623"/>
              <a:gd name="connsiteX92" fmla="*/ 17316 w 166839"/>
              <a:gd name="connsiteY92" fmla="*/ 90354 h 108623"/>
              <a:gd name="connsiteX93" fmla="*/ 16030 w 166839"/>
              <a:gd name="connsiteY93" fmla="*/ 89716 h 108623"/>
              <a:gd name="connsiteX94" fmla="*/ 15107 w 166839"/>
              <a:gd name="connsiteY94" fmla="*/ 87563 h 108623"/>
              <a:gd name="connsiteX95" fmla="*/ 13173 w 166839"/>
              <a:gd name="connsiteY95" fmla="*/ 81896 h 108623"/>
              <a:gd name="connsiteX96" fmla="*/ 12078 w 166839"/>
              <a:gd name="connsiteY96" fmla="*/ 80753 h 108623"/>
              <a:gd name="connsiteX97" fmla="*/ 9039 w 166839"/>
              <a:gd name="connsiteY97" fmla="*/ 79553 h 108623"/>
              <a:gd name="connsiteX98" fmla="*/ 6382 w 166839"/>
              <a:gd name="connsiteY98" fmla="*/ 77914 h 108623"/>
              <a:gd name="connsiteX99" fmla="*/ 4124 w 166839"/>
              <a:gd name="connsiteY99" fmla="*/ 75743 h 108623"/>
              <a:gd name="connsiteX100" fmla="*/ 0 w 166839"/>
              <a:gd name="connsiteY100" fmla="*/ 70390 h 108623"/>
              <a:gd name="connsiteX101" fmla="*/ 2086 w 166839"/>
              <a:gd name="connsiteY101" fmla="*/ 69856 h 108623"/>
              <a:gd name="connsiteX102" fmla="*/ 2714 w 166839"/>
              <a:gd name="connsiteY102" fmla="*/ 68761 h 108623"/>
              <a:gd name="connsiteX103" fmla="*/ 4800 w 166839"/>
              <a:gd name="connsiteY103" fmla="*/ 65808 h 108623"/>
              <a:gd name="connsiteX104" fmla="*/ 5039 w 166839"/>
              <a:gd name="connsiteY104" fmla="*/ 64360 h 108623"/>
              <a:gd name="connsiteX105" fmla="*/ 4819 w 166839"/>
              <a:gd name="connsiteY105" fmla="*/ 63541 h 108623"/>
              <a:gd name="connsiteX106" fmla="*/ 3420 w 166839"/>
              <a:gd name="connsiteY106" fmla="*/ 62122 h 108623"/>
              <a:gd name="connsiteX107" fmla="*/ 2467 w 166839"/>
              <a:gd name="connsiteY107" fmla="*/ 59007 h 108623"/>
              <a:gd name="connsiteX108" fmla="*/ 3181 w 166839"/>
              <a:gd name="connsiteY108" fmla="*/ 56102 h 108623"/>
              <a:gd name="connsiteX109" fmla="*/ 3248 w 166839"/>
              <a:gd name="connsiteY109" fmla="*/ 54607 h 108623"/>
              <a:gd name="connsiteX110" fmla="*/ 2543 w 166839"/>
              <a:gd name="connsiteY110" fmla="*/ 53121 h 108623"/>
              <a:gd name="connsiteX111" fmla="*/ 3277 w 166839"/>
              <a:gd name="connsiteY111" fmla="*/ 51273 h 108623"/>
              <a:gd name="connsiteX112" fmla="*/ 4781 w 166839"/>
              <a:gd name="connsiteY112" fmla="*/ 50264 h 108623"/>
              <a:gd name="connsiteX113" fmla="*/ 5724 w 166839"/>
              <a:gd name="connsiteY113" fmla="*/ 49968 h 108623"/>
              <a:gd name="connsiteX114" fmla="*/ 9677 w 166839"/>
              <a:gd name="connsiteY114" fmla="*/ 49768 h 108623"/>
              <a:gd name="connsiteX115" fmla="*/ 12182 w 166839"/>
              <a:gd name="connsiteY115" fmla="*/ 46063 h 108623"/>
              <a:gd name="connsiteX116" fmla="*/ 13706 w 166839"/>
              <a:gd name="connsiteY116" fmla="*/ 44882 h 108623"/>
              <a:gd name="connsiteX117" fmla="*/ 15268 w 166839"/>
              <a:gd name="connsiteY117" fmla="*/ 42777 h 108623"/>
              <a:gd name="connsiteX118" fmla="*/ 15992 w 166839"/>
              <a:gd name="connsiteY118" fmla="*/ 42005 h 108623"/>
              <a:gd name="connsiteX119" fmla="*/ 16678 w 166839"/>
              <a:gd name="connsiteY119" fmla="*/ 40367 h 108623"/>
              <a:gd name="connsiteX120" fmla="*/ 16916 w 166839"/>
              <a:gd name="connsiteY120" fmla="*/ 38691 h 108623"/>
              <a:gd name="connsiteX121" fmla="*/ 13782 w 166839"/>
              <a:gd name="connsiteY121" fmla="*/ 36338 h 108623"/>
              <a:gd name="connsiteX122" fmla="*/ 12716 w 166839"/>
              <a:gd name="connsiteY122" fmla="*/ 34566 h 108623"/>
              <a:gd name="connsiteX123" fmla="*/ 11316 w 166839"/>
              <a:gd name="connsiteY123" fmla="*/ 32604 h 108623"/>
              <a:gd name="connsiteX124" fmla="*/ 9430 w 166839"/>
              <a:gd name="connsiteY124" fmla="*/ 31252 h 108623"/>
              <a:gd name="connsiteX125" fmla="*/ 5629 w 166839"/>
              <a:gd name="connsiteY125" fmla="*/ 28927 h 108623"/>
              <a:gd name="connsiteX126" fmla="*/ 4143 w 166839"/>
              <a:gd name="connsiteY126" fmla="*/ 26565 h 108623"/>
              <a:gd name="connsiteX127" fmla="*/ 3477 w 166839"/>
              <a:gd name="connsiteY127" fmla="*/ 23498 h 108623"/>
              <a:gd name="connsiteX128" fmla="*/ 2467 w 166839"/>
              <a:gd name="connsiteY128" fmla="*/ 21174 h 108623"/>
              <a:gd name="connsiteX129" fmla="*/ 1352 w 166839"/>
              <a:gd name="connsiteY129" fmla="*/ 19660 h 108623"/>
              <a:gd name="connsiteX130" fmla="*/ 1143 w 166839"/>
              <a:gd name="connsiteY130" fmla="*/ 18421 h 108623"/>
              <a:gd name="connsiteX131" fmla="*/ 676 w 166839"/>
              <a:gd name="connsiteY131" fmla="*/ 16907 h 108623"/>
              <a:gd name="connsiteX132" fmla="*/ 571 w 166839"/>
              <a:gd name="connsiteY132" fmla="*/ 13926 h 108623"/>
              <a:gd name="connsiteX133" fmla="*/ 1476 w 166839"/>
              <a:gd name="connsiteY133" fmla="*/ 9953 h 108623"/>
              <a:gd name="connsiteX134" fmla="*/ 2057 w 166839"/>
              <a:gd name="connsiteY134" fmla="*/ 8544 h 108623"/>
              <a:gd name="connsiteX135" fmla="*/ 3343 w 166839"/>
              <a:gd name="connsiteY135" fmla="*/ 8153 h 108623"/>
              <a:gd name="connsiteX136" fmla="*/ 6772 w 166839"/>
              <a:gd name="connsiteY136" fmla="*/ 6029 h 108623"/>
              <a:gd name="connsiteX137" fmla="*/ 6934 w 166839"/>
              <a:gd name="connsiteY137" fmla="*/ 3315 h 108623"/>
              <a:gd name="connsiteX138" fmla="*/ 7553 w 166839"/>
              <a:gd name="connsiteY138" fmla="*/ 1619 h 108623"/>
              <a:gd name="connsiteX139" fmla="*/ 8639 w 166839"/>
              <a:gd name="connsiteY139" fmla="*/ 648 h 108623"/>
              <a:gd name="connsiteX140" fmla="*/ 9649 w 166839"/>
              <a:gd name="connsiteY140" fmla="*/ 0 h 108623"/>
              <a:gd name="connsiteX141" fmla="*/ 11525 w 166839"/>
              <a:gd name="connsiteY141" fmla="*/ 1581 h 108623"/>
              <a:gd name="connsiteX142" fmla="*/ 16078 w 166839"/>
              <a:gd name="connsiteY142" fmla="*/ 4105 h 108623"/>
              <a:gd name="connsiteX143" fmla="*/ 18297 w 166839"/>
              <a:gd name="connsiteY143" fmla="*/ 5934 h 108623"/>
              <a:gd name="connsiteX144" fmla="*/ 18183 w 166839"/>
              <a:gd name="connsiteY144" fmla="*/ 7068 h 108623"/>
              <a:gd name="connsiteX145" fmla="*/ 17145 w 166839"/>
              <a:gd name="connsiteY145" fmla="*/ 8191 h 108623"/>
              <a:gd name="connsiteX146" fmla="*/ 15164 w 166839"/>
              <a:gd name="connsiteY146" fmla="*/ 9296 h 108623"/>
              <a:gd name="connsiteX147" fmla="*/ 14011 w 166839"/>
              <a:gd name="connsiteY147" fmla="*/ 10754 h 108623"/>
              <a:gd name="connsiteX148" fmla="*/ 13697 w 166839"/>
              <a:gd name="connsiteY148" fmla="*/ 12554 h 108623"/>
              <a:gd name="connsiteX149" fmla="*/ 13992 w 166839"/>
              <a:gd name="connsiteY149" fmla="*/ 13830 h 108623"/>
              <a:gd name="connsiteX150" fmla="*/ 15364 w 166839"/>
              <a:gd name="connsiteY150" fmla="*/ 14945 h 108623"/>
              <a:gd name="connsiteX151" fmla="*/ 23536 w 166839"/>
              <a:gd name="connsiteY151" fmla="*/ 13487 h 108623"/>
              <a:gd name="connsiteX152" fmla="*/ 31823 w 166839"/>
              <a:gd name="connsiteY152" fmla="*/ 14240 h 108623"/>
              <a:gd name="connsiteX153" fmla="*/ 42948 w 166839"/>
              <a:gd name="connsiteY153" fmla="*/ 16707 h 108623"/>
              <a:gd name="connsiteX154" fmla="*/ 50320 w 166839"/>
              <a:gd name="connsiteY154" fmla="*/ 17564 h 108623"/>
              <a:gd name="connsiteX155" fmla="*/ 55778 w 166839"/>
              <a:gd name="connsiteY155" fmla="*/ 16421 h 108623"/>
              <a:gd name="connsiteX156" fmla="*/ 65865 w 166839"/>
              <a:gd name="connsiteY156" fmla="*/ 18488 h 108623"/>
              <a:gd name="connsiteX157" fmla="*/ 75266 w 166839"/>
              <a:gd name="connsiteY157" fmla="*/ 20412 h 108623"/>
              <a:gd name="connsiteX158" fmla="*/ 84287 w 166839"/>
              <a:gd name="connsiteY158" fmla="*/ 20974 h 108623"/>
              <a:gd name="connsiteX159" fmla="*/ 89335 w 166839"/>
              <a:gd name="connsiteY159" fmla="*/ 19469 h 108623"/>
              <a:gd name="connsiteX160" fmla="*/ 92887 w 166839"/>
              <a:gd name="connsiteY160" fmla="*/ 17440 h 108623"/>
              <a:gd name="connsiteX161" fmla="*/ 95945 w 166839"/>
              <a:gd name="connsiteY161" fmla="*/ 13611 h 108623"/>
              <a:gd name="connsiteX162" fmla="*/ 103498 w 166839"/>
              <a:gd name="connsiteY162" fmla="*/ 8554 h 108623"/>
              <a:gd name="connsiteX163" fmla="*/ 110804 w 166839"/>
              <a:gd name="connsiteY163" fmla="*/ 5705 h 108623"/>
              <a:gd name="connsiteX164" fmla="*/ 120386 w 166839"/>
              <a:gd name="connsiteY164" fmla="*/ 3400 h 108623"/>
              <a:gd name="connsiteX165" fmla="*/ 126787 w 166839"/>
              <a:gd name="connsiteY165" fmla="*/ 2619 h 108623"/>
              <a:gd name="connsiteX166" fmla="*/ 127682 w 166839"/>
              <a:gd name="connsiteY166" fmla="*/ 3400 h 108623"/>
              <a:gd name="connsiteX167" fmla="*/ 135827 w 166839"/>
              <a:gd name="connsiteY167" fmla="*/ 8058 h 108623"/>
              <a:gd name="connsiteX168" fmla="*/ 139455 w 166839"/>
              <a:gd name="connsiteY168" fmla="*/ 8077 h 108623"/>
              <a:gd name="connsiteX169" fmla="*/ 142389 w 166839"/>
              <a:gd name="connsiteY169" fmla="*/ 8906 h 108623"/>
              <a:gd name="connsiteX170" fmla="*/ 143465 w 166839"/>
              <a:gd name="connsiteY170" fmla="*/ 10135 h 108623"/>
              <a:gd name="connsiteX171" fmla="*/ 144199 w 166839"/>
              <a:gd name="connsiteY171" fmla="*/ 10439 h 108623"/>
              <a:gd name="connsiteX172" fmla="*/ 148104 w 166839"/>
              <a:gd name="connsiteY172" fmla="*/ 9287 h 108623"/>
              <a:gd name="connsiteX173" fmla="*/ 149828 w 166839"/>
              <a:gd name="connsiteY173" fmla="*/ 11830 h 108623"/>
              <a:gd name="connsiteX174" fmla="*/ 152524 w 166839"/>
              <a:gd name="connsiteY174" fmla="*/ 15392 h 108623"/>
              <a:gd name="connsiteX175" fmla="*/ 157124 w 166839"/>
              <a:gd name="connsiteY175" fmla="*/ 17221 h 108623"/>
              <a:gd name="connsiteX176" fmla="*/ 161220 w 166839"/>
              <a:gd name="connsiteY176" fmla="*/ 18250 h 108623"/>
              <a:gd name="connsiteX177" fmla="*/ 162515 w 166839"/>
              <a:gd name="connsiteY177" fmla="*/ 18412 h 108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</a:cxnLst>
            <a:rect l="l" t="t" r="r" b="b"/>
            <a:pathLst>
              <a:path w="166839" h="108623">
                <a:moveTo>
                  <a:pt x="166840" y="18345"/>
                </a:moveTo>
                <a:lnTo>
                  <a:pt x="166211" y="27213"/>
                </a:lnTo>
                <a:lnTo>
                  <a:pt x="163630" y="31318"/>
                </a:lnTo>
                <a:lnTo>
                  <a:pt x="159734" y="29946"/>
                </a:lnTo>
                <a:lnTo>
                  <a:pt x="154762" y="31090"/>
                </a:lnTo>
                <a:lnTo>
                  <a:pt x="152133" y="35757"/>
                </a:lnTo>
                <a:lnTo>
                  <a:pt x="150638" y="37138"/>
                </a:lnTo>
                <a:lnTo>
                  <a:pt x="149294" y="38757"/>
                </a:lnTo>
                <a:lnTo>
                  <a:pt x="148428" y="44796"/>
                </a:lnTo>
                <a:lnTo>
                  <a:pt x="148218" y="54645"/>
                </a:lnTo>
                <a:lnTo>
                  <a:pt x="146332" y="55836"/>
                </a:lnTo>
                <a:lnTo>
                  <a:pt x="144609" y="56207"/>
                </a:lnTo>
                <a:lnTo>
                  <a:pt x="137417" y="64837"/>
                </a:lnTo>
                <a:lnTo>
                  <a:pt x="141561" y="67256"/>
                </a:lnTo>
                <a:lnTo>
                  <a:pt x="143389" y="69094"/>
                </a:lnTo>
                <a:lnTo>
                  <a:pt x="146418" y="74209"/>
                </a:lnTo>
                <a:lnTo>
                  <a:pt x="150723" y="79972"/>
                </a:lnTo>
                <a:lnTo>
                  <a:pt x="151581" y="82782"/>
                </a:lnTo>
                <a:lnTo>
                  <a:pt x="147961" y="82153"/>
                </a:lnTo>
                <a:lnTo>
                  <a:pt x="146704" y="82344"/>
                </a:lnTo>
                <a:lnTo>
                  <a:pt x="145894" y="83230"/>
                </a:lnTo>
                <a:lnTo>
                  <a:pt x="144208" y="83048"/>
                </a:lnTo>
                <a:lnTo>
                  <a:pt x="142132" y="83058"/>
                </a:lnTo>
                <a:lnTo>
                  <a:pt x="139960" y="84077"/>
                </a:lnTo>
                <a:lnTo>
                  <a:pt x="138760" y="84506"/>
                </a:lnTo>
                <a:lnTo>
                  <a:pt x="137160" y="83572"/>
                </a:lnTo>
                <a:lnTo>
                  <a:pt x="134159" y="80772"/>
                </a:lnTo>
                <a:lnTo>
                  <a:pt x="132340" y="78819"/>
                </a:lnTo>
                <a:lnTo>
                  <a:pt x="130997" y="78324"/>
                </a:lnTo>
                <a:lnTo>
                  <a:pt x="129635" y="78905"/>
                </a:lnTo>
                <a:lnTo>
                  <a:pt x="124777" y="79572"/>
                </a:lnTo>
                <a:lnTo>
                  <a:pt x="123625" y="80705"/>
                </a:lnTo>
                <a:lnTo>
                  <a:pt x="121377" y="81963"/>
                </a:lnTo>
                <a:lnTo>
                  <a:pt x="119129" y="82563"/>
                </a:lnTo>
                <a:lnTo>
                  <a:pt x="115881" y="82991"/>
                </a:lnTo>
                <a:lnTo>
                  <a:pt x="114176" y="82934"/>
                </a:lnTo>
                <a:lnTo>
                  <a:pt x="113223" y="83534"/>
                </a:lnTo>
                <a:lnTo>
                  <a:pt x="112423" y="85372"/>
                </a:lnTo>
                <a:lnTo>
                  <a:pt x="111880" y="87163"/>
                </a:lnTo>
                <a:lnTo>
                  <a:pt x="111404" y="87887"/>
                </a:lnTo>
                <a:lnTo>
                  <a:pt x="107366" y="88773"/>
                </a:lnTo>
                <a:lnTo>
                  <a:pt x="106470" y="89802"/>
                </a:lnTo>
                <a:lnTo>
                  <a:pt x="106232" y="90802"/>
                </a:lnTo>
                <a:lnTo>
                  <a:pt x="106308" y="91802"/>
                </a:lnTo>
                <a:lnTo>
                  <a:pt x="103089" y="90831"/>
                </a:lnTo>
                <a:lnTo>
                  <a:pt x="100603" y="91488"/>
                </a:lnTo>
                <a:lnTo>
                  <a:pt x="100013" y="92250"/>
                </a:lnTo>
                <a:lnTo>
                  <a:pt x="99498" y="93354"/>
                </a:lnTo>
                <a:lnTo>
                  <a:pt x="99783" y="94526"/>
                </a:lnTo>
                <a:lnTo>
                  <a:pt x="100698" y="95669"/>
                </a:lnTo>
                <a:lnTo>
                  <a:pt x="101565" y="98755"/>
                </a:lnTo>
                <a:lnTo>
                  <a:pt x="101879" y="101832"/>
                </a:lnTo>
                <a:lnTo>
                  <a:pt x="101346" y="103584"/>
                </a:lnTo>
                <a:lnTo>
                  <a:pt x="99498" y="104823"/>
                </a:lnTo>
                <a:lnTo>
                  <a:pt x="95678" y="106204"/>
                </a:lnTo>
                <a:lnTo>
                  <a:pt x="91973" y="105546"/>
                </a:lnTo>
                <a:lnTo>
                  <a:pt x="90354" y="106089"/>
                </a:lnTo>
                <a:lnTo>
                  <a:pt x="87611" y="106261"/>
                </a:lnTo>
                <a:lnTo>
                  <a:pt x="85087" y="106623"/>
                </a:lnTo>
                <a:lnTo>
                  <a:pt x="81210" y="107880"/>
                </a:lnTo>
                <a:lnTo>
                  <a:pt x="77705" y="108623"/>
                </a:lnTo>
                <a:lnTo>
                  <a:pt x="74562" y="106061"/>
                </a:lnTo>
                <a:lnTo>
                  <a:pt x="70828" y="104318"/>
                </a:lnTo>
                <a:lnTo>
                  <a:pt x="66903" y="103279"/>
                </a:lnTo>
                <a:lnTo>
                  <a:pt x="65541" y="104032"/>
                </a:lnTo>
                <a:lnTo>
                  <a:pt x="64951" y="104632"/>
                </a:lnTo>
                <a:lnTo>
                  <a:pt x="61665" y="102365"/>
                </a:lnTo>
                <a:lnTo>
                  <a:pt x="60198" y="101555"/>
                </a:lnTo>
                <a:lnTo>
                  <a:pt x="59484" y="100679"/>
                </a:lnTo>
                <a:lnTo>
                  <a:pt x="58121" y="97650"/>
                </a:lnTo>
                <a:lnTo>
                  <a:pt x="57312" y="97555"/>
                </a:lnTo>
                <a:lnTo>
                  <a:pt x="54607" y="98679"/>
                </a:lnTo>
                <a:lnTo>
                  <a:pt x="51997" y="98631"/>
                </a:lnTo>
                <a:lnTo>
                  <a:pt x="50425" y="98422"/>
                </a:lnTo>
                <a:lnTo>
                  <a:pt x="45758" y="98555"/>
                </a:lnTo>
                <a:lnTo>
                  <a:pt x="45139" y="100622"/>
                </a:lnTo>
                <a:lnTo>
                  <a:pt x="44567" y="100936"/>
                </a:lnTo>
                <a:lnTo>
                  <a:pt x="43558" y="101213"/>
                </a:lnTo>
                <a:lnTo>
                  <a:pt x="41081" y="101079"/>
                </a:lnTo>
                <a:lnTo>
                  <a:pt x="37909" y="102613"/>
                </a:lnTo>
                <a:lnTo>
                  <a:pt x="34509" y="103546"/>
                </a:lnTo>
                <a:lnTo>
                  <a:pt x="31852" y="103565"/>
                </a:lnTo>
                <a:lnTo>
                  <a:pt x="29118" y="103118"/>
                </a:lnTo>
                <a:lnTo>
                  <a:pt x="27480" y="103441"/>
                </a:lnTo>
                <a:lnTo>
                  <a:pt x="23946" y="103603"/>
                </a:lnTo>
                <a:lnTo>
                  <a:pt x="21707" y="105832"/>
                </a:lnTo>
                <a:lnTo>
                  <a:pt x="18221" y="105708"/>
                </a:lnTo>
                <a:lnTo>
                  <a:pt x="15287" y="105337"/>
                </a:lnTo>
                <a:lnTo>
                  <a:pt x="15650" y="104632"/>
                </a:lnTo>
                <a:lnTo>
                  <a:pt x="16240" y="95764"/>
                </a:lnTo>
                <a:lnTo>
                  <a:pt x="17688" y="91792"/>
                </a:lnTo>
                <a:lnTo>
                  <a:pt x="17630" y="90973"/>
                </a:lnTo>
                <a:lnTo>
                  <a:pt x="17316" y="90354"/>
                </a:lnTo>
                <a:lnTo>
                  <a:pt x="16030" y="89716"/>
                </a:lnTo>
                <a:lnTo>
                  <a:pt x="15107" y="87563"/>
                </a:lnTo>
                <a:lnTo>
                  <a:pt x="13173" y="81896"/>
                </a:lnTo>
                <a:lnTo>
                  <a:pt x="12078" y="80753"/>
                </a:lnTo>
                <a:lnTo>
                  <a:pt x="9039" y="79553"/>
                </a:lnTo>
                <a:lnTo>
                  <a:pt x="6382" y="77914"/>
                </a:lnTo>
                <a:lnTo>
                  <a:pt x="4124" y="75743"/>
                </a:lnTo>
                <a:lnTo>
                  <a:pt x="0" y="70390"/>
                </a:lnTo>
                <a:lnTo>
                  <a:pt x="2086" y="69856"/>
                </a:lnTo>
                <a:lnTo>
                  <a:pt x="2714" y="68761"/>
                </a:lnTo>
                <a:lnTo>
                  <a:pt x="4800" y="65808"/>
                </a:lnTo>
                <a:lnTo>
                  <a:pt x="5039" y="64360"/>
                </a:lnTo>
                <a:lnTo>
                  <a:pt x="4819" y="63541"/>
                </a:lnTo>
                <a:lnTo>
                  <a:pt x="3420" y="62122"/>
                </a:lnTo>
                <a:lnTo>
                  <a:pt x="2467" y="59007"/>
                </a:lnTo>
                <a:lnTo>
                  <a:pt x="3181" y="56102"/>
                </a:lnTo>
                <a:lnTo>
                  <a:pt x="3248" y="54607"/>
                </a:lnTo>
                <a:lnTo>
                  <a:pt x="2543" y="53121"/>
                </a:lnTo>
                <a:lnTo>
                  <a:pt x="3277" y="51273"/>
                </a:lnTo>
                <a:lnTo>
                  <a:pt x="4781" y="50264"/>
                </a:lnTo>
                <a:lnTo>
                  <a:pt x="5724" y="49968"/>
                </a:lnTo>
                <a:lnTo>
                  <a:pt x="9677" y="49768"/>
                </a:lnTo>
                <a:lnTo>
                  <a:pt x="12182" y="46063"/>
                </a:lnTo>
                <a:lnTo>
                  <a:pt x="13706" y="44882"/>
                </a:lnTo>
                <a:lnTo>
                  <a:pt x="15268" y="42777"/>
                </a:lnTo>
                <a:lnTo>
                  <a:pt x="15992" y="42005"/>
                </a:lnTo>
                <a:lnTo>
                  <a:pt x="16678" y="40367"/>
                </a:lnTo>
                <a:lnTo>
                  <a:pt x="16916" y="38691"/>
                </a:lnTo>
                <a:lnTo>
                  <a:pt x="13782" y="36338"/>
                </a:lnTo>
                <a:lnTo>
                  <a:pt x="12716" y="34566"/>
                </a:lnTo>
                <a:lnTo>
                  <a:pt x="11316" y="32604"/>
                </a:lnTo>
                <a:lnTo>
                  <a:pt x="9430" y="31252"/>
                </a:lnTo>
                <a:lnTo>
                  <a:pt x="5629" y="28927"/>
                </a:lnTo>
                <a:lnTo>
                  <a:pt x="4143" y="26565"/>
                </a:lnTo>
                <a:lnTo>
                  <a:pt x="3477" y="23498"/>
                </a:lnTo>
                <a:lnTo>
                  <a:pt x="2467" y="21174"/>
                </a:lnTo>
                <a:lnTo>
                  <a:pt x="1352" y="19660"/>
                </a:lnTo>
                <a:lnTo>
                  <a:pt x="1143" y="18421"/>
                </a:lnTo>
                <a:lnTo>
                  <a:pt x="676" y="16907"/>
                </a:lnTo>
                <a:lnTo>
                  <a:pt x="571" y="13926"/>
                </a:lnTo>
                <a:lnTo>
                  <a:pt x="1476" y="9953"/>
                </a:lnTo>
                <a:lnTo>
                  <a:pt x="2057" y="8544"/>
                </a:lnTo>
                <a:lnTo>
                  <a:pt x="3343" y="8153"/>
                </a:lnTo>
                <a:lnTo>
                  <a:pt x="6772" y="6029"/>
                </a:lnTo>
                <a:lnTo>
                  <a:pt x="6934" y="3315"/>
                </a:lnTo>
                <a:lnTo>
                  <a:pt x="7553" y="1619"/>
                </a:lnTo>
                <a:lnTo>
                  <a:pt x="8639" y="648"/>
                </a:lnTo>
                <a:lnTo>
                  <a:pt x="9649" y="0"/>
                </a:lnTo>
                <a:lnTo>
                  <a:pt x="11525" y="1581"/>
                </a:lnTo>
                <a:lnTo>
                  <a:pt x="16078" y="4105"/>
                </a:lnTo>
                <a:lnTo>
                  <a:pt x="18297" y="5934"/>
                </a:lnTo>
                <a:lnTo>
                  <a:pt x="18183" y="7068"/>
                </a:lnTo>
                <a:lnTo>
                  <a:pt x="17145" y="8191"/>
                </a:lnTo>
                <a:lnTo>
                  <a:pt x="15164" y="9296"/>
                </a:lnTo>
                <a:lnTo>
                  <a:pt x="14011" y="10754"/>
                </a:lnTo>
                <a:lnTo>
                  <a:pt x="13697" y="12554"/>
                </a:lnTo>
                <a:lnTo>
                  <a:pt x="13992" y="13830"/>
                </a:lnTo>
                <a:lnTo>
                  <a:pt x="15364" y="14945"/>
                </a:lnTo>
                <a:lnTo>
                  <a:pt x="23536" y="13487"/>
                </a:lnTo>
                <a:lnTo>
                  <a:pt x="31823" y="14240"/>
                </a:lnTo>
                <a:lnTo>
                  <a:pt x="42948" y="16707"/>
                </a:lnTo>
                <a:lnTo>
                  <a:pt x="50320" y="17564"/>
                </a:lnTo>
                <a:lnTo>
                  <a:pt x="55778" y="16421"/>
                </a:lnTo>
                <a:lnTo>
                  <a:pt x="65865" y="18488"/>
                </a:lnTo>
                <a:lnTo>
                  <a:pt x="75266" y="20412"/>
                </a:lnTo>
                <a:lnTo>
                  <a:pt x="84287" y="20974"/>
                </a:lnTo>
                <a:lnTo>
                  <a:pt x="89335" y="19469"/>
                </a:lnTo>
                <a:lnTo>
                  <a:pt x="92887" y="17440"/>
                </a:lnTo>
                <a:lnTo>
                  <a:pt x="95945" y="13611"/>
                </a:lnTo>
                <a:lnTo>
                  <a:pt x="103498" y="8554"/>
                </a:lnTo>
                <a:lnTo>
                  <a:pt x="110804" y="5705"/>
                </a:lnTo>
                <a:lnTo>
                  <a:pt x="120386" y="3400"/>
                </a:lnTo>
                <a:lnTo>
                  <a:pt x="126787" y="2619"/>
                </a:lnTo>
                <a:lnTo>
                  <a:pt x="127682" y="3400"/>
                </a:lnTo>
                <a:lnTo>
                  <a:pt x="135827" y="8058"/>
                </a:lnTo>
                <a:lnTo>
                  <a:pt x="139455" y="8077"/>
                </a:lnTo>
                <a:lnTo>
                  <a:pt x="142389" y="8906"/>
                </a:lnTo>
                <a:lnTo>
                  <a:pt x="143465" y="10135"/>
                </a:lnTo>
                <a:lnTo>
                  <a:pt x="144199" y="10439"/>
                </a:lnTo>
                <a:lnTo>
                  <a:pt x="148104" y="9287"/>
                </a:lnTo>
                <a:lnTo>
                  <a:pt x="149828" y="11830"/>
                </a:lnTo>
                <a:lnTo>
                  <a:pt x="152524" y="15392"/>
                </a:lnTo>
                <a:lnTo>
                  <a:pt x="157124" y="17221"/>
                </a:lnTo>
                <a:lnTo>
                  <a:pt x="161220" y="18250"/>
                </a:lnTo>
                <a:lnTo>
                  <a:pt x="162515" y="18412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2" name="Forme libre : forme 11">
            <a:extLst>
              <a:ext uri="{FF2B5EF4-FFF2-40B4-BE49-F238E27FC236}">
                <a16:creationId xmlns:a16="http://schemas.microsoft.com/office/drawing/2014/main" id="{29771DE5-F18E-1442-A896-21BD82B0515E}"/>
              </a:ext>
            </a:extLst>
          </p:cNvPr>
          <p:cNvSpPr/>
          <p:nvPr/>
        </p:nvSpPr>
        <p:spPr>
          <a:xfrm>
            <a:off x="6329570" y="3200408"/>
            <a:ext cx="332451" cy="287228"/>
          </a:xfrm>
          <a:custGeom>
            <a:avLst/>
            <a:gdLst>
              <a:gd name="connsiteX0" fmla="*/ 132931 w 254889"/>
              <a:gd name="connsiteY0" fmla="*/ 143 h 220217"/>
              <a:gd name="connsiteX1" fmla="*/ 136579 w 254889"/>
              <a:gd name="connsiteY1" fmla="*/ 4305 h 220217"/>
              <a:gd name="connsiteX2" fmla="*/ 137436 w 254889"/>
              <a:gd name="connsiteY2" fmla="*/ 4467 h 220217"/>
              <a:gd name="connsiteX3" fmla="*/ 139465 w 254889"/>
              <a:gd name="connsiteY3" fmla="*/ 2829 h 220217"/>
              <a:gd name="connsiteX4" fmla="*/ 139865 w 254889"/>
              <a:gd name="connsiteY4" fmla="*/ 2724 h 220217"/>
              <a:gd name="connsiteX5" fmla="*/ 144056 w 254889"/>
              <a:gd name="connsiteY5" fmla="*/ 2581 h 220217"/>
              <a:gd name="connsiteX6" fmla="*/ 145999 w 254889"/>
              <a:gd name="connsiteY6" fmla="*/ 4029 h 220217"/>
              <a:gd name="connsiteX7" fmla="*/ 147447 w 254889"/>
              <a:gd name="connsiteY7" fmla="*/ 6848 h 220217"/>
              <a:gd name="connsiteX8" fmla="*/ 148780 w 254889"/>
              <a:gd name="connsiteY8" fmla="*/ 9096 h 220217"/>
              <a:gd name="connsiteX9" fmla="*/ 150229 w 254889"/>
              <a:gd name="connsiteY9" fmla="*/ 9706 h 220217"/>
              <a:gd name="connsiteX10" fmla="*/ 154305 w 254889"/>
              <a:gd name="connsiteY10" fmla="*/ 6877 h 220217"/>
              <a:gd name="connsiteX11" fmla="*/ 156563 w 254889"/>
              <a:gd name="connsiteY11" fmla="*/ 5934 h 220217"/>
              <a:gd name="connsiteX12" fmla="*/ 158049 w 254889"/>
              <a:gd name="connsiteY12" fmla="*/ 5963 h 220217"/>
              <a:gd name="connsiteX13" fmla="*/ 163278 w 254889"/>
              <a:gd name="connsiteY13" fmla="*/ 8506 h 220217"/>
              <a:gd name="connsiteX14" fmla="*/ 165735 w 254889"/>
              <a:gd name="connsiteY14" fmla="*/ 9896 h 220217"/>
              <a:gd name="connsiteX15" fmla="*/ 166297 w 254889"/>
              <a:gd name="connsiteY15" fmla="*/ 11154 h 220217"/>
              <a:gd name="connsiteX16" fmla="*/ 166354 w 254889"/>
              <a:gd name="connsiteY16" fmla="*/ 12640 h 220217"/>
              <a:gd name="connsiteX17" fmla="*/ 165688 w 254889"/>
              <a:gd name="connsiteY17" fmla="*/ 14840 h 220217"/>
              <a:gd name="connsiteX18" fmla="*/ 165164 w 254889"/>
              <a:gd name="connsiteY18" fmla="*/ 17231 h 220217"/>
              <a:gd name="connsiteX19" fmla="*/ 166754 w 254889"/>
              <a:gd name="connsiteY19" fmla="*/ 20050 h 220217"/>
              <a:gd name="connsiteX20" fmla="*/ 168602 w 254889"/>
              <a:gd name="connsiteY20" fmla="*/ 21965 h 220217"/>
              <a:gd name="connsiteX21" fmla="*/ 172555 w 254889"/>
              <a:gd name="connsiteY21" fmla="*/ 18802 h 220217"/>
              <a:gd name="connsiteX22" fmla="*/ 174012 w 254889"/>
              <a:gd name="connsiteY22" fmla="*/ 17926 h 220217"/>
              <a:gd name="connsiteX23" fmla="*/ 175603 w 254889"/>
              <a:gd name="connsiteY23" fmla="*/ 17897 h 220217"/>
              <a:gd name="connsiteX24" fmla="*/ 177737 w 254889"/>
              <a:gd name="connsiteY24" fmla="*/ 16726 h 220217"/>
              <a:gd name="connsiteX25" fmla="*/ 179280 w 254889"/>
              <a:gd name="connsiteY25" fmla="*/ 14954 h 220217"/>
              <a:gd name="connsiteX26" fmla="*/ 180756 w 254889"/>
              <a:gd name="connsiteY26" fmla="*/ 14345 h 220217"/>
              <a:gd name="connsiteX27" fmla="*/ 183585 w 254889"/>
              <a:gd name="connsiteY27" fmla="*/ 14764 h 220217"/>
              <a:gd name="connsiteX28" fmla="*/ 188690 w 254889"/>
              <a:gd name="connsiteY28" fmla="*/ 14345 h 220217"/>
              <a:gd name="connsiteX29" fmla="*/ 194643 w 254889"/>
              <a:gd name="connsiteY29" fmla="*/ 17116 h 220217"/>
              <a:gd name="connsiteX30" fmla="*/ 195158 w 254889"/>
              <a:gd name="connsiteY30" fmla="*/ 17974 h 220217"/>
              <a:gd name="connsiteX31" fmla="*/ 198130 w 254889"/>
              <a:gd name="connsiteY31" fmla="*/ 21212 h 220217"/>
              <a:gd name="connsiteX32" fmla="*/ 199168 w 254889"/>
              <a:gd name="connsiteY32" fmla="*/ 22822 h 220217"/>
              <a:gd name="connsiteX33" fmla="*/ 200149 w 254889"/>
              <a:gd name="connsiteY33" fmla="*/ 23336 h 220217"/>
              <a:gd name="connsiteX34" fmla="*/ 201730 w 254889"/>
              <a:gd name="connsiteY34" fmla="*/ 24917 h 220217"/>
              <a:gd name="connsiteX35" fmla="*/ 203854 w 254889"/>
              <a:gd name="connsiteY35" fmla="*/ 25908 h 220217"/>
              <a:gd name="connsiteX36" fmla="*/ 205321 w 254889"/>
              <a:gd name="connsiteY36" fmla="*/ 25603 h 220217"/>
              <a:gd name="connsiteX37" fmla="*/ 206026 w 254889"/>
              <a:gd name="connsiteY37" fmla="*/ 26127 h 220217"/>
              <a:gd name="connsiteX38" fmla="*/ 206683 w 254889"/>
              <a:gd name="connsiteY38" fmla="*/ 27365 h 220217"/>
              <a:gd name="connsiteX39" fmla="*/ 206730 w 254889"/>
              <a:gd name="connsiteY39" fmla="*/ 29480 h 220217"/>
              <a:gd name="connsiteX40" fmla="*/ 206521 w 254889"/>
              <a:gd name="connsiteY40" fmla="*/ 35500 h 220217"/>
              <a:gd name="connsiteX41" fmla="*/ 205483 w 254889"/>
              <a:gd name="connsiteY41" fmla="*/ 37233 h 220217"/>
              <a:gd name="connsiteX42" fmla="*/ 204388 w 254889"/>
              <a:gd name="connsiteY42" fmla="*/ 38643 h 220217"/>
              <a:gd name="connsiteX43" fmla="*/ 204111 w 254889"/>
              <a:gd name="connsiteY43" fmla="*/ 39738 h 220217"/>
              <a:gd name="connsiteX44" fmla="*/ 204216 w 254889"/>
              <a:gd name="connsiteY44" fmla="*/ 41062 h 220217"/>
              <a:gd name="connsiteX45" fmla="*/ 205902 w 254889"/>
              <a:gd name="connsiteY45" fmla="*/ 43653 h 220217"/>
              <a:gd name="connsiteX46" fmla="*/ 208074 w 254889"/>
              <a:gd name="connsiteY46" fmla="*/ 47663 h 220217"/>
              <a:gd name="connsiteX47" fmla="*/ 208579 w 254889"/>
              <a:gd name="connsiteY47" fmla="*/ 49978 h 220217"/>
              <a:gd name="connsiteX48" fmla="*/ 208579 w 254889"/>
              <a:gd name="connsiteY48" fmla="*/ 51721 h 220217"/>
              <a:gd name="connsiteX49" fmla="*/ 205617 w 254889"/>
              <a:gd name="connsiteY49" fmla="*/ 56826 h 220217"/>
              <a:gd name="connsiteX50" fmla="*/ 204635 w 254889"/>
              <a:gd name="connsiteY50" fmla="*/ 58017 h 220217"/>
              <a:gd name="connsiteX51" fmla="*/ 203949 w 254889"/>
              <a:gd name="connsiteY51" fmla="*/ 60522 h 220217"/>
              <a:gd name="connsiteX52" fmla="*/ 203588 w 254889"/>
              <a:gd name="connsiteY52" fmla="*/ 63065 h 220217"/>
              <a:gd name="connsiteX53" fmla="*/ 203797 w 254889"/>
              <a:gd name="connsiteY53" fmla="*/ 64122 h 220217"/>
              <a:gd name="connsiteX54" fmla="*/ 208750 w 254889"/>
              <a:gd name="connsiteY54" fmla="*/ 68161 h 220217"/>
              <a:gd name="connsiteX55" fmla="*/ 212417 w 254889"/>
              <a:gd name="connsiteY55" fmla="*/ 70342 h 220217"/>
              <a:gd name="connsiteX56" fmla="*/ 213236 w 254889"/>
              <a:gd name="connsiteY56" fmla="*/ 71409 h 220217"/>
              <a:gd name="connsiteX57" fmla="*/ 213313 w 254889"/>
              <a:gd name="connsiteY57" fmla="*/ 72076 h 220217"/>
              <a:gd name="connsiteX58" fmla="*/ 211370 w 254889"/>
              <a:gd name="connsiteY58" fmla="*/ 76390 h 220217"/>
              <a:gd name="connsiteX59" fmla="*/ 211179 w 254889"/>
              <a:gd name="connsiteY59" fmla="*/ 77553 h 220217"/>
              <a:gd name="connsiteX60" fmla="*/ 214113 w 254889"/>
              <a:gd name="connsiteY60" fmla="*/ 79334 h 220217"/>
              <a:gd name="connsiteX61" fmla="*/ 215741 w 254889"/>
              <a:gd name="connsiteY61" fmla="*/ 82144 h 220217"/>
              <a:gd name="connsiteX62" fmla="*/ 217170 w 254889"/>
              <a:gd name="connsiteY62" fmla="*/ 86716 h 220217"/>
              <a:gd name="connsiteX63" fmla="*/ 219961 w 254889"/>
              <a:gd name="connsiteY63" fmla="*/ 91087 h 220217"/>
              <a:gd name="connsiteX64" fmla="*/ 225971 w 254889"/>
              <a:gd name="connsiteY64" fmla="*/ 94955 h 220217"/>
              <a:gd name="connsiteX65" fmla="*/ 230343 w 254889"/>
              <a:gd name="connsiteY65" fmla="*/ 97469 h 220217"/>
              <a:gd name="connsiteX66" fmla="*/ 231257 w 254889"/>
              <a:gd name="connsiteY66" fmla="*/ 98612 h 220217"/>
              <a:gd name="connsiteX67" fmla="*/ 231572 w 254889"/>
              <a:gd name="connsiteY67" fmla="*/ 99965 h 220217"/>
              <a:gd name="connsiteX68" fmla="*/ 231239 w 254889"/>
              <a:gd name="connsiteY68" fmla="*/ 102946 h 220217"/>
              <a:gd name="connsiteX69" fmla="*/ 230105 w 254889"/>
              <a:gd name="connsiteY69" fmla="*/ 106575 h 220217"/>
              <a:gd name="connsiteX70" fmla="*/ 229334 w 254889"/>
              <a:gd name="connsiteY70" fmla="*/ 108585 h 220217"/>
              <a:gd name="connsiteX71" fmla="*/ 231115 w 254889"/>
              <a:gd name="connsiteY71" fmla="*/ 109423 h 220217"/>
              <a:gd name="connsiteX72" fmla="*/ 235696 w 254889"/>
              <a:gd name="connsiteY72" fmla="*/ 109195 h 220217"/>
              <a:gd name="connsiteX73" fmla="*/ 241268 w 254889"/>
              <a:gd name="connsiteY73" fmla="*/ 109899 h 220217"/>
              <a:gd name="connsiteX74" fmla="*/ 247945 w 254889"/>
              <a:gd name="connsiteY74" fmla="*/ 113881 h 220217"/>
              <a:gd name="connsiteX75" fmla="*/ 247965 w 254889"/>
              <a:gd name="connsiteY75" fmla="*/ 115662 h 220217"/>
              <a:gd name="connsiteX76" fmla="*/ 247279 w 254889"/>
              <a:gd name="connsiteY76" fmla="*/ 117291 h 220217"/>
              <a:gd name="connsiteX77" fmla="*/ 247736 w 254889"/>
              <a:gd name="connsiteY77" fmla="*/ 118996 h 220217"/>
              <a:gd name="connsiteX78" fmla="*/ 248460 w 254889"/>
              <a:gd name="connsiteY78" fmla="*/ 120444 h 220217"/>
              <a:gd name="connsiteX79" fmla="*/ 254241 w 254889"/>
              <a:gd name="connsiteY79" fmla="*/ 124873 h 220217"/>
              <a:gd name="connsiteX80" fmla="*/ 254794 w 254889"/>
              <a:gd name="connsiteY80" fmla="*/ 126159 h 220217"/>
              <a:gd name="connsiteX81" fmla="*/ 254889 w 254889"/>
              <a:gd name="connsiteY81" fmla="*/ 128311 h 220217"/>
              <a:gd name="connsiteX82" fmla="*/ 254737 w 254889"/>
              <a:gd name="connsiteY82" fmla="*/ 129883 h 220217"/>
              <a:gd name="connsiteX83" fmla="*/ 253136 w 254889"/>
              <a:gd name="connsiteY83" fmla="*/ 130207 h 220217"/>
              <a:gd name="connsiteX84" fmla="*/ 251356 w 254889"/>
              <a:gd name="connsiteY84" fmla="*/ 130940 h 220217"/>
              <a:gd name="connsiteX85" fmla="*/ 248450 w 254889"/>
              <a:gd name="connsiteY85" fmla="*/ 132826 h 220217"/>
              <a:gd name="connsiteX86" fmla="*/ 247307 w 254889"/>
              <a:gd name="connsiteY86" fmla="*/ 135484 h 220217"/>
              <a:gd name="connsiteX87" fmla="*/ 242602 w 254889"/>
              <a:gd name="connsiteY87" fmla="*/ 139141 h 220217"/>
              <a:gd name="connsiteX88" fmla="*/ 239706 w 254889"/>
              <a:gd name="connsiteY88" fmla="*/ 140799 h 220217"/>
              <a:gd name="connsiteX89" fmla="*/ 237392 w 254889"/>
              <a:gd name="connsiteY89" fmla="*/ 140865 h 220217"/>
              <a:gd name="connsiteX90" fmla="*/ 231886 w 254889"/>
              <a:gd name="connsiteY90" fmla="*/ 140122 h 220217"/>
              <a:gd name="connsiteX91" fmla="*/ 229953 w 254889"/>
              <a:gd name="connsiteY91" fmla="*/ 138322 h 220217"/>
              <a:gd name="connsiteX92" fmla="*/ 229152 w 254889"/>
              <a:gd name="connsiteY92" fmla="*/ 136665 h 220217"/>
              <a:gd name="connsiteX93" fmla="*/ 227038 w 254889"/>
              <a:gd name="connsiteY93" fmla="*/ 135912 h 220217"/>
              <a:gd name="connsiteX94" fmla="*/ 224228 w 254889"/>
              <a:gd name="connsiteY94" fmla="*/ 135845 h 220217"/>
              <a:gd name="connsiteX95" fmla="*/ 220352 w 254889"/>
              <a:gd name="connsiteY95" fmla="*/ 136131 h 220217"/>
              <a:gd name="connsiteX96" fmla="*/ 219561 w 254889"/>
              <a:gd name="connsiteY96" fmla="*/ 136636 h 220217"/>
              <a:gd name="connsiteX97" fmla="*/ 218923 w 254889"/>
              <a:gd name="connsiteY97" fmla="*/ 138665 h 220217"/>
              <a:gd name="connsiteX98" fmla="*/ 217275 w 254889"/>
              <a:gd name="connsiteY98" fmla="*/ 142142 h 220217"/>
              <a:gd name="connsiteX99" fmla="*/ 216094 w 254889"/>
              <a:gd name="connsiteY99" fmla="*/ 144094 h 220217"/>
              <a:gd name="connsiteX100" fmla="*/ 217065 w 254889"/>
              <a:gd name="connsiteY100" fmla="*/ 145294 h 220217"/>
              <a:gd name="connsiteX101" fmla="*/ 218608 w 254889"/>
              <a:gd name="connsiteY101" fmla="*/ 147790 h 220217"/>
              <a:gd name="connsiteX102" fmla="*/ 221009 w 254889"/>
              <a:gd name="connsiteY102" fmla="*/ 150952 h 220217"/>
              <a:gd name="connsiteX103" fmla="*/ 223485 w 254889"/>
              <a:gd name="connsiteY103" fmla="*/ 153762 h 220217"/>
              <a:gd name="connsiteX104" fmla="*/ 224276 w 254889"/>
              <a:gd name="connsiteY104" fmla="*/ 155477 h 220217"/>
              <a:gd name="connsiteX105" fmla="*/ 224237 w 254889"/>
              <a:gd name="connsiteY105" fmla="*/ 156705 h 220217"/>
              <a:gd name="connsiteX106" fmla="*/ 223066 w 254889"/>
              <a:gd name="connsiteY106" fmla="*/ 158144 h 220217"/>
              <a:gd name="connsiteX107" fmla="*/ 223238 w 254889"/>
              <a:gd name="connsiteY107" fmla="*/ 161039 h 220217"/>
              <a:gd name="connsiteX108" fmla="*/ 225638 w 254889"/>
              <a:gd name="connsiteY108" fmla="*/ 164840 h 220217"/>
              <a:gd name="connsiteX109" fmla="*/ 224828 w 254889"/>
              <a:gd name="connsiteY109" fmla="*/ 165449 h 220217"/>
              <a:gd name="connsiteX110" fmla="*/ 224580 w 254889"/>
              <a:gd name="connsiteY110" fmla="*/ 170107 h 220217"/>
              <a:gd name="connsiteX111" fmla="*/ 224609 w 254889"/>
              <a:gd name="connsiteY111" fmla="*/ 175070 h 220217"/>
              <a:gd name="connsiteX112" fmla="*/ 225257 w 254889"/>
              <a:gd name="connsiteY112" fmla="*/ 176270 h 220217"/>
              <a:gd name="connsiteX113" fmla="*/ 226543 w 254889"/>
              <a:gd name="connsiteY113" fmla="*/ 177260 h 220217"/>
              <a:gd name="connsiteX114" fmla="*/ 227638 w 254889"/>
              <a:gd name="connsiteY114" fmla="*/ 179070 h 220217"/>
              <a:gd name="connsiteX115" fmla="*/ 229458 w 254889"/>
              <a:gd name="connsiteY115" fmla="*/ 183185 h 220217"/>
              <a:gd name="connsiteX116" fmla="*/ 229581 w 254889"/>
              <a:gd name="connsiteY116" fmla="*/ 184261 h 220217"/>
              <a:gd name="connsiteX117" fmla="*/ 224514 w 254889"/>
              <a:gd name="connsiteY117" fmla="*/ 183956 h 220217"/>
              <a:gd name="connsiteX118" fmla="*/ 218427 w 254889"/>
              <a:gd name="connsiteY118" fmla="*/ 184080 h 220217"/>
              <a:gd name="connsiteX119" fmla="*/ 215008 w 254889"/>
              <a:gd name="connsiteY119" fmla="*/ 186471 h 220217"/>
              <a:gd name="connsiteX120" fmla="*/ 213674 w 254889"/>
              <a:gd name="connsiteY120" fmla="*/ 185919 h 220217"/>
              <a:gd name="connsiteX121" fmla="*/ 211293 w 254889"/>
              <a:gd name="connsiteY121" fmla="*/ 185309 h 220217"/>
              <a:gd name="connsiteX122" fmla="*/ 208655 w 254889"/>
              <a:gd name="connsiteY122" fmla="*/ 186642 h 220217"/>
              <a:gd name="connsiteX123" fmla="*/ 205054 w 254889"/>
              <a:gd name="connsiteY123" fmla="*/ 190672 h 220217"/>
              <a:gd name="connsiteX124" fmla="*/ 202635 w 254889"/>
              <a:gd name="connsiteY124" fmla="*/ 193177 h 220217"/>
              <a:gd name="connsiteX125" fmla="*/ 200283 w 254889"/>
              <a:gd name="connsiteY125" fmla="*/ 196682 h 220217"/>
              <a:gd name="connsiteX126" fmla="*/ 199540 w 254889"/>
              <a:gd name="connsiteY126" fmla="*/ 198577 h 220217"/>
              <a:gd name="connsiteX127" fmla="*/ 198054 w 254889"/>
              <a:gd name="connsiteY127" fmla="*/ 202063 h 220217"/>
              <a:gd name="connsiteX128" fmla="*/ 196691 w 254889"/>
              <a:gd name="connsiteY128" fmla="*/ 206045 h 220217"/>
              <a:gd name="connsiteX129" fmla="*/ 197434 w 254889"/>
              <a:gd name="connsiteY129" fmla="*/ 208826 h 220217"/>
              <a:gd name="connsiteX130" fmla="*/ 198549 w 254889"/>
              <a:gd name="connsiteY130" fmla="*/ 211407 h 220217"/>
              <a:gd name="connsiteX131" fmla="*/ 198797 w 254889"/>
              <a:gd name="connsiteY131" fmla="*/ 214189 h 220217"/>
              <a:gd name="connsiteX132" fmla="*/ 199349 w 254889"/>
              <a:gd name="connsiteY132" fmla="*/ 216360 h 220217"/>
              <a:gd name="connsiteX133" fmla="*/ 197863 w 254889"/>
              <a:gd name="connsiteY133" fmla="*/ 217942 h 220217"/>
              <a:gd name="connsiteX134" fmla="*/ 196996 w 254889"/>
              <a:gd name="connsiteY134" fmla="*/ 220218 h 220217"/>
              <a:gd name="connsiteX135" fmla="*/ 194463 w 254889"/>
              <a:gd name="connsiteY135" fmla="*/ 219818 h 220217"/>
              <a:gd name="connsiteX136" fmla="*/ 191358 w 254889"/>
              <a:gd name="connsiteY136" fmla="*/ 217637 h 220217"/>
              <a:gd name="connsiteX137" fmla="*/ 190700 w 254889"/>
              <a:gd name="connsiteY137" fmla="*/ 214474 h 220217"/>
              <a:gd name="connsiteX138" fmla="*/ 188309 w 254889"/>
              <a:gd name="connsiteY138" fmla="*/ 212274 h 220217"/>
              <a:gd name="connsiteX139" fmla="*/ 186737 w 254889"/>
              <a:gd name="connsiteY139" fmla="*/ 211122 h 220217"/>
              <a:gd name="connsiteX140" fmla="*/ 184147 w 254889"/>
              <a:gd name="connsiteY140" fmla="*/ 210950 h 220217"/>
              <a:gd name="connsiteX141" fmla="*/ 180004 w 254889"/>
              <a:gd name="connsiteY141" fmla="*/ 211979 h 220217"/>
              <a:gd name="connsiteX142" fmla="*/ 174584 w 254889"/>
              <a:gd name="connsiteY142" fmla="*/ 212770 h 220217"/>
              <a:gd name="connsiteX143" fmla="*/ 170498 w 254889"/>
              <a:gd name="connsiteY143" fmla="*/ 212979 h 220217"/>
              <a:gd name="connsiteX144" fmla="*/ 168269 w 254889"/>
              <a:gd name="connsiteY144" fmla="*/ 214103 h 220217"/>
              <a:gd name="connsiteX145" fmla="*/ 164973 w 254889"/>
              <a:gd name="connsiteY145" fmla="*/ 215208 h 220217"/>
              <a:gd name="connsiteX146" fmla="*/ 163697 w 254889"/>
              <a:gd name="connsiteY146" fmla="*/ 213893 h 220217"/>
              <a:gd name="connsiteX147" fmla="*/ 161868 w 254889"/>
              <a:gd name="connsiteY147" fmla="*/ 210303 h 220217"/>
              <a:gd name="connsiteX148" fmla="*/ 160373 w 254889"/>
              <a:gd name="connsiteY148" fmla="*/ 206721 h 220217"/>
              <a:gd name="connsiteX149" fmla="*/ 159334 w 254889"/>
              <a:gd name="connsiteY149" fmla="*/ 205149 h 220217"/>
              <a:gd name="connsiteX150" fmla="*/ 158439 w 254889"/>
              <a:gd name="connsiteY150" fmla="*/ 204711 h 220217"/>
              <a:gd name="connsiteX151" fmla="*/ 157334 w 254889"/>
              <a:gd name="connsiteY151" fmla="*/ 204797 h 220217"/>
              <a:gd name="connsiteX152" fmla="*/ 156067 w 254889"/>
              <a:gd name="connsiteY152" fmla="*/ 205930 h 220217"/>
              <a:gd name="connsiteX153" fmla="*/ 155115 w 254889"/>
              <a:gd name="connsiteY153" fmla="*/ 207102 h 220217"/>
              <a:gd name="connsiteX154" fmla="*/ 153771 w 254889"/>
              <a:gd name="connsiteY154" fmla="*/ 207512 h 220217"/>
              <a:gd name="connsiteX155" fmla="*/ 151695 w 254889"/>
              <a:gd name="connsiteY155" fmla="*/ 208455 h 220217"/>
              <a:gd name="connsiteX156" fmla="*/ 150181 w 254889"/>
              <a:gd name="connsiteY156" fmla="*/ 209731 h 220217"/>
              <a:gd name="connsiteX157" fmla="*/ 148524 w 254889"/>
              <a:gd name="connsiteY157" fmla="*/ 213027 h 220217"/>
              <a:gd name="connsiteX158" fmla="*/ 147428 w 254889"/>
              <a:gd name="connsiteY158" fmla="*/ 212798 h 220217"/>
              <a:gd name="connsiteX159" fmla="*/ 146295 w 254889"/>
              <a:gd name="connsiteY159" fmla="*/ 212036 h 220217"/>
              <a:gd name="connsiteX160" fmla="*/ 144989 w 254889"/>
              <a:gd name="connsiteY160" fmla="*/ 208350 h 220217"/>
              <a:gd name="connsiteX161" fmla="*/ 143199 w 254889"/>
              <a:gd name="connsiteY161" fmla="*/ 207502 h 220217"/>
              <a:gd name="connsiteX162" fmla="*/ 140332 w 254889"/>
              <a:gd name="connsiteY162" fmla="*/ 207454 h 220217"/>
              <a:gd name="connsiteX163" fmla="*/ 136779 w 254889"/>
              <a:gd name="connsiteY163" fmla="*/ 206673 h 220217"/>
              <a:gd name="connsiteX164" fmla="*/ 133893 w 254889"/>
              <a:gd name="connsiteY164" fmla="*/ 205549 h 220217"/>
              <a:gd name="connsiteX165" fmla="*/ 132845 w 254889"/>
              <a:gd name="connsiteY165" fmla="*/ 205816 h 220217"/>
              <a:gd name="connsiteX166" fmla="*/ 131121 w 254889"/>
              <a:gd name="connsiteY166" fmla="*/ 207388 h 220217"/>
              <a:gd name="connsiteX167" fmla="*/ 129274 w 254889"/>
              <a:gd name="connsiteY167" fmla="*/ 207616 h 220217"/>
              <a:gd name="connsiteX168" fmla="*/ 125196 w 254889"/>
              <a:gd name="connsiteY168" fmla="*/ 206216 h 220217"/>
              <a:gd name="connsiteX169" fmla="*/ 124406 w 254889"/>
              <a:gd name="connsiteY169" fmla="*/ 206864 h 220217"/>
              <a:gd name="connsiteX170" fmla="*/ 123330 w 254889"/>
              <a:gd name="connsiteY170" fmla="*/ 208931 h 220217"/>
              <a:gd name="connsiteX171" fmla="*/ 122063 w 254889"/>
              <a:gd name="connsiteY171" fmla="*/ 210922 h 220217"/>
              <a:gd name="connsiteX172" fmla="*/ 120958 w 254889"/>
              <a:gd name="connsiteY172" fmla="*/ 211122 h 220217"/>
              <a:gd name="connsiteX173" fmla="*/ 120339 w 254889"/>
              <a:gd name="connsiteY173" fmla="*/ 210607 h 220217"/>
              <a:gd name="connsiteX174" fmla="*/ 120682 w 254889"/>
              <a:gd name="connsiteY174" fmla="*/ 207073 h 220217"/>
              <a:gd name="connsiteX175" fmla="*/ 118320 w 254889"/>
              <a:gd name="connsiteY175" fmla="*/ 205826 h 220217"/>
              <a:gd name="connsiteX176" fmla="*/ 114338 w 254889"/>
              <a:gd name="connsiteY176" fmla="*/ 205626 h 220217"/>
              <a:gd name="connsiteX177" fmla="*/ 111538 w 254889"/>
              <a:gd name="connsiteY177" fmla="*/ 206140 h 220217"/>
              <a:gd name="connsiteX178" fmla="*/ 110176 w 254889"/>
              <a:gd name="connsiteY178" fmla="*/ 205997 h 220217"/>
              <a:gd name="connsiteX179" fmla="*/ 109471 w 254889"/>
              <a:gd name="connsiteY179" fmla="*/ 205311 h 220217"/>
              <a:gd name="connsiteX180" fmla="*/ 106042 w 254889"/>
              <a:gd name="connsiteY180" fmla="*/ 199358 h 220217"/>
              <a:gd name="connsiteX181" fmla="*/ 104232 w 254889"/>
              <a:gd name="connsiteY181" fmla="*/ 198977 h 220217"/>
              <a:gd name="connsiteX182" fmla="*/ 100984 w 254889"/>
              <a:gd name="connsiteY182" fmla="*/ 199272 h 220217"/>
              <a:gd name="connsiteX183" fmla="*/ 96193 w 254889"/>
              <a:gd name="connsiteY183" fmla="*/ 198549 h 220217"/>
              <a:gd name="connsiteX184" fmla="*/ 90668 w 254889"/>
              <a:gd name="connsiteY184" fmla="*/ 197206 h 220217"/>
              <a:gd name="connsiteX185" fmla="*/ 87630 w 254889"/>
              <a:gd name="connsiteY185" fmla="*/ 196710 h 220217"/>
              <a:gd name="connsiteX186" fmla="*/ 86059 w 254889"/>
              <a:gd name="connsiteY186" fmla="*/ 195367 h 220217"/>
              <a:gd name="connsiteX187" fmla="*/ 82658 w 254889"/>
              <a:gd name="connsiteY187" fmla="*/ 194910 h 220217"/>
              <a:gd name="connsiteX188" fmla="*/ 73514 w 254889"/>
              <a:gd name="connsiteY188" fmla="*/ 192386 h 220217"/>
              <a:gd name="connsiteX189" fmla="*/ 69790 w 254889"/>
              <a:gd name="connsiteY189" fmla="*/ 191938 h 220217"/>
              <a:gd name="connsiteX190" fmla="*/ 64294 w 254889"/>
              <a:gd name="connsiteY190" fmla="*/ 191900 h 220217"/>
              <a:gd name="connsiteX191" fmla="*/ 55931 w 254889"/>
              <a:gd name="connsiteY191" fmla="*/ 191338 h 220217"/>
              <a:gd name="connsiteX192" fmla="*/ 50568 w 254889"/>
              <a:gd name="connsiteY192" fmla="*/ 191653 h 220217"/>
              <a:gd name="connsiteX193" fmla="*/ 48083 w 254889"/>
              <a:gd name="connsiteY193" fmla="*/ 192491 h 220217"/>
              <a:gd name="connsiteX194" fmla="*/ 45215 w 254889"/>
              <a:gd name="connsiteY194" fmla="*/ 193015 h 220217"/>
              <a:gd name="connsiteX195" fmla="*/ 40367 w 254889"/>
              <a:gd name="connsiteY195" fmla="*/ 193472 h 220217"/>
              <a:gd name="connsiteX196" fmla="*/ 38395 w 254889"/>
              <a:gd name="connsiteY196" fmla="*/ 193424 h 220217"/>
              <a:gd name="connsiteX197" fmla="*/ 35290 w 254889"/>
              <a:gd name="connsiteY197" fmla="*/ 193700 h 220217"/>
              <a:gd name="connsiteX198" fmla="*/ 31728 w 254889"/>
              <a:gd name="connsiteY198" fmla="*/ 194377 h 220217"/>
              <a:gd name="connsiteX199" fmla="*/ 30709 w 254889"/>
              <a:gd name="connsiteY199" fmla="*/ 195624 h 220217"/>
              <a:gd name="connsiteX200" fmla="*/ 29537 w 254889"/>
              <a:gd name="connsiteY200" fmla="*/ 198377 h 220217"/>
              <a:gd name="connsiteX201" fmla="*/ 25441 w 254889"/>
              <a:gd name="connsiteY201" fmla="*/ 203121 h 220217"/>
              <a:gd name="connsiteX202" fmla="*/ 21470 w 254889"/>
              <a:gd name="connsiteY202" fmla="*/ 206264 h 220217"/>
              <a:gd name="connsiteX203" fmla="*/ 20746 w 254889"/>
              <a:gd name="connsiteY203" fmla="*/ 206531 h 220217"/>
              <a:gd name="connsiteX204" fmla="*/ 18422 w 254889"/>
              <a:gd name="connsiteY204" fmla="*/ 204864 h 220217"/>
              <a:gd name="connsiteX205" fmla="*/ 16488 w 254889"/>
              <a:gd name="connsiteY205" fmla="*/ 204302 h 220217"/>
              <a:gd name="connsiteX206" fmla="*/ 14211 w 254889"/>
              <a:gd name="connsiteY206" fmla="*/ 204121 h 220217"/>
              <a:gd name="connsiteX207" fmla="*/ 12602 w 254889"/>
              <a:gd name="connsiteY207" fmla="*/ 204654 h 220217"/>
              <a:gd name="connsiteX208" fmla="*/ 11592 w 254889"/>
              <a:gd name="connsiteY208" fmla="*/ 205445 h 220217"/>
              <a:gd name="connsiteX209" fmla="*/ 11725 w 254889"/>
              <a:gd name="connsiteY209" fmla="*/ 209093 h 220217"/>
              <a:gd name="connsiteX210" fmla="*/ 11497 w 254889"/>
              <a:gd name="connsiteY210" fmla="*/ 209407 h 220217"/>
              <a:gd name="connsiteX211" fmla="*/ 9744 w 254889"/>
              <a:gd name="connsiteY211" fmla="*/ 205083 h 220217"/>
              <a:gd name="connsiteX212" fmla="*/ 9887 w 254889"/>
              <a:gd name="connsiteY212" fmla="*/ 201158 h 220217"/>
              <a:gd name="connsiteX213" fmla="*/ 10859 w 254889"/>
              <a:gd name="connsiteY213" fmla="*/ 198911 h 220217"/>
              <a:gd name="connsiteX214" fmla="*/ 12049 w 254889"/>
              <a:gd name="connsiteY214" fmla="*/ 196882 h 220217"/>
              <a:gd name="connsiteX215" fmla="*/ 11563 w 254889"/>
              <a:gd name="connsiteY215" fmla="*/ 193843 h 220217"/>
              <a:gd name="connsiteX216" fmla="*/ 12725 w 254889"/>
              <a:gd name="connsiteY216" fmla="*/ 189814 h 220217"/>
              <a:gd name="connsiteX217" fmla="*/ 12764 w 254889"/>
              <a:gd name="connsiteY217" fmla="*/ 186890 h 220217"/>
              <a:gd name="connsiteX218" fmla="*/ 12249 w 254889"/>
              <a:gd name="connsiteY218" fmla="*/ 185633 h 220217"/>
              <a:gd name="connsiteX219" fmla="*/ 11306 w 254889"/>
              <a:gd name="connsiteY219" fmla="*/ 184175 h 220217"/>
              <a:gd name="connsiteX220" fmla="*/ 8716 w 254889"/>
              <a:gd name="connsiteY220" fmla="*/ 182556 h 220217"/>
              <a:gd name="connsiteX221" fmla="*/ 7572 w 254889"/>
              <a:gd name="connsiteY221" fmla="*/ 181289 h 220217"/>
              <a:gd name="connsiteX222" fmla="*/ 4067 w 254889"/>
              <a:gd name="connsiteY222" fmla="*/ 179594 h 220217"/>
              <a:gd name="connsiteX223" fmla="*/ 591 w 254889"/>
              <a:gd name="connsiteY223" fmla="*/ 177489 h 220217"/>
              <a:gd name="connsiteX224" fmla="*/ 0 w 254889"/>
              <a:gd name="connsiteY224" fmla="*/ 176193 h 220217"/>
              <a:gd name="connsiteX225" fmla="*/ 162 w 254889"/>
              <a:gd name="connsiteY225" fmla="*/ 175308 h 220217"/>
              <a:gd name="connsiteX226" fmla="*/ 771 w 254889"/>
              <a:gd name="connsiteY226" fmla="*/ 173955 h 220217"/>
              <a:gd name="connsiteX227" fmla="*/ 3429 w 254889"/>
              <a:gd name="connsiteY227" fmla="*/ 170002 h 220217"/>
              <a:gd name="connsiteX228" fmla="*/ 6305 w 254889"/>
              <a:gd name="connsiteY228" fmla="*/ 166154 h 220217"/>
              <a:gd name="connsiteX229" fmla="*/ 8144 w 254889"/>
              <a:gd name="connsiteY229" fmla="*/ 164611 h 220217"/>
              <a:gd name="connsiteX230" fmla="*/ 17907 w 254889"/>
              <a:gd name="connsiteY230" fmla="*/ 159658 h 220217"/>
              <a:gd name="connsiteX231" fmla="*/ 19412 w 254889"/>
              <a:gd name="connsiteY231" fmla="*/ 157924 h 220217"/>
              <a:gd name="connsiteX232" fmla="*/ 19793 w 254889"/>
              <a:gd name="connsiteY232" fmla="*/ 154991 h 220217"/>
              <a:gd name="connsiteX233" fmla="*/ 19812 w 254889"/>
              <a:gd name="connsiteY233" fmla="*/ 152857 h 220217"/>
              <a:gd name="connsiteX234" fmla="*/ 19631 w 254889"/>
              <a:gd name="connsiteY234" fmla="*/ 149047 h 220217"/>
              <a:gd name="connsiteX235" fmla="*/ 19031 w 254889"/>
              <a:gd name="connsiteY235" fmla="*/ 143618 h 220217"/>
              <a:gd name="connsiteX236" fmla="*/ 18288 w 254889"/>
              <a:gd name="connsiteY236" fmla="*/ 139865 h 220217"/>
              <a:gd name="connsiteX237" fmla="*/ 16421 w 254889"/>
              <a:gd name="connsiteY237" fmla="*/ 132797 h 220217"/>
              <a:gd name="connsiteX238" fmla="*/ 11335 w 254889"/>
              <a:gd name="connsiteY238" fmla="*/ 118100 h 220217"/>
              <a:gd name="connsiteX239" fmla="*/ 8277 w 254889"/>
              <a:gd name="connsiteY239" fmla="*/ 102737 h 220217"/>
              <a:gd name="connsiteX240" fmla="*/ 10268 w 254889"/>
              <a:gd name="connsiteY240" fmla="*/ 103642 h 220217"/>
              <a:gd name="connsiteX241" fmla="*/ 14935 w 254889"/>
              <a:gd name="connsiteY241" fmla="*/ 103975 h 220217"/>
              <a:gd name="connsiteX242" fmla="*/ 18641 w 254889"/>
              <a:gd name="connsiteY242" fmla="*/ 102918 h 220217"/>
              <a:gd name="connsiteX243" fmla="*/ 20564 w 254889"/>
              <a:gd name="connsiteY243" fmla="*/ 102765 h 220217"/>
              <a:gd name="connsiteX244" fmla="*/ 22279 w 254889"/>
              <a:gd name="connsiteY244" fmla="*/ 103108 h 220217"/>
              <a:gd name="connsiteX245" fmla="*/ 24832 w 254889"/>
              <a:gd name="connsiteY245" fmla="*/ 102498 h 220217"/>
              <a:gd name="connsiteX246" fmla="*/ 27165 w 254889"/>
              <a:gd name="connsiteY246" fmla="*/ 102251 h 220217"/>
              <a:gd name="connsiteX247" fmla="*/ 28375 w 254889"/>
              <a:gd name="connsiteY247" fmla="*/ 103632 h 220217"/>
              <a:gd name="connsiteX248" fmla="*/ 30547 w 254889"/>
              <a:gd name="connsiteY248" fmla="*/ 104851 h 220217"/>
              <a:gd name="connsiteX249" fmla="*/ 34843 w 254889"/>
              <a:gd name="connsiteY249" fmla="*/ 103099 h 220217"/>
              <a:gd name="connsiteX250" fmla="*/ 38643 w 254889"/>
              <a:gd name="connsiteY250" fmla="*/ 100917 h 220217"/>
              <a:gd name="connsiteX251" fmla="*/ 42586 w 254889"/>
              <a:gd name="connsiteY251" fmla="*/ 101155 h 220217"/>
              <a:gd name="connsiteX252" fmla="*/ 43149 w 254889"/>
              <a:gd name="connsiteY252" fmla="*/ 100079 h 220217"/>
              <a:gd name="connsiteX253" fmla="*/ 44129 w 254889"/>
              <a:gd name="connsiteY253" fmla="*/ 94602 h 220217"/>
              <a:gd name="connsiteX254" fmla="*/ 45301 w 254889"/>
              <a:gd name="connsiteY254" fmla="*/ 93402 h 220217"/>
              <a:gd name="connsiteX255" fmla="*/ 50016 w 254889"/>
              <a:gd name="connsiteY255" fmla="*/ 93955 h 220217"/>
              <a:gd name="connsiteX256" fmla="*/ 51759 w 254889"/>
              <a:gd name="connsiteY256" fmla="*/ 92964 h 220217"/>
              <a:gd name="connsiteX257" fmla="*/ 53588 w 254889"/>
              <a:gd name="connsiteY257" fmla="*/ 90259 h 220217"/>
              <a:gd name="connsiteX258" fmla="*/ 56369 w 254889"/>
              <a:gd name="connsiteY258" fmla="*/ 88563 h 220217"/>
              <a:gd name="connsiteX259" fmla="*/ 58693 w 254889"/>
              <a:gd name="connsiteY259" fmla="*/ 88573 h 220217"/>
              <a:gd name="connsiteX260" fmla="*/ 61113 w 254889"/>
              <a:gd name="connsiteY260" fmla="*/ 86668 h 220217"/>
              <a:gd name="connsiteX261" fmla="*/ 62303 w 254889"/>
              <a:gd name="connsiteY261" fmla="*/ 87944 h 220217"/>
              <a:gd name="connsiteX262" fmla="*/ 62884 w 254889"/>
              <a:gd name="connsiteY262" fmla="*/ 90221 h 220217"/>
              <a:gd name="connsiteX263" fmla="*/ 62084 w 254889"/>
              <a:gd name="connsiteY263" fmla="*/ 92030 h 220217"/>
              <a:gd name="connsiteX264" fmla="*/ 62427 w 254889"/>
              <a:gd name="connsiteY264" fmla="*/ 92745 h 220217"/>
              <a:gd name="connsiteX265" fmla="*/ 64103 w 254889"/>
              <a:gd name="connsiteY265" fmla="*/ 93640 h 220217"/>
              <a:gd name="connsiteX266" fmla="*/ 66970 w 254889"/>
              <a:gd name="connsiteY266" fmla="*/ 93612 h 220217"/>
              <a:gd name="connsiteX267" fmla="*/ 68809 w 254889"/>
              <a:gd name="connsiteY267" fmla="*/ 92869 h 220217"/>
              <a:gd name="connsiteX268" fmla="*/ 69237 w 254889"/>
              <a:gd name="connsiteY268" fmla="*/ 91830 h 220217"/>
              <a:gd name="connsiteX269" fmla="*/ 69237 w 254889"/>
              <a:gd name="connsiteY269" fmla="*/ 89945 h 220217"/>
              <a:gd name="connsiteX270" fmla="*/ 68780 w 254889"/>
              <a:gd name="connsiteY270" fmla="*/ 88182 h 220217"/>
              <a:gd name="connsiteX271" fmla="*/ 67561 w 254889"/>
              <a:gd name="connsiteY271" fmla="*/ 86668 h 220217"/>
              <a:gd name="connsiteX272" fmla="*/ 65275 w 254889"/>
              <a:gd name="connsiteY272" fmla="*/ 85877 h 220217"/>
              <a:gd name="connsiteX273" fmla="*/ 63684 w 254889"/>
              <a:gd name="connsiteY273" fmla="*/ 85858 h 220217"/>
              <a:gd name="connsiteX274" fmla="*/ 63418 w 254889"/>
              <a:gd name="connsiteY274" fmla="*/ 84887 h 220217"/>
              <a:gd name="connsiteX275" fmla="*/ 63961 w 254889"/>
              <a:gd name="connsiteY275" fmla="*/ 82820 h 220217"/>
              <a:gd name="connsiteX276" fmla="*/ 65370 w 254889"/>
              <a:gd name="connsiteY276" fmla="*/ 78991 h 220217"/>
              <a:gd name="connsiteX277" fmla="*/ 67103 w 254889"/>
              <a:gd name="connsiteY277" fmla="*/ 75533 h 220217"/>
              <a:gd name="connsiteX278" fmla="*/ 68161 w 254889"/>
              <a:gd name="connsiteY278" fmla="*/ 74228 h 220217"/>
              <a:gd name="connsiteX279" fmla="*/ 68342 w 254889"/>
              <a:gd name="connsiteY279" fmla="*/ 73019 h 220217"/>
              <a:gd name="connsiteX280" fmla="*/ 68142 w 254889"/>
              <a:gd name="connsiteY280" fmla="*/ 70923 h 220217"/>
              <a:gd name="connsiteX281" fmla="*/ 68104 w 254889"/>
              <a:gd name="connsiteY281" fmla="*/ 67142 h 220217"/>
              <a:gd name="connsiteX282" fmla="*/ 69656 w 254889"/>
              <a:gd name="connsiteY282" fmla="*/ 61808 h 220217"/>
              <a:gd name="connsiteX283" fmla="*/ 71752 w 254889"/>
              <a:gd name="connsiteY283" fmla="*/ 57826 h 220217"/>
              <a:gd name="connsiteX284" fmla="*/ 74562 w 254889"/>
              <a:gd name="connsiteY284" fmla="*/ 56521 h 220217"/>
              <a:gd name="connsiteX285" fmla="*/ 78000 w 254889"/>
              <a:gd name="connsiteY285" fmla="*/ 55826 h 220217"/>
              <a:gd name="connsiteX286" fmla="*/ 80200 w 254889"/>
              <a:gd name="connsiteY286" fmla="*/ 53921 h 220217"/>
              <a:gd name="connsiteX287" fmla="*/ 81286 w 254889"/>
              <a:gd name="connsiteY287" fmla="*/ 51730 h 220217"/>
              <a:gd name="connsiteX288" fmla="*/ 81696 w 254889"/>
              <a:gd name="connsiteY288" fmla="*/ 49873 h 220217"/>
              <a:gd name="connsiteX289" fmla="*/ 82220 w 254889"/>
              <a:gd name="connsiteY289" fmla="*/ 48273 h 220217"/>
              <a:gd name="connsiteX290" fmla="*/ 83315 w 254889"/>
              <a:gd name="connsiteY290" fmla="*/ 47568 h 220217"/>
              <a:gd name="connsiteX291" fmla="*/ 91583 w 254889"/>
              <a:gd name="connsiteY291" fmla="*/ 48006 h 220217"/>
              <a:gd name="connsiteX292" fmla="*/ 92850 w 254889"/>
              <a:gd name="connsiteY292" fmla="*/ 44548 h 220217"/>
              <a:gd name="connsiteX293" fmla="*/ 93564 w 254889"/>
              <a:gd name="connsiteY293" fmla="*/ 43586 h 220217"/>
              <a:gd name="connsiteX294" fmla="*/ 95145 w 254889"/>
              <a:gd name="connsiteY294" fmla="*/ 42558 h 220217"/>
              <a:gd name="connsiteX295" fmla="*/ 96250 w 254889"/>
              <a:gd name="connsiteY295" fmla="*/ 41329 h 220217"/>
              <a:gd name="connsiteX296" fmla="*/ 95841 w 254889"/>
              <a:gd name="connsiteY296" fmla="*/ 40377 h 220217"/>
              <a:gd name="connsiteX297" fmla="*/ 93726 w 254889"/>
              <a:gd name="connsiteY297" fmla="*/ 39767 h 220217"/>
              <a:gd name="connsiteX298" fmla="*/ 88754 w 254889"/>
              <a:gd name="connsiteY298" fmla="*/ 39224 h 220217"/>
              <a:gd name="connsiteX299" fmla="*/ 87754 w 254889"/>
              <a:gd name="connsiteY299" fmla="*/ 38072 h 220217"/>
              <a:gd name="connsiteX300" fmla="*/ 88068 w 254889"/>
              <a:gd name="connsiteY300" fmla="*/ 36690 h 220217"/>
              <a:gd name="connsiteX301" fmla="*/ 89392 w 254889"/>
              <a:gd name="connsiteY301" fmla="*/ 33109 h 220217"/>
              <a:gd name="connsiteX302" fmla="*/ 90659 w 254889"/>
              <a:gd name="connsiteY302" fmla="*/ 28480 h 220217"/>
              <a:gd name="connsiteX303" fmla="*/ 91317 w 254889"/>
              <a:gd name="connsiteY303" fmla="*/ 24889 h 220217"/>
              <a:gd name="connsiteX304" fmla="*/ 91383 w 254889"/>
              <a:gd name="connsiteY304" fmla="*/ 22765 h 220217"/>
              <a:gd name="connsiteX305" fmla="*/ 92097 w 254889"/>
              <a:gd name="connsiteY305" fmla="*/ 22193 h 220217"/>
              <a:gd name="connsiteX306" fmla="*/ 96145 w 254889"/>
              <a:gd name="connsiteY306" fmla="*/ 21517 h 220217"/>
              <a:gd name="connsiteX307" fmla="*/ 97507 w 254889"/>
              <a:gd name="connsiteY307" fmla="*/ 20793 h 220217"/>
              <a:gd name="connsiteX308" fmla="*/ 100994 w 254889"/>
              <a:gd name="connsiteY308" fmla="*/ 15878 h 220217"/>
              <a:gd name="connsiteX309" fmla="*/ 103651 w 254889"/>
              <a:gd name="connsiteY309" fmla="*/ 15040 h 220217"/>
              <a:gd name="connsiteX310" fmla="*/ 110519 w 254889"/>
              <a:gd name="connsiteY310" fmla="*/ 16307 h 220217"/>
              <a:gd name="connsiteX311" fmla="*/ 113662 w 254889"/>
              <a:gd name="connsiteY311" fmla="*/ 16212 h 220217"/>
              <a:gd name="connsiteX312" fmla="*/ 114519 w 254889"/>
              <a:gd name="connsiteY312" fmla="*/ 16326 h 220217"/>
              <a:gd name="connsiteX313" fmla="*/ 117663 w 254889"/>
              <a:gd name="connsiteY313" fmla="*/ 16545 h 220217"/>
              <a:gd name="connsiteX314" fmla="*/ 118006 w 254889"/>
              <a:gd name="connsiteY314" fmla="*/ 16050 h 220217"/>
              <a:gd name="connsiteX315" fmla="*/ 119415 w 254889"/>
              <a:gd name="connsiteY315" fmla="*/ 11182 h 220217"/>
              <a:gd name="connsiteX316" fmla="*/ 120805 w 254889"/>
              <a:gd name="connsiteY316" fmla="*/ 9763 h 220217"/>
              <a:gd name="connsiteX317" fmla="*/ 126206 w 254889"/>
              <a:gd name="connsiteY317" fmla="*/ 3334 h 220217"/>
              <a:gd name="connsiteX318" fmla="*/ 129835 w 254889"/>
              <a:gd name="connsiteY318" fmla="*/ 600 h 220217"/>
              <a:gd name="connsiteX319" fmla="*/ 132131 w 254889"/>
              <a:gd name="connsiteY319" fmla="*/ 0 h 220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</a:cxnLst>
            <a:rect l="l" t="t" r="r" b="b"/>
            <a:pathLst>
              <a:path w="254889" h="220217">
                <a:moveTo>
                  <a:pt x="132931" y="143"/>
                </a:moveTo>
                <a:lnTo>
                  <a:pt x="136579" y="4305"/>
                </a:lnTo>
                <a:lnTo>
                  <a:pt x="137436" y="4467"/>
                </a:lnTo>
                <a:lnTo>
                  <a:pt x="139465" y="2829"/>
                </a:lnTo>
                <a:lnTo>
                  <a:pt x="139865" y="2724"/>
                </a:lnTo>
                <a:lnTo>
                  <a:pt x="144056" y="2581"/>
                </a:lnTo>
                <a:lnTo>
                  <a:pt x="145999" y="4029"/>
                </a:lnTo>
                <a:lnTo>
                  <a:pt x="147447" y="6848"/>
                </a:lnTo>
                <a:lnTo>
                  <a:pt x="148780" y="9096"/>
                </a:lnTo>
                <a:lnTo>
                  <a:pt x="150229" y="9706"/>
                </a:lnTo>
                <a:lnTo>
                  <a:pt x="154305" y="6877"/>
                </a:lnTo>
                <a:lnTo>
                  <a:pt x="156563" y="5934"/>
                </a:lnTo>
                <a:lnTo>
                  <a:pt x="158049" y="5963"/>
                </a:lnTo>
                <a:lnTo>
                  <a:pt x="163278" y="8506"/>
                </a:lnTo>
                <a:lnTo>
                  <a:pt x="165735" y="9896"/>
                </a:lnTo>
                <a:lnTo>
                  <a:pt x="166297" y="11154"/>
                </a:lnTo>
                <a:lnTo>
                  <a:pt x="166354" y="12640"/>
                </a:lnTo>
                <a:lnTo>
                  <a:pt x="165688" y="14840"/>
                </a:lnTo>
                <a:lnTo>
                  <a:pt x="165164" y="17231"/>
                </a:lnTo>
                <a:lnTo>
                  <a:pt x="166754" y="20050"/>
                </a:lnTo>
                <a:lnTo>
                  <a:pt x="168602" y="21965"/>
                </a:lnTo>
                <a:lnTo>
                  <a:pt x="172555" y="18802"/>
                </a:lnTo>
                <a:lnTo>
                  <a:pt x="174012" y="17926"/>
                </a:lnTo>
                <a:lnTo>
                  <a:pt x="175603" y="17897"/>
                </a:lnTo>
                <a:lnTo>
                  <a:pt x="177737" y="16726"/>
                </a:lnTo>
                <a:lnTo>
                  <a:pt x="179280" y="14954"/>
                </a:lnTo>
                <a:lnTo>
                  <a:pt x="180756" y="14345"/>
                </a:lnTo>
                <a:lnTo>
                  <a:pt x="183585" y="14764"/>
                </a:lnTo>
                <a:lnTo>
                  <a:pt x="188690" y="14345"/>
                </a:lnTo>
                <a:lnTo>
                  <a:pt x="194643" y="17116"/>
                </a:lnTo>
                <a:lnTo>
                  <a:pt x="195158" y="17974"/>
                </a:lnTo>
                <a:lnTo>
                  <a:pt x="198130" y="21212"/>
                </a:lnTo>
                <a:lnTo>
                  <a:pt x="199168" y="22822"/>
                </a:lnTo>
                <a:lnTo>
                  <a:pt x="200149" y="23336"/>
                </a:lnTo>
                <a:lnTo>
                  <a:pt x="201730" y="24917"/>
                </a:lnTo>
                <a:lnTo>
                  <a:pt x="203854" y="25908"/>
                </a:lnTo>
                <a:lnTo>
                  <a:pt x="205321" y="25603"/>
                </a:lnTo>
                <a:lnTo>
                  <a:pt x="206026" y="26127"/>
                </a:lnTo>
                <a:lnTo>
                  <a:pt x="206683" y="27365"/>
                </a:lnTo>
                <a:lnTo>
                  <a:pt x="206730" y="29480"/>
                </a:lnTo>
                <a:lnTo>
                  <a:pt x="206521" y="35500"/>
                </a:lnTo>
                <a:lnTo>
                  <a:pt x="205483" y="37233"/>
                </a:lnTo>
                <a:lnTo>
                  <a:pt x="204388" y="38643"/>
                </a:lnTo>
                <a:lnTo>
                  <a:pt x="204111" y="39738"/>
                </a:lnTo>
                <a:lnTo>
                  <a:pt x="204216" y="41062"/>
                </a:lnTo>
                <a:lnTo>
                  <a:pt x="205902" y="43653"/>
                </a:lnTo>
                <a:lnTo>
                  <a:pt x="208074" y="47663"/>
                </a:lnTo>
                <a:lnTo>
                  <a:pt x="208579" y="49978"/>
                </a:lnTo>
                <a:lnTo>
                  <a:pt x="208579" y="51721"/>
                </a:lnTo>
                <a:lnTo>
                  <a:pt x="205617" y="56826"/>
                </a:lnTo>
                <a:lnTo>
                  <a:pt x="204635" y="58017"/>
                </a:lnTo>
                <a:lnTo>
                  <a:pt x="203949" y="60522"/>
                </a:lnTo>
                <a:lnTo>
                  <a:pt x="203588" y="63065"/>
                </a:lnTo>
                <a:lnTo>
                  <a:pt x="203797" y="64122"/>
                </a:lnTo>
                <a:lnTo>
                  <a:pt x="208750" y="68161"/>
                </a:lnTo>
                <a:lnTo>
                  <a:pt x="212417" y="70342"/>
                </a:lnTo>
                <a:lnTo>
                  <a:pt x="213236" y="71409"/>
                </a:lnTo>
                <a:lnTo>
                  <a:pt x="213313" y="72076"/>
                </a:lnTo>
                <a:lnTo>
                  <a:pt x="211370" y="76390"/>
                </a:lnTo>
                <a:lnTo>
                  <a:pt x="211179" y="77553"/>
                </a:lnTo>
                <a:lnTo>
                  <a:pt x="214113" y="79334"/>
                </a:lnTo>
                <a:lnTo>
                  <a:pt x="215741" y="82144"/>
                </a:lnTo>
                <a:lnTo>
                  <a:pt x="217170" y="86716"/>
                </a:lnTo>
                <a:lnTo>
                  <a:pt x="219961" y="91087"/>
                </a:lnTo>
                <a:lnTo>
                  <a:pt x="225971" y="94955"/>
                </a:lnTo>
                <a:lnTo>
                  <a:pt x="230343" y="97469"/>
                </a:lnTo>
                <a:lnTo>
                  <a:pt x="231257" y="98612"/>
                </a:lnTo>
                <a:lnTo>
                  <a:pt x="231572" y="99965"/>
                </a:lnTo>
                <a:lnTo>
                  <a:pt x="231239" y="102946"/>
                </a:lnTo>
                <a:lnTo>
                  <a:pt x="230105" y="106575"/>
                </a:lnTo>
                <a:lnTo>
                  <a:pt x="229334" y="108585"/>
                </a:lnTo>
                <a:lnTo>
                  <a:pt x="231115" y="109423"/>
                </a:lnTo>
                <a:lnTo>
                  <a:pt x="235696" y="109195"/>
                </a:lnTo>
                <a:lnTo>
                  <a:pt x="241268" y="109899"/>
                </a:lnTo>
                <a:lnTo>
                  <a:pt x="247945" y="113881"/>
                </a:lnTo>
                <a:lnTo>
                  <a:pt x="247965" y="115662"/>
                </a:lnTo>
                <a:lnTo>
                  <a:pt x="247279" y="117291"/>
                </a:lnTo>
                <a:lnTo>
                  <a:pt x="247736" y="118996"/>
                </a:lnTo>
                <a:lnTo>
                  <a:pt x="248460" y="120444"/>
                </a:lnTo>
                <a:lnTo>
                  <a:pt x="254241" y="124873"/>
                </a:lnTo>
                <a:lnTo>
                  <a:pt x="254794" y="126159"/>
                </a:lnTo>
                <a:lnTo>
                  <a:pt x="254889" y="128311"/>
                </a:lnTo>
                <a:lnTo>
                  <a:pt x="254737" y="129883"/>
                </a:lnTo>
                <a:lnTo>
                  <a:pt x="253136" y="130207"/>
                </a:lnTo>
                <a:lnTo>
                  <a:pt x="251356" y="130940"/>
                </a:lnTo>
                <a:lnTo>
                  <a:pt x="248450" y="132826"/>
                </a:lnTo>
                <a:lnTo>
                  <a:pt x="247307" y="135484"/>
                </a:lnTo>
                <a:lnTo>
                  <a:pt x="242602" y="139141"/>
                </a:lnTo>
                <a:lnTo>
                  <a:pt x="239706" y="140799"/>
                </a:lnTo>
                <a:lnTo>
                  <a:pt x="237392" y="140865"/>
                </a:lnTo>
                <a:lnTo>
                  <a:pt x="231886" y="140122"/>
                </a:lnTo>
                <a:lnTo>
                  <a:pt x="229953" y="138322"/>
                </a:lnTo>
                <a:lnTo>
                  <a:pt x="229152" y="136665"/>
                </a:lnTo>
                <a:lnTo>
                  <a:pt x="227038" y="135912"/>
                </a:lnTo>
                <a:lnTo>
                  <a:pt x="224228" y="135845"/>
                </a:lnTo>
                <a:lnTo>
                  <a:pt x="220352" y="136131"/>
                </a:lnTo>
                <a:lnTo>
                  <a:pt x="219561" y="136636"/>
                </a:lnTo>
                <a:lnTo>
                  <a:pt x="218923" y="138665"/>
                </a:lnTo>
                <a:lnTo>
                  <a:pt x="217275" y="142142"/>
                </a:lnTo>
                <a:lnTo>
                  <a:pt x="216094" y="144094"/>
                </a:lnTo>
                <a:lnTo>
                  <a:pt x="217065" y="145294"/>
                </a:lnTo>
                <a:lnTo>
                  <a:pt x="218608" y="147790"/>
                </a:lnTo>
                <a:lnTo>
                  <a:pt x="221009" y="150952"/>
                </a:lnTo>
                <a:lnTo>
                  <a:pt x="223485" y="153762"/>
                </a:lnTo>
                <a:lnTo>
                  <a:pt x="224276" y="155477"/>
                </a:lnTo>
                <a:lnTo>
                  <a:pt x="224237" y="156705"/>
                </a:lnTo>
                <a:lnTo>
                  <a:pt x="223066" y="158144"/>
                </a:lnTo>
                <a:lnTo>
                  <a:pt x="223238" y="161039"/>
                </a:lnTo>
                <a:lnTo>
                  <a:pt x="225638" y="164840"/>
                </a:lnTo>
                <a:lnTo>
                  <a:pt x="224828" y="165449"/>
                </a:lnTo>
                <a:lnTo>
                  <a:pt x="224580" y="170107"/>
                </a:lnTo>
                <a:lnTo>
                  <a:pt x="224609" y="175070"/>
                </a:lnTo>
                <a:lnTo>
                  <a:pt x="225257" y="176270"/>
                </a:lnTo>
                <a:lnTo>
                  <a:pt x="226543" y="177260"/>
                </a:lnTo>
                <a:lnTo>
                  <a:pt x="227638" y="179070"/>
                </a:lnTo>
                <a:lnTo>
                  <a:pt x="229458" y="183185"/>
                </a:lnTo>
                <a:lnTo>
                  <a:pt x="229581" y="184261"/>
                </a:lnTo>
                <a:lnTo>
                  <a:pt x="224514" y="183956"/>
                </a:lnTo>
                <a:lnTo>
                  <a:pt x="218427" y="184080"/>
                </a:lnTo>
                <a:lnTo>
                  <a:pt x="215008" y="186471"/>
                </a:lnTo>
                <a:lnTo>
                  <a:pt x="213674" y="185919"/>
                </a:lnTo>
                <a:lnTo>
                  <a:pt x="211293" y="185309"/>
                </a:lnTo>
                <a:lnTo>
                  <a:pt x="208655" y="186642"/>
                </a:lnTo>
                <a:lnTo>
                  <a:pt x="205054" y="190672"/>
                </a:lnTo>
                <a:lnTo>
                  <a:pt x="202635" y="193177"/>
                </a:lnTo>
                <a:lnTo>
                  <a:pt x="200283" y="196682"/>
                </a:lnTo>
                <a:lnTo>
                  <a:pt x="199540" y="198577"/>
                </a:lnTo>
                <a:lnTo>
                  <a:pt x="198054" y="202063"/>
                </a:lnTo>
                <a:lnTo>
                  <a:pt x="196691" y="206045"/>
                </a:lnTo>
                <a:lnTo>
                  <a:pt x="197434" y="208826"/>
                </a:lnTo>
                <a:lnTo>
                  <a:pt x="198549" y="211407"/>
                </a:lnTo>
                <a:lnTo>
                  <a:pt x="198797" y="214189"/>
                </a:lnTo>
                <a:lnTo>
                  <a:pt x="199349" y="216360"/>
                </a:lnTo>
                <a:lnTo>
                  <a:pt x="197863" y="217942"/>
                </a:lnTo>
                <a:lnTo>
                  <a:pt x="196996" y="220218"/>
                </a:lnTo>
                <a:lnTo>
                  <a:pt x="194463" y="219818"/>
                </a:lnTo>
                <a:lnTo>
                  <a:pt x="191358" y="217637"/>
                </a:lnTo>
                <a:lnTo>
                  <a:pt x="190700" y="214474"/>
                </a:lnTo>
                <a:lnTo>
                  <a:pt x="188309" y="212274"/>
                </a:lnTo>
                <a:lnTo>
                  <a:pt x="186737" y="211122"/>
                </a:lnTo>
                <a:lnTo>
                  <a:pt x="184147" y="210950"/>
                </a:lnTo>
                <a:lnTo>
                  <a:pt x="180004" y="211979"/>
                </a:lnTo>
                <a:lnTo>
                  <a:pt x="174584" y="212770"/>
                </a:lnTo>
                <a:lnTo>
                  <a:pt x="170498" y="212979"/>
                </a:lnTo>
                <a:lnTo>
                  <a:pt x="168269" y="214103"/>
                </a:lnTo>
                <a:lnTo>
                  <a:pt x="164973" y="215208"/>
                </a:lnTo>
                <a:lnTo>
                  <a:pt x="163697" y="213893"/>
                </a:lnTo>
                <a:lnTo>
                  <a:pt x="161868" y="210303"/>
                </a:lnTo>
                <a:lnTo>
                  <a:pt x="160373" y="206721"/>
                </a:lnTo>
                <a:lnTo>
                  <a:pt x="159334" y="205149"/>
                </a:lnTo>
                <a:lnTo>
                  <a:pt x="158439" y="204711"/>
                </a:lnTo>
                <a:lnTo>
                  <a:pt x="157334" y="204797"/>
                </a:lnTo>
                <a:lnTo>
                  <a:pt x="156067" y="205930"/>
                </a:lnTo>
                <a:lnTo>
                  <a:pt x="155115" y="207102"/>
                </a:lnTo>
                <a:lnTo>
                  <a:pt x="153771" y="207512"/>
                </a:lnTo>
                <a:lnTo>
                  <a:pt x="151695" y="208455"/>
                </a:lnTo>
                <a:lnTo>
                  <a:pt x="150181" y="209731"/>
                </a:lnTo>
                <a:lnTo>
                  <a:pt x="148524" y="213027"/>
                </a:lnTo>
                <a:lnTo>
                  <a:pt x="147428" y="212798"/>
                </a:lnTo>
                <a:lnTo>
                  <a:pt x="146295" y="212036"/>
                </a:lnTo>
                <a:lnTo>
                  <a:pt x="144989" y="208350"/>
                </a:lnTo>
                <a:lnTo>
                  <a:pt x="143199" y="207502"/>
                </a:lnTo>
                <a:lnTo>
                  <a:pt x="140332" y="207454"/>
                </a:lnTo>
                <a:lnTo>
                  <a:pt x="136779" y="206673"/>
                </a:lnTo>
                <a:lnTo>
                  <a:pt x="133893" y="205549"/>
                </a:lnTo>
                <a:lnTo>
                  <a:pt x="132845" y="205816"/>
                </a:lnTo>
                <a:lnTo>
                  <a:pt x="131121" y="207388"/>
                </a:lnTo>
                <a:lnTo>
                  <a:pt x="129274" y="207616"/>
                </a:lnTo>
                <a:lnTo>
                  <a:pt x="125196" y="206216"/>
                </a:lnTo>
                <a:lnTo>
                  <a:pt x="124406" y="206864"/>
                </a:lnTo>
                <a:lnTo>
                  <a:pt x="123330" y="208931"/>
                </a:lnTo>
                <a:lnTo>
                  <a:pt x="122063" y="210922"/>
                </a:lnTo>
                <a:lnTo>
                  <a:pt x="120958" y="211122"/>
                </a:lnTo>
                <a:lnTo>
                  <a:pt x="120339" y="210607"/>
                </a:lnTo>
                <a:lnTo>
                  <a:pt x="120682" y="207073"/>
                </a:lnTo>
                <a:lnTo>
                  <a:pt x="118320" y="205826"/>
                </a:lnTo>
                <a:lnTo>
                  <a:pt x="114338" y="205626"/>
                </a:lnTo>
                <a:lnTo>
                  <a:pt x="111538" y="206140"/>
                </a:lnTo>
                <a:lnTo>
                  <a:pt x="110176" y="205997"/>
                </a:lnTo>
                <a:lnTo>
                  <a:pt x="109471" y="205311"/>
                </a:lnTo>
                <a:lnTo>
                  <a:pt x="106042" y="199358"/>
                </a:lnTo>
                <a:lnTo>
                  <a:pt x="104232" y="198977"/>
                </a:lnTo>
                <a:lnTo>
                  <a:pt x="100984" y="199272"/>
                </a:lnTo>
                <a:lnTo>
                  <a:pt x="96193" y="198549"/>
                </a:lnTo>
                <a:lnTo>
                  <a:pt x="90668" y="197206"/>
                </a:lnTo>
                <a:lnTo>
                  <a:pt x="87630" y="196710"/>
                </a:lnTo>
                <a:lnTo>
                  <a:pt x="86059" y="195367"/>
                </a:lnTo>
                <a:lnTo>
                  <a:pt x="82658" y="194910"/>
                </a:lnTo>
                <a:lnTo>
                  <a:pt x="73514" y="192386"/>
                </a:lnTo>
                <a:lnTo>
                  <a:pt x="69790" y="191938"/>
                </a:lnTo>
                <a:lnTo>
                  <a:pt x="64294" y="191900"/>
                </a:lnTo>
                <a:lnTo>
                  <a:pt x="55931" y="191338"/>
                </a:lnTo>
                <a:lnTo>
                  <a:pt x="50568" y="191653"/>
                </a:lnTo>
                <a:lnTo>
                  <a:pt x="48083" y="192491"/>
                </a:lnTo>
                <a:lnTo>
                  <a:pt x="45215" y="193015"/>
                </a:lnTo>
                <a:lnTo>
                  <a:pt x="40367" y="193472"/>
                </a:lnTo>
                <a:lnTo>
                  <a:pt x="38395" y="193424"/>
                </a:lnTo>
                <a:lnTo>
                  <a:pt x="35290" y="193700"/>
                </a:lnTo>
                <a:lnTo>
                  <a:pt x="31728" y="194377"/>
                </a:lnTo>
                <a:lnTo>
                  <a:pt x="30709" y="195624"/>
                </a:lnTo>
                <a:lnTo>
                  <a:pt x="29537" y="198377"/>
                </a:lnTo>
                <a:lnTo>
                  <a:pt x="25441" y="203121"/>
                </a:lnTo>
                <a:lnTo>
                  <a:pt x="21470" y="206264"/>
                </a:lnTo>
                <a:lnTo>
                  <a:pt x="20746" y="206531"/>
                </a:lnTo>
                <a:lnTo>
                  <a:pt x="18422" y="204864"/>
                </a:lnTo>
                <a:lnTo>
                  <a:pt x="16488" y="204302"/>
                </a:lnTo>
                <a:lnTo>
                  <a:pt x="14211" y="204121"/>
                </a:lnTo>
                <a:lnTo>
                  <a:pt x="12602" y="204654"/>
                </a:lnTo>
                <a:lnTo>
                  <a:pt x="11592" y="205445"/>
                </a:lnTo>
                <a:lnTo>
                  <a:pt x="11725" y="209093"/>
                </a:lnTo>
                <a:lnTo>
                  <a:pt x="11497" y="209407"/>
                </a:lnTo>
                <a:lnTo>
                  <a:pt x="9744" y="205083"/>
                </a:lnTo>
                <a:lnTo>
                  <a:pt x="9887" y="201158"/>
                </a:lnTo>
                <a:lnTo>
                  <a:pt x="10859" y="198911"/>
                </a:lnTo>
                <a:lnTo>
                  <a:pt x="12049" y="196882"/>
                </a:lnTo>
                <a:lnTo>
                  <a:pt x="11563" y="193843"/>
                </a:lnTo>
                <a:lnTo>
                  <a:pt x="12725" y="189814"/>
                </a:lnTo>
                <a:lnTo>
                  <a:pt x="12764" y="186890"/>
                </a:lnTo>
                <a:lnTo>
                  <a:pt x="12249" y="185633"/>
                </a:lnTo>
                <a:lnTo>
                  <a:pt x="11306" y="184175"/>
                </a:lnTo>
                <a:lnTo>
                  <a:pt x="8716" y="182556"/>
                </a:lnTo>
                <a:lnTo>
                  <a:pt x="7572" y="181289"/>
                </a:lnTo>
                <a:lnTo>
                  <a:pt x="4067" y="179594"/>
                </a:lnTo>
                <a:lnTo>
                  <a:pt x="591" y="177489"/>
                </a:lnTo>
                <a:lnTo>
                  <a:pt x="0" y="176193"/>
                </a:lnTo>
                <a:lnTo>
                  <a:pt x="162" y="175308"/>
                </a:lnTo>
                <a:lnTo>
                  <a:pt x="771" y="173955"/>
                </a:lnTo>
                <a:lnTo>
                  <a:pt x="3429" y="170002"/>
                </a:lnTo>
                <a:lnTo>
                  <a:pt x="6305" y="166154"/>
                </a:lnTo>
                <a:lnTo>
                  <a:pt x="8144" y="164611"/>
                </a:lnTo>
                <a:lnTo>
                  <a:pt x="17907" y="159658"/>
                </a:lnTo>
                <a:lnTo>
                  <a:pt x="19412" y="157924"/>
                </a:lnTo>
                <a:lnTo>
                  <a:pt x="19793" y="154991"/>
                </a:lnTo>
                <a:lnTo>
                  <a:pt x="19812" y="152857"/>
                </a:lnTo>
                <a:lnTo>
                  <a:pt x="19631" y="149047"/>
                </a:lnTo>
                <a:lnTo>
                  <a:pt x="19031" y="143618"/>
                </a:lnTo>
                <a:lnTo>
                  <a:pt x="18288" y="139865"/>
                </a:lnTo>
                <a:lnTo>
                  <a:pt x="16421" y="132797"/>
                </a:lnTo>
                <a:lnTo>
                  <a:pt x="11335" y="118100"/>
                </a:lnTo>
                <a:lnTo>
                  <a:pt x="8277" y="102737"/>
                </a:lnTo>
                <a:lnTo>
                  <a:pt x="10268" y="103642"/>
                </a:lnTo>
                <a:lnTo>
                  <a:pt x="14935" y="103975"/>
                </a:lnTo>
                <a:lnTo>
                  <a:pt x="18641" y="102918"/>
                </a:lnTo>
                <a:lnTo>
                  <a:pt x="20564" y="102765"/>
                </a:lnTo>
                <a:lnTo>
                  <a:pt x="22279" y="103108"/>
                </a:lnTo>
                <a:lnTo>
                  <a:pt x="24832" y="102498"/>
                </a:lnTo>
                <a:lnTo>
                  <a:pt x="27165" y="102251"/>
                </a:lnTo>
                <a:lnTo>
                  <a:pt x="28375" y="103632"/>
                </a:lnTo>
                <a:lnTo>
                  <a:pt x="30547" y="104851"/>
                </a:lnTo>
                <a:lnTo>
                  <a:pt x="34843" y="103099"/>
                </a:lnTo>
                <a:lnTo>
                  <a:pt x="38643" y="100917"/>
                </a:lnTo>
                <a:lnTo>
                  <a:pt x="42586" y="101155"/>
                </a:lnTo>
                <a:lnTo>
                  <a:pt x="43149" y="100079"/>
                </a:lnTo>
                <a:lnTo>
                  <a:pt x="44129" y="94602"/>
                </a:lnTo>
                <a:lnTo>
                  <a:pt x="45301" y="93402"/>
                </a:lnTo>
                <a:lnTo>
                  <a:pt x="50016" y="93955"/>
                </a:lnTo>
                <a:lnTo>
                  <a:pt x="51759" y="92964"/>
                </a:lnTo>
                <a:lnTo>
                  <a:pt x="53588" y="90259"/>
                </a:lnTo>
                <a:lnTo>
                  <a:pt x="56369" y="88563"/>
                </a:lnTo>
                <a:lnTo>
                  <a:pt x="58693" y="88573"/>
                </a:lnTo>
                <a:lnTo>
                  <a:pt x="61113" y="86668"/>
                </a:lnTo>
                <a:lnTo>
                  <a:pt x="62303" y="87944"/>
                </a:lnTo>
                <a:lnTo>
                  <a:pt x="62884" y="90221"/>
                </a:lnTo>
                <a:lnTo>
                  <a:pt x="62084" y="92030"/>
                </a:lnTo>
                <a:lnTo>
                  <a:pt x="62427" y="92745"/>
                </a:lnTo>
                <a:lnTo>
                  <a:pt x="64103" y="93640"/>
                </a:lnTo>
                <a:lnTo>
                  <a:pt x="66970" y="93612"/>
                </a:lnTo>
                <a:lnTo>
                  <a:pt x="68809" y="92869"/>
                </a:lnTo>
                <a:lnTo>
                  <a:pt x="69237" y="91830"/>
                </a:lnTo>
                <a:lnTo>
                  <a:pt x="69237" y="89945"/>
                </a:lnTo>
                <a:lnTo>
                  <a:pt x="68780" y="88182"/>
                </a:lnTo>
                <a:lnTo>
                  <a:pt x="67561" y="86668"/>
                </a:lnTo>
                <a:lnTo>
                  <a:pt x="65275" y="85877"/>
                </a:lnTo>
                <a:lnTo>
                  <a:pt x="63684" y="85858"/>
                </a:lnTo>
                <a:lnTo>
                  <a:pt x="63418" y="84887"/>
                </a:lnTo>
                <a:lnTo>
                  <a:pt x="63961" y="82820"/>
                </a:lnTo>
                <a:lnTo>
                  <a:pt x="65370" y="78991"/>
                </a:lnTo>
                <a:lnTo>
                  <a:pt x="67103" y="75533"/>
                </a:lnTo>
                <a:lnTo>
                  <a:pt x="68161" y="74228"/>
                </a:lnTo>
                <a:lnTo>
                  <a:pt x="68342" y="73019"/>
                </a:lnTo>
                <a:lnTo>
                  <a:pt x="68142" y="70923"/>
                </a:lnTo>
                <a:lnTo>
                  <a:pt x="68104" y="67142"/>
                </a:lnTo>
                <a:lnTo>
                  <a:pt x="69656" y="61808"/>
                </a:lnTo>
                <a:lnTo>
                  <a:pt x="71752" y="57826"/>
                </a:lnTo>
                <a:lnTo>
                  <a:pt x="74562" y="56521"/>
                </a:lnTo>
                <a:lnTo>
                  <a:pt x="78000" y="55826"/>
                </a:lnTo>
                <a:lnTo>
                  <a:pt x="80200" y="53921"/>
                </a:lnTo>
                <a:lnTo>
                  <a:pt x="81286" y="51730"/>
                </a:lnTo>
                <a:lnTo>
                  <a:pt x="81696" y="49873"/>
                </a:lnTo>
                <a:lnTo>
                  <a:pt x="82220" y="48273"/>
                </a:lnTo>
                <a:lnTo>
                  <a:pt x="83315" y="47568"/>
                </a:lnTo>
                <a:lnTo>
                  <a:pt x="91583" y="48006"/>
                </a:lnTo>
                <a:lnTo>
                  <a:pt x="92850" y="44548"/>
                </a:lnTo>
                <a:lnTo>
                  <a:pt x="93564" y="43586"/>
                </a:lnTo>
                <a:lnTo>
                  <a:pt x="95145" y="42558"/>
                </a:lnTo>
                <a:lnTo>
                  <a:pt x="96250" y="41329"/>
                </a:lnTo>
                <a:lnTo>
                  <a:pt x="95841" y="40377"/>
                </a:lnTo>
                <a:lnTo>
                  <a:pt x="93726" y="39767"/>
                </a:lnTo>
                <a:lnTo>
                  <a:pt x="88754" y="39224"/>
                </a:lnTo>
                <a:lnTo>
                  <a:pt x="87754" y="38072"/>
                </a:lnTo>
                <a:lnTo>
                  <a:pt x="88068" y="36690"/>
                </a:lnTo>
                <a:lnTo>
                  <a:pt x="89392" y="33109"/>
                </a:lnTo>
                <a:lnTo>
                  <a:pt x="90659" y="28480"/>
                </a:lnTo>
                <a:lnTo>
                  <a:pt x="91317" y="24889"/>
                </a:lnTo>
                <a:lnTo>
                  <a:pt x="91383" y="22765"/>
                </a:lnTo>
                <a:lnTo>
                  <a:pt x="92097" y="22193"/>
                </a:lnTo>
                <a:lnTo>
                  <a:pt x="96145" y="21517"/>
                </a:lnTo>
                <a:lnTo>
                  <a:pt x="97507" y="20793"/>
                </a:lnTo>
                <a:lnTo>
                  <a:pt x="100994" y="15878"/>
                </a:lnTo>
                <a:lnTo>
                  <a:pt x="103651" y="15040"/>
                </a:lnTo>
                <a:lnTo>
                  <a:pt x="110519" y="16307"/>
                </a:lnTo>
                <a:lnTo>
                  <a:pt x="113662" y="16212"/>
                </a:lnTo>
                <a:lnTo>
                  <a:pt x="114519" y="16326"/>
                </a:lnTo>
                <a:lnTo>
                  <a:pt x="117663" y="16545"/>
                </a:lnTo>
                <a:lnTo>
                  <a:pt x="118006" y="16050"/>
                </a:lnTo>
                <a:lnTo>
                  <a:pt x="119415" y="11182"/>
                </a:lnTo>
                <a:lnTo>
                  <a:pt x="120805" y="9763"/>
                </a:lnTo>
                <a:lnTo>
                  <a:pt x="126206" y="3334"/>
                </a:lnTo>
                <a:lnTo>
                  <a:pt x="129835" y="600"/>
                </a:lnTo>
                <a:lnTo>
                  <a:pt x="132131" y="0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3" name="Forme libre : forme 12">
            <a:extLst>
              <a:ext uri="{FF2B5EF4-FFF2-40B4-BE49-F238E27FC236}">
                <a16:creationId xmlns:a16="http://schemas.microsoft.com/office/drawing/2014/main" id="{C2FA82D6-2BF8-DF8E-70EF-08F5064897BF}"/>
              </a:ext>
            </a:extLst>
          </p:cNvPr>
          <p:cNvSpPr/>
          <p:nvPr/>
        </p:nvSpPr>
        <p:spPr>
          <a:xfrm>
            <a:off x="5729692" y="3674623"/>
            <a:ext cx="156360" cy="98802"/>
          </a:xfrm>
          <a:custGeom>
            <a:avLst/>
            <a:gdLst>
              <a:gd name="connsiteX0" fmla="*/ 95012 w 119881"/>
              <a:gd name="connsiteY0" fmla="*/ 9944 h 75752"/>
              <a:gd name="connsiteX1" fmla="*/ 95821 w 119881"/>
              <a:gd name="connsiteY1" fmla="*/ 10459 h 75752"/>
              <a:gd name="connsiteX2" fmla="*/ 97726 w 119881"/>
              <a:gd name="connsiteY2" fmla="*/ 12202 h 75752"/>
              <a:gd name="connsiteX3" fmla="*/ 97279 w 119881"/>
              <a:gd name="connsiteY3" fmla="*/ 15164 h 75752"/>
              <a:gd name="connsiteX4" fmla="*/ 95097 w 119881"/>
              <a:gd name="connsiteY4" fmla="*/ 19926 h 75752"/>
              <a:gd name="connsiteX5" fmla="*/ 93945 w 119881"/>
              <a:gd name="connsiteY5" fmla="*/ 23774 h 75752"/>
              <a:gd name="connsiteX6" fmla="*/ 93821 w 119881"/>
              <a:gd name="connsiteY6" fmla="*/ 26718 h 75752"/>
              <a:gd name="connsiteX7" fmla="*/ 94040 w 119881"/>
              <a:gd name="connsiteY7" fmla="*/ 28099 h 75752"/>
              <a:gd name="connsiteX8" fmla="*/ 94431 w 119881"/>
              <a:gd name="connsiteY8" fmla="*/ 28080 h 75752"/>
              <a:gd name="connsiteX9" fmla="*/ 96507 w 119881"/>
              <a:gd name="connsiteY9" fmla="*/ 28289 h 75752"/>
              <a:gd name="connsiteX10" fmla="*/ 97574 w 119881"/>
              <a:gd name="connsiteY10" fmla="*/ 28289 h 75752"/>
              <a:gd name="connsiteX11" fmla="*/ 100917 w 119881"/>
              <a:gd name="connsiteY11" fmla="*/ 29080 h 75752"/>
              <a:gd name="connsiteX12" fmla="*/ 103594 w 119881"/>
              <a:gd name="connsiteY12" fmla="*/ 30242 h 75752"/>
              <a:gd name="connsiteX13" fmla="*/ 104118 w 119881"/>
              <a:gd name="connsiteY13" fmla="*/ 31471 h 75752"/>
              <a:gd name="connsiteX14" fmla="*/ 104460 w 119881"/>
              <a:gd name="connsiteY14" fmla="*/ 32966 h 75752"/>
              <a:gd name="connsiteX15" fmla="*/ 107652 w 119881"/>
              <a:gd name="connsiteY15" fmla="*/ 35005 h 75752"/>
              <a:gd name="connsiteX16" fmla="*/ 111300 w 119881"/>
              <a:gd name="connsiteY16" fmla="*/ 36328 h 75752"/>
              <a:gd name="connsiteX17" fmla="*/ 112538 w 119881"/>
              <a:gd name="connsiteY17" fmla="*/ 35900 h 75752"/>
              <a:gd name="connsiteX18" fmla="*/ 117072 w 119881"/>
              <a:gd name="connsiteY18" fmla="*/ 31128 h 75752"/>
              <a:gd name="connsiteX19" fmla="*/ 118824 w 119881"/>
              <a:gd name="connsiteY19" fmla="*/ 31918 h 75752"/>
              <a:gd name="connsiteX20" fmla="*/ 119882 w 119881"/>
              <a:gd name="connsiteY20" fmla="*/ 34452 h 75752"/>
              <a:gd name="connsiteX21" fmla="*/ 119834 w 119881"/>
              <a:gd name="connsiteY21" fmla="*/ 35805 h 75752"/>
              <a:gd name="connsiteX22" fmla="*/ 118586 w 119881"/>
              <a:gd name="connsiteY22" fmla="*/ 40862 h 75752"/>
              <a:gd name="connsiteX23" fmla="*/ 118367 w 119881"/>
              <a:gd name="connsiteY23" fmla="*/ 43577 h 75752"/>
              <a:gd name="connsiteX24" fmla="*/ 119443 w 119881"/>
              <a:gd name="connsiteY24" fmla="*/ 45368 h 75752"/>
              <a:gd name="connsiteX25" fmla="*/ 119558 w 119881"/>
              <a:gd name="connsiteY25" fmla="*/ 46768 h 75752"/>
              <a:gd name="connsiteX26" fmla="*/ 119243 w 119881"/>
              <a:gd name="connsiteY26" fmla="*/ 48035 h 75752"/>
              <a:gd name="connsiteX27" fmla="*/ 117434 w 119881"/>
              <a:gd name="connsiteY27" fmla="*/ 48149 h 75752"/>
              <a:gd name="connsiteX28" fmla="*/ 115005 w 119881"/>
              <a:gd name="connsiteY28" fmla="*/ 47463 h 75752"/>
              <a:gd name="connsiteX29" fmla="*/ 112957 w 119881"/>
              <a:gd name="connsiteY29" fmla="*/ 45282 h 75752"/>
              <a:gd name="connsiteX30" fmla="*/ 111404 w 119881"/>
              <a:gd name="connsiteY30" fmla="*/ 45549 h 75752"/>
              <a:gd name="connsiteX31" fmla="*/ 110061 w 119881"/>
              <a:gd name="connsiteY31" fmla="*/ 46111 h 75752"/>
              <a:gd name="connsiteX32" fmla="*/ 109366 w 119881"/>
              <a:gd name="connsiteY32" fmla="*/ 48168 h 75752"/>
              <a:gd name="connsiteX33" fmla="*/ 108756 w 119881"/>
              <a:gd name="connsiteY33" fmla="*/ 50625 h 75752"/>
              <a:gd name="connsiteX34" fmla="*/ 108956 w 119881"/>
              <a:gd name="connsiteY34" fmla="*/ 51988 h 75752"/>
              <a:gd name="connsiteX35" fmla="*/ 109918 w 119881"/>
              <a:gd name="connsiteY35" fmla="*/ 53045 h 75752"/>
              <a:gd name="connsiteX36" fmla="*/ 110661 w 119881"/>
              <a:gd name="connsiteY36" fmla="*/ 55274 h 75752"/>
              <a:gd name="connsiteX37" fmla="*/ 111204 w 119881"/>
              <a:gd name="connsiteY37" fmla="*/ 58169 h 75752"/>
              <a:gd name="connsiteX38" fmla="*/ 111614 w 119881"/>
              <a:gd name="connsiteY38" fmla="*/ 59493 h 75752"/>
              <a:gd name="connsiteX39" fmla="*/ 111166 w 119881"/>
              <a:gd name="connsiteY39" fmla="*/ 60084 h 75752"/>
              <a:gd name="connsiteX40" fmla="*/ 109890 w 119881"/>
              <a:gd name="connsiteY40" fmla="*/ 60484 h 75752"/>
              <a:gd name="connsiteX41" fmla="*/ 108823 w 119881"/>
              <a:gd name="connsiteY41" fmla="*/ 60093 h 75752"/>
              <a:gd name="connsiteX42" fmla="*/ 106975 w 119881"/>
              <a:gd name="connsiteY42" fmla="*/ 56636 h 75752"/>
              <a:gd name="connsiteX43" fmla="*/ 106108 w 119881"/>
              <a:gd name="connsiteY43" fmla="*/ 55321 h 75752"/>
              <a:gd name="connsiteX44" fmla="*/ 104642 w 119881"/>
              <a:gd name="connsiteY44" fmla="*/ 55083 h 75752"/>
              <a:gd name="connsiteX45" fmla="*/ 102060 w 119881"/>
              <a:gd name="connsiteY45" fmla="*/ 55931 h 75752"/>
              <a:gd name="connsiteX46" fmla="*/ 98098 w 119881"/>
              <a:gd name="connsiteY46" fmla="*/ 57864 h 75752"/>
              <a:gd name="connsiteX47" fmla="*/ 96488 w 119881"/>
              <a:gd name="connsiteY47" fmla="*/ 57855 h 75752"/>
              <a:gd name="connsiteX48" fmla="*/ 95135 w 119881"/>
              <a:gd name="connsiteY48" fmla="*/ 57465 h 75752"/>
              <a:gd name="connsiteX49" fmla="*/ 93859 w 119881"/>
              <a:gd name="connsiteY49" fmla="*/ 55826 h 75752"/>
              <a:gd name="connsiteX50" fmla="*/ 92773 w 119881"/>
              <a:gd name="connsiteY50" fmla="*/ 52654 h 75752"/>
              <a:gd name="connsiteX51" fmla="*/ 92430 w 119881"/>
              <a:gd name="connsiteY51" fmla="*/ 50663 h 75752"/>
              <a:gd name="connsiteX52" fmla="*/ 91678 w 119881"/>
              <a:gd name="connsiteY52" fmla="*/ 50721 h 75752"/>
              <a:gd name="connsiteX53" fmla="*/ 89135 w 119881"/>
              <a:gd name="connsiteY53" fmla="*/ 50149 h 75752"/>
              <a:gd name="connsiteX54" fmla="*/ 87954 w 119881"/>
              <a:gd name="connsiteY54" fmla="*/ 50940 h 75752"/>
              <a:gd name="connsiteX55" fmla="*/ 87944 w 119881"/>
              <a:gd name="connsiteY55" fmla="*/ 54178 h 75752"/>
              <a:gd name="connsiteX56" fmla="*/ 87716 w 119881"/>
              <a:gd name="connsiteY56" fmla="*/ 58217 h 75752"/>
              <a:gd name="connsiteX57" fmla="*/ 86439 w 119881"/>
              <a:gd name="connsiteY57" fmla="*/ 60817 h 75752"/>
              <a:gd name="connsiteX58" fmla="*/ 82896 w 119881"/>
              <a:gd name="connsiteY58" fmla="*/ 65313 h 75752"/>
              <a:gd name="connsiteX59" fmla="*/ 81601 w 119881"/>
              <a:gd name="connsiteY59" fmla="*/ 67266 h 75752"/>
              <a:gd name="connsiteX60" fmla="*/ 81077 w 119881"/>
              <a:gd name="connsiteY60" fmla="*/ 68675 h 75752"/>
              <a:gd name="connsiteX61" fmla="*/ 80972 w 119881"/>
              <a:gd name="connsiteY61" fmla="*/ 69895 h 75752"/>
              <a:gd name="connsiteX62" fmla="*/ 81515 w 119881"/>
              <a:gd name="connsiteY62" fmla="*/ 72000 h 75752"/>
              <a:gd name="connsiteX63" fmla="*/ 82248 w 119881"/>
              <a:gd name="connsiteY63" fmla="*/ 74009 h 75752"/>
              <a:gd name="connsiteX64" fmla="*/ 81629 w 119881"/>
              <a:gd name="connsiteY64" fmla="*/ 75152 h 75752"/>
              <a:gd name="connsiteX65" fmla="*/ 79762 w 119881"/>
              <a:gd name="connsiteY65" fmla="*/ 75752 h 75752"/>
              <a:gd name="connsiteX66" fmla="*/ 78438 w 119881"/>
              <a:gd name="connsiteY66" fmla="*/ 74533 h 75752"/>
              <a:gd name="connsiteX67" fmla="*/ 77933 w 119881"/>
              <a:gd name="connsiteY67" fmla="*/ 72362 h 75752"/>
              <a:gd name="connsiteX68" fmla="*/ 75066 w 119881"/>
              <a:gd name="connsiteY68" fmla="*/ 69390 h 75752"/>
              <a:gd name="connsiteX69" fmla="*/ 76371 w 119881"/>
              <a:gd name="connsiteY69" fmla="*/ 66904 h 75752"/>
              <a:gd name="connsiteX70" fmla="*/ 76152 w 119881"/>
              <a:gd name="connsiteY70" fmla="*/ 66285 h 75752"/>
              <a:gd name="connsiteX71" fmla="*/ 71418 w 119881"/>
              <a:gd name="connsiteY71" fmla="*/ 64989 h 75752"/>
              <a:gd name="connsiteX72" fmla="*/ 69380 w 119881"/>
              <a:gd name="connsiteY72" fmla="*/ 63103 h 75752"/>
              <a:gd name="connsiteX73" fmla="*/ 66522 w 119881"/>
              <a:gd name="connsiteY73" fmla="*/ 59789 h 75752"/>
              <a:gd name="connsiteX74" fmla="*/ 65989 w 119881"/>
              <a:gd name="connsiteY74" fmla="*/ 58369 h 75752"/>
              <a:gd name="connsiteX75" fmla="*/ 66113 w 119881"/>
              <a:gd name="connsiteY75" fmla="*/ 53740 h 75752"/>
              <a:gd name="connsiteX76" fmla="*/ 65942 w 119881"/>
              <a:gd name="connsiteY76" fmla="*/ 52616 h 75752"/>
              <a:gd name="connsiteX77" fmla="*/ 65561 w 119881"/>
              <a:gd name="connsiteY77" fmla="*/ 52064 h 75752"/>
              <a:gd name="connsiteX78" fmla="*/ 64179 w 119881"/>
              <a:gd name="connsiteY78" fmla="*/ 52102 h 75752"/>
              <a:gd name="connsiteX79" fmla="*/ 62246 w 119881"/>
              <a:gd name="connsiteY79" fmla="*/ 53712 h 75752"/>
              <a:gd name="connsiteX80" fmla="*/ 60465 w 119881"/>
              <a:gd name="connsiteY80" fmla="*/ 56112 h 75752"/>
              <a:gd name="connsiteX81" fmla="*/ 56826 w 119881"/>
              <a:gd name="connsiteY81" fmla="*/ 58826 h 75752"/>
              <a:gd name="connsiteX82" fmla="*/ 56445 w 119881"/>
              <a:gd name="connsiteY82" fmla="*/ 59398 h 75752"/>
              <a:gd name="connsiteX83" fmla="*/ 57674 w 119881"/>
              <a:gd name="connsiteY83" fmla="*/ 62036 h 75752"/>
              <a:gd name="connsiteX84" fmla="*/ 57617 w 119881"/>
              <a:gd name="connsiteY84" fmla="*/ 63055 h 75752"/>
              <a:gd name="connsiteX85" fmla="*/ 54645 w 119881"/>
              <a:gd name="connsiteY85" fmla="*/ 67256 h 75752"/>
              <a:gd name="connsiteX86" fmla="*/ 54083 w 119881"/>
              <a:gd name="connsiteY86" fmla="*/ 68637 h 75752"/>
              <a:gd name="connsiteX87" fmla="*/ 50320 w 119881"/>
              <a:gd name="connsiteY87" fmla="*/ 71257 h 75752"/>
              <a:gd name="connsiteX88" fmla="*/ 48596 w 119881"/>
              <a:gd name="connsiteY88" fmla="*/ 72238 h 75752"/>
              <a:gd name="connsiteX89" fmla="*/ 43377 w 119881"/>
              <a:gd name="connsiteY89" fmla="*/ 70314 h 75752"/>
              <a:gd name="connsiteX90" fmla="*/ 41929 w 119881"/>
              <a:gd name="connsiteY90" fmla="*/ 70085 h 75752"/>
              <a:gd name="connsiteX91" fmla="*/ 39605 w 119881"/>
              <a:gd name="connsiteY91" fmla="*/ 71371 h 75752"/>
              <a:gd name="connsiteX92" fmla="*/ 36309 w 119881"/>
              <a:gd name="connsiteY92" fmla="*/ 72600 h 75752"/>
              <a:gd name="connsiteX93" fmla="*/ 30985 w 119881"/>
              <a:gd name="connsiteY93" fmla="*/ 73828 h 75752"/>
              <a:gd name="connsiteX94" fmla="*/ 29023 w 119881"/>
              <a:gd name="connsiteY94" fmla="*/ 72933 h 75752"/>
              <a:gd name="connsiteX95" fmla="*/ 28099 w 119881"/>
              <a:gd name="connsiteY95" fmla="*/ 72095 h 75752"/>
              <a:gd name="connsiteX96" fmla="*/ 27641 w 119881"/>
              <a:gd name="connsiteY96" fmla="*/ 70818 h 75752"/>
              <a:gd name="connsiteX97" fmla="*/ 26298 w 119881"/>
              <a:gd name="connsiteY97" fmla="*/ 68580 h 75752"/>
              <a:gd name="connsiteX98" fmla="*/ 24794 w 119881"/>
              <a:gd name="connsiteY98" fmla="*/ 67256 h 75752"/>
              <a:gd name="connsiteX99" fmla="*/ 23746 w 119881"/>
              <a:gd name="connsiteY99" fmla="*/ 65808 h 75752"/>
              <a:gd name="connsiteX100" fmla="*/ 22345 w 119881"/>
              <a:gd name="connsiteY100" fmla="*/ 64227 h 75752"/>
              <a:gd name="connsiteX101" fmla="*/ 21441 w 119881"/>
              <a:gd name="connsiteY101" fmla="*/ 62903 h 75752"/>
              <a:gd name="connsiteX102" fmla="*/ 22641 w 119881"/>
              <a:gd name="connsiteY102" fmla="*/ 58655 h 75752"/>
              <a:gd name="connsiteX103" fmla="*/ 21765 w 119881"/>
              <a:gd name="connsiteY103" fmla="*/ 57169 h 75752"/>
              <a:gd name="connsiteX104" fmla="*/ 21317 w 119881"/>
              <a:gd name="connsiteY104" fmla="*/ 55036 h 75752"/>
              <a:gd name="connsiteX105" fmla="*/ 21545 w 119881"/>
              <a:gd name="connsiteY105" fmla="*/ 53588 h 75752"/>
              <a:gd name="connsiteX106" fmla="*/ 21069 w 119881"/>
              <a:gd name="connsiteY106" fmla="*/ 53235 h 75752"/>
              <a:gd name="connsiteX107" fmla="*/ 16259 w 119881"/>
              <a:gd name="connsiteY107" fmla="*/ 52397 h 75752"/>
              <a:gd name="connsiteX108" fmla="*/ 12268 w 119881"/>
              <a:gd name="connsiteY108" fmla="*/ 52664 h 75752"/>
              <a:gd name="connsiteX109" fmla="*/ 9410 w 119881"/>
              <a:gd name="connsiteY109" fmla="*/ 54083 h 75752"/>
              <a:gd name="connsiteX110" fmla="*/ 7077 w 119881"/>
              <a:gd name="connsiteY110" fmla="*/ 56445 h 75752"/>
              <a:gd name="connsiteX111" fmla="*/ 6791 w 119881"/>
              <a:gd name="connsiteY111" fmla="*/ 56960 h 75752"/>
              <a:gd name="connsiteX112" fmla="*/ 6944 w 119881"/>
              <a:gd name="connsiteY112" fmla="*/ 57379 h 75752"/>
              <a:gd name="connsiteX113" fmla="*/ 8106 w 119881"/>
              <a:gd name="connsiteY113" fmla="*/ 59541 h 75752"/>
              <a:gd name="connsiteX114" fmla="*/ 6134 w 119881"/>
              <a:gd name="connsiteY114" fmla="*/ 61827 h 75752"/>
              <a:gd name="connsiteX115" fmla="*/ 3115 w 119881"/>
              <a:gd name="connsiteY115" fmla="*/ 63598 h 75752"/>
              <a:gd name="connsiteX116" fmla="*/ 981 w 119881"/>
              <a:gd name="connsiteY116" fmla="*/ 63780 h 75752"/>
              <a:gd name="connsiteX117" fmla="*/ 38 w 119881"/>
              <a:gd name="connsiteY117" fmla="*/ 63437 h 75752"/>
              <a:gd name="connsiteX118" fmla="*/ 0 w 119881"/>
              <a:gd name="connsiteY118" fmla="*/ 60998 h 75752"/>
              <a:gd name="connsiteX119" fmla="*/ 1772 w 119881"/>
              <a:gd name="connsiteY119" fmla="*/ 60093 h 75752"/>
              <a:gd name="connsiteX120" fmla="*/ 3372 w 119881"/>
              <a:gd name="connsiteY120" fmla="*/ 58503 h 75752"/>
              <a:gd name="connsiteX121" fmla="*/ 3905 w 119881"/>
              <a:gd name="connsiteY121" fmla="*/ 56255 h 75752"/>
              <a:gd name="connsiteX122" fmla="*/ 4096 w 119881"/>
              <a:gd name="connsiteY122" fmla="*/ 54674 h 75752"/>
              <a:gd name="connsiteX123" fmla="*/ 2419 w 119881"/>
              <a:gd name="connsiteY123" fmla="*/ 52759 h 75752"/>
              <a:gd name="connsiteX124" fmla="*/ 2619 w 119881"/>
              <a:gd name="connsiteY124" fmla="*/ 51578 h 75752"/>
              <a:gd name="connsiteX125" fmla="*/ 3667 w 119881"/>
              <a:gd name="connsiteY125" fmla="*/ 49349 h 75752"/>
              <a:gd name="connsiteX126" fmla="*/ 4267 w 119881"/>
              <a:gd name="connsiteY126" fmla="*/ 47377 h 75752"/>
              <a:gd name="connsiteX127" fmla="*/ 5105 w 119881"/>
              <a:gd name="connsiteY127" fmla="*/ 45673 h 75752"/>
              <a:gd name="connsiteX128" fmla="*/ 8429 w 119881"/>
              <a:gd name="connsiteY128" fmla="*/ 42882 h 75752"/>
              <a:gd name="connsiteX129" fmla="*/ 11763 w 119881"/>
              <a:gd name="connsiteY129" fmla="*/ 40062 h 75752"/>
              <a:gd name="connsiteX130" fmla="*/ 12268 w 119881"/>
              <a:gd name="connsiteY130" fmla="*/ 37071 h 75752"/>
              <a:gd name="connsiteX131" fmla="*/ 12535 w 119881"/>
              <a:gd name="connsiteY131" fmla="*/ 33423 h 75752"/>
              <a:gd name="connsiteX132" fmla="*/ 13002 w 119881"/>
              <a:gd name="connsiteY132" fmla="*/ 32547 h 75752"/>
              <a:gd name="connsiteX133" fmla="*/ 17507 w 119881"/>
              <a:gd name="connsiteY133" fmla="*/ 30356 h 75752"/>
              <a:gd name="connsiteX134" fmla="*/ 18631 w 119881"/>
              <a:gd name="connsiteY134" fmla="*/ 29489 h 75752"/>
              <a:gd name="connsiteX135" fmla="*/ 19202 w 119881"/>
              <a:gd name="connsiteY135" fmla="*/ 28251 h 75752"/>
              <a:gd name="connsiteX136" fmla="*/ 22746 w 119881"/>
              <a:gd name="connsiteY136" fmla="*/ 24146 h 75752"/>
              <a:gd name="connsiteX137" fmla="*/ 26251 w 119881"/>
              <a:gd name="connsiteY137" fmla="*/ 20069 h 75752"/>
              <a:gd name="connsiteX138" fmla="*/ 26965 w 119881"/>
              <a:gd name="connsiteY138" fmla="*/ 18698 h 75752"/>
              <a:gd name="connsiteX139" fmla="*/ 27556 w 119881"/>
              <a:gd name="connsiteY139" fmla="*/ 17888 h 75752"/>
              <a:gd name="connsiteX140" fmla="*/ 27556 w 119881"/>
              <a:gd name="connsiteY140" fmla="*/ 17221 h 75752"/>
              <a:gd name="connsiteX141" fmla="*/ 27108 w 119881"/>
              <a:gd name="connsiteY141" fmla="*/ 16707 h 75752"/>
              <a:gd name="connsiteX142" fmla="*/ 25441 w 119881"/>
              <a:gd name="connsiteY142" fmla="*/ 16373 h 75752"/>
              <a:gd name="connsiteX143" fmla="*/ 24870 w 119881"/>
              <a:gd name="connsiteY143" fmla="*/ 15069 h 75752"/>
              <a:gd name="connsiteX144" fmla="*/ 26689 w 119881"/>
              <a:gd name="connsiteY144" fmla="*/ 12745 h 75752"/>
              <a:gd name="connsiteX145" fmla="*/ 28965 w 119881"/>
              <a:gd name="connsiteY145" fmla="*/ 11325 h 75752"/>
              <a:gd name="connsiteX146" fmla="*/ 31175 w 119881"/>
              <a:gd name="connsiteY146" fmla="*/ 11297 h 75752"/>
              <a:gd name="connsiteX147" fmla="*/ 32061 w 119881"/>
              <a:gd name="connsiteY147" fmla="*/ 11954 h 75752"/>
              <a:gd name="connsiteX148" fmla="*/ 32013 w 119881"/>
              <a:gd name="connsiteY148" fmla="*/ 12725 h 75752"/>
              <a:gd name="connsiteX149" fmla="*/ 32966 w 119881"/>
              <a:gd name="connsiteY149" fmla="*/ 13554 h 75752"/>
              <a:gd name="connsiteX150" fmla="*/ 34642 w 119881"/>
              <a:gd name="connsiteY150" fmla="*/ 13821 h 75752"/>
              <a:gd name="connsiteX151" fmla="*/ 36709 w 119881"/>
              <a:gd name="connsiteY151" fmla="*/ 13535 h 75752"/>
              <a:gd name="connsiteX152" fmla="*/ 38767 w 119881"/>
              <a:gd name="connsiteY152" fmla="*/ 12668 h 75752"/>
              <a:gd name="connsiteX153" fmla="*/ 40034 w 119881"/>
              <a:gd name="connsiteY153" fmla="*/ 10601 h 75752"/>
              <a:gd name="connsiteX154" fmla="*/ 40767 w 119881"/>
              <a:gd name="connsiteY154" fmla="*/ 9030 h 75752"/>
              <a:gd name="connsiteX155" fmla="*/ 43996 w 119881"/>
              <a:gd name="connsiteY155" fmla="*/ 7239 h 75752"/>
              <a:gd name="connsiteX156" fmla="*/ 46196 w 119881"/>
              <a:gd name="connsiteY156" fmla="*/ 8144 h 75752"/>
              <a:gd name="connsiteX157" fmla="*/ 52321 w 119881"/>
              <a:gd name="connsiteY157" fmla="*/ 8382 h 75752"/>
              <a:gd name="connsiteX158" fmla="*/ 56779 w 119881"/>
              <a:gd name="connsiteY158" fmla="*/ 7896 h 75752"/>
              <a:gd name="connsiteX159" fmla="*/ 59569 w 119881"/>
              <a:gd name="connsiteY159" fmla="*/ 6677 h 75752"/>
              <a:gd name="connsiteX160" fmla="*/ 63027 w 119881"/>
              <a:gd name="connsiteY160" fmla="*/ 6677 h 75752"/>
              <a:gd name="connsiteX161" fmla="*/ 65351 w 119881"/>
              <a:gd name="connsiteY161" fmla="*/ 7363 h 75752"/>
              <a:gd name="connsiteX162" fmla="*/ 65761 w 119881"/>
              <a:gd name="connsiteY162" fmla="*/ 7258 h 75752"/>
              <a:gd name="connsiteX163" fmla="*/ 66408 w 119881"/>
              <a:gd name="connsiteY163" fmla="*/ 7106 h 75752"/>
              <a:gd name="connsiteX164" fmla="*/ 67037 w 119881"/>
              <a:gd name="connsiteY164" fmla="*/ 6448 h 75752"/>
              <a:gd name="connsiteX165" fmla="*/ 69227 w 119881"/>
              <a:gd name="connsiteY165" fmla="*/ 6001 h 75752"/>
              <a:gd name="connsiteX166" fmla="*/ 69513 w 119881"/>
              <a:gd name="connsiteY166" fmla="*/ 5458 h 75752"/>
              <a:gd name="connsiteX167" fmla="*/ 69428 w 119881"/>
              <a:gd name="connsiteY167" fmla="*/ 4896 h 75752"/>
              <a:gd name="connsiteX168" fmla="*/ 69037 w 119881"/>
              <a:gd name="connsiteY168" fmla="*/ 4620 h 75752"/>
              <a:gd name="connsiteX169" fmla="*/ 66342 w 119881"/>
              <a:gd name="connsiteY169" fmla="*/ 4906 h 75752"/>
              <a:gd name="connsiteX170" fmla="*/ 65322 w 119881"/>
              <a:gd name="connsiteY170" fmla="*/ 4477 h 75752"/>
              <a:gd name="connsiteX171" fmla="*/ 65056 w 119881"/>
              <a:gd name="connsiteY171" fmla="*/ 3486 h 75752"/>
              <a:gd name="connsiteX172" fmla="*/ 65922 w 119881"/>
              <a:gd name="connsiteY172" fmla="*/ 1753 h 75752"/>
              <a:gd name="connsiteX173" fmla="*/ 67904 w 119881"/>
              <a:gd name="connsiteY173" fmla="*/ 343 h 75752"/>
              <a:gd name="connsiteX174" fmla="*/ 69580 w 119881"/>
              <a:gd name="connsiteY174" fmla="*/ 0 h 75752"/>
              <a:gd name="connsiteX175" fmla="*/ 70790 w 119881"/>
              <a:gd name="connsiteY175" fmla="*/ 381 h 75752"/>
              <a:gd name="connsiteX176" fmla="*/ 73733 w 119881"/>
              <a:gd name="connsiteY176" fmla="*/ 2991 h 75752"/>
              <a:gd name="connsiteX177" fmla="*/ 74447 w 119881"/>
              <a:gd name="connsiteY177" fmla="*/ 3077 h 75752"/>
              <a:gd name="connsiteX178" fmla="*/ 74857 w 119881"/>
              <a:gd name="connsiteY178" fmla="*/ 2610 h 75752"/>
              <a:gd name="connsiteX179" fmla="*/ 75467 w 119881"/>
              <a:gd name="connsiteY179" fmla="*/ 2343 h 75752"/>
              <a:gd name="connsiteX180" fmla="*/ 76486 w 119881"/>
              <a:gd name="connsiteY180" fmla="*/ 2858 h 75752"/>
              <a:gd name="connsiteX181" fmla="*/ 77629 w 119881"/>
              <a:gd name="connsiteY181" fmla="*/ 4477 h 75752"/>
              <a:gd name="connsiteX182" fmla="*/ 77829 w 119881"/>
              <a:gd name="connsiteY182" fmla="*/ 4724 h 75752"/>
              <a:gd name="connsiteX183" fmla="*/ 84411 w 119881"/>
              <a:gd name="connsiteY183" fmla="*/ 4153 h 75752"/>
              <a:gd name="connsiteX184" fmla="*/ 85887 w 119881"/>
              <a:gd name="connsiteY184" fmla="*/ 4153 h 75752"/>
              <a:gd name="connsiteX185" fmla="*/ 90354 w 119881"/>
              <a:gd name="connsiteY185" fmla="*/ 7001 h 75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119881" h="75752">
                <a:moveTo>
                  <a:pt x="95012" y="9944"/>
                </a:moveTo>
                <a:lnTo>
                  <a:pt x="95821" y="10459"/>
                </a:lnTo>
                <a:lnTo>
                  <a:pt x="97726" y="12202"/>
                </a:lnTo>
                <a:lnTo>
                  <a:pt x="97279" y="15164"/>
                </a:lnTo>
                <a:lnTo>
                  <a:pt x="95097" y="19926"/>
                </a:lnTo>
                <a:lnTo>
                  <a:pt x="93945" y="23774"/>
                </a:lnTo>
                <a:lnTo>
                  <a:pt x="93821" y="26718"/>
                </a:lnTo>
                <a:lnTo>
                  <a:pt x="94040" y="28099"/>
                </a:lnTo>
                <a:lnTo>
                  <a:pt x="94431" y="28080"/>
                </a:lnTo>
                <a:lnTo>
                  <a:pt x="96507" y="28289"/>
                </a:lnTo>
                <a:lnTo>
                  <a:pt x="97574" y="28289"/>
                </a:lnTo>
                <a:lnTo>
                  <a:pt x="100917" y="29080"/>
                </a:lnTo>
                <a:lnTo>
                  <a:pt x="103594" y="30242"/>
                </a:lnTo>
                <a:lnTo>
                  <a:pt x="104118" y="31471"/>
                </a:lnTo>
                <a:lnTo>
                  <a:pt x="104460" y="32966"/>
                </a:lnTo>
                <a:lnTo>
                  <a:pt x="107652" y="35005"/>
                </a:lnTo>
                <a:lnTo>
                  <a:pt x="111300" y="36328"/>
                </a:lnTo>
                <a:lnTo>
                  <a:pt x="112538" y="35900"/>
                </a:lnTo>
                <a:lnTo>
                  <a:pt x="117072" y="31128"/>
                </a:lnTo>
                <a:lnTo>
                  <a:pt x="118824" y="31918"/>
                </a:lnTo>
                <a:lnTo>
                  <a:pt x="119882" y="34452"/>
                </a:lnTo>
                <a:lnTo>
                  <a:pt x="119834" y="35805"/>
                </a:lnTo>
                <a:lnTo>
                  <a:pt x="118586" y="40862"/>
                </a:lnTo>
                <a:lnTo>
                  <a:pt x="118367" y="43577"/>
                </a:lnTo>
                <a:lnTo>
                  <a:pt x="119443" y="45368"/>
                </a:lnTo>
                <a:lnTo>
                  <a:pt x="119558" y="46768"/>
                </a:lnTo>
                <a:lnTo>
                  <a:pt x="119243" y="48035"/>
                </a:lnTo>
                <a:lnTo>
                  <a:pt x="117434" y="48149"/>
                </a:lnTo>
                <a:lnTo>
                  <a:pt x="115005" y="47463"/>
                </a:lnTo>
                <a:lnTo>
                  <a:pt x="112957" y="45282"/>
                </a:lnTo>
                <a:lnTo>
                  <a:pt x="111404" y="45549"/>
                </a:lnTo>
                <a:lnTo>
                  <a:pt x="110061" y="46111"/>
                </a:lnTo>
                <a:lnTo>
                  <a:pt x="109366" y="48168"/>
                </a:lnTo>
                <a:lnTo>
                  <a:pt x="108756" y="50625"/>
                </a:lnTo>
                <a:lnTo>
                  <a:pt x="108956" y="51988"/>
                </a:lnTo>
                <a:lnTo>
                  <a:pt x="109918" y="53045"/>
                </a:lnTo>
                <a:lnTo>
                  <a:pt x="110661" y="55274"/>
                </a:lnTo>
                <a:lnTo>
                  <a:pt x="111204" y="58169"/>
                </a:lnTo>
                <a:lnTo>
                  <a:pt x="111614" y="59493"/>
                </a:lnTo>
                <a:lnTo>
                  <a:pt x="111166" y="60084"/>
                </a:lnTo>
                <a:lnTo>
                  <a:pt x="109890" y="60484"/>
                </a:lnTo>
                <a:lnTo>
                  <a:pt x="108823" y="60093"/>
                </a:lnTo>
                <a:lnTo>
                  <a:pt x="106975" y="56636"/>
                </a:lnTo>
                <a:lnTo>
                  <a:pt x="106108" y="55321"/>
                </a:lnTo>
                <a:lnTo>
                  <a:pt x="104642" y="55083"/>
                </a:lnTo>
                <a:lnTo>
                  <a:pt x="102060" y="55931"/>
                </a:lnTo>
                <a:lnTo>
                  <a:pt x="98098" y="57864"/>
                </a:lnTo>
                <a:lnTo>
                  <a:pt x="96488" y="57855"/>
                </a:lnTo>
                <a:lnTo>
                  <a:pt x="95135" y="57465"/>
                </a:lnTo>
                <a:lnTo>
                  <a:pt x="93859" y="55826"/>
                </a:lnTo>
                <a:lnTo>
                  <a:pt x="92773" y="52654"/>
                </a:lnTo>
                <a:lnTo>
                  <a:pt x="92430" y="50663"/>
                </a:lnTo>
                <a:lnTo>
                  <a:pt x="91678" y="50721"/>
                </a:lnTo>
                <a:lnTo>
                  <a:pt x="89135" y="50149"/>
                </a:lnTo>
                <a:lnTo>
                  <a:pt x="87954" y="50940"/>
                </a:lnTo>
                <a:lnTo>
                  <a:pt x="87944" y="54178"/>
                </a:lnTo>
                <a:lnTo>
                  <a:pt x="87716" y="58217"/>
                </a:lnTo>
                <a:lnTo>
                  <a:pt x="86439" y="60817"/>
                </a:lnTo>
                <a:lnTo>
                  <a:pt x="82896" y="65313"/>
                </a:lnTo>
                <a:lnTo>
                  <a:pt x="81601" y="67266"/>
                </a:lnTo>
                <a:lnTo>
                  <a:pt x="81077" y="68675"/>
                </a:lnTo>
                <a:lnTo>
                  <a:pt x="80972" y="69895"/>
                </a:lnTo>
                <a:lnTo>
                  <a:pt x="81515" y="72000"/>
                </a:lnTo>
                <a:lnTo>
                  <a:pt x="82248" y="74009"/>
                </a:lnTo>
                <a:lnTo>
                  <a:pt x="81629" y="75152"/>
                </a:lnTo>
                <a:lnTo>
                  <a:pt x="79762" y="75752"/>
                </a:lnTo>
                <a:lnTo>
                  <a:pt x="78438" y="74533"/>
                </a:lnTo>
                <a:lnTo>
                  <a:pt x="77933" y="72362"/>
                </a:lnTo>
                <a:lnTo>
                  <a:pt x="75066" y="69390"/>
                </a:lnTo>
                <a:lnTo>
                  <a:pt x="76371" y="66904"/>
                </a:lnTo>
                <a:lnTo>
                  <a:pt x="76152" y="66285"/>
                </a:lnTo>
                <a:lnTo>
                  <a:pt x="71418" y="64989"/>
                </a:lnTo>
                <a:lnTo>
                  <a:pt x="69380" y="63103"/>
                </a:lnTo>
                <a:lnTo>
                  <a:pt x="66522" y="59789"/>
                </a:lnTo>
                <a:lnTo>
                  <a:pt x="65989" y="58369"/>
                </a:lnTo>
                <a:lnTo>
                  <a:pt x="66113" y="53740"/>
                </a:lnTo>
                <a:lnTo>
                  <a:pt x="65942" y="52616"/>
                </a:lnTo>
                <a:lnTo>
                  <a:pt x="65561" y="52064"/>
                </a:lnTo>
                <a:lnTo>
                  <a:pt x="64179" y="52102"/>
                </a:lnTo>
                <a:lnTo>
                  <a:pt x="62246" y="53712"/>
                </a:lnTo>
                <a:lnTo>
                  <a:pt x="60465" y="56112"/>
                </a:lnTo>
                <a:lnTo>
                  <a:pt x="56826" y="58826"/>
                </a:lnTo>
                <a:lnTo>
                  <a:pt x="56445" y="59398"/>
                </a:lnTo>
                <a:lnTo>
                  <a:pt x="57674" y="62036"/>
                </a:lnTo>
                <a:lnTo>
                  <a:pt x="57617" y="63055"/>
                </a:lnTo>
                <a:lnTo>
                  <a:pt x="54645" y="67256"/>
                </a:lnTo>
                <a:lnTo>
                  <a:pt x="54083" y="68637"/>
                </a:lnTo>
                <a:lnTo>
                  <a:pt x="50320" y="71257"/>
                </a:lnTo>
                <a:lnTo>
                  <a:pt x="48596" y="72238"/>
                </a:lnTo>
                <a:lnTo>
                  <a:pt x="43377" y="70314"/>
                </a:lnTo>
                <a:lnTo>
                  <a:pt x="41929" y="70085"/>
                </a:lnTo>
                <a:lnTo>
                  <a:pt x="39605" y="71371"/>
                </a:lnTo>
                <a:lnTo>
                  <a:pt x="36309" y="72600"/>
                </a:lnTo>
                <a:lnTo>
                  <a:pt x="30985" y="73828"/>
                </a:lnTo>
                <a:lnTo>
                  <a:pt x="29023" y="72933"/>
                </a:lnTo>
                <a:lnTo>
                  <a:pt x="28099" y="72095"/>
                </a:lnTo>
                <a:lnTo>
                  <a:pt x="27641" y="70818"/>
                </a:lnTo>
                <a:lnTo>
                  <a:pt x="26298" y="68580"/>
                </a:lnTo>
                <a:lnTo>
                  <a:pt x="24794" y="67256"/>
                </a:lnTo>
                <a:lnTo>
                  <a:pt x="23746" y="65808"/>
                </a:lnTo>
                <a:lnTo>
                  <a:pt x="22345" y="64227"/>
                </a:lnTo>
                <a:lnTo>
                  <a:pt x="21441" y="62903"/>
                </a:lnTo>
                <a:lnTo>
                  <a:pt x="22641" y="58655"/>
                </a:lnTo>
                <a:lnTo>
                  <a:pt x="21765" y="57169"/>
                </a:lnTo>
                <a:lnTo>
                  <a:pt x="21317" y="55036"/>
                </a:lnTo>
                <a:lnTo>
                  <a:pt x="21545" y="53588"/>
                </a:lnTo>
                <a:lnTo>
                  <a:pt x="21069" y="53235"/>
                </a:lnTo>
                <a:lnTo>
                  <a:pt x="16259" y="52397"/>
                </a:lnTo>
                <a:lnTo>
                  <a:pt x="12268" y="52664"/>
                </a:lnTo>
                <a:lnTo>
                  <a:pt x="9410" y="54083"/>
                </a:lnTo>
                <a:lnTo>
                  <a:pt x="7077" y="56445"/>
                </a:lnTo>
                <a:lnTo>
                  <a:pt x="6791" y="56960"/>
                </a:lnTo>
                <a:lnTo>
                  <a:pt x="6944" y="57379"/>
                </a:lnTo>
                <a:lnTo>
                  <a:pt x="8106" y="59541"/>
                </a:lnTo>
                <a:lnTo>
                  <a:pt x="6134" y="61827"/>
                </a:lnTo>
                <a:lnTo>
                  <a:pt x="3115" y="63598"/>
                </a:lnTo>
                <a:lnTo>
                  <a:pt x="981" y="63780"/>
                </a:lnTo>
                <a:lnTo>
                  <a:pt x="38" y="63437"/>
                </a:lnTo>
                <a:lnTo>
                  <a:pt x="0" y="60998"/>
                </a:lnTo>
                <a:lnTo>
                  <a:pt x="1772" y="60093"/>
                </a:lnTo>
                <a:lnTo>
                  <a:pt x="3372" y="58503"/>
                </a:lnTo>
                <a:lnTo>
                  <a:pt x="3905" y="56255"/>
                </a:lnTo>
                <a:lnTo>
                  <a:pt x="4096" y="54674"/>
                </a:lnTo>
                <a:lnTo>
                  <a:pt x="2419" y="52759"/>
                </a:lnTo>
                <a:lnTo>
                  <a:pt x="2619" y="51578"/>
                </a:lnTo>
                <a:lnTo>
                  <a:pt x="3667" y="49349"/>
                </a:lnTo>
                <a:lnTo>
                  <a:pt x="4267" y="47377"/>
                </a:lnTo>
                <a:lnTo>
                  <a:pt x="5105" y="45673"/>
                </a:lnTo>
                <a:lnTo>
                  <a:pt x="8429" y="42882"/>
                </a:lnTo>
                <a:lnTo>
                  <a:pt x="11763" y="40062"/>
                </a:lnTo>
                <a:lnTo>
                  <a:pt x="12268" y="37071"/>
                </a:lnTo>
                <a:lnTo>
                  <a:pt x="12535" y="33423"/>
                </a:lnTo>
                <a:lnTo>
                  <a:pt x="13002" y="32547"/>
                </a:lnTo>
                <a:lnTo>
                  <a:pt x="17507" y="30356"/>
                </a:lnTo>
                <a:lnTo>
                  <a:pt x="18631" y="29489"/>
                </a:lnTo>
                <a:lnTo>
                  <a:pt x="19202" y="28251"/>
                </a:lnTo>
                <a:lnTo>
                  <a:pt x="22746" y="24146"/>
                </a:lnTo>
                <a:lnTo>
                  <a:pt x="26251" y="20069"/>
                </a:lnTo>
                <a:lnTo>
                  <a:pt x="26965" y="18698"/>
                </a:lnTo>
                <a:lnTo>
                  <a:pt x="27556" y="17888"/>
                </a:lnTo>
                <a:lnTo>
                  <a:pt x="27556" y="17221"/>
                </a:lnTo>
                <a:lnTo>
                  <a:pt x="27108" y="16707"/>
                </a:lnTo>
                <a:lnTo>
                  <a:pt x="25441" y="16373"/>
                </a:lnTo>
                <a:lnTo>
                  <a:pt x="24870" y="15069"/>
                </a:lnTo>
                <a:lnTo>
                  <a:pt x="26689" y="12745"/>
                </a:lnTo>
                <a:lnTo>
                  <a:pt x="28965" y="11325"/>
                </a:lnTo>
                <a:lnTo>
                  <a:pt x="31175" y="11297"/>
                </a:lnTo>
                <a:lnTo>
                  <a:pt x="32061" y="11954"/>
                </a:lnTo>
                <a:lnTo>
                  <a:pt x="32013" y="12725"/>
                </a:lnTo>
                <a:lnTo>
                  <a:pt x="32966" y="13554"/>
                </a:lnTo>
                <a:lnTo>
                  <a:pt x="34642" y="13821"/>
                </a:lnTo>
                <a:lnTo>
                  <a:pt x="36709" y="13535"/>
                </a:lnTo>
                <a:lnTo>
                  <a:pt x="38767" y="12668"/>
                </a:lnTo>
                <a:lnTo>
                  <a:pt x="40034" y="10601"/>
                </a:lnTo>
                <a:lnTo>
                  <a:pt x="40767" y="9030"/>
                </a:lnTo>
                <a:lnTo>
                  <a:pt x="43996" y="7239"/>
                </a:lnTo>
                <a:lnTo>
                  <a:pt x="46196" y="8144"/>
                </a:lnTo>
                <a:lnTo>
                  <a:pt x="52321" y="8382"/>
                </a:lnTo>
                <a:lnTo>
                  <a:pt x="56779" y="7896"/>
                </a:lnTo>
                <a:lnTo>
                  <a:pt x="59569" y="6677"/>
                </a:lnTo>
                <a:lnTo>
                  <a:pt x="63027" y="6677"/>
                </a:lnTo>
                <a:lnTo>
                  <a:pt x="65351" y="7363"/>
                </a:lnTo>
                <a:lnTo>
                  <a:pt x="65761" y="7258"/>
                </a:lnTo>
                <a:lnTo>
                  <a:pt x="66408" y="7106"/>
                </a:lnTo>
                <a:lnTo>
                  <a:pt x="67037" y="6448"/>
                </a:lnTo>
                <a:lnTo>
                  <a:pt x="69227" y="6001"/>
                </a:lnTo>
                <a:lnTo>
                  <a:pt x="69513" y="5458"/>
                </a:lnTo>
                <a:lnTo>
                  <a:pt x="69428" y="4896"/>
                </a:lnTo>
                <a:lnTo>
                  <a:pt x="69037" y="4620"/>
                </a:lnTo>
                <a:lnTo>
                  <a:pt x="66342" y="4906"/>
                </a:lnTo>
                <a:lnTo>
                  <a:pt x="65322" y="4477"/>
                </a:lnTo>
                <a:lnTo>
                  <a:pt x="65056" y="3486"/>
                </a:lnTo>
                <a:lnTo>
                  <a:pt x="65922" y="1753"/>
                </a:lnTo>
                <a:lnTo>
                  <a:pt x="67904" y="343"/>
                </a:lnTo>
                <a:lnTo>
                  <a:pt x="69580" y="0"/>
                </a:lnTo>
                <a:lnTo>
                  <a:pt x="70790" y="381"/>
                </a:lnTo>
                <a:lnTo>
                  <a:pt x="73733" y="2991"/>
                </a:lnTo>
                <a:lnTo>
                  <a:pt x="74447" y="3077"/>
                </a:lnTo>
                <a:lnTo>
                  <a:pt x="74857" y="2610"/>
                </a:lnTo>
                <a:lnTo>
                  <a:pt x="75467" y="2343"/>
                </a:lnTo>
                <a:lnTo>
                  <a:pt x="76486" y="2858"/>
                </a:lnTo>
                <a:lnTo>
                  <a:pt x="77629" y="4477"/>
                </a:lnTo>
                <a:lnTo>
                  <a:pt x="77829" y="4724"/>
                </a:lnTo>
                <a:lnTo>
                  <a:pt x="84411" y="4153"/>
                </a:lnTo>
                <a:lnTo>
                  <a:pt x="85887" y="4153"/>
                </a:lnTo>
                <a:lnTo>
                  <a:pt x="90354" y="7001"/>
                </a:ln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4" name="Forme libre : forme 13">
            <a:extLst>
              <a:ext uri="{FF2B5EF4-FFF2-40B4-BE49-F238E27FC236}">
                <a16:creationId xmlns:a16="http://schemas.microsoft.com/office/drawing/2014/main" id="{5B723A3F-E427-893C-688E-049205B1297D}"/>
              </a:ext>
            </a:extLst>
          </p:cNvPr>
          <p:cNvSpPr/>
          <p:nvPr/>
        </p:nvSpPr>
        <p:spPr>
          <a:xfrm>
            <a:off x="5943064" y="3500236"/>
            <a:ext cx="235088" cy="132657"/>
          </a:xfrm>
          <a:custGeom>
            <a:avLst/>
            <a:gdLst>
              <a:gd name="connsiteX0" fmla="*/ 72705 w 180241"/>
              <a:gd name="connsiteY0" fmla="*/ 7563 h 101708"/>
              <a:gd name="connsiteX1" fmla="*/ 75010 w 180241"/>
              <a:gd name="connsiteY1" fmla="*/ 7458 h 101708"/>
              <a:gd name="connsiteX2" fmla="*/ 77343 w 180241"/>
              <a:gd name="connsiteY2" fmla="*/ 6401 h 101708"/>
              <a:gd name="connsiteX3" fmla="*/ 77533 w 180241"/>
              <a:gd name="connsiteY3" fmla="*/ 4677 h 101708"/>
              <a:gd name="connsiteX4" fmla="*/ 77381 w 180241"/>
              <a:gd name="connsiteY4" fmla="*/ 1457 h 101708"/>
              <a:gd name="connsiteX5" fmla="*/ 77629 w 180241"/>
              <a:gd name="connsiteY5" fmla="*/ 991 h 101708"/>
              <a:gd name="connsiteX6" fmla="*/ 81163 w 180241"/>
              <a:gd name="connsiteY6" fmla="*/ 1905 h 101708"/>
              <a:gd name="connsiteX7" fmla="*/ 84706 w 180241"/>
              <a:gd name="connsiteY7" fmla="*/ 3353 h 101708"/>
              <a:gd name="connsiteX8" fmla="*/ 85201 w 180241"/>
              <a:gd name="connsiteY8" fmla="*/ 6553 h 101708"/>
              <a:gd name="connsiteX9" fmla="*/ 86154 w 180241"/>
              <a:gd name="connsiteY9" fmla="*/ 8125 h 101708"/>
              <a:gd name="connsiteX10" fmla="*/ 87278 w 180241"/>
              <a:gd name="connsiteY10" fmla="*/ 9563 h 101708"/>
              <a:gd name="connsiteX11" fmla="*/ 88344 w 180241"/>
              <a:gd name="connsiteY11" fmla="*/ 10211 h 101708"/>
              <a:gd name="connsiteX12" fmla="*/ 90202 w 180241"/>
              <a:gd name="connsiteY12" fmla="*/ 10316 h 101708"/>
              <a:gd name="connsiteX13" fmla="*/ 95012 w 180241"/>
              <a:gd name="connsiteY13" fmla="*/ 12211 h 101708"/>
              <a:gd name="connsiteX14" fmla="*/ 97326 w 180241"/>
              <a:gd name="connsiteY14" fmla="*/ 12592 h 101708"/>
              <a:gd name="connsiteX15" fmla="*/ 99698 w 180241"/>
              <a:gd name="connsiteY15" fmla="*/ 13906 h 101708"/>
              <a:gd name="connsiteX16" fmla="*/ 101699 w 180241"/>
              <a:gd name="connsiteY16" fmla="*/ 15240 h 101708"/>
              <a:gd name="connsiteX17" fmla="*/ 103156 w 180241"/>
              <a:gd name="connsiteY17" fmla="*/ 15526 h 101708"/>
              <a:gd name="connsiteX18" fmla="*/ 103832 w 180241"/>
              <a:gd name="connsiteY18" fmla="*/ 16983 h 101708"/>
              <a:gd name="connsiteX19" fmla="*/ 104728 w 180241"/>
              <a:gd name="connsiteY19" fmla="*/ 17983 h 101708"/>
              <a:gd name="connsiteX20" fmla="*/ 106308 w 180241"/>
              <a:gd name="connsiteY20" fmla="*/ 17212 h 101708"/>
              <a:gd name="connsiteX21" fmla="*/ 112081 w 180241"/>
              <a:gd name="connsiteY21" fmla="*/ 16135 h 101708"/>
              <a:gd name="connsiteX22" fmla="*/ 114157 w 180241"/>
              <a:gd name="connsiteY22" fmla="*/ 17574 h 101708"/>
              <a:gd name="connsiteX23" fmla="*/ 115557 w 180241"/>
              <a:gd name="connsiteY23" fmla="*/ 19098 h 101708"/>
              <a:gd name="connsiteX24" fmla="*/ 115748 w 180241"/>
              <a:gd name="connsiteY24" fmla="*/ 19574 h 101708"/>
              <a:gd name="connsiteX25" fmla="*/ 115014 w 180241"/>
              <a:gd name="connsiteY25" fmla="*/ 20917 h 101708"/>
              <a:gd name="connsiteX26" fmla="*/ 114662 w 180241"/>
              <a:gd name="connsiteY26" fmla="*/ 21955 h 101708"/>
              <a:gd name="connsiteX27" fmla="*/ 114062 w 180241"/>
              <a:gd name="connsiteY27" fmla="*/ 22650 h 101708"/>
              <a:gd name="connsiteX28" fmla="*/ 112081 w 180241"/>
              <a:gd name="connsiteY28" fmla="*/ 23384 h 101708"/>
              <a:gd name="connsiteX29" fmla="*/ 110966 w 180241"/>
              <a:gd name="connsiteY29" fmla="*/ 24565 h 101708"/>
              <a:gd name="connsiteX30" fmla="*/ 110147 w 180241"/>
              <a:gd name="connsiteY30" fmla="*/ 25860 h 101708"/>
              <a:gd name="connsiteX31" fmla="*/ 110699 w 180241"/>
              <a:gd name="connsiteY31" fmla="*/ 27099 h 101708"/>
              <a:gd name="connsiteX32" fmla="*/ 112319 w 180241"/>
              <a:gd name="connsiteY32" fmla="*/ 28032 h 101708"/>
              <a:gd name="connsiteX33" fmla="*/ 113462 w 180241"/>
              <a:gd name="connsiteY33" fmla="*/ 28242 h 101708"/>
              <a:gd name="connsiteX34" fmla="*/ 113900 w 180241"/>
              <a:gd name="connsiteY34" fmla="*/ 29146 h 101708"/>
              <a:gd name="connsiteX35" fmla="*/ 117567 w 180241"/>
              <a:gd name="connsiteY35" fmla="*/ 33185 h 101708"/>
              <a:gd name="connsiteX36" fmla="*/ 120482 w 180241"/>
              <a:gd name="connsiteY36" fmla="*/ 38452 h 101708"/>
              <a:gd name="connsiteX37" fmla="*/ 121615 w 180241"/>
              <a:gd name="connsiteY37" fmla="*/ 39271 h 101708"/>
              <a:gd name="connsiteX38" fmla="*/ 122682 w 180241"/>
              <a:gd name="connsiteY38" fmla="*/ 39471 h 101708"/>
              <a:gd name="connsiteX39" fmla="*/ 123920 w 180241"/>
              <a:gd name="connsiteY39" fmla="*/ 38700 h 101708"/>
              <a:gd name="connsiteX40" fmla="*/ 125349 w 180241"/>
              <a:gd name="connsiteY40" fmla="*/ 36986 h 101708"/>
              <a:gd name="connsiteX41" fmla="*/ 127035 w 180241"/>
              <a:gd name="connsiteY41" fmla="*/ 35757 h 101708"/>
              <a:gd name="connsiteX42" fmla="*/ 128464 w 180241"/>
              <a:gd name="connsiteY42" fmla="*/ 35118 h 101708"/>
              <a:gd name="connsiteX43" fmla="*/ 130988 w 180241"/>
              <a:gd name="connsiteY43" fmla="*/ 33661 h 101708"/>
              <a:gd name="connsiteX44" fmla="*/ 131093 w 180241"/>
              <a:gd name="connsiteY44" fmla="*/ 32718 h 101708"/>
              <a:gd name="connsiteX45" fmla="*/ 128978 w 180241"/>
              <a:gd name="connsiteY45" fmla="*/ 29146 h 101708"/>
              <a:gd name="connsiteX46" fmla="*/ 127769 w 180241"/>
              <a:gd name="connsiteY46" fmla="*/ 26251 h 101708"/>
              <a:gd name="connsiteX47" fmla="*/ 128054 w 180241"/>
              <a:gd name="connsiteY47" fmla="*/ 25727 h 101708"/>
              <a:gd name="connsiteX48" fmla="*/ 130750 w 180241"/>
              <a:gd name="connsiteY48" fmla="*/ 26184 h 101708"/>
              <a:gd name="connsiteX49" fmla="*/ 135322 w 180241"/>
              <a:gd name="connsiteY49" fmla="*/ 27765 h 101708"/>
              <a:gd name="connsiteX50" fmla="*/ 142361 w 180241"/>
              <a:gd name="connsiteY50" fmla="*/ 32918 h 101708"/>
              <a:gd name="connsiteX51" fmla="*/ 143628 w 180241"/>
              <a:gd name="connsiteY51" fmla="*/ 32918 h 101708"/>
              <a:gd name="connsiteX52" fmla="*/ 146085 w 180241"/>
              <a:gd name="connsiteY52" fmla="*/ 32528 h 101708"/>
              <a:gd name="connsiteX53" fmla="*/ 148762 w 180241"/>
              <a:gd name="connsiteY53" fmla="*/ 31690 h 101708"/>
              <a:gd name="connsiteX54" fmla="*/ 150038 w 180241"/>
              <a:gd name="connsiteY54" fmla="*/ 30737 h 101708"/>
              <a:gd name="connsiteX55" fmla="*/ 150514 w 180241"/>
              <a:gd name="connsiteY55" fmla="*/ 31090 h 101708"/>
              <a:gd name="connsiteX56" fmla="*/ 150924 w 180241"/>
              <a:gd name="connsiteY56" fmla="*/ 33919 h 101708"/>
              <a:gd name="connsiteX57" fmla="*/ 150219 w 180241"/>
              <a:gd name="connsiteY57" fmla="*/ 35471 h 101708"/>
              <a:gd name="connsiteX58" fmla="*/ 147019 w 180241"/>
              <a:gd name="connsiteY58" fmla="*/ 36976 h 101708"/>
              <a:gd name="connsiteX59" fmla="*/ 147199 w 180241"/>
              <a:gd name="connsiteY59" fmla="*/ 37719 h 101708"/>
              <a:gd name="connsiteX60" fmla="*/ 148028 w 180241"/>
              <a:gd name="connsiteY60" fmla="*/ 38681 h 101708"/>
              <a:gd name="connsiteX61" fmla="*/ 149466 w 180241"/>
              <a:gd name="connsiteY61" fmla="*/ 39329 h 101708"/>
              <a:gd name="connsiteX62" fmla="*/ 151219 w 180241"/>
              <a:gd name="connsiteY62" fmla="*/ 41157 h 101708"/>
              <a:gd name="connsiteX63" fmla="*/ 152429 w 180241"/>
              <a:gd name="connsiteY63" fmla="*/ 43244 h 101708"/>
              <a:gd name="connsiteX64" fmla="*/ 153486 w 180241"/>
              <a:gd name="connsiteY64" fmla="*/ 44205 h 101708"/>
              <a:gd name="connsiteX65" fmla="*/ 154648 w 180241"/>
              <a:gd name="connsiteY65" fmla="*/ 44663 h 101708"/>
              <a:gd name="connsiteX66" fmla="*/ 157563 w 180241"/>
              <a:gd name="connsiteY66" fmla="*/ 43548 h 101708"/>
              <a:gd name="connsiteX67" fmla="*/ 158382 w 180241"/>
              <a:gd name="connsiteY67" fmla="*/ 42672 h 101708"/>
              <a:gd name="connsiteX68" fmla="*/ 158753 w 180241"/>
              <a:gd name="connsiteY68" fmla="*/ 42053 h 101708"/>
              <a:gd name="connsiteX69" fmla="*/ 159315 w 180241"/>
              <a:gd name="connsiteY69" fmla="*/ 42186 h 101708"/>
              <a:gd name="connsiteX70" fmla="*/ 160334 w 180241"/>
              <a:gd name="connsiteY70" fmla="*/ 43215 h 101708"/>
              <a:gd name="connsiteX71" fmla="*/ 160649 w 180241"/>
              <a:gd name="connsiteY71" fmla="*/ 43815 h 101708"/>
              <a:gd name="connsiteX72" fmla="*/ 163478 w 180241"/>
              <a:gd name="connsiteY72" fmla="*/ 44977 h 101708"/>
              <a:gd name="connsiteX73" fmla="*/ 165116 w 180241"/>
              <a:gd name="connsiteY73" fmla="*/ 46406 h 101708"/>
              <a:gd name="connsiteX74" fmla="*/ 166154 w 180241"/>
              <a:gd name="connsiteY74" fmla="*/ 47072 h 101708"/>
              <a:gd name="connsiteX75" fmla="*/ 167306 w 180241"/>
              <a:gd name="connsiteY75" fmla="*/ 46425 h 101708"/>
              <a:gd name="connsiteX76" fmla="*/ 171793 w 180241"/>
              <a:gd name="connsiteY76" fmla="*/ 47558 h 101708"/>
              <a:gd name="connsiteX77" fmla="*/ 173031 w 180241"/>
              <a:gd name="connsiteY77" fmla="*/ 48511 h 101708"/>
              <a:gd name="connsiteX78" fmla="*/ 173422 w 180241"/>
              <a:gd name="connsiteY78" fmla="*/ 50092 h 101708"/>
              <a:gd name="connsiteX79" fmla="*/ 173203 w 180241"/>
              <a:gd name="connsiteY79" fmla="*/ 51054 h 101708"/>
              <a:gd name="connsiteX80" fmla="*/ 173889 w 180241"/>
              <a:gd name="connsiteY80" fmla="*/ 53530 h 101708"/>
              <a:gd name="connsiteX81" fmla="*/ 179566 w 180241"/>
              <a:gd name="connsiteY81" fmla="*/ 59465 h 101708"/>
              <a:gd name="connsiteX82" fmla="*/ 180156 w 180241"/>
              <a:gd name="connsiteY82" fmla="*/ 62494 h 101708"/>
              <a:gd name="connsiteX83" fmla="*/ 180242 w 180241"/>
              <a:gd name="connsiteY83" fmla="*/ 63703 h 101708"/>
              <a:gd name="connsiteX84" fmla="*/ 179566 w 180241"/>
              <a:gd name="connsiteY84" fmla="*/ 63760 h 101708"/>
              <a:gd name="connsiteX85" fmla="*/ 178032 w 180241"/>
              <a:gd name="connsiteY85" fmla="*/ 64389 h 101708"/>
              <a:gd name="connsiteX86" fmla="*/ 176070 w 180241"/>
              <a:gd name="connsiteY86" fmla="*/ 64618 h 101708"/>
              <a:gd name="connsiteX87" fmla="*/ 173945 w 180241"/>
              <a:gd name="connsiteY87" fmla="*/ 64494 h 101708"/>
              <a:gd name="connsiteX88" fmla="*/ 172288 w 180241"/>
              <a:gd name="connsiteY88" fmla="*/ 65589 h 101708"/>
              <a:gd name="connsiteX89" fmla="*/ 170726 w 180241"/>
              <a:gd name="connsiteY89" fmla="*/ 67380 h 101708"/>
              <a:gd name="connsiteX90" fmla="*/ 169107 w 180241"/>
              <a:gd name="connsiteY90" fmla="*/ 68618 h 101708"/>
              <a:gd name="connsiteX91" fmla="*/ 168240 w 180241"/>
              <a:gd name="connsiteY91" fmla="*/ 69713 h 101708"/>
              <a:gd name="connsiteX92" fmla="*/ 167745 w 180241"/>
              <a:gd name="connsiteY92" fmla="*/ 70856 h 101708"/>
              <a:gd name="connsiteX93" fmla="*/ 162297 w 180241"/>
              <a:gd name="connsiteY93" fmla="*/ 74076 h 101708"/>
              <a:gd name="connsiteX94" fmla="*/ 161535 w 180241"/>
              <a:gd name="connsiteY94" fmla="*/ 75419 h 101708"/>
              <a:gd name="connsiteX95" fmla="*/ 160935 w 180241"/>
              <a:gd name="connsiteY95" fmla="*/ 77248 h 101708"/>
              <a:gd name="connsiteX96" fmla="*/ 160677 w 180241"/>
              <a:gd name="connsiteY96" fmla="*/ 79705 h 101708"/>
              <a:gd name="connsiteX97" fmla="*/ 160296 w 180241"/>
              <a:gd name="connsiteY97" fmla="*/ 81915 h 101708"/>
              <a:gd name="connsiteX98" fmla="*/ 159353 w 180241"/>
              <a:gd name="connsiteY98" fmla="*/ 83077 h 101708"/>
              <a:gd name="connsiteX99" fmla="*/ 156410 w 180241"/>
              <a:gd name="connsiteY99" fmla="*/ 84077 h 101708"/>
              <a:gd name="connsiteX100" fmla="*/ 155677 w 180241"/>
              <a:gd name="connsiteY100" fmla="*/ 84611 h 101708"/>
              <a:gd name="connsiteX101" fmla="*/ 155124 w 180241"/>
              <a:gd name="connsiteY101" fmla="*/ 85735 h 101708"/>
              <a:gd name="connsiteX102" fmla="*/ 153476 w 180241"/>
              <a:gd name="connsiteY102" fmla="*/ 87459 h 101708"/>
              <a:gd name="connsiteX103" fmla="*/ 151543 w 180241"/>
              <a:gd name="connsiteY103" fmla="*/ 89097 h 101708"/>
              <a:gd name="connsiteX104" fmla="*/ 147980 w 180241"/>
              <a:gd name="connsiteY104" fmla="*/ 90973 h 101708"/>
              <a:gd name="connsiteX105" fmla="*/ 144161 w 180241"/>
              <a:gd name="connsiteY105" fmla="*/ 91545 h 101708"/>
              <a:gd name="connsiteX106" fmla="*/ 139198 w 180241"/>
              <a:gd name="connsiteY106" fmla="*/ 90935 h 101708"/>
              <a:gd name="connsiteX107" fmla="*/ 136293 w 180241"/>
              <a:gd name="connsiteY107" fmla="*/ 90202 h 101708"/>
              <a:gd name="connsiteX108" fmla="*/ 134893 w 180241"/>
              <a:gd name="connsiteY108" fmla="*/ 91011 h 101708"/>
              <a:gd name="connsiteX109" fmla="*/ 132950 w 180241"/>
              <a:gd name="connsiteY109" fmla="*/ 93450 h 101708"/>
              <a:gd name="connsiteX110" fmla="*/ 130874 w 180241"/>
              <a:gd name="connsiteY110" fmla="*/ 97641 h 101708"/>
              <a:gd name="connsiteX111" fmla="*/ 130007 w 180241"/>
              <a:gd name="connsiteY111" fmla="*/ 100794 h 101708"/>
              <a:gd name="connsiteX112" fmla="*/ 129340 w 180241"/>
              <a:gd name="connsiteY112" fmla="*/ 99898 h 101708"/>
              <a:gd name="connsiteX113" fmla="*/ 128149 w 180241"/>
              <a:gd name="connsiteY113" fmla="*/ 96564 h 101708"/>
              <a:gd name="connsiteX114" fmla="*/ 126807 w 180241"/>
              <a:gd name="connsiteY114" fmla="*/ 96136 h 101708"/>
              <a:gd name="connsiteX115" fmla="*/ 124968 w 180241"/>
              <a:gd name="connsiteY115" fmla="*/ 95821 h 101708"/>
              <a:gd name="connsiteX116" fmla="*/ 123587 w 180241"/>
              <a:gd name="connsiteY116" fmla="*/ 95326 h 101708"/>
              <a:gd name="connsiteX117" fmla="*/ 120596 w 180241"/>
              <a:gd name="connsiteY117" fmla="*/ 93402 h 101708"/>
              <a:gd name="connsiteX118" fmla="*/ 119063 w 180241"/>
              <a:gd name="connsiteY118" fmla="*/ 92821 h 101708"/>
              <a:gd name="connsiteX119" fmla="*/ 117300 w 180241"/>
              <a:gd name="connsiteY119" fmla="*/ 92669 h 101708"/>
              <a:gd name="connsiteX120" fmla="*/ 115624 w 180241"/>
              <a:gd name="connsiteY120" fmla="*/ 93802 h 101708"/>
              <a:gd name="connsiteX121" fmla="*/ 114347 w 180241"/>
              <a:gd name="connsiteY121" fmla="*/ 95136 h 101708"/>
              <a:gd name="connsiteX122" fmla="*/ 110395 w 180241"/>
              <a:gd name="connsiteY122" fmla="*/ 95117 h 101708"/>
              <a:gd name="connsiteX123" fmla="*/ 106061 w 180241"/>
              <a:gd name="connsiteY123" fmla="*/ 94497 h 101708"/>
              <a:gd name="connsiteX124" fmla="*/ 99860 w 180241"/>
              <a:gd name="connsiteY124" fmla="*/ 90059 h 101708"/>
              <a:gd name="connsiteX125" fmla="*/ 98250 w 180241"/>
              <a:gd name="connsiteY125" fmla="*/ 90021 h 101708"/>
              <a:gd name="connsiteX126" fmla="*/ 96536 w 180241"/>
              <a:gd name="connsiteY126" fmla="*/ 90221 h 101708"/>
              <a:gd name="connsiteX127" fmla="*/ 93821 w 180241"/>
              <a:gd name="connsiteY127" fmla="*/ 89163 h 101708"/>
              <a:gd name="connsiteX128" fmla="*/ 88573 w 180241"/>
              <a:gd name="connsiteY128" fmla="*/ 86287 h 101708"/>
              <a:gd name="connsiteX129" fmla="*/ 86106 w 180241"/>
              <a:gd name="connsiteY129" fmla="*/ 85611 h 101708"/>
              <a:gd name="connsiteX130" fmla="*/ 84553 w 180241"/>
              <a:gd name="connsiteY130" fmla="*/ 86020 h 101708"/>
              <a:gd name="connsiteX131" fmla="*/ 83134 w 180241"/>
              <a:gd name="connsiteY131" fmla="*/ 86668 h 101708"/>
              <a:gd name="connsiteX132" fmla="*/ 82115 w 180241"/>
              <a:gd name="connsiteY132" fmla="*/ 86744 h 101708"/>
              <a:gd name="connsiteX133" fmla="*/ 81534 w 180241"/>
              <a:gd name="connsiteY133" fmla="*/ 85801 h 101708"/>
              <a:gd name="connsiteX134" fmla="*/ 79581 w 180241"/>
              <a:gd name="connsiteY134" fmla="*/ 84649 h 101708"/>
              <a:gd name="connsiteX135" fmla="*/ 77619 w 180241"/>
              <a:gd name="connsiteY135" fmla="*/ 84515 h 101708"/>
              <a:gd name="connsiteX136" fmla="*/ 77057 w 180241"/>
              <a:gd name="connsiteY136" fmla="*/ 85211 h 101708"/>
              <a:gd name="connsiteX137" fmla="*/ 76390 w 180241"/>
              <a:gd name="connsiteY137" fmla="*/ 91545 h 101708"/>
              <a:gd name="connsiteX138" fmla="*/ 75733 w 180241"/>
              <a:gd name="connsiteY138" fmla="*/ 93831 h 101708"/>
              <a:gd name="connsiteX139" fmla="*/ 73038 w 180241"/>
              <a:gd name="connsiteY139" fmla="*/ 93726 h 101708"/>
              <a:gd name="connsiteX140" fmla="*/ 72076 w 180241"/>
              <a:gd name="connsiteY140" fmla="*/ 94793 h 101708"/>
              <a:gd name="connsiteX141" fmla="*/ 69961 w 180241"/>
              <a:gd name="connsiteY141" fmla="*/ 97850 h 101708"/>
              <a:gd name="connsiteX142" fmla="*/ 69552 w 180241"/>
              <a:gd name="connsiteY142" fmla="*/ 100774 h 101708"/>
              <a:gd name="connsiteX143" fmla="*/ 65875 w 180241"/>
              <a:gd name="connsiteY143" fmla="*/ 100212 h 101708"/>
              <a:gd name="connsiteX144" fmla="*/ 64132 w 180241"/>
              <a:gd name="connsiteY144" fmla="*/ 99717 h 101708"/>
              <a:gd name="connsiteX145" fmla="*/ 62589 w 180241"/>
              <a:gd name="connsiteY145" fmla="*/ 100089 h 101708"/>
              <a:gd name="connsiteX146" fmla="*/ 60893 w 180241"/>
              <a:gd name="connsiteY146" fmla="*/ 101708 h 101708"/>
              <a:gd name="connsiteX147" fmla="*/ 56140 w 180241"/>
              <a:gd name="connsiteY147" fmla="*/ 101613 h 101708"/>
              <a:gd name="connsiteX148" fmla="*/ 52378 w 180241"/>
              <a:gd name="connsiteY148" fmla="*/ 100651 h 101708"/>
              <a:gd name="connsiteX149" fmla="*/ 50768 w 180241"/>
              <a:gd name="connsiteY149" fmla="*/ 97022 h 101708"/>
              <a:gd name="connsiteX150" fmla="*/ 49044 w 180241"/>
              <a:gd name="connsiteY150" fmla="*/ 95574 h 101708"/>
              <a:gd name="connsiteX151" fmla="*/ 46872 w 180241"/>
              <a:gd name="connsiteY151" fmla="*/ 94297 h 101708"/>
              <a:gd name="connsiteX152" fmla="*/ 46120 w 180241"/>
              <a:gd name="connsiteY152" fmla="*/ 94002 h 101708"/>
              <a:gd name="connsiteX153" fmla="*/ 44920 w 180241"/>
              <a:gd name="connsiteY153" fmla="*/ 92021 h 101708"/>
              <a:gd name="connsiteX154" fmla="*/ 42644 w 180241"/>
              <a:gd name="connsiteY154" fmla="*/ 89563 h 101708"/>
              <a:gd name="connsiteX155" fmla="*/ 38976 w 180241"/>
              <a:gd name="connsiteY155" fmla="*/ 86192 h 101708"/>
              <a:gd name="connsiteX156" fmla="*/ 36119 w 180241"/>
              <a:gd name="connsiteY156" fmla="*/ 86363 h 101708"/>
              <a:gd name="connsiteX157" fmla="*/ 35062 w 180241"/>
              <a:gd name="connsiteY157" fmla="*/ 85468 h 101708"/>
              <a:gd name="connsiteX158" fmla="*/ 34595 w 180241"/>
              <a:gd name="connsiteY158" fmla="*/ 84229 h 101708"/>
              <a:gd name="connsiteX159" fmla="*/ 33404 w 180241"/>
              <a:gd name="connsiteY159" fmla="*/ 82087 h 101708"/>
              <a:gd name="connsiteX160" fmla="*/ 32052 w 180241"/>
              <a:gd name="connsiteY160" fmla="*/ 80601 h 101708"/>
              <a:gd name="connsiteX161" fmla="*/ 30423 w 180241"/>
              <a:gd name="connsiteY161" fmla="*/ 80020 h 101708"/>
              <a:gd name="connsiteX162" fmla="*/ 28089 w 180241"/>
              <a:gd name="connsiteY162" fmla="*/ 78114 h 101708"/>
              <a:gd name="connsiteX163" fmla="*/ 24965 w 180241"/>
              <a:gd name="connsiteY163" fmla="*/ 73961 h 101708"/>
              <a:gd name="connsiteX164" fmla="*/ 22108 w 180241"/>
              <a:gd name="connsiteY164" fmla="*/ 71085 h 101708"/>
              <a:gd name="connsiteX165" fmla="*/ 19345 w 180241"/>
              <a:gd name="connsiteY165" fmla="*/ 71133 h 101708"/>
              <a:gd name="connsiteX166" fmla="*/ 17602 w 180241"/>
              <a:gd name="connsiteY166" fmla="*/ 69628 h 101708"/>
              <a:gd name="connsiteX167" fmla="*/ 15812 w 180241"/>
              <a:gd name="connsiteY167" fmla="*/ 67646 h 101708"/>
              <a:gd name="connsiteX168" fmla="*/ 14497 w 180241"/>
              <a:gd name="connsiteY168" fmla="*/ 65732 h 101708"/>
              <a:gd name="connsiteX169" fmla="*/ 12459 w 180241"/>
              <a:gd name="connsiteY169" fmla="*/ 61065 h 101708"/>
              <a:gd name="connsiteX170" fmla="*/ 10973 w 180241"/>
              <a:gd name="connsiteY170" fmla="*/ 58398 h 101708"/>
              <a:gd name="connsiteX171" fmla="*/ 9820 w 180241"/>
              <a:gd name="connsiteY171" fmla="*/ 56750 h 101708"/>
              <a:gd name="connsiteX172" fmla="*/ 8515 w 180241"/>
              <a:gd name="connsiteY172" fmla="*/ 55378 h 101708"/>
              <a:gd name="connsiteX173" fmla="*/ 8039 w 180241"/>
              <a:gd name="connsiteY173" fmla="*/ 54283 h 101708"/>
              <a:gd name="connsiteX174" fmla="*/ 9639 w 180241"/>
              <a:gd name="connsiteY174" fmla="*/ 51787 h 101708"/>
              <a:gd name="connsiteX175" fmla="*/ 10220 w 180241"/>
              <a:gd name="connsiteY175" fmla="*/ 50549 h 101708"/>
              <a:gd name="connsiteX176" fmla="*/ 10906 w 180241"/>
              <a:gd name="connsiteY176" fmla="*/ 49597 h 101708"/>
              <a:gd name="connsiteX177" fmla="*/ 11306 w 180241"/>
              <a:gd name="connsiteY177" fmla="*/ 48587 h 101708"/>
              <a:gd name="connsiteX178" fmla="*/ 11287 w 180241"/>
              <a:gd name="connsiteY178" fmla="*/ 47835 h 101708"/>
              <a:gd name="connsiteX179" fmla="*/ 9839 w 180241"/>
              <a:gd name="connsiteY179" fmla="*/ 45358 h 101708"/>
              <a:gd name="connsiteX180" fmla="*/ 7877 w 180241"/>
              <a:gd name="connsiteY180" fmla="*/ 43567 h 101708"/>
              <a:gd name="connsiteX181" fmla="*/ 4991 w 180241"/>
              <a:gd name="connsiteY181" fmla="*/ 41758 h 101708"/>
              <a:gd name="connsiteX182" fmla="*/ 3153 w 180241"/>
              <a:gd name="connsiteY182" fmla="*/ 39462 h 101708"/>
              <a:gd name="connsiteX183" fmla="*/ 2486 w 180241"/>
              <a:gd name="connsiteY183" fmla="*/ 37367 h 101708"/>
              <a:gd name="connsiteX184" fmla="*/ 2286 w 180241"/>
              <a:gd name="connsiteY184" fmla="*/ 36204 h 101708"/>
              <a:gd name="connsiteX185" fmla="*/ 1019 w 180241"/>
              <a:gd name="connsiteY185" fmla="*/ 34642 h 101708"/>
              <a:gd name="connsiteX186" fmla="*/ 0 w 180241"/>
              <a:gd name="connsiteY186" fmla="*/ 32347 h 101708"/>
              <a:gd name="connsiteX187" fmla="*/ 0 w 180241"/>
              <a:gd name="connsiteY187" fmla="*/ 30966 h 101708"/>
              <a:gd name="connsiteX188" fmla="*/ 257 w 180241"/>
              <a:gd name="connsiteY188" fmla="*/ 30575 h 101708"/>
              <a:gd name="connsiteX189" fmla="*/ 1210 w 180241"/>
              <a:gd name="connsiteY189" fmla="*/ 30575 h 101708"/>
              <a:gd name="connsiteX190" fmla="*/ 2277 w 180241"/>
              <a:gd name="connsiteY190" fmla="*/ 31518 h 101708"/>
              <a:gd name="connsiteX191" fmla="*/ 3781 w 180241"/>
              <a:gd name="connsiteY191" fmla="*/ 33328 h 101708"/>
              <a:gd name="connsiteX192" fmla="*/ 5020 w 180241"/>
              <a:gd name="connsiteY192" fmla="*/ 35976 h 101708"/>
              <a:gd name="connsiteX193" fmla="*/ 5772 w 180241"/>
              <a:gd name="connsiteY193" fmla="*/ 34966 h 101708"/>
              <a:gd name="connsiteX194" fmla="*/ 7191 w 180241"/>
              <a:gd name="connsiteY194" fmla="*/ 32147 h 101708"/>
              <a:gd name="connsiteX195" fmla="*/ 9706 w 180241"/>
              <a:gd name="connsiteY195" fmla="*/ 28956 h 101708"/>
              <a:gd name="connsiteX196" fmla="*/ 12278 w 180241"/>
              <a:gd name="connsiteY196" fmla="*/ 27127 h 101708"/>
              <a:gd name="connsiteX197" fmla="*/ 14592 w 180241"/>
              <a:gd name="connsiteY197" fmla="*/ 26975 h 101708"/>
              <a:gd name="connsiteX198" fmla="*/ 16488 w 180241"/>
              <a:gd name="connsiteY198" fmla="*/ 26470 h 101708"/>
              <a:gd name="connsiteX199" fmla="*/ 18059 w 180241"/>
              <a:gd name="connsiteY199" fmla="*/ 25555 h 101708"/>
              <a:gd name="connsiteX200" fmla="*/ 20812 w 180241"/>
              <a:gd name="connsiteY200" fmla="*/ 25927 h 101708"/>
              <a:gd name="connsiteX201" fmla="*/ 22803 w 180241"/>
              <a:gd name="connsiteY201" fmla="*/ 26584 h 101708"/>
              <a:gd name="connsiteX202" fmla="*/ 23451 w 180241"/>
              <a:gd name="connsiteY202" fmla="*/ 26175 h 101708"/>
              <a:gd name="connsiteX203" fmla="*/ 24260 w 180241"/>
              <a:gd name="connsiteY203" fmla="*/ 24508 h 101708"/>
              <a:gd name="connsiteX204" fmla="*/ 24774 w 180241"/>
              <a:gd name="connsiteY204" fmla="*/ 23070 h 101708"/>
              <a:gd name="connsiteX205" fmla="*/ 29175 w 180241"/>
              <a:gd name="connsiteY205" fmla="*/ 22231 h 101708"/>
              <a:gd name="connsiteX206" fmla="*/ 30690 w 180241"/>
              <a:gd name="connsiteY206" fmla="*/ 19450 h 101708"/>
              <a:gd name="connsiteX207" fmla="*/ 31537 w 180241"/>
              <a:gd name="connsiteY207" fmla="*/ 19460 h 101708"/>
              <a:gd name="connsiteX208" fmla="*/ 32519 w 180241"/>
              <a:gd name="connsiteY208" fmla="*/ 19050 h 101708"/>
              <a:gd name="connsiteX209" fmla="*/ 33452 w 180241"/>
              <a:gd name="connsiteY209" fmla="*/ 17993 h 101708"/>
              <a:gd name="connsiteX210" fmla="*/ 34347 w 180241"/>
              <a:gd name="connsiteY210" fmla="*/ 17554 h 101708"/>
              <a:gd name="connsiteX211" fmla="*/ 35062 w 180241"/>
              <a:gd name="connsiteY211" fmla="*/ 18088 h 101708"/>
              <a:gd name="connsiteX212" fmla="*/ 35995 w 180241"/>
              <a:gd name="connsiteY212" fmla="*/ 18431 h 101708"/>
              <a:gd name="connsiteX213" fmla="*/ 36967 w 180241"/>
              <a:gd name="connsiteY213" fmla="*/ 17764 h 101708"/>
              <a:gd name="connsiteX214" fmla="*/ 38414 w 180241"/>
              <a:gd name="connsiteY214" fmla="*/ 14564 h 101708"/>
              <a:gd name="connsiteX215" fmla="*/ 39214 w 180241"/>
              <a:gd name="connsiteY215" fmla="*/ 14068 h 101708"/>
              <a:gd name="connsiteX216" fmla="*/ 43081 w 180241"/>
              <a:gd name="connsiteY216" fmla="*/ 13573 h 101708"/>
              <a:gd name="connsiteX217" fmla="*/ 48358 w 180241"/>
              <a:gd name="connsiteY217" fmla="*/ 11687 h 101708"/>
              <a:gd name="connsiteX218" fmla="*/ 51026 w 180241"/>
              <a:gd name="connsiteY218" fmla="*/ 10011 h 101708"/>
              <a:gd name="connsiteX219" fmla="*/ 53645 w 180241"/>
              <a:gd name="connsiteY219" fmla="*/ 9096 h 101708"/>
              <a:gd name="connsiteX220" fmla="*/ 56464 w 180241"/>
              <a:gd name="connsiteY220" fmla="*/ 7468 h 101708"/>
              <a:gd name="connsiteX221" fmla="*/ 60931 w 180241"/>
              <a:gd name="connsiteY221" fmla="*/ 5887 h 101708"/>
              <a:gd name="connsiteX222" fmla="*/ 61141 w 180241"/>
              <a:gd name="connsiteY222" fmla="*/ 5239 h 101708"/>
              <a:gd name="connsiteX223" fmla="*/ 59074 w 180241"/>
              <a:gd name="connsiteY223" fmla="*/ 3610 h 101708"/>
              <a:gd name="connsiteX224" fmla="*/ 58379 w 180241"/>
              <a:gd name="connsiteY224" fmla="*/ 2581 h 101708"/>
              <a:gd name="connsiteX225" fmla="*/ 57903 w 180241"/>
              <a:gd name="connsiteY225" fmla="*/ 1524 h 101708"/>
              <a:gd name="connsiteX226" fmla="*/ 58636 w 180241"/>
              <a:gd name="connsiteY226" fmla="*/ 352 h 101708"/>
              <a:gd name="connsiteX227" fmla="*/ 59617 w 180241"/>
              <a:gd name="connsiteY227" fmla="*/ 0 h 101708"/>
              <a:gd name="connsiteX228" fmla="*/ 60884 w 180241"/>
              <a:gd name="connsiteY228" fmla="*/ 486 h 101708"/>
              <a:gd name="connsiteX229" fmla="*/ 64627 w 180241"/>
              <a:gd name="connsiteY229" fmla="*/ 1181 h 101708"/>
              <a:gd name="connsiteX230" fmla="*/ 65656 w 180241"/>
              <a:gd name="connsiteY230" fmla="*/ 1857 h 101708"/>
              <a:gd name="connsiteX231" fmla="*/ 66027 w 180241"/>
              <a:gd name="connsiteY231" fmla="*/ 3505 h 101708"/>
              <a:gd name="connsiteX232" fmla="*/ 66980 w 180241"/>
              <a:gd name="connsiteY232" fmla="*/ 5039 h 101708"/>
              <a:gd name="connsiteX233" fmla="*/ 67742 w 180241"/>
              <a:gd name="connsiteY233" fmla="*/ 5210 h 101708"/>
              <a:gd name="connsiteX234" fmla="*/ 67465 w 180241"/>
              <a:gd name="connsiteY234" fmla="*/ 7706 h 101708"/>
              <a:gd name="connsiteX235" fmla="*/ 68656 w 180241"/>
              <a:gd name="connsiteY235" fmla="*/ 8677 h 101708"/>
              <a:gd name="connsiteX236" fmla="*/ 70409 w 180241"/>
              <a:gd name="connsiteY236" fmla="*/ 9430 h 101708"/>
              <a:gd name="connsiteX237" fmla="*/ 71562 w 180241"/>
              <a:gd name="connsiteY237" fmla="*/ 9277 h 101708"/>
              <a:gd name="connsiteX238" fmla="*/ 72390 w 180241"/>
              <a:gd name="connsiteY238" fmla="*/ 8268 h 101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</a:cxnLst>
            <a:rect l="l" t="t" r="r" b="b"/>
            <a:pathLst>
              <a:path w="180241" h="101708">
                <a:moveTo>
                  <a:pt x="72705" y="7563"/>
                </a:moveTo>
                <a:lnTo>
                  <a:pt x="75010" y="7458"/>
                </a:lnTo>
                <a:lnTo>
                  <a:pt x="77343" y="6401"/>
                </a:lnTo>
                <a:lnTo>
                  <a:pt x="77533" y="4677"/>
                </a:lnTo>
                <a:lnTo>
                  <a:pt x="77381" y="1457"/>
                </a:lnTo>
                <a:lnTo>
                  <a:pt x="77629" y="991"/>
                </a:lnTo>
                <a:lnTo>
                  <a:pt x="81163" y="1905"/>
                </a:lnTo>
                <a:lnTo>
                  <a:pt x="84706" y="3353"/>
                </a:lnTo>
                <a:lnTo>
                  <a:pt x="85201" y="6553"/>
                </a:lnTo>
                <a:lnTo>
                  <a:pt x="86154" y="8125"/>
                </a:lnTo>
                <a:lnTo>
                  <a:pt x="87278" y="9563"/>
                </a:lnTo>
                <a:lnTo>
                  <a:pt x="88344" y="10211"/>
                </a:lnTo>
                <a:lnTo>
                  <a:pt x="90202" y="10316"/>
                </a:lnTo>
                <a:lnTo>
                  <a:pt x="95012" y="12211"/>
                </a:lnTo>
                <a:lnTo>
                  <a:pt x="97326" y="12592"/>
                </a:lnTo>
                <a:lnTo>
                  <a:pt x="99698" y="13906"/>
                </a:lnTo>
                <a:lnTo>
                  <a:pt x="101699" y="15240"/>
                </a:lnTo>
                <a:lnTo>
                  <a:pt x="103156" y="15526"/>
                </a:lnTo>
                <a:lnTo>
                  <a:pt x="103832" y="16983"/>
                </a:lnTo>
                <a:lnTo>
                  <a:pt x="104728" y="17983"/>
                </a:lnTo>
                <a:lnTo>
                  <a:pt x="106308" y="17212"/>
                </a:lnTo>
                <a:lnTo>
                  <a:pt x="112081" y="16135"/>
                </a:lnTo>
                <a:lnTo>
                  <a:pt x="114157" y="17574"/>
                </a:lnTo>
                <a:lnTo>
                  <a:pt x="115557" y="19098"/>
                </a:lnTo>
                <a:lnTo>
                  <a:pt x="115748" y="19574"/>
                </a:lnTo>
                <a:lnTo>
                  <a:pt x="115014" y="20917"/>
                </a:lnTo>
                <a:lnTo>
                  <a:pt x="114662" y="21955"/>
                </a:lnTo>
                <a:lnTo>
                  <a:pt x="114062" y="22650"/>
                </a:lnTo>
                <a:lnTo>
                  <a:pt x="112081" y="23384"/>
                </a:lnTo>
                <a:lnTo>
                  <a:pt x="110966" y="24565"/>
                </a:lnTo>
                <a:lnTo>
                  <a:pt x="110147" y="25860"/>
                </a:lnTo>
                <a:lnTo>
                  <a:pt x="110699" y="27099"/>
                </a:lnTo>
                <a:lnTo>
                  <a:pt x="112319" y="28032"/>
                </a:lnTo>
                <a:lnTo>
                  <a:pt x="113462" y="28242"/>
                </a:lnTo>
                <a:lnTo>
                  <a:pt x="113900" y="29146"/>
                </a:lnTo>
                <a:lnTo>
                  <a:pt x="117567" y="33185"/>
                </a:lnTo>
                <a:lnTo>
                  <a:pt x="120482" y="38452"/>
                </a:lnTo>
                <a:lnTo>
                  <a:pt x="121615" y="39271"/>
                </a:lnTo>
                <a:lnTo>
                  <a:pt x="122682" y="39471"/>
                </a:lnTo>
                <a:lnTo>
                  <a:pt x="123920" y="38700"/>
                </a:lnTo>
                <a:lnTo>
                  <a:pt x="125349" y="36986"/>
                </a:lnTo>
                <a:lnTo>
                  <a:pt x="127035" y="35757"/>
                </a:lnTo>
                <a:lnTo>
                  <a:pt x="128464" y="35118"/>
                </a:lnTo>
                <a:lnTo>
                  <a:pt x="130988" y="33661"/>
                </a:lnTo>
                <a:lnTo>
                  <a:pt x="131093" y="32718"/>
                </a:lnTo>
                <a:lnTo>
                  <a:pt x="128978" y="29146"/>
                </a:lnTo>
                <a:lnTo>
                  <a:pt x="127769" y="26251"/>
                </a:lnTo>
                <a:lnTo>
                  <a:pt x="128054" y="25727"/>
                </a:lnTo>
                <a:lnTo>
                  <a:pt x="130750" y="26184"/>
                </a:lnTo>
                <a:lnTo>
                  <a:pt x="135322" y="27765"/>
                </a:lnTo>
                <a:lnTo>
                  <a:pt x="142361" y="32918"/>
                </a:lnTo>
                <a:lnTo>
                  <a:pt x="143628" y="32918"/>
                </a:lnTo>
                <a:lnTo>
                  <a:pt x="146085" y="32528"/>
                </a:lnTo>
                <a:lnTo>
                  <a:pt x="148762" y="31690"/>
                </a:lnTo>
                <a:lnTo>
                  <a:pt x="150038" y="30737"/>
                </a:lnTo>
                <a:lnTo>
                  <a:pt x="150514" y="31090"/>
                </a:lnTo>
                <a:lnTo>
                  <a:pt x="150924" y="33919"/>
                </a:lnTo>
                <a:lnTo>
                  <a:pt x="150219" y="35471"/>
                </a:lnTo>
                <a:lnTo>
                  <a:pt x="147019" y="36976"/>
                </a:lnTo>
                <a:lnTo>
                  <a:pt x="147199" y="37719"/>
                </a:lnTo>
                <a:lnTo>
                  <a:pt x="148028" y="38681"/>
                </a:lnTo>
                <a:lnTo>
                  <a:pt x="149466" y="39329"/>
                </a:lnTo>
                <a:lnTo>
                  <a:pt x="151219" y="41157"/>
                </a:lnTo>
                <a:lnTo>
                  <a:pt x="152429" y="43244"/>
                </a:lnTo>
                <a:lnTo>
                  <a:pt x="153486" y="44205"/>
                </a:lnTo>
                <a:lnTo>
                  <a:pt x="154648" y="44663"/>
                </a:lnTo>
                <a:lnTo>
                  <a:pt x="157563" y="43548"/>
                </a:lnTo>
                <a:lnTo>
                  <a:pt x="158382" y="42672"/>
                </a:lnTo>
                <a:lnTo>
                  <a:pt x="158753" y="42053"/>
                </a:lnTo>
                <a:lnTo>
                  <a:pt x="159315" y="42186"/>
                </a:lnTo>
                <a:lnTo>
                  <a:pt x="160334" y="43215"/>
                </a:lnTo>
                <a:lnTo>
                  <a:pt x="160649" y="43815"/>
                </a:lnTo>
                <a:lnTo>
                  <a:pt x="163478" y="44977"/>
                </a:lnTo>
                <a:lnTo>
                  <a:pt x="165116" y="46406"/>
                </a:lnTo>
                <a:lnTo>
                  <a:pt x="166154" y="47072"/>
                </a:lnTo>
                <a:lnTo>
                  <a:pt x="167306" y="46425"/>
                </a:lnTo>
                <a:lnTo>
                  <a:pt x="171793" y="47558"/>
                </a:lnTo>
                <a:lnTo>
                  <a:pt x="173031" y="48511"/>
                </a:lnTo>
                <a:lnTo>
                  <a:pt x="173422" y="50092"/>
                </a:lnTo>
                <a:lnTo>
                  <a:pt x="173203" y="51054"/>
                </a:lnTo>
                <a:lnTo>
                  <a:pt x="173889" y="53530"/>
                </a:lnTo>
                <a:lnTo>
                  <a:pt x="179566" y="59465"/>
                </a:lnTo>
                <a:lnTo>
                  <a:pt x="180156" y="62494"/>
                </a:lnTo>
                <a:lnTo>
                  <a:pt x="180242" y="63703"/>
                </a:lnTo>
                <a:lnTo>
                  <a:pt x="179566" y="63760"/>
                </a:lnTo>
                <a:lnTo>
                  <a:pt x="178032" y="64389"/>
                </a:lnTo>
                <a:lnTo>
                  <a:pt x="176070" y="64618"/>
                </a:lnTo>
                <a:lnTo>
                  <a:pt x="173945" y="64494"/>
                </a:lnTo>
                <a:lnTo>
                  <a:pt x="172288" y="65589"/>
                </a:lnTo>
                <a:lnTo>
                  <a:pt x="170726" y="67380"/>
                </a:lnTo>
                <a:lnTo>
                  <a:pt x="169107" y="68618"/>
                </a:lnTo>
                <a:lnTo>
                  <a:pt x="168240" y="69713"/>
                </a:lnTo>
                <a:lnTo>
                  <a:pt x="167745" y="70856"/>
                </a:lnTo>
                <a:lnTo>
                  <a:pt x="162297" y="74076"/>
                </a:lnTo>
                <a:lnTo>
                  <a:pt x="161535" y="75419"/>
                </a:lnTo>
                <a:lnTo>
                  <a:pt x="160935" y="77248"/>
                </a:lnTo>
                <a:lnTo>
                  <a:pt x="160677" y="79705"/>
                </a:lnTo>
                <a:lnTo>
                  <a:pt x="160296" y="81915"/>
                </a:lnTo>
                <a:lnTo>
                  <a:pt x="159353" y="83077"/>
                </a:lnTo>
                <a:lnTo>
                  <a:pt x="156410" y="84077"/>
                </a:lnTo>
                <a:lnTo>
                  <a:pt x="155677" y="84611"/>
                </a:lnTo>
                <a:lnTo>
                  <a:pt x="155124" y="85735"/>
                </a:lnTo>
                <a:lnTo>
                  <a:pt x="153476" y="87459"/>
                </a:lnTo>
                <a:lnTo>
                  <a:pt x="151543" y="89097"/>
                </a:lnTo>
                <a:lnTo>
                  <a:pt x="147980" y="90973"/>
                </a:lnTo>
                <a:lnTo>
                  <a:pt x="144161" y="91545"/>
                </a:lnTo>
                <a:lnTo>
                  <a:pt x="139198" y="90935"/>
                </a:lnTo>
                <a:lnTo>
                  <a:pt x="136293" y="90202"/>
                </a:lnTo>
                <a:lnTo>
                  <a:pt x="134893" y="91011"/>
                </a:lnTo>
                <a:lnTo>
                  <a:pt x="132950" y="93450"/>
                </a:lnTo>
                <a:lnTo>
                  <a:pt x="130874" y="97641"/>
                </a:lnTo>
                <a:lnTo>
                  <a:pt x="130007" y="100794"/>
                </a:lnTo>
                <a:lnTo>
                  <a:pt x="129340" y="99898"/>
                </a:lnTo>
                <a:lnTo>
                  <a:pt x="128149" y="96564"/>
                </a:lnTo>
                <a:lnTo>
                  <a:pt x="126807" y="96136"/>
                </a:lnTo>
                <a:lnTo>
                  <a:pt x="124968" y="95821"/>
                </a:lnTo>
                <a:lnTo>
                  <a:pt x="123587" y="95326"/>
                </a:lnTo>
                <a:lnTo>
                  <a:pt x="120596" y="93402"/>
                </a:lnTo>
                <a:lnTo>
                  <a:pt x="119063" y="92821"/>
                </a:lnTo>
                <a:lnTo>
                  <a:pt x="117300" y="92669"/>
                </a:lnTo>
                <a:lnTo>
                  <a:pt x="115624" y="93802"/>
                </a:lnTo>
                <a:lnTo>
                  <a:pt x="114347" y="95136"/>
                </a:lnTo>
                <a:lnTo>
                  <a:pt x="110395" y="95117"/>
                </a:lnTo>
                <a:lnTo>
                  <a:pt x="106061" y="94497"/>
                </a:lnTo>
                <a:lnTo>
                  <a:pt x="99860" y="90059"/>
                </a:lnTo>
                <a:lnTo>
                  <a:pt x="98250" y="90021"/>
                </a:lnTo>
                <a:lnTo>
                  <a:pt x="96536" y="90221"/>
                </a:lnTo>
                <a:lnTo>
                  <a:pt x="93821" y="89163"/>
                </a:lnTo>
                <a:lnTo>
                  <a:pt x="88573" y="86287"/>
                </a:lnTo>
                <a:lnTo>
                  <a:pt x="86106" y="85611"/>
                </a:lnTo>
                <a:lnTo>
                  <a:pt x="84553" y="86020"/>
                </a:lnTo>
                <a:lnTo>
                  <a:pt x="83134" y="86668"/>
                </a:lnTo>
                <a:lnTo>
                  <a:pt x="82115" y="86744"/>
                </a:lnTo>
                <a:lnTo>
                  <a:pt x="81534" y="85801"/>
                </a:lnTo>
                <a:lnTo>
                  <a:pt x="79581" y="84649"/>
                </a:lnTo>
                <a:lnTo>
                  <a:pt x="77619" y="84515"/>
                </a:lnTo>
                <a:lnTo>
                  <a:pt x="77057" y="85211"/>
                </a:lnTo>
                <a:lnTo>
                  <a:pt x="76390" y="91545"/>
                </a:lnTo>
                <a:lnTo>
                  <a:pt x="75733" y="93831"/>
                </a:lnTo>
                <a:lnTo>
                  <a:pt x="73038" y="93726"/>
                </a:lnTo>
                <a:lnTo>
                  <a:pt x="72076" y="94793"/>
                </a:lnTo>
                <a:lnTo>
                  <a:pt x="69961" y="97850"/>
                </a:lnTo>
                <a:lnTo>
                  <a:pt x="69552" y="100774"/>
                </a:lnTo>
                <a:lnTo>
                  <a:pt x="65875" y="100212"/>
                </a:lnTo>
                <a:lnTo>
                  <a:pt x="64132" y="99717"/>
                </a:lnTo>
                <a:lnTo>
                  <a:pt x="62589" y="100089"/>
                </a:lnTo>
                <a:lnTo>
                  <a:pt x="60893" y="101708"/>
                </a:lnTo>
                <a:lnTo>
                  <a:pt x="56140" y="101613"/>
                </a:lnTo>
                <a:lnTo>
                  <a:pt x="52378" y="100651"/>
                </a:lnTo>
                <a:lnTo>
                  <a:pt x="50768" y="97022"/>
                </a:lnTo>
                <a:lnTo>
                  <a:pt x="49044" y="95574"/>
                </a:lnTo>
                <a:lnTo>
                  <a:pt x="46872" y="94297"/>
                </a:lnTo>
                <a:lnTo>
                  <a:pt x="46120" y="94002"/>
                </a:lnTo>
                <a:lnTo>
                  <a:pt x="44920" y="92021"/>
                </a:lnTo>
                <a:lnTo>
                  <a:pt x="42644" y="89563"/>
                </a:lnTo>
                <a:lnTo>
                  <a:pt x="38976" y="86192"/>
                </a:lnTo>
                <a:lnTo>
                  <a:pt x="36119" y="86363"/>
                </a:lnTo>
                <a:lnTo>
                  <a:pt x="35062" y="85468"/>
                </a:lnTo>
                <a:lnTo>
                  <a:pt x="34595" y="84229"/>
                </a:lnTo>
                <a:lnTo>
                  <a:pt x="33404" y="82087"/>
                </a:lnTo>
                <a:lnTo>
                  <a:pt x="32052" y="80601"/>
                </a:lnTo>
                <a:lnTo>
                  <a:pt x="30423" y="80020"/>
                </a:lnTo>
                <a:lnTo>
                  <a:pt x="28089" y="78114"/>
                </a:lnTo>
                <a:lnTo>
                  <a:pt x="24965" y="73961"/>
                </a:lnTo>
                <a:lnTo>
                  <a:pt x="22108" y="71085"/>
                </a:lnTo>
                <a:lnTo>
                  <a:pt x="19345" y="71133"/>
                </a:lnTo>
                <a:lnTo>
                  <a:pt x="17602" y="69628"/>
                </a:lnTo>
                <a:lnTo>
                  <a:pt x="15812" y="67646"/>
                </a:lnTo>
                <a:lnTo>
                  <a:pt x="14497" y="65732"/>
                </a:lnTo>
                <a:lnTo>
                  <a:pt x="12459" y="61065"/>
                </a:lnTo>
                <a:lnTo>
                  <a:pt x="10973" y="58398"/>
                </a:lnTo>
                <a:lnTo>
                  <a:pt x="9820" y="56750"/>
                </a:lnTo>
                <a:lnTo>
                  <a:pt x="8515" y="55378"/>
                </a:lnTo>
                <a:lnTo>
                  <a:pt x="8039" y="54283"/>
                </a:lnTo>
                <a:lnTo>
                  <a:pt x="9639" y="51787"/>
                </a:lnTo>
                <a:lnTo>
                  <a:pt x="10220" y="50549"/>
                </a:lnTo>
                <a:lnTo>
                  <a:pt x="10906" y="49597"/>
                </a:lnTo>
                <a:lnTo>
                  <a:pt x="11306" y="48587"/>
                </a:lnTo>
                <a:lnTo>
                  <a:pt x="11287" y="47835"/>
                </a:lnTo>
                <a:lnTo>
                  <a:pt x="9839" y="45358"/>
                </a:lnTo>
                <a:lnTo>
                  <a:pt x="7877" y="43567"/>
                </a:lnTo>
                <a:lnTo>
                  <a:pt x="4991" y="41758"/>
                </a:lnTo>
                <a:lnTo>
                  <a:pt x="3153" y="39462"/>
                </a:lnTo>
                <a:lnTo>
                  <a:pt x="2486" y="37367"/>
                </a:lnTo>
                <a:lnTo>
                  <a:pt x="2286" y="36204"/>
                </a:lnTo>
                <a:lnTo>
                  <a:pt x="1019" y="34642"/>
                </a:lnTo>
                <a:lnTo>
                  <a:pt x="0" y="32347"/>
                </a:lnTo>
                <a:lnTo>
                  <a:pt x="0" y="30966"/>
                </a:lnTo>
                <a:lnTo>
                  <a:pt x="257" y="30575"/>
                </a:lnTo>
                <a:lnTo>
                  <a:pt x="1210" y="30575"/>
                </a:lnTo>
                <a:lnTo>
                  <a:pt x="2277" y="31518"/>
                </a:lnTo>
                <a:lnTo>
                  <a:pt x="3781" y="33328"/>
                </a:lnTo>
                <a:lnTo>
                  <a:pt x="5020" y="35976"/>
                </a:lnTo>
                <a:lnTo>
                  <a:pt x="5772" y="34966"/>
                </a:lnTo>
                <a:lnTo>
                  <a:pt x="7191" y="32147"/>
                </a:lnTo>
                <a:lnTo>
                  <a:pt x="9706" y="28956"/>
                </a:lnTo>
                <a:lnTo>
                  <a:pt x="12278" y="27127"/>
                </a:lnTo>
                <a:lnTo>
                  <a:pt x="14592" y="26975"/>
                </a:lnTo>
                <a:lnTo>
                  <a:pt x="16488" y="26470"/>
                </a:lnTo>
                <a:lnTo>
                  <a:pt x="18059" y="25555"/>
                </a:lnTo>
                <a:lnTo>
                  <a:pt x="20812" y="25927"/>
                </a:lnTo>
                <a:lnTo>
                  <a:pt x="22803" y="26584"/>
                </a:lnTo>
                <a:lnTo>
                  <a:pt x="23451" y="26175"/>
                </a:lnTo>
                <a:lnTo>
                  <a:pt x="24260" y="24508"/>
                </a:lnTo>
                <a:lnTo>
                  <a:pt x="24774" y="23070"/>
                </a:lnTo>
                <a:lnTo>
                  <a:pt x="29175" y="22231"/>
                </a:lnTo>
                <a:lnTo>
                  <a:pt x="30690" y="19450"/>
                </a:lnTo>
                <a:lnTo>
                  <a:pt x="31537" y="19460"/>
                </a:lnTo>
                <a:lnTo>
                  <a:pt x="32519" y="19050"/>
                </a:lnTo>
                <a:lnTo>
                  <a:pt x="33452" y="17993"/>
                </a:lnTo>
                <a:lnTo>
                  <a:pt x="34347" y="17554"/>
                </a:lnTo>
                <a:lnTo>
                  <a:pt x="35062" y="18088"/>
                </a:lnTo>
                <a:lnTo>
                  <a:pt x="35995" y="18431"/>
                </a:lnTo>
                <a:lnTo>
                  <a:pt x="36967" y="17764"/>
                </a:lnTo>
                <a:lnTo>
                  <a:pt x="38414" y="14564"/>
                </a:lnTo>
                <a:lnTo>
                  <a:pt x="39214" y="14068"/>
                </a:lnTo>
                <a:lnTo>
                  <a:pt x="43081" y="13573"/>
                </a:lnTo>
                <a:lnTo>
                  <a:pt x="48358" y="11687"/>
                </a:lnTo>
                <a:lnTo>
                  <a:pt x="51026" y="10011"/>
                </a:lnTo>
                <a:lnTo>
                  <a:pt x="53645" y="9096"/>
                </a:lnTo>
                <a:lnTo>
                  <a:pt x="56464" y="7468"/>
                </a:lnTo>
                <a:lnTo>
                  <a:pt x="60931" y="5887"/>
                </a:lnTo>
                <a:lnTo>
                  <a:pt x="61141" y="5239"/>
                </a:lnTo>
                <a:lnTo>
                  <a:pt x="59074" y="3610"/>
                </a:lnTo>
                <a:lnTo>
                  <a:pt x="58379" y="2581"/>
                </a:lnTo>
                <a:lnTo>
                  <a:pt x="57903" y="1524"/>
                </a:lnTo>
                <a:lnTo>
                  <a:pt x="58636" y="352"/>
                </a:lnTo>
                <a:lnTo>
                  <a:pt x="59617" y="0"/>
                </a:lnTo>
                <a:lnTo>
                  <a:pt x="60884" y="486"/>
                </a:lnTo>
                <a:lnTo>
                  <a:pt x="64627" y="1181"/>
                </a:lnTo>
                <a:lnTo>
                  <a:pt x="65656" y="1857"/>
                </a:lnTo>
                <a:lnTo>
                  <a:pt x="66027" y="3505"/>
                </a:lnTo>
                <a:lnTo>
                  <a:pt x="66980" y="5039"/>
                </a:lnTo>
                <a:lnTo>
                  <a:pt x="67742" y="5210"/>
                </a:lnTo>
                <a:lnTo>
                  <a:pt x="67465" y="7706"/>
                </a:lnTo>
                <a:lnTo>
                  <a:pt x="68656" y="8677"/>
                </a:lnTo>
                <a:lnTo>
                  <a:pt x="70409" y="9430"/>
                </a:lnTo>
                <a:lnTo>
                  <a:pt x="71562" y="9277"/>
                </a:lnTo>
                <a:lnTo>
                  <a:pt x="72390" y="8268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5" name="Forme libre : forme 14">
            <a:extLst>
              <a:ext uri="{FF2B5EF4-FFF2-40B4-BE49-F238E27FC236}">
                <a16:creationId xmlns:a16="http://schemas.microsoft.com/office/drawing/2014/main" id="{F9BD8570-F546-0DCC-6DA0-7BCEE4952D3C}"/>
              </a:ext>
            </a:extLst>
          </p:cNvPr>
          <p:cNvSpPr/>
          <p:nvPr/>
        </p:nvSpPr>
        <p:spPr>
          <a:xfrm>
            <a:off x="5725779" y="3267359"/>
            <a:ext cx="319394" cy="432794"/>
          </a:xfrm>
          <a:custGeom>
            <a:avLst/>
            <a:gdLst>
              <a:gd name="connsiteX0" fmla="*/ 65494 w 244878"/>
              <a:gd name="connsiteY0" fmla="*/ 12620 h 331822"/>
              <a:gd name="connsiteX1" fmla="*/ 64875 w 244878"/>
              <a:gd name="connsiteY1" fmla="*/ 13535 h 331822"/>
              <a:gd name="connsiteX2" fmla="*/ 65170 w 244878"/>
              <a:gd name="connsiteY2" fmla="*/ 6991 h 331822"/>
              <a:gd name="connsiteX3" fmla="*/ 68094 w 244878"/>
              <a:gd name="connsiteY3" fmla="*/ 0 h 331822"/>
              <a:gd name="connsiteX4" fmla="*/ 69332 w 244878"/>
              <a:gd name="connsiteY4" fmla="*/ 162 h 331822"/>
              <a:gd name="connsiteX5" fmla="*/ 68066 w 244878"/>
              <a:gd name="connsiteY5" fmla="*/ 2057 h 331822"/>
              <a:gd name="connsiteX6" fmla="*/ 67694 w 244878"/>
              <a:gd name="connsiteY6" fmla="*/ 3381 h 331822"/>
              <a:gd name="connsiteX7" fmla="*/ 67180 w 244878"/>
              <a:gd name="connsiteY7" fmla="*/ 6020 h 331822"/>
              <a:gd name="connsiteX8" fmla="*/ 67408 w 244878"/>
              <a:gd name="connsiteY8" fmla="*/ 7391 h 331822"/>
              <a:gd name="connsiteX9" fmla="*/ 74085 w 244878"/>
              <a:gd name="connsiteY9" fmla="*/ 7772 h 331822"/>
              <a:gd name="connsiteX10" fmla="*/ 73304 w 244878"/>
              <a:gd name="connsiteY10" fmla="*/ 8992 h 331822"/>
              <a:gd name="connsiteX11" fmla="*/ 66532 w 244878"/>
              <a:gd name="connsiteY11" fmla="*/ 9811 h 331822"/>
              <a:gd name="connsiteX12" fmla="*/ 65494 w 244878"/>
              <a:gd name="connsiteY12" fmla="*/ 12620 h 331822"/>
              <a:gd name="connsiteX13" fmla="*/ 103775 w 244878"/>
              <a:gd name="connsiteY13" fmla="*/ 10839 h 331822"/>
              <a:gd name="connsiteX14" fmla="*/ 103937 w 244878"/>
              <a:gd name="connsiteY14" fmla="*/ 11687 h 331822"/>
              <a:gd name="connsiteX15" fmla="*/ 107852 w 244878"/>
              <a:gd name="connsiteY15" fmla="*/ 12916 h 331822"/>
              <a:gd name="connsiteX16" fmla="*/ 109499 w 244878"/>
              <a:gd name="connsiteY16" fmla="*/ 14878 h 331822"/>
              <a:gd name="connsiteX17" fmla="*/ 111328 w 244878"/>
              <a:gd name="connsiteY17" fmla="*/ 17850 h 331822"/>
              <a:gd name="connsiteX18" fmla="*/ 111509 w 244878"/>
              <a:gd name="connsiteY18" fmla="*/ 22117 h 331822"/>
              <a:gd name="connsiteX19" fmla="*/ 109166 w 244878"/>
              <a:gd name="connsiteY19" fmla="*/ 25184 h 331822"/>
              <a:gd name="connsiteX20" fmla="*/ 107223 w 244878"/>
              <a:gd name="connsiteY20" fmla="*/ 27127 h 331822"/>
              <a:gd name="connsiteX21" fmla="*/ 114567 w 244878"/>
              <a:gd name="connsiteY21" fmla="*/ 26394 h 331822"/>
              <a:gd name="connsiteX22" fmla="*/ 115300 w 244878"/>
              <a:gd name="connsiteY22" fmla="*/ 28146 h 331822"/>
              <a:gd name="connsiteX23" fmla="*/ 116414 w 244878"/>
              <a:gd name="connsiteY23" fmla="*/ 30042 h 331822"/>
              <a:gd name="connsiteX24" fmla="*/ 120367 w 244878"/>
              <a:gd name="connsiteY24" fmla="*/ 28689 h 331822"/>
              <a:gd name="connsiteX25" fmla="*/ 130292 w 244878"/>
              <a:gd name="connsiteY25" fmla="*/ 34280 h 331822"/>
              <a:gd name="connsiteX26" fmla="*/ 136293 w 244878"/>
              <a:gd name="connsiteY26" fmla="*/ 31556 h 331822"/>
              <a:gd name="connsiteX27" fmla="*/ 137827 w 244878"/>
              <a:gd name="connsiteY27" fmla="*/ 31394 h 331822"/>
              <a:gd name="connsiteX28" fmla="*/ 139189 w 244878"/>
              <a:gd name="connsiteY28" fmla="*/ 35909 h 331822"/>
              <a:gd name="connsiteX29" fmla="*/ 137693 w 244878"/>
              <a:gd name="connsiteY29" fmla="*/ 40443 h 331822"/>
              <a:gd name="connsiteX30" fmla="*/ 132407 w 244878"/>
              <a:gd name="connsiteY30" fmla="*/ 45263 h 331822"/>
              <a:gd name="connsiteX31" fmla="*/ 133578 w 244878"/>
              <a:gd name="connsiteY31" fmla="*/ 48235 h 331822"/>
              <a:gd name="connsiteX32" fmla="*/ 135274 w 244878"/>
              <a:gd name="connsiteY32" fmla="*/ 48892 h 331822"/>
              <a:gd name="connsiteX33" fmla="*/ 140256 w 244878"/>
              <a:gd name="connsiteY33" fmla="*/ 48263 h 331822"/>
              <a:gd name="connsiteX34" fmla="*/ 148152 w 244878"/>
              <a:gd name="connsiteY34" fmla="*/ 51187 h 331822"/>
              <a:gd name="connsiteX35" fmla="*/ 149800 w 244878"/>
              <a:gd name="connsiteY35" fmla="*/ 50273 h 331822"/>
              <a:gd name="connsiteX36" fmla="*/ 156200 w 244878"/>
              <a:gd name="connsiteY36" fmla="*/ 43520 h 331822"/>
              <a:gd name="connsiteX37" fmla="*/ 158763 w 244878"/>
              <a:gd name="connsiteY37" fmla="*/ 42062 h 331822"/>
              <a:gd name="connsiteX38" fmla="*/ 167183 w 244878"/>
              <a:gd name="connsiteY38" fmla="*/ 41024 h 331822"/>
              <a:gd name="connsiteX39" fmla="*/ 168716 w 244878"/>
              <a:gd name="connsiteY39" fmla="*/ 38395 h 331822"/>
              <a:gd name="connsiteX40" fmla="*/ 172126 w 244878"/>
              <a:gd name="connsiteY40" fmla="*/ 35757 h 331822"/>
              <a:gd name="connsiteX41" fmla="*/ 174317 w 244878"/>
              <a:gd name="connsiteY41" fmla="*/ 32871 h 331822"/>
              <a:gd name="connsiteX42" fmla="*/ 179584 w 244878"/>
              <a:gd name="connsiteY42" fmla="*/ 27356 h 331822"/>
              <a:gd name="connsiteX43" fmla="*/ 185033 w 244878"/>
              <a:gd name="connsiteY43" fmla="*/ 28346 h 331822"/>
              <a:gd name="connsiteX44" fmla="*/ 188214 w 244878"/>
              <a:gd name="connsiteY44" fmla="*/ 29404 h 331822"/>
              <a:gd name="connsiteX45" fmla="*/ 191700 w 244878"/>
              <a:gd name="connsiteY45" fmla="*/ 29937 h 331822"/>
              <a:gd name="connsiteX46" fmla="*/ 194872 w 244878"/>
              <a:gd name="connsiteY46" fmla="*/ 35814 h 331822"/>
              <a:gd name="connsiteX47" fmla="*/ 202911 w 244878"/>
              <a:gd name="connsiteY47" fmla="*/ 42281 h 331822"/>
              <a:gd name="connsiteX48" fmla="*/ 210293 w 244878"/>
              <a:gd name="connsiteY48" fmla="*/ 41720 h 331822"/>
              <a:gd name="connsiteX49" fmla="*/ 212912 w 244878"/>
              <a:gd name="connsiteY49" fmla="*/ 47825 h 331822"/>
              <a:gd name="connsiteX50" fmla="*/ 214074 w 244878"/>
              <a:gd name="connsiteY50" fmla="*/ 55331 h 331822"/>
              <a:gd name="connsiteX51" fmla="*/ 216341 w 244878"/>
              <a:gd name="connsiteY51" fmla="*/ 57683 h 331822"/>
              <a:gd name="connsiteX52" fmla="*/ 218332 w 244878"/>
              <a:gd name="connsiteY52" fmla="*/ 59217 h 331822"/>
              <a:gd name="connsiteX53" fmla="*/ 224342 w 244878"/>
              <a:gd name="connsiteY53" fmla="*/ 60817 h 331822"/>
              <a:gd name="connsiteX54" fmla="*/ 224580 w 244878"/>
              <a:gd name="connsiteY54" fmla="*/ 60912 h 331822"/>
              <a:gd name="connsiteX55" fmla="*/ 224780 w 244878"/>
              <a:gd name="connsiteY55" fmla="*/ 61922 h 331822"/>
              <a:gd name="connsiteX56" fmla="*/ 225152 w 244878"/>
              <a:gd name="connsiteY56" fmla="*/ 65637 h 331822"/>
              <a:gd name="connsiteX57" fmla="*/ 225657 w 244878"/>
              <a:gd name="connsiteY57" fmla="*/ 68704 h 331822"/>
              <a:gd name="connsiteX58" fmla="*/ 228753 w 244878"/>
              <a:gd name="connsiteY58" fmla="*/ 80915 h 331822"/>
              <a:gd name="connsiteX59" fmla="*/ 228695 w 244878"/>
              <a:gd name="connsiteY59" fmla="*/ 83886 h 331822"/>
              <a:gd name="connsiteX60" fmla="*/ 228657 w 244878"/>
              <a:gd name="connsiteY60" fmla="*/ 84677 h 331822"/>
              <a:gd name="connsiteX61" fmla="*/ 227524 w 244878"/>
              <a:gd name="connsiteY61" fmla="*/ 88840 h 331822"/>
              <a:gd name="connsiteX62" fmla="*/ 225514 w 244878"/>
              <a:gd name="connsiteY62" fmla="*/ 92335 h 331822"/>
              <a:gd name="connsiteX63" fmla="*/ 222856 w 244878"/>
              <a:gd name="connsiteY63" fmla="*/ 94307 h 331822"/>
              <a:gd name="connsiteX64" fmla="*/ 221390 w 244878"/>
              <a:gd name="connsiteY64" fmla="*/ 96498 h 331822"/>
              <a:gd name="connsiteX65" fmla="*/ 221123 w 244878"/>
              <a:gd name="connsiteY65" fmla="*/ 98908 h 331822"/>
              <a:gd name="connsiteX66" fmla="*/ 224466 w 244878"/>
              <a:gd name="connsiteY66" fmla="*/ 103127 h 331822"/>
              <a:gd name="connsiteX67" fmla="*/ 231429 w 244878"/>
              <a:gd name="connsiteY67" fmla="*/ 109156 h 331822"/>
              <a:gd name="connsiteX68" fmla="*/ 234239 w 244878"/>
              <a:gd name="connsiteY68" fmla="*/ 114300 h 331822"/>
              <a:gd name="connsiteX69" fmla="*/ 232915 w 244878"/>
              <a:gd name="connsiteY69" fmla="*/ 118567 h 331822"/>
              <a:gd name="connsiteX70" fmla="*/ 232515 w 244878"/>
              <a:gd name="connsiteY70" fmla="*/ 121691 h 331822"/>
              <a:gd name="connsiteX71" fmla="*/ 233029 w 244878"/>
              <a:gd name="connsiteY71" fmla="*/ 123672 h 331822"/>
              <a:gd name="connsiteX72" fmla="*/ 234144 w 244878"/>
              <a:gd name="connsiteY72" fmla="*/ 125263 h 331822"/>
              <a:gd name="connsiteX73" fmla="*/ 235858 w 244878"/>
              <a:gd name="connsiteY73" fmla="*/ 126463 h 331822"/>
              <a:gd name="connsiteX74" fmla="*/ 236544 w 244878"/>
              <a:gd name="connsiteY74" fmla="*/ 128311 h 331822"/>
              <a:gd name="connsiteX75" fmla="*/ 236191 w 244878"/>
              <a:gd name="connsiteY75" fmla="*/ 130807 h 331822"/>
              <a:gd name="connsiteX76" fmla="*/ 236515 w 244878"/>
              <a:gd name="connsiteY76" fmla="*/ 132540 h 331822"/>
              <a:gd name="connsiteX77" fmla="*/ 237801 w 244878"/>
              <a:gd name="connsiteY77" fmla="*/ 133769 h 331822"/>
              <a:gd name="connsiteX78" fmla="*/ 237677 w 244878"/>
              <a:gd name="connsiteY78" fmla="*/ 134245 h 331822"/>
              <a:gd name="connsiteX79" fmla="*/ 237058 w 244878"/>
              <a:gd name="connsiteY79" fmla="*/ 135979 h 331822"/>
              <a:gd name="connsiteX80" fmla="*/ 236210 w 244878"/>
              <a:gd name="connsiteY80" fmla="*/ 139132 h 331822"/>
              <a:gd name="connsiteX81" fmla="*/ 235725 w 244878"/>
              <a:gd name="connsiteY81" fmla="*/ 141437 h 331822"/>
              <a:gd name="connsiteX82" fmla="*/ 233763 w 244878"/>
              <a:gd name="connsiteY82" fmla="*/ 144561 h 331822"/>
              <a:gd name="connsiteX83" fmla="*/ 234363 w 244878"/>
              <a:gd name="connsiteY83" fmla="*/ 147218 h 331822"/>
              <a:gd name="connsiteX84" fmla="*/ 235896 w 244878"/>
              <a:gd name="connsiteY84" fmla="*/ 150343 h 331822"/>
              <a:gd name="connsiteX85" fmla="*/ 237068 w 244878"/>
              <a:gd name="connsiteY85" fmla="*/ 151914 h 331822"/>
              <a:gd name="connsiteX86" fmla="*/ 237439 w 244878"/>
              <a:gd name="connsiteY86" fmla="*/ 153400 h 331822"/>
              <a:gd name="connsiteX87" fmla="*/ 236696 w 244878"/>
              <a:gd name="connsiteY87" fmla="*/ 156924 h 331822"/>
              <a:gd name="connsiteX88" fmla="*/ 237068 w 244878"/>
              <a:gd name="connsiteY88" fmla="*/ 157829 h 331822"/>
              <a:gd name="connsiteX89" fmla="*/ 241916 w 244878"/>
              <a:gd name="connsiteY89" fmla="*/ 160420 h 331822"/>
              <a:gd name="connsiteX90" fmla="*/ 242706 w 244878"/>
              <a:gd name="connsiteY90" fmla="*/ 161610 h 331822"/>
              <a:gd name="connsiteX91" fmla="*/ 243173 w 244878"/>
              <a:gd name="connsiteY91" fmla="*/ 164097 h 331822"/>
              <a:gd name="connsiteX92" fmla="*/ 244878 w 244878"/>
              <a:gd name="connsiteY92" fmla="*/ 169402 h 331822"/>
              <a:gd name="connsiteX93" fmla="*/ 243469 w 244878"/>
              <a:gd name="connsiteY93" fmla="*/ 176108 h 331822"/>
              <a:gd name="connsiteX94" fmla="*/ 242230 w 244878"/>
              <a:gd name="connsiteY94" fmla="*/ 179775 h 331822"/>
              <a:gd name="connsiteX95" fmla="*/ 239468 w 244878"/>
              <a:gd name="connsiteY95" fmla="*/ 185576 h 331822"/>
              <a:gd name="connsiteX96" fmla="*/ 239335 w 244878"/>
              <a:gd name="connsiteY96" fmla="*/ 186109 h 331822"/>
              <a:gd name="connsiteX97" fmla="*/ 239020 w 244878"/>
              <a:gd name="connsiteY97" fmla="*/ 186814 h 331822"/>
              <a:gd name="connsiteX98" fmla="*/ 238192 w 244878"/>
              <a:gd name="connsiteY98" fmla="*/ 187823 h 331822"/>
              <a:gd name="connsiteX99" fmla="*/ 237039 w 244878"/>
              <a:gd name="connsiteY99" fmla="*/ 187976 h 331822"/>
              <a:gd name="connsiteX100" fmla="*/ 235296 w 244878"/>
              <a:gd name="connsiteY100" fmla="*/ 187223 h 331822"/>
              <a:gd name="connsiteX101" fmla="*/ 234105 w 244878"/>
              <a:gd name="connsiteY101" fmla="*/ 186252 h 331822"/>
              <a:gd name="connsiteX102" fmla="*/ 234381 w 244878"/>
              <a:gd name="connsiteY102" fmla="*/ 183756 h 331822"/>
              <a:gd name="connsiteX103" fmla="*/ 233610 w 244878"/>
              <a:gd name="connsiteY103" fmla="*/ 183585 h 331822"/>
              <a:gd name="connsiteX104" fmla="*/ 232658 w 244878"/>
              <a:gd name="connsiteY104" fmla="*/ 182051 h 331822"/>
              <a:gd name="connsiteX105" fmla="*/ 232286 w 244878"/>
              <a:gd name="connsiteY105" fmla="*/ 180404 h 331822"/>
              <a:gd name="connsiteX106" fmla="*/ 231258 w 244878"/>
              <a:gd name="connsiteY106" fmla="*/ 179727 h 331822"/>
              <a:gd name="connsiteX107" fmla="*/ 227514 w 244878"/>
              <a:gd name="connsiteY107" fmla="*/ 179032 h 331822"/>
              <a:gd name="connsiteX108" fmla="*/ 226238 w 244878"/>
              <a:gd name="connsiteY108" fmla="*/ 178546 h 331822"/>
              <a:gd name="connsiteX109" fmla="*/ 225257 w 244878"/>
              <a:gd name="connsiteY109" fmla="*/ 178898 h 331822"/>
              <a:gd name="connsiteX110" fmla="*/ 224523 w 244878"/>
              <a:gd name="connsiteY110" fmla="*/ 180070 h 331822"/>
              <a:gd name="connsiteX111" fmla="*/ 224990 w 244878"/>
              <a:gd name="connsiteY111" fmla="*/ 181127 h 331822"/>
              <a:gd name="connsiteX112" fmla="*/ 225685 w 244878"/>
              <a:gd name="connsiteY112" fmla="*/ 182156 h 331822"/>
              <a:gd name="connsiteX113" fmla="*/ 227762 w 244878"/>
              <a:gd name="connsiteY113" fmla="*/ 183785 h 331822"/>
              <a:gd name="connsiteX114" fmla="*/ 227552 w 244878"/>
              <a:gd name="connsiteY114" fmla="*/ 184433 h 331822"/>
              <a:gd name="connsiteX115" fmla="*/ 223076 w 244878"/>
              <a:gd name="connsiteY115" fmla="*/ 186023 h 331822"/>
              <a:gd name="connsiteX116" fmla="*/ 220265 w 244878"/>
              <a:gd name="connsiteY116" fmla="*/ 187642 h 331822"/>
              <a:gd name="connsiteX117" fmla="*/ 217646 w 244878"/>
              <a:gd name="connsiteY117" fmla="*/ 188557 h 331822"/>
              <a:gd name="connsiteX118" fmla="*/ 214979 w 244878"/>
              <a:gd name="connsiteY118" fmla="*/ 190233 h 331822"/>
              <a:gd name="connsiteX119" fmla="*/ 209712 w 244878"/>
              <a:gd name="connsiteY119" fmla="*/ 192119 h 331822"/>
              <a:gd name="connsiteX120" fmla="*/ 205845 w 244878"/>
              <a:gd name="connsiteY120" fmla="*/ 192614 h 331822"/>
              <a:gd name="connsiteX121" fmla="*/ 205045 w 244878"/>
              <a:gd name="connsiteY121" fmla="*/ 193110 h 331822"/>
              <a:gd name="connsiteX122" fmla="*/ 203606 w 244878"/>
              <a:gd name="connsiteY122" fmla="*/ 196301 h 331822"/>
              <a:gd name="connsiteX123" fmla="*/ 202635 w 244878"/>
              <a:gd name="connsiteY123" fmla="*/ 196967 h 331822"/>
              <a:gd name="connsiteX124" fmla="*/ 201692 w 244878"/>
              <a:gd name="connsiteY124" fmla="*/ 196625 h 331822"/>
              <a:gd name="connsiteX125" fmla="*/ 200987 w 244878"/>
              <a:gd name="connsiteY125" fmla="*/ 196101 h 331822"/>
              <a:gd name="connsiteX126" fmla="*/ 200092 w 244878"/>
              <a:gd name="connsiteY126" fmla="*/ 196529 h 331822"/>
              <a:gd name="connsiteX127" fmla="*/ 199158 w 244878"/>
              <a:gd name="connsiteY127" fmla="*/ 197586 h 331822"/>
              <a:gd name="connsiteX128" fmla="*/ 198177 w 244878"/>
              <a:gd name="connsiteY128" fmla="*/ 197996 h 331822"/>
              <a:gd name="connsiteX129" fmla="*/ 197330 w 244878"/>
              <a:gd name="connsiteY129" fmla="*/ 197986 h 331822"/>
              <a:gd name="connsiteX130" fmla="*/ 195815 w 244878"/>
              <a:gd name="connsiteY130" fmla="*/ 200768 h 331822"/>
              <a:gd name="connsiteX131" fmla="*/ 191414 w 244878"/>
              <a:gd name="connsiteY131" fmla="*/ 201606 h 331822"/>
              <a:gd name="connsiteX132" fmla="*/ 190900 w 244878"/>
              <a:gd name="connsiteY132" fmla="*/ 203044 h 331822"/>
              <a:gd name="connsiteX133" fmla="*/ 190090 w 244878"/>
              <a:gd name="connsiteY133" fmla="*/ 204711 h 331822"/>
              <a:gd name="connsiteX134" fmla="*/ 189443 w 244878"/>
              <a:gd name="connsiteY134" fmla="*/ 205121 h 331822"/>
              <a:gd name="connsiteX135" fmla="*/ 187462 w 244878"/>
              <a:gd name="connsiteY135" fmla="*/ 204464 h 331822"/>
              <a:gd name="connsiteX136" fmla="*/ 184709 w 244878"/>
              <a:gd name="connsiteY136" fmla="*/ 204092 h 331822"/>
              <a:gd name="connsiteX137" fmla="*/ 183127 w 244878"/>
              <a:gd name="connsiteY137" fmla="*/ 205006 h 331822"/>
              <a:gd name="connsiteX138" fmla="*/ 181232 w 244878"/>
              <a:gd name="connsiteY138" fmla="*/ 205511 h 331822"/>
              <a:gd name="connsiteX139" fmla="*/ 178918 w 244878"/>
              <a:gd name="connsiteY139" fmla="*/ 205664 h 331822"/>
              <a:gd name="connsiteX140" fmla="*/ 176336 w 244878"/>
              <a:gd name="connsiteY140" fmla="*/ 207483 h 331822"/>
              <a:gd name="connsiteX141" fmla="*/ 173822 w 244878"/>
              <a:gd name="connsiteY141" fmla="*/ 210674 h 331822"/>
              <a:gd name="connsiteX142" fmla="*/ 172412 w 244878"/>
              <a:gd name="connsiteY142" fmla="*/ 213493 h 331822"/>
              <a:gd name="connsiteX143" fmla="*/ 171650 w 244878"/>
              <a:gd name="connsiteY143" fmla="*/ 214503 h 331822"/>
              <a:gd name="connsiteX144" fmla="*/ 170421 w 244878"/>
              <a:gd name="connsiteY144" fmla="*/ 211855 h 331822"/>
              <a:gd name="connsiteX145" fmla="*/ 168916 w 244878"/>
              <a:gd name="connsiteY145" fmla="*/ 210045 h 331822"/>
              <a:gd name="connsiteX146" fmla="*/ 167849 w 244878"/>
              <a:gd name="connsiteY146" fmla="*/ 209102 h 331822"/>
              <a:gd name="connsiteX147" fmla="*/ 166897 w 244878"/>
              <a:gd name="connsiteY147" fmla="*/ 209102 h 331822"/>
              <a:gd name="connsiteX148" fmla="*/ 166649 w 244878"/>
              <a:gd name="connsiteY148" fmla="*/ 209493 h 331822"/>
              <a:gd name="connsiteX149" fmla="*/ 166649 w 244878"/>
              <a:gd name="connsiteY149" fmla="*/ 210874 h 331822"/>
              <a:gd name="connsiteX150" fmla="*/ 167669 w 244878"/>
              <a:gd name="connsiteY150" fmla="*/ 213170 h 331822"/>
              <a:gd name="connsiteX151" fmla="*/ 168926 w 244878"/>
              <a:gd name="connsiteY151" fmla="*/ 214741 h 331822"/>
              <a:gd name="connsiteX152" fmla="*/ 169126 w 244878"/>
              <a:gd name="connsiteY152" fmla="*/ 215903 h 331822"/>
              <a:gd name="connsiteX153" fmla="*/ 169802 w 244878"/>
              <a:gd name="connsiteY153" fmla="*/ 217999 h 331822"/>
              <a:gd name="connsiteX154" fmla="*/ 171640 w 244878"/>
              <a:gd name="connsiteY154" fmla="*/ 220294 h 331822"/>
              <a:gd name="connsiteX155" fmla="*/ 174517 w 244878"/>
              <a:gd name="connsiteY155" fmla="*/ 222104 h 331822"/>
              <a:gd name="connsiteX156" fmla="*/ 176479 w 244878"/>
              <a:gd name="connsiteY156" fmla="*/ 223894 h 331822"/>
              <a:gd name="connsiteX157" fmla="*/ 177937 w 244878"/>
              <a:gd name="connsiteY157" fmla="*/ 226371 h 331822"/>
              <a:gd name="connsiteX158" fmla="*/ 177946 w 244878"/>
              <a:gd name="connsiteY158" fmla="*/ 227133 h 331822"/>
              <a:gd name="connsiteX159" fmla="*/ 177546 w 244878"/>
              <a:gd name="connsiteY159" fmla="*/ 228143 h 331822"/>
              <a:gd name="connsiteX160" fmla="*/ 176860 w 244878"/>
              <a:gd name="connsiteY160" fmla="*/ 229095 h 331822"/>
              <a:gd name="connsiteX161" fmla="*/ 176279 w 244878"/>
              <a:gd name="connsiteY161" fmla="*/ 230333 h 331822"/>
              <a:gd name="connsiteX162" fmla="*/ 174679 w 244878"/>
              <a:gd name="connsiteY162" fmla="*/ 232829 h 331822"/>
              <a:gd name="connsiteX163" fmla="*/ 175155 w 244878"/>
              <a:gd name="connsiteY163" fmla="*/ 233924 h 331822"/>
              <a:gd name="connsiteX164" fmla="*/ 176460 w 244878"/>
              <a:gd name="connsiteY164" fmla="*/ 235296 h 331822"/>
              <a:gd name="connsiteX165" fmla="*/ 177613 w 244878"/>
              <a:gd name="connsiteY165" fmla="*/ 236944 h 331822"/>
              <a:gd name="connsiteX166" fmla="*/ 179098 w 244878"/>
              <a:gd name="connsiteY166" fmla="*/ 239611 h 331822"/>
              <a:gd name="connsiteX167" fmla="*/ 181137 w 244878"/>
              <a:gd name="connsiteY167" fmla="*/ 244278 h 331822"/>
              <a:gd name="connsiteX168" fmla="*/ 182451 w 244878"/>
              <a:gd name="connsiteY168" fmla="*/ 246193 h 331822"/>
              <a:gd name="connsiteX169" fmla="*/ 184242 w 244878"/>
              <a:gd name="connsiteY169" fmla="*/ 248174 h 331822"/>
              <a:gd name="connsiteX170" fmla="*/ 185994 w 244878"/>
              <a:gd name="connsiteY170" fmla="*/ 249679 h 331822"/>
              <a:gd name="connsiteX171" fmla="*/ 188757 w 244878"/>
              <a:gd name="connsiteY171" fmla="*/ 249631 h 331822"/>
              <a:gd name="connsiteX172" fmla="*/ 191614 w 244878"/>
              <a:gd name="connsiteY172" fmla="*/ 252508 h 331822"/>
              <a:gd name="connsiteX173" fmla="*/ 194738 w 244878"/>
              <a:gd name="connsiteY173" fmla="*/ 256661 h 331822"/>
              <a:gd name="connsiteX174" fmla="*/ 197072 w 244878"/>
              <a:gd name="connsiteY174" fmla="*/ 258556 h 331822"/>
              <a:gd name="connsiteX175" fmla="*/ 198701 w 244878"/>
              <a:gd name="connsiteY175" fmla="*/ 259137 h 331822"/>
              <a:gd name="connsiteX176" fmla="*/ 200054 w 244878"/>
              <a:gd name="connsiteY176" fmla="*/ 260633 h 331822"/>
              <a:gd name="connsiteX177" fmla="*/ 201244 w 244878"/>
              <a:gd name="connsiteY177" fmla="*/ 262776 h 331822"/>
              <a:gd name="connsiteX178" fmla="*/ 201711 w 244878"/>
              <a:gd name="connsiteY178" fmla="*/ 264014 h 331822"/>
              <a:gd name="connsiteX179" fmla="*/ 202768 w 244878"/>
              <a:gd name="connsiteY179" fmla="*/ 264909 h 331822"/>
              <a:gd name="connsiteX180" fmla="*/ 205626 w 244878"/>
              <a:gd name="connsiteY180" fmla="*/ 264738 h 331822"/>
              <a:gd name="connsiteX181" fmla="*/ 209302 w 244878"/>
              <a:gd name="connsiteY181" fmla="*/ 268110 h 331822"/>
              <a:gd name="connsiteX182" fmla="*/ 211569 w 244878"/>
              <a:gd name="connsiteY182" fmla="*/ 270567 h 331822"/>
              <a:gd name="connsiteX183" fmla="*/ 212769 w 244878"/>
              <a:gd name="connsiteY183" fmla="*/ 272548 h 331822"/>
              <a:gd name="connsiteX184" fmla="*/ 212455 w 244878"/>
              <a:gd name="connsiteY184" fmla="*/ 273339 h 331822"/>
              <a:gd name="connsiteX185" fmla="*/ 212302 w 244878"/>
              <a:gd name="connsiteY185" fmla="*/ 275806 h 331822"/>
              <a:gd name="connsiteX186" fmla="*/ 212341 w 244878"/>
              <a:gd name="connsiteY186" fmla="*/ 278416 h 331822"/>
              <a:gd name="connsiteX187" fmla="*/ 211979 w 244878"/>
              <a:gd name="connsiteY187" fmla="*/ 279797 h 331822"/>
              <a:gd name="connsiteX188" fmla="*/ 210340 w 244878"/>
              <a:gd name="connsiteY188" fmla="*/ 281616 h 331822"/>
              <a:gd name="connsiteX189" fmla="*/ 209493 w 244878"/>
              <a:gd name="connsiteY189" fmla="*/ 282007 h 331822"/>
              <a:gd name="connsiteX190" fmla="*/ 209036 w 244878"/>
              <a:gd name="connsiteY190" fmla="*/ 282397 h 331822"/>
              <a:gd name="connsiteX191" fmla="*/ 203997 w 244878"/>
              <a:gd name="connsiteY191" fmla="*/ 280025 h 331822"/>
              <a:gd name="connsiteX192" fmla="*/ 203597 w 244878"/>
              <a:gd name="connsiteY192" fmla="*/ 280425 h 331822"/>
              <a:gd name="connsiteX193" fmla="*/ 203283 w 244878"/>
              <a:gd name="connsiteY193" fmla="*/ 280721 h 331822"/>
              <a:gd name="connsiteX194" fmla="*/ 201930 w 244878"/>
              <a:gd name="connsiteY194" fmla="*/ 287569 h 331822"/>
              <a:gd name="connsiteX195" fmla="*/ 201006 w 244878"/>
              <a:gd name="connsiteY195" fmla="*/ 288884 h 331822"/>
              <a:gd name="connsiteX196" fmla="*/ 199615 w 244878"/>
              <a:gd name="connsiteY196" fmla="*/ 290093 h 331822"/>
              <a:gd name="connsiteX197" fmla="*/ 196739 w 244878"/>
              <a:gd name="connsiteY197" fmla="*/ 291274 h 331822"/>
              <a:gd name="connsiteX198" fmla="*/ 194738 w 244878"/>
              <a:gd name="connsiteY198" fmla="*/ 291751 h 331822"/>
              <a:gd name="connsiteX199" fmla="*/ 193176 w 244878"/>
              <a:gd name="connsiteY199" fmla="*/ 292351 h 331822"/>
              <a:gd name="connsiteX200" fmla="*/ 188233 w 244878"/>
              <a:gd name="connsiteY200" fmla="*/ 295208 h 331822"/>
              <a:gd name="connsiteX201" fmla="*/ 186014 w 244878"/>
              <a:gd name="connsiteY201" fmla="*/ 296923 h 331822"/>
              <a:gd name="connsiteX202" fmla="*/ 184575 w 244878"/>
              <a:gd name="connsiteY202" fmla="*/ 299075 h 331822"/>
              <a:gd name="connsiteX203" fmla="*/ 184566 w 244878"/>
              <a:gd name="connsiteY203" fmla="*/ 300314 h 331822"/>
              <a:gd name="connsiteX204" fmla="*/ 186966 w 244878"/>
              <a:gd name="connsiteY204" fmla="*/ 303943 h 331822"/>
              <a:gd name="connsiteX205" fmla="*/ 189738 w 244878"/>
              <a:gd name="connsiteY205" fmla="*/ 307695 h 331822"/>
              <a:gd name="connsiteX206" fmla="*/ 189747 w 244878"/>
              <a:gd name="connsiteY206" fmla="*/ 310982 h 331822"/>
              <a:gd name="connsiteX207" fmla="*/ 188528 w 244878"/>
              <a:gd name="connsiteY207" fmla="*/ 313439 h 331822"/>
              <a:gd name="connsiteX208" fmla="*/ 188243 w 244878"/>
              <a:gd name="connsiteY208" fmla="*/ 314382 h 331822"/>
              <a:gd name="connsiteX209" fmla="*/ 189062 w 244878"/>
              <a:gd name="connsiteY209" fmla="*/ 314744 h 331822"/>
              <a:gd name="connsiteX210" fmla="*/ 190595 w 244878"/>
              <a:gd name="connsiteY210" fmla="*/ 314877 h 331822"/>
              <a:gd name="connsiteX211" fmla="*/ 191881 w 244878"/>
              <a:gd name="connsiteY211" fmla="*/ 315296 h 331822"/>
              <a:gd name="connsiteX212" fmla="*/ 192424 w 244878"/>
              <a:gd name="connsiteY212" fmla="*/ 317030 h 331822"/>
              <a:gd name="connsiteX213" fmla="*/ 192262 w 244878"/>
              <a:gd name="connsiteY213" fmla="*/ 320030 h 331822"/>
              <a:gd name="connsiteX214" fmla="*/ 191824 w 244878"/>
              <a:gd name="connsiteY214" fmla="*/ 322840 h 331822"/>
              <a:gd name="connsiteX215" fmla="*/ 191367 w 244878"/>
              <a:gd name="connsiteY215" fmla="*/ 324022 h 331822"/>
              <a:gd name="connsiteX216" fmla="*/ 190128 w 244878"/>
              <a:gd name="connsiteY216" fmla="*/ 324117 h 331822"/>
              <a:gd name="connsiteX217" fmla="*/ 187747 w 244878"/>
              <a:gd name="connsiteY217" fmla="*/ 322907 h 331822"/>
              <a:gd name="connsiteX218" fmla="*/ 185890 w 244878"/>
              <a:gd name="connsiteY218" fmla="*/ 321497 h 331822"/>
              <a:gd name="connsiteX219" fmla="*/ 185175 w 244878"/>
              <a:gd name="connsiteY219" fmla="*/ 320630 h 331822"/>
              <a:gd name="connsiteX220" fmla="*/ 185137 w 244878"/>
              <a:gd name="connsiteY220" fmla="*/ 319592 h 331822"/>
              <a:gd name="connsiteX221" fmla="*/ 185538 w 244878"/>
              <a:gd name="connsiteY221" fmla="*/ 318935 h 331822"/>
              <a:gd name="connsiteX222" fmla="*/ 184880 w 244878"/>
              <a:gd name="connsiteY222" fmla="*/ 317659 h 331822"/>
              <a:gd name="connsiteX223" fmla="*/ 182594 w 244878"/>
              <a:gd name="connsiteY223" fmla="*/ 316468 h 331822"/>
              <a:gd name="connsiteX224" fmla="*/ 180146 w 244878"/>
              <a:gd name="connsiteY224" fmla="*/ 316982 h 331822"/>
              <a:gd name="connsiteX225" fmla="*/ 178346 w 244878"/>
              <a:gd name="connsiteY225" fmla="*/ 317773 h 331822"/>
              <a:gd name="connsiteX226" fmla="*/ 177174 w 244878"/>
              <a:gd name="connsiteY226" fmla="*/ 317725 h 331822"/>
              <a:gd name="connsiteX227" fmla="*/ 175917 w 244878"/>
              <a:gd name="connsiteY227" fmla="*/ 316582 h 331822"/>
              <a:gd name="connsiteX228" fmla="*/ 173974 w 244878"/>
              <a:gd name="connsiteY228" fmla="*/ 315706 h 331822"/>
              <a:gd name="connsiteX229" fmla="*/ 171440 w 244878"/>
              <a:gd name="connsiteY229" fmla="*/ 315125 h 331822"/>
              <a:gd name="connsiteX230" fmla="*/ 169859 w 244878"/>
              <a:gd name="connsiteY230" fmla="*/ 314515 h 331822"/>
              <a:gd name="connsiteX231" fmla="*/ 169526 w 244878"/>
              <a:gd name="connsiteY231" fmla="*/ 314877 h 331822"/>
              <a:gd name="connsiteX232" fmla="*/ 169707 w 244878"/>
              <a:gd name="connsiteY232" fmla="*/ 317344 h 331822"/>
              <a:gd name="connsiteX233" fmla="*/ 169221 w 244878"/>
              <a:gd name="connsiteY233" fmla="*/ 318421 h 331822"/>
              <a:gd name="connsiteX234" fmla="*/ 156686 w 244878"/>
              <a:gd name="connsiteY234" fmla="*/ 319849 h 331822"/>
              <a:gd name="connsiteX235" fmla="*/ 152867 w 244878"/>
              <a:gd name="connsiteY235" fmla="*/ 321183 h 331822"/>
              <a:gd name="connsiteX236" fmla="*/ 150085 w 244878"/>
              <a:gd name="connsiteY236" fmla="*/ 322907 h 331822"/>
              <a:gd name="connsiteX237" fmla="*/ 148028 w 244878"/>
              <a:gd name="connsiteY237" fmla="*/ 323650 h 331822"/>
              <a:gd name="connsiteX238" fmla="*/ 147523 w 244878"/>
              <a:gd name="connsiteY238" fmla="*/ 324707 h 331822"/>
              <a:gd name="connsiteX239" fmla="*/ 145485 w 244878"/>
              <a:gd name="connsiteY239" fmla="*/ 326098 h 331822"/>
              <a:gd name="connsiteX240" fmla="*/ 143189 w 244878"/>
              <a:gd name="connsiteY240" fmla="*/ 326536 h 331822"/>
              <a:gd name="connsiteX241" fmla="*/ 142627 w 244878"/>
              <a:gd name="connsiteY241" fmla="*/ 326088 h 331822"/>
              <a:gd name="connsiteX242" fmla="*/ 141151 w 244878"/>
              <a:gd name="connsiteY242" fmla="*/ 326727 h 331822"/>
              <a:gd name="connsiteX243" fmla="*/ 138636 w 244878"/>
              <a:gd name="connsiteY243" fmla="*/ 327346 h 331822"/>
              <a:gd name="connsiteX244" fmla="*/ 137008 w 244878"/>
              <a:gd name="connsiteY244" fmla="*/ 327145 h 331822"/>
              <a:gd name="connsiteX245" fmla="*/ 136236 w 244878"/>
              <a:gd name="connsiteY245" fmla="*/ 326022 h 331822"/>
              <a:gd name="connsiteX246" fmla="*/ 134683 w 244878"/>
              <a:gd name="connsiteY246" fmla="*/ 324298 h 331822"/>
              <a:gd name="connsiteX247" fmla="*/ 134055 w 244878"/>
              <a:gd name="connsiteY247" fmla="*/ 323107 h 331822"/>
              <a:gd name="connsiteX248" fmla="*/ 134121 w 244878"/>
              <a:gd name="connsiteY248" fmla="*/ 322336 h 331822"/>
              <a:gd name="connsiteX249" fmla="*/ 130607 w 244878"/>
              <a:gd name="connsiteY249" fmla="*/ 322183 h 331822"/>
              <a:gd name="connsiteX250" fmla="*/ 128397 w 244878"/>
              <a:gd name="connsiteY250" fmla="*/ 321269 h 331822"/>
              <a:gd name="connsiteX251" fmla="*/ 123692 w 244878"/>
              <a:gd name="connsiteY251" fmla="*/ 321478 h 331822"/>
              <a:gd name="connsiteX252" fmla="*/ 122529 w 244878"/>
              <a:gd name="connsiteY252" fmla="*/ 321088 h 331822"/>
              <a:gd name="connsiteX253" fmla="*/ 122291 w 244878"/>
              <a:gd name="connsiteY253" fmla="*/ 321497 h 331822"/>
              <a:gd name="connsiteX254" fmla="*/ 121586 w 244878"/>
              <a:gd name="connsiteY254" fmla="*/ 326393 h 331822"/>
              <a:gd name="connsiteX255" fmla="*/ 120653 w 244878"/>
              <a:gd name="connsiteY255" fmla="*/ 328393 h 331822"/>
              <a:gd name="connsiteX256" fmla="*/ 119148 w 244878"/>
              <a:gd name="connsiteY256" fmla="*/ 330460 h 331822"/>
              <a:gd name="connsiteX257" fmla="*/ 117215 w 244878"/>
              <a:gd name="connsiteY257" fmla="*/ 331613 h 331822"/>
              <a:gd name="connsiteX258" fmla="*/ 115681 w 244878"/>
              <a:gd name="connsiteY258" fmla="*/ 331822 h 331822"/>
              <a:gd name="connsiteX259" fmla="*/ 115748 w 244878"/>
              <a:gd name="connsiteY259" fmla="*/ 330317 h 331822"/>
              <a:gd name="connsiteX260" fmla="*/ 116138 w 244878"/>
              <a:gd name="connsiteY260" fmla="*/ 328498 h 331822"/>
              <a:gd name="connsiteX261" fmla="*/ 115024 w 244878"/>
              <a:gd name="connsiteY261" fmla="*/ 328070 h 331822"/>
              <a:gd name="connsiteX262" fmla="*/ 113357 w 244878"/>
              <a:gd name="connsiteY262" fmla="*/ 327870 h 331822"/>
              <a:gd name="connsiteX263" fmla="*/ 112557 w 244878"/>
              <a:gd name="connsiteY263" fmla="*/ 327327 h 331822"/>
              <a:gd name="connsiteX264" fmla="*/ 112766 w 244878"/>
              <a:gd name="connsiteY264" fmla="*/ 325936 h 331822"/>
              <a:gd name="connsiteX265" fmla="*/ 112376 w 244878"/>
              <a:gd name="connsiteY265" fmla="*/ 325126 h 331822"/>
              <a:gd name="connsiteX266" fmla="*/ 111690 w 244878"/>
              <a:gd name="connsiteY266" fmla="*/ 324155 h 331822"/>
              <a:gd name="connsiteX267" fmla="*/ 110014 w 244878"/>
              <a:gd name="connsiteY267" fmla="*/ 322907 h 331822"/>
              <a:gd name="connsiteX268" fmla="*/ 106470 w 244878"/>
              <a:gd name="connsiteY268" fmla="*/ 321059 h 331822"/>
              <a:gd name="connsiteX269" fmla="*/ 104061 w 244878"/>
              <a:gd name="connsiteY269" fmla="*/ 320135 h 331822"/>
              <a:gd name="connsiteX270" fmla="*/ 103156 w 244878"/>
              <a:gd name="connsiteY270" fmla="*/ 321116 h 331822"/>
              <a:gd name="connsiteX271" fmla="*/ 101432 w 244878"/>
              <a:gd name="connsiteY271" fmla="*/ 322097 h 331822"/>
              <a:gd name="connsiteX272" fmla="*/ 98717 w 244878"/>
              <a:gd name="connsiteY272" fmla="*/ 321773 h 331822"/>
              <a:gd name="connsiteX273" fmla="*/ 98050 w 244878"/>
              <a:gd name="connsiteY273" fmla="*/ 322164 h 331822"/>
              <a:gd name="connsiteX274" fmla="*/ 93393 w 244878"/>
              <a:gd name="connsiteY274" fmla="*/ 319211 h 331822"/>
              <a:gd name="connsiteX275" fmla="*/ 88925 w 244878"/>
              <a:gd name="connsiteY275" fmla="*/ 316373 h 331822"/>
              <a:gd name="connsiteX276" fmla="*/ 87449 w 244878"/>
              <a:gd name="connsiteY276" fmla="*/ 316373 h 331822"/>
              <a:gd name="connsiteX277" fmla="*/ 80867 w 244878"/>
              <a:gd name="connsiteY277" fmla="*/ 316944 h 331822"/>
              <a:gd name="connsiteX278" fmla="*/ 80677 w 244878"/>
              <a:gd name="connsiteY278" fmla="*/ 316697 h 331822"/>
              <a:gd name="connsiteX279" fmla="*/ 79524 w 244878"/>
              <a:gd name="connsiteY279" fmla="*/ 315077 h 331822"/>
              <a:gd name="connsiteX280" fmla="*/ 78514 w 244878"/>
              <a:gd name="connsiteY280" fmla="*/ 314563 h 331822"/>
              <a:gd name="connsiteX281" fmla="*/ 77905 w 244878"/>
              <a:gd name="connsiteY281" fmla="*/ 314830 h 331822"/>
              <a:gd name="connsiteX282" fmla="*/ 77495 w 244878"/>
              <a:gd name="connsiteY282" fmla="*/ 315296 h 331822"/>
              <a:gd name="connsiteX283" fmla="*/ 76790 w 244878"/>
              <a:gd name="connsiteY283" fmla="*/ 315220 h 331822"/>
              <a:gd name="connsiteX284" fmla="*/ 73838 w 244878"/>
              <a:gd name="connsiteY284" fmla="*/ 312610 h 331822"/>
              <a:gd name="connsiteX285" fmla="*/ 72628 w 244878"/>
              <a:gd name="connsiteY285" fmla="*/ 312230 h 331822"/>
              <a:gd name="connsiteX286" fmla="*/ 70952 w 244878"/>
              <a:gd name="connsiteY286" fmla="*/ 312582 h 331822"/>
              <a:gd name="connsiteX287" fmla="*/ 68971 w 244878"/>
              <a:gd name="connsiteY287" fmla="*/ 313992 h 331822"/>
              <a:gd name="connsiteX288" fmla="*/ 68104 w 244878"/>
              <a:gd name="connsiteY288" fmla="*/ 315716 h 331822"/>
              <a:gd name="connsiteX289" fmla="*/ 68370 w 244878"/>
              <a:gd name="connsiteY289" fmla="*/ 316706 h 331822"/>
              <a:gd name="connsiteX290" fmla="*/ 69390 w 244878"/>
              <a:gd name="connsiteY290" fmla="*/ 317135 h 331822"/>
              <a:gd name="connsiteX291" fmla="*/ 72085 w 244878"/>
              <a:gd name="connsiteY291" fmla="*/ 316849 h 331822"/>
              <a:gd name="connsiteX292" fmla="*/ 72476 w 244878"/>
              <a:gd name="connsiteY292" fmla="*/ 317135 h 331822"/>
              <a:gd name="connsiteX293" fmla="*/ 72571 w 244878"/>
              <a:gd name="connsiteY293" fmla="*/ 317697 h 331822"/>
              <a:gd name="connsiteX294" fmla="*/ 72276 w 244878"/>
              <a:gd name="connsiteY294" fmla="*/ 318240 h 331822"/>
              <a:gd name="connsiteX295" fmla="*/ 70094 w 244878"/>
              <a:gd name="connsiteY295" fmla="*/ 318687 h 331822"/>
              <a:gd name="connsiteX296" fmla="*/ 69466 w 244878"/>
              <a:gd name="connsiteY296" fmla="*/ 319344 h 331822"/>
              <a:gd name="connsiteX297" fmla="*/ 68827 w 244878"/>
              <a:gd name="connsiteY297" fmla="*/ 319507 h 331822"/>
              <a:gd name="connsiteX298" fmla="*/ 68418 w 244878"/>
              <a:gd name="connsiteY298" fmla="*/ 319611 h 331822"/>
              <a:gd name="connsiteX299" fmla="*/ 66094 w 244878"/>
              <a:gd name="connsiteY299" fmla="*/ 318926 h 331822"/>
              <a:gd name="connsiteX300" fmla="*/ 62636 w 244878"/>
              <a:gd name="connsiteY300" fmla="*/ 318926 h 331822"/>
              <a:gd name="connsiteX301" fmla="*/ 59845 w 244878"/>
              <a:gd name="connsiteY301" fmla="*/ 320135 h 331822"/>
              <a:gd name="connsiteX302" fmla="*/ 55388 w 244878"/>
              <a:gd name="connsiteY302" fmla="*/ 320621 h 331822"/>
              <a:gd name="connsiteX303" fmla="*/ 49263 w 244878"/>
              <a:gd name="connsiteY303" fmla="*/ 320383 h 331822"/>
              <a:gd name="connsiteX304" fmla="*/ 47063 w 244878"/>
              <a:gd name="connsiteY304" fmla="*/ 319478 h 331822"/>
              <a:gd name="connsiteX305" fmla="*/ 45720 w 244878"/>
              <a:gd name="connsiteY305" fmla="*/ 318935 h 331822"/>
              <a:gd name="connsiteX306" fmla="*/ 44748 w 244878"/>
              <a:gd name="connsiteY306" fmla="*/ 316268 h 331822"/>
              <a:gd name="connsiteX307" fmla="*/ 44996 w 244878"/>
              <a:gd name="connsiteY307" fmla="*/ 312315 h 331822"/>
              <a:gd name="connsiteX308" fmla="*/ 46453 w 244878"/>
              <a:gd name="connsiteY308" fmla="*/ 307067 h 331822"/>
              <a:gd name="connsiteX309" fmla="*/ 46863 w 244878"/>
              <a:gd name="connsiteY309" fmla="*/ 303209 h 331822"/>
              <a:gd name="connsiteX310" fmla="*/ 46215 w 244878"/>
              <a:gd name="connsiteY310" fmla="*/ 300752 h 331822"/>
              <a:gd name="connsiteX311" fmla="*/ 47082 w 244878"/>
              <a:gd name="connsiteY311" fmla="*/ 297056 h 331822"/>
              <a:gd name="connsiteX312" fmla="*/ 49463 w 244878"/>
              <a:gd name="connsiteY312" fmla="*/ 292122 h 331822"/>
              <a:gd name="connsiteX313" fmla="*/ 51054 w 244878"/>
              <a:gd name="connsiteY313" fmla="*/ 286912 h 331822"/>
              <a:gd name="connsiteX314" fmla="*/ 51845 w 244878"/>
              <a:gd name="connsiteY314" fmla="*/ 281407 h 331822"/>
              <a:gd name="connsiteX315" fmla="*/ 52997 w 244878"/>
              <a:gd name="connsiteY315" fmla="*/ 277816 h 331822"/>
              <a:gd name="connsiteX316" fmla="*/ 55264 w 244878"/>
              <a:gd name="connsiteY316" fmla="*/ 275291 h 331822"/>
              <a:gd name="connsiteX317" fmla="*/ 60646 w 244878"/>
              <a:gd name="connsiteY317" fmla="*/ 268224 h 331822"/>
              <a:gd name="connsiteX318" fmla="*/ 61084 w 244878"/>
              <a:gd name="connsiteY318" fmla="*/ 267691 h 331822"/>
              <a:gd name="connsiteX319" fmla="*/ 60931 w 244878"/>
              <a:gd name="connsiteY319" fmla="*/ 264157 h 331822"/>
              <a:gd name="connsiteX320" fmla="*/ 59484 w 244878"/>
              <a:gd name="connsiteY320" fmla="*/ 263652 h 331822"/>
              <a:gd name="connsiteX321" fmla="*/ 57360 w 244878"/>
              <a:gd name="connsiteY321" fmla="*/ 262633 h 331822"/>
              <a:gd name="connsiteX322" fmla="*/ 51959 w 244878"/>
              <a:gd name="connsiteY322" fmla="*/ 261375 h 331822"/>
              <a:gd name="connsiteX323" fmla="*/ 46930 w 244878"/>
              <a:gd name="connsiteY323" fmla="*/ 260566 h 331822"/>
              <a:gd name="connsiteX324" fmla="*/ 44643 w 244878"/>
              <a:gd name="connsiteY324" fmla="*/ 259566 h 331822"/>
              <a:gd name="connsiteX325" fmla="*/ 42643 w 244878"/>
              <a:gd name="connsiteY325" fmla="*/ 256889 h 331822"/>
              <a:gd name="connsiteX326" fmla="*/ 41405 w 244878"/>
              <a:gd name="connsiteY326" fmla="*/ 256851 h 331822"/>
              <a:gd name="connsiteX327" fmla="*/ 38976 w 244878"/>
              <a:gd name="connsiteY327" fmla="*/ 257813 h 331822"/>
              <a:gd name="connsiteX328" fmla="*/ 35947 w 244878"/>
              <a:gd name="connsiteY328" fmla="*/ 258461 h 331822"/>
              <a:gd name="connsiteX329" fmla="*/ 33737 w 244878"/>
              <a:gd name="connsiteY329" fmla="*/ 257899 h 331822"/>
              <a:gd name="connsiteX330" fmla="*/ 32356 w 244878"/>
              <a:gd name="connsiteY330" fmla="*/ 258004 h 331822"/>
              <a:gd name="connsiteX331" fmla="*/ 31585 w 244878"/>
              <a:gd name="connsiteY331" fmla="*/ 258499 h 331822"/>
              <a:gd name="connsiteX332" fmla="*/ 31194 w 244878"/>
              <a:gd name="connsiteY332" fmla="*/ 258061 h 331822"/>
              <a:gd name="connsiteX333" fmla="*/ 30642 w 244878"/>
              <a:gd name="connsiteY333" fmla="*/ 255765 h 331822"/>
              <a:gd name="connsiteX334" fmla="*/ 29489 w 244878"/>
              <a:gd name="connsiteY334" fmla="*/ 255165 h 331822"/>
              <a:gd name="connsiteX335" fmla="*/ 27699 w 244878"/>
              <a:gd name="connsiteY335" fmla="*/ 254632 h 331822"/>
              <a:gd name="connsiteX336" fmla="*/ 26584 w 244878"/>
              <a:gd name="connsiteY336" fmla="*/ 254860 h 331822"/>
              <a:gd name="connsiteX337" fmla="*/ 25813 w 244878"/>
              <a:gd name="connsiteY337" fmla="*/ 256003 h 331822"/>
              <a:gd name="connsiteX338" fmla="*/ 24622 w 244878"/>
              <a:gd name="connsiteY338" fmla="*/ 256804 h 331822"/>
              <a:gd name="connsiteX339" fmla="*/ 23536 w 244878"/>
              <a:gd name="connsiteY339" fmla="*/ 256546 h 331822"/>
              <a:gd name="connsiteX340" fmla="*/ 20117 w 244878"/>
              <a:gd name="connsiteY340" fmla="*/ 251231 h 331822"/>
              <a:gd name="connsiteX341" fmla="*/ 19240 w 244878"/>
              <a:gd name="connsiteY341" fmla="*/ 250050 h 331822"/>
              <a:gd name="connsiteX342" fmla="*/ 19021 w 244878"/>
              <a:gd name="connsiteY342" fmla="*/ 248964 h 331822"/>
              <a:gd name="connsiteX343" fmla="*/ 18164 w 244878"/>
              <a:gd name="connsiteY343" fmla="*/ 246983 h 331822"/>
              <a:gd name="connsiteX344" fmla="*/ 16126 w 244878"/>
              <a:gd name="connsiteY344" fmla="*/ 245002 h 331822"/>
              <a:gd name="connsiteX345" fmla="*/ 14097 w 244878"/>
              <a:gd name="connsiteY345" fmla="*/ 244373 h 331822"/>
              <a:gd name="connsiteX346" fmla="*/ 13087 w 244878"/>
              <a:gd name="connsiteY346" fmla="*/ 244592 h 331822"/>
              <a:gd name="connsiteX347" fmla="*/ 13202 w 244878"/>
              <a:gd name="connsiteY347" fmla="*/ 242135 h 331822"/>
              <a:gd name="connsiteX348" fmla="*/ 13992 w 244878"/>
              <a:gd name="connsiteY348" fmla="*/ 238563 h 331822"/>
              <a:gd name="connsiteX349" fmla="*/ 14754 w 244878"/>
              <a:gd name="connsiteY349" fmla="*/ 236696 h 331822"/>
              <a:gd name="connsiteX350" fmla="*/ 15764 w 244878"/>
              <a:gd name="connsiteY350" fmla="*/ 235172 h 331822"/>
              <a:gd name="connsiteX351" fmla="*/ 16840 w 244878"/>
              <a:gd name="connsiteY351" fmla="*/ 234105 h 331822"/>
              <a:gd name="connsiteX352" fmla="*/ 17078 w 244878"/>
              <a:gd name="connsiteY352" fmla="*/ 232181 h 331822"/>
              <a:gd name="connsiteX353" fmla="*/ 16907 w 244878"/>
              <a:gd name="connsiteY353" fmla="*/ 230362 h 331822"/>
              <a:gd name="connsiteX354" fmla="*/ 15669 w 244878"/>
              <a:gd name="connsiteY354" fmla="*/ 230076 h 331822"/>
              <a:gd name="connsiteX355" fmla="*/ 12563 w 244878"/>
              <a:gd name="connsiteY355" fmla="*/ 228733 h 331822"/>
              <a:gd name="connsiteX356" fmla="*/ 10725 w 244878"/>
              <a:gd name="connsiteY356" fmla="*/ 227314 h 331822"/>
              <a:gd name="connsiteX357" fmla="*/ 9363 w 244878"/>
              <a:gd name="connsiteY357" fmla="*/ 225533 h 331822"/>
              <a:gd name="connsiteX358" fmla="*/ 7572 w 244878"/>
              <a:gd name="connsiteY358" fmla="*/ 223085 h 331822"/>
              <a:gd name="connsiteX359" fmla="*/ 6810 w 244878"/>
              <a:gd name="connsiteY359" fmla="*/ 220589 h 331822"/>
              <a:gd name="connsiteX360" fmla="*/ 6772 w 244878"/>
              <a:gd name="connsiteY360" fmla="*/ 218103 h 331822"/>
              <a:gd name="connsiteX361" fmla="*/ 6982 w 244878"/>
              <a:gd name="connsiteY361" fmla="*/ 216989 h 331822"/>
              <a:gd name="connsiteX362" fmla="*/ 7115 w 244878"/>
              <a:gd name="connsiteY362" fmla="*/ 216217 h 331822"/>
              <a:gd name="connsiteX363" fmla="*/ 8553 w 244878"/>
              <a:gd name="connsiteY363" fmla="*/ 212331 h 331822"/>
              <a:gd name="connsiteX364" fmla="*/ 13621 w 244878"/>
              <a:gd name="connsiteY364" fmla="*/ 208845 h 331822"/>
              <a:gd name="connsiteX365" fmla="*/ 13059 w 244878"/>
              <a:gd name="connsiteY365" fmla="*/ 205330 h 331822"/>
              <a:gd name="connsiteX366" fmla="*/ 12983 w 244878"/>
              <a:gd name="connsiteY366" fmla="*/ 203168 h 331822"/>
              <a:gd name="connsiteX367" fmla="*/ 11754 w 244878"/>
              <a:gd name="connsiteY367" fmla="*/ 201758 h 331822"/>
              <a:gd name="connsiteX368" fmla="*/ 9296 w 244878"/>
              <a:gd name="connsiteY368" fmla="*/ 201187 h 331822"/>
              <a:gd name="connsiteX369" fmla="*/ 8649 w 244878"/>
              <a:gd name="connsiteY369" fmla="*/ 200206 h 331822"/>
              <a:gd name="connsiteX370" fmla="*/ 8372 w 244878"/>
              <a:gd name="connsiteY370" fmla="*/ 199244 h 331822"/>
              <a:gd name="connsiteX371" fmla="*/ 10173 w 244878"/>
              <a:gd name="connsiteY371" fmla="*/ 197082 h 331822"/>
              <a:gd name="connsiteX372" fmla="*/ 7991 w 244878"/>
              <a:gd name="connsiteY372" fmla="*/ 195377 h 331822"/>
              <a:gd name="connsiteX373" fmla="*/ 7001 w 244878"/>
              <a:gd name="connsiteY373" fmla="*/ 193691 h 331822"/>
              <a:gd name="connsiteX374" fmla="*/ 3972 w 244878"/>
              <a:gd name="connsiteY374" fmla="*/ 191462 h 331822"/>
              <a:gd name="connsiteX375" fmla="*/ 3648 w 244878"/>
              <a:gd name="connsiteY375" fmla="*/ 190690 h 331822"/>
              <a:gd name="connsiteX376" fmla="*/ 5105 w 244878"/>
              <a:gd name="connsiteY376" fmla="*/ 184166 h 331822"/>
              <a:gd name="connsiteX377" fmla="*/ 3991 w 244878"/>
              <a:gd name="connsiteY377" fmla="*/ 182261 h 331822"/>
              <a:gd name="connsiteX378" fmla="*/ 2610 w 244878"/>
              <a:gd name="connsiteY378" fmla="*/ 181289 h 331822"/>
              <a:gd name="connsiteX379" fmla="*/ 1000 w 244878"/>
              <a:gd name="connsiteY379" fmla="*/ 180813 h 331822"/>
              <a:gd name="connsiteX380" fmla="*/ 257 w 244878"/>
              <a:gd name="connsiteY380" fmla="*/ 179908 h 331822"/>
              <a:gd name="connsiteX381" fmla="*/ 0 w 244878"/>
              <a:gd name="connsiteY381" fmla="*/ 178870 h 331822"/>
              <a:gd name="connsiteX382" fmla="*/ 286 w 244878"/>
              <a:gd name="connsiteY382" fmla="*/ 178232 h 331822"/>
              <a:gd name="connsiteX383" fmla="*/ 2181 w 244878"/>
              <a:gd name="connsiteY383" fmla="*/ 178422 h 331822"/>
              <a:gd name="connsiteX384" fmla="*/ 2772 w 244878"/>
              <a:gd name="connsiteY384" fmla="*/ 177746 h 331822"/>
              <a:gd name="connsiteX385" fmla="*/ 7286 w 244878"/>
              <a:gd name="connsiteY385" fmla="*/ 173898 h 331822"/>
              <a:gd name="connsiteX386" fmla="*/ 7477 w 244878"/>
              <a:gd name="connsiteY386" fmla="*/ 173155 h 331822"/>
              <a:gd name="connsiteX387" fmla="*/ 6848 w 244878"/>
              <a:gd name="connsiteY387" fmla="*/ 172736 h 331822"/>
              <a:gd name="connsiteX388" fmla="*/ 6029 w 244878"/>
              <a:gd name="connsiteY388" fmla="*/ 172517 h 331822"/>
              <a:gd name="connsiteX389" fmla="*/ 5820 w 244878"/>
              <a:gd name="connsiteY389" fmla="*/ 171707 h 331822"/>
              <a:gd name="connsiteX390" fmla="*/ 5848 w 244878"/>
              <a:gd name="connsiteY390" fmla="*/ 170640 h 331822"/>
              <a:gd name="connsiteX391" fmla="*/ 8258 w 244878"/>
              <a:gd name="connsiteY391" fmla="*/ 165068 h 331822"/>
              <a:gd name="connsiteX392" fmla="*/ 8972 w 244878"/>
              <a:gd name="connsiteY392" fmla="*/ 162687 h 331822"/>
              <a:gd name="connsiteX393" fmla="*/ 9134 w 244878"/>
              <a:gd name="connsiteY393" fmla="*/ 161001 h 331822"/>
              <a:gd name="connsiteX394" fmla="*/ 8982 w 244878"/>
              <a:gd name="connsiteY394" fmla="*/ 159334 h 331822"/>
              <a:gd name="connsiteX395" fmla="*/ 7591 w 244878"/>
              <a:gd name="connsiteY395" fmla="*/ 156715 h 331822"/>
              <a:gd name="connsiteX396" fmla="*/ 6248 w 244878"/>
              <a:gd name="connsiteY396" fmla="*/ 154619 h 331822"/>
              <a:gd name="connsiteX397" fmla="*/ 6201 w 244878"/>
              <a:gd name="connsiteY397" fmla="*/ 152952 h 331822"/>
              <a:gd name="connsiteX398" fmla="*/ 5220 w 244878"/>
              <a:gd name="connsiteY398" fmla="*/ 152076 h 331822"/>
              <a:gd name="connsiteX399" fmla="*/ 2438 w 244878"/>
              <a:gd name="connsiteY399" fmla="*/ 147590 h 331822"/>
              <a:gd name="connsiteX400" fmla="*/ 2438 w 244878"/>
              <a:gd name="connsiteY400" fmla="*/ 145856 h 331822"/>
              <a:gd name="connsiteX401" fmla="*/ 4010 w 244878"/>
              <a:gd name="connsiteY401" fmla="*/ 144504 h 331822"/>
              <a:gd name="connsiteX402" fmla="*/ 6210 w 244878"/>
              <a:gd name="connsiteY402" fmla="*/ 143646 h 331822"/>
              <a:gd name="connsiteX403" fmla="*/ 6944 w 244878"/>
              <a:gd name="connsiteY403" fmla="*/ 142932 h 331822"/>
              <a:gd name="connsiteX404" fmla="*/ 8258 w 244878"/>
              <a:gd name="connsiteY404" fmla="*/ 142484 h 331822"/>
              <a:gd name="connsiteX405" fmla="*/ 11754 w 244878"/>
              <a:gd name="connsiteY405" fmla="*/ 143780 h 331822"/>
              <a:gd name="connsiteX406" fmla="*/ 13316 w 244878"/>
              <a:gd name="connsiteY406" fmla="*/ 144904 h 331822"/>
              <a:gd name="connsiteX407" fmla="*/ 13754 w 244878"/>
              <a:gd name="connsiteY407" fmla="*/ 144675 h 331822"/>
              <a:gd name="connsiteX408" fmla="*/ 15164 w 244878"/>
              <a:gd name="connsiteY408" fmla="*/ 143456 h 331822"/>
              <a:gd name="connsiteX409" fmla="*/ 17640 w 244878"/>
              <a:gd name="connsiteY409" fmla="*/ 143646 h 331822"/>
              <a:gd name="connsiteX410" fmla="*/ 23631 w 244878"/>
              <a:gd name="connsiteY410" fmla="*/ 141189 h 331822"/>
              <a:gd name="connsiteX411" fmla="*/ 24527 w 244878"/>
              <a:gd name="connsiteY411" fmla="*/ 140008 h 331822"/>
              <a:gd name="connsiteX412" fmla="*/ 25194 w 244878"/>
              <a:gd name="connsiteY412" fmla="*/ 138751 h 331822"/>
              <a:gd name="connsiteX413" fmla="*/ 25251 w 244878"/>
              <a:gd name="connsiteY413" fmla="*/ 138198 h 331822"/>
              <a:gd name="connsiteX414" fmla="*/ 22927 w 244878"/>
              <a:gd name="connsiteY414" fmla="*/ 135769 h 331822"/>
              <a:gd name="connsiteX415" fmla="*/ 22860 w 244878"/>
              <a:gd name="connsiteY415" fmla="*/ 134874 h 331822"/>
              <a:gd name="connsiteX416" fmla="*/ 23165 w 244878"/>
              <a:gd name="connsiteY416" fmla="*/ 133864 h 331822"/>
              <a:gd name="connsiteX417" fmla="*/ 23822 w 244878"/>
              <a:gd name="connsiteY417" fmla="*/ 133064 h 331822"/>
              <a:gd name="connsiteX418" fmla="*/ 25194 w 244878"/>
              <a:gd name="connsiteY418" fmla="*/ 132521 h 331822"/>
              <a:gd name="connsiteX419" fmla="*/ 26651 w 244878"/>
              <a:gd name="connsiteY419" fmla="*/ 131454 h 331822"/>
              <a:gd name="connsiteX420" fmla="*/ 29918 w 244878"/>
              <a:gd name="connsiteY420" fmla="*/ 128426 h 331822"/>
              <a:gd name="connsiteX421" fmla="*/ 31051 w 244878"/>
              <a:gd name="connsiteY421" fmla="*/ 125797 h 331822"/>
              <a:gd name="connsiteX422" fmla="*/ 31404 w 244878"/>
              <a:gd name="connsiteY422" fmla="*/ 122939 h 331822"/>
              <a:gd name="connsiteX423" fmla="*/ 31470 w 244878"/>
              <a:gd name="connsiteY423" fmla="*/ 120805 h 331822"/>
              <a:gd name="connsiteX424" fmla="*/ 30575 w 244878"/>
              <a:gd name="connsiteY424" fmla="*/ 119110 h 331822"/>
              <a:gd name="connsiteX425" fmla="*/ 29670 w 244878"/>
              <a:gd name="connsiteY425" fmla="*/ 118015 h 331822"/>
              <a:gd name="connsiteX426" fmla="*/ 28442 w 244878"/>
              <a:gd name="connsiteY426" fmla="*/ 118186 h 331822"/>
              <a:gd name="connsiteX427" fmla="*/ 26051 w 244878"/>
              <a:gd name="connsiteY427" fmla="*/ 118100 h 331822"/>
              <a:gd name="connsiteX428" fmla="*/ 23813 w 244878"/>
              <a:gd name="connsiteY428" fmla="*/ 117148 h 331822"/>
              <a:gd name="connsiteX429" fmla="*/ 22584 w 244878"/>
              <a:gd name="connsiteY429" fmla="*/ 115605 h 331822"/>
              <a:gd name="connsiteX430" fmla="*/ 22279 w 244878"/>
              <a:gd name="connsiteY430" fmla="*/ 114252 h 331822"/>
              <a:gd name="connsiteX431" fmla="*/ 22841 w 244878"/>
              <a:gd name="connsiteY431" fmla="*/ 113395 h 331822"/>
              <a:gd name="connsiteX432" fmla="*/ 23012 w 244878"/>
              <a:gd name="connsiteY432" fmla="*/ 112347 h 331822"/>
              <a:gd name="connsiteX433" fmla="*/ 22650 w 244878"/>
              <a:gd name="connsiteY433" fmla="*/ 111290 h 331822"/>
              <a:gd name="connsiteX434" fmla="*/ 22793 w 244878"/>
              <a:gd name="connsiteY434" fmla="*/ 110404 h 331822"/>
              <a:gd name="connsiteX435" fmla="*/ 23803 w 244878"/>
              <a:gd name="connsiteY435" fmla="*/ 109690 h 331822"/>
              <a:gd name="connsiteX436" fmla="*/ 30880 w 244878"/>
              <a:gd name="connsiteY436" fmla="*/ 109709 h 331822"/>
              <a:gd name="connsiteX437" fmla="*/ 31413 w 244878"/>
              <a:gd name="connsiteY437" fmla="*/ 108928 h 331822"/>
              <a:gd name="connsiteX438" fmla="*/ 31890 w 244878"/>
              <a:gd name="connsiteY438" fmla="*/ 104813 h 331822"/>
              <a:gd name="connsiteX439" fmla="*/ 33661 w 244878"/>
              <a:gd name="connsiteY439" fmla="*/ 98536 h 331822"/>
              <a:gd name="connsiteX440" fmla="*/ 35328 w 244878"/>
              <a:gd name="connsiteY440" fmla="*/ 95031 h 331822"/>
              <a:gd name="connsiteX441" fmla="*/ 35605 w 244878"/>
              <a:gd name="connsiteY441" fmla="*/ 93554 h 331822"/>
              <a:gd name="connsiteX442" fmla="*/ 35576 w 244878"/>
              <a:gd name="connsiteY442" fmla="*/ 85220 h 331822"/>
              <a:gd name="connsiteX443" fmla="*/ 35805 w 244878"/>
              <a:gd name="connsiteY443" fmla="*/ 80981 h 331822"/>
              <a:gd name="connsiteX444" fmla="*/ 34595 w 244878"/>
              <a:gd name="connsiteY444" fmla="*/ 78991 h 331822"/>
              <a:gd name="connsiteX445" fmla="*/ 31956 w 244878"/>
              <a:gd name="connsiteY445" fmla="*/ 76810 h 331822"/>
              <a:gd name="connsiteX446" fmla="*/ 32518 w 244878"/>
              <a:gd name="connsiteY446" fmla="*/ 72257 h 331822"/>
              <a:gd name="connsiteX447" fmla="*/ 33394 w 244878"/>
              <a:gd name="connsiteY447" fmla="*/ 68694 h 331822"/>
              <a:gd name="connsiteX448" fmla="*/ 36052 w 244878"/>
              <a:gd name="connsiteY448" fmla="*/ 64313 h 331822"/>
              <a:gd name="connsiteX449" fmla="*/ 38157 w 244878"/>
              <a:gd name="connsiteY449" fmla="*/ 63112 h 331822"/>
              <a:gd name="connsiteX450" fmla="*/ 47349 w 244878"/>
              <a:gd name="connsiteY450" fmla="*/ 62398 h 331822"/>
              <a:gd name="connsiteX451" fmla="*/ 57502 w 244878"/>
              <a:gd name="connsiteY451" fmla="*/ 62694 h 331822"/>
              <a:gd name="connsiteX452" fmla="*/ 61722 w 244878"/>
              <a:gd name="connsiteY452" fmla="*/ 69313 h 331822"/>
              <a:gd name="connsiteX453" fmla="*/ 60160 w 244878"/>
              <a:gd name="connsiteY453" fmla="*/ 72704 h 331822"/>
              <a:gd name="connsiteX454" fmla="*/ 62627 w 244878"/>
              <a:gd name="connsiteY454" fmla="*/ 74285 h 331822"/>
              <a:gd name="connsiteX455" fmla="*/ 63817 w 244878"/>
              <a:gd name="connsiteY455" fmla="*/ 73705 h 331822"/>
              <a:gd name="connsiteX456" fmla="*/ 64722 w 244878"/>
              <a:gd name="connsiteY456" fmla="*/ 70751 h 331822"/>
              <a:gd name="connsiteX457" fmla="*/ 65322 w 244878"/>
              <a:gd name="connsiteY457" fmla="*/ 67475 h 331822"/>
              <a:gd name="connsiteX458" fmla="*/ 66189 w 244878"/>
              <a:gd name="connsiteY458" fmla="*/ 66484 h 331822"/>
              <a:gd name="connsiteX459" fmla="*/ 69332 w 244878"/>
              <a:gd name="connsiteY459" fmla="*/ 68932 h 331822"/>
              <a:gd name="connsiteX460" fmla="*/ 70437 w 244878"/>
              <a:gd name="connsiteY460" fmla="*/ 70609 h 331822"/>
              <a:gd name="connsiteX461" fmla="*/ 70504 w 244878"/>
              <a:gd name="connsiteY461" fmla="*/ 75981 h 331822"/>
              <a:gd name="connsiteX462" fmla="*/ 71666 w 244878"/>
              <a:gd name="connsiteY462" fmla="*/ 68694 h 331822"/>
              <a:gd name="connsiteX463" fmla="*/ 70799 w 244878"/>
              <a:gd name="connsiteY463" fmla="*/ 63579 h 331822"/>
              <a:gd name="connsiteX464" fmla="*/ 71390 w 244878"/>
              <a:gd name="connsiteY464" fmla="*/ 58607 h 331822"/>
              <a:gd name="connsiteX465" fmla="*/ 72657 w 244878"/>
              <a:gd name="connsiteY465" fmla="*/ 56016 h 331822"/>
              <a:gd name="connsiteX466" fmla="*/ 73819 w 244878"/>
              <a:gd name="connsiteY466" fmla="*/ 54368 h 331822"/>
              <a:gd name="connsiteX467" fmla="*/ 81267 w 244878"/>
              <a:gd name="connsiteY467" fmla="*/ 56150 h 331822"/>
              <a:gd name="connsiteX468" fmla="*/ 89497 w 244878"/>
              <a:gd name="connsiteY468" fmla="*/ 55235 h 331822"/>
              <a:gd name="connsiteX469" fmla="*/ 92612 w 244878"/>
              <a:gd name="connsiteY469" fmla="*/ 57159 h 331822"/>
              <a:gd name="connsiteX470" fmla="*/ 99651 w 244878"/>
              <a:gd name="connsiteY470" fmla="*/ 66751 h 331822"/>
              <a:gd name="connsiteX471" fmla="*/ 102003 w 244878"/>
              <a:gd name="connsiteY471" fmla="*/ 68323 h 331822"/>
              <a:gd name="connsiteX472" fmla="*/ 104965 w 244878"/>
              <a:gd name="connsiteY472" fmla="*/ 68818 h 331822"/>
              <a:gd name="connsiteX473" fmla="*/ 100879 w 244878"/>
              <a:gd name="connsiteY473" fmla="*/ 66770 h 331822"/>
              <a:gd name="connsiteX474" fmla="*/ 92345 w 244878"/>
              <a:gd name="connsiteY474" fmla="*/ 55093 h 331822"/>
              <a:gd name="connsiteX475" fmla="*/ 89792 w 244878"/>
              <a:gd name="connsiteY475" fmla="*/ 53645 h 331822"/>
              <a:gd name="connsiteX476" fmla="*/ 85868 w 244878"/>
              <a:gd name="connsiteY476" fmla="*/ 53207 h 331822"/>
              <a:gd name="connsiteX477" fmla="*/ 83420 w 244878"/>
              <a:gd name="connsiteY477" fmla="*/ 52064 h 331822"/>
              <a:gd name="connsiteX478" fmla="*/ 81877 w 244878"/>
              <a:gd name="connsiteY478" fmla="*/ 50292 h 331822"/>
              <a:gd name="connsiteX479" fmla="*/ 81429 w 244878"/>
              <a:gd name="connsiteY479" fmla="*/ 48701 h 331822"/>
              <a:gd name="connsiteX480" fmla="*/ 81515 w 244878"/>
              <a:gd name="connsiteY480" fmla="*/ 36843 h 331822"/>
              <a:gd name="connsiteX481" fmla="*/ 80048 w 244878"/>
              <a:gd name="connsiteY481" fmla="*/ 35071 h 331822"/>
              <a:gd name="connsiteX482" fmla="*/ 78143 w 244878"/>
              <a:gd name="connsiteY482" fmla="*/ 34461 h 331822"/>
              <a:gd name="connsiteX483" fmla="*/ 76952 w 244878"/>
              <a:gd name="connsiteY483" fmla="*/ 35271 h 331822"/>
              <a:gd name="connsiteX484" fmla="*/ 74514 w 244878"/>
              <a:gd name="connsiteY484" fmla="*/ 35280 h 331822"/>
              <a:gd name="connsiteX485" fmla="*/ 74000 w 244878"/>
              <a:gd name="connsiteY485" fmla="*/ 32585 h 331822"/>
              <a:gd name="connsiteX486" fmla="*/ 74600 w 244878"/>
              <a:gd name="connsiteY486" fmla="*/ 30585 h 331822"/>
              <a:gd name="connsiteX487" fmla="*/ 79495 w 244878"/>
              <a:gd name="connsiteY487" fmla="*/ 29213 h 331822"/>
              <a:gd name="connsiteX488" fmla="*/ 82725 w 244878"/>
              <a:gd name="connsiteY488" fmla="*/ 27375 h 331822"/>
              <a:gd name="connsiteX489" fmla="*/ 82867 w 244878"/>
              <a:gd name="connsiteY489" fmla="*/ 24127 h 331822"/>
              <a:gd name="connsiteX490" fmla="*/ 80829 w 244878"/>
              <a:gd name="connsiteY490" fmla="*/ 21564 h 331822"/>
              <a:gd name="connsiteX491" fmla="*/ 78391 w 244878"/>
              <a:gd name="connsiteY491" fmla="*/ 16859 h 331822"/>
              <a:gd name="connsiteX492" fmla="*/ 75524 w 244878"/>
              <a:gd name="connsiteY492" fmla="*/ 12430 h 331822"/>
              <a:gd name="connsiteX493" fmla="*/ 75200 w 244878"/>
              <a:gd name="connsiteY493" fmla="*/ 7268 h 331822"/>
              <a:gd name="connsiteX494" fmla="*/ 75209 w 244878"/>
              <a:gd name="connsiteY494" fmla="*/ 7268 h 331822"/>
              <a:gd name="connsiteX495" fmla="*/ 80200 w 244878"/>
              <a:gd name="connsiteY495" fmla="*/ 7363 h 331822"/>
              <a:gd name="connsiteX496" fmla="*/ 81420 w 244878"/>
              <a:gd name="connsiteY496" fmla="*/ 7563 h 331822"/>
              <a:gd name="connsiteX497" fmla="*/ 88982 w 244878"/>
              <a:gd name="connsiteY497" fmla="*/ 9982 h 331822"/>
              <a:gd name="connsiteX498" fmla="*/ 90830 w 244878"/>
              <a:gd name="connsiteY498" fmla="*/ 11677 h 331822"/>
              <a:gd name="connsiteX499" fmla="*/ 93154 w 244878"/>
              <a:gd name="connsiteY499" fmla="*/ 11754 h 331822"/>
              <a:gd name="connsiteX500" fmla="*/ 97346 w 244878"/>
              <a:gd name="connsiteY500" fmla="*/ 10173 h 331822"/>
              <a:gd name="connsiteX501" fmla="*/ 100479 w 244878"/>
              <a:gd name="connsiteY501" fmla="*/ 9477 h 331822"/>
              <a:gd name="connsiteX502" fmla="*/ 101689 w 244878"/>
              <a:gd name="connsiteY502" fmla="*/ 10458 h 331822"/>
              <a:gd name="connsiteX503" fmla="*/ 103394 w 244878"/>
              <a:gd name="connsiteY503" fmla="*/ 10868 h 331822"/>
              <a:gd name="connsiteX504" fmla="*/ 103775 w 244878"/>
              <a:gd name="connsiteY504" fmla="*/ 10868 h 331822"/>
              <a:gd name="connsiteX505" fmla="*/ 72980 w 244878"/>
              <a:gd name="connsiteY505" fmla="*/ 16059 h 331822"/>
              <a:gd name="connsiteX506" fmla="*/ 71942 w 244878"/>
              <a:gd name="connsiteY506" fmla="*/ 17193 h 331822"/>
              <a:gd name="connsiteX507" fmla="*/ 69390 w 244878"/>
              <a:gd name="connsiteY507" fmla="*/ 17059 h 331822"/>
              <a:gd name="connsiteX508" fmla="*/ 67961 w 244878"/>
              <a:gd name="connsiteY508" fmla="*/ 15992 h 331822"/>
              <a:gd name="connsiteX509" fmla="*/ 68428 w 244878"/>
              <a:gd name="connsiteY509" fmla="*/ 14859 h 331822"/>
              <a:gd name="connsiteX510" fmla="*/ 69780 w 244878"/>
              <a:gd name="connsiteY510" fmla="*/ 13992 h 331822"/>
              <a:gd name="connsiteX511" fmla="*/ 70904 w 244878"/>
              <a:gd name="connsiteY511" fmla="*/ 13859 h 331822"/>
              <a:gd name="connsiteX512" fmla="*/ 72599 w 244878"/>
              <a:gd name="connsiteY512" fmla="*/ 14392 h 331822"/>
              <a:gd name="connsiteX513" fmla="*/ 72980 w 244878"/>
              <a:gd name="connsiteY513" fmla="*/ 16059 h 331822"/>
              <a:gd name="connsiteX514" fmla="*/ 209883 w 244878"/>
              <a:gd name="connsiteY514" fmla="*/ 31223 h 331822"/>
              <a:gd name="connsiteX515" fmla="*/ 210550 w 244878"/>
              <a:gd name="connsiteY515" fmla="*/ 34299 h 331822"/>
              <a:gd name="connsiteX516" fmla="*/ 209836 w 244878"/>
              <a:gd name="connsiteY516" fmla="*/ 35871 h 331822"/>
              <a:gd name="connsiteX517" fmla="*/ 206835 w 244878"/>
              <a:gd name="connsiteY517" fmla="*/ 33261 h 331822"/>
              <a:gd name="connsiteX518" fmla="*/ 203816 w 244878"/>
              <a:gd name="connsiteY518" fmla="*/ 33299 h 331822"/>
              <a:gd name="connsiteX519" fmla="*/ 202016 w 244878"/>
              <a:gd name="connsiteY519" fmla="*/ 37309 h 331822"/>
              <a:gd name="connsiteX520" fmla="*/ 200672 w 244878"/>
              <a:gd name="connsiteY520" fmla="*/ 37481 h 331822"/>
              <a:gd name="connsiteX521" fmla="*/ 196015 w 244878"/>
              <a:gd name="connsiteY521" fmla="*/ 33833 h 331822"/>
              <a:gd name="connsiteX522" fmla="*/ 195262 w 244878"/>
              <a:gd name="connsiteY522" fmla="*/ 32052 h 331822"/>
              <a:gd name="connsiteX523" fmla="*/ 195110 w 244878"/>
              <a:gd name="connsiteY523" fmla="*/ 30566 h 331822"/>
              <a:gd name="connsiteX524" fmla="*/ 195777 w 244878"/>
              <a:gd name="connsiteY524" fmla="*/ 25422 h 331822"/>
              <a:gd name="connsiteX525" fmla="*/ 195653 w 244878"/>
              <a:gd name="connsiteY525" fmla="*/ 23803 h 331822"/>
              <a:gd name="connsiteX526" fmla="*/ 197120 w 244878"/>
              <a:gd name="connsiteY526" fmla="*/ 22031 h 331822"/>
              <a:gd name="connsiteX527" fmla="*/ 197348 w 244878"/>
              <a:gd name="connsiteY527" fmla="*/ 19460 h 331822"/>
              <a:gd name="connsiteX528" fmla="*/ 199930 w 244878"/>
              <a:gd name="connsiteY528" fmla="*/ 16755 h 331822"/>
              <a:gd name="connsiteX529" fmla="*/ 202234 w 244878"/>
              <a:gd name="connsiteY529" fmla="*/ 16650 h 331822"/>
              <a:gd name="connsiteX530" fmla="*/ 202959 w 244878"/>
              <a:gd name="connsiteY530" fmla="*/ 18945 h 331822"/>
              <a:gd name="connsiteX531" fmla="*/ 204063 w 244878"/>
              <a:gd name="connsiteY531" fmla="*/ 20526 h 331822"/>
              <a:gd name="connsiteX532" fmla="*/ 207931 w 244878"/>
              <a:gd name="connsiteY532" fmla="*/ 22298 h 331822"/>
              <a:gd name="connsiteX533" fmla="*/ 208512 w 244878"/>
              <a:gd name="connsiteY533" fmla="*/ 23098 h 331822"/>
              <a:gd name="connsiteX534" fmla="*/ 208864 w 244878"/>
              <a:gd name="connsiteY534" fmla="*/ 24212 h 331822"/>
              <a:gd name="connsiteX535" fmla="*/ 207064 w 244878"/>
              <a:gd name="connsiteY535" fmla="*/ 26384 h 331822"/>
              <a:gd name="connsiteX536" fmla="*/ 206455 w 244878"/>
              <a:gd name="connsiteY536" fmla="*/ 27499 h 331822"/>
              <a:gd name="connsiteX537" fmla="*/ 207026 w 244878"/>
              <a:gd name="connsiteY537" fmla="*/ 29280 h 331822"/>
              <a:gd name="connsiteX538" fmla="*/ 209883 w 244878"/>
              <a:gd name="connsiteY538" fmla="*/ 31223 h 331822"/>
              <a:gd name="connsiteX539" fmla="*/ 145027 w 244878"/>
              <a:gd name="connsiteY539" fmla="*/ 29613 h 331822"/>
              <a:gd name="connsiteX540" fmla="*/ 140922 w 244878"/>
              <a:gd name="connsiteY540" fmla="*/ 29699 h 331822"/>
              <a:gd name="connsiteX541" fmla="*/ 139351 w 244878"/>
              <a:gd name="connsiteY541" fmla="*/ 27870 h 331822"/>
              <a:gd name="connsiteX542" fmla="*/ 137779 w 244878"/>
              <a:gd name="connsiteY542" fmla="*/ 27403 h 331822"/>
              <a:gd name="connsiteX543" fmla="*/ 138627 w 244878"/>
              <a:gd name="connsiteY543" fmla="*/ 25146 h 331822"/>
              <a:gd name="connsiteX544" fmla="*/ 139732 w 244878"/>
              <a:gd name="connsiteY544" fmla="*/ 24317 h 331822"/>
              <a:gd name="connsiteX545" fmla="*/ 143704 w 244878"/>
              <a:gd name="connsiteY545" fmla="*/ 25793 h 331822"/>
              <a:gd name="connsiteX546" fmla="*/ 144951 w 244878"/>
              <a:gd name="connsiteY546" fmla="*/ 28680 h 331822"/>
              <a:gd name="connsiteX547" fmla="*/ 145027 w 244878"/>
              <a:gd name="connsiteY547" fmla="*/ 29613 h 331822"/>
              <a:gd name="connsiteX548" fmla="*/ 223304 w 244878"/>
              <a:gd name="connsiteY548" fmla="*/ 50920 h 331822"/>
              <a:gd name="connsiteX549" fmla="*/ 222952 w 244878"/>
              <a:gd name="connsiteY549" fmla="*/ 52340 h 331822"/>
              <a:gd name="connsiteX550" fmla="*/ 223361 w 244878"/>
              <a:gd name="connsiteY550" fmla="*/ 54521 h 331822"/>
              <a:gd name="connsiteX551" fmla="*/ 222256 w 244878"/>
              <a:gd name="connsiteY551" fmla="*/ 54359 h 331822"/>
              <a:gd name="connsiteX552" fmla="*/ 218942 w 244878"/>
              <a:gd name="connsiteY552" fmla="*/ 54873 h 331822"/>
              <a:gd name="connsiteX553" fmla="*/ 215665 w 244878"/>
              <a:gd name="connsiteY553" fmla="*/ 54150 h 331822"/>
              <a:gd name="connsiteX554" fmla="*/ 215037 w 244878"/>
              <a:gd name="connsiteY554" fmla="*/ 51435 h 331822"/>
              <a:gd name="connsiteX555" fmla="*/ 215560 w 244878"/>
              <a:gd name="connsiteY555" fmla="*/ 48825 h 331822"/>
              <a:gd name="connsiteX556" fmla="*/ 214246 w 244878"/>
              <a:gd name="connsiteY556" fmla="*/ 47025 h 331822"/>
              <a:gd name="connsiteX557" fmla="*/ 213036 w 244878"/>
              <a:gd name="connsiteY557" fmla="*/ 45968 h 331822"/>
              <a:gd name="connsiteX558" fmla="*/ 212855 w 244878"/>
              <a:gd name="connsiteY558" fmla="*/ 44463 h 331822"/>
              <a:gd name="connsiteX559" fmla="*/ 213055 w 244878"/>
              <a:gd name="connsiteY559" fmla="*/ 42891 h 331822"/>
              <a:gd name="connsiteX560" fmla="*/ 218703 w 244878"/>
              <a:gd name="connsiteY560" fmla="*/ 47101 h 331822"/>
              <a:gd name="connsiteX561" fmla="*/ 223304 w 244878"/>
              <a:gd name="connsiteY561" fmla="*/ 50920 h 331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</a:cxnLst>
            <a:rect l="l" t="t" r="r" b="b"/>
            <a:pathLst>
              <a:path w="244878" h="331822">
                <a:moveTo>
                  <a:pt x="65494" y="12620"/>
                </a:moveTo>
                <a:lnTo>
                  <a:pt x="64875" y="13535"/>
                </a:lnTo>
                <a:lnTo>
                  <a:pt x="65170" y="6991"/>
                </a:lnTo>
                <a:lnTo>
                  <a:pt x="68094" y="0"/>
                </a:lnTo>
                <a:lnTo>
                  <a:pt x="69332" y="162"/>
                </a:lnTo>
                <a:lnTo>
                  <a:pt x="68066" y="2057"/>
                </a:lnTo>
                <a:lnTo>
                  <a:pt x="67694" y="3381"/>
                </a:lnTo>
                <a:lnTo>
                  <a:pt x="67180" y="6020"/>
                </a:lnTo>
                <a:lnTo>
                  <a:pt x="67408" y="7391"/>
                </a:lnTo>
                <a:lnTo>
                  <a:pt x="74085" y="7772"/>
                </a:lnTo>
                <a:lnTo>
                  <a:pt x="73304" y="8992"/>
                </a:lnTo>
                <a:lnTo>
                  <a:pt x="66532" y="9811"/>
                </a:lnTo>
                <a:lnTo>
                  <a:pt x="65494" y="12620"/>
                </a:lnTo>
                <a:close/>
                <a:moveTo>
                  <a:pt x="103775" y="10839"/>
                </a:moveTo>
                <a:lnTo>
                  <a:pt x="103937" y="11687"/>
                </a:lnTo>
                <a:lnTo>
                  <a:pt x="107852" y="12916"/>
                </a:lnTo>
                <a:lnTo>
                  <a:pt x="109499" y="14878"/>
                </a:lnTo>
                <a:lnTo>
                  <a:pt x="111328" y="17850"/>
                </a:lnTo>
                <a:lnTo>
                  <a:pt x="111509" y="22117"/>
                </a:lnTo>
                <a:lnTo>
                  <a:pt x="109166" y="25184"/>
                </a:lnTo>
                <a:lnTo>
                  <a:pt x="107223" y="27127"/>
                </a:lnTo>
                <a:lnTo>
                  <a:pt x="114567" y="26394"/>
                </a:lnTo>
                <a:lnTo>
                  <a:pt x="115300" y="28146"/>
                </a:lnTo>
                <a:lnTo>
                  <a:pt x="116414" y="30042"/>
                </a:lnTo>
                <a:lnTo>
                  <a:pt x="120367" y="28689"/>
                </a:lnTo>
                <a:lnTo>
                  <a:pt x="130292" y="34280"/>
                </a:lnTo>
                <a:lnTo>
                  <a:pt x="136293" y="31556"/>
                </a:lnTo>
                <a:lnTo>
                  <a:pt x="137827" y="31394"/>
                </a:lnTo>
                <a:lnTo>
                  <a:pt x="139189" y="35909"/>
                </a:lnTo>
                <a:lnTo>
                  <a:pt x="137693" y="40443"/>
                </a:lnTo>
                <a:lnTo>
                  <a:pt x="132407" y="45263"/>
                </a:lnTo>
                <a:lnTo>
                  <a:pt x="133578" y="48235"/>
                </a:lnTo>
                <a:lnTo>
                  <a:pt x="135274" y="48892"/>
                </a:lnTo>
                <a:lnTo>
                  <a:pt x="140256" y="48263"/>
                </a:lnTo>
                <a:lnTo>
                  <a:pt x="148152" y="51187"/>
                </a:lnTo>
                <a:lnTo>
                  <a:pt x="149800" y="50273"/>
                </a:lnTo>
                <a:lnTo>
                  <a:pt x="156200" y="43520"/>
                </a:lnTo>
                <a:lnTo>
                  <a:pt x="158763" y="42062"/>
                </a:lnTo>
                <a:lnTo>
                  <a:pt x="167183" y="41024"/>
                </a:lnTo>
                <a:lnTo>
                  <a:pt x="168716" y="38395"/>
                </a:lnTo>
                <a:lnTo>
                  <a:pt x="172126" y="35757"/>
                </a:lnTo>
                <a:lnTo>
                  <a:pt x="174317" y="32871"/>
                </a:lnTo>
                <a:lnTo>
                  <a:pt x="179584" y="27356"/>
                </a:lnTo>
                <a:lnTo>
                  <a:pt x="185033" y="28346"/>
                </a:lnTo>
                <a:lnTo>
                  <a:pt x="188214" y="29404"/>
                </a:lnTo>
                <a:lnTo>
                  <a:pt x="191700" y="29937"/>
                </a:lnTo>
                <a:lnTo>
                  <a:pt x="194872" y="35814"/>
                </a:lnTo>
                <a:lnTo>
                  <a:pt x="202911" y="42281"/>
                </a:lnTo>
                <a:lnTo>
                  <a:pt x="210293" y="41720"/>
                </a:lnTo>
                <a:lnTo>
                  <a:pt x="212912" y="47825"/>
                </a:lnTo>
                <a:lnTo>
                  <a:pt x="214074" y="55331"/>
                </a:lnTo>
                <a:lnTo>
                  <a:pt x="216341" y="57683"/>
                </a:lnTo>
                <a:lnTo>
                  <a:pt x="218332" y="59217"/>
                </a:lnTo>
                <a:lnTo>
                  <a:pt x="224342" y="60817"/>
                </a:lnTo>
                <a:lnTo>
                  <a:pt x="224580" y="60912"/>
                </a:lnTo>
                <a:lnTo>
                  <a:pt x="224780" y="61922"/>
                </a:lnTo>
                <a:lnTo>
                  <a:pt x="225152" y="65637"/>
                </a:lnTo>
                <a:lnTo>
                  <a:pt x="225657" y="68704"/>
                </a:lnTo>
                <a:lnTo>
                  <a:pt x="228753" y="80915"/>
                </a:lnTo>
                <a:lnTo>
                  <a:pt x="228695" y="83886"/>
                </a:lnTo>
                <a:lnTo>
                  <a:pt x="228657" y="84677"/>
                </a:lnTo>
                <a:lnTo>
                  <a:pt x="227524" y="88840"/>
                </a:lnTo>
                <a:lnTo>
                  <a:pt x="225514" y="92335"/>
                </a:lnTo>
                <a:lnTo>
                  <a:pt x="222856" y="94307"/>
                </a:lnTo>
                <a:lnTo>
                  <a:pt x="221390" y="96498"/>
                </a:lnTo>
                <a:lnTo>
                  <a:pt x="221123" y="98908"/>
                </a:lnTo>
                <a:lnTo>
                  <a:pt x="224466" y="103127"/>
                </a:lnTo>
                <a:lnTo>
                  <a:pt x="231429" y="109156"/>
                </a:lnTo>
                <a:lnTo>
                  <a:pt x="234239" y="114300"/>
                </a:lnTo>
                <a:lnTo>
                  <a:pt x="232915" y="118567"/>
                </a:lnTo>
                <a:lnTo>
                  <a:pt x="232515" y="121691"/>
                </a:lnTo>
                <a:lnTo>
                  <a:pt x="233029" y="123672"/>
                </a:lnTo>
                <a:lnTo>
                  <a:pt x="234144" y="125263"/>
                </a:lnTo>
                <a:lnTo>
                  <a:pt x="235858" y="126463"/>
                </a:lnTo>
                <a:lnTo>
                  <a:pt x="236544" y="128311"/>
                </a:lnTo>
                <a:lnTo>
                  <a:pt x="236191" y="130807"/>
                </a:lnTo>
                <a:lnTo>
                  <a:pt x="236515" y="132540"/>
                </a:lnTo>
                <a:lnTo>
                  <a:pt x="237801" y="133769"/>
                </a:lnTo>
                <a:lnTo>
                  <a:pt x="237677" y="134245"/>
                </a:lnTo>
                <a:lnTo>
                  <a:pt x="237058" y="135979"/>
                </a:lnTo>
                <a:lnTo>
                  <a:pt x="236210" y="139132"/>
                </a:lnTo>
                <a:lnTo>
                  <a:pt x="235725" y="141437"/>
                </a:lnTo>
                <a:lnTo>
                  <a:pt x="233763" y="144561"/>
                </a:lnTo>
                <a:lnTo>
                  <a:pt x="234363" y="147218"/>
                </a:lnTo>
                <a:lnTo>
                  <a:pt x="235896" y="150343"/>
                </a:lnTo>
                <a:lnTo>
                  <a:pt x="237068" y="151914"/>
                </a:lnTo>
                <a:lnTo>
                  <a:pt x="237439" y="153400"/>
                </a:lnTo>
                <a:lnTo>
                  <a:pt x="236696" y="156924"/>
                </a:lnTo>
                <a:lnTo>
                  <a:pt x="237068" y="157829"/>
                </a:lnTo>
                <a:lnTo>
                  <a:pt x="241916" y="160420"/>
                </a:lnTo>
                <a:lnTo>
                  <a:pt x="242706" y="161610"/>
                </a:lnTo>
                <a:lnTo>
                  <a:pt x="243173" y="164097"/>
                </a:lnTo>
                <a:lnTo>
                  <a:pt x="244878" y="169402"/>
                </a:lnTo>
                <a:lnTo>
                  <a:pt x="243469" y="176108"/>
                </a:lnTo>
                <a:lnTo>
                  <a:pt x="242230" y="179775"/>
                </a:lnTo>
                <a:lnTo>
                  <a:pt x="239468" y="185576"/>
                </a:lnTo>
                <a:lnTo>
                  <a:pt x="239335" y="186109"/>
                </a:lnTo>
                <a:lnTo>
                  <a:pt x="239020" y="186814"/>
                </a:lnTo>
                <a:lnTo>
                  <a:pt x="238192" y="187823"/>
                </a:lnTo>
                <a:lnTo>
                  <a:pt x="237039" y="187976"/>
                </a:lnTo>
                <a:lnTo>
                  <a:pt x="235296" y="187223"/>
                </a:lnTo>
                <a:lnTo>
                  <a:pt x="234105" y="186252"/>
                </a:lnTo>
                <a:lnTo>
                  <a:pt x="234381" y="183756"/>
                </a:lnTo>
                <a:lnTo>
                  <a:pt x="233610" y="183585"/>
                </a:lnTo>
                <a:lnTo>
                  <a:pt x="232658" y="182051"/>
                </a:lnTo>
                <a:lnTo>
                  <a:pt x="232286" y="180404"/>
                </a:lnTo>
                <a:lnTo>
                  <a:pt x="231258" y="179727"/>
                </a:lnTo>
                <a:lnTo>
                  <a:pt x="227514" y="179032"/>
                </a:lnTo>
                <a:lnTo>
                  <a:pt x="226238" y="178546"/>
                </a:lnTo>
                <a:lnTo>
                  <a:pt x="225257" y="178898"/>
                </a:lnTo>
                <a:lnTo>
                  <a:pt x="224523" y="180070"/>
                </a:lnTo>
                <a:lnTo>
                  <a:pt x="224990" y="181127"/>
                </a:lnTo>
                <a:lnTo>
                  <a:pt x="225685" y="182156"/>
                </a:lnTo>
                <a:lnTo>
                  <a:pt x="227762" y="183785"/>
                </a:lnTo>
                <a:lnTo>
                  <a:pt x="227552" y="184433"/>
                </a:lnTo>
                <a:lnTo>
                  <a:pt x="223076" y="186023"/>
                </a:lnTo>
                <a:lnTo>
                  <a:pt x="220265" y="187642"/>
                </a:lnTo>
                <a:lnTo>
                  <a:pt x="217646" y="188557"/>
                </a:lnTo>
                <a:lnTo>
                  <a:pt x="214979" y="190233"/>
                </a:lnTo>
                <a:lnTo>
                  <a:pt x="209712" y="192119"/>
                </a:lnTo>
                <a:lnTo>
                  <a:pt x="205845" y="192614"/>
                </a:lnTo>
                <a:lnTo>
                  <a:pt x="205045" y="193110"/>
                </a:lnTo>
                <a:lnTo>
                  <a:pt x="203606" y="196301"/>
                </a:lnTo>
                <a:lnTo>
                  <a:pt x="202635" y="196967"/>
                </a:lnTo>
                <a:lnTo>
                  <a:pt x="201692" y="196625"/>
                </a:lnTo>
                <a:lnTo>
                  <a:pt x="200987" y="196101"/>
                </a:lnTo>
                <a:lnTo>
                  <a:pt x="200092" y="196529"/>
                </a:lnTo>
                <a:lnTo>
                  <a:pt x="199158" y="197586"/>
                </a:lnTo>
                <a:lnTo>
                  <a:pt x="198177" y="197996"/>
                </a:lnTo>
                <a:lnTo>
                  <a:pt x="197330" y="197986"/>
                </a:lnTo>
                <a:lnTo>
                  <a:pt x="195815" y="200768"/>
                </a:lnTo>
                <a:lnTo>
                  <a:pt x="191414" y="201606"/>
                </a:lnTo>
                <a:lnTo>
                  <a:pt x="190900" y="203044"/>
                </a:lnTo>
                <a:lnTo>
                  <a:pt x="190090" y="204711"/>
                </a:lnTo>
                <a:lnTo>
                  <a:pt x="189443" y="205121"/>
                </a:lnTo>
                <a:lnTo>
                  <a:pt x="187462" y="204464"/>
                </a:lnTo>
                <a:lnTo>
                  <a:pt x="184709" y="204092"/>
                </a:lnTo>
                <a:lnTo>
                  <a:pt x="183127" y="205006"/>
                </a:lnTo>
                <a:lnTo>
                  <a:pt x="181232" y="205511"/>
                </a:lnTo>
                <a:lnTo>
                  <a:pt x="178918" y="205664"/>
                </a:lnTo>
                <a:lnTo>
                  <a:pt x="176336" y="207483"/>
                </a:lnTo>
                <a:lnTo>
                  <a:pt x="173822" y="210674"/>
                </a:lnTo>
                <a:lnTo>
                  <a:pt x="172412" y="213493"/>
                </a:lnTo>
                <a:lnTo>
                  <a:pt x="171650" y="214503"/>
                </a:lnTo>
                <a:lnTo>
                  <a:pt x="170421" y="211855"/>
                </a:lnTo>
                <a:lnTo>
                  <a:pt x="168916" y="210045"/>
                </a:lnTo>
                <a:lnTo>
                  <a:pt x="167849" y="209102"/>
                </a:lnTo>
                <a:lnTo>
                  <a:pt x="166897" y="209102"/>
                </a:lnTo>
                <a:lnTo>
                  <a:pt x="166649" y="209493"/>
                </a:lnTo>
                <a:lnTo>
                  <a:pt x="166649" y="210874"/>
                </a:lnTo>
                <a:lnTo>
                  <a:pt x="167669" y="213170"/>
                </a:lnTo>
                <a:lnTo>
                  <a:pt x="168926" y="214741"/>
                </a:lnTo>
                <a:lnTo>
                  <a:pt x="169126" y="215903"/>
                </a:lnTo>
                <a:lnTo>
                  <a:pt x="169802" y="217999"/>
                </a:lnTo>
                <a:lnTo>
                  <a:pt x="171640" y="220294"/>
                </a:lnTo>
                <a:lnTo>
                  <a:pt x="174517" y="222104"/>
                </a:lnTo>
                <a:lnTo>
                  <a:pt x="176479" y="223894"/>
                </a:lnTo>
                <a:lnTo>
                  <a:pt x="177937" y="226371"/>
                </a:lnTo>
                <a:lnTo>
                  <a:pt x="177946" y="227133"/>
                </a:lnTo>
                <a:lnTo>
                  <a:pt x="177546" y="228143"/>
                </a:lnTo>
                <a:lnTo>
                  <a:pt x="176860" y="229095"/>
                </a:lnTo>
                <a:lnTo>
                  <a:pt x="176279" y="230333"/>
                </a:lnTo>
                <a:lnTo>
                  <a:pt x="174679" y="232829"/>
                </a:lnTo>
                <a:lnTo>
                  <a:pt x="175155" y="233924"/>
                </a:lnTo>
                <a:lnTo>
                  <a:pt x="176460" y="235296"/>
                </a:lnTo>
                <a:lnTo>
                  <a:pt x="177613" y="236944"/>
                </a:lnTo>
                <a:lnTo>
                  <a:pt x="179098" y="239611"/>
                </a:lnTo>
                <a:lnTo>
                  <a:pt x="181137" y="244278"/>
                </a:lnTo>
                <a:lnTo>
                  <a:pt x="182451" y="246193"/>
                </a:lnTo>
                <a:lnTo>
                  <a:pt x="184242" y="248174"/>
                </a:lnTo>
                <a:lnTo>
                  <a:pt x="185994" y="249679"/>
                </a:lnTo>
                <a:lnTo>
                  <a:pt x="188757" y="249631"/>
                </a:lnTo>
                <a:lnTo>
                  <a:pt x="191614" y="252508"/>
                </a:lnTo>
                <a:lnTo>
                  <a:pt x="194738" y="256661"/>
                </a:lnTo>
                <a:lnTo>
                  <a:pt x="197072" y="258556"/>
                </a:lnTo>
                <a:lnTo>
                  <a:pt x="198701" y="259137"/>
                </a:lnTo>
                <a:lnTo>
                  <a:pt x="200054" y="260633"/>
                </a:lnTo>
                <a:lnTo>
                  <a:pt x="201244" y="262776"/>
                </a:lnTo>
                <a:lnTo>
                  <a:pt x="201711" y="264014"/>
                </a:lnTo>
                <a:lnTo>
                  <a:pt x="202768" y="264909"/>
                </a:lnTo>
                <a:lnTo>
                  <a:pt x="205626" y="264738"/>
                </a:lnTo>
                <a:lnTo>
                  <a:pt x="209302" y="268110"/>
                </a:lnTo>
                <a:lnTo>
                  <a:pt x="211569" y="270567"/>
                </a:lnTo>
                <a:lnTo>
                  <a:pt x="212769" y="272548"/>
                </a:lnTo>
                <a:lnTo>
                  <a:pt x="212455" y="273339"/>
                </a:lnTo>
                <a:lnTo>
                  <a:pt x="212302" y="275806"/>
                </a:lnTo>
                <a:lnTo>
                  <a:pt x="212341" y="278416"/>
                </a:lnTo>
                <a:lnTo>
                  <a:pt x="211979" y="279797"/>
                </a:lnTo>
                <a:lnTo>
                  <a:pt x="210340" y="281616"/>
                </a:lnTo>
                <a:lnTo>
                  <a:pt x="209493" y="282007"/>
                </a:lnTo>
                <a:lnTo>
                  <a:pt x="209036" y="282397"/>
                </a:lnTo>
                <a:lnTo>
                  <a:pt x="203997" y="280025"/>
                </a:lnTo>
                <a:lnTo>
                  <a:pt x="203597" y="280425"/>
                </a:lnTo>
                <a:lnTo>
                  <a:pt x="203283" y="280721"/>
                </a:lnTo>
                <a:lnTo>
                  <a:pt x="201930" y="287569"/>
                </a:lnTo>
                <a:lnTo>
                  <a:pt x="201006" y="288884"/>
                </a:lnTo>
                <a:lnTo>
                  <a:pt x="199615" y="290093"/>
                </a:lnTo>
                <a:lnTo>
                  <a:pt x="196739" y="291274"/>
                </a:lnTo>
                <a:lnTo>
                  <a:pt x="194738" y="291751"/>
                </a:lnTo>
                <a:lnTo>
                  <a:pt x="193176" y="292351"/>
                </a:lnTo>
                <a:lnTo>
                  <a:pt x="188233" y="295208"/>
                </a:lnTo>
                <a:lnTo>
                  <a:pt x="186014" y="296923"/>
                </a:lnTo>
                <a:lnTo>
                  <a:pt x="184575" y="299075"/>
                </a:lnTo>
                <a:lnTo>
                  <a:pt x="184566" y="300314"/>
                </a:lnTo>
                <a:lnTo>
                  <a:pt x="186966" y="303943"/>
                </a:lnTo>
                <a:lnTo>
                  <a:pt x="189738" y="307695"/>
                </a:lnTo>
                <a:lnTo>
                  <a:pt x="189747" y="310982"/>
                </a:lnTo>
                <a:lnTo>
                  <a:pt x="188528" y="313439"/>
                </a:lnTo>
                <a:lnTo>
                  <a:pt x="188243" y="314382"/>
                </a:lnTo>
                <a:lnTo>
                  <a:pt x="189062" y="314744"/>
                </a:lnTo>
                <a:lnTo>
                  <a:pt x="190595" y="314877"/>
                </a:lnTo>
                <a:lnTo>
                  <a:pt x="191881" y="315296"/>
                </a:lnTo>
                <a:lnTo>
                  <a:pt x="192424" y="317030"/>
                </a:lnTo>
                <a:lnTo>
                  <a:pt x="192262" y="320030"/>
                </a:lnTo>
                <a:lnTo>
                  <a:pt x="191824" y="322840"/>
                </a:lnTo>
                <a:lnTo>
                  <a:pt x="191367" y="324022"/>
                </a:lnTo>
                <a:lnTo>
                  <a:pt x="190128" y="324117"/>
                </a:lnTo>
                <a:lnTo>
                  <a:pt x="187747" y="322907"/>
                </a:lnTo>
                <a:lnTo>
                  <a:pt x="185890" y="321497"/>
                </a:lnTo>
                <a:lnTo>
                  <a:pt x="185175" y="320630"/>
                </a:lnTo>
                <a:lnTo>
                  <a:pt x="185137" y="319592"/>
                </a:lnTo>
                <a:lnTo>
                  <a:pt x="185538" y="318935"/>
                </a:lnTo>
                <a:lnTo>
                  <a:pt x="184880" y="317659"/>
                </a:lnTo>
                <a:lnTo>
                  <a:pt x="182594" y="316468"/>
                </a:lnTo>
                <a:lnTo>
                  <a:pt x="180146" y="316982"/>
                </a:lnTo>
                <a:lnTo>
                  <a:pt x="178346" y="317773"/>
                </a:lnTo>
                <a:lnTo>
                  <a:pt x="177174" y="317725"/>
                </a:lnTo>
                <a:lnTo>
                  <a:pt x="175917" y="316582"/>
                </a:lnTo>
                <a:lnTo>
                  <a:pt x="173974" y="315706"/>
                </a:lnTo>
                <a:lnTo>
                  <a:pt x="171440" y="315125"/>
                </a:lnTo>
                <a:lnTo>
                  <a:pt x="169859" y="314515"/>
                </a:lnTo>
                <a:lnTo>
                  <a:pt x="169526" y="314877"/>
                </a:lnTo>
                <a:lnTo>
                  <a:pt x="169707" y="317344"/>
                </a:lnTo>
                <a:lnTo>
                  <a:pt x="169221" y="318421"/>
                </a:lnTo>
                <a:lnTo>
                  <a:pt x="156686" y="319849"/>
                </a:lnTo>
                <a:lnTo>
                  <a:pt x="152867" y="321183"/>
                </a:lnTo>
                <a:lnTo>
                  <a:pt x="150085" y="322907"/>
                </a:lnTo>
                <a:lnTo>
                  <a:pt x="148028" y="323650"/>
                </a:lnTo>
                <a:lnTo>
                  <a:pt x="147523" y="324707"/>
                </a:lnTo>
                <a:lnTo>
                  <a:pt x="145485" y="326098"/>
                </a:lnTo>
                <a:lnTo>
                  <a:pt x="143189" y="326536"/>
                </a:lnTo>
                <a:lnTo>
                  <a:pt x="142627" y="326088"/>
                </a:lnTo>
                <a:lnTo>
                  <a:pt x="141151" y="326727"/>
                </a:lnTo>
                <a:lnTo>
                  <a:pt x="138636" y="327346"/>
                </a:lnTo>
                <a:lnTo>
                  <a:pt x="137008" y="327145"/>
                </a:lnTo>
                <a:lnTo>
                  <a:pt x="136236" y="326022"/>
                </a:lnTo>
                <a:lnTo>
                  <a:pt x="134683" y="324298"/>
                </a:lnTo>
                <a:lnTo>
                  <a:pt x="134055" y="323107"/>
                </a:lnTo>
                <a:lnTo>
                  <a:pt x="134121" y="322336"/>
                </a:lnTo>
                <a:lnTo>
                  <a:pt x="130607" y="322183"/>
                </a:lnTo>
                <a:lnTo>
                  <a:pt x="128397" y="321269"/>
                </a:lnTo>
                <a:lnTo>
                  <a:pt x="123692" y="321478"/>
                </a:lnTo>
                <a:lnTo>
                  <a:pt x="122529" y="321088"/>
                </a:lnTo>
                <a:lnTo>
                  <a:pt x="122291" y="321497"/>
                </a:lnTo>
                <a:lnTo>
                  <a:pt x="121586" y="326393"/>
                </a:lnTo>
                <a:lnTo>
                  <a:pt x="120653" y="328393"/>
                </a:lnTo>
                <a:lnTo>
                  <a:pt x="119148" y="330460"/>
                </a:lnTo>
                <a:lnTo>
                  <a:pt x="117215" y="331613"/>
                </a:lnTo>
                <a:lnTo>
                  <a:pt x="115681" y="331822"/>
                </a:lnTo>
                <a:lnTo>
                  <a:pt x="115748" y="330317"/>
                </a:lnTo>
                <a:lnTo>
                  <a:pt x="116138" y="328498"/>
                </a:lnTo>
                <a:lnTo>
                  <a:pt x="115024" y="328070"/>
                </a:lnTo>
                <a:lnTo>
                  <a:pt x="113357" y="327870"/>
                </a:lnTo>
                <a:lnTo>
                  <a:pt x="112557" y="327327"/>
                </a:lnTo>
                <a:lnTo>
                  <a:pt x="112766" y="325936"/>
                </a:lnTo>
                <a:lnTo>
                  <a:pt x="112376" y="325126"/>
                </a:lnTo>
                <a:lnTo>
                  <a:pt x="111690" y="324155"/>
                </a:lnTo>
                <a:lnTo>
                  <a:pt x="110014" y="322907"/>
                </a:lnTo>
                <a:lnTo>
                  <a:pt x="106470" y="321059"/>
                </a:lnTo>
                <a:lnTo>
                  <a:pt x="104061" y="320135"/>
                </a:lnTo>
                <a:lnTo>
                  <a:pt x="103156" y="321116"/>
                </a:lnTo>
                <a:lnTo>
                  <a:pt x="101432" y="322097"/>
                </a:lnTo>
                <a:lnTo>
                  <a:pt x="98717" y="321773"/>
                </a:lnTo>
                <a:lnTo>
                  <a:pt x="98050" y="322164"/>
                </a:lnTo>
                <a:lnTo>
                  <a:pt x="93393" y="319211"/>
                </a:lnTo>
                <a:lnTo>
                  <a:pt x="88925" y="316373"/>
                </a:lnTo>
                <a:lnTo>
                  <a:pt x="87449" y="316373"/>
                </a:lnTo>
                <a:lnTo>
                  <a:pt x="80867" y="316944"/>
                </a:lnTo>
                <a:lnTo>
                  <a:pt x="80677" y="316697"/>
                </a:lnTo>
                <a:lnTo>
                  <a:pt x="79524" y="315077"/>
                </a:lnTo>
                <a:lnTo>
                  <a:pt x="78514" y="314563"/>
                </a:lnTo>
                <a:lnTo>
                  <a:pt x="77905" y="314830"/>
                </a:lnTo>
                <a:lnTo>
                  <a:pt x="77495" y="315296"/>
                </a:lnTo>
                <a:lnTo>
                  <a:pt x="76790" y="315220"/>
                </a:lnTo>
                <a:lnTo>
                  <a:pt x="73838" y="312610"/>
                </a:lnTo>
                <a:lnTo>
                  <a:pt x="72628" y="312230"/>
                </a:lnTo>
                <a:lnTo>
                  <a:pt x="70952" y="312582"/>
                </a:lnTo>
                <a:lnTo>
                  <a:pt x="68971" y="313992"/>
                </a:lnTo>
                <a:lnTo>
                  <a:pt x="68104" y="315716"/>
                </a:lnTo>
                <a:lnTo>
                  <a:pt x="68370" y="316706"/>
                </a:lnTo>
                <a:lnTo>
                  <a:pt x="69390" y="317135"/>
                </a:lnTo>
                <a:lnTo>
                  <a:pt x="72085" y="316849"/>
                </a:lnTo>
                <a:lnTo>
                  <a:pt x="72476" y="317135"/>
                </a:lnTo>
                <a:lnTo>
                  <a:pt x="72571" y="317697"/>
                </a:lnTo>
                <a:lnTo>
                  <a:pt x="72276" y="318240"/>
                </a:lnTo>
                <a:lnTo>
                  <a:pt x="70094" y="318687"/>
                </a:lnTo>
                <a:lnTo>
                  <a:pt x="69466" y="319344"/>
                </a:lnTo>
                <a:lnTo>
                  <a:pt x="68827" y="319507"/>
                </a:lnTo>
                <a:lnTo>
                  <a:pt x="68418" y="319611"/>
                </a:lnTo>
                <a:lnTo>
                  <a:pt x="66094" y="318926"/>
                </a:lnTo>
                <a:lnTo>
                  <a:pt x="62636" y="318926"/>
                </a:lnTo>
                <a:lnTo>
                  <a:pt x="59845" y="320135"/>
                </a:lnTo>
                <a:lnTo>
                  <a:pt x="55388" y="320621"/>
                </a:lnTo>
                <a:lnTo>
                  <a:pt x="49263" y="320383"/>
                </a:lnTo>
                <a:lnTo>
                  <a:pt x="47063" y="319478"/>
                </a:lnTo>
                <a:lnTo>
                  <a:pt x="45720" y="318935"/>
                </a:lnTo>
                <a:lnTo>
                  <a:pt x="44748" y="316268"/>
                </a:lnTo>
                <a:lnTo>
                  <a:pt x="44996" y="312315"/>
                </a:lnTo>
                <a:lnTo>
                  <a:pt x="46453" y="307067"/>
                </a:lnTo>
                <a:lnTo>
                  <a:pt x="46863" y="303209"/>
                </a:lnTo>
                <a:lnTo>
                  <a:pt x="46215" y="300752"/>
                </a:lnTo>
                <a:lnTo>
                  <a:pt x="47082" y="297056"/>
                </a:lnTo>
                <a:lnTo>
                  <a:pt x="49463" y="292122"/>
                </a:lnTo>
                <a:lnTo>
                  <a:pt x="51054" y="286912"/>
                </a:lnTo>
                <a:lnTo>
                  <a:pt x="51845" y="281407"/>
                </a:lnTo>
                <a:lnTo>
                  <a:pt x="52997" y="277816"/>
                </a:lnTo>
                <a:lnTo>
                  <a:pt x="55264" y="275291"/>
                </a:lnTo>
                <a:lnTo>
                  <a:pt x="60646" y="268224"/>
                </a:lnTo>
                <a:lnTo>
                  <a:pt x="61084" y="267691"/>
                </a:lnTo>
                <a:lnTo>
                  <a:pt x="60931" y="264157"/>
                </a:lnTo>
                <a:lnTo>
                  <a:pt x="59484" y="263652"/>
                </a:lnTo>
                <a:lnTo>
                  <a:pt x="57360" y="262633"/>
                </a:lnTo>
                <a:lnTo>
                  <a:pt x="51959" y="261375"/>
                </a:lnTo>
                <a:lnTo>
                  <a:pt x="46930" y="260566"/>
                </a:lnTo>
                <a:lnTo>
                  <a:pt x="44643" y="259566"/>
                </a:lnTo>
                <a:lnTo>
                  <a:pt x="42643" y="256889"/>
                </a:lnTo>
                <a:lnTo>
                  <a:pt x="41405" y="256851"/>
                </a:lnTo>
                <a:lnTo>
                  <a:pt x="38976" y="257813"/>
                </a:lnTo>
                <a:lnTo>
                  <a:pt x="35947" y="258461"/>
                </a:lnTo>
                <a:lnTo>
                  <a:pt x="33737" y="257899"/>
                </a:lnTo>
                <a:lnTo>
                  <a:pt x="32356" y="258004"/>
                </a:lnTo>
                <a:lnTo>
                  <a:pt x="31585" y="258499"/>
                </a:lnTo>
                <a:lnTo>
                  <a:pt x="31194" y="258061"/>
                </a:lnTo>
                <a:lnTo>
                  <a:pt x="30642" y="255765"/>
                </a:lnTo>
                <a:lnTo>
                  <a:pt x="29489" y="255165"/>
                </a:lnTo>
                <a:lnTo>
                  <a:pt x="27699" y="254632"/>
                </a:lnTo>
                <a:lnTo>
                  <a:pt x="26584" y="254860"/>
                </a:lnTo>
                <a:lnTo>
                  <a:pt x="25813" y="256003"/>
                </a:lnTo>
                <a:lnTo>
                  <a:pt x="24622" y="256804"/>
                </a:lnTo>
                <a:lnTo>
                  <a:pt x="23536" y="256546"/>
                </a:lnTo>
                <a:lnTo>
                  <a:pt x="20117" y="251231"/>
                </a:lnTo>
                <a:lnTo>
                  <a:pt x="19240" y="250050"/>
                </a:lnTo>
                <a:lnTo>
                  <a:pt x="19021" y="248964"/>
                </a:lnTo>
                <a:lnTo>
                  <a:pt x="18164" y="246983"/>
                </a:lnTo>
                <a:lnTo>
                  <a:pt x="16126" y="245002"/>
                </a:lnTo>
                <a:lnTo>
                  <a:pt x="14097" y="244373"/>
                </a:lnTo>
                <a:lnTo>
                  <a:pt x="13087" y="244592"/>
                </a:lnTo>
                <a:lnTo>
                  <a:pt x="13202" y="242135"/>
                </a:lnTo>
                <a:lnTo>
                  <a:pt x="13992" y="238563"/>
                </a:lnTo>
                <a:lnTo>
                  <a:pt x="14754" y="236696"/>
                </a:lnTo>
                <a:lnTo>
                  <a:pt x="15764" y="235172"/>
                </a:lnTo>
                <a:lnTo>
                  <a:pt x="16840" y="234105"/>
                </a:lnTo>
                <a:lnTo>
                  <a:pt x="17078" y="232181"/>
                </a:lnTo>
                <a:lnTo>
                  <a:pt x="16907" y="230362"/>
                </a:lnTo>
                <a:lnTo>
                  <a:pt x="15669" y="230076"/>
                </a:lnTo>
                <a:lnTo>
                  <a:pt x="12563" y="228733"/>
                </a:lnTo>
                <a:lnTo>
                  <a:pt x="10725" y="227314"/>
                </a:lnTo>
                <a:lnTo>
                  <a:pt x="9363" y="225533"/>
                </a:lnTo>
                <a:lnTo>
                  <a:pt x="7572" y="223085"/>
                </a:lnTo>
                <a:lnTo>
                  <a:pt x="6810" y="220589"/>
                </a:lnTo>
                <a:lnTo>
                  <a:pt x="6772" y="218103"/>
                </a:lnTo>
                <a:lnTo>
                  <a:pt x="6982" y="216989"/>
                </a:lnTo>
                <a:lnTo>
                  <a:pt x="7115" y="216217"/>
                </a:lnTo>
                <a:lnTo>
                  <a:pt x="8553" y="212331"/>
                </a:lnTo>
                <a:lnTo>
                  <a:pt x="13621" y="208845"/>
                </a:lnTo>
                <a:lnTo>
                  <a:pt x="13059" y="205330"/>
                </a:lnTo>
                <a:lnTo>
                  <a:pt x="12983" y="203168"/>
                </a:lnTo>
                <a:lnTo>
                  <a:pt x="11754" y="201758"/>
                </a:lnTo>
                <a:lnTo>
                  <a:pt x="9296" y="201187"/>
                </a:lnTo>
                <a:lnTo>
                  <a:pt x="8649" y="200206"/>
                </a:lnTo>
                <a:lnTo>
                  <a:pt x="8372" y="199244"/>
                </a:lnTo>
                <a:lnTo>
                  <a:pt x="10173" y="197082"/>
                </a:lnTo>
                <a:lnTo>
                  <a:pt x="7991" y="195377"/>
                </a:lnTo>
                <a:lnTo>
                  <a:pt x="7001" y="193691"/>
                </a:lnTo>
                <a:lnTo>
                  <a:pt x="3972" y="191462"/>
                </a:lnTo>
                <a:lnTo>
                  <a:pt x="3648" y="190690"/>
                </a:lnTo>
                <a:lnTo>
                  <a:pt x="5105" y="184166"/>
                </a:lnTo>
                <a:lnTo>
                  <a:pt x="3991" y="182261"/>
                </a:lnTo>
                <a:lnTo>
                  <a:pt x="2610" y="181289"/>
                </a:lnTo>
                <a:lnTo>
                  <a:pt x="1000" y="180813"/>
                </a:lnTo>
                <a:lnTo>
                  <a:pt x="257" y="179908"/>
                </a:lnTo>
                <a:lnTo>
                  <a:pt x="0" y="178870"/>
                </a:lnTo>
                <a:lnTo>
                  <a:pt x="286" y="178232"/>
                </a:lnTo>
                <a:lnTo>
                  <a:pt x="2181" y="178422"/>
                </a:lnTo>
                <a:lnTo>
                  <a:pt x="2772" y="177746"/>
                </a:lnTo>
                <a:lnTo>
                  <a:pt x="7286" y="173898"/>
                </a:lnTo>
                <a:lnTo>
                  <a:pt x="7477" y="173155"/>
                </a:lnTo>
                <a:lnTo>
                  <a:pt x="6848" y="172736"/>
                </a:lnTo>
                <a:lnTo>
                  <a:pt x="6029" y="172517"/>
                </a:lnTo>
                <a:lnTo>
                  <a:pt x="5820" y="171707"/>
                </a:lnTo>
                <a:lnTo>
                  <a:pt x="5848" y="170640"/>
                </a:lnTo>
                <a:lnTo>
                  <a:pt x="8258" y="165068"/>
                </a:lnTo>
                <a:lnTo>
                  <a:pt x="8972" y="162687"/>
                </a:lnTo>
                <a:lnTo>
                  <a:pt x="9134" y="161001"/>
                </a:lnTo>
                <a:lnTo>
                  <a:pt x="8982" y="159334"/>
                </a:lnTo>
                <a:lnTo>
                  <a:pt x="7591" y="156715"/>
                </a:lnTo>
                <a:lnTo>
                  <a:pt x="6248" y="154619"/>
                </a:lnTo>
                <a:lnTo>
                  <a:pt x="6201" y="152952"/>
                </a:lnTo>
                <a:lnTo>
                  <a:pt x="5220" y="152076"/>
                </a:lnTo>
                <a:lnTo>
                  <a:pt x="2438" y="147590"/>
                </a:lnTo>
                <a:lnTo>
                  <a:pt x="2438" y="145856"/>
                </a:lnTo>
                <a:lnTo>
                  <a:pt x="4010" y="144504"/>
                </a:lnTo>
                <a:lnTo>
                  <a:pt x="6210" y="143646"/>
                </a:lnTo>
                <a:lnTo>
                  <a:pt x="6944" y="142932"/>
                </a:lnTo>
                <a:lnTo>
                  <a:pt x="8258" y="142484"/>
                </a:lnTo>
                <a:lnTo>
                  <a:pt x="11754" y="143780"/>
                </a:lnTo>
                <a:lnTo>
                  <a:pt x="13316" y="144904"/>
                </a:lnTo>
                <a:lnTo>
                  <a:pt x="13754" y="144675"/>
                </a:lnTo>
                <a:lnTo>
                  <a:pt x="15164" y="143456"/>
                </a:lnTo>
                <a:lnTo>
                  <a:pt x="17640" y="143646"/>
                </a:lnTo>
                <a:lnTo>
                  <a:pt x="23631" y="141189"/>
                </a:lnTo>
                <a:lnTo>
                  <a:pt x="24527" y="140008"/>
                </a:lnTo>
                <a:lnTo>
                  <a:pt x="25194" y="138751"/>
                </a:lnTo>
                <a:lnTo>
                  <a:pt x="25251" y="138198"/>
                </a:lnTo>
                <a:lnTo>
                  <a:pt x="22927" y="135769"/>
                </a:lnTo>
                <a:lnTo>
                  <a:pt x="22860" y="134874"/>
                </a:lnTo>
                <a:lnTo>
                  <a:pt x="23165" y="133864"/>
                </a:lnTo>
                <a:lnTo>
                  <a:pt x="23822" y="133064"/>
                </a:lnTo>
                <a:lnTo>
                  <a:pt x="25194" y="132521"/>
                </a:lnTo>
                <a:lnTo>
                  <a:pt x="26651" y="131454"/>
                </a:lnTo>
                <a:lnTo>
                  <a:pt x="29918" y="128426"/>
                </a:lnTo>
                <a:lnTo>
                  <a:pt x="31051" y="125797"/>
                </a:lnTo>
                <a:lnTo>
                  <a:pt x="31404" y="122939"/>
                </a:lnTo>
                <a:lnTo>
                  <a:pt x="31470" y="120805"/>
                </a:lnTo>
                <a:lnTo>
                  <a:pt x="30575" y="119110"/>
                </a:lnTo>
                <a:lnTo>
                  <a:pt x="29670" y="118015"/>
                </a:lnTo>
                <a:lnTo>
                  <a:pt x="28442" y="118186"/>
                </a:lnTo>
                <a:lnTo>
                  <a:pt x="26051" y="118100"/>
                </a:lnTo>
                <a:lnTo>
                  <a:pt x="23813" y="117148"/>
                </a:lnTo>
                <a:lnTo>
                  <a:pt x="22584" y="115605"/>
                </a:lnTo>
                <a:lnTo>
                  <a:pt x="22279" y="114252"/>
                </a:lnTo>
                <a:lnTo>
                  <a:pt x="22841" y="113395"/>
                </a:lnTo>
                <a:lnTo>
                  <a:pt x="23012" y="112347"/>
                </a:lnTo>
                <a:lnTo>
                  <a:pt x="22650" y="111290"/>
                </a:lnTo>
                <a:lnTo>
                  <a:pt x="22793" y="110404"/>
                </a:lnTo>
                <a:lnTo>
                  <a:pt x="23803" y="109690"/>
                </a:lnTo>
                <a:lnTo>
                  <a:pt x="30880" y="109709"/>
                </a:lnTo>
                <a:lnTo>
                  <a:pt x="31413" y="108928"/>
                </a:lnTo>
                <a:lnTo>
                  <a:pt x="31890" y="104813"/>
                </a:lnTo>
                <a:lnTo>
                  <a:pt x="33661" y="98536"/>
                </a:lnTo>
                <a:lnTo>
                  <a:pt x="35328" y="95031"/>
                </a:lnTo>
                <a:lnTo>
                  <a:pt x="35605" y="93554"/>
                </a:lnTo>
                <a:lnTo>
                  <a:pt x="35576" y="85220"/>
                </a:lnTo>
                <a:lnTo>
                  <a:pt x="35805" y="80981"/>
                </a:lnTo>
                <a:lnTo>
                  <a:pt x="34595" y="78991"/>
                </a:lnTo>
                <a:lnTo>
                  <a:pt x="31956" y="76810"/>
                </a:lnTo>
                <a:lnTo>
                  <a:pt x="32518" y="72257"/>
                </a:lnTo>
                <a:lnTo>
                  <a:pt x="33394" y="68694"/>
                </a:lnTo>
                <a:lnTo>
                  <a:pt x="36052" y="64313"/>
                </a:lnTo>
                <a:lnTo>
                  <a:pt x="38157" y="63112"/>
                </a:lnTo>
                <a:lnTo>
                  <a:pt x="47349" y="62398"/>
                </a:lnTo>
                <a:lnTo>
                  <a:pt x="57502" y="62694"/>
                </a:lnTo>
                <a:lnTo>
                  <a:pt x="61722" y="69313"/>
                </a:lnTo>
                <a:lnTo>
                  <a:pt x="60160" y="72704"/>
                </a:lnTo>
                <a:lnTo>
                  <a:pt x="62627" y="74285"/>
                </a:lnTo>
                <a:lnTo>
                  <a:pt x="63817" y="73705"/>
                </a:lnTo>
                <a:lnTo>
                  <a:pt x="64722" y="70751"/>
                </a:lnTo>
                <a:lnTo>
                  <a:pt x="65322" y="67475"/>
                </a:lnTo>
                <a:lnTo>
                  <a:pt x="66189" y="66484"/>
                </a:lnTo>
                <a:lnTo>
                  <a:pt x="69332" y="68932"/>
                </a:lnTo>
                <a:lnTo>
                  <a:pt x="70437" y="70609"/>
                </a:lnTo>
                <a:lnTo>
                  <a:pt x="70504" y="75981"/>
                </a:lnTo>
                <a:lnTo>
                  <a:pt x="71666" y="68694"/>
                </a:lnTo>
                <a:lnTo>
                  <a:pt x="70799" y="63579"/>
                </a:lnTo>
                <a:lnTo>
                  <a:pt x="71390" y="58607"/>
                </a:lnTo>
                <a:lnTo>
                  <a:pt x="72657" y="56016"/>
                </a:lnTo>
                <a:lnTo>
                  <a:pt x="73819" y="54368"/>
                </a:lnTo>
                <a:lnTo>
                  <a:pt x="81267" y="56150"/>
                </a:lnTo>
                <a:lnTo>
                  <a:pt x="89497" y="55235"/>
                </a:lnTo>
                <a:lnTo>
                  <a:pt x="92612" y="57159"/>
                </a:lnTo>
                <a:lnTo>
                  <a:pt x="99651" y="66751"/>
                </a:lnTo>
                <a:lnTo>
                  <a:pt x="102003" y="68323"/>
                </a:lnTo>
                <a:lnTo>
                  <a:pt x="104965" y="68818"/>
                </a:lnTo>
                <a:lnTo>
                  <a:pt x="100879" y="66770"/>
                </a:lnTo>
                <a:lnTo>
                  <a:pt x="92345" y="55093"/>
                </a:lnTo>
                <a:lnTo>
                  <a:pt x="89792" y="53645"/>
                </a:lnTo>
                <a:lnTo>
                  <a:pt x="85868" y="53207"/>
                </a:lnTo>
                <a:lnTo>
                  <a:pt x="83420" y="52064"/>
                </a:lnTo>
                <a:lnTo>
                  <a:pt x="81877" y="50292"/>
                </a:lnTo>
                <a:lnTo>
                  <a:pt x="81429" y="48701"/>
                </a:lnTo>
                <a:lnTo>
                  <a:pt x="81515" y="36843"/>
                </a:lnTo>
                <a:lnTo>
                  <a:pt x="80048" y="35071"/>
                </a:lnTo>
                <a:lnTo>
                  <a:pt x="78143" y="34461"/>
                </a:lnTo>
                <a:lnTo>
                  <a:pt x="76952" y="35271"/>
                </a:lnTo>
                <a:lnTo>
                  <a:pt x="74514" y="35280"/>
                </a:lnTo>
                <a:lnTo>
                  <a:pt x="74000" y="32585"/>
                </a:lnTo>
                <a:lnTo>
                  <a:pt x="74600" y="30585"/>
                </a:lnTo>
                <a:lnTo>
                  <a:pt x="79495" y="29213"/>
                </a:lnTo>
                <a:lnTo>
                  <a:pt x="82725" y="27375"/>
                </a:lnTo>
                <a:lnTo>
                  <a:pt x="82867" y="24127"/>
                </a:lnTo>
                <a:lnTo>
                  <a:pt x="80829" y="21564"/>
                </a:lnTo>
                <a:lnTo>
                  <a:pt x="78391" y="16859"/>
                </a:lnTo>
                <a:lnTo>
                  <a:pt x="75524" y="12430"/>
                </a:lnTo>
                <a:lnTo>
                  <a:pt x="75200" y="7268"/>
                </a:lnTo>
                <a:lnTo>
                  <a:pt x="75209" y="7268"/>
                </a:lnTo>
                <a:lnTo>
                  <a:pt x="80200" y="7363"/>
                </a:lnTo>
                <a:lnTo>
                  <a:pt x="81420" y="7563"/>
                </a:lnTo>
                <a:lnTo>
                  <a:pt x="88982" y="9982"/>
                </a:lnTo>
                <a:lnTo>
                  <a:pt x="90830" y="11677"/>
                </a:lnTo>
                <a:lnTo>
                  <a:pt x="93154" y="11754"/>
                </a:lnTo>
                <a:lnTo>
                  <a:pt x="97346" y="10173"/>
                </a:lnTo>
                <a:lnTo>
                  <a:pt x="100479" y="9477"/>
                </a:lnTo>
                <a:lnTo>
                  <a:pt x="101689" y="10458"/>
                </a:lnTo>
                <a:lnTo>
                  <a:pt x="103394" y="10868"/>
                </a:lnTo>
                <a:lnTo>
                  <a:pt x="103775" y="10868"/>
                </a:lnTo>
                <a:close/>
                <a:moveTo>
                  <a:pt x="72980" y="16059"/>
                </a:moveTo>
                <a:lnTo>
                  <a:pt x="71942" y="17193"/>
                </a:lnTo>
                <a:lnTo>
                  <a:pt x="69390" y="17059"/>
                </a:lnTo>
                <a:lnTo>
                  <a:pt x="67961" y="15992"/>
                </a:lnTo>
                <a:lnTo>
                  <a:pt x="68428" y="14859"/>
                </a:lnTo>
                <a:lnTo>
                  <a:pt x="69780" y="13992"/>
                </a:lnTo>
                <a:lnTo>
                  <a:pt x="70904" y="13859"/>
                </a:lnTo>
                <a:lnTo>
                  <a:pt x="72599" y="14392"/>
                </a:lnTo>
                <a:lnTo>
                  <a:pt x="72980" y="16059"/>
                </a:lnTo>
                <a:close/>
                <a:moveTo>
                  <a:pt x="209883" y="31223"/>
                </a:moveTo>
                <a:lnTo>
                  <a:pt x="210550" y="34299"/>
                </a:lnTo>
                <a:lnTo>
                  <a:pt x="209836" y="35871"/>
                </a:lnTo>
                <a:lnTo>
                  <a:pt x="206835" y="33261"/>
                </a:lnTo>
                <a:lnTo>
                  <a:pt x="203816" y="33299"/>
                </a:lnTo>
                <a:lnTo>
                  <a:pt x="202016" y="37309"/>
                </a:lnTo>
                <a:lnTo>
                  <a:pt x="200672" y="37481"/>
                </a:lnTo>
                <a:lnTo>
                  <a:pt x="196015" y="33833"/>
                </a:lnTo>
                <a:lnTo>
                  <a:pt x="195262" y="32052"/>
                </a:lnTo>
                <a:lnTo>
                  <a:pt x="195110" y="30566"/>
                </a:lnTo>
                <a:lnTo>
                  <a:pt x="195777" y="25422"/>
                </a:lnTo>
                <a:lnTo>
                  <a:pt x="195653" y="23803"/>
                </a:lnTo>
                <a:lnTo>
                  <a:pt x="197120" y="22031"/>
                </a:lnTo>
                <a:lnTo>
                  <a:pt x="197348" y="19460"/>
                </a:lnTo>
                <a:lnTo>
                  <a:pt x="199930" y="16755"/>
                </a:lnTo>
                <a:lnTo>
                  <a:pt x="202234" y="16650"/>
                </a:lnTo>
                <a:lnTo>
                  <a:pt x="202959" y="18945"/>
                </a:lnTo>
                <a:lnTo>
                  <a:pt x="204063" y="20526"/>
                </a:lnTo>
                <a:lnTo>
                  <a:pt x="207931" y="22298"/>
                </a:lnTo>
                <a:lnTo>
                  <a:pt x="208512" y="23098"/>
                </a:lnTo>
                <a:lnTo>
                  <a:pt x="208864" y="24212"/>
                </a:lnTo>
                <a:lnTo>
                  <a:pt x="207064" y="26384"/>
                </a:lnTo>
                <a:lnTo>
                  <a:pt x="206455" y="27499"/>
                </a:lnTo>
                <a:lnTo>
                  <a:pt x="207026" y="29280"/>
                </a:lnTo>
                <a:lnTo>
                  <a:pt x="209883" y="31223"/>
                </a:lnTo>
                <a:close/>
                <a:moveTo>
                  <a:pt x="145027" y="29613"/>
                </a:moveTo>
                <a:lnTo>
                  <a:pt x="140922" y="29699"/>
                </a:lnTo>
                <a:lnTo>
                  <a:pt x="139351" y="27870"/>
                </a:lnTo>
                <a:lnTo>
                  <a:pt x="137779" y="27403"/>
                </a:lnTo>
                <a:lnTo>
                  <a:pt x="138627" y="25146"/>
                </a:lnTo>
                <a:lnTo>
                  <a:pt x="139732" y="24317"/>
                </a:lnTo>
                <a:lnTo>
                  <a:pt x="143704" y="25793"/>
                </a:lnTo>
                <a:lnTo>
                  <a:pt x="144951" y="28680"/>
                </a:lnTo>
                <a:lnTo>
                  <a:pt x="145027" y="29613"/>
                </a:lnTo>
                <a:close/>
                <a:moveTo>
                  <a:pt x="223304" y="50920"/>
                </a:moveTo>
                <a:lnTo>
                  <a:pt x="222952" y="52340"/>
                </a:lnTo>
                <a:lnTo>
                  <a:pt x="223361" y="54521"/>
                </a:lnTo>
                <a:lnTo>
                  <a:pt x="222256" y="54359"/>
                </a:lnTo>
                <a:lnTo>
                  <a:pt x="218942" y="54873"/>
                </a:lnTo>
                <a:lnTo>
                  <a:pt x="215665" y="54150"/>
                </a:lnTo>
                <a:lnTo>
                  <a:pt x="215037" y="51435"/>
                </a:lnTo>
                <a:lnTo>
                  <a:pt x="215560" y="48825"/>
                </a:lnTo>
                <a:lnTo>
                  <a:pt x="214246" y="47025"/>
                </a:lnTo>
                <a:lnTo>
                  <a:pt x="213036" y="45968"/>
                </a:lnTo>
                <a:lnTo>
                  <a:pt x="212855" y="44463"/>
                </a:lnTo>
                <a:lnTo>
                  <a:pt x="213055" y="42891"/>
                </a:lnTo>
                <a:lnTo>
                  <a:pt x="218703" y="47101"/>
                </a:lnTo>
                <a:lnTo>
                  <a:pt x="223304" y="50920"/>
                </a:ln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6" name="Forme libre : forme 15">
            <a:extLst>
              <a:ext uri="{FF2B5EF4-FFF2-40B4-BE49-F238E27FC236}">
                <a16:creationId xmlns:a16="http://schemas.microsoft.com/office/drawing/2014/main" id="{1D700C8F-0FAF-125B-7240-9E4704BF1439}"/>
              </a:ext>
            </a:extLst>
          </p:cNvPr>
          <p:cNvSpPr/>
          <p:nvPr/>
        </p:nvSpPr>
        <p:spPr>
          <a:xfrm>
            <a:off x="5804692" y="3098959"/>
            <a:ext cx="244629" cy="194389"/>
          </a:xfrm>
          <a:custGeom>
            <a:avLst/>
            <a:gdLst>
              <a:gd name="connsiteX0" fmla="*/ 43272 w 187556"/>
              <a:gd name="connsiteY0" fmla="*/ 139951 h 149037"/>
              <a:gd name="connsiteX1" fmla="*/ 42872 w 187556"/>
              <a:gd name="connsiteY1" fmla="*/ 139951 h 149037"/>
              <a:gd name="connsiteX2" fmla="*/ 41167 w 187556"/>
              <a:gd name="connsiteY2" fmla="*/ 139541 h 149037"/>
              <a:gd name="connsiteX3" fmla="*/ 39957 w 187556"/>
              <a:gd name="connsiteY3" fmla="*/ 138560 h 149037"/>
              <a:gd name="connsiteX4" fmla="*/ 36824 w 187556"/>
              <a:gd name="connsiteY4" fmla="*/ 139256 h 149037"/>
              <a:gd name="connsiteX5" fmla="*/ 32633 w 187556"/>
              <a:gd name="connsiteY5" fmla="*/ 140837 h 149037"/>
              <a:gd name="connsiteX6" fmla="*/ 30309 w 187556"/>
              <a:gd name="connsiteY6" fmla="*/ 140761 h 149037"/>
              <a:gd name="connsiteX7" fmla="*/ 28461 w 187556"/>
              <a:gd name="connsiteY7" fmla="*/ 139065 h 149037"/>
              <a:gd name="connsiteX8" fmla="*/ 20898 w 187556"/>
              <a:gd name="connsiteY8" fmla="*/ 136646 h 149037"/>
              <a:gd name="connsiteX9" fmla="*/ 19679 w 187556"/>
              <a:gd name="connsiteY9" fmla="*/ 136446 h 149037"/>
              <a:gd name="connsiteX10" fmla="*/ 14687 w 187556"/>
              <a:gd name="connsiteY10" fmla="*/ 136350 h 149037"/>
              <a:gd name="connsiteX11" fmla="*/ 14678 w 187556"/>
              <a:gd name="connsiteY11" fmla="*/ 136350 h 149037"/>
              <a:gd name="connsiteX12" fmla="*/ 14440 w 187556"/>
              <a:gd name="connsiteY12" fmla="*/ 132522 h 149037"/>
              <a:gd name="connsiteX13" fmla="*/ 13821 w 187556"/>
              <a:gd name="connsiteY13" fmla="*/ 129750 h 149037"/>
              <a:gd name="connsiteX14" fmla="*/ 12068 w 187556"/>
              <a:gd name="connsiteY14" fmla="*/ 125616 h 149037"/>
              <a:gd name="connsiteX15" fmla="*/ 14659 w 187556"/>
              <a:gd name="connsiteY15" fmla="*/ 124616 h 149037"/>
              <a:gd name="connsiteX16" fmla="*/ 14154 w 187556"/>
              <a:gd name="connsiteY16" fmla="*/ 116519 h 149037"/>
              <a:gd name="connsiteX17" fmla="*/ 13211 w 187556"/>
              <a:gd name="connsiteY17" fmla="*/ 112319 h 149037"/>
              <a:gd name="connsiteX18" fmla="*/ 5982 w 187556"/>
              <a:gd name="connsiteY18" fmla="*/ 107985 h 149037"/>
              <a:gd name="connsiteX19" fmla="*/ 286 w 187556"/>
              <a:gd name="connsiteY19" fmla="*/ 103765 h 149037"/>
              <a:gd name="connsiteX20" fmla="*/ 1600 w 187556"/>
              <a:gd name="connsiteY20" fmla="*/ 89478 h 149037"/>
              <a:gd name="connsiteX21" fmla="*/ 2162 w 187556"/>
              <a:gd name="connsiteY21" fmla="*/ 85611 h 149037"/>
              <a:gd name="connsiteX22" fmla="*/ 0 w 187556"/>
              <a:gd name="connsiteY22" fmla="*/ 78086 h 149037"/>
              <a:gd name="connsiteX23" fmla="*/ 229 w 187556"/>
              <a:gd name="connsiteY23" fmla="*/ 69380 h 149037"/>
              <a:gd name="connsiteX24" fmla="*/ 1143 w 187556"/>
              <a:gd name="connsiteY24" fmla="*/ 55588 h 149037"/>
              <a:gd name="connsiteX25" fmla="*/ 2953 w 187556"/>
              <a:gd name="connsiteY25" fmla="*/ 55045 h 149037"/>
              <a:gd name="connsiteX26" fmla="*/ 4286 w 187556"/>
              <a:gd name="connsiteY26" fmla="*/ 55112 h 149037"/>
              <a:gd name="connsiteX27" fmla="*/ 9411 w 187556"/>
              <a:gd name="connsiteY27" fmla="*/ 57598 h 149037"/>
              <a:gd name="connsiteX28" fmla="*/ 11544 w 187556"/>
              <a:gd name="connsiteY28" fmla="*/ 57846 h 149037"/>
              <a:gd name="connsiteX29" fmla="*/ 13011 w 187556"/>
              <a:gd name="connsiteY29" fmla="*/ 60065 h 149037"/>
              <a:gd name="connsiteX30" fmla="*/ 14726 w 187556"/>
              <a:gd name="connsiteY30" fmla="*/ 60979 h 149037"/>
              <a:gd name="connsiteX31" fmla="*/ 15964 w 187556"/>
              <a:gd name="connsiteY31" fmla="*/ 58627 h 149037"/>
              <a:gd name="connsiteX32" fmla="*/ 16450 w 187556"/>
              <a:gd name="connsiteY32" fmla="*/ 54598 h 149037"/>
              <a:gd name="connsiteX33" fmla="*/ 20507 w 187556"/>
              <a:gd name="connsiteY33" fmla="*/ 49368 h 149037"/>
              <a:gd name="connsiteX34" fmla="*/ 23355 w 187556"/>
              <a:gd name="connsiteY34" fmla="*/ 47435 h 149037"/>
              <a:gd name="connsiteX35" fmla="*/ 25298 w 187556"/>
              <a:gd name="connsiteY35" fmla="*/ 46511 h 149037"/>
              <a:gd name="connsiteX36" fmla="*/ 27261 w 187556"/>
              <a:gd name="connsiteY36" fmla="*/ 48625 h 149037"/>
              <a:gd name="connsiteX37" fmla="*/ 28756 w 187556"/>
              <a:gd name="connsiteY37" fmla="*/ 50997 h 149037"/>
              <a:gd name="connsiteX38" fmla="*/ 29108 w 187556"/>
              <a:gd name="connsiteY38" fmla="*/ 45806 h 149037"/>
              <a:gd name="connsiteX39" fmla="*/ 30318 w 187556"/>
              <a:gd name="connsiteY39" fmla="*/ 35871 h 149037"/>
              <a:gd name="connsiteX40" fmla="*/ 26461 w 187556"/>
              <a:gd name="connsiteY40" fmla="*/ 34309 h 149037"/>
              <a:gd name="connsiteX41" fmla="*/ 23308 w 187556"/>
              <a:gd name="connsiteY41" fmla="*/ 35662 h 149037"/>
              <a:gd name="connsiteX42" fmla="*/ 20193 w 187556"/>
              <a:gd name="connsiteY42" fmla="*/ 41967 h 149037"/>
              <a:gd name="connsiteX43" fmla="*/ 17412 w 187556"/>
              <a:gd name="connsiteY43" fmla="*/ 49864 h 149037"/>
              <a:gd name="connsiteX44" fmla="*/ 12897 w 187556"/>
              <a:gd name="connsiteY44" fmla="*/ 50587 h 149037"/>
              <a:gd name="connsiteX45" fmla="*/ 9297 w 187556"/>
              <a:gd name="connsiteY45" fmla="*/ 52816 h 149037"/>
              <a:gd name="connsiteX46" fmla="*/ 6048 w 187556"/>
              <a:gd name="connsiteY46" fmla="*/ 50502 h 149037"/>
              <a:gd name="connsiteX47" fmla="*/ 3953 w 187556"/>
              <a:gd name="connsiteY47" fmla="*/ 48463 h 149037"/>
              <a:gd name="connsiteX48" fmla="*/ 3905 w 187556"/>
              <a:gd name="connsiteY48" fmla="*/ 45482 h 149037"/>
              <a:gd name="connsiteX49" fmla="*/ 4381 w 187556"/>
              <a:gd name="connsiteY49" fmla="*/ 43682 h 149037"/>
              <a:gd name="connsiteX50" fmla="*/ 8201 w 187556"/>
              <a:gd name="connsiteY50" fmla="*/ 37224 h 149037"/>
              <a:gd name="connsiteX51" fmla="*/ 13326 w 187556"/>
              <a:gd name="connsiteY51" fmla="*/ 31004 h 149037"/>
              <a:gd name="connsiteX52" fmla="*/ 18488 w 187556"/>
              <a:gd name="connsiteY52" fmla="*/ 31061 h 149037"/>
              <a:gd name="connsiteX53" fmla="*/ 22250 w 187556"/>
              <a:gd name="connsiteY53" fmla="*/ 29070 h 149037"/>
              <a:gd name="connsiteX54" fmla="*/ 24498 w 187556"/>
              <a:gd name="connsiteY54" fmla="*/ 28832 h 149037"/>
              <a:gd name="connsiteX55" fmla="*/ 31518 w 187556"/>
              <a:gd name="connsiteY55" fmla="*/ 29261 h 149037"/>
              <a:gd name="connsiteX56" fmla="*/ 35119 w 187556"/>
              <a:gd name="connsiteY56" fmla="*/ 27889 h 149037"/>
              <a:gd name="connsiteX57" fmla="*/ 38348 w 187556"/>
              <a:gd name="connsiteY57" fmla="*/ 25032 h 149037"/>
              <a:gd name="connsiteX58" fmla="*/ 45320 w 187556"/>
              <a:gd name="connsiteY58" fmla="*/ 12868 h 149037"/>
              <a:gd name="connsiteX59" fmla="*/ 49254 w 187556"/>
              <a:gd name="connsiteY59" fmla="*/ 7772 h 149037"/>
              <a:gd name="connsiteX60" fmla="*/ 57188 w 187556"/>
              <a:gd name="connsiteY60" fmla="*/ 5982 h 149037"/>
              <a:gd name="connsiteX61" fmla="*/ 64523 w 187556"/>
              <a:gd name="connsiteY61" fmla="*/ 76 h 149037"/>
              <a:gd name="connsiteX62" fmla="*/ 66570 w 187556"/>
              <a:gd name="connsiteY62" fmla="*/ 0 h 149037"/>
              <a:gd name="connsiteX63" fmla="*/ 63122 w 187556"/>
              <a:gd name="connsiteY63" fmla="*/ 4401 h 149037"/>
              <a:gd name="connsiteX64" fmla="*/ 62570 w 187556"/>
              <a:gd name="connsiteY64" fmla="*/ 6106 h 149037"/>
              <a:gd name="connsiteX65" fmla="*/ 62151 w 187556"/>
              <a:gd name="connsiteY65" fmla="*/ 8706 h 149037"/>
              <a:gd name="connsiteX66" fmla="*/ 64618 w 187556"/>
              <a:gd name="connsiteY66" fmla="*/ 14345 h 149037"/>
              <a:gd name="connsiteX67" fmla="*/ 64094 w 187556"/>
              <a:gd name="connsiteY67" fmla="*/ 17774 h 149037"/>
              <a:gd name="connsiteX68" fmla="*/ 64275 w 187556"/>
              <a:gd name="connsiteY68" fmla="*/ 24499 h 149037"/>
              <a:gd name="connsiteX69" fmla="*/ 61941 w 187556"/>
              <a:gd name="connsiteY69" fmla="*/ 27994 h 149037"/>
              <a:gd name="connsiteX70" fmla="*/ 59312 w 187556"/>
              <a:gd name="connsiteY70" fmla="*/ 35405 h 149037"/>
              <a:gd name="connsiteX71" fmla="*/ 58179 w 187556"/>
              <a:gd name="connsiteY71" fmla="*/ 36491 h 149037"/>
              <a:gd name="connsiteX72" fmla="*/ 57931 w 187556"/>
              <a:gd name="connsiteY72" fmla="*/ 45101 h 149037"/>
              <a:gd name="connsiteX73" fmla="*/ 58188 w 187556"/>
              <a:gd name="connsiteY73" fmla="*/ 47149 h 149037"/>
              <a:gd name="connsiteX74" fmla="*/ 57807 w 187556"/>
              <a:gd name="connsiteY74" fmla="*/ 54940 h 149037"/>
              <a:gd name="connsiteX75" fmla="*/ 60503 w 187556"/>
              <a:gd name="connsiteY75" fmla="*/ 58122 h 149037"/>
              <a:gd name="connsiteX76" fmla="*/ 63351 w 187556"/>
              <a:gd name="connsiteY76" fmla="*/ 59779 h 149037"/>
              <a:gd name="connsiteX77" fmla="*/ 72857 w 187556"/>
              <a:gd name="connsiteY77" fmla="*/ 59722 h 149037"/>
              <a:gd name="connsiteX78" fmla="*/ 73847 w 187556"/>
              <a:gd name="connsiteY78" fmla="*/ 61113 h 149037"/>
              <a:gd name="connsiteX79" fmla="*/ 75009 w 187556"/>
              <a:gd name="connsiteY79" fmla="*/ 63503 h 149037"/>
              <a:gd name="connsiteX80" fmla="*/ 74162 w 187556"/>
              <a:gd name="connsiteY80" fmla="*/ 67561 h 149037"/>
              <a:gd name="connsiteX81" fmla="*/ 73143 w 187556"/>
              <a:gd name="connsiteY81" fmla="*/ 70618 h 149037"/>
              <a:gd name="connsiteX82" fmla="*/ 70390 w 187556"/>
              <a:gd name="connsiteY82" fmla="*/ 73190 h 149037"/>
              <a:gd name="connsiteX83" fmla="*/ 66856 w 187556"/>
              <a:gd name="connsiteY83" fmla="*/ 75105 h 149037"/>
              <a:gd name="connsiteX84" fmla="*/ 64656 w 187556"/>
              <a:gd name="connsiteY84" fmla="*/ 75190 h 149037"/>
              <a:gd name="connsiteX85" fmla="*/ 61665 w 187556"/>
              <a:gd name="connsiteY85" fmla="*/ 71552 h 149037"/>
              <a:gd name="connsiteX86" fmla="*/ 60246 w 187556"/>
              <a:gd name="connsiteY86" fmla="*/ 72733 h 149037"/>
              <a:gd name="connsiteX87" fmla="*/ 58779 w 187556"/>
              <a:gd name="connsiteY87" fmla="*/ 74591 h 149037"/>
              <a:gd name="connsiteX88" fmla="*/ 56312 w 187556"/>
              <a:gd name="connsiteY88" fmla="*/ 84515 h 149037"/>
              <a:gd name="connsiteX89" fmla="*/ 55140 w 187556"/>
              <a:gd name="connsiteY89" fmla="*/ 91192 h 149037"/>
              <a:gd name="connsiteX90" fmla="*/ 54512 w 187556"/>
              <a:gd name="connsiteY90" fmla="*/ 91735 h 149037"/>
              <a:gd name="connsiteX91" fmla="*/ 53121 w 187556"/>
              <a:gd name="connsiteY91" fmla="*/ 90745 h 149037"/>
              <a:gd name="connsiteX92" fmla="*/ 50721 w 187556"/>
              <a:gd name="connsiteY92" fmla="*/ 90669 h 149037"/>
              <a:gd name="connsiteX93" fmla="*/ 47682 w 187556"/>
              <a:gd name="connsiteY93" fmla="*/ 92250 h 149037"/>
              <a:gd name="connsiteX94" fmla="*/ 49244 w 187556"/>
              <a:gd name="connsiteY94" fmla="*/ 93659 h 149037"/>
              <a:gd name="connsiteX95" fmla="*/ 50892 w 187556"/>
              <a:gd name="connsiteY95" fmla="*/ 96108 h 149037"/>
              <a:gd name="connsiteX96" fmla="*/ 50235 w 187556"/>
              <a:gd name="connsiteY96" fmla="*/ 97336 h 149037"/>
              <a:gd name="connsiteX97" fmla="*/ 47558 w 187556"/>
              <a:gd name="connsiteY97" fmla="*/ 98660 h 149037"/>
              <a:gd name="connsiteX98" fmla="*/ 45186 w 187556"/>
              <a:gd name="connsiteY98" fmla="*/ 101337 h 149037"/>
              <a:gd name="connsiteX99" fmla="*/ 44196 w 187556"/>
              <a:gd name="connsiteY99" fmla="*/ 103356 h 149037"/>
              <a:gd name="connsiteX100" fmla="*/ 41215 w 187556"/>
              <a:gd name="connsiteY100" fmla="*/ 105747 h 149037"/>
              <a:gd name="connsiteX101" fmla="*/ 39329 w 187556"/>
              <a:gd name="connsiteY101" fmla="*/ 108776 h 149037"/>
              <a:gd name="connsiteX102" fmla="*/ 40253 w 187556"/>
              <a:gd name="connsiteY102" fmla="*/ 112519 h 149037"/>
              <a:gd name="connsiteX103" fmla="*/ 40643 w 187556"/>
              <a:gd name="connsiteY103" fmla="*/ 115805 h 149037"/>
              <a:gd name="connsiteX104" fmla="*/ 41462 w 187556"/>
              <a:gd name="connsiteY104" fmla="*/ 119425 h 149037"/>
              <a:gd name="connsiteX105" fmla="*/ 40719 w 187556"/>
              <a:gd name="connsiteY105" fmla="*/ 122311 h 149037"/>
              <a:gd name="connsiteX106" fmla="*/ 37014 w 187556"/>
              <a:gd name="connsiteY106" fmla="*/ 126445 h 149037"/>
              <a:gd name="connsiteX107" fmla="*/ 35652 w 187556"/>
              <a:gd name="connsiteY107" fmla="*/ 130016 h 149037"/>
              <a:gd name="connsiteX108" fmla="*/ 38824 w 187556"/>
              <a:gd name="connsiteY108" fmla="*/ 129969 h 149037"/>
              <a:gd name="connsiteX109" fmla="*/ 40777 w 187556"/>
              <a:gd name="connsiteY109" fmla="*/ 130788 h 149037"/>
              <a:gd name="connsiteX110" fmla="*/ 41920 w 187556"/>
              <a:gd name="connsiteY110" fmla="*/ 131845 h 149037"/>
              <a:gd name="connsiteX111" fmla="*/ 43101 w 187556"/>
              <a:gd name="connsiteY111" fmla="*/ 133341 h 149037"/>
              <a:gd name="connsiteX112" fmla="*/ 42377 w 187556"/>
              <a:gd name="connsiteY112" fmla="*/ 135189 h 149037"/>
              <a:gd name="connsiteX113" fmla="*/ 43272 w 187556"/>
              <a:gd name="connsiteY113" fmla="*/ 139951 h 149037"/>
              <a:gd name="connsiteX114" fmla="*/ 78353 w 187556"/>
              <a:gd name="connsiteY114" fmla="*/ 24003 h 149037"/>
              <a:gd name="connsiteX115" fmla="*/ 77267 w 187556"/>
              <a:gd name="connsiteY115" fmla="*/ 25156 h 149037"/>
              <a:gd name="connsiteX116" fmla="*/ 73590 w 187556"/>
              <a:gd name="connsiteY116" fmla="*/ 23527 h 149037"/>
              <a:gd name="connsiteX117" fmla="*/ 75209 w 187556"/>
              <a:gd name="connsiteY117" fmla="*/ 21241 h 149037"/>
              <a:gd name="connsiteX118" fmla="*/ 79248 w 187556"/>
              <a:gd name="connsiteY118" fmla="*/ 20184 h 149037"/>
              <a:gd name="connsiteX119" fmla="*/ 81620 w 187556"/>
              <a:gd name="connsiteY119" fmla="*/ 20536 h 149037"/>
              <a:gd name="connsiteX120" fmla="*/ 79010 w 187556"/>
              <a:gd name="connsiteY120" fmla="*/ 22803 h 149037"/>
              <a:gd name="connsiteX121" fmla="*/ 78353 w 187556"/>
              <a:gd name="connsiteY121" fmla="*/ 24003 h 149037"/>
              <a:gd name="connsiteX122" fmla="*/ 118901 w 187556"/>
              <a:gd name="connsiteY122" fmla="*/ 94983 h 149037"/>
              <a:gd name="connsiteX123" fmla="*/ 118967 w 187556"/>
              <a:gd name="connsiteY123" fmla="*/ 99727 h 149037"/>
              <a:gd name="connsiteX124" fmla="*/ 118272 w 187556"/>
              <a:gd name="connsiteY124" fmla="*/ 101108 h 149037"/>
              <a:gd name="connsiteX125" fmla="*/ 117253 w 187556"/>
              <a:gd name="connsiteY125" fmla="*/ 102023 h 149037"/>
              <a:gd name="connsiteX126" fmla="*/ 114586 w 187556"/>
              <a:gd name="connsiteY126" fmla="*/ 102984 h 149037"/>
              <a:gd name="connsiteX127" fmla="*/ 112271 w 187556"/>
              <a:gd name="connsiteY127" fmla="*/ 104327 h 149037"/>
              <a:gd name="connsiteX128" fmla="*/ 110204 w 187556"/>
              <a:gd name="connsiteY128" fmla="*/ 106680 h 149037"/>
              <a:gd name="connsiteX129" fmla="*/ 109442 w 187556"/>
              <a:gd name="connsiteY129" fmla="*/ 110042 h 149037"/>
              <a:gd name="connsiteX130" fmla="*/ 111052 w 187556"/>
              <a:gd name="connsiteY130" fmla="*/ 112500 h 149037"/>
              <a:gd name="connsiteX131" fmla="*/ 113986 w 187556"/>
              <a:gd name="connsiteY131" fmla="*/ 113843 h 149037"/>
              <a:gd name="connsiteX132" fmla="*/ 114738 w 187556"/>
              <a:gd name="connsiteY132" fmla="*/ 118510 h 149037"/>
              <a:gd name="connsiteX133" fmla="*/ 112319 w 187556"/>
              <a:gd name="connsiteY133" fmla="*/ 120806 h 149037"/>
              <a:gd name="connsiteX134" fmla="*/ 106109 w 187556"/>
              <a:gd name="connsiteY134" fmla="*/ 123092 h 149037"/>
              <a:gd name="connsiteX135" fmla="*/ 105461 w 187556"/>
              <a:gd name="connsiteY135" fmla="*/ 128607 h 149037"/>
              <a:gd name="connsiteX136" fmla="*/ 105661 w 187556"/>
              <a:gd name="connsiteY136" fmla="*/ 132940 h 149037"/>
              <a:gd name="connsiteX137" fmla="*/ 105546 w 187556"/>
              <a:gd name="connsiteY137" fmla="*/ 136084 h 149037"/>
              <a:gd name="connsiteX138" fmla="*/ 105051 w 187556"/>
              <a:gd name="connsiteY138" fmla="*/ 140427 h 149037"/>
              <a:gd name="connsiteX139" fmla="*/ 100032 w 187556"/>
              <a:gd name="connsiteY139" fmla="*/ 142399 h 149037"/>
              <a:gd name="connsiteX140" fmla="*/ 96784 w 187556"/>
              <a:gd name="connsiteY140" fmla="*/ 135789 h 149037"/>
              <a:gd name="connsiteX141" fmla="*/ 96755 w 187556"/>
              <a:gd name="connsiteY141" fmla="*/ 133131 h 149037"/>
              <a:gd name="connsiteX142" fmla="*/ 95783 w 187556"/>
              <a:gd name="connsiteY142" fmla="*/ 130026 h 149037"/>
              <a:gd name="connsiteX143" fmla="*/ 95603 w 187556"/>
              <a:gd name="connsiteY143" fmla="*/ 127378 h 149037"/>
              <a:gd name="connsiteX144" fmla="*/ 94450 w 187556"/>
              <a:gd name="connsiteY144" fmla="*/ 123139 h 149037"/>
              <a:gd name="connsiteX145" fmla="*/ 89697 w 187556"/>
              <a:gd name="connsiteY145" fmla="*/ 121987 h 149037"/>
              <a:gd name="connsiteX146" fmla="*/ 87849 w 187556"/>
              <a:gd name="connsiteY146" fmla="*/ 121834 h 149037"/>
              <a:gd name="connsiteX147" fmla="*/ 85268 w 187556"/>
              <a:gd name="connsiteY147" fmla="*/ 122625 h 149037"/>
              <a:gd name="connsiteX148" fmla="*/ 84630 w 187556"/>
              <a:gd name="connsiteY148" fmla="*/ 122320 h 149037"/>
              <a:gd name="connsiteX149" fmla="*/ 81534 w 187556"/>
              <a:gd name="connsiteY149" fmla="*/ 116510 h 149037"/>
              <a:gd name="connsiteX150" fmla="*/ 82048 w 187556"/>
              <a:gd name="connsiteY150" fmla="*/ 110071 h 149037"/>
              <a:gd name="connsiteX151" fmla="*/ 80401 w 187556"/>
              <a:gd name="connsiteY151" fmla="*/ 106814 h 149037"/>
              <a:gd name="connsiteX152" fmla="*/ 80172 w 187556"/>
              <a:gd name="connsiteY152" fmla="*/ 105337 h 149037"/>
              <a:gd name="connsiteX153" fmla="*/ 80210 w 187556"/>
              <a:gd name="connsiteY153" fmla="*/ 103699 h 149037"/>
              <a:gd name="connsiteX154" fmla="*/ 78848 w 187556"/>
              <a:gd name="connsiteY154" fmla="*/ 102346 h 149037"/>
              <a:gd name="connsiteX155" fmla="*/ 77210 w 187556"/>
              <a:gd name="connsiteY155" fmla="*/ 101632 h 149037"/>
              <a:gd name="connsiteX156" fmla="*/ 76410 w 187556"/>
              <a:gd name="connsiteY156" fmla="*/ 97984 h 149037"/>
              <a:gd name="connsiteX157" fmla="*/ 78296 w 187556"/>
              <a:gd name="connsiteY157" fmla="*/ 97098 h 149037"/>
              <a:gd name="connsiteX158" fmla="*/ 82972 w 187556"/>
              <a:gd name="connsiteY158" fmla="*/ 97527 h 149037"/>
              <a:gd name="connsiteX159" fmla="*/ 84344 w 187556"/>
              <a:gd name="connsiteY159" fmla="*/ 97279 h 149037"/>
              <a:gd name="connsiteX160" fmla="*/ 85592 w 187556"/>
              <a:gd name="connsiteY160" fmla="*/ 96517 h 149037"/>
              <a:gd name="connsiteX161" fmla="*/ 89373 w 187556"/>
              <a:gd name="connsiteY161" fmla="*/ 90497 h 149037"/>
              <a:gd name="connsiteX162" fmla="*/ 89259 w 187556"/>
              <a:gd name="connsiteY162" fmla="*/ 89164 h 149037"/>
              <a:gd name="connsiteX163" fmla="*/ 89659 w 187556"/>
              <a:gd name="connsiteY163" fmla="*/ 87440 h 149037"/>
              <a:gd name="connsiteX164" fmla="*/ 93745 w 187556"/>
              <a:gd name="connsiteY164" fmla="*/ 86801 h 149037"/>
              <a:gd name="connsiteX165" fmla="*/ 95564 w 187556"/>
              <a:gd name="connsiteY165" fmla="*/ 89135 h 149037"/>
              <a:gd name="connsiteX166" fmla="*/ 95193 w 187556"/>
              <a:gd name="connsiteY166" fmla="*/ 92869 h 149037"/>
              <a:gd name="connsiteX167" fmla="*/ 95422 w 187556"/>
              <a:gd name="connsiteY167" fmla="*/ 97631 h 149037"/>
              <a:gd name="connsiteX168" fmla="*/ 97898 w 187556"/>
              <a:gd name="connsiteY168" fmla="*/ 98927 h 149037"/>
              <a:gd name="connsiteX169" fmla="*/ 98860 w 187556"/>
              <a:gd name="connsiteY169" fmla="*/ 99117 h 149037"/>
              <a:gd name="connsiteX170" fmla="*/ 99898 w 187556"/>
              <a:gd name="connsiteY170" fmla="*/ 95603 h 149037"/>
              <a:gd name="connsiteX171" fmla="*/ 100622 w 187556"/>
              <a:gd name="connsiteY171" fmla="*/ 93888 h 149037"/>
              <a:gd name="connsiteX172" fmla="*/ 101603 w 187556"/>
              <a:gd name="connsiteY172" fmla="*/ 92926 h 149037"/>
              <a:gd name="connsiteX173" fmla="*/ 101937 w 187556"/>
              <a:gd name="connsiteY173" fmla="*/ 89707 h 149037"/>
              <a:gd name="connsiteX174" fmla="*/ 101355 w 187556"/>
              <a:gd name="connsiteY174" fmla="*/ 87735 h 149037"/>
              <a:gd name="connsiteX175" fmla="*/ 100117 w 187556"/>
              <a:gd name="connsiteY175" fmla="*/ 86258 h 149037"/>
              <a:gd name="connsiteX176" fmla="*/ 104747 w 187556"/>
              <a:gd name="connsiteY176" fmla="*/ 82258 h 149037"/>
              <a:gd name="connsiteX177" fmla="*/ 109538 w 187556"/>
              <a:gd name="connsiteY177" fmla="*/ 79077 h 149037"/>
              <a:gd name="connsiteX178" fmla="*/ 112328 w 187556"/>
              <a:gd name="connsiteY178" fmla="*/ 78905 h 149037"/>
              <a:gd name="connsiteX179" fmla="*/ 115129 w 187556"/>
              <a:gd name="connsiteY179" fmla="*/ 79686 h 149037"/>
              <a:gd name="connsiteX180" fmla="*/ 117738 w 187556"/>
              <a:gd name="connsiteY180" fmla="*/ 80753 h 149037"/>
              <a:gd name="connsiteX181" fmla="*/ 119148 w 187556"/>
              <a:gd name="connsiteY181" fmla="*/ 81677 h 149037"/>
              <a:gd name="connsiteX182" fmla="*/ 119939 w 187556"/>
              <a:gd name="connsiteY182" fmla="*/ 83163 h 149037"/>
              <a:gd name="connsiteX183" fmla="*/ 118186 w 187556"/>
              <a:gd name="connsiteY183" fmla="*/ 86697 h 149037"/>
              <a:gd name="connsiteX184" fmla="*/ 117700 w 187556"/>
              <a:gd name="connsiteY184" fmla="*/ 88621 h 149037"/>
              <a:gd name="connsiteX185" fmla="*/ 118901 w 187556"/>
              <a:gd name="connsiteY185" fmla="*/ 94983 h 149037"/>
              <a:gd name="connsiteX186" fmla="*/ 66465 w 187556"/>
              <a:gd name="connsiteY186" fmla="*/ 95079 h 149037"/>
              <a:gd name="connsiteX187" fmla="*/ 66008 w 187556"/>
              <a:gd name="connsiteY187" fmla="*/ 95926 h 149037"/>
              <a:gd name="connsiteX188" fmla="*/ 64313 w 187556"/>
              <a:gd name="connsiteY188" fmla="*/ 95041 h 149037"/>
              <a:gd name="connsiteX189" fmla="*/ 64132 w 187556"/>
              <a:gd name="connsiteY189" fmla="*/ 91973 h 149037"/>
              <a:gd name="connsiteX190" fmla="*/ 64770 w 187556"/>
              <a:gd name="connsiteY190" fmla="*/ 89211 h 149037"/>
              <a:gd name="connsiteX191" fmla="*/ 64018 w 187556"/>
              <a:gd name="connsiteY191" fmla="*/ 86735 h 149037"/>
              <a:gd name="connsiteX192" fmla="*/ 64846 w 187556"/>
              <a:gd name="connsiteY192" fmla="*/ 85144 h 149037"/>
              <a:gd name="connsiteX193" fmla="*/ 67228 w 187556"/>
              <a:gd name="connsiteY193" fmla="*/ 88849 h 149037"/>
              <a:gd name="connsiteX194" fmla="*/ 67904 w 187556"/>
              <a:gd name="connsiteY194" fmla="*/ 90592 h 149037"/>
              <a:gd name="connsiteX195" fmla="*/ 66980 w 187556"/>
              <a:gd name="connsiteY195" fmla="*/ 92669 h 149037"/>
              <a:gd name="connsiteX196" fmla="*/ 66465 w 187556"/>
              <a:gd name="connsiteY196" fmla="*/ 95079 h 149037"/>
              <a:gd name="connsiteX197" fmla="*/ 121491 w 187556"/>
              <a:gd name="connsiteY197" fmla="*/ 103899 h 149037"/>
              <a:gd name="connsiteX198" fmla="*/ 118977 w 187556"/>
              <a:gd name="connsiteY198" fmla="*/ 105909 h 149037"/>
              <a:gd name="connsiteX199" fmla="*/ 118424 w 187556"/>
              <a:gd name="connsiteY199" fmla="*/ 105804 h 149037"/>
              <a:gd name="connsiteX200" fmla="*/ 117605 w 187556"/>
              <a:gd name="connsiteY200" fmla="*/ 103051 h 149037"/>
              <a:gd name="connsiteX201" fmla="*/ 118939 w 187556"/>
              <a:gd name="connsiteY201" fmla="*/ 101375 h 149037"/>
              <a:gd name="connsiteX202" fmla="*/ 119720 w 187556"/>
              <a:gd name="connsiteY202" fmla="*/ 99956 h 149037"/>
              <a:gd name="connsiteX203" fmla="*/ 120282 w 187556"/>
              <a:gd name="connsiteY203" fmla="*/ 99994 h 149037"/>
              <a:gd name="connsiteX204" fmla="*/ 121044 w 187556"/>
              <a:gd name="connsiteY204" fmla="*/ 101537 h 149037"/>
              <a:gd name="connsiteX205" fmla="*/ 121491 w 187556"/>
              <a:gd name="connsiteY205" fmla="*/ 103899 h 149037"/>
              <a:gd name="connsiteX206" fmla="*/ 67475 w 187556"/>
              <a:gd name="connsiteY206" fmla="*/ 103280 h 149037"/>
              <a:gd name="connsiteX207" fmla="*/ 68589 w 187556"/>
              <a:gd name="connsiteY207" fmla="*/ 105737 h 149037"/>
              <a:gd name="connsiteX208" fmla="*/ 69961 w 187556"/>
              <a:gd name="connsiteY208" fmla="*/ 110976 h 149037"/>
              <a:gd name="connsiteX209" fmla="*/ 72133 w 187556"/>
              <a:gd name="connsiteY209" fmla="*/ 116824 h 149037"/>
              <a:gd name="connsiteX210" fmla="*/ 71228 w 187556"/>
              <a:gd name="connsiteY210" fmla="*/ 119263 h 149037"/>
              <a:gd name="connsiteX211" fmla="*/ 71847 w 187556"/>
              <a:gd name="connsiteY211" fmla="*/ 122387 h 149037"/>
              <a:gd name="connsiteX212" fmla="*/ 71228 w 187556"/>
              <a:gd name="connsiteY212" fmla="*/ 125635 h 149037"/>
              <a:gd name="connsiteX213" fmla="*/ 66913 w 187556"/>
              <a:gd name="connsiteY213" fmla="*/ 129407 h 149037"/>
              <a:gd name="connsiteX214" fmla="*/ 62074 w 187556"/>
              <a:gd name="connsiteY214" fmla="*/ 129578 h 149037"/>
              <a:gd name="connsiteX215" fmla="*/ 57045 w 187556"/>
              <a:gd name="connsiteY215" fmla="*/ 127759 h 149037"/>
              <a:gd name="connsiteX216" fmla="*/ 49940 w 187556"/>
              <a:gd name="connsiteY216" fmla="*/ 124244 h 149037"/>
              <a:gd name="connsiteX217" fmla="*/ 49368 w 187556"/>
              <a:gd name="connsiteY217" fmla="*/ 122272 h 149037"/>
              <a:gd name="connsiteX218" fmla="*/ 48378 w 187556"/>
              <a:gd name="connsiteY218" fmla="*/ 121177 h 149037"/>
              <a:gd name="connsiteX219" fmla="*/ 46472 w 187556"/>
              <a:gd name="connsiteY219" fmla="*/ 115167 h 149037"/>
              <a:gd name="connsiteX220" fmla="*/ 46511 w 187556"/>
              <a:gd name="connsiteY220" fmla="*/ 107728 h 149037"/>
              <a:gd name="connsiteX221" fmla="*/ 50082 w 187556"/>
              <a:gd name="connsiteY221" fmla="*/ 106785 h 149037"/>
              <a:gd name="connsiteX222" fmla="*/ 57883 w 187556"/>
              <a:gd name="connsiteY222" fmla="*/ 103222 h 149037"/>
              <a:gd name="connsiteX223" fmla="*/ 59684 w 187556"/>
              <a:gd name="connsiteY223" fmla="*/ 103785 h 149037"/>
              <a:gd name="connsiteX224" fmla="*/ 61569 w 187556"/>
              <a:gd name="connsiteY224" fmla="*/ 105604 h 149037"/>
              <a:gd name="connsiteX225" fmla="*/ 63741 w 187556"/>
              <a:gd name="connsiteY225" fmla="*/ 105709 h 149037"/>
              <a:gd name="connsiteX226" fmla="*/ 66885 w 187556"/>
              <a:gd name="connsiteY226" fmla="*/ 103127 h 149037"/>
              <a:gd name="connsiteX227" fmla="*/ 67475 w 187556"/>
              <a:gd name="connsiteY227" fmla="*/ 103280 h 149037"/>
              <a:gd name="connsiteX228" fmla="*/ 186233 w 187556"/>
              <a:gd name="connsiteY228" fmla="*/ 130836 h 149037"/>
              <a:gd name="connsiteX229" fmla="*/ 185242 w 187556"/>
              <a:gd name="connsiteY229" fmla="*/ 131626 h 149037"/>
              <a:gd name="connsiteX230" fmla="*/ 180822 w 187556"/>
              <a:gd name="connsiteY230" fmla="*/ 130321 h 149037"/>
              <a:gd name="connsiteX231" fmla="*/ 175441 w 187556"/>
              <a:gd name="connsiteY231" fmla="*/ 127092 h 149037"/>
              <a:gd name="connsiteX232" fmla="*/ 176231 w 187556"/>
              <a:gd name="connsiteY232" fmla="*/ 120748 h 149037"/>
              <a:gd name="connsiteX233" fmla="*/ 177613 w 187556"/>
              <a:gd name="connsiteY233" fmla="*/ 117996 h 149037"/>
              <a:gd name="connsiteX234" fmla="*/ 187433 w 187556"/>
              <a:gd name="connsiteY234" fmla="*/ 125111 h 149037"/>
              <a:gd name="connsiteX235" fmla="*/ 187557 w 187556"/>
              <a:gd name="connsiteY235" fmla="*/ 127788 h 149037"/>
              <a:gd name="connsiteX236" fmla="*/ 186233 w 187556"/>
              <a:gd name="connsiteY236" fmla="*/ 130836 h 149037"/>
              <a:gd name="connsiteX237" fmla="*/ 69856 w 187556"/>
              <a:gd name="connsiteY237" fmla="*/ 143408 h 149037"/>
              <a:gd name="connsiteX238" fmla="*/ 68666 w 187556"/>
              <a:gd name="connsiteY238" fmla="*/ 143666 h 149037"/>
              <a:gd name="connsiteX239" fmla="*/ 67056 w 187556"/>
              <a:gd name="connsiteY239" fmla="*/ 139922 h 149037"/>
              <a:gd name="connsiteX240" fmla="*/ 66847 w 187556"/>
              <a:gd name="connsiteY240" fmla="*/ 138741 h 149037"/>
              <a:gd name="connsiteX241" fmla="*/ 68742 w 187556"/>
              <a:gd name="connsiteY241" fmla="*/ 136341 h 149037"/>
              <a:gd name="connsiteX242" fmla="*/ 69961 w 187556"/>
              <a:gd name="connsiteY242" fmla="*/ 133617 h 149037"/>
              <a:gd name="connsiteX243" fmla="*/ 73133 w 187556"/>
              <a:gd name="connsiteY243" fmla="*/ 129426 h 149037"/>
              <a:gd name="connsiteX244" fmla="*/ 74952 w 187556"/>
              <a:gd name="connsiteY244" fmla="*/ 124501 h 149037"/>
              <a:gd name="connsiteX245" fmla="*/ 75648 w 187556"/>
              <a:gd name="connsiteY245" fmla="*/ 124578 h 149037"/>
              <a:gd name="connsiteX246" fmla="*/ 74838 w 187556"/>
              <a:gd name="connsiteY246" fmla="*/ 128969 h 149037"/>
              <a:gd name="connsiteX247" fmla="*/ 70676 w 187556"/>
              <a:gd name="connsiteY247" fmla="*/ 141151 h 149037"/>
              <a:gd name="connsiteX248" fmla="*/ 69856 w 187556"/>
              <a:gd name="connsiteY248" fmla="*/ 143408 h 149037"/>
              <a:gd name="connsiteX249" fmla="*/ 51864 w 187556"/>
              <a:gd name="connsiteY249" fmla="*/ 137131 h 149037"/>
              <a:gd name="connsiteX250" fmla="*/ 49082 w 187556"/>
              <a:gd name="connsiteY250" fmla="*/ 137770 h 149037"/>
              <a:gd name="connsiteX251" fmla="*/ 47663 w 187556"/>
              <a:gd name="connsiteY251" fmla="*/ 136646 h 149037"/>
              <a:gd name="connsiteX252" fmla="*/ 45053 w 187556"/>
              <a:gd name="connsiteY252" fmla="*/ 136217 h 149037"/>
              <a:gd name="connsiteX253" fmla="*/ 44120 w 187556"/>
              <a:gd name="connsiteY253" fmla="*/ 129064 h 149037"/>
              <a:gd name="connsiteX254" fmla="*/ 44387 w 187556"/>
              <a:gd name="connsiteY254" fmla="*/ 128635 h 149037"/>
              <a:gd name="connsiteX255" fmla="*/ 45701 w 187556"/>
              <a:gd name="connsiteY255" fmla="*/ 129140 h 149037"/>
              <a:gd name="connsiteX256" fmla="*/ 50206 w 187556"/>
              <a:gd name="connsiteY256" fmla="*/ 132483 h 149037"/>
              <a:gd name="connsiteX257" fmla="*/ 51778 w 187556"/>
              <a:gd name="connsiteY257" fmla="*/ 136132 h 149037"/>
              <a:gd name="connsiteX258" fmla="*/ 51864 w 187556"/>
              <a:gd name="connsiteY258" fmla="*/ 137131 h 149037"/>
              <a:gd name="connsiteX259" fmla="*/ 118377 w 187556"/>
              <a:gd name="connsiteY259" fmla="*/ 133445 h 149037"/>
              <a:gd name="connsiteX260" fmla="*/ 117358 w 187556"/>
              <a:gd name="connsiteY260" fmla="*/ 134141 h 149037"/>
              <a:gd name="connsiteX261" fmla="*/ 113252 w 187556"/>
              <a:gd name="connsiteY261" fmla="*/ 133636 h 149037"/>
              <a:gd name="connsiteX262" fmla="*/ 108623 w 187556"/>
              <a:gd name="connsiteY262" fmla="*/ 136855 h 149037"/>
              <a:gd name="connsiteX263" fmla="*/ 106871 w 187556"/>
              <a:gd name="connsiteY263" fmla="*/ 135836 h 149037"/>
              <a:gd name="connsiteX264" fmla="*/ 107537 w 187556"/>
              <a:gd name="connsiteY264" fmla="*/ 133779 h 149037"/>
              <a:gd name="connsiteX265" fmla="*/ 108023 w 187556"/>
              <a:gd name="connsiteY265" fmla="*/ 133026 h 149037"/>
              <a:gd name="connsiteX266" fmla="*/ 109576 w 187556"/>
              <a:gd name="connsiteY266" fmla="*/ 132150 h 149037"/>
              <a:gd name="connsiteX267" fmla="*/ 110614 w 187556"/>
              <a:gd name="connsiteY267" fmla="*/ 130874 h 149037"/>
              <a:gd name="connsiteX268" fmla="*/ 111023 w 187556"/>
              <a:gd name="connsiteY268" fmla="*/ 128874 h 149037"/>
              <a:gd name="connsiteX269" fmla="*/ 111985 w 187556"/>
              <a:gd name="connsiteY269" fmla="*/ 129950 h 149037"/>
              <a:gd name="connsiteX270" fmla="*/ 114853 w 187556"/>
              <a:gd name="connsiteY270" fmla="*/ 130397 h 149037"/>
              <a:gd name="connsiteX271" fmla="*/ 116253 w 187556"/>
              <a:gd name="connsiteY271" fmla="*/ 131036 h 149037"/>
              <a:gd name="connsiteX272" fmla="*/ 117424 w 187556"/>
              <a:gd name="connsiteY272" fmla="*/ 131979 h 149037"/>
              <a:gd name="connsiteX273" fmla="*/ 118377 w 187556"/>
              <a:gd name="connsiteY273" fmla="*/ 133445 h 149037"/>
              <a:gd name="connsiteX274" fmla="*/ 63179 w 187556"/>
              <a:gd name="connsiteY274" fmla="*/ 138922 h 149037"/>
              <a:gd name="connsiteX275" fmla="*/ 61389 w 187556"/>
              <a:gd name="connsiteY275" fmla="*/ 139408 h 149037"/>
              <a:gd name="connsiteX276" fmla="*/ 59341 w 187556"/>
              <a:gd name="connsiteY276" fmla="*/ 138399 h 149037"/>
              <a:gd name="connsiteX277" fmla="*/ 55997 w 187556"/>
              <a:gd name="connsiteY277" fmla="*/ 134598 h 149037"/>
              <a:gd name="connsiteX278" fmla="*/ 55578 w 187556"/>
              <a:gd name="connsiteY278" fmla="*/ 133588 h 149037"/>
              <a:gd name="connsiteX279" fmla="*/ 57331 w 187556"/>
              <a:gd name="connsiteY279" fmla="*/ 134226 h 149037"/>
              <a:gd name="connsiteX280" fmla="*/ 59512 w 187556"/>
              <a:gd name="connsiteY280" fmla="*/ 136217 h 149037"/>
              <a:gd name="connsiteX281" fmla="*/ 61293 w 187556"/>
              <a:gd name="connsiteY281" fmla="*/ 136646 h 149037"/>
              <a:gd name="connsiteX282" fmla="*/ 63732 w 187556"/>
              <a:gd name="connsiteY282" fmla="*/ 138322 h 149037"/>
              <a:gd name="connsiteX283" fmla="*/ 63179 w 187556"/>
              <a:gd name="connsiteY283" fmla="*/ 138922 h 149037"/>
              <a:gd name="connsiteX284" fmla="*/ 86620 w 187556"/>
              <a:gd name="connsiteY284" fmla="*/ 136884 h 149037"/>
              <a:gd name="connsiteX285" fmla="*/ 91354 w 187556"/>
              <a:gd name="connsiteY285" fmla="*/ 139760 h 149037"/>
              <a:gd name="connsiteX286" fmla="*/ 94555 w 187556"/>
              <a:gd name="connsiteY286" fmla="*/ 139589 h 149037"/>
              <a:gd name="connsiteX287" fmla="*/ 96736 w 187556"/>
              <a:gd name="connsiteY287" fmla="*/ 140780 h 149037"/>
              <a:gd name="connsiteX288" fmla="*/ 97260 w 187556"/>
              <a:gd name="connsiteY288" fmla="*/ 142618 h 149037"/>
              <a:gd name="connsiteX289" fmla="*/ 97450 w 187556"/>
              <a:gd name="connsiteY289" fmla="*/ 146695 h 149037"/>
              <a:gd name="connsiteX290" fmla="*/ 95164 w 187556"/>
              <a:gd name="connsiteY290" fmla="*/ 147885 h 149037"/>
              <a:gd name="connsiteX291" fmla="*/ 92640 w 187556"/>
              <a:gd name="connsiteY291" fmla="*/ 147485 h 149037"/>
              <a:gd name="connsiteX292" fmla="*/ 89202 w 187556"/>
              <a:gd name="connsiteY292" fmla="*/ 149038 h 149037"/>
              <a:gd name="connsiteX293" fmla="*/ 77924 w 187556"/>
              <a:gd name="connsiteY293" fmla="*/ 142380 h 149037"/>
              <a:gd name="connsiteX294" fmla="*/ 78086 w 187556"/>
              <a:gd name="connsiteY294" fmla="*/ 136808 h 149037"/>
              <a:gd name="connsiteX295" fmla="*/ 78534 w 187556"/>
              <a:gd name="connsiteY295" fmla="*/ 134617 h 149037"/>
              <a:gd name="connsiteX296" fmla="*/ 83877 w 187556"/>
              <a:gd name="connsiteY296" fmla="*/ 134093 h 149037"/>
              <a:gd name="connsiteX297" fmla="*/ 86620 w 187556"/>
              <a:gd name="connsiteY297" fmla="*/ 136884 h 149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</a:cxnLst>
            <a:rect l="l" t="t" r="r" b="b"/>
            <a:pathLst>
              <a:path w="187556" h="149037">
                <a:moveTo>
                  <a:pt x="43272" y="139951"/>
                </a:moveTo>
                <a:lnTo>
                  <a:pt x="42872" y="139951"/>
                </a:lnTo>
                <a:lnTo>
                  <a:pt x="41167" y="139541"/>
                </a:lnTo>
                <a:lnTo>
                  <a:pt x="39957" y="138560"/>
                </a:lnTo>
                <a:lnTo>
                  <a:pt x="36824" y="139256"/>
                </a:lnTo>
                <a:lnTo>
                  <a:pt x="32633" y="140837"/>
                </a:lnTo>
                <a:lnTo>
                  <a:pt x="30309" y="140761"/>
                </a:lnTo>
                <a:lnTo>
                  <a:pt x="28461" y="139065"/>
                </a:lnTo>
                <a:lnTo>
                  <a:pt x="20898" y="136646"/>
                </a:lnTo>
                <a:lnTo>
                  <a:pt x="19679" y="136446"/>
                </a:lnTo>
                <a:lnTo>
                  <a:pt x="14687" y="136350"/>
                </a:lnTo>
                <a:lnTo>
                  <a:pt x="14678" y="136350"/>
                </a:lnTo>
                <a:lnTo>
                  <a:pt x="14440" y="132522"/>
                </a:lnTo>
                <a:lnTo>
                  <a:pt x="13821" y="129750"/>
                </a:lnTo>
                <a:lnTo>
                  <a:pt x="12068" y="125616"/>
                </a:lnTo>
                <a:lnTo>
                  <a:pt x="14659" y="124616"/>
                </a:lnTo>
                <a:lnTo>
                  <a:pt x="14154" y="116519"/>
                </a:lnTo>
                <a:lnTo>
                  <a:pt x="13211" y="112319"/>
                </a:lnTo>
                <a:lnTo>
                  <a:pt x="5982" y="107985"/>
                </a:lnTo>
                <a:lnTo>
                  <a:pt x="286" y="103765"/>
                </a:lnTo>
                <a:lnTo>
                  <a:pt x="1600" y="89478"/>
                </a:lnTo>
                <a:lnTo>
                  <a:pt x="2162" y="85611"/>
                </a:lnTo>
                <a:lnTo>
                  <a:pt x="0" y="78086"/>
                </a:lnTo>
                <a:lnTo>
                  <a:pt x="229" y="69380"/>
                </a:lnTo>
                <a:lnTo>
                  <a:pt x="1143" y="55588"/>
                </a:lnTo>
                <a:lnTo>
                  <a:pt x="2953" y="55045"/>
                </a:lnTo>
                <a:lnTo>
                  <a:pt x="4286" y="55112"/>
                </a:lnTo>
                <a:lnTo>
                  <a:pt x="9411" y="57598"/>
                </a:lnTo>
                <a:lnTo>
                  <a:pt x="11544" y="57846"/>
                </a:lnTo>
                <a:lnTo>
                  <a:pt x="13011" y="60065"/>
                </a:lnTo>
                <a:lnTo>
                  <a:pt x="14726" y="60979"/>
                </a:lnTo>
                <a:lnTo>
                  <a:pt x="15964" y="58627"/>
                </a:lnTo>
                <a:lnTo>
                  <a:pt x="16450" y="54598"/>
                </a:lnTo>
                <a:lnTo>
                  <a:pt x="20507" y="49368"/>
                </a:lnTo>
                <a:lnTo>
                  <a:pt x="23355" y="47435"/>
                </a:lnTo>
                <a:lnTo>
                  <a:pt x="25298" y="46511"/>
                </a:lnTo>
                <a:lnTo>
                  <a:pt x="27261" y="48625"/>
                </a:lnTo>
                <a:lnTo>
                  <a:pt x="28756" y="50997"/>
                </a:lnTo>
                <a:lnTo>
                  <a:pt x="29108" y="45806"/>
                </a:lnTo>
                <a:lnTo>
                  <a:pt x="30318" y="35871"/>
                </a:lnTo>
                <a:lnTo>
                  <a:pt x="26461" y="34309"/>
                </a:lnTo>
                <a:lnTo>
                  <a:pt x="23308" y="35662"/>
                </a:lnTo>
                <a:lnTo>
                  <a:pt x="20193" y="41967"/>
                </a:lnTo>
                <a:lnTo>
                  <a:pt x="17412" y="49864"/>
                </a:lnTo>
                <a:lnTo>
                  <a:pt x="12897" y="50587"/>
                </a:lnTo>
                <a:lnTo>
                  <a:pt x="9297" y="52816"/>
                </a:lnTo>
                <a:lnTo>
                  <a:pt x="6048" y="50502"/>
                </a:lnTo>
                <a:lnTo>
                  <a:pt x="3953" y="48463"/>
                </a:lnTo>
                <a:lnTo>
                  <a:pt x="3905" y="45482"/>
                </a:lnTo>
                <a:lnTo>
                  <a:pt x="4381" y="43682"/>
                </a:lnTo>
                <a:lnTo>
                  <a:pt x="8201" y="37224"/>
                </a:lnTo>
                <a:lnTo>
                  <a:pt x="13326" y="31004"/>
                </a:lnTo>
                <a:lnTo>
                  <a:pt x="18488" y="31061"/>
                </a:lnTo>
                <a:lnTo>
                  <a:pt x="22250" y="29070"/>
                </a:lnTo>
                <a:lnTo>
                  <a:pt x="24498" y="28832"/>
                </a:lnTo>
                <a:lnTo>
                  <a:pt x="31518" y="29261"/>
                </a:lnTo>
                <a:lnTo>
                  <a:pt x="35119" y="27889"/>
                </a:lnTo>
                <a:lnTo>
                  <a:pt x="38348" y="25032"/>
                </a:lnTo>
                <a:lnTo>
                  <a:pt x="45320" y="12868"/>
                </a:lnTo>
                <a:lnTo>
                  <a:pt x="49254" y="7772"/>
                </a:lnTo>
                <a:lnTo>
                  <a:pt x="57188" y="5982"/>
                </a:lnTo>
                <a:lnTo>
                  <a:pt x="64523" y="76"/>
                </a:lnTo>
                <a:lnTo>
                  <a:pt x="66570" y="0"/>
                </a:lnTo>
                <a:lnTo>
                  <a:pt x="63122" y="4401"/>
                </a:lnTo>
                <a:lnTo>
                  <a:pt x="62570" y="6106"/>
                </a:lnTo>
                <a:lnTo>
                  <a:pt x="62151" y="8706"/>
                </a:lnTo>
                <a:lnTo>
                  <a:pt x="64618" y="14345"/>
                </a:lnTo>
                <a:lnTo>
                  <a:pt x="64094" y="17774"/>
                </a:lnTo>
                <a:lnTo>
                  <a:pt x="64275" y="24499"/>
                </a:lnTo>
                <a:lnTo>
                  <a:pt x="61941" y="27994"/>
                </a:lnTo>
                <a:lnTo>
                  <a:pt x="59312" y="35405"/>
                </a:lnTo>
                <a:lnTo>
                  <a:pt x="58179" y="36491"/>
                </a:lnTo>
                <a:lnTo>
                  <a:pt x="57931" y="45101"/>
                </a:lnTo>
                <a:lnTo>
                  <a:pt x="58188" y="47149"/>
                </a:lnTo>
                <a:lnTo>
                  <a:pt x="57807" y="54940"/>
                </a:lnTo>
                <a:lnTo>
                  <a:pt x="60503" y="58122"/>
                </a:lnTo>
                <a:lnTo>
                  <a:pt x="63351" y="59779"/>
                </a:lnTo>
                <a:lnTo>
                  <a:pt x="72857" y="59722"/>
                </a:lnTo>
                <a:lnTo>
                  <a:pt x="73847" y="61113"/>
                </a:lnTo>
                <a:lnTo>
                  <a:pt x="75009" y="63503"/>
                </a:lnTo>
                <a:lnTo>
                  <a:pt x="74162" y="67561"/>
                </a:lnTo>
                <a:lnTo>
                  <a:pt x="73143" y="70618"/>
                </a:lnTo>
                <a:lnTo>
                  <a:pt x="70390" y="73190"/>
                </a:lnTo>
                <a:lnTo>
                  <a:pt x="66856" y="75105"/>
                </a:lnTo>
                <a:lnTo>
                  <a:pt x="64656" y="75190"/>
                </a:lnTo>
                <a:lnTo>
                  <a:pt x="61665" y="71552"/>
                </a:lnTo>
                <a:lnTo>
                  <a:pt x="60246" y="72733"/>
                </a:lnTo>
                <a:lnTo>
                  <a:pt x="58779" y="74591"/>
                </a:lnTo>
                <a:lnTo>
                  <a:pt x="56312" y="84515"/>
                </a:lnTo>
                <a:lnTo>
                  <a:pt x="55140" y="91192"/>
                </a:lnTo>
                <a:lnTo>
                  <a:pt x="54512" y="91735"/>
                </a:lnTo>
                <a:lnTo>
                  <a:pt x="53121" y="90745"/>
                </a:lnTo>
                <a:lnTo>
                  <a:pt x="50721" y="90669"/>
                </a:lnTo>
                <a:lnTo>
                  <a:pt x="47682" y="92250"/>
                </a:lnTo>
                <a:lnTo>
                  <a:pt x="49244" y="93659"/>
                </a:lnTo>
                <a:lnTo>
                  <a:pt x="50892" y="96108"/>
                </a:lnTo>
                <a:lnTo>
                  <a:pt x="50235" y="97336"/>
                </a:lnTo>
                <a:lnTo>
                  <a:pt x="47558" y="98660"/>
                </a:lnTo>
                <a:lnTo>
                  <a:pt x="45186" y="101337"/>
                </a:lnTo>
                <a:lnTo>
                  <a:pt x="44196" y="103356"/>
                </a:lnTo>
                <a:lnTo>
                  <a:pt x="41215" y="105747"/>
                </a:lnTo>
                <a:lnTo>
                  <a:pt x="39329" y="108776"/>
                </a:lnTo>
                <a:lnTo>
                  <a:pt x="40253" y="112519"/>
                </a:lnTo>
                <a:lnTo>
                  <a:pt x="40643" y="115805"/>
                </a:lnTo>
                <a:lnTo>
                  <a:pt x="41462" y="119425"/>
                </a:lnTo>
                <a:lnTo>
                  <a:pt x="40719" y="122311"/>
                </a:lnTo>
                <a:lnTo>
                  <a:pt x="37014" y="126445"/>
                </a:lnTo>
                <a:lnTo>
                  <a:pt x="35652" y="130016"/>
                </a:lnTo>
                <a:lnTo>
                  <a:pt x="38824" y="129969"/>
                </a:lnTo>
                <a:lnTo>
                  <a:pt x="40777" y="130788"/>
                </a:lnTo>
                <a:lnTo>
                  <a:pt x="41920" y="131845"/>
                </a:lnTo>
                <a:lnTo>
                  <a:pt x="43101" y="133341"/>
                </a:lnTo>
                <a:lnTo>
                  <a:pt x="42377" y="135189"/>
                </a:lnTo>
                <a:lnTo>
                  <a:pt x="43272" y="139951"/>
                </a:lnTo>
                <a:close/>
                <a:moveTo>
                  <a:pt x="78353" y="24003"/>
                </a:moveTo>
                <a:lnTo>
                  <a:pt x="77267" y="25156"/>
                </a:lnTo>
                <a:lnTo>
                  <a:pt x="73590" y="23527"/>
                </a:lnTo>
                <a:lnTo>
                  <a:pt x="75209" y="21241"/>
                </a:lnTo>
                <a:lnTo>
                  <a:pt x="79248" y="20184"/>
                </a:lnTo>
                <a:lnTo>
                  <a:pt x="81620" y="20536"/>
                </a:lnTo>
                <a:lnTo>
                  <a:pt x="79010" y="22803"/>
                </a:lnTo>
                <a:lnTo>
                  <a:pt x="78353" y="24003"/>
                </a:lnTo>
                <a:close/>
                <a:moveTo>
                  <a:pt x="118901" y="94983"/>
                </a:moveTo>
                <a:lnTo>
                  <a:pt x="118967" y="99727"/>
                </a:lnTo>
                <a:lnTo>
                  <a:pt x="118272" y="101108"/>
                </a:lnTo>
                <a:lnTo>
                  <a:pt x="117253" y="102023"/>
                </a:lnTo>
                <a:lnTo>
                  <a:pt x="114586" y="102984"/>
                </a:lnTo>
                <a:lnTo>
                  <a:pt x="112271" y="104327"/>
                </a:lnTo>
                <a:lnTo>
                  <a:pt x="110204" y="106680"/>
                </a:lnTo>
                <a:lnTo>
                  <a:pt x="109442" y="110042"/>
                </a:lnTo>
                <a:lnTo>
                  <a:pt x="111052" y="112500"/>
                </a:lnTo>
                <a:lnTo>
                  <a:pt x="113986" y="113843"/>
                </a:lnTo>
                <a:lnTo>
                  <a:pt x="114738" y="118510"/>
                </a:lnTo>
                <a:lnTo>
                  <a:pt x="112319" y="120806"/>
                </a:lnTo>
                <a:lnTo>
                  <a:pt x="106109" y="123092"/>
                </a:lnTo>
                <a:lnTo>
                  <a:pt x="105461" y="128607"/>
                </a:lnTo>
                <a:lnTo>
                  <a:pt x="105661" y="132940"/>
                </a:lnTo>
                <a:lnTo>
                  <a:pt x="105546" y="136084"/>
                </a:lnTo>
                <a:lnTo>
                  <a:pt x="105051" y="140427"/>
                </a:lnTo>
                <a:lnTo>
                  <a:pt x="100032" y="142399"/>
                </a:lnTo>
                <a:lnTo>
                  <a:pt x="96784" y="135789"/>
                </a:lnTo>
                <a:lnTo>
                  <a:pt x="96755" y="133131"/>
                </a:lnTo>
                <a:lnTo>
                  <a:pt x="95783" y="130026"/>
                </a:lnTo>
                <a:lnTo>
                  <a:pt x="95603" y="127378"/>
                </a:lnTo>
                <a:lnTo>
                  <a:pt x="94450" y="123139"/>
                </a:lnTo>
                <a:lnTo>
                  <a:pt x="89697" y="121987"/>
                </a:lnTo>
                <a:lnTo>
                  <a:pt x="87849" y="121834"/>
                </a:lnTo>
                <a:lnTo>
                  <a:pt x="85268" y="122625"/>
                </a:lnTo>
                <a:lnTo>
                  <a:pt x="84630" y="122320"/>
                </a:lnTo>
                <a:lnTo>
                  <a:pt x="81534" y="116510"/>
                </a:lnTo>
                <a:lnTo>
                  <a:pt x="82048" y="110071"/>
                </a:lnTo>
                <a:lnTo>
                  <a:pt x="80401" y="106814"/>
                </a:lnTo>
                <a:lnTo>
                  <a:pt x="80172" y="105337"/>
                </a:lnTo>
                <a:lnTo>
                  <a:pt x="80210" y="103699"/>
                </a:lnTo>
                <a:lnTo>
                  <a:pt x="78848" y="102346"/>
                </a:lnTo>
                <a:lnTo>
                  <a:pt x="77210" y="101632"/>
                </a:lnTo>
                <a:lnTo>
                  <a:pt x="76410" y="97984"/>
                </a:lnTo>
                <a:lnTo>
                  <a:pt x="78296" y="97098"/>
                </a:lnTo>
                <a:lnTo>
                  <a:pt x="82972" y="97527"/>
                </a:lnTo>
                <a:lnTo>
                  <a:pt x="84344" y="97279"/>
                </a:lnTo>
                <a:lnTo>
                  <a:pt x="85592" y="96517"/>
                </a:lnTo>
                <a:lnTo>
                  <a:pt x="89373" y="90497"/>
                </a:lnTo>
                <a:lnTo>
                  <a:pt x="89259" y="89164"/>
                </a:lnTo>
                <a:lnTo>
                  <a:pt x="89659" y="87440"/>
                </a:lnTo>
                <a:lnTo>
                  <a:pt x="93745" y="86801"/>
                </a:lnTo>
                <a:lnTo>
                  <a:pt x="95564" y="89135"/>
                </a:lnTo>
                <a:lnTo>
                  <a:pt x="95193" y="92869"/>
                </a:lnTo>
                <a:lnTo>
                  <a:pt x="95422" y="97631"/>
                </a:lnTo>
                <a:lnTo>
                  <a:pt x="97898" y="98927"/>
                </a:lnTo>
                <a:lnTo>
                  <a:pt x="98860" y="99117"/>
                </a:lnTo>
                <a:lnTo>
                  <a:pt x="99898" y="95603"/>
                </a:lnTo>
                <a:lnTo>
                  <a:pt x="100622" y="93888"/>
                </a:lnTo>
                <a:lnTo>
                  <a:pt x="101603" y="92926"/>
                </a:lnTo>
                <a:lnTo>
                  <a:pt x="101937" y="89707"/>
                </a:lnTo>
                <a:lnTo>
                  <a:pt x="101355" y="87735"/>
                </a:lnTo>
                <a:lnTo>
                  <a:pt x="100117" y="86258"/>
                </a:lnTo>
                <a:lnTo>
                  <a:pt x="104747" y="82258"/>
                </a:lnTo>
                <a:lnTo>
                  <a:pt x="109538" y="79077"/>
                </a:lnTo>
                <a:lnTo>
                  <a:pt x="112328" y="78905"/>
                </a:lnTo>
                <a:lnTo>
                  <a:pt x="115129" y="79686"/>
                </a:lnTo>
                <a:lnTo>
                  <a:pt x="117738" y="80753"/>
                </a:lnTo>
                <a:lnTo>
                  <a:pt x="119148" y="81677"/>
                </a:lnTo>
                <a:lnTo>
                  <a:pt x="119939" y="83163"/>
                </a:lnTo>
                <a:lnTo>
                  <a:pt x="118186" y="86697"/>
                </a:lnTo>
                <a:lnTo>
                  <a:pt x="117700" y="88621"/>
                </a:lnTo>
                <a:lnTo>
                  <a:pt x="118901" y="94983"/>
                </a:lnTo>
                <a:close/>
                <a:moveTo>
                  <a:pt x="66465" y="95079"/>
                </a:moveTo>
                <a:lnTo>
                  <a:pt x="66008" y="95926"/>
                </a:lnTo>
                <a:lnTo>
                  <a:pt x="64313" y="95041"/>
                </a:lnTo>
                <a:lnTo>
                  <a:pt x="64132" y="91973"/>
                </a:lnTo>
                <a:lnTo>
                  <a:pt x="64770" y="89211"/>
                </a:lnTo>
                <a:lnTo>
                  <a:pt x="64018" y="86735"/>
                </a:lnTo>
                <a:lnTo>
                  <a:pt x="64846" y="85144"/>
                </a:lnTo>
                <a:lnTo>
                  <a:pt x="67228" y="88849"/>
                </a:lnTo>
                <a:lnTo>
                  <a:pt x="67904" y="90592"/>
                </a:lnTo>
                <a:lnTo>
                  <a:pt x="66980" y="92669"/>
                </a:lnTo>
                <a:lnTo>
                  <a:pt x="66465" y="95079"/>
                </a:lnTo>
                <a:close/>
                <a:moveTo>
                  <a:pt x="121491" y="103899"/>
                </a:moveTo>
                <a:lnTo>
                  <a:pt x="118977" y="105909"/>
                </a:lnTo>
                <a:lnTo>
                  <a:pt x="118424" y="105804"/>
                </a:lnTo>
                <a:lnTo>
                  <a:pt x="117605" y="103051"/>
                </a:lnTo>
                <a:lnTo>
                  <a:pt x="118939" y="101375"/>
                </a:lnTo>
                <a:lnTo>
                  <a:pt x="119720" y="99956"/>
                </a:lnTo>
                <a:lnTo>
                  <a:pt x="120282" y="99994"/>
                </a:lnTo>
                <a:lnTo>
                  <a:pt x="121044" y="101537"/>
                </a:lnTo>
                <a:lnTo>
                  <a:pt x="121491" y="103899"/>
                </a:lnTo>
                <a:close/>
                <a:moveTo>
                  <a:pt x="67475" y="103280"/>
                </a:moveTo>
                <a:lnTo>
                  <a:pt x="68589" y="105737"/>
                </a:lnTo>
                <a:lnTo>
                  <a:pt x="69961" y="110976"/>
                </a:lnTo>
                <a:lnTo>
                  <a:pt x="72133" y="116824"/>
                </a:lnTo>
                <a:lnTo>
                  <a:pt x="71228" y="119263"/>
                </a:lnTo>
                <a:lnTo>
                  <a:pt x="71847" y="122387"/>
                </a:lnTo>
                <a:lnTo>
                  <a:pt x="71228" y="125635"/>
                </a:lnTo>
                <a:lnTo>
                  <a:pt x="66913" y="129407"/>
                </a:lnTo>
                <a:lnTo>
                  <a:pt x="62074" y="129578"/>
                </a:lnTo>
                <a:lnTo>
                  <a:pt x="57045" y="127759"/>
                </a:lnTo>
                <a:lnTo>
                  <a:pt x="49940" y="124244"/>
                </a:lnTo>
                <a:lnTo>
                  <a:pt x="49368" y="122272"/>
                </a:lnTo>
                <a:lnTo>
                  <a:pt x="48378" y="121177"/>
                </a:lnTo>
                <a:lnTo>
                  <a:pt x="46472" y="115167"/>
                </a:lnTo>
                <a:lnTo>
                  <a:pt x="46511" y="107728"/>
                </a:lnTo>
                <a:lnTo>
                  <a:pt x="50082" y="106785"/>
                </a:lnTo>
                <a:lnTo>
                  <a:pt x="57883" y="103222"/>
                </a:lnTo>
                <a:lnTo>
                  <a:pt x="59684" y="103785"/>
                </a:lnTo>
                <a:lnTo>
                  <a:pt x="61569" y="105604"/>
                </a:lnTo>
                <a:lnTo>
                  <a:pt x="63741" y="105709"/>
                </a:lnTo>
                <a:lnTo>
                  <a:pt x="66885" y="103127"/>
                </a:lnTo>
                <a:lnTo>
                  <a:pt x="67475" y="103280"/>
                </a:lnTo>
                <a:close/>
                <a:moveTo>
                  <a:pt x="186233" y="130836"/>
                </a:moveTo>
                <a:lnTo>
                  <a:pt x="185242" y="131626"/>
                </a:lnTo>
                <a:lnTo>
                  <a:pt x="180822" y="130321"/>
                </a:lnTo>
                <a:lnTo>
                  <a:pt x="175441" y="127092"/>
                </a:lnTo>
                <a:lnTo>
                  <a:pt x="176231" y="120748"/>
                </a:lnTo>
                <a:lnTo>
                  <a:pt x="177613" y="117996"/>
                </a:lnTo>
                <a:lnTo>
                  <a:pt x="187433" y="125111"/>
                </a:lnTo>
                <a:lnTo>
                  <a:pt x="187557" y="127788"/>
                </a:lnTo>
                <a:lnTo>
                  <a:pt x="186233" y="130836"/>
                </a:lnTo>
                <a:close/>
                <a:moveTo>
                  <a:pt x="69856" y="143408"/>
                </a:moveTo>
                <a:lnTo>
                  <a:pt x="68666" y="143666"/>
                </a:lnTo>
                <a:lnTo>
                  <a:pt x="67056" y="139922"/>
                </a:lnTo>
                <a:lnTo>
                  <a:pt x="66847" y="138741"/>
                </a:lnTo>
                <a:lnTo>
                  <a:pt x="68742" y="136341"/>
                </a:lnTo>
                <a:lnTo>
                  <a:pt x="69961" y="133617"/>
                </a:lnTo>
                <a:lnTo>
                  <a:pt x="73133" y="129426"/>
                </a:lnTo>
                <a:lnTo>
                  <a:pt x="74952" y="124501"/>
                </a:lnTo>
                <a:lnTo>
                  <a:pt x="75648" y="124578"/>
                </a:lnTo>
                <a:lnTo>
                  <a:pt x="74838" y="128969"/>
                </a:lnTo>
                <a:lnTo>
                  <a:pt x="70676" y="141151"/>
                </a:lnTo>
                <a:lnTo>
                  <a:pt x="69856" y="143408"/>
                </a:lnTo>
                <a:close/>
                <a:moveTo>
                  <a:pt x="51864" y="137131"/>
                </a:moveTo>
                <a:lnTo>
                  <a:pt x="49082" y="137770"/>
                </a:lnTo>
                <a:lnTo>
                  <a:pt x="47663" y="136646"/>
                </a:lnTo>
                <a:lnTo>
                  <a:pt x="45053" y="136217"/>
                </a:lnTo>
                <a:lnTo>
                  <a:pt x="44120" y="129064"/>
                </a:lnTo>
                <a:lnTo>
                  <a:pt x="44387" y="128635"/>
                </a:lnTo>
                <a:lnTo>
                  <a:pt x="45701" y="129140"/>
                </a:lnTo>
                <a:lnTo>
                  <a:pt x="50206" y="132483"/>
                </a:lnTo>
                <a:lnTo>
                  <a:pt x="51778" y="136132"/>
                </a:lnTo>
                <a:lnTo>
                  <a:pt x="51864" y="137131"/>
                </a:lnTo>
                <a:close/>
                <a:moveTo>
                  <a:pt x="118377" y="133445"/>
                </a:moveTo>
                <a:lnTo>
                  <a:pt x="117358" y="134141"/>
                </a:lnTo>
                <a:lnTo>
                  <a:pt x="113252" y="133636"/>
                </a:lnTo>
                <a:lnTo>
                  <a:pt x="108623" y="136855"/>
                </a:lnTo>
                <a:lnTo>
                  <a:pt x="106871" y="135836"/>
                </a:lnTo>
                <a:lnTo>
                  <a:pt x="107537" y="133779"/>
                </a:lnTo>
                <a:lnTo>
                  <a:pt x="108023" y="133026"/>
                </a:lnTo>
                <a:lnTo>
                  <a:pt x="109576" y="132150"/>
                </a:lnTo>
                <a:lnTo>
                  <a:pt x="110614" y="130874"/>
                </a:lnTo>
                <a:lnTo>
                  <a:pt x="111023" y="128874"/>
                </a:lnTo>
                <a:lnTo>
                  <a:pt x="111985" y="129950"/>
                </a:lnTo>
                <a:lnTo>
                  <a:pt x="114853" y="130397"/>
                </a:lnTo>
                <a:lnTo>
                  <a:pt x="116253" y="131036"/>
                </a:lnTo>
                <a:lnTo>
                  <a:pt x="117424" y="131979"/>
                </a:lnTo>
                <a:lnTo>
                  <a:pt x="118377" y="133445"/>
                </a:lnTo>
                <a:close/>
                <a:moveTo>
                  <a:pt x="63179" y="138922"/>
                </a:moveTo>
                <a:lnTo>
                  <a:pt x="61389" y="139408"/>
                </a:lnTo>
                <a:lnTo>
                  <a:pt x="59341" y="138399"/>
                </a:lnTo>
                <a:lnTo>
                  <a:pt x="55997" y="134598"/>
                </a:lnTo>
                <a:lnTo>
                  <a:pt x="55578" y="133588"/>
                </a:lnTo>
                <a:lnTo>
                  <a:pt x="57331" y="134226"/>
                </a:lnTo>
                <a:lnTo>
                  <a:pt x="59512" y="136217"/>
                </a:lnTo>
                <a:lnTo>
                  <a:pt x="61293" y="136646"/>
                </a:lnTo>
                <a:lnTo>
                  <a:pt x="63732" y="138322"/>
                </a:lnTo>
                <a:lnTo>
                  <a:pt x="63179" y="138922"/>
                </a:lnTo>
                <a:close/>
                <a:moveTo>
                  <a:pt x="86620" y="136884"/>
                </a:moveTo>
                <a:lnTo>
                  <a:pt x="91354" y="139760"/>
                </a:lnTo>
                <a:lnTo>
                  <a:pt x="94555" y="139589"/>
                </a:lnTo>
                <a:lnTo>
                  <a:pt x="96736" y="140780"/>
                </a:lnTo>
                <a:lnTo>
                  <a:pt x="97260" y="142618"/>
                </a:lnTo>
                <a:lnTo>
                  <a:pt x="97450" y="146695"/>
                </a:lnTo>
                <a:lnTo>
                  <a:pt x="95164" y="147885"/>
                </a:lnTo>
                <a:lnTo>
                  <a:pt x="92640" y="147485"/>
                </a:lnTo>
                <a:lnTo>
                  <a:pt x="89202" y="149038"/>
                </a:lnTo>
                <a:lnTo>
                  <a:pt x="77924" y="142380"/>
                </a:lnTo>
                <a:lnTo>
                  <a:pt x="78086" y="136808"/>
                </a:lnTo>
                <a:lnTo>
                  <a:pt x="78534" y="134617"/>
                </a:lnTo>
                <a:lnTo>
                  <a:pt x="83877" y="134093"/>
                </a:lnTo>
                <a:lnTo>
                  <a:pt x="86620" y="136884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7" name="Forme libre : forme 16">
            <a:extLst>
              <a:ext uri="{FF2B5EF4-FFF2-40B4-BE49-F238E27FC236}">
                <a16:creationId xmlns:a16="http://schemas.microsoft.com/office/drawing/2014/main" id="{9696D06E-9E3E-3578-8142-D60B007F3AAC}"/>
              </a:ext>
            </a:extLst>
          </p:cNvPr>
          <p:cNvSpPr/>
          <p:nvPr/>
        </p:nvSpPr>
        <p:spPr>
          <a:xfrm>
            <a:off x="6283528" y="2971483"/>
            <a:ext cx="219521" cy="141166"/>
          </a:xfrm>
          <a:custGeom>
            <a:avLst/>
            <a:gdLst>
              <a:gd name="connsiteX0" fmla="*/ 164611 w 168306"/>
              <a:gd name="connsiteY0" fmla="*/ 8153 h 108232"/>
              <a:gd name="connsiteX1" fmla="*/ 166031 w 168306"/>
              <a:gd name="connsiteY1" fmla="*/ 9782 h 108232"/>
              <a:gd name="connsiteX2" fmla="*/ 167821 w 168306"/>
              <a:gd name="connsiteY2" fmla="*/ 12411 h 108232"/>
              <a:gd name="connsiteX3" fmla="*/ 168307 w 168306"/>
              <a:gd name="connsiteY3" fmla="*/ 13916 h 108232"/>
              <a:gd name="connsiteX4" fmla="*/ 167697 w 168306"/>
              <a:gd name="connsiteY4" fmla="*/ 14802 h 108232"/>
              <a:gd name="connsiteX5" fmla="*/ 165907 w 168306"/>
              <a:gd name="connsiteY5" fmla="*/ 15554 h 108232"/>
              <a:gd name="connsiteX6" fmla="*/ 165497 w 168306"/>
              <a:gd name="connsiteY6" fmla="*/ 16364 h 108232"/>
              <a:gd name="connsiteX7" fmla="*/ 164706 w 168306"/>
              <a:gd name="connsiteY7" fmla="*/ 17726 h 108232"/>
              <a:gd name="connsiteX8" fmla="*/ 162611 w 168306"/>
              <a:gd name="connsiteY8" fmla="*/ 17974 h 108232"/>
              <a:gd name="connsiteX9" fmla="*/ 161534 w 168306"/>
              <a:gd name="connsiteY9" fmla="*/ 18983 h 108232"/>
              <a:gd name="connsiteX10" fmla="*/ 160248 w 168306"/>
              <a:gd name="connsiteY10" fmla="*/ 23413 h 108232"/>
              <a:gd name="connsiteX11" fmla="*/ 157791 w 168306"/>
              <a:gd name="connsiteY11" fmla="*/ 30728 h 108232"/>
              <a:gd name="connsiteX12" fmla="*/ 154162 w 168306"/>
              <a:gd name="connsiteY12" fmla="*/ 36271 h 108232"/>
              <a:gd name="connsiteX13" fmla="*/ 151257 w 168306"/>
              <a:gd name="connsiteY13" fmla="*/ 39300 h 108232"/>
              <a:gd name="connsiteX14" fmla="*/ 149962 w 168306"/>
              <a:gd name="connsiteY14" fmla="*/ 41624 h 108232"/>
              <a:gd name="connsiteX15" fmla="*/ 149152 w 168306"/>
              <a:gd name="connsiteY15" fmla="*/ 44405 h 108232"/>
              <a:gd name="connsiteX16" fmla="*/ 148961 w 168306"/>
              <a:gd name="connsiteY16" fmla="*/ 47196 h 108232"/>
              <a:gd name="connsiteX17" fmla="*/ 151743 w 168306"/>
              <a:gd name="connsiteY17" fmla="*/ 62436 h 108232"/>
              <a:gd name="connsiteX18" fmla="*/ 151714 w 168306"/>
              <a:gd name="connsiteY18" fmla="*/ 65179 h 108232"/>
              <a:gd name="connsiteX19" fmla="*/ 151057 w 168306"/>
              <a:gd name="connsiteY19" fmla="*/ 67989 h 108232"/>
              <a:gd name="connsiteX20" fmla="*/ 150581 w 168306"/>
              <a:gd name="connsiteY20" fmla="*/ 70838 h 108232"/>
              <a:gd name="connsiteX21" fmla="*/ 150971 w 168306"/>
              <a:gd name="connsiteY21" fmla="*/ 73305 h 108232"/>
              <a:gd name="connsiteX22" fmla="*/ 152810 w 168306"/>
              <a:gd name="connsiteY22" fmla="*/ 77514 h 108232"/>
              <a:gd name="connsiteX23" fmla="*/ 154762 w 168306"/>
              <a:gd name="connsiteY23" fmla="*/ 83782 h 108232"/>
              <a:gd name="connsiteX24" fmla="*/ 155553 w 168306"/>
              <a:gd name="connsiteY24" fmla="*/ 87773 h 108232"/>
              <a:gd name="connsiteX25" fmla="*/ 156848 w 168306"/>
              <a:gd name="connsiteY25" fmla="*/ 89230 h 108232"/>
              <a:gd name="connsiteX26" fmla="*/ 158096 w 168306"/>
              <a:gd name="connsiteY26" fmla="*/ 90306 h 108232"/>
              <a:gd name="connsiteX27" fmla="*/ 158353 w 168306"/>
              <a:gd name="connsiteY27" fmla="*/ 90983 h 108232"/>
              <a:gd name="connsiteX28" fmla="*/ 158315 w 168306"/>
              <a:gd name="connsiteY28" fmla="*/ 91678 h 108232"/>
              <a:gd name="connsiteX29" fmla="*/ 157667 w 168306"/>
              <a:gd name="connsiteY29" fmla="*/ 92469 h 108232"/>
              <a:gd name="connsiteX30" fmla="*/ 152038 w 168306"/>
              <a:gd name="connsiteY30" fmla="*/ 94555 h 108232"/>
              <a:gd name="connsiteX31" fmla="*/ 151305 w 168306"/>
              <a:gd name="connsiteY31" fmla="*/ 96317 h 108232"/>
              <a:gd name="connsiteX32" fmla="*/ 150695 w 168306"/>
              <a:gd name="connsiteY32" fmla="*/ 98288 h 108232"/>
              <a:gd name="connsiteX33" fmla="*/ 148237 w 168306"/>
              <a:gd name="connsiteY33" fmla="*/ 101194 h 108232"/>
              <a:gd name="connsiteX34" fmla="*/ 147485 w 168306"/>
              <a:gd name="connsiteY34" fmla="*/ 103899 h 108232"/>
              <a:gd name="connsiteX35" fmla="*/ 147018 w 168306"/>
              <a:gd name="connsiteY35" fmla="*/ 106994 h 108232"/>
              <a:gd name="connsiteX36" fmla="*/ 146961 w 168306"/>
              <a:gd name="connsiteY36" fmla="*/ 108099 h 108232"/>
              <a:gd name="connsiteX37" fmla="*/ 146285 w 168306"/>
              <a:gd name="connsiteY37" fmla="*/ 108233 h 108232"/>
              <a:gd name="connsiteX38" fmla="*/ 142551 w 168306"/>
              <a:gd name="connsiteY38" fmla="*/ 107594 h 108232"/>
              <a:gd name="connsiteX39" fmla="*/ 138436 w 168306"/>
              <a:gd name="connsiteY39" fmla="*/ 105585 h 108232"/>
              <a:gd name="connsiteX40" fmla="*/ 136636 w 168306"/>
              <a:gd name="connsiteY40" fmla="*/ 104070 h 108232"/>
              <a:gd name="connsiteX41" fmla="*/ 134864 w 168306"/>
              <a:gd name="connsiteY41" fmla="*/ 104089 h 108232"/>
              <a:gd name="connsiteX42" fmla="*/ 132722 w 168306"/>
              <a:gd name="connsiteY42" fmla="*/ 105080 h 108232"/>
              <a:gd name="connsiteX43" fmla="*/ 125044 w 168306"/>
              <a:gd name="connsiteY43" fmla="*/ 107947 h 108232"/>
              <a:gd name="connsiteX44" fmla="*/ 123158 w 168306"/>
              <a:gd name="connsiteY44" fmla="*/ 107280 h 108232"/>
              <a:gd name="connsiteX45" fmla="*/ 118777 w 168306"/>
              <a:gd name="connsiteY45" fmla="*/ 104461 h 108232"/>
              <a:gd name="connsiteX46" fmla="*/ 116557 w 168306"/>
              <a:gd name="connsiteY46" fmla="*/ 101384 h 108232"/>
              <a:gd name="connsiteX47" fmla="*/ 111614 w 168306"/>
              <a:gd name="connsiteY47" fmla="*/ 95250 h 108232"/>
              <a:gd name="connsiteX48" fmla="*/ 111214 w 168306"/>
              <a:gd name="connsiteY48" fmla="*/ 93783 h 108232"/>
              <a:gd name="connsiteX49" fmla="*/ 110567 w 168306"/>
              <a:gd name="connsiteY49" fmla="*/ 92612 h 108232"/>
              <a:gd name="connsiteX50" fmla="*/ 105290 w 168306"/>
              <a:gd name="connsiteY50" fmla="*/ 91087 h 108232"/>
              <a:gd name="connsiteX51" fmla="*/ 103337 w 168306"/>
              <a:gd name="connsiteY51" fmla="*/ 88811 h 108232"/>
              <a:gd name="connsiteX52" fmla="*/ 101718 w 168306"/>
              <a:gd name="connsiteY52" fmla="*/ 88497 h 108232"/>
              <a:gd name="connsiteX53" fmla="*/ 99336 w 168306"/>
              <a:gd name="connsiteY53" fmla="*/ 87354 h 108232"/>
              <a:gd name="connsiteX54" fmla="*/ 93155 w 168306"/>
              <a:gd name="connsiteY54" fmla="*/ 82487 h 108232"/>
              <a:gd name="connsiteX55" fmla="*/ 91621 w 168306"/>
              <a:gd name="connsiteY55" fmla="*/ 82029 h 108232"/>
              <a:gd name="connsiteX56" fmla="*/ 91250 w 168306"/>
              <a:gd name="connsiteY56" fmla="*/ 82848 h 108232"/>
              <a:gd name="connsiteX57" fmla="*/ 91354 w 168306"/>
              <a:gd name="connsiteY57" fmla="*/ 84001 h 108232"/>
              <a:gd name="connsiteX58" fmla="*/ 90964 w 168306"/>
              <a:gd name="connsiteY58" fmla="*/ 84668 h 108232"/>
              <a:gd name="connsiteX59" fmla="*/ 90173 w 168306"/>
              <a:gd name="connsiteY59" fmla="*/ 84649 h 108232"/>
              <a:gd name="connsiteX60" fmla="*/ 88745 w 168306"/>
              <a:gd name="connsiteY60" fmla="*/ 82858 h 108232"/>
              <a:gd name="connsiteX61" fmla="*/ 87030 w 168306"/>
              <a:gd name="connsiteY61" fmla="*/ 81277 h 108232"/>
              <a:gd name="connsiteX62" fmla="*/ 81686 w 168306"/>
              <a:gd name="connsiteY62" fmla="*/ 84249 h 108232"/>
              <a:gd name="connsiteX63" fmla="*/ 79753 w 168306"/>
              <a:gd name="connsiteY63" fmla="*/ 85039 h 108232"/>
              <a:gd name="connsiteX64" fmla="*/ 78057 w 168306"/>
              <a:gd name="connsiteY64" fmla="*/ 85220 h 108232"/>
              <a:gd name="connsiteX65" fmla="*/ 69590 w 168306"/>
              <a:gd name="connsiteY65" fmla="*/ 89106 h 108232"/>
              <a:gd name="connsiteX66" fmla="*/ 67008 w 168306"/>
              <a:gd name="connsiteY66" fmla="*/ 91202 h 108232"/>
              <a:gd name="connsiteX67" fmla="*/ 65941 w 168306"/>
              <a:gd name="connsiteY67" fmla="*/ 90983 h 108232"/>
              <a:gd name="connsiteX68" fmla="*/ 66189 w 168306"/>
              <a:gd name="connsiteY68" fmla="*/ 89011 h 108232"/>
              <a:gd name="connsiteX69" fmla="*/ 69714 w 168306"/>
              <a:gd name="connsiteY69" fmla="*/ 79134 h 108232"/>
              <a:gd name="connsiteX70" fmla="*/ 70342 w 168306"/>
              <a:gd name="connsiteY70" fmla="*/ 71256 h 108232"/>
              <a:gd name="connsiteX71" fmla="*/ 71628 w 168306"/>
              <a:gd name="connsiteY71" fmla="*/ 70171 h 108232"/>
              <a:gd name="connsiteX72" fmla="*/ 72009 w 168306"/>
              <a:gd name="connsiteY72" fmla="*/ 69075 h 108232"/>
              <a:gd name="connsiteX73" fmla="*/ 71457 w 168306"/>
              <a:gd name="connsiteY73" fmla="*/ 66551 h 108232"/>
              <a:gd name="connsiteX74" fmla="*/ 67799 w 168306"/>
              <a:gd name="connsiteY74" fmla="*/ 64932 h 108232"/>
              <a:gd name="connsiteX75" fmla="*/ 66323 w 168306"/>
              <a:gd name="connsiteY75" fmla="*/ 65170 h 108232"/>
              <a:gd name="connsiteX76" fmla="*/ 64989 w 168306"/>
              <a:gd name="connsiteY76" fmla="*/ 67885 h 108232"/>
              <a:gd name="connsiteX77" fmla="*/ 63608 w 168306"/>
              <a:gd name="connsiteY77" fmla="*/ 69837 h 108232"/>
              <a:gd name="connsiteX78" fmla="*/ 60379 w 168306"/>
              <a:gd name="connsiteY78" fmla="*/ 71028 h 108232"/>
              <a:gd name="connsiteX79" fmla="*/ 57598 w 168306"/>
              <a:gd name="connsiteY79" fmla="*/ 68971 h 108232"/>
              <a:gd name="connsiteX80" fmla="*/ 51092 w 168306"/>
              <a:gd name="connsiteY80" fmla="*/ 66218 h 108232"/>
              <a:gd name="connsiteX81" fmla="*/ 49454 w 168306"/>
              <a:gd name="connsiteY81" fmla="*/ 62541 h 108232"/>
              <a:gd name="connsiteX82" fmla="*/ 49063 w 168306"/>
              <a:gd name="connsiteY82" fmla="*/ 58836 h 108232"/>
              <a:gd name="connsiteX83" fmla="*/ 45625 w 168306"/>
              <a:gd name="connsiteY83" fmla="*/ 55254 h 108232"/>
              <a:gd name="connsiteX84" fmla="*/ 44196 w 168306"/>
              <a:gd name="connsiteY84" fmla="*/ 51016 h 108232"/>
              <a:gd name="connsiteX85" fmla="*/ 44768 w 168306"/>
              <a:gd name="connsiteY85" fmla="*/ 48054 h 108232"/>
              <a:gd name="connsiteX86" fmla="*/ 47892 w 168306"/>
              <a:gd name="connsiteY86" fmla="*/ 46101 h 108232"/>
              <a:gd name="connsiteX87" fmla="*/ 48778 w 168306"/>
              <a:gd name="connsiteY87" fmla="*/ 44405 h 108232"/>
              <a:gd name="connsiteX88" fmla="*/ 44844 w 168306"/>
              <a:gd name="connsiteY88" fmla="*/ 44672 h 108232"/>
              <a:gd name="connsiteX89" fmla="*/ 44044 w 168306"/>
              <a:gd name="connsiteY89" fmla="*/ 44263 h 108232"/>
              <a:gd name="connsiteX90" fmla="*/ 43872 w 168306"/>
              <a:gd name="connsiteY90" fmla="*/ 42739 h 108232"/>
              <a:gd name="connsiteX91" fmla="*/ 42129 w 168306"/>
              <a:gd name="connsiteY91" fmla="*/ 37519 h 108232"/>
              <a:gd name="connsiteX92" fmla="*/ 43672 w 168306"/>
              <a:gd name="connsiteY92" fmla="*/ 35462 h 108232"/>
              <a:gd name="connsiteX93" fmla="*/ 44348 w 168306"/>
              <a:gd name="connsiteY93" fmla="*/ 33461 h 108232"/>
              <a:gd name="connsiteX94" fmla="*/ 43082 w 168306"/>
              <a:gd name="connsiteY94" fmla="*/ 31756 h 108232"/>
              <a:gd name="connsiteX95" fmla="*/ 43415 w 168306"/>
              <a:gd name="connsiteY95" fmla="*/ 29804 h 108232"/>
              <a:gd name="connsiteX96" fmla="*/ 44405 w 168306"/>
              <a:gd name="connsiteY96" fmla="*/ 27832 h 108232"/>
              <a:gd name="connsiteX97" fmla="*/ 43805 w 168306"/>
              <a:gd name="connsiteY97" fmla="*/ 23251 h 108232"/>
              <a:gd name="connsiteX98" fmla="*/ 47711 w 168306"/>
              <a:gd name="connsiteY98" fmla="*/ 20822 h 108232"/>
              <a:gd name="connsiteX99" fmla="*/ 51502 w 168306"/>
              <a:gd name="connsiteY99" fmla="*/ 19107 h 108232"/>
              <a:gd name="connsiteX100" fmla="*/ 59550 w 168306"/>
              <a:gd name="connsiteY100" fmla="*/ 18231 h 108232"/>
              <a:gd name="connsiteX101" fmla="*/ 58760 w 168306"/>
              <a:gd name="connsiteY101" fmla="*/ 14021 h 108232"/>
              <a:gd name="connsiteX102" fmla="*/ 62008 w 168306"/>
              <a:gd name="connsiteY102" fmla="*/ 13830 h 108232"/>
              <a:gd name="connsiteX103" fmla="*/ 67485 w 168306"/>
              <a:gd name="connsiteY103" fmla="*/ 8754 h 108232"/>
              <a:gd name="connsiteX104" fmla="*/ 72914 w 168306"/>
              <a:gd name="connsiteY104" fmla="*/ 9649 h 108232"/>
              <a:gd name="connsiteX105" fmla="*/ 80772 w 168306"/>
              <a:gd name="connsiteY105" fmla="*/ 6163 h 108232"/>
              <a:gd name="connsiteX106" fmla="*/ 95908 w 168306"/>
              <a:gd name="connsiteY106" fmla="*/ 6210 h 108232"/>
              <a:gd name="connsiteX107" fmla="*/ 97974 w 168306"/>
              <a:gd name="connsiteY107" fmla="*/ 4191 h 108232"/>
              <a:gd name="connsiteX108" fmla="*/ 97612 w 168306"/>
              <a:gd name="connsiteY108" fmla="*/ 2162 h 108232"/>
              <a:gd name="connsiteX109" fmla="*/ 97660 w 168306"/>
              <a:gd name="connsiteY109" fmla="*/ 0 h 108232"/>
              <a:gd name="connsiteX110" fmla="*/ 100508 w 168306"/>
              <a:gd name="connsiteY110" fmla="*/ 600 h 108232"/>
              <a:gd name="connsiteX111" fmla="*/ 105270 w 168306"/>
              <a:gd name="connsiteY111" fmla="*/ 219 h 108232"/>
              <a:gd name="connsiteX112" fmla="*/ 123101 w 168306"/>
              <a:gd name="connsiteY112" fmla="*/ 4477 h 108232"/>
              <a:gd name="connsiteX113" fmla="*/ 127492 w 168306"/>
              <a:gd name="connsiteY113" fmla="*/ 4477 h 108232"/>
              <a:gd name="connsiteX114" fmla="*/ 133560 w 168306"/>
              <a:gd name="connsiteY114" fmla="*/ 8792 h 108232"/>
              <a:gd name="connsiteX115" fmla="*/ 136836 w 168306"/>
              <a:gd name="connsiteY115" fmla="*/ 9906 h 108232"/>
              <a:gd name="connsiteX116" fmla="*/ 146485 w 168306"/>
              <a:gd name="connsiteY116" fmla="*/ 9906 h 108232"/>
              <a:gd name="connsiteX117" fmla="*/ 161373 w 168306"/>
              <a:gd name="connsiteY117" fmla="*/ 11811 h 108232"/>
              <a:gd name="connsiteX118" fmla="*/ 164297 w 168306"/>
              <a:gd name="connsiteY118" fmla="*/ 8896 h 108232"/>
              <a:gd name="connsiteX119" fmla="*/ 164611 w 168306"/>
              <a:gd name="connsiteY119" fmla="*/ 8153 h 108232"/>
              <a:gd name="connsiteX120" fmla="*/ 28584 w 168306"/>
              <a:gd name="connsiteY120" fmla="*/ 42367 h 108232"/>
              <a:gd name="connsiteX121" fmla="*/ 26394 w 168306"/>
              <a:gd name="connsiteY121" fmla="*/ 44910 h 108232"/>
              <a:gd name="connsiteX122" fmla="*/ 25089 w 168306"/>
              <a:gd name="connsiteY122" fmla="*/ 43901 h 108232"/>
              <a:gd name="connsiteX123" fmla="*/ 24403 w 168306"/>
              <a:gd name="connsiteY123" fmla="*/ 42681 h 108232"/>
              <a:gd name="connsiteX124" fmla="*/ 21574 w 168306"/>
              <a:gd name="connsiteY124" fmla="*/ 48435 h 108232"/>
              <a:gd name="connsiteX125" fmla="*/ 18393 w 168306"/>
              <a:gd name="connsiteY125" fmla="*/ 49416 h 108232"/>
              <a:gd name="connsiteX126" fmla="*/ 16536 w 168306"/>
              <a:gd name="connsiteY126" fmla="*/ 48282 h 108232"/>
              <a:gd name="connsiteX127" fmla="*/ 16707 w 168306"/>
              <a:gd name="connsiteY127" fmla="*/ 46139 h 108232"/>
              <a:gd name="connsiteX128" fmla="*/ 14897 w 168306"/>
              <a:gd name="connsiteY128" fmla="*/ 40491 h 108232"/>
              <a:gd name="connsiteX129" fmla="*/ 12125 w 168306"/>
              <a:gd name="connsiteY129" fmla="*/ 38833 h 108232"/>
              <a:gd name="connsiteX130" fmla="*/ 8230 w 168306"/>
              <a:gd name="connsiteY130" fmla="*/ 38681 h 108232"/>
              <a:gd name="connsiteX131" fmla="*/ 5410 w 168306"/>
              <a:gd name="connsiteY131" fmla="*/ 36347 h 108232"/>
              <a:gd name="connsiteX132" fmla="*/ 16278 w 168306"/>
              <a:gd name="connsiteY132" fmla="*/ 34757 h 108232"/>
              <a:gd name="connsiteX133" fmla="*/ 17402 w 168306"/>
              <a:gd name="connsiteY133" fmla="*/ 32052 h 108232"/>
              <a:gd name="connsiteX134" fmla="*/ 19612 w 168306"/>
              <a:gd name="connsiteY134" fmla="*/ 29213 h 108232"/>
              <a:gd name="connsiteX135" fmla="*/ 21270 w 168306"/>
              <a:gd name="connsiteY135" fmla="*/ 28908 h 108232"/>
              <a:gd name="connsiteX136" fmla="*/ 22679 w 168306"/>
              <a:gd name="connsiteY136" fmla="*/ 29566 h 108232"/>
              <a:gd name="connsiteX137" fmla="*/ 22946 w 168306"/>
              <a:gd name="connsiteY137" fmla="*/ 31766 h 108232"/>
              <a:gd name="connsiteX138" fmla="*/ 23298 w 168306"/>
              <a:gd name="connsiteY138" fmla="*/ 32642 h 108232"/>
              <a:gd name="connsiteX139" fmla="*/ 28223 w 168306"/>
              <a:gd name="connsiteY139" fmla="*/ 33880 h 108232"/>
              <a:gd name="connsiteX140" fmla="*/ 30146 w 168306"/>
              <a:gd name="connsiteY140" fmla="*/ 37576 h 108232"/>
              <a:gd name="connsiteX141" fmla="*/ 30871 w 168306"/>
              <a:gd name="connsiteY141" fmla="*/ 42005 h 108232"/>
              <a:gd name="connsiteX142" fmla="*/ 28584 w 168306"/>
              <a:gd name="connsiteY142" fmla="*/ 42367 h 108232"/>
              <a:gd name="connsiteX143" fmla="*/ 39805 w 168306"/>
              <a:gd name="connsiteY143" fmla="*/ 56569 h 108232"/>
              <a:gd name="connsiteX144" fmla="*/ 37585 w 168306"/>
              <a:gd name="connsiteY144" fmla="*/ 57102 h 108232"/>
              <a:gd name="connsiteX145" fmla="*/ 32318 w 168306"/>
              <a:gd name="connsiteY145" fmla="*/ 53464 h 108232"/>
              <a:gd name="connsiteX146" fmla="*/ 33537 w 168306"/>
              <a:gd name="connsiteY146" fmla="*/ 50997 h 108232"/>
              <a:gd name="connsiteX147" fmla="*/ 35043 w 168306"/>
              <a:gd name="connsiteY147" fmla="*/ 50025 h 108232"/>
              <a:gd name="connsiteX148" fmla="*/ 39519 w 168306"/>
              <a:gd name="connsiteY148" fmla="*/ 51540 h 108232"/>
              <a:gd name="connsiteX149" fmla="*/ 40148 w 168306"/>
              <a:gd name="connsiteY149" fmla="*/ 55283 h 108232"/>
              <a:gd name="connsiteX150" fmla="*/ 39805 w 168306"/>
              <a:gd name="connsiteY150" fmla="*/ 56569 h 108232"/>
              <a:gd name="connsiteX151" fmla="*/ 20393 w 168306"/>
              <a:gd name="connsiteY151" fmla="*/ 52940 h 108232"/>
              <a:gd name="connsiteX152" fmla="*/ 22289 w 168306"/>
              <a:gd name="connsiteY152" fmla="*/ 54178 h 108232"/>
              <a:gd name="connsiteX153" fmla="*/ 24041 w 168306"/>
              <a:gd name="connsiteY153" fmla="*/ 53788 h 108232"/>
              <a:gd name="connsiteX154" fmla="*/ 25822 w 168306"/>
              <a:gd name="connsiteY154" fmla="*/ 52921 h 108232"/>
              <a:gd name="connsiteX155" fmla="*/ 29670 w 168306"/>
              <a:gd name="connsiteY155" fmla="*/ 53730 h 108232"/>
              <a:gd name="connsiteX156" fmla="*/ 38452 w 168306"/>
              <a:gd name="connsiteY156" fmla="*/ 59979 h 108232"/>
              <a:gd name="connsiteX157" fmla="*/ 39262 w 168306"/>
              <a:gd name="connsiteY157" fmla="*/ 61646 h 108232"/>
              <a:gd name="connsiteX158" fmla="*/ 34014 w 168306"/>
              <a:gd name="connsiteY158" fmla="*/ 62408 h 108232"/>
              <a:gd name="connsiteX159" fmla="*/ 32823 w 168306"/>
              <a:gd name="connsiteY159" fmla="*/ 64313 h 108232"/>
              <a:gd name="connsiteX160" fmla="*/ 31566 w 168306"/>
              <a:gd name="connsiteY160" fmla="*/ 65646 h 108232"/>
              <a:gd name="connsiteX161" fmla="*/ 30080 w 168306"/>
              <a:gd name="connsiteY161" fmla="*/ 66075 h 108232"/>
              <a:gd name="connsiteX162" fmla="*/ 27547 w 168306"/>
              <a:gd name="connsiteY162" fmla="*/ 68751 h 108232"/>
              <a:gd name="connsiteX163" fmla="*/ 24127 w 168306"/>
              <a:gd name="connsiteY163" fmla="*/ 71314 h 108232"/>
              <a:gd name="connsiteX164" fmla="*/ 23413 w 168306"/>
              <a:gd name="connsiteY164" fmla="*/ 72847 h 108232"/>
              <a:gd name="connsiteX165" fmla="*/ 17212 w 168306"/>
              <a:gd name="connsiteY165" fmla="*/ 72562 h 108232"/>
              <a:gd name="connsiteX166" fmla="*/ 13831 w 168306"/>
              <a:gd name="connsiteY166" fmla="*/ 73533 h 108232"/>
              <a:gd name="connsiteX167" fmla="*/ 11096 w 168306"/>
              <a:gd name="connsiteY167" fmla="*/ 76390 h 108232"/>
              <a:gd name="connsiteX168" fmla="*/ 9973 w 168306"/>
              <a:gd name="connsiteY168" fmla="*/ 81896 h 108232"/>
              <a:gd name="connsiteX169" fmla="*/ 7972 w 168306"/>
              <a:gd name="connsiteY169" fmla="*/ 86182 h 108232"/>
              <a:gd name="connsiteX170" fmla="*/ 5934 w 168306"/>
              <a:gd name="connsiteY170" fmla="*/ 87725 h 108232"/>
              <a:gd name="connsiteX171" fmla="*/ 3810 w 168306"/>
              <a:gd name="connsiteY171" fmla="*/ 87964 h 108232"/>
              <a:gd name="connsiteX172" fmla="*/ 3305 w 168306"/>
              <a:gd name="connsiteY172" fmla="*/ 86363 h 108232"/>
              <a:gd name="connsiteX173" fmla="*/ 3505 w 168306"/>
              <a:gd name="connsiteY173" fmla="*/ 84763 h 108232"/>
              <a:gd name="connsiteX174" fmla="*/ 7972 w 168306"/>
              <a:gd name="connsiteY174" fmla="*/ 78705 h 108232"/>
              <a:gd name="connsiteX175" fmla="*/ 8906 w 168306"/>
              <a:gd name="connsiteY175" fmla="*/ 76733 h 108232"/>
              <a:gd name="connsiteX176" fmla="*/ 6677 w 168306"/>
              <a:gd name="connsiteY176" fmla="*/ 75857 h 108232"/>
              <a:gd name="connsiteX177" fmla="*/ 4810 w 168306"/>
              <a:gd name="connsiteY177" fmla="*/ 73743 h 108232"/>
              <a:gd name="connsiteX178" fmla="*/ 734 w 168306"/>
              <a:gd name="connsiteY178" fmla="*/ 71266 h 108232"/>
              <a:gd name="connsiteX179" fmla="*/ 0 w 168306"/>
              <a:gd name="connsiteY179" fmla="*/ 69275 h 108232"/>
              <a:gd name="connsiteX180" fmla="*/ 971 w 168306"/>
              <a:gd name="connsiteY180" fmla="*/ 69123 h 108232"/>
              <a:gd name="connsiteX181" fmla="*/ 1867 w 168306"/>
              <a:gd name="connsiteY181" fmla="*/ 68551 h 108232"/>
              <a:gd name="connsiteX182" fmla="*/ 2953 w 168306"/>
              <a:gd name="connsiteY182" fmla="*/ 66875 h 108232"/>
              <a:gd name="connsiteX183" fmla="*/ 3457 w 168306"/>
              <a:gd name="connsiteY183" fmla="*/ 64951 h 108232"/>
              <a:gd name="connsiteX184" fmla="*/ 200 w 168306"/>
              <a:gd name="connsiteY184" fmla="*/ 59312 h 108232"/>
              <a:gd name="connsiteX185" fmla="*/ 1857 w 168306"/>
              <a:gd name="connsiteY185" fmla="*/ 58436 h 108232"/>
              <a:gd name="connsiteX186" fmla="*/ 3934 w 168306"/>
              <a:gd name="connsiteY186" fmla="*/ 58636 h 108232"/>
              <a:gd name="connsiteX187" fmla="*/ 6058 w 168306"/>
              <a:gd name="connsiteY187" fmla="*/ 60274 h 108232"/>
              <a:gd name="connsiteX188" fmla="*/ 8391 w 168306"/>
              <a:gd name="connsiteY188" fmla="*/ 58350 h 108232"/>
              <a:gd name="connsiteX189" fmla="*/ 9382 w 168306"/>
              <a:gd name="connsiteY189" fmla="*/ 58064 h 108232"/>
              <a:gd name="connsiteX190" fmla="*/ 11011 w 168306"/>
              <a:gd name="connsiteY190" fmla="*/ 58750 h 108232"/>
              <a:gd name="connsiteX191" fmla="*/ 12659 w 168306"/>
              <a:gd name="connsiteY191" fmla="*/ 55016 h 108232"/>
              <a:gd name="connsiteX192" fmla="*/ 16573 w 168306"/>
              <a:gd name="connsiteY192" fmla="*/ 53788 h 108232"/>
              <a:gd name="connsiteX193" fmla="*/ 18517 w 168306"/>
              <a:gd name="connsiteY193" fmla="*/ 52635 h 108232"/>
              <a:gd name="connsiteX194" fmla="*/ 20393 w 168306"/>
              <a:gd name="connsiteY194" fmla="*/ 52940 h 108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68306" h="108232">
                <a:moveTo>
                  <a:pt x="164611" y="8153"/>
                </a:moveTo>
                <a:lnTo>
                  <a:pt x="166031" y="9782"/>
                </a:lnTo>
                <a:lnTo>
                  <a:pt x="167821" y="12411"/>
                </a:lnTo>
                <a:lnTo>
                  <a:pt x="168307" y="13916"/>
                </a:lnTo>
                <a:lnTo>
                  <a:pt x="167697" y="14802"/>
                </a:lnTo>
                <a:lnTo>
                  <a:pt x="165907" y="15554"/>
                </a:lnTo>
                <a:lnTo>
                  <a:pt x="165497" y="16364"/>
                </a:lnTo>
                <a:lnTo>
                  <a:pt x="164706" y="17726"/>
                </a:lnTo>
                <a:lnTo>
                  <a:pt x="162611" y="17974"/>
                </a:lnTo>
                <a:lnTo>
                  <a:pt x="161534" y="18983"/>
                </a:lnTo>
                <a:lnTo>
                  <a:pt x="160248" y="23413"/>
                </a:lnTo>
                <a:lnTo>
                  <a:pt x="157791" y="30728"/>
                </a:lnTo>
                <a:lnTo>
                  <a:pt x="154162" y="36271"/>
                </a:lnTo>
                <a:lnTo>
                  <a:pt x="151257" y="39300"/>
                </a:lnTo>
                <a:lnTo>
                  <a:pt x="149962" y="41624"/>
                </a:lnTo>
                <a:lnTo>
                  <a:pt x="149152" y="44405"/>
                </a:lnTo>
                <a:lnTo>
                  <a:pt x="148961" y="47196"/>
                </a:lnTo>
                <a:lnTo>
                  <a:pt x="151743" y="62436"/>
                </a:lnTo>
                <a:lnTo>
                  <a:pt x="151714" y="65179"/>
                </a:lnTo>
                <a:lnTo>
                  <a:pt x="151057" y="67989"/>
                </a:lnTo>
                <a:lnTo>
                  <a:pt x="150581" y="70838"/>
                </a:lnTo>
                <a:lnTo>
                  <a:pt x="150971" y="73305"/>
                </a:lnTo>
                <a:lnTo>
                  <a:pt x="152810" y="77514"/>
                </a:lnTo>
                <a:lnTo>
                  <a:pt x="154762" y="83782"/>
                </a:lnTo>
                <a:lnTo>
                  <a:pt x="155553" y="87773"/>
                </a:lnTo>
                <a:lnTo>
                  <a:pt x="156848" y="89230"/>
                </a:lnTo>
                <a:lnTo>
                  <a:pt x="158096" y="90306"/>
                </a:lnTo>
                <a:lnTo>
                  <a:pt x="158353" y="90983"/>
                </a:lnTo>
                <a:lnTo>
                  <a:pt x="158315" y="91678"/>
                </a:lnTo>
                <a:lnTo>
                  <a:pt x="157667" y="92469"/>
                </a:lnTo>
                <a:lnTo>
                  <a:pt x="152038" y="94555"/>
                </a:lnTo>
                <a:lnTo>
                  <a:pt x="151305" y="96317"/>
                </a:lnTo>
                <a:lnTo>
                  <a:pt x="150695" y="98288"/>
                </a:lnTo>
                <a:lnTo>
                  <a:pt x="148237" y="101194"/>
                </a:lnTo>
                <a:lnTo>
                  <a:pt x="147485" y="103899"/>
                </a:lnTo>
                <a:lnTo>
                  <a:pt x="147018" y="106994"/>
                </a:lnTo>
                <a:lnTo>
                  <a:pt x="146961" y="108099"/>
                </a:lnTo>
                <a:lnTo>
                  <a:pt x="146285" y="108233"/>
                </a:lnTo>
                <a:lnTo>
                  <a:pt x="142551" y="107594"/>
                </a:lnTo>
                <a:lnTo>
                  <a:pt x="138436" y="105585"/>
                </a:lnTo>
                <a:lnTo>
                  <a:pt x="136636" y="104070"/>
                </a:lnTo>
                <a:lnTo>
                  <a:pt x="134864" y="104089"/>
                </a:lnTo>
                <a:lnTo>
                  <a:pt x="132722" y="105080"/>
                </a:lnTo>
                <a:lnTo>
                  <a:pt x="125044" y="107947"/>
                </a:lnTo>
                <a:lnTo>
                  <a:pt x="123158" y="107280"/>
                </a:lnTo>
                <a:lnTo>
                  <a:pt x="118777" y="104461"/>
                </a:lnTo>
                <a:lnTo>
                  <a:pt x="116557" y="101384"/>
                </a:lnTo>
                <a:lnTo>
                  <a:pt x="111614" y="95250"/>
                </a:lnTo>
                <a:lnTo>
                  <a:pt x="111214" y="93783"/>
                </a:lnTo>
                <a:lnTo>
                  <a:pt x="110567" y="92612"/>
                </a:lnTo>
                <a:lnTo>
                  <a:pt x="105290" y="91087"/>
                </a:lnTo>
                <a:lnTo>
                  <a:pt x="103337" y="88811"/>
                </a:lnTo>
                <a:lnTo>
                  <a:pt x="101718" y="88497"/>
                </a:lnTo>
                <a:lnTo>
                  <a:pt x="99336" y="87354"/>
                </a:lnTo>
                <a:lnTo>
                  <a:pt x="93155" y="82487"/>
                </a:lnTo>
                <a:lnTo>
                  <a:pt x="91621" y="82029"/>
                </a:lnTo>
                <a:lnTo>
                  <a:pt x="91250" y="82848"/>
                </a:lnTo>
                <a:lnTo>
                  <a:pt x="91354" y="84001"/>
                </a:lnTo>
                <a:lnTo>
                  <a:pt x="90964" y="84668"/>
                </a:lnTo>
                <a:lnTo>
                  <a:pt x="90173" y="84649"/>
                </a:lnTo>
                <a:lnTo>
                  <a:pt x="88745" y="82858"/>
                </a:lnTo>
                <a:lnTo>
                  <a:pt x="87030" y="81277"/>
                </a:lnTo>
                <a:lnTo>
                  <a:pt x="81686" y="84249"/>
                </a:lnTo>
                <a:lnTo>
                  <a:pt x="79753" y="85039"/>
                </a:lnTo>
                <a:lnTo>
                  <a:pt x="78057" y="85220"/>
                </a:lnTo>
                <a:lnTo>
                  <a:pt x="69590" y="89106"/>
                </a:lnTo>
                <a:lnTo>
                  <a:pt x="67008" y="91202"/>
                </a:lnTo>
                <a:lnTo>
                  <a:pt x="65941" y="90983"/>
                </a:lnTo>
                <a:lnTo>
                  <a:pt x="66189" y="89011"/>
                </a:lnTo>
                <a:lnTo>
                  <a:pt x="69714" y="79134"/>
                </a:lnTo>
                <a:lnTo>
                  <a:pt x="70342" y="71256"/>
                </a:lnTo>
                <a:lnTo>
                  <a:pt x="71628" y="70171"/>
                </a:lnTo>
                <a:lnTo>
                  <a:pt x="72009" y="69075"/>
                </a:lnTo>
                <a:lnTo>
                  <a:pt x="71457" y="66551"/>
                </a:lnTo>
                <a:lnTo>
                  <a:pt x="67799" y="64932"/>
                </a:lnTo>
                <a:lnTo>
                  <a:pt x="66323" y="65170"/>
                </a:lnTo>
                <a:lnTo>
                  <a:pt x="64989" y="67885"/>
                </a:lnTo>
                <a:lnTo>
                  <a:pt x="63608" y="69837"/>
                </a:lnTo>
                <a:lnTo>
                  <a:pt x="60379" y="71028"/>
                </a:lnTo>
                <a:lnTo>
                  <a:pt x="57598" y="68971"/>
                </a:lnTo>
                <a:lnTo>
                  <a:pt x="51092" y="66218"/>
                </a:lnTo>
                <a:lnTo>
                  <a:pt x="49454" y="62541"/>
                </a:lnTo>
                <a:lnTo>
                  <a:pt x="49063" y="58836"/>
                </a:lnTo>
                <a:lnTo>
                  <a:pt x="45625" y="55254"/>
                </a:lnTo>
                <a:lnTo>
                  <a:pt x="44196" y="51016"/>
                </a:lnTo>
                <a:lnTo>
                  <a:pt x="44768" y="48054"/>
                </a:lnTo>
                <a:lnTo>
                  <a:pt x="47892" y="46101"/>
                </a:lnTo>
                <a:lnTo>
                  <a:pt x="48778" y="44405"/>
                </a:lnTo>
                <a:lnTo>
                  <a:pt x="44844" y="44672"/>
                </a:lnTo>
                <a:lnTo>
                  <a:pt x="44044" y="44263"/>
                </a:lnTo>
                <a:lnTo>
                  <a:pt x="43872" y="42739"/>
                </a:lnTo>
                <a:lnTo>
                  <a:pt x="42129" y="37519"/>
                </a:lnTo>
                <a:lnTo>
                  <a:pt x="43672" y="35462"/>
                </a:lnTo>
                <a:lnTo>
                  <a:pt x="44348" y="33461"/>
                </a:lnTo>
                <a:lnTo>
                  <a:pt x="43082" y="31756"/>
                </a:lnTo>
                <a:lnTo>
                  <a:pt x="43415" y="29804"/>
                </a:lnTo>
                <a:lnTo>
                  <a:pt x="44405" y="27832"/>
                </a:lnTo>
                <a:lnTo>
                  <a:pt x="43805" y="23251"/>
                </a:lnTo>
                <a:lnTo>
                  <a:pt x="47711" y="20822"/>
                </a:lnTo>
                <a:lnTo>
                  <a:pt x="51502" y="19107"/>
                </a:lnTo>
                <a:lnTo>
                  <a:pt x="59550" y="18231"/>
                </a:lnTo>
                <a:lnTo>
                  <a:pt x="58760" y="14021"/>
                </a:lnTo>
                <a:lnTo>
                  <a:pt x="62008" y="13830"/>
                </a:lnTo>
                <a:lnTo>
                  <a:pt x="67485" y="8754"/>
                </a:lnTo>
                <a:lnTo>
                  <a:pt x="72914" y="9649"/>
                </a:lnTo>
                <a:lnTo>
                  <a:pt x="80772" y="6163"/>
                </a:lnTo>
                <a:lnTo>
                  <a:pt x="95908" y="6210"/>
                </a:lnTo>
                <a:lnTo>
                  <a:pt x="97974" y="4191"/>
                </a:lnTo>
                <a:lnTo>
                  <a:pt x="97612" y="2162"/>
                </a:lnTo>
                <a:lnTo>
                  <a:pt x="97660" y="0"/>
                </a:lnTo>
                <a:lnTo>
                  <a:pt x="100508" y="600"/>
                </a:lnTo>
                <a:lnTo>
                  <a:pt x="105270" y="219"/>
                </a:lnTo>
                <a:lnTo>
                  <a:pt x="123101" y="4477"/>
                </a:lnTo>
                <a:lnTo>
                  <a:pt x="127492" y="4477"/>
                </a:lnTo>
                <a:lnTo>
                  <a:pt x="133560" y="8792"/>
                </a:lnTo>
                <a:lnTo>
                  <a:pt x="136836" y="9906"/>
                </a:lnTo>
                <a:lnTo>
                  <a:pt x="146485" y="9906"/>
                </a:lnTo>
                <a:lnTo>
                  <a:pt x="161373" y="11811"/>
                </a:lnTo>
                <a:lnTo>
                  <a:pt x="164297" y="8896"/>
                </a:lnTo>
                <a:lnTo>
                  <a:pt x="164611" y="8153"/>
                </a:lnTo>
                <a:close/>
                <a:moveTo>
                  <a:pt x="28584" y="42367"/>
                </a:moveTo>
                <a:lnTo>
                  <a:pt x="26394" y="44910"/>
                </a:lnTo>
                <a:lnTo>
                  <a:pt x="25089" y="43901"/>
                </a:lnTo>
                <a:lnTo>
                  <a:pt x="24403" y="42681"/>
                </a:lnTo>
                <a:lnTo>
                  <a:pt x="21574" y="48435"/>
                </a:lnTo>
                <a:lnTo>
                  <a:pt x="18393" y="49416"/>
                </a:lnTo>
                <a:lnTo>
                  <a:pt x="16536" y="48282"/>
                </a:lnTo>
                <a:lnTo>
                  <a:pt x="16707" y="46139"/>
                </a:lnTo>
                <a:lnTo>
                  <a:pt x="14897" y="40491"/>
                </a:lnTo>
                <a:lnTo>
                  <a:pt x="12125" y="38833"/>
                </a:lnTo>
                <a:lnTo>
                  <a:pt x="8230" y="38681"/>
                </a:lnTo>
                <a:lnTo>
                  <a:pt x="5410" y="36347"/>
                </a:lnTo>
                <a:lnTo>
                  <a:pt x="16278" y="34757"/>
                </a:lnTo>
                <a:lnTo>
                  <a:pt x="17402" y="32052"/>
                </a:lnTo>
                <a:lnTo>
                  <a:pt x="19612" y="29213"/>
                </a:lnTo>
                <a:lnTo>
                  <a:pt x="21270" y="28908"/>
                </a:lnTo>
                <a:lnTo>
                  <a:pt x="22679" y="29566"/>
                </a:lnTo>
                <a:lnTo>
                  <a:pt x="22946" y="31766"/>
                </a:lnTo>
                <a:lnTo>
                  <a:pt x="23298" y="32642"/>
                </a:lnTo>
                <a:lnTo>
                  <a:pt x="28223" y="33880"/>
                </a:lnTo>
                <a:lnTo>
                  <a:pt x="30146" y="37576"/>
                </a:lnTo>
                <a:lnTo>
                  <a:pt x="30871" y="42005"/>
                </a:lnTo>
                <a:lnTo>
                  <a:pt x="28584" y="42367"/>
                </a:lnTo>
                <a:close/>
                <a:moveTo>
                  <a:pt x="39805" y="56569"/>
                </a:moveTo>
                <a:lnTo>
                  <a:pt x="37585" y="57102"/>
                </a:lnTo>
                <a:lnTo>
                  <a:pt x="32318" y="53464"/>
                </a:lnTo>
                <a:lnTo>
                  <a:pt x="33537" y="50997"/>
                </a:lnTo>
                <a:lnTo>
                  <a:pt x="35043" y="50025"/>
                </a:lnTo>
                <a:lnTo>
                  <a:pt x="39519" y="51540"/>
                </a:lnTo>
                <a:lnTo>
                  <a:pt x="40148" y="55283"/>
                </a:lnTo>
                <a:lnTo>
                  <a:pt x="39805" y="56569"/>
                </a:lnTo>
                <a:close/>
                <a:moveTo>
                  <a:pt x="20393" y="52940"/>
                </a:moveTo>
                <a:lnTo>
                  <a:pt x="22289" y="54178"/>
                </a:lnTo>
                <a:lnTo>
                  <a:pt x="24041" y="53788"/>
                </a:lnTo>
                <a:lnTo>
                  <a:pt x="25822" y="52921"/>
                </a:lnTo>
                <a:lnTo>
                  <a:pt x="29670" y="53730"/>
                </a:lnTo>
                <a:lnTo>
                  <a:pt x="38452" y="59979"/>
                </a:lnTo>
                <a:lnTo>
                  <a:pt x="39262" y="61646"/>
                </a:lnTo>
                <a:lnTo>
                  <a:pt x="34014" y="62408"/>
                </a:lnTo>
                <a:lnTo>
                  <a:pt x="32823" y="64313"/>
                </a:lnTo>
                <a:lnTo>
                  <a:pt x="31566" y="65646"/>
                </a:lnTo>
                <a:lnTo>
                  <a:pt x="30080" y="66075"/>
                </a:lnTo>
                <a:lnTo>
                  <a:pt x="27547" y="68751"/>
                </a:lnTo>
                <a:lnTo>
                  <a:pt x="24127" y="71314"/>
                </a:lnTo>
                <a:lnTo>
                  <a:pt x="23413" y="72847"/>
                </a:lnTo>
                <a:lnTo>
                  <a:pt x="17212" y="72562"/>
                </a:lnTo>
                <a:lnTo>
                  <a:pt x="13831" y="73533"/>
                </a:lnTo>
                <a:lnTo>
                  <a:pt x="11096" y="76390"/>
                </a:lnTo>
                <a:lnTo>
                  <a:pt x="9973" y="81896"/>
                </a:lnTo>
                <a:lnTo>
                  <a:pt x="7972" y="86182"/>
                </a:lnTo>
                <a:lnTo>
                  <a:pt x="5934" y="87725"/>
                </a:lnTo>
                <a:lnTo>
                  <a:pt x="3810" y="87964"/>
                </a:lnTo>
                <a:lnTo>
                  <a:pt x="3305" y="86363"/>
                </a:lnTo>
                <a:lnTo>
                  <a:pt x="3505" y="84763"/>
                </a:lnTo>
                <a:lnTo>
                  <a:pt x="7972" y="78705"/>
                </a:lnTo>
                <a:lnTo>
                  <a:pt x="8906" y="76733"/>
                </a:lnTo>
                <a:lnTo>
                  <a:pt x="6677" y="75857"/>
                </a:lnTo>
                <a:lnTo>
                  <a:pt x="4810" y="73743"/>
                </a:lnTo>
                <a:lnTo>
                  <a:pt x="734" y="71266"/>
                </a:lnTo>
                <a:lnTo>
                  <a:pt x="0" y="69275"/>
                </a:lnTo>
                <a:lnTo>
                  <a:pt x="971" y="69123"/>
                </a:lnTo>
                <a:lnTo>
                  <a:pt x="1867" y="68551"/>
                </a:lnTo>
                <a:lnTo>
                  <a:pt x="2953" y="66875"/>
                </a:lnTo>
                <a:lnTo>
                  <a:pt x="3457" y="64951"/>
                </a:lnTo>
                <a:lnTo>
                  <a:pt x="200" y="59312"/>
                </a:lnTo>
                <a:lnTo>
                  <a:pt x="1857" y="58436"/>
                </a:lnTo>
                <a:lnTo>
                  <a:pt x="3934" y="58636"/>
                </a:lnTo>
                <a:lnTo>
                  <a:pt x="6058" y="60274"/>
                </a:lnTo>
                <a:lnTo>
                  <a:pt x="8391" y="58350"/>
                </a:lnTo>
                <a:lnTo>
                  <a:pt x="9382" y="58064"/>
                </a:lnTo>
                <a:lnTo>
                  <a:pt x="11011" y="58750"/>
                </a:lnTo>
                <a:lnTo>
                  <a:pt x="12659" y="55016"/>
                </a:lnTo>
                <a:lnTo>
                  <a:pt x="16573" y="53788"/>
                </a:lnTo>
                <a:lnTo>
                  <a:pt x="18517" y="52635"/>
                </a:lnTo>
                <a:lnTo>
                  <a:pt x="20393" y="52940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8" name="Forme libre : forme 17">
            <a:extLst>
              <a:ext uri="{FF2B5EF4-FFF2-40B4-BE49-F238E27FC236}">
                <a16:creationId xmlns:a16="http://schemas.microsoft.com/office/drawing/2014/main" id="{B949C0BF-AB69-9F60-E8A0-071FABE569F0}"/>
              </a:ext>
            </a:extLst>
          </p:cNvPr>
          <p:cNvSpPr/>
          <p:nvPr/>
        </p:nvSpPr>
        <p:spPr>
          <a:xfrm>
            <a:off x="5199622" y="3874715"/>
            <a:ext cx="472623" cy="350850"/>
          </a:xfrm>
          <a:custGeom>
            <a:avLst/>
            <a:gdLst>
              <a:gd name="connsiteX0" fmla="*/ 987712 w 1254861"/>
              <a:gd name="connsiteY0" fmla="*/ 613164 h 931541"/>
              <a:gd name="connsiteX1" fmla="*/ 993322 w 1254861"/>
              <a:gd name="connsiteY1" fmla="*/ 619827 h 931541"/>
              <a:gd name="connsiteX2" fmla="*/ 1002195 w 1254861"/>
              <a:gd name="connsiteY2" fmla="*/ 621081 h 931541"/>
              <a:gd name="connsiteX3" fmla="*/ 1002295 w 1254861"/>
              <a:gd name="connsiteY3" fmla="*/ 624544 h 931541"/>
              <a:gd name="connsiteX4" fmla="*/ 1000214 w 1254861"/>
              <a:gd name="connsiteY4" fmla="*/ 626095 h 931541"/>
              <a:gd name="connsiteX5" fmla="*/ 994081 w 1254861"/>
              <a:gd name="connsiteY5" fmla="*/ 624675 h 931541"/>
              <a:gd name="connsiteX6" fmla="*/ 984876 w 1254861"/>
              <a:gd name="connsiteY6" fmla="*/ 624675 h 931541"/>
              <a:gd name="connsiteX7" fmla="*/ 984516 w 1254861"/>
              <a:gd name="connsiteY7" fmla="*/ 619893 h 931541"/>
              <a:gd name="connsiteX8" fmla="*/ 985932 w 1254861"/>
              <a:gd name="connsiteY8" fmla="*/ 616562 h 931541"/>
              <a:gd name="connsiteX9" fmla="*/ 999556 w 1254861"/>
              <a:gd name="connsiteY9" fmla="*/ 571338 h 931541"/>
              <a:gd name="connsiteX10" fmla="*/ 1004075 w 1254861"/>
              <a:gd name="connsiteY10" fmla="*/ 575365 h 931541"/>
              <a:gd name="connsiteX11" fmla="*/ 1005031 w 1254861"/>
              <a:gd name="connsiteY11" fmla="*/ 581135 h 931541"/>
              <a:gd name="connsiteX12" fmla="*/ 993090 w 1254861"/>
              <a:gd name="connsiteY12" fmla="*/ 593737 h 931541"/>
              <a:gd name="connsiteX13" fmla="*/ 988505 w 1254861"/>
              <a:gd name="connsiteY13" fmla="*/ 595354 h 931541"/>
              <a:gd name="connsiteX14" fmla="*/ 985143 w 1254861"/>
              <a:gd name="connsiteY14" fmla="*/ 602644 h 931541"/>
              <a:gd name="connsiteX15" fmla="*/ 971059 w 1254861"/>
              <a:gd name="connsiteY15" fmla="*/ 600071 h 931541"/>
              <a:gd name="connsiteX16" fmla="*/ 967956 w 1254861"/>
              <a:gd name="connsiteY16" fmla="*/ 597134 h 931541"/>
              <a:gd name="connsiteX17" fmla="*/ 970989 w 1254861"/>
              <a:gd name="connsiteY17" fmla="*/ 588888 h 931541"/>
              <a:gd name="connsiteX18" fmla="*/ 975048 w 1254861"/>
              <a:gd name="connsiteY18" fmla="*/ 587898 h 931541"/>
              <a:gd name="connsiteX19" fmla="*/ 975311 w 1254861"/>
              <a:gd name="connsiteY19" fmla="*/ 582028 h 931541"/>
              <a:gd name="connsiteX20" fmla="*/ 979567 w 1254861"/>
              <a:gd name="connsiteY20" fmla="*/ 576124 h 931541"/>
              <a:gd name="connsiteX21" fmla="*/ 1147199 w 1254861"/>
              <a:gd name="connsiteY21" fmla="*/ 469746 h 931541"/>
              <a:gd name="connsiteX22" fmla="*/ 1150793 w 1254861"/>
              <a:gd name="connsiteY22" fmla="*/ 470865 h 931541"/>
              <a:gd name="connsiteX23" fmla="*/ 1147725 w 1254861"/>
              <a:gd name="connsiteY23" fmla="*/ 475287 h 931541"/>
              <a:gd name="connsiteX24" fmla="*/ 1147957 w 1254861"/>
              <a:gd name="connsiteY24" fmla="*/ 477299 h 931541"/>
              <a:gd name="connsiteX25" fmla="*/ 1150894 w 1254861"/>
              <a:gd name="connsiteY25" fmla="*/ 479443 h 931541"/>
              <a:gd name="connsiteX26" fmla="*/ 1150201 w 1254861"/>
              <a:gd name="connsiteY26" fmla="*/ 482871 h 931541"/>
              <a:gd name="connsiteX27" fmla="*/ 1147230 w 1254861"/>
              <a:gd name="connsiteY27" fmla="*/ 485843 h 931541"/>
              <a:gd name="connsiteX28" fmla="*/ 1145914 w 1254861"/>
              <a:gd name="connsiteY28" fmla="*/ 491449 h 931541"/>
              <a:gd name="connsiteX29" fmla="*/ 1154786 w 1254861"/>
              <a:gd name="connsiteY29" fmla="*/ 495439 h 931541"/>
              <a:gd name="connsiteX30" fmla="*/ 1164154 w 1254861"/>
              <a:gd name="connsiteY30" fmla="*/ 491844 h 931541"/>
              <a:gd name="connsiteX31" fmla="*/ 1169134 w 1254861"/>
              <a:gd name="connsiteY31" fmla="*/ 492966 h 931541"/>
              <a:gd name="connsiteX32" fmla="*/ 1174048 w 1254861"/>
              <a:gd name="connsiteY32" fmla="*/ 494912 h 931541"/>
              <a:gd name="connsiteX33" fmla="*/ 1175235 w 1254861"/>
              <a:gd name="connsiteY33" fmla="*/ 502500 h 931541"/>
              <a:gd name="connsiteX34" fmla="*/ 1170882 w 1254861"/>
              <a:gd name="connsiteY34" fmla="*/ 510943 h 931541"/>
              <a:gd name="connsiteX35" fmla="*/ 1164781 w 1254861"/>
              <a:gd name="connsiteY35" fmla="*/ 519521 h 931541"/>
              <a:gd name="connsiteX36" fmla="*/ 1159635 w 1254861"/>
              <a:gd name="connsiteY36" fmla="*/ 528919 h 931541"/>
              <a:gd name="connsiteX37" fmla="*/ 1155150 w 1254861"/>
              <a:gd name="connsiteY37" fmla="*/ 539707 h 931541"/>
              <a:gd name="connsiteX38" fmla="*/ 1146801 w 1254861"/>
              <a:gd name="connsiteY38" fmla="*/ 546072 h 931541"/>
              <a:gd name="connsiteX39" fmla="*/ 1139251 w 1254861"/>
              <a:gd name="connsiteY39" fmla="*/ 549898 h 931541"/>
              <a:gd name="connsiteX40" fmla="*/ 1123283 w 1254861"/>
              <a:gd name="connsiteY40" fmla="*/ 541885 h 931541"/>
              <a:gd name="connsiteX41" fmla="*/ 1113981 w 1254861"/>
              <a:gd name="connsiteY41" fmla="*/ 539873 h 931541"/>
              <a:gd name="connsiteX42" fmla="*/ 1111211 w 1254861"/>
              <a:gd name="connsiteY42" fmla="*/ 536870 h 931541"/>
              <a:gd name="connsiteX43" fmla="*/ 1109001 w 1254861"/>
              <a:gd name="connsiteY43" fmla="*/ 524930 h 931541"/>
              <a:gd name="connsiteX44" fmla="*/ 1104811 w 1254861"/>
              <a:gd name="connsiteY44" fmla="*/ 521134 h 931541"/>
              <a:gd name="connsiteX45" fmla="*/ 1098643 w 1254861"/>
              <a:gd name="connsiteY45" fmla="*/ 519455 h 931541"/>
              <a:gd name="connsiteX46" fmla="*/ 1093234 w 1254861"/>
              <a:gd name="connsiteY46" fmla="*/ 522523 h 931541"/>
              <a:gd name="connsiteX47" fmla="*/ 1086177 w 1254861"/>
              <a:gd name="connsiteY47" fmla="*/ 528822 h 931541"/>
              <a:gd name="connsiteX48" fmla="*/ 1082416 w 1254861"/>
              <a:gd name="connsiteY48" fmla="*/ 522523 h 931541"/>
              <a:gd name="connsiteX49" fmla="*/ 1076445 w 1254861"/>
              <a:gd name="connsiteY49" fmla="*/ 521335 h 931541"/>
              <a:gd name="connsiteX50" fmla="*/ 1074201 w 1254861"/>
              <a:gd name="connsiteY50" fmla="*/ 517540 h 931541"/>
              <a:gd name="connsiteX51" fmla="*/ 1074302 w 1254861"/>
              <a:gd name="connsiteY51" fmla="*/ 512657 h 931541"/>
              <a:gd name="connsiteX52" fmla="*/ 1112596 w 1254861"/>
              <a:gd name="connsiteY52" fmla="*/ 483664 h 931541"/>
              <a:gd name="connsiteX53" fmla="*/ 1123681 w 1254861"/>
              <a:gd name="connsiteY53" fmla="*/ 477233 h 931541"/>
              <a:gd name="connsiteX54" fmla="*/ 1230551 w 1254861"/>
              <a:gd name="connsiteY54" fmla="*/ 457210 h 931541"/>
              <a:gd name="connsiteX55" fmla="*/ 1245957 w 1254861"/>
              <a:gd name="connsiteY55" fmla="*/ 462356 h 931541"/>
              <a:gd name="connsiteX56" fmla="*/ 1254238 w 1254861"/>
              <a:gd name="connsiteY56" fmla="*/ 476208 h 931541"/>
              <a:gd name="connsiteX57" fmla="*/ 1254861 w 1254861"/>
              <a:gd name="connsiteY57" fmla="*/ 478584 h 931541"/>
              <a:gd name="connsiteX58" fmla="*/ 1252226 w 1254861"/>
              <a:gd name="connsiteY58" fmla="*/ 485247 h 931541"/>
              <a:gd name="connsiteX59" fmla="*/ 1250543 w 1254861"/>
              <a:gd name="connsiteY59" fmla="*/ 486632 h 931541"/>
              <a:gd name="connsiteX60" fmla="*/ 1222077 w 1254861"/>
              <a:gd name="connsiteY60" fmla="*/ 472745 h 931541"/>
              <a:gd name="connsiteX61" fmla="*/ 1212771 w 1254861"/>
              <a:gd name="connsiteY61" fmla="*/ 471197 h 931541"/>
              <a:gd name="connsiteX62" fmla="*/ 1210496 w 1254861"/>
              <a:gd name="connsiteY62" fmla="*/ 469085 h 931541"/>
              <a:gd name="connsiteX63" fmla="*/ 1210763 w 1254861"/>
              <a:gd name="connsiteY63" fmla="*/ 461861 h 931541"/>
              <a:gd name="connsiteX64" fmla="*/ 1211487 w 1254861"/>
              <a:gd name="connsiteY64" fmla="*/ 458661 h 931541"/>
              <a:gd name="connsiteX65" fmla="*/ 142299 w 1254861"/>
              <a:gd name="connsiteY65" fmla="*/ 0 h 931541"/>
              <a:gd name="connsiteX66" fmla="*/ 151899 w 1254861"/>
              <a:gd name="connsiteY66" fmla="*/ 4748 h 931541"/>
              <a:gd name="connsiteX67" fmla="*/ 160307 w 1254861"/>
              <a:gd name="connsiteY67" fmla="*/ 3134 h 931541"/>
              <a:gd name="connsiteX68" fmla="*/ 169972 w 1254861"/>
              <a:gd name="connsiteY68" fmla="*/ 8776 h 931541"/>
              <a:gd name="connsiteX69" fmla="*/ 182675 w 1254861"/>
              <a:gd name="connsiteY69" fmla="*/ 21672 h 931541"/>
              <a:gd name="connsiteX70" fmla="*/ 201278 w 1254861"/>
              <a:gd name="connsiteY70" fmla="*/ 26849 h 931541"/>
              <a:gd name="connsiteX71" fmla="*/ 216121 w 1254861"/>
              <a:gd name="connsiteY71" fmla="*/ 22794 h 931541"/>
              <a:gd name="connsiteX72" fmla="*/ 242343 w 1254861"/>
              <a:gd name="connsiteY72" fmla="*/ 21935 h 931541"/>
              <a:gd name="connsiteX73" fmla="*/ 255440 w 1254861"/>
              <a:gd name="connsiteY73" fmla="*/ 23649 h 931541"/>
              <a:gd name="connsiteX74" fmla="*/ 278725 w 1254861"/>
              <a:gd name="connsiteY74" fmla="*/ 20449 h 931541"/>
              <a:gd name="connsiteX75" fmla="*/ 292051 w 1254861"/>
              <a:gd name="connsiteY75" fmla="*/ 21606 h 931541"/>
              <a:gd name="connsiteX76" fmla="*/ 313657 w 1254861"/>
              <a:gd name="connsiteY76" fmla="*/ 15206 h 931541"/>
              <a:gd name="connsiteX77" fmla="*/ 330380 w 1254861"/>
              <a:gd name="connsiteY77" fmla="*/ 23189 h 931541"/>
              <a:gd name="connsiteX78" fmla="*/ 362808 w 1254861"/>
              <a:gd name="connsiteY78" fmla="*/ 26915 h 931541"/>
              <a:gd name="connsiteX79" fmla="*/ 382267 w 1254861"/>
              <a:gd name="connsiteY79" fmla="*/ 33446 h 931541"/>
              <a:gd name="connsiteX80" fmla="*/ 436165 w 1254861"/>
              <a:gd name="connsiteY80" fmla="*/ 44396 h 931541"/>
              <a:gd name="connsiteX81" fmla="*/ 455627 w 1254861"/>
              <a:gd name="connsiteY81" fmla="*/ 44531 h 931541"/>
              <a:gd name="connsiteX82" fmla="*/ 483169 w 1254861"/>
              <a:gd name="connsiteY82" fmla="*/ 38364 h 931541"/>
              <a:gd name="connsiteX83" fmla="*/ 494846 w 1254861"/>
              <a:gd name="connsiteY83" fmla="*/ 33744 h 931541"/>
              <a:gd name="connsiteX84" fmla="*/ 505533 w 1254861"/>
              <a:gd name="connsiteY84" fmla="*/ 36483 h 931541"/>
              <a:gd name="connsiteX85" fmla="*/ 521203 w 1254861"/>
              <a:gd name="connsiteY85" fmla="*/ 31171 h 931541"/>
              <a:gd name="connsiteX86" fmla="*/ 528722 w 1254861"/>
              <a:gd name="connsiteY86" fmla="*/ 32258 h 931541"/>
              <a:gd name="connsiteX87" fmla="*/ 538519 w 1254861"/>
              <a:gd name="connsiteY87" fmla="*/ 39815 h 931541"/>
              <a:gd name="connsiteX88" fmla="*/ 572990 w 1254861"/>
              <a:gd name="connsiteY88" fmla="*/ 50006 h 931541"/>
              <a:gd name="connsiteX89" fmla="*/ 582028 w 1254861"/>
              <a:gd name="connsiteY89" fmla="*/ 41363 h 931541"/>
              <a:gd name="connsiteX90" fmla="*/ 588757 w 1254861"/>
              <a:gd name="connsiteY90" fmla="*/ 39482 h 931541"/>
              <a:gd name="connsiteX91" fmla="*/ 613559 w 1254861"/>
              <a:gd name="connsiteY91" fmla="*/ 44760 h 931541"/>
              <a:gd name="connsiteX92" fmla="*/ 638562 w 1254861"/>
              <a:gd name="connsiteY92" fmla="*/ 55513 h 931541"/>
              <a:gd name="connsiteX93" fmla="*/ 651559 w 1254861"/>
              <a:gd name="connsiteY93" fmla="*/ 56274 h 931541"/>
              <a:gd name="connsiteX94" fmla="*/ 670561 w 1254861"/>
              <a:gd name="connsiteY94" fmla="*/ 53338 h 931541"/>
              <a:gd name="connsiteX95" fmla="*/ 685635 w 1254861"/>
              <a:gd name="connsiteY95" fmla="*/ 46277 h 931541"/>
              <a:gd name="connsiteX96" fmla="*/ 688669 w 1254861"/>
              <a:gd name="connsiteY96" fmla="*/ 45158 h 931541"/>
              <a:gd name="connsiteX97" fmla="*/ 688800 w 1254861"/>
              <a:gd name="connsiteY97" fmla="*/ 49577 h 931541"/>
              <a:gd name="connsiteX98" fmla="*/ 692430 w 1254861"/>
              <a:gd name="connsiteY98" fmla="*/ 55644 h 931541"/>
              <a:gd name="connsiteX99" fmla="*/ 696191 w 1254861"/>
              <a:gd name="connsiteY99" fmla="*/ 57888 h 931541"/>
              <a:gd name="connsiteX100" fmla="*/ 704107 w 1254861"/>
              <a:gd name="connsiteY100" fmla="*/ 60991 h 931541"/>
              <a:gd name="connsiteX101" fmla="*/ 710209 w 1254861"/>
              <a:gd name="connsiteY101" fmla="*/ 61421 h 931541"/>
              <a:gd name="connsiteX102" fmla="*/ 718520 w 1254861"/>
              <a:gd name="connsiteY102" fmla="*/ 62872 h 931541"/>
              <a:gd name="connsiteX103" fmla="*/ 724161 w 1254861"/>
              <a:gd name="connsiteY103" fmla="*/ 66366 h 931541"/>
              <a:gd name="connsiteX104" fmla="*/ 724491 w 1254861"/>
              <a:gd name="connsiteY104" fmla="*/ 71810 h 931541"/>
              <a:gd name="connsiteX105" fmla="*/ 723074 w 1254861"/>
              <a:gd name="connsiteY105" fmla="*/ 77877 h 931541"/>
              <a:gd name="connsiteX106" fmla="*/ 719642 w 1254861"/>
              <a:gd name="connsiteY106" fmla="*/ 83452 h 931541"/>
              <a:gd name="connsiteX107" fmla="*/ 717696 w 1254861"/>
              <a:gd name="connsiteY107" fmla="*/ 87708 h 931541"/>
              <a:gd name="connsiteX108" fmla="*/ 719511 w 1254861"/>
              <a:gd name="connsiteY108" fmla="*/ 90150 h 931541"/>
              <a:gd name="connsiteX109" fmla="*/ 722478 w 1254861"/>
              <a:gd name="connsiteY109" fmla="*/ 92061 h 931541"/>
              <a:gd name="connsiteX110" fmla="*/ 725678 w 1254861"/>
              <a:gd name="connsiteY110" fmla="*/ 92588 h 931541"/>
              <a:gd name="connsiteX111" fmla="*/ 727857 w 1254861"/>
              <a:gd name="connsiteY111" fmla="*/ 91964 h 931541"/>
              <a:gd name="connsiteX112" fmla="*/ 729505 w 1254861"/>
              <a:gd name="connsiteY112" fmla="*/ 88598 h 931541"/>
              <a:gd name="connsiteX113" fmla="*/ 732639 w 1254861"/>
              <a:gd name="connsiteY113" fmla="*/ 84477 h 931541"/>
              <a:gd name="connsiteX114" fmla="*/ 734384 w 1254861"/>
              <a:gd name="connsiteY114" fmla="*/ 83948 h 931541"/>
              <a:gd name="connsiteX115" fmla="*/ 734253 w 1254861"/>
              <a:gd name="connsiteY115" fmla="*/ 86289 h 931541"/>
              <a:gd name="connsiteX116" fmla="*/ 735738 w 1254861"/>
              <a:gd name="connsiteY116" fmla="*/ 89191 h 931541"/>
              <a:gd name="connsiteX117" fmla="*/ 745930 w 1254861"/>
              <a:gd name="connsiteY117" fmla="*/ 94042 h 931541"/>
              <a:gd name="connsiteX118" fmla="*/ 768294 w 1254861"/>
              <a:gd name="connsiteY118" fmla="*/ 103081 h 931541"/>
              <a:gd name="connsiteX119" fmla="*/ 777070 w 1254861"/>
              <a:gd name="connsiteY119" fmla="*/ 103244 h 931541"/>
              <a:gd name="connsiteX120" fmla="*/ 784162 w 1254861"/>
              <a:gd name="connsiteY120" fmla="*/ 104300 h 931541"/>
              <a:gd name="connsiteX121" fmla="*/ 786240 w 1254861"/>
              <a:gd name="connsiteY121" fmla="*/ 108092 h 931541"/>
              <a:gd name="connsiteX122" fmla="*/ 800490 w 1254861"/>
              <a:gd name="connsiteY122" fmla="*/ 122013 h 931541"/>
              <a:gd name="connsiteX123" fmla="*/ 803887 w 1254861"/>
              <a:gd name="connsiteY123" fmla="*/ 121650 h 931541"/>
              <a:gd name="connsiteX124" fmla="*/ 810221 w 1254861"/>
              <a:gd name="connsiteY124" fmla="*/ 121979 h 931541"/>
              <a:gd name="connsiteX125" fmla="*/ 817871 w 1254861"/>
              <a:gd name="connsiteY125" fmla="*/ 120860 h 931541"/>
              <a:gd name="connsiteX126" fmla="*/ 823415 w 1254861"/>
              <a:gd name="connsiteY126" fmla="*/ 118252 h 931541"/>
              <a:gd name="connsiteX127" fmla="*/ 827041 w 1254861"/>
              <a:gd name="connsiteY127" fmla="*/ 118682 h 931541"/>
              <a:gd name="connsiteX128" fmla="*/ 831065 w 1254861"/>
              <a:gd name="connsiteY128" fmla="*/ 121386 h 931541"/>
              <a:gd name="connsiteX129" fmla="*/ 835751 w 1254861"/>
              <a:gd name="connsiteY129" fmla="*/ 123727 h 931541"/>
              <a:gd name="connsiteX130" fmla="*/ 841821 w 1254861"/>
              <a:gd name="connsiteY130" fmla="*/ 128312 h 931541"/>
              <a:gd name="connsiteX131" fmla="*/ 847227 w 1254861"/>
              <a:gd name="connsiteY131" fmla="*/ 133954 h 931541"/>
              <a:gd name="connsiteX132" fmla="*/ 850957 w 1254861"/>
              <a:gd name="connsiteY132" fmla="*/ 135800 h 931541"/>
              <a:gd name="connsiteX133" fmla="*/ 873418 w 1254861"/>
              <a:gd name="connsiteY133" fmla="*/ 132007 h 931541"/>
              <a:gd name="connsiteX134" fmla="*/ 878433 w 1254861"/>
              <a:gd name="connsiteY134" fmla="*/ 135339 h 931541"/>
              <a:gd name="connsiteX135" fmla="*/ 883745 w 1254861"/>
              <a:gd name="connsiteY135" fmla="*/ 135304 h 931541"/>
              <a:gd name="connsiteX136" fmla="*/ 889715 w 1254861"/>
              <a:gd name="connsiteY136" fmla="*/ 134449 h 931541"/>
              <a:gd name="connsiteX137" fmla="*/ 902712 w 1254861"/>
              <a:gd name="connsiteY137" fmla="*/ 136198 h 931541"/>
              <a:gd name="connsiteX138" fmla="*/ 913267 w 1254861"/>
              <a:gd name="connsiteY138" fmla="*/ 135768 h 931541"/>
              <a:gd name="connsiteX139" fmla="*/ 914223 w 1254861"/>
              <a:gd name="connsiteY139" fmla="*/ 134383 h 931541"/>
              <a:gd name="connsiteX140" fmla="*/ 915113 w 1254861"/>
              <a:gd name="connsiteY140" fmla="*/ 121847 h 931541"/>
              <a:gd name="connsiteX141" fmla="*/ 916796 w 1254861"/>
              <a:gd name="connsiteY141" fmla="*/ 117394 h 931541"/>
              <a:gd name="connsiteX142" fmla="*/ 919303 w 1254861"/>
              <a:gd name="connsiteY142" fmla="*/ 116206 h 931541"/>
              <a:gd name="connsiteX143" fmla="*/ 925537 w 1254861"/>
              <a:gd name="connsiteY143" fmla="*/ 117099 h 931541"/>
              <a:gd name="connsiteX144" fmla="*/ 948265 w 1254861"/>
              <a:gd name="connsiteY144" fmla="*/ 124520 h 931541"/>
              <a:gd name="connsiteX145" fmla="*/ 957632 w 1254861"/>
              <a:gd name="connsiteY145" fmla="*/ 129171 h 931541"/>
              <a:gd name="connsiteX146" fmla="*/ 966636 w 1254861"/>
              <a:gd name="connsiteY146" fmla="*/ 132801 h 931541"/>
              <a:gd name="connsiteX147" fmla="*/ 974487 w 1254861"/>
              <a:gd name="connsiteY147" fmla="*/ 133195 h 931541"/>
              <a:gd name="connsiteX148" fmla="*/ 979699 w 1254861"/>
              <a:gd name="connsiteY148" fmla="*/ 135637 h 931541"/>
              <a:gd name="connsiteX149" fmla="*/ 986988 w 1254861"/>
              <a:gd name="connsiteY149" fmla="*/ 147511 h 931541"/>
              <a:gd name="connsiteX150" fmla="*/ 985735 w 1254861"/>
              <a:gd name="connsiteY150" fmla="*/ 153482 h 931541"/>
              <a:gd name="connsiteX151" fmla="*/ 986396 w 1254861"/>
              <a:gd name="connsiteY151" fmla="*/ 155691 h 931541"/>
              <a:gd name="connsiteX152" fmla="*/ 987155 w 1254861"/>
              <a:gd name="connsiteY152" fmla="*/ 159816 h 931541"/>
              <a:gd name="connsiteX153" fmla="*/ 986957 w 1254861"/>
              <a:gd name="connsiteY153" fmla="*/ 164397 h 931541"/>
              <a:gd name="connsiteX154" fmla="*/ 988869 w 1254861"/>
              <a:gd name="connsiteY154" fmla="*/ 167400 h 931541"/>
              <a:gd name="connsiteX155" fmla="*/ 992332 w 1254861"/>
              <a:gd name="connsiteY155" fmla="*/ 167763 h 931541"/>
              <a:gd name="connsiteX156" fmla="*/ 996751 w 1254861"/>
              <a:gd name="connsiteY156" fmla="*/ 166873 h 931541"/>
              <a:gd name="connsiteX157" fmla="*/ 1001602 w 1254861"/>
              <a:gd name="connsiteY157" fmla="*/ 165093 h 931541"/>
              <a:gd name="connsiteX158" fmla="*/ 1010111 w 1254861"/>
              <a:gd name="connsiteY158" fmla="*/ 160013 h 931541"/>
              <a:gd name="connsiteX159" fmla="*/ 1012649 w 1254861"/>
              <a:gd name="connsiteY159" fmla="*/ 159189 h 931541"/>
              <a:gd name="connsiteX160" fmla="*/ 1026900 w 1254861"/>
              <a:gd name="connsiteY160" fmla="*/ 164958 h 931541"/>
              <a:gd name="connsiteX161" fmla="*/ 1033199 w 1254861"/>
              <a:gd name="connsiteY161" fmla="*/ 168819 h 931541"/>
              <a:gd name="connsiteX162" fmla="*/ 1035377 w 1254861"/>
              <a:gd name="connsiteY162" fmla="*/ 173010 h 931541"/>
              <a:gd name="connsiteX163" fmla="*/ 1038643 w 1254861"/>
              <a:gd name="connsiteY163" fmla="*/ 177297 h 931541"/>
              <a:gd name="connsiteX164" fmla="*/ 1042899 w 1254861"/>
              <a:gd name="connsiteY164" fmla="*/ 177924 h 931541"/>
              <a:gd name="connsiteX165" fmla="*/ 1048970 w 1254861"/>
              <a:gd name="connsiteY165" fmla="*/ 173865 h 931541"/>
              <a:gd name="connsiteX166" fmla="*/ 1058434 w 1254861"/>
              <a:gd name="connsiteY166" fmla="*/ 169512 h 931541"/>
              <a:gd name="connsiteX167" fmla="*/ 1074531 w 1254861"/>
              <a:gd name="connsiteY167" fmla="*/ 173339 h 931541"/>
              <a:gd name="connsiteX168" fmla="*/ 1092441 w 1254861"/>
              <a:gd name="connsiteY168" fmla="*/ 178880 h 931541"/>
              <a:gd name="connsiteX169" fmla="*/ 1100195 w 1254861"/>
              <a:gd name="connsiteY169" fmla="*/ 179541 h 931541"/>
              <a:gd name="connsiteX170" fmla="*/ 1100458 w 1254861"/>
              <a:gd name="connsiteY170" fmla="*/ 176833 h 931541"/>
              <a:gd name="connsiteX171" fmla="*/ 1101875 w 1254861"/>
              <a:gd name="connsiteY171" fmla="*/ 172975 h 931541"/>
              <a:gd name="connsiteX172" fmla="*/ 1104811 w 1254861"/>
              <a:gd name="connsiteY172" fmla="*/ 171029 h 931541"/>
              <a:gd name="connsiteX173" fmla="*/ 1109233 w 1254861"/>
              <a:gd name="connsiteY173" fmla="*/ 170468 h 931541"/>
              <a:gd name="connsiteX174" fmla="*/ 1115367 w 1254861"/>
              <a:gd name="connsiteY174" fmla="*/ 168425 h 931541"/>
              <a:gd name="connsiteX175" fmla="*/ 1122358 w 1254861"/>
              <a:gd name="connsiteY175" fmla="*/ 165059 h 931541"/>
              <a:gd name="connsiteX176" fmla="*/ 1129651 w 1254861"/>
              <a:gd name="connsiteY176" fmla="*/ 163673 h 931541"/>
              <a:gd name="connsiteX177" fmla="*/ 1137270 w 1254861"/>
              <a:gd name="connsiteY177" fmla="*/ 166181 h 931541"/>
              <a:gd name="connsiteX178" fmla="*/ 1146471 w 1254861"/>
              <a:gd name="connsiteY178" fmla="*/ 168227 h 931541"/>
              <a:gd name="connsiteX179" fmla="*/ 1151981 w 1254861"/>
              <a:gd name="connsiteY179" fmla="*/ 168193 h 931541"/>
              <a:gd name="connsiteX180" fmla="*/ 1154620 w 1254861"/>
              <a:gd name="connsiteY180" fmla="*/ 176109 h 931541"/>
              <a:gd name="connsiteX181" fmla="*/ 1159073 w 1254861"/>
              <a:gd name="connsiteY181" fmla="*/ 179112 h 931541"/>
              <a:gd name="connsiteX182" fmla="*/ 1160822 w 1254861"/>
              <a:gd name="connsiteY182" fmla="*/ 185972 h 931541"/>
              <a:gd name="connsiteX183" fmla="*/ 1152639 w 1254861"/>
              <a:gd name="connsiteY183" fmla="*/ 189535 h 931541"/>
              <a:gd name="connsiteX184" fmla="*/ 1147825 w 1254861"/>
              <a:gd name="connsiteY184" fmla="*/ 190027 h 931541"/>
              <a:gd name="connsiteX185" fmla="*/ 1146340 w 1254861"/>
              <a:gd name="connsiteY185" fmla="*/ 201739 h 931541"/>
              <a:gd name="connsiteX186" fmla="*/ 1148650 w 1254861"/>
              <a:gd name="connsiteY186" fmla="*/ 205036 h 931541"/>
              <a:gd name="connsiteX187" fmla="*/ 1153235 w 1254861"/>
              <a:gd name="connsiteY187" fmla="*/ 208139 h 931541"/>
              <a:gd name="connsiteX188" fmla="*/ 1154488 w 1254861"/>
              <a:gd name="connsiteY188" fmla="*/ 211733 h 931541"/>
              <a:gd name="connsiteX189" fmla="*/ 1155413 w 1254861"/>
              <a:gd name="connsiteY189" fmla="*/ 228886 h 931541"/>
              <a:gd name="connsiteX190" fmla="*/ 1146045 w 1254861"/>
              <a:gd name="connsiteY190" fmla="*/ 239209 h 931541"/>
              <a:gd name="connsiteX191" fmla="*/ 1132917 w 1254861"/>
              <a:gd name="connsiteY191" fmla="*/ 250789 h 931541"/>
              <a:gd name="connsiteX192" fmla="*/ 1068661 w 1254861"/>
              <a:gd name="connsiteY192" fmla="*/ 287896 h 931541"/>
              <a:gd name="connsiteX193" fmla="*/ 1053354 w 1254861"/>
              <a:gd name="connsiteY193" fmla="*/ 305807 h 931541"/>
              <a:gd name="connsiteX194" fmla="*/ 1047515 w 1254861"/>
              <a:gd name="connsiteY194" fmla="*/ 309931 h 931541"/>
              <a:gd name="connsiteX195" fmla="*/ 999753 w 1254861"/>
              <a:gd name="connsiteY195" fmla="*/ 321179 h 931541"/>
              <a:gd name="connsiteX196" fmla="*/ 966373 w 1254861"/>
              <a:gd name="connsiteY196" fmla="*/ 333185 h 931541"/>
              <a:gd name="connsiteX197" fmla="*/ 950374 w 1254861"/>
              <a:gd name="connsiteY197" fmla="*/ 337538 h 931541"/>
              <a:gd name="connsiteX198" fmla="*/ 930385 w 1254861"/>
              <a:gd name="connsiteY198" fmla="*/ 358351 h 931541"/>
              <a:gd name="connsiteX199" fmla="*/ 920917 w 1254861"/>
              <a:gd name="connsiteY199" fmla="*/ 366732 h 931541"/>
              <a:gd name="connsiteX200" fmla="*/ 928473 w 1254861"/>
              <a:gd name="connsiteY200" fmla="*/ 369042 h 931541"/>
              <a:gd name="connsiteX201" fmla="*/ 937280 w 1254861"/>
              <a:gd name="connsiteY201" fmla="*/ 378970 h 931541"/>
              <a:gd name="connsiteX202" fmla="*/ 934312 w 1254861"/>
              <a:gd name="connsiteY202" fmla="*/ 383354 h 931541"/>
              <a:gd name="connsiteX203" fmla="*/ 921478 w 1254861"/>
              <a:gd name="connsiteY203" fmla="*/ 390152 h 931541"/>
              <a:gd name="connsiteX204" fmla="*/ 915871 w 1254861"/>
              <a:gd name="connsiteY204" fmla="*/ 392230 h 931541"/>
              <a:gd name="connsiteX205" fmla="*/ 912838 w 1254861"/>
              <a:gd name="connsiteY205" fmla="*/ 391139 h 931541"/>
              <a:gd name="connsiteX206" fmla="*/ 909967 w 1254861"/>
              <a:gd name="connsiteY206" fmla="*/ 392064 h 931541"/>
              <a:gd name="connsiteX207" fmla="*/ 888462 w 1254861"/>
              <a:gd name="connsiteY207" fmla="*/ 427854 h 931541"/>
              <a:gd name="connsiteX208" fmla="*/ 869460 w 1254861"/>
              <a:gd name="connsiteY208" fmla="*/ 453515 h 931541"/>
              <a:gd name="connsiteX209" fmla="*/ 858773 w 1254861"/>
              <a:gd name="connsiteY209" fmla="*/ 464666 h 931541"/>
              <a:gd name="connsiteX210" fmla="*/ 847823 w 1254861"/>
              <a:gd name="connsiteY210" fmla="*/ 481258 h 931541"/>
              <a:gd name="connsiteX211" fmla="*/ 824503 w 1254861"/>
              <a:gd name="connsiteY211" fmla="*/ 523908 h 931541"/>
              <a:gd name="connsiteX212" fmla="*/ 824337 w 1254861"/>
              <a:gd name="connsiteY212" fmla="*/ 536178 h 931541"/>
              <a:gd name="connsiteX213" fmla="*/ 835817 w 1254861"/>
              <a:gd name="connsiteY213" fmla="*/ 578364 h 931541"/>
              <a:gd name="connsiteX214" fmla="*/ 842414 w 1254861"/>
              <a:gd name="connsiteY214" fmla="*/ 589415 h 931541"/>
              <a:gd name="connsiteX215" fmla="*/ 851650 w 1254861"/>
              <a:gd name="connsiteY215" fmla="*/ 598685 h 931541"/>
              <a:gd name="connsiteX216" fmla="*/ 869131 w 1254861"/>
              <a:gd name="connsiteY216" fmla="*/ 606567 h 931541"/>
              <a:gd name="connsiteX217" fmla="*/ 873453 w 1254861"/>
              <a:gd name="connsiteY217" fmla="*/ 614321 h 931541"/>
              <a:gd name="connsiteX218" fmla="*/ 867417 w 1254861"/>
              <a:gd name="connsiteY218" fmla="*/ 621708 h 931541"/>
              <a:gd name="connsiteX219" fmla="*/ 849932 w 1254861"/>
              <a:gd name="connsiteY219" fmla="*/ 634805 h 931541"/>
              <a:gd name="connsiteX220" fmla="*/ 819519 w 1254861"/>
              <a:gd name="connsiteY220" fmla="*/ 652484 h 931541"/>
              <a:gd name="connsiteX221" fmla="*/ 806592 w 1254861"/>
              <a:gd name="connsiteY221" fmla="*/ 666405 h 931541"/>
              <a:gd name="connsiteX222" fmla="*/ 803853 w 1254861"/>
              <a:gd name="connsiteY222" fmla="*/ 679796 h 931541"/>
              <a:gd name="connsiteX223" fmla="*/ 794946 w 1254861"/>
              <a:gd name="connsiteY223" fmla="*/ 685833 h 931541"/>
              <a:gd name="connsiteX224" fmla="*/ 791583 w 1254861"/>
              <a:gd name="connsiteY224" fmla="*/ 704533 h 931541"/>
              <a:gd name="connsiteX225" fmla="*/ 786174 w 1254861"/>
              <a:gd name="connsiteY225" fmla="*/ 716903 h 931541"/>
              <a:gd name="connsiteX226" fmla="*/ 785149 w 1254861"/>
              <a:gd name="connsiteY226" fmla="*/ 721093 h 931541"/>
              <a:gd name="connsiteX227" fmla="*/ 779411 w 1254861"/>
              <a:gd name="connsiteY227" fmla="*/ 730461 h 931541"/>
              <a:gd name="connsiteX228" fmla="*/ 778652 w 1254861"/>
              <a:gd name="connsiteY228" fmla="*/ 737290 h 931541"/>
              <a:gd name="connsiteX229" fmla="*/ 788054 w 1254861"/>
              <a:gd name="connsiteY229" fmla="*/ 746657 h 931541"/>
              <a:gd name="connsiteX230" fmla="*/ 783404 w 1254861"/>
              <a:gd name="connsiteY230" fmla="*/ 750716 h 931541"/>
              <a:gd name="connsiteX231" fmla="*/ 778753 w 1254861"/>
              <a:gd name="connsiteY231" fmla="*/ 752496 h 931541"/>
              <a:gd name="connsiteX232" fmla="*/ 768031 w 1254861"/>
              <a:gd name="connsiteY232" fmla="*/ 753583 h 931541"/>
              <a:gd name="connsiteX233" fmla="*/ 731977 w 1254861"/>
              <a:gd name="connsiteY233" fmla="*/ 754771 h 931541"/>
              <a:gd name="connsiteX234" fmla="*/ 702985 w 1254861"/>
              <a:gd name="connsiteY234" fmla="*/ 774992 h 931541"/>
              <a:gd name="connsiteX235" fmla="*/ 688503 w 1254861"/>
              <a:gd name="connsiteY235" fmla="*/ 792868 h 931541"/>
              <a:gd name="connsiteX236" fmla="*/ 675374 w 1254861"/>
              <a:gd name="connsiteY236" fmla="*/ 826019 h 931541"/>
              <a:gd name="connsiteX237" fmla="*/ 659444 w 1254861"/>
              <a:gd name="connsiteY237" fmla="*/ 845513 h 931541"/>
              <a:gd name="connsiteX238" fmla="*/ 652418 w 1254861"/>
              <a:gd name="connsiteY238" fmla="*/ 849111 h 931541"/>
              <a:gd name="connsiteX239" fmla="*/ 641499 w 1254861"/>
              <a:gd name="connsiteY239" fmla="*/ 840568 h 931541"/>
              <a:gd name="connsiteX240" fmla="*/ 627844 w 1254861"/>
              <a:gd name="connsiteY240" fmla="*/ 839248 h 931541"/>
              <a:gd name="connsiteX241" fmla="*/ 614615 w 1254861"/>
              <a:gd name="connsiteY241" fmla="*/ 842084 h 931541"/>
              <a:gd name="connsiteX242" fmla="*/ 607689 w 1254861"/>
              <a:gd name="connsiteY242" fmla="*/ 848879 h 931541"/>
              <a:gd name="connsiteX243" fmla="*/ 596871 w 1254861"/>
              <a:gd name="connsiteY243" fmla="*/ 852671 h 931541"/>
              <a:gd name="connsiteX244" fmla="*/ 586281 w 1254861"/>
              <a:gd name="connsiteY244" fmla="*/ 849405 h 931541"/>
              <a:gd name="connsiteX245" fmla="*/ 563390 w 1254861"/>
              <a:gd name="connsiteY245" fmla="*/ 847625 h 931541"/>
              <a:gd name="connsiteX246" fmla="*/ 553198 w 1254861"/>
              <a:gd name="connsiteY246" fmla="*/ 847954 h 931541"/>
              <a:gd name="connsiteX247" fmla="*/ 537265 w 1254861"/>
              <a:gd name="connsiteY247" fmla="*/ 853464 h 931541"/>
              <a:gd name="connsiteX248" fmla="*/ 523610 w 1254861"/>
              <a:gd name="connsiteY248" fmla="*/ 849804 h 931541"/>
              <a:gd name="connsiteX249" fmla="*/ 500553 w 1254861"/>
              <a:gd name="connsiteY249" fmla="*/ 847923 h 931541"/>
              <a:gd name="connsiteX250" fmla="*/ 450648 w 1254861"/>
              <a:gd name="connsiteY250" fmla="*/ 852307 h 931541"/>
              <a:gd name="connsiteX251" fmla="*/ 444345 w 1254861"/>
              <a:gd name="connsiteY251" fmla="*/ 854354 h 931541"/>
              <a:gd name="connsiteX252" fmla="*/ 438111 w 1254861"/>
              <a:gd name="connsiteY252" fmla="*/ 862534 h 931541"/>
              <a:gd name="connsiteX253" fmla="*/ 422213 w 1254861"/>
              <a:gd name="connsiteY253" fmla="*/ 876618 h 931541"/>
              <a:gd name="connsiteX254" fmla="*/ 398034 w 1254861"/>
              <a:gd name="connsiteY254" fmla="*/ 877113 h 931541"/>
              <a:gd name="connsiteX255" fmla="*/ 376165 w 1254861"/>
              <a:gd name="connsiteY255" fmla="*/ 886086 h 931541"/>
              <a:gd name="connsiteX256" fmla="*/ 370690 w 1254861"/>
              <a:gd name="connsiteY256" fmla="*/ 891824 h 931541"/>
              <a:gd name="connsiteX257" fmla="*/ 361519 w 1254861"/>
              <a:gd name="connsiteY257" fmla="*/ 907626 h 931541"/>
              <a:gd name="connsiteX258" fmla="*/ 358649 w 1254861"/>
              <a:gd name="connsiteY258" fmla="*/ 919137 h 931541"/>
              <a:gd name="connsiteX259" fmla="*/ 356737 w 1254861"/>
              <a:gd name="connsiteY259" fmla="*/ 919237 h 931541"/>
              <a:gd name="connsiteX260" fmla="*/ 354361 w 1254861"/>
              <a:gd name="connsiteY260" fmla="*/ 916398 h 931541"/>
              <a:gd name="connsiteX261" fmla="*/ 350999 w 1254861"/>
              <a:gd name="connsiteY261" fmla="*/ 917322 h 931541"/>
              <a:gd name="connsiteX262" fmla="*/ 349250 w 1254861"/>
              <a:gd name="connsiteY262" fmla="*/ 926098 h 931541"/>
              <a:gd name="connsiteX263" fmla="*/ 341036 w 1254861"/>
              <a:gd name="connsiteY263" fmla="*/ 930087 h 931541"/>
              <a:gd name="connsiteX264" fmla="*/ 334175 w 1254861"/>
              <a:gd name="connsiteY264" fmla="*/ 931541 h 931541"/>
              <a:gd name="connsiteX265" fmla="*/ 317251 w 1254861"/>
              <a:gd name="connsiteY265" fmla="*/ 924449 h 931541"/>
              <a:gd name="connsiteX266" fmla="*/ 303136 w 1254861"/>
              <a:gd name="connsiteY266" fmla="*/ 913793 h 931541"/>
              <a:gd name="connsiteX267" fmla="*/ 295746 w 1254861"/>
              <a:gd name="connsiteY267" fmla="*/ 913035 h 931541"/>
              <a:gd name="connsiteX268" fmla="*/ 283740 w 1254861"/>
              <a:gd name="connsiteY268" fmla="*/ 896409 h 931541"/>
              <a:gd name="connsiteX269" fmla="*/ 278563 w 1254861"/>
              <a:gd name="connsiteY269" fmla="*/ 885823 h 931541"/>
              <a:gd name="connsiteX270" fmla="*/ 274899 w 1254861"/>
              <a:gd name="connsiteY270" fmla="*/ 874343 h 931541"/>
              <a:gd name="connsiteX271" fmla="*/ 275657 w 1254861"/>
              <a:gd name="connsiteY271" fmla="*/ 869955 h 931541"/>
              <a:gd name="connsiteX272" fmla="*/ 274635 w 1254861"/>
              <a:gd name="connsiteY272" fmla="*/ 866295 h 931541"/>
              <a:gd name="connsiteX273" fmla="*/ 263983 w 1254861"/>
              <a:gd name="connsiteY273" fmla="*/ 861644 h 931541"/>
              <a:gd name="connsiteX274" fmla="*/ 261375 w 1254861"/>
              <a:gd name="connsiteY274" fmla="*/ 851088 h 931541"/>
              <a:gd name="connsiteX275" fmla="*/ 269160 w 1254861"/>
              <a:gd name="connsiteY275" fmla="*/ 837333 h 931541"/>
              <a:gd name="connsiteX276" fmla="*/ 275525 w 1254861"/>
              <a:gd name="connsiteY276" fmla="*/ 831495 h 931541"/>
              <a:gd name="connsiteX277" fmla="*/ 279484 w 1254861"/>
              <a:gd name="connsiteY277" fmla="*/ 829812 h 931541"/>
              <a:gd name="connsiteX278" fmla="*/ 269853 w 1254861"/>
              <a:gd name="connsiteY278" fmla="*/ 830407 h 931541"/>
              <a:gd name="connsiteX279" fmla="*/ 262892 w 1254861"/>
              <a:gd name="connsiteY279" fmla="*/ 839248 h 931541"/>
              <a:gd name="connsiteX280" fmla="*/ 253986 w 1254861"/>
              <a:gd name="connsiteY280" fmla="*/ 825064 h 931541"/>
              <a:gd name="connsiteX281" fmla="*/ 217669 w 1254861"/>
              <a:gd name="connsiteY281" fmla="*/ 797387 h 931541"/>
              <a:gd name="connsiteX282" fmla="*/ 220013 w 1254861"/>
              <a:gd name="connsiteY282" fmla="*/ 791022 h 931541"/>
              <a:gd name="connsiteX283" fmla="*/ 219615 w 1254861"/>
              <a:gd name="connsiteY283" fmla="*/ 787590 h 931541"/>
              <a:gd name="connsiteX284" fmla="*/ 213513 w 1254861"/>
              <a:gd name="connsiteY284" fmla="*/ 795012 h 931541"/>
              <a:gd name="connsiteX285" fmla="*/ 209357 w 1254861"/>
              <a:gd name="connsiteY285" fmla="*/ 796927 h 931541"/>
              <a:gd name="connsiteX286" fmla="*/ 190789 w 1254861"/>
              <a:gd name="connsiteY286" fmla="*/ 795739 h 931541"/>
              <a:gd name="connsiteX287" fmla="*/ 169411 w 1254861"/>
              <a:gd name="connsiteY287" fmla="*/ 799136 h 931541"/>
              <a:gd name="connsiteX288" fmla="*/ 163774 w 1254861"/>
              <a:gd name="connsiteY288" fmla="*/ 770306 h 931541"/>
              <a:gd name="connsiteX289" fmla="*/ 161100 w 1254861"/>
              <a:gd name="connsiteY289" fmla="*/ 759225 h 931541"/>
              <a:gd name="connsiteX290" fmla="*/ 160407 w 1254861"/>
              <a:gd name="connsiteY290" fmla="*/ 752032 h 931541"/>
              <a:gd name="connsiteX291" fmla="*/ 165917 w 1254861"/>
              <a:gd name="connsiteY291" fmla="*/ 735409 h 931541"/>
              <a:gd name="connsiteX292" fmla="*/ 171953 w 1254861"/>
              <a:gd name="connsiteY292" fmla="*/ 728615 h 931541"/>
              <a:gd name="connsiteX293" fmla="*/ 179967 w 1254861"/>
              <a:gd name="connsiteY293" fmla="*/ 714596 h 931541"/>
              <a:gd name="connsiteX294" fmla="*/ 189864 w 1254861"/>
              <a:gd name="connsiteY294" fmla="*/ 702919 h 931541"/>
              <a:gd name="connsiteX295" fmla="*/ 200319 w 1254861"/>
              <a:gd name="connsiteY295" fmla="*/ 700145 h 931541"/>
              <a:gd name="connsiteX296" fmla="*/ 204939 w 1254861"/>
              <a:gd name="connsiteY296" fmla="*/ 698431 h 931541"/>
              <a:gd name="connsiteX297" fmla="*/ 208796 w 1254861"/>
              <a:gd name="connsiteY297" fmla="*/ 689393 h 931541"/>
              <a:gd name="connsiteX298" fmla="*/ 210975 w 1254861"/>
              <a:gd name="connsiteY298" fmla="*/ 681677 h 931541"/>
              <a:gd name="connsiteX299" fmla="*/ 209392 w 1254861"/>
              <a:gd name="connsiteY299" fmla="*/ 680919 h 931541"/>
              <a:gd name="connsiteX300" fmla="*/ 197188 w 1254861"/>
              <a:gd name="connsiteY300" fmla="*/ 682501 h 931541"/>
              <a:gd name="connsiteX301" fmla="*/ 175285 w 1254861"/>
              <a:gd name="connsiteY301" fmla="*/ 650011 h 931541"/>
              <a:gd name="connsiteX302" fmla="*/ 175977 w 1254861"/>
              <a:gd name="connsiteY302" fmla="*/ 644830 h 931541"/>
              <a:gd name="connsiteX303" fmla="*/ 178713 w 1254861"/>
              <a:gd name="connsiteY303" fmla="*/ 637146 h 931541"/>
              <a:gd name="connsiteX304" fmla="*/ 180528 w 1254861"/>
              <a:gd name="connsiteY304" fmla="*/ 627415 h 931541"/>
              <a:gd name="connsiteX305" fmla="*/ 180988 w 1254861"/>
              <a:gd name="connsiteY305" fmla="*/ 619730 h 931541"/>
              <a:gd name="connsiteX306" fmla="*/ 186695 w 1254861"/>
              <a:gd name="connsiteY306" fmla="*/ 613099 h 931541"/>
              <a:gd name="connsiteX307" fmla="*/ 195440 w 1254861"/>
              <a:gd name="connsiteY307" fmla="*/ 606436 h 931541"/>
              <a:gd name="connsiteX308" fmla="*/ 202795 w 1254861"/>
              <a:gd name="connsiteY308" fmla="*/ 596937 h 931541"/>
              <a:gd name="connsiteX309" fmla="*/ 206487 w 1254861"/>
              <a:gd name="connsiteY309" fmla="*/ 587666 h 931541"/>
              <a:gd name="connsiteX310" fmla="*/ 207248 w 1254861"/>
              <a:gd name="connsiteY310" fmla="*/ 579223 h 931541"/>
              <a:gd name="connsiteX311" fmla="*/ 203089 w 1254861"/>
              <a:gd name="connsiteY311" fmla="*/ 573187 h 931541"/>
              <a:gd name="connsiteX312" fmla="*/ 191118 w 1254861"/>
              <a:gd name="connsiteY312" fmla="*/ 569856 h 931541"/>
              <a:gd name="connsiteX313" fmla="*/ 178748 w 1254861"/>
              <a:gd name="connsiteY313" fmla="*/ 545708 h 931541"/>
              <a:gd name="connsiteX314" fmla="*/ 176008 w 1254861"/>
              <a:gd name="connsiteY314" fmla="*/ 530571 h 931541"/>
              <a:gd name="connsiteX315" fmla="*/ 173470 w 1254861"/>
              <a:gd name="connsiteY315" fmla="*/ 528985 h 931541"/>
              <a:gd name="connsiteX316" fmla="*/ 165851 w 1254861"/>
              <a:gd name="connsiteY316" fmla="*/ 522094 h 931541"/>
              <a:gd name="connsiteX317" fmla="*/ 158527 w 1254861"/>
              <a:gd name="connsiteY317" fmla="*/ 509097 h 931541"/>
              <a:gd name="connsiteX318" fmla="*/ 157471 w 1254861"/>
              <a:gd name="connsiteY318" fmla="*/ 507050 h 931541"/>
              <a:gd name="connsiteX319" fmla="*/ 165027 w 1254861"/>
              <a:gd name="connsiteY319" fmla="*/ 504775 h 931541"/>
              <a:gd name="connsiteX320" fmla="*/ 196163 w 1254861"/>
              <a:gd name="connsiteY320" fmla="*/ 504675 h 931541"/>
              <a:gd name="connsiteX321" fmla="*/ 202663 w 1254861"/>
              <a:gd name="connsiteY321" fmla="*/ 501807 h 931541"/>
              <a:gd name="connsiteX322" fmla="*/ 203650 w 1254861"/>
              <a:gd name="connsiteY322" fmla="*/ 500817 h 931541"/>
              <a:gd name="connsiteX323" fmla="*/ 209326 w 1254861"/>
              <a:gd name="connsiteY323" fmla="*/ 490691 h 931541"/>
              <a:gd name="connsiteX324" fmla="*/ 215262 w 1254861"/>
              <a:gd name="connsiteY324" fmla="*/ 474034 h 931541"/>
              <a:gd name="connsiteX325" fmla="*/ 216647 w 1254861"/>
              <a:gd name="connsiteY325" fmla="*/ 463838 h 931541"/>
              <a:gd name="connsiteX326" fmla="*/ 214767 w 1254861"/>
              <a:gd name="connsiteY326" fmla="*/ 459617 h 931541"/>
              <a:gd name="connsiteX327" fmla="*/ 204443 w 1254861"/>
              <a:gd name="connsiteY327" fmla="*/ 449294 h 931541"/>
              <a:gd name="connsiteX328" fmla="*/ 203983 w 1254861"/>
              <a:gd name="connsiteY328" fmla="*/ 446260 h 931541"/>
              <a:gd name="connsiteX329" fmla="*/ 205631 w 1254861"/>
              <a:gd name="connsiteY329" fmla="*/ 441377 h 931541"/>
              <a:gd name="connsiteX330" fmla="*/ 211764 w 1254861"/>
              <a:gd name="connsiteY330" fmla="*/ 436165 h 931541"/>
              <a:gd name="connsiteX331" fmla="*/ 220044 w 1254861"/>
              <a:gd name="connsiteY331" fmla="*/ 430230 h 931541"/>
              <a:gd name="connsiteX332" fmla="*/ 224564 w 1254861"/>
              <a:gd name="connsiteY332" fmla="*/ 425115 h 931541"/>
              <a:gd name="connsiteX333" fmla="*/ 223476 w 1254861"/>
              <a:gd name="connsiteY333" fmla="*/ 421091 h 931541"/>
              <a:gd name="connsiteX334" fmla="*/ 221069 w 1254861"/>
              <a:gd name="connsiteY334" fmla="*/ 416901 h 931541"/>
              <a:gd name="connsiteX335" fmla="*/ 220671 w 1254861"/>
              <a:gd name="connsiteY335" fmla="*/ 412977 h 931541"/>
              <a:gd name="connsiteX336" fmla="*/ 222188 w 1254861"/>
              <a:gd name="connsiteY336" fmla="*/ 408160 h 931541"/>
              <a:gd name="connsiteX337" fmla="*/ 222749 w 1254861"/>
              <a:gd name="connsiteY337" fmla="*/ 391669 h 931541"/>
              <a:gd name="connsiteX338" fmla="*/ 223805 w 1254861"/>
              <a:gd name="connsiteY338" fmla="*/ 387448 h 931541"/>
              <a:gd name="connsiteX339" fmla="*/ 222188 w 1254861"/>
              <a:gd name="connsiteY339" fmla="*/ 372404 h 931541"/>
              <a:gd name="connsiteX340" fmla="*/ 220176 w 1254861"/>
              <a:gd name="connsiteY340" fmla="*/ 360100 h 931541"/>
              <a:gd name="connsiteX341" fmla="*/ 213614 w 1254861"/>
              <a:gd name="connsiteY341" fmla="*/ 344135 h 931541"/>
              <a:gd name="connsiteX342" fmla="*/ 214801 w 1254861"/>
              <a:gd name="connsiteY342" fmla="*/ 340607 h 931541"/>
              <a:gd name="connsiteX343" fmla="*/ 217835 w 1254861"/>
              <a:gd name="connsiteY343" fmla="*/ 337639 h 931541"/>
              <a:gd name="connsiteX344" fmla="*/ 227763 w 1254861"/>
              <a:gd name="connsiteY344" fmla="*/ 332098 h 931541"/>
              <a:gd name="connsiteX345" fmla="*/ 235680 w 1254861"/>
              <a:gd name="connsiteY345" fmla="*/ 319035 h 931541"/>
              <a:gd name="connsiteX346" fmla="*/ 247191 w 1254861"/>
              <a:gd name="connsiteY346" fmla="*/ 308082 h 931541"/>
              <a:gd name="connsiteX347" fmla="*/ 262265 w 1254861"/>
              <a:gd name="connsiteY347" fmla="*/ 299275 h 931541"/>
              <a:gd name="connsiteX348" fmla="*/ 272821 w 1254861"/>
              <a:gd name="connsiteY348" fmla="*/ 289478 h 931541"/>
              <a:gd name="connsiteX349" fmla="*/ 276977 w 1254861"/>
              <a:gd name="connsiteY349" fmla="*/ 281960 h 931541"/>
              <a:gd name="connsiteX350" fmla="*/ 279913 w 1254861"/>
              <a:gd name="connsiteY350" fmla="*/ 279979 h 931541"/>
              <a:gd name="connsiteX351" fmla="*/ 279058 w 1254861"/>
              <a:gd name="connsiteY351" fmla="*/ 276482 h 931541"/>
              <a:gd name="connsiteX352" fmla="*/ 277077 w 1254861"/>
              <a:gd name="connsiteY352" fmla="*/ 271405 h 931541"/>
              <a:gd name="connsiteX353" fmla="*/ 271072 w 1254861"/>
              <a:gd name="connsiteY353" fmla="*/ 266422 h 931541"/>
              <a:gd name="connsiteX354" fmla="*/ 263322 w 1254861"/>
              <a:gd name="connsiteY354" fmla="*/ 263585 h 931541"/>
              <a:gd name="connsiteX355" fmla="*/ 254713 w 1254861"/>
              <a:gd name="connsiteY355" fmla="*/ 263717 h 931541"/>
              <a:gd name="connsiteX356" fmla="*/ 249369 w 1254861"/>
              <a:gd name="connsiteY356" fmla="*/ 262695 h 931541"/>
              <a:gd name="connsiteX357" fmla="*/ 247818 w 1254861"/>
              <a:gd name="connsiteY357" fmla="*/ 258803 h 931541"/>
              <a:gd name="connsiteX358" fmla="*/ 248414 w 1254861"/>
              <a:gd name="connsiteY358" fmla="*/ 248248 h 931541"/>
              <a:gd name="connsiteX359" fmla="*/ 247949 w 1254861"/>
              <a:gd name="connsiteY359" fmla="*/ 237793 h 931541"/>
              <a:gd name="connsiteX360" fmla="*/ 246301 w 1254861"/>
              <a:gd name="connsiteY360" fmla="*/ 232976 h 931541"/>
              <a:gd name="connsiteX361" fmla="*/ 242312 w 1254861"/>
              <a:gd name="connsiteY361" fmla="*/ 229346 h 931541"/>
              <a:gd name="connsiteX362" fmla="*/ 234426 w 1254861"/>
              <a:gd name="connsiteY362" fmla="*/ 230306 h 931541"/>
              <a:gd name="connsiteX363" fmla="*/ 227601 w 1254861"/>
              <a:gd name="connsiteY363" fmla="*/ 227334 h 931541"/>
              <a:gd name="connsiteX364" fmla="*/ 222420 w 1254861"/>
              <a:gd name="connsiteY364" fmla="*/ 226642 h 931541"/>
              <a:gd name="connsiteX365" fmla="*/ 219418 w 1254861"/>
              <a:gd name="connsiteY365" fmla="*/ 228983 h 931541"/>
              <a:gd name="connsiteX366" fmla="*/ 204146 w 1254861"/>
              <a:gd name="connsiteY366" fmla="*/ 228290 h 931541"/>
              <a:gd name="connsiteX367" fmla="*/ 197781 w 1254861"/>
              <a:gd name="connsiteY367" fmla="*/ 226611 h 931541"/>
              <a:gd name="connsiteX368" fmla="*/ 193327 w 1254861"/>
              <a:gd name="connsiteY368" fmla="*/ 224529 h 931541"/>
              <a:gd name="connsiteX369" fmla="*/ 190491 w 1254861"/>
              <a:gd name="connsiteY369" fmla="*/ 225686 h 931541"/>
              <a:gd name="connsiteX370" fmla="*/ 188874 w 1254861"/>
              <a:gd name="connsiteY370" fmla="*/ 227733 h 931541"/>
              <a:gd name="connsiteX371" fmla="*/ 188610 w 1254861"/>
              <a:gd name="connsiteY371" fmla="*/ 230929 h 931541"/>
              <a:gd name="connsiteX372" fmla="*/ 187554 w 1254861"/>
              <a:gd name="connsiteY372" fmla="*/ 235154 h 931541"/>
              <a:gd name="connsiteX373" fmla="*/ 182079 w 1254861"/>
              <a:gd name="connsiteY373" fmla="*/ 238980 h 931541"/>
              <a:gd name="connsiteX374" fmla="*/ 169578 w 1254861"/>
              <a:gd name="connsiteY374" fmla="*/ 242773 h 931541"/>
              <a:gd name="connsiteX375" fmla="*/ 159483 w 1254861"/>
              <a:gd name="connsiteY375" fmla="*/ 242475 h 931541"/>
              <a:gd name="connsiteX376" fmla="*/ 150216 w 1254861"/>
              <a:gd name="connsiteY376" fmla="*/ 239770 h 931541"/>
              <a:gd name="connsiteX377" fmla="*/ 147248 w 1254861"/>
              <a:gd name="connsiteY377" fmla="*/ 237758 h 931541"/>
              <a:gd name="connsiteX378" fmla="*/ 142794 w 1254861"/>
              <a:gd name="connsiteY378" fmla="*/ 235978 h 931541"/>
              <a:gd name="connsiteX379" fmla="*/ 123959 w 1254861"/>
              <a:gd name="connsiteY379" fmla="*/ 238187 h 931541"/>
              <a:gd name="connsiteX380" fmla="*/ 121684 w 1254861"/>
              <a:gd name="connsiteY380" fmla="*/ 236570 h 931541"/>
              <a:gd name="connsiteX381" fmla="*/ 115184 w 1254861"/>
              <a:gd name="connsiteY381" fmla="*/ 240497 h 931541"/>
              <a:gd name="connsiteX382" fmla="*/ 105619 w 1254861"/>
              <a:gd name="connsiteY382" fmla="*/ 245179 h 931541"/>
              <a:gd name="connsiteX383" fmla="*/ 100241 w 1254861"/>
              <a:gd name="connsiteY383" fmla="*/ 245443 h 931541"/>
              <a:gd name="connsiteX384" fmla="*/ 98295 w 1254861"/>
              <a:gd name="connsiteY384" fmla="*/ 244456 h 931541"/>
              <a:gd name="connsiteX385" fmla="*/ 97602 w 1254861"/>
              <a:gd name="connsiteY385" fmla="*/ 242378 h 931541"/>
              <a:gd name="connsiteX386" fmla="*/ 93578 w 1254861"/>
              <a:gd name="connsiteY386" fmla="*/ 235088 h 931541"/>
              <a:gd name="connsiteX387" fmla="*/ 94634 w 1254861"/>
              <a:gd name="connsiteY387" fmla="*/ 231227 h 931541"/>
              <a:gd name="connsiteX388" fmla="*/ 102353 w 1254861"/>
              <a:gd name="connsiteY388" fmla="*/ 219913 h 931541"/>
              <a:gd name="connsiteX389" fmla="*/ 101494 w 1254861"/>
              <a:gd name="connsiteY389" fmla="*/ 217208 h 931541"/>
              <a:gd name="connsiteX390" fmla="*/ 98329 w 1254861"/>
              <a:gd name="connsiteY390" fmla="*/ 213548 h 931541"/>
              <a:gd name="connsiteX391" fmla="*/ 95493 w 1254861"/>
              <a:gd name="connsiteY391" fmla="*/ 208270 h 931541"/>
              <a:gd name="connsiteX392" fmla="*/ 94669 w 1254861"/>
              <a:gd name="connsiteY392" fmla="*/ 205531 h 931541"/>
              <a:gd name="connsiteX393" fmla="*/ 89751 w 1254861"/>
              <a:gd name="connsiteY393" fmla="*/ 205070 h 931541"/>
              <a:gd name="connsiteX394" fmla="*/ 84508 w 1254861"/>
              <a:gd name="connsiteY394" fmla="*/ 207841 h 931541"/>
              <a:gd name="connsiteX395" fmla="*/ 64551 w 1254861"/>
              <a:gd name="connsiteY395" fmla="*/ 213548 h 931541"/>
              <a:gd name="connsiteX396" fmla="*/ 59768 w 1254861"/>
              <a:gd name="connsiteY396" fmla="*/ 215626 h 931541"/>
              <a:gd name="connsiteX397" fmla="*/ 51128 w 1254861"/>
              <a:gd name="connsiteY397" fmla="*/ 221101 h 931541"/>
              <a:gd name="connsiteX398" fmla="*/ 42384 w 1254861"/>
              <a:gd name="connsiteY398" fmla="*/ 229478 h 931541"/>
              <a:gd name="connsiteX399" fmla="*/ 35427 w 1254861"/>
              <a:gd name="connsiteY399" fmla="*/ 231227 h 931541"/>
              <a:gd name="connsiteX400" fmla="*/ 33016 w 1254861"/>
              <a:gd name="connsiteY400" fmla="*/ 228754 h 931541"/>
              <a:gd name="connsiteX401" fmla="*/ 32192 w 1254861"/>
              <a:gd name="connsiteY401" fmla="*/ 209095 h 931541"/>
              <a:gd name="connsiteX402" fmla="*/ 42813 w 1254861"/>
              <a:gd name="connsiteY402" fmla="*/ 195997 h 931541"/>
              <a:gd name="connsiteX403" fmla="*/ 50370 w 1254861"/>
              <a:gd name="connsiteY403" fmla="*/ 188084 h 931541"/>
              <a:gd name="connsiteX404" fmla="*/ 46837 w 1254861"/>
              <a:gd name="connsiteY404" fmla="*/ 186467 h 931541"/>
              <a:gd name="connsiteX405" fmla="*/ 38824 w 1254861"/>
              <a:gd name="connsiteY405" fmla="*/ 186699 h 931541"/>
              <a:gd name="connsiteX406" fmla="*/ 39385 w 1254861"/>
              <a:gd name="connsiteY406" fmla="*/ 180563 h 931541"/>
              <a:gd name="connsiteX407" fmla="*/ 43146 w 1254861"/>
              <a:gd name="connsiteY407" fmla="*/ 177595 h 931541"/>
              <a:gd name="connsiteX408" fmla="*/ 46771 w 1254861"/>
              <a:gd name="connsiteY408" fmla="*/ 170897 h 931541"/>
              <a:gd name="connsiteX409" fmla="*/ 42519 w 1254861"/>
              <a:gd name="connsiteY409" fmla="*/ 168026 h 931541"/>
              <a:gd name="connsiteX410" fmla="*/ 39187 w 1254861"/>
              <a:gd name="connsiteY410" fmla="*/ 163608 h 931541"/>
              <a:gd name="connsiteX411" fmla="*/ 39385 w 1254861"/>
              <a:gd name="connsiteY411" fmla="*/ 152062 h 931541"/>
              <a:gd name="connsiteX412" fmla="*/ 40309 w 1254861"/>
              <a:gd name="connsiteY412" fmla="*/ 147380 h 931541"/>
              <a:gd name="connsiteX413" fmla="*/ 39219 w 1254861"/>
              <a:gd name="connsiteY413" fmla="*/ 142300 h 931541"/>
              <a:gd name="connsiteX414" fmla="*/ 22890 w 1254861"/>
              <a:gd name="connsiteY414" fmla="*/ 149160 h 931541"/>
              <a:gd name="connsiteX415" fmla="*/ 18704 w 1254861"/>
              <a:gd name="connsiteY415" fmla="*/ 148138 h 931541"/>
              <a:gd name="connsiteX416" fmla="*/ 18537 w 1254861"/>
              <a:gd name="connsiteY416" fmla="*/ 139560 h 931541"/>
              <a:gd name="connsiteX417" fmla="*/ 27576 w 1254861"/>
              <a:gd name="connsiteY417" fmla="*/ 126467 h 931541"/>
              <a:gd name="connsiteX418" fmla="*/ 28501 w 1254861"/>
              <a:gd name="connsiteY418" fmla="*/ 122443 h 931541"/>
              <a:gd name="connsiteX419" fmla="*/ 17911 w 1254861"/>
              <a:gd name="connsiteY419" fmla="*/ 120496 h 931541"/>
              <a:gd name="connsiteX420" fmla="*/ 9994 w 1254861"/>
              <a:gd name="connsiteY420" fmla="*/ 114062 h 931541"/>
              <a:gd name="connsiteX421" fmla="*/ 5177 w 1254861"/>
              <a:gd name="connsiteY421" fmla="*/ 108289 h 931541"/>
              <a:gd name="connsiteX422" fmla="*/ 31 w 1254861"/>
              <a:gd name="connsiteY422" fmla="*/ 100013 h 931541"/>
              <a:gd name="connsiteX423" fmla="*/ 0 w 1254861"/>
              <a:gd name="connsiteY423" fmla="*/ 92557 h 931541"/>
              <a:gd name="connsiteX424" fmla="*/ 5343 w 1254861"/>
              <a:gd name="connsiteY424" fmla="*/ 75106 h 931541"/>
              <a:gd name="connsiteX425" fmla="*/ 12962 w 1254861"/>
              <a:gd name="connsiteY425" fmla="*/ 70026 h 931541"/>
              <a:gd name="connsiteX426" fmla="*/ 19559 w 1254861"/>
              <a:gd name="connsiteY426" fmla="*/ 66896 h 931541"/>
              <a:gd name="connsiteX427" fmla="*/ 33512 w 1254861"/>
              <a:gd name="connsiteY427" fmla="*/ 54789 h 931541"/>
              <a:gd name="connsiteX428" fmla="*/ 52742 w 1254861"/>
              <a:gd name="connsiteY428" fmla="*/ 57033 h 931541"/>
              <a:gd name="connsiteX429" fmla="*/ 64651 w 1254861"/>
              <a:gd name="connsiteY429" fmla="*/ 54425 h 931541"/>
              <a:gd name="connsiteX430" fmla="*/ 75338 w 1254861"/>
              <a:gd name="connsiteY430" fmla="*/ 48226 h 931541"/>
              <a:gd name="connsiteX431" fmla="*/ 81475 w 1254861"/>
              <a:gd name="connsiteY431" fmla="*/ 46838 h 931541"/>
              <a:gd name="connsiteX432" fmla="*/ 91337 w 1254861"/>
              <a:gd name="connsiteY432" fmla="*/ 41428 h 931541"/>
              <a:gd name="connsiteX433" fmla="*/ 91005 w 1254861"/>
              <a:gd name="connsiteY433" fmla="*/ 34108 h 931541"/>
              <a:gd name="connsiteX434" fmla="*/ 87608 w 1254861"/>
              <a:gd name="connsiteY434" fmla="*/ 28664 h 931541"/>
              <a:gd name="connsiteX435" fmla="*/ 90575 w 1254861"/>
              <a:gd name="connsiteY435" fmla="*/ 23552 h 931541"/>
              <a:gd name="connsiteX436" fmla="*/ 101629 w 1254861"/>
              <a:gd name="connsiteY436" fmla="*/ 17284 h 931541"/>
              <a:gd name="connsiteX437" fmla="*/ 113899 w 1254861"/>
              <a:gd name="connsiteY437" fmla="*/ 8973 h 931541"/>
              <a:gd name="connsiteX438" fmla="*/ 127983 w 1254861"/>
              <a:gd name="connsiteY438" fmla="*/ 7356 h 931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</a:cxnLst>
            <a:rect l="l" t="t" r="r" b="b"/>
            <a:pathLst>
              <a:path w="1254861" h="931541">
                <a:moveTo>
                  <a:pt x="987712" y="613164"/>
                </a:moveTo>
                <a:lnTo>
                  <a:pt x="993322" y="619827"/>
                </a:lnTo>
                <a:lnTo>
                  <a:pt x="1002195" y="621081"/>
                </a:lnTo>
                <a:lnTo>
                  <a:pt x="1002295" y="624544"/>
                </a:lnTo>
                <a:lnTo>
                  <a:pt x="1000214" y="626095"/>
                </a:lnTo>
                <a:lnTo>
                  <a:pt x="994081" y="624675"/>
                </a:lnTo>
                <a:lnTo>
                  <a:pt x="984876" y="624675"/>
                </a:lnTo>
                <a:lnTo>
                  <a:pt x="984516" y="619893"/>
                </a:lnTo>
                <a:lnTo>
                  <a:pt x="985932" y="616562"/>
                </a:lnTo>
                <a:close/>
                <a:moveTo>
                  <a:pt x="999556" y="571338"/>
                </a:moveTo>
                <a:lnTo>
                  <a:pt x="1004075" y="575365"/>
                </a:lnTo>
                <a:lnTo>
                  <a:pt x="1005031" y="581135"/>
                </a:lnTo>
                <a:lnTo>
                  <a:pt x="993090" y="593737"/>
                </a:lnTo>
                <a:lnTo>
                  <a:pt x="988505" y="595354"/>
                </a:lnTo>
                <a:lnTo>
                  <a:pt x="985143" y="602644"/>
                </a:lnTo>
                <a:lnTo>
                  <a:pt x="971059" y="600071"/>
                </a:lnTo>
                <a:lnTo>
                  <a:pt x="967956" y="597134"/>
                </a:lnTo>
                <a:lnTo>
                  <a:pt x="970989" y="588888"/>
                </a:lnTo>
                <a:lnTo>
                  <a:pt x="975048" y="587898"/>
                </a:lnTo>
                <a:lnTo>
                  <a:pt x="975311" y="582028"/>
                </a:lnTo>
                <a:lnTo>
                  <a:pt x="979567" y="576124"/>
                </a:lnTo>
                <a:close/>
                <a:moveTo>
                  <a:pt x="1147199" y="469746"/>
                </a:moveTo>
                <a:lnTo>
                  <a:pt x="1150793" y="470865"/>
                </a:lnTo>
                <a:lnTo>
                  <a:pt x="1147725" y="475287"/>
                </a:lnTo>
                <a:lnTo>
                  <a:pt x="1147957" y="477299"/>
                </a:lnTo>
                <a:lnTo>
                  <a:pt x="1150894" y="479443"/>
                </a:lnTo>
                <a:lnTo>
                  <a:pt x="1150201" y="482871"/>
                </a:lnTo>
                <a:lnTo>
                  <a:pt x="1147230" y="485843"/>
                </a:lnTo>
                <a:lnTo>
                  <a:pt x="1145914" y="491449"/>
                </a:lnTo>
                <a:lnTo>
                  <a:pt x="1154786" y="495439"/>
                </a:lnTo>
                <a:lnTo>
                  <a:pt x="1164154" y="491844"/>
                </a:lnTo>
                <a:lnTo>
                  <a:pt x="1169134" y="492966"/>
                </a:lnTo>
                <a:lnTo>
                  <a:pt x="1174048" y="494912"/>
                </a:lnTo>
                <a:lnTo>
                  <a:pt x="1175235" y="502500"/>
                </a:lnTo>
                <a:lnTo>
                  <a:pt x="1170882" y="510943"/>
                </a:lnTo>
                <a:lnTo>
                  <a:pt x="1164781" y="519521"/>
                </a:lnTo>
                <a:lnTo>
                  <a:pt x="1159635" y="528919"/>
                </a:lnTo>
                <a:lnTo>
                  <a:pt x="1155150" y="539707"/>
                </a:lnTo>
                <a:lnTo>
                  <a:pt x="1146801" y="546072"/>
                </a:lnTo>
                <a:lnTo>
                  <a:pt x="1139251" y="549898"/>
                </a:lnTo>
                <a:lnTo>
                  <a:pt x="1123283" y="541885"/>
                </a:lnTo>
                <a:lnTo>
                  <a:pt x="1113981" y="539873"/>
                </a:lnTo>
                <a:lnTo>
                  <a:pt x="1111211" y="536870"/>
                </a:lnTo>
                <a:lnTo>
                  <a:pt x="1109001" y="524930"/>
                </a:lnTo>
                <a:lnTo>
                  <a:pt x="1104811" y="521134"/>
                </a:lnTo>
                <a:lnTo>
                  <a:pt x="1098643" y="519455"/>
                </a:lnTo>
                <a:lnTo>
                  <a:pt x="1093234" y="522523"/>
                </a:lnTo>
                <a:lnTo>
                  <a:pt x="1086177" y="528822"/>
                </a:lnTo>
                <a:lnTo>
                  <a:pt x="1082416" y="522523"/>
                </a:lnTo>
                <a:lnTo>
                  <a:pt x="1076445" y="521335"/>
                </a:lnTo>
                <a:lnTo>
                  <a:pt x="1074201" y="517540"/>
                </a:lnTo>
                <a:lnTo>
                  <a:pt x="1074302" y="512657"/>
                </a:lnTo>
                <a:lnTo>
                  <a:pt x="1112596" y="483664"/>
                </a:lnTo>
                <a:lnTo>
                  <a:pt x="1123681" y="477233"/>
                </a:lnTo>
                <a:close/>
                <a:moveTo>
                  <a:pt x="1230551" y="457210"/>
                </a:moveTo>
                <a:lnTo>
                  <a:pt x="1245957" y="462356"/>
                </a:lnTo>
                <a:lnTo>
                  <a:pt x="1254238" y="476208"/>
                </a:lnTo>
                <a:lnTo>
                  <a:pt x="1254861" y="478584"/>
                </a:lnTo>
                <a:lnTo>
                  <a:pt x="1252226" y="485247"/>
                </a:lnTo>
                <a:lnTo>
                  <a:pt x="1250543" y="486632"/>
                </a:lnTo>
                <a:lnTo>
                  <a:pt x="1222077" y="472745"/>
                </a:lnTo>
                <a:lnTo>
                  <a:pt x="1212771" y="471197"/>
                </a:lnTo>
                <a:lnTo>
                  <a:pt x="1210496" y="469085"/>
                </a:lnTo>
                <a:lnTo>
                  <a:pt x="1210763" y="461861"/>
                </a:lnTo>
                <a:lnTo>
                  <a:pt x="1211487" y="458661"/>
                </a:lnTo>
                <a:close/>
                <a:moveTo>
                  <a:pt x="142299" y="0"/>
                </a:moveTo>
                <a:lnTo>
                  <a:pt x="151899" y="4748"/>
                </a:lnTo>
                <a:lnTo>
                  <a:pt x="160307" y="3134"/>
                </a:lnTo>
                <a:lnTo>
                  <a:pt x="169972" y="8776"/>
                </a:lnTo>
                <a:lnTo>
                  <a:pt x="182675" y="21672"/>
                </a:lnTo>
                <a:lnTo>
                  <a:pt x="201278" y="26849"/>
                </a:lnTo>
                <a:lnTo>
                  <a:pt x="216121" y="22794"/>
                </a:lnTo>
                <a:lnTo>
                  <a:pt x="242343" y="21935"/>
                </a:lnTo>
                <a:lnTo>
                  <a:pt x="255440" y="23649"/>
                </a:lnTo>
                <a:lnTo>
                  <a:pt x="278725" y="20449"/>
                </a:lnTo>
                <a:lnTo>
                  <a:pt x="292051" y="21606"/>
                </a:lnTo>
                <a:lnTo>
                  <a:pt x="313657" y="15206"/>
                </a:lnTo>
                <a:lnTo>
                  <a:pt x="330380" y="23189"/>
                </a:lnTo>
                <a:lnTo>
                  <a:pt x="362808" y="26915"/>
                </a:lnTo>
                <a:lnTo>
                  <a:pt x="382267" y="33446"/>
                </a:lnTo>
                <a:lnTo>
                  <a:pt x="436165" y="44396"/>
                </a:lnTo>
                <a:lnTo>
                  <a:pt x="455627" y="44531"/>
                </a:lnTo>
                <a:lnTo>
                  <a:pt x="483169" y="38364"/>
                </a:lnTo>
                <a:lnTo>
                  <a:pt x="494846" y="33744"/>
                </a:lnTo>
                <a:lnTo>
                  <a:pt x="505533" y="36483"/>
                </a:lnTo>
                <a:lnTo>
                  <a:pt x="521203" y="31171"/>
                </a:lnTo>
                <a:lnTo>
                  <a:pt x="528722" y="32258"/>
                </a:lnTo>
                <a:lnTo>
                  <a:pt x="538519" y="39815"/>
                </a:lnTo>
                <a:lnTo>
                  <a:pt x="572990" y="50006"/>
                </a:lnTo>
                <a:lnTo>
                  <a:pt x="582028" y="41363"/>
                </a:lnTo>
                <a:lnTo>
                  <a:pt x="588757" y="39482"/>
                </a:lnTo>
                <a:lnTo>
                  <a:pt x="613559" y="44760"/>
                </a:lnTo>
                <a:lnTo>
                  <a:pt x="638562" y="55513"/>
                </a:lnTo>
                <a:lnTo>
                  <a:pt x="651559" y="56274"/>
                </a:lnTo>
                <a:lnTo>
                  <a:pt x="670561" y="53338"/>
                </a:lnTo>
                <a:lnTo>
                  <a:pt x="685635" y="46277"/>
                </a:lnTo>
                <a:lnTo>
                  <a:pt x="688669" y="45158"/>
                </a:lnTo>
                <a:lnTo>
                  <a:pt x="688800" y="49577"/>
                </a:lnTo>
                <a:lnTo>
                  <a:pt x="692430" y="55644"/>
                </a:lnTo>
                <a:lnTo>
                  <a:pt x="696191" y="57888"/>
                </a:lnTo>
                <a:lnTo>
                  <a:pt x="704107" y="60991"/>
                </a:lnTo>
                <a:lnTo>
                  <a:pt x="710209" y="61421"/>
                </a:lnTo>
                <a:lnTo>
                  <a:pt x="718520" y="62872"/>
                </a:lnTo>
                <a:lnTo>
                  <a:pt x="724161" y="66366"/>
                </a:lnTo>
                <a:lnTo>
                  <a:pt x="724491" y="71810"/>
                </a:lnTo>
                <a:lnTo>
                  <a:pt x="723074" y="77877"/>
                </a:lnTo>
                <a:lnTo>
                  <a:pt x="719642" y="83452"/>
                </a:lnTo>
                <a:lnTo>
                  <a:pt x="717696" y="87708"/>
                </a:lnTo>
                <a:lnTo>
                  <a:pt x="719511" y="90150"/>
                </a:lnTo>
                <a:lnTo>
                  <a:pt x="722478" y="92061"/>
                </a:lnTo>
                <a:lnTo>
                  <a:pt x="725678" y="92588"/>
                </a:lnTo>
                <a:lnTo>
                  <a:pt x="727857" y="91964"/>
                </a:lnTo>
                <a:lnTo>
                  <a:pt x="729505" y="88598"/>
                </a:lnTo>
                <a:lnTo>
                  <a:pt x="732639" y="84477"/>
                </a:lnTo>
                <a:lnTo>
                  <a:pt x="734384" y="83948"/>
                </a:lnTo>
                <a:lnTo>
                  <a:pt x="734253" y="86289"/>
                </a:lnTo>
                <a:lnTo>
                  <a:pt x="735738" y="89191"/>
                </a:lnTo>
                <a:lnTo>
                  <a:pt x="745930" y="94042"/>
                </a:lnTo>
                <a:lnTo>
                  <a:pt x="768294" y="103081"/>
                </a:lnTo>
                <a:lnTo>
                  <a:pt x="777070" y="103244"/>
                </a:lnTo>
                <a:lnTo>
                  <a:pt x="784162" y="104300"/>
                </a:lnTo>
                <a:lnTo>
                  <a:pt x="786240" y="108092"/>
                </a:lnTo>
                <a:lnTo>
                  <a:pt x="800490" y="122013"/>
                </a:lnTo>
                <a:lnTo>
                  <a:pt x="803887" y="121650"/>
                </a:lnTo>
                <a:lnTo>
                  <a:pt x="810221" y="121979"/>
                </a:lnTo>
                <a:lnTo>
                  <a:pt x="817871" y="120860"/>
                </a:lnTo>
                <a:lnTo>
                  <a:pt x="823415" y="118252"/>
                </a:lnTo>
                <a:lnTo>
                  <a:pt x="827041" y="118682"/>
                </a:lnTo>
                <a:lnTo>
                  <a:pt x="831065" y="121386"/>
                </a:lnTo>
                <a:lnTo>
                  <a:pt x="835751" y="123727"/>
                </a:lnTo>
                <a:lnTo>
                  <a:pt x="841821" y="128312"/>
                </a:lnTo>
                <a:lnTo>
                  <a:pt x="847227" y="133954"/>
                </a:lnTo>
                <a:lnTo>
                  <a:pt x="850957" y="135800"/>
                </a:lnTo>
                <a:lnTo>
                  <a:pt x="873418" y="132007"/>
                </a:lnTo>
                <a:lnTo>
                  <a:pt x="878433" y="135339"/>
                </a:lnTo>
                <a:lnTo>
                  <a:pt x="883745" y="135304"/>
                </a:lnTo>
                <a:lnTo>
                  <a:pt x="889715" y="134449"/>
                </a:lnTo>
                <a:lnTo>
                  <a:pt x="902712" y="136198"/>
                </a:lnTo>
                <a:lnTo>
                  <a:pt x="913267" y="135768"/>
                </a:lnTo>
                <a:lnTo>
                  <a:pt x="914223" y="134383"/>
                </a:lnTo>
                <a:lnTo>
                  <a:pt x="915113" y="121847"/>
                </a:lnTo>
                <a:lnTo>
                  <a:pt x="916796" y="117394"/>
                </a:lnTo>
                <a:lnTo>
                  <a:pt x="919303" y="116206"/>
                </a:lnTo>
                <a:lnTo>
                  <a:pt x="925537" y="117099"/>
                </a:lnTo>
                <a:lnTo>
                  <a:pt x="948265" y="124520"/>
                </a:lnTo>
                <a:lnTo>
                  <a:pt x="957632" y="129171"/>
                </a:lnTo>
                <a:lnTo>
                  <a:pt x="966636" y="132801"/>
                </a:lnTo>
                <a:lnTo>
                  <a:pt x="974487" y="133195"/>
                </a:lnTo>
                <a:lnTo>
                  <a:pt x="979699" y="135637"/>
                </a:lnTo>
                <a:lnTo>
                  <a:pt x="986988" y="147511"/>
                </a:lnTo>
                <a:lnTo>
                  <a:pt x="985735" y="153482"/>
                </a:lnTo>
                <a:lnTo>
                  <a:pt x="986396" y="155691"/>
                </a:lnTo>
                <a:lnTo>
                  <a:pt x="987155" y="159816"/>
                </a:lnTo>
                <a:lnTo>
                  <a:pt x="986957" y="164397"/>
                </a:lnTo>
                <a:lnTo>
                  <a:pt x="988869" y="167400"/>
                </a:lnTo>
                <a:lnTo>
                  <a:pt x="992332" y="167763"/>
                </a:lnTo>
                <a:lnTo>
                  <a:pt x="996751" y="166873"/>
                </a:lnTo>
                <a:lnTo>
                  <a:pt x="1001602" y="165093"/>
                </a:lnTo>
                <a:lnTo>
                  <a:pt x="1010111" y="160013"/>
                </a:lnTo>
                <a:lnTo>
                  <a:pt x="1012649" y="159189"/>
                </a:lnTo>
                <a:lnTo>
                  <a:pt x="1026900" y="164958"/>
                </a:lnTo>
                <a:lnTo>
                  <a:pt x="1033199" y="168819"/>
                </a:lnTo>
                <a:lnTo>
                  <a:pt x="1035377" y="173010"/>
                </a:lnTo>
                <a:lnTo>
                  <a:pt x="1038643" y="177297"/>
                </a:lnTo>
                <a:lnTo>
                  <a:pt x="1042899" y="177924"/>
                </a:lnTo>
                <a:lnTo>
                  <a:pt x="1048970" y="173865"/>
                </a:lnTo>
                <a:lnTo>
                  <a:pt x="1058434" y="169512"/>
                </a:lnTo>
                <a:lnTo>
                  <a:pt x="1074531" y="173339"/>
                </a:lnTo>
                <a:lnTo>
                  <a:pt x="1092441" y="178880"/>
                </a:lnTo>
                <a:lnTo>
                  <a:pt x="1100195" y="179541"/>
                </a:lnTo>
                <a:lnTo>
                  <a:pt x="1100458" y="176833"/>
                </a:lnTo>
                <a:lnTo>
                  <a:pt x="1101875" y="172975"/>
                </a:lnTo>
                <a:lnTo>
                  <a:pt x="1104811" y="171029"/>
                </a:lnTo>
                <a:lnTo>
                  <a:pt x="1109233" y="170468"/>
                </a:lnTo>
                <a:lnTo>
                  <a:pt x="1115367" y="168425"/>
                </a:lnTo>
                <a:lnTo>
                  <a:pt x="1122358" y="165059"/>
                </a:lnTo>
                <a:lnTo>
                  <a:pt x="1129651" y="163673"/>
                </a:lnTo>
                <a:lnTo>
                  <a:pt x="1137270" y="166181"/>
                </a:lnTo>
                <a:lnTo>
                  <a:pt x="1146471" y="168227"/>
                </a:lnTo>
                <a:lnTo>
                  <a:pt x="1151981" y="168193"/>
                </a:lnTo>
                <a:lnTo>
                  <a:pt x="1154620" y="176109"/>
                </a:lnTo>
                <a:lnTo>
                  <a:pt x="1159073" y="179112"/>
                </a:lnTo>
                <a:lnTo>
                  <a:pt x="1160822" y="185972"/>
                </a:lnTo>
                <a:lnTo>
                  <a:pt x="1152639" y="189535"/>
                </a:lnTo>
                <a:lnTo>
                  <a:pt x="1147825" y="190027"/>
                </a:lnTo>
                <a:lnTo>
                  <a:pt x="1146340" y="201739"/>
                </a:lnTo>
                <a:lnTo>
                  <a:pt x="1148650" y="205036"/>
                </a:lnTo>
                <a:lnTo>
                  <a:pt x="1153235" y="208139"/>
                </a:lnTo>
                <a:lnTo>
                  <a:pt x="1154488" y="211733"/>
                </a:lnTo>
                <a:lnTo>
                  <a:pt x="1155413" y="228886"/>
                </a:lnTo>
                <a:lnTo>
                  <a:pt x="1146045" y="239209"/>
                </a:lnTo>
                <a:lnTo>
                  <a:pt x="1132917" y="250789"/>
                </a:lnTo>
                <a:lnTo>
                  <a:pt x="1068661" y="287896"/>
                </a:lnTo>
                <a:lnTo>
                  <a:pt x="1053354" y="305807"/>
                </a:lnTo>
                <a:lnTo>
                  <a:pt x="1047515" y="309931"/>
                </a:lnTo>
                <a:lnTo>
                  <a:pt x="999753" y="321179"/>
                </a:lnTo>
                <a:lnTo>
                  <a:pt x="966373" y="333185"/>
                </a:lnTo>
                <a:lnTo>
                  <a:pt x="950374" y="337538"/>
                </a:lnTo>
                <a:lnTo>
                  <a:pt x="930385" y="358351"/>
                </a:lnTo>
                <a:lnTo>
                  <a:pt x="920917" y="366732"/>
                </a:lnTo>
                <a:lnTo>
                  <a:pt x="928473" y="369042"/>
                </a:lnTo>
                <a:lnTo>
                  <a:pt x="937280" y="378970"/>
                </a:lnTo>
                <a:lnTo>
                  <a:pt x="934312" y="383354"/>
                </a:lnTo>
                <a:lnTo>
                  <a:pt x="921478" y="390152"/>
                </a:lnTo>
                <a:lnTo>
                  <a:pt x="915871" y="392230"/>
                </a:lnTo>
                <a:lnTo>
                  <a:pt x="912838" y="391139"/>
                </a:lnTo>
                <a:lnTo>
                  <a:pt x="909967" y="392064"/>
                </a:lnTo>
                <a:lnTo>
                  <a:pt x="888462" y="427854"/>
                </a:lnTo>
                <a:lnTo>
                  <a:pt x="869460" y="453515"/>
                </a:lnTo>
                <a:lnTo>
                  <a:pt x="858773" y="464666"/>
                </a:lnTo>
                <a:lnTo>
                  <a:pt x="847823" y="481258"/>
                </a:lnTo>
                <a:lnTo>
                  <a:pt x="824503" y="523908"/>
                </a:lnTo>
                <a:lnTo>
                  <a:pt x="824337" y="536178"/>
                </a:lnTo>
                <a:lnTo>
                  <a:pt x="835817" y="578364"/>
                </a:lnTo>
                <a:lnTo>
                  <a:pt x="842414" y="589415"/>
                </a:lnTo>
                <a:lnTo>
                  <a:pt x="851650" y="598685"/>
                </a:lnTo>
                <a:lnTo>
                  <a:pt x="869131" y="606567"/>
                </a:lnTo>
                <a:lnTo>
                  <a:pt x="873453" y="614321"/>
                </a:lnTo>
                <a:lnTo>
                  <a:pt x="867417" y="621708"/>
                </a:lnTo>
                <a:lnTo>
                  <a:pt x="849932" y="634805"/>
                </a:lnTo>
                <a:lnTo>
                  <a:pt x="819519" y="652484"/>
                </a:lnTo>
                <a:lnTo>
                  <a:pt x="806592" y="666405"/>
                </a:lnTo>
                <a:lnTo>
                  <a:pt x="803853" y="679796"/>
                </a:lnTo>
                <a:lnTo>
                  <a:pt x="794946" y="685833"/>
                </a:lnTo>
                <a:lnTo>
                  <a:pt x="791583" y="704533"/>
                </a:lnTo>
                <a:lnTo>
                  <a:pt x="786174" y="716903"/>
                </a:lnTo>
                <a:lnTo>
                  <a:pt x="785149" y="721093"/>
                </a:lnTo>
                <a:lnTo>
                  <a:pt x="779411" y="730461"/>
                </a:lnTo>
                <a:lnTo>
                  <a:pt x="778652" y="737290"/>
                </a:lnTo>
                <a:lnTo>
                  <a:pt x="788054" y="746657"/>
                </a:lnTo>
                <a:lnTo>
                  <a:pt x="783404" y="750716"/>
                </a:lnTo>
                <a:lnTo>
                  <a:pt x="778753" y="752496"/>
                </a:lnTo>
                <a:lnTo>
                  <a:pt x="768031" y="753583"/>
                </a:lnTo>
                <a:lnTo>
                  <a:pt x="731977" y="754771"/>
                </a:lnTo>
                <a:lnTo>
                  <a:pt x="702985" y="774992"/>
                </a:lnTo>
                <a:lnTo>
                  <a:pt x="688503" y="792868"/>
                </a:lnTo>
                <a:lnTo>
                  <a:pt x="675374" y="826019"/>
                </a:lnTo>
                <a:lnTo>
                  <a:pt x="659444" y="845513"/>
                </a:lnTo>
                <a:lnTo>
                  <a:pt x="652418" y="849111"/>
                </a:lnTo>
                <a:lnTo>
                  <a:pt x="641499" y="840568"/>
                </a:lnTo>
                <a:lnTo>
                  <a:pt x="627844" y="839248"/>
                </a:lnTo>
                <a:lnTo>
                  <a:pt x="614615" y="842084"/>
                </a:lnTo>
                <a:lnTo>
                  <a:pt x="607689" y="848879"/>
                </a:lnTo>
                <a:lnTo>
                  <a:pt x="596871" y="852671"/>
                </a:lnTo>
                <a:lnTo>
                  <a:pt x="586281" y="849405"/>
                </a:lnTo>
                <a:lnTo>
                  <a:pt x="563390" y="847625"/>
                </a:lnTo>
                <a:lnTo>
                  <a:pt x="553198" y="847954"/>
                </a:lnTo>
                <a:lnTo>
                  <a:pt x="537265" y="853464"/>
                </a:lnTo>
                <a:lnTo>
                  <a:pt x="523610" y="849804"/>
                </a:lnTo>
                <a:lnTo>
                  <a:pt x="500553" y="847923"/>
                </a:lnTo>
                <a:lnTo>
                  <a:pt x="450648" y="852307"/>
                </a:lnTo>
                <a:lnTo>
                  <a:pt x="444345" y="854354"/>
                </a:lnTo>
                <a:lnTo>
                  <a:pt x="438111" y="862534"/>
                </a:lnTo>
                <a:lnTo>
                  <a:pt x="422213" y="876618"/>
                </a:lnTo>
                <a:lnTo>
                  <a:pt x="398034" y="877113"/>
                </a:lnTo>
                <a:lnTo>
                  <a:pt x="376165" y="886086"/>
                </a:lnTo>
                <a:lnTo>
                  <a:pt x="370690" y="891824"/>
                </a:lnTo>
                <a:lnTo>
                  <a:pt x="361519" y="907626"/>
                </a:lnTo>
                <a:lnTo>
                  <a:pt x="358649" y="919137"/>
                </a:lnTo>
                <a:lnTo>
                  <a:pt x="356737" y="919237"/>
                </a:lnTo>
                <a:lnTo>
                  <a:pt x="354361" y="916398"/>
                </a:lnTo>
                <a:lnTo>
                  <a:pt x="350999" y="917322"/>
                </a:lnTo>
                <a:lnTo>
                  <a:pt x="349250" y="926098"/>
                </a:lnTo>
                <a:lnTo>
                  <a:pt x="341036" y="930087"/>
                </a:lnTo>
                <a:lnTo>
                  <a:pt x="334175" y="931541"/>
                </a:lnTo>
                <a:lnTo>
                  <a:pt x="317251" y="924449"/>
                </a:lnTo>
                <a:lnTo>
                  <a:pt x="303136" y="913793"/>
                </a:lnTo>
                <a:lnTo>
                  <a:pt x="295746" y="913035"/>
                </a:lnTo>
                <a:lnTo>
                  <a:pt x="283740" y="896409"/>
                </a:lnTo>
                <a:lnTo>
                  <a:pt x="278563" y="885823"/>
                </a:lnTo>
                <a:lnTo>
                  <a:pt x="274899" y="874343"/>
                </a:lnTo>
                <a:lnTo>
                  <a:pt x="275657" y="869955"/>
                </a:lnTo>
                <a:lnTo>
                  <a:pt x="274635" y="866295"/>
                </a:lnTo>
                <a:lnTo>
                  <a:pt x="263983" y="861644"/>
                </a:lnTo>
                <a:lnTo>
                  <a:pt x="261375" y="851088"/>
                </a:lnTo>
                <a:lnTo>
                  <a:pt x="269160" y="837333"/>
                </a:lnTo>
                <a:lnTo>
                  <a:pt x="275525" y="831495"/>
                </a:lnTo>
                <a:lnTo>
                  <a:pt x="279484" y="829812"/>
                </a:lnTo>
                <a:lnTo>
                  <a:pt x="269853" y="830407"/>
                </a:lnTo>
                <a:lnTo>
                  <a:pt x="262892" y="839248"/>
                </a:lnTo>
                <a:lnTo>
                  <a:pt x="253986" y="825064"/>
                </a:lnTo>
                <a:lnTo>
                  <a:pt x="217669" y="797387"/>
                </a:lnTo>
                <a:lnTo>
                  <a:pt x="220013" y="791022"/>
                </a:lnTo>
                <a:lnTo>
                  <a:pt x="219615" y="787590"/>
                </a:lnTo>
                <a:lnTo>
                  <a:pt x="213513" y="795012"/>
                </a:lnTo>
                <a:lnTo>
                  <a:pt x="209357" y="796927"/>
                </a:lnTo>
                <a:lnTo>
                  <a:pt x="190789" y="795739"/>
                </a:lnTo>
                <a:lnTo>
                  <a:pt x="169411" y="799136"/>
                </a:lnTo>
                <a:lnTo>
                  <a:pt x="163774" y="770306"/>
                </a:lnTo>
                <a:lnTo>
                  <a:pt x="161100" y="759225"/>
                </a:lnTo>
                <a:lnTo>
                  <a:pt x="160407" y="752032"/>
                </a:lnTo>
                <a:lnTo>
                  <a:pt x="165917" y="735409"/>
                </a:lnTo>
                <a:lnTo>
                  <a:pt x="171953" y="728615"/>
                </a:lnTo>
                <a:lnTo>
                  <a:pt x="179967" y="714596"/>
                </a:lnTo>
                <a:lnTo>
                  <a:pt x="189864" y="702919"/>
                </a:lnTo>
                <a:lnTo>
                  <a:pt x="200319" y="700145"/>
                </a:lnTo>
                <a:lnTo>
                  <a:pt x="204939" y="698431"/>
                </a:lnTo>
                <a:lnTo>
                  <a:pt x="208796" y="689393"/>
                </a:lnTo>
                <a:lnTo>
                  <a:pt x="210975" y="681677"/>
                </a:lnTo>
                <a:lnTo>
                  <a:pt x="209392" y="680919"/>
                </a:lnTo>
                <a:lnTo>
                  <a:pt x="197188" y="682501"/>
                </a:lnTo>
                <a:lnTo>
                  <a:pt x="175285" y="650011"/>
                </a:lnTo>
                <a:lnTo>
                  <a:pt x="175977" y="644830"/>
                </a:lnTo>
                <a:lnTo>
                  <a:pt x="178713" y="637146"/>
                </a:lnTo>
                <a:lnTo>
                  <a:pt x="180528" y="627415"/>
                </a:lnTo>
                <a:lnTo>
                  <a:pt x="180988" y="619730"/>
                </a:lnTo>
                <a:lnTo>
                  <a:pt x="186695" y="613099"/>
                </a:lnTo>
                <a:lnTo>
                  <a:pt x="195440" y="606436"/>
                </a:lnTo>
                <a:lnTo>
                  <a:pt x="202795" y="596937"/>
                </a:lnTo>
                <a:lnTo>
                  <a:pt x="206487" y="587666"/>
                </a:lnTo>
                <a:lnTo>
                  <a:pt x="207248" y="579223"/>
                </a:lnTo>
                <a:lnTo>
                  <a:pt x="203089" y="573187"/>
                </a:lnTo>
                <a:lnTo>
                  <a:pt x="191118" y="569856"/>
                </a:lnTo>
                <a:lnTo>
                  <a:pt x="178748" y="545708"/>
                </a:lnTo>
                <a:lnTo>
                  <a:pt x="176008" y="530571"/>
                </a:lnTo>
                <a:lnTo>
                  <a:pt x="173470" y="528985"/>
                </a:lnTo>
                <a:lnTo>
                  <a:pt x="165851" y="522094"/>
                </a:lnTo>
                <a:lnTo>
                  <a:pt x="158527" y="509097"/>
                </a:lnTo>
                <a:lnTo>
                  <a:pt x="157471" y="507050"/>
                </a:lnTo>
                <a:lnTo>
                  <a:pt x="165027" y="504775"/>
                </a:lnTo>
                <a:lnTo>
                  <a:pt x="196163" y="504675"/>
                </a:lnTo>
                <a:lnTo>
                  <a:pt x="202663" y="501807"/>
                </a:lnTo>
                <a:lnTo>
                  <a:pt x="203650" y="500817"/>
                </a:lnTo>
                <a:lnTo>
                  <a:pt x="209326" y="490691"/>
                </a:lnTo>
                <a:lnTo>
                  <a:pt x="215262" y="474034"/>
                </a:lnTo>
                <a:lnTo>
                  <a:pt x="216647" y="463838"/>
                </a:lnTo>
                <a:lnTo>
                  <a:pt x="214767" y="459617"/>
                </a:lnTo>
                <a:lnTo>
                  <a:pt x="204443" y="449294"/>
                </a:lnTo>
                <a:lnTo>
                  <a:pt x="203983" y="446260"/>
                </a:lnTo>
                <a:lnTo>
                  <a:pt x="205631" y="441377"/>
                </a:lnTo>
                <a:lnTo>
                  <a:pt x="211764" y="436165"/>
                </a:lnTo>
                <a:lnTo>
                  <a:pt x="220044" y="430230"/>
                </a:lnTo>
                <a:lnTo>
                  <a:pt x="224564" y="425115"/>
                </a:lnTo>
                <a:lnTo>
                  <a:pt x="223476" y="421091"/>
                </a:lnTo>
                <a:lnTo>
                  <a:pt x="221069" y="416901"/>
                </a:lnTo>
                <a:lnTo>
                  <a:pt x="220671" y="412977"/>
                </a:lnTo>
                <a:lnTo>
                  <a:pt x="222188" y="408160"/>
                </a:lnTo>
                <a:lnTo>
                  <a:pt x="222749" y="391669"/>
                </a:lnTo>
                <a:lnTo>
                  <a:pt x="223805" y="387448"/>
                </a:lnTo>
                <a:lnTo>
                  <a:pt x="222188" y="372404"/>
                </a:lnTo>
                <a:lnTo>
                  <a:pt x="220176" y="360100"/>
                </a:lnTo>
                <a:lnTo>
                  <a:pt x="213614" y="344135"/>
                </a:lnTo>
                <a:lnTo>
                  <a:pt x="214801" y="340607"/>
                </a:lnTo>
                <a:lnTo>
                  <a:pt x="217835" y="337639"/>
                </a:lnTo>
                <a:lnTo>
                  <a:pt x="227763" y="332098"/>
                </a:lnTo>
                <a:lnTo>
                  <a:pt x="235680" y="319035"/>
                </a:lnTo>
                <a:lnTo>
                  <a:pt x="247191" y="308082"/>
                </a:lnTo>
                <a:lnTo>
                  <a:pt x="262265" y="299275"/>
                </a:lnTo>
                <a:lnTo>
                  <a:pt x="272821" y="289478"/>
                </a:lnTo>
                <a:lnTo>
                  <a:pt x="276977" y="281960"/>
                </a:lnTo>
                <a:lnTo>
                  <a:pt x="279913" y="279979"/>
                </a:lnTo>
                <a:lnTo>
                  <a:pt x="279058" y="276482"/>
                </a:lnTo>
                <a:lnTo>
                  <a:pt x="277077" y="271405"/>
                </a:lnTo>
                <a:lnTo>
                  <a:pt x="271072" y="266422"/>
                </a:lnTo>
                <a:lnTo>
                  <a:pt x="263322" y="263585"/>
                </a:lnTo>
                <a:lnTo>
                  <a:pt x="254713" y="263717"/>
                </a:lnTo>
                <a:lnTo>
                  <a:pt x="249369" y="262695"/>
                </a:lnTo>
                <a:lnTo>
                  <a:pt x="247818" y="258803"/>
                </a:lnTo>
                <a:lnTo>
                  <a:pt x="248414" y="248248"/>
                </a:lnTo>
                <a:lnTo>
                  <a:pt x="247949" y="237793"/>
                </a:lnTo>
                <a:lnTo>
                  <a:pt x="246301" y="232976"/>
                </a:lnTo>
                <a:lnTo>
                  <a:pt x="242312" y="229346"/>
                </a:lnTo>
                <a:lnTo>
                  <a:pt x="234426" y="230306"/>
                </a:lnTo>
                <a:lnTo>
                  <a:pt x="227601" y="227334"/>
                </a:lnTo>
                <a:lnTo>
                  <a:pt x="222420" y="226642"/>
                </a:lnTo>
                <a:lnTo>
                  <a:pt x="219418" y="228983"/>
                </a:lnTo>
                <a:lnTo>
                  <a:pt x="204146" y="228290"/>
                </a:lnTo>
                <a:lnTo>
                  <a:pt x="197781" y="226611"/>
                </a:lnTo>
                <a:lnTo>
                  <a:pt x="193327" y="224529"/>
                </a:lnTo>
                <a:lnTo>
                  <a:pt x="190491" y="225686"/>
                </a:lnTo>
                <a:lnTo>
                  <a:pt x="188874" y="227733"/>
                </a:lnTo>
                <a:lnTo>
                  <a:pt x="188610" y="230929"/>
                </a:lnTo>
                <a:lnTo>
                  <a:pt x="187554" y="235154"/>
                </a:lnTo>
                <a:lnTo>
                  <a:pt x="182079" y="238980"/>
                </a:lnTo>
                <a:lnTo>
                  <a:pt x="169578" y="242773"/>
                </a:lnTo>
                <a:lnTo>
                  <a:pt x="159483" y="242475"/>
                </a:lnTo>
                <a:lnTo>
                  <a:pt x="150216" y="239770"/>
                </a:lnTo>
                <a:lnTo>
                  <a:pt x="147248" y="237758"/>
                </a:lnTo>
                <a:lnTo>
                  <a:pt x="142794" y="235978"/>
                </a:lnTo>
                <a:lnTo>
                  <a:pt x="123959" y="238187"/>
                </a:lnTo>
                <a:lnTo>
                  <a:pt x="121684" y="236570"/>
                </a:lnTo>
                <a:lnTo>
                  <a:pt x="115184" y="240497"/>
                </a:lnTo>
                <a:lnTo>
                  <a:pt x="105619" y="245179"/>
                </a:lnTo>
                <a:lnTo>
                  <a:pt x="100241" y="245443"/>
                </a:lnTo>
                <a:lnTo>
                  <a:pt x="98295" y="244456"/>
                </a:lnTo>
                <a:lnTo>
                  <a:pt x="97602" y="242378"/>
                </a:lnTo>
                <a:lnTo>
                  <a:pt x="93578" y="235088"/>
                </a:lnTo>
                <a:lnTo>
                  <a:pt x="94634" y="231227"/>
                </a:lnTo>
                <a:lnTo>
                  <a:pt x="102353" y="219913"/>
                </a:lnTo>
                <a:lnTo>
                  <a:pt x="101494" y="217208"/>
                </a:lnTo>
                <a:lnTo>
                  <a:pt x="98329" y="213548"/>
                </a:lnTo>
                <a:lnTo>
                  <a:pt x="95493" y="208270"/>
                </a:lnTo>
                <a:lnTo>
                  <a:pt x="94669" y="205531"/>
                </a:lnTo>
                <a:lnTo>
                  <a:pt x="89751" y="205070"/>
                </a:lnTo>
                <a:lnTo>
                  <a:pt x="84508" y="207841"/>
                </a:lnTo>
                <a:lnTo>
                  <a:pt x="64551" y="213548"/>
                </a:lnTo>
                <a:lnTo>
                  <a:pt x="59768" y="215626"/>
                </a:lnTo>
                <a:lnTo>
                  <a:pt x="51128" y="221101"/>
                </a:lnTo>
                <a:lnTo>
                  <a:pt x="42384" y="229478"/>
                </a:lnTo>
                <a:lnTo>
                  <a:pt x="35427" y="231227"/>
                </a:lnTo>
                <a:lnTo>
                  <a:pt x="33016" y="228754"/>
                </a:lnTo>
                <a:lnTo>
                  <a:pt x="32192" y="209095"/>
                </a:lnTo>
                <a:lnTo>
                  <a:pt x="42813" y="195997"/>
                </a:lnTo>
                <a:lnTo>
                  <a:pt x="50370" y="188084"/>
                </a:lnTo>
                <a:lnTo>
                  <a:pt x="46837" y="186467"/>
                </a:lnTo>
                <a:lnTo>
                  <a:pt x="38824" y="186699"/>
                </a:lnTo>
                <a:lnTo>
                  <a:pt x="39385" y="180563"/>
                </a:lnTo>
                <a:lnTo>
                  <a:pt x="43146" y="177595"/>
                </a:lnTo>
                <a:lnTo>
                  <a:pt x="46771" y="170897"/>
                </a:lnTo>
                <a:lnTo>
                  <a:pt x="42519" y="168026"/>
                </a:lnTo>
                <a:lnTo>
                  <a:pt x="39187" y="163608"/>
                </a:lnTo>
                <a:lnTo>
                  <a:pt x="39385" y="152062"/>
                </a:lnTo>
                <a:lnTo>
                  <a:pt x="40309" y="147380"/>
                </a:lnTo>
                <a:lnTo>
                  <a:pt x="39219" y="142300"/>
                </a:lnTo>
                <a:lnTo>
                  <a:pt x="22890" y="149160"/>
                </a:lnTo>
                <a:lnTo>
                  <a:pt x="18704" y="148138"/>
                </a:lnTo>
                <a:lnTo>
                  <a:pt x="18537" y="139560"/>
                </a:lnTo>
                <a:lnTo>
                  <a:pt x="27576" y="126467"/>
                </a:lnTo>
                <a:lnTo>
                  <a:pt x="28501" y="122443"/>
                </a:lnTo>
                <a:lnTo>
                  <a:pt x="17911" y="120496"/>
                </a:lnTo>
                <a:lnTo>
                  <a:pt x="9994" y="114062"/>
                </a:lnTo>
                <a:lnTo>
                  <a:pt x="5177" y="108289"/>
                </a:lnTo>
                <a:lnTo>
                  <a:pt x="31" y="100013"/>
                </a:lnTo>
                <a:lnTo>
                  <a:pt x="0" y="92557"/>
                </a:lnTo>
                <a:lnTo>
                  <a:pt x="5343" y="75106"/>
                </a:lnTo>
                <a:lnTo>
                  <a:pt x="12962" y="70026"/>
                </a:lnTo>
                <a:lnTo>
                  <a:pt x="19559" y="66896"/>
                </a:lnTo>
                <a:lnTo>
                  <a:pt x="33512" y="54789"/>
                </a:lnTo>
                <a:lnTo>
                  <a:pt x="52742" y="57033"/>
                </a:lnTo>
                <a:lnTo>
                  <a:pt x="64651" y="54425"/>
                </a:lnTo>
                <a:lnTo>
                  <a:pt x="75338" y="48226"/>
                </a:lnTo>
                <a:lnTo>
                  <a:pt x="81475" y="46838"/>
                </a:lnTo>
                <a:lnTo>
                  <a:pt x="91337" y="41428"/>
                </a:lnTo>
                <a:lnTo>
                  <a:pt x="91005" y="34108"/>
                </a:lnTo>
                <a:lnTo>
                  <a:pt x="87608" y="28664"/>
                </a:lnTo>
                <a:lnTo>
                  <a:pt x="90575" y="23552"/>
                </a:lnTo>
                <a:lnTo>
                  <a:pt x="101629" y="17284"/>
                </a:lnTo>
                <a:lnTo>
                  <a:pt x="113899" y="8973"/>
                </a:lnTo>
                <a:lnTo>
                  <a:pt x="127983" y="7356"/>
                </a:ln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9" name="Forme libre : forme 18">
            <a:extLst>
              <a:ext uri="{FF2B5EF4-FFF2-40B4-BE49-F238E27FC236}">
                <a16:creationId xmlns:a16="http://schemas.microsoft.com/office/drawing/2014/main" id="{4439BFD5-74F0-CC9E-67FD-128A1AF8E89B}"/>
              </a:ext>
            </a:extLst>
          </p:cNvPr>
          <p:cNvSpPr/>
          <p:nvPr/>
        </p:nvSpPr>
        <p:spPr>
          <a:xfrm>
            <a:off x="6240506" y="2105012"/>
            <a:ext cx="380566" cy="854308"/>
          </a:xfrm>
          <a:custGeom>
            <a:avLst/>
            <a:gdLst>
              <a:gd name="connsiteX0" fmla="*/ 223085 w 291779"/>
              <a:gd name="connsiteY0" fmla="*/ 79648 h 654996"/>
              <a:gd name="connsiteX1" fmla="*/ 221295 w 291779"/>
              <a:gd name="connsiteY1" fmla="*/ 80572 h 654996"/>
              <a:gd name="connsiteX2" fmla="*/ 215770 w 291779"/>
              <a:gd name="connsiteY2" fmla="*/ 84191 h 654996"/>
              <a:gd name="connsiteX3" fmla="*/ 212398 w 291779"/>
              <a:gd name="connsiteY3" fmla="*/ 86630 h 654996"/>
              <a:gd name="connsiteX4" fmla="*/ 208340 w 291779"/>
              <a:gd name="connsiteY4" fmla="*/ 88420 h 654996"/>
              <a:gd name="connsiteX5" fmla="*/ 209388 w 291779"/>
              <a:gd name="connsiteY5" fmla="*/ 90792 h 654996"/>
              <a:gd name="connsiteX6" fmla="*/ 216132 w 291779"/>
              <a:gd name="connsiteY6" fmla="*/ 91288 h 654996"/>
              <a:gd name="connsiteX7" fmla="*/ 217170 w 291779"/>
              <a:gd name="connsiteY7" fmla="*/ 91964 h 654996"/>
              <a:gd name="connsiteX8" fmla="*/ 217923 w 291779"/>
              <a:gd name="connsiteY8" fmla="*/ 93174 h 654996"/>
              <a:gd name="connsiteX9" fmla="*/ 218047 w 291779"/>
              <a:gd name="connsiteY9" fmla="*/ 95117 h 654996"/>
              <a:gd name="connsiteX10" fmla="*/ 217370 w 291779"/>
              <a:gd name="connsiteY10" fmla="*/ 98250 h 654996"/>
              <a:gd name="connsiteX11" fmla="*/ 210074 w 291779"/>
              <a:gd name="connsiteY11" fmla="*/ 115405 h 654996"/>
              <a:gd name="connsiteX12" fmla="*/ 209845 w 291779"/>
              <a:gd name="connsiteY12" fmla="*/ 118996 h 654996"/>
              <a:gd name="connsiteX13" fmla="*/ 212227 w 291779"/>
              <a:gd name="connsiteY13" fmla="*/ 128940 h 654996"/>
              <a:gd name="connsiteX14" fmla="*/ 215570 w 291779"/>
              <a:gd name="connsiteY14" fmla="*/ 140599 h 654996"/>
              <a:gd name="connsiteX15" fmla="*/ 225676 w 291779"/>
              <a:gd name="connsiteY15" fmla="*/ 145752 h 654996"/>
              <a:gd name="connsiteX16" fmla="*/ 233182 w 291779"/>
              <a:gd name="connsiteY16" fmla="*/ 149762 h 654996"/>
              <a:gd name="connsiteX17" fmla="*/ 238001 w 291779"/>
              <a:gd name="connsiteY17" fmla="*/ 159229 h 654996"/>
              <a:gd name="connsiteX18" fmla="*/ 245955 w 291779"/>
              <a:gd name="connsiteY18" fmla="*/ 171621 h 654996"/>
              <a:gd name="connsiteX19" fmla="*/ 250165 w 291779"/>
              <a:gd name="connsiteY19" fmla="*/ 176232 h 654996"/>
              <a:gd name="connsiteX20" fmla="*/ 250403 w 291779"/>
              <a:gd name="connsiteY20" fmla="*/ 177660 h 654996"/>
              <a:gd name="connsiteX21" fmla="*/ 249155 w 291779"/>
              <a:gd name="connsiteY21" fmla="*/ 186128 h 654996"/>
              <a:gd name="connsiteX22" fmla="*/ 244059 w 291779"/>
              <a:gd name="connsiteY22" fmla="*/ 194567 h 654996"/>
              <a:gd name="connsiteX23" fmla="*/ 239296 w 291779"/>
              <a:gd name="connsiteY23" fmla="*/ 201654 h 654996"/>
              <a:gd name="connsiteX24" fmla="*/ 234363 w 291779"/>
              <a:gd name="connsiteY24" fmla="*/ 210150 h 654996"/>
              <a:gd name="connsiteX25" fmla="*/ 230505 w 291779"/>
              <a:gd name="connsiteY25" fmla="*/ 217360 h 654996"/>
              <a:gd name="connsiteX26" fmla="*/ 226323 w 291779"/>
              <a:gd name="connsiteY26" fmla="*/ 225962 h 654996"/>
              <a:gd name="connsiteX27" fmla="*/ 225838 w 291779"/>
              <a:gd name="connsiteY27" fmla="*/ 228743 h 654996"/>
              <a:gd name="connsiteX28" fmla="*/ 225762 w 291779"/>
              <a:gd name="connsiteY28" fmla="*/ 231362 h 654996"/>
              <a:gd name="connsiteX29" fmla="*/ 226486 w 291779"/>
              <a:gd name="connsiteY29" fmla="*/ 234248 h 654996"/>
              <a:gd name="connsiteX30" fmla="*/ 231839 w 291779"/>
              <a:gd name="connsiteY30" fmla="*/ 244659 h 654996"/>
              <a:gd name="connsiteX31" fmla="*/ 233925 w 291779"/>
              <a:gd name="connsiteY31" fmla="*/ 249946 h 654996"/>
              <a:gd name="connsiteX32" fmla="*/ 236411 w 291779"/>
              <a:gd name="connsiteY32" fmla="*/ 255641 h 654996"/>
              <a:gd name="connsiteX33" fmla="*/ 238554 w 291779"/>
              <a:gd name="connsiteY33" fmla="*/ 261833 h 654996"/>
              <a:gd name="connsiteX34" fmla="*/ 239792 w 291779"/>
              <a:gd name="connsiteY34" fmla="*/ 267367 h 654996"/>
              <a:gd name="connsiteX35" fmla="*/ 241935 w 291779"/>
              <a:gd name="connsiteY35" fmla="*/ 272729 h 654996"/>
              <a:gd name="connsiteX36" fmla="*/ 243269 w 291779"/>
              <a:gd name="connsiteY36" fmla="*/ 275463 h 654996"/>
              <a:gd name="connsiteX37" fmla="*/ 245479 w 291779"/>
              <a:gd name="connsiteY37" fmla="*/ 279292 h 654996"/>
              <a:gd name="connsiteX38" fmla="*/ 248145 w 291779"/>
              <a:gd name="connsiteY38" fmla="*/ 284969 h 654996"/>
              <a:gd name="connsiteX39" fmla="*/ 249031 w 291779"/>
              <a:gd name="connsiteY39" fmla="*/ 289455 h 654996"/>
              <a:gd name="connsiteX40" fmla="*/ 253060 w 291779"/>
              <a:gd name="connsiteY40" fmla="*/ 304924 h 654996"/>
              <a:gd name="connsiteX41" fmla="*/ 253470 w 291779"/>
              <a:gd name="connsiteY41" fmla="*/ 308839 h 654996"/>
              <a:gd name="connsiteX42" fmla="*/ 253270 w 291779"/>
              <a:gd name="connsiteY42" fmla="*/ 311734 h 654996"/>
              <a:gd name="connsiteX43" fmla="*/ 251498 w 291779"/>
              <a:gd name="connsiteY43" fmla="*/ 312439 h 654996"/>
              <a:gd name="connsiteX44" fmla="*/ 247584 w 291779"/>
              <a:gd name="connsiteY44" fmla="*/ 312896 h 654996"/>
              <a:gd name="connsiteX45" fmla="*/ 243335 w 291779"/>
              <a:gd name="connsiteY45" fmla="*/ 314792 h 654996"/>
              <a:gd name="connsiteX46" fmla="*/ 243126 w 291779"/>
              <a:gd name="connsiteY46" fmla="*/ 315430 h 654996"/>
              <a:gd name="connsiteX47" fmla="*/ 245898 w 291779"/>
              <a:gd name="connsiteY47" fmla="*/ 319030 h 654996"/>
              <a:gd name="connsiteX48" fmla="*/ 243450 w 291779"/>
              <a:gd name="connsiteY48" fmla="*/ 325174 h 654996"/>
              <a:gd name="connsiteX49" fmla="*/ 243097 w 291779"/>
              <a:gd name="connsiteY49" fmla="*/ 333927 h 654996"/>
              <a:gd name="connsiteX50" fmla="*/ 240487 w 291779"/>
              <a:gd name="connsiteY50" fmla="*/ 338499 h 654996"/>
              <a:gd name="connsiteX51" fmla="*/ 240240 w 291779"/>
              <a:gd name="connsiteY51" fmla="*/ 339557 h 654996"/>
              <a:gd name="connsiteX52" fmla="*/ 240354 w 291779"/>
              <a:gd name="connsiteY52" fmla="*/ 340442 h 654996"/>
              <a:gd name="connsiteX53" fmla="*/ 240821 w 291779"/>
              <a:gd name="connsiteY53" fmla="*/ 341138 h 654996"/>
              <a:gd name="connsiteX54" fmla="*/ 245650 w 291779"/>
              <a:gd name="connsiteY54" fmla="*/ 342357 h 654996"/>
              <a:gd name="connsiteX55" fmla="*/ 246069 w 291779"/>
              <a:gd name="connsiteY55" fmla="*/ 343595 h 654996"/>
              <a:gd name="connsiteX56" fmla="*/ 246088 w 291779"/>
              <a:gd name="connsiteY56" fmla="*/ 346158 h 654996"/>
              <a:gd name="connsiteX57" fmla="*/ 245659 w 291779"/>
              <a:gd name="connsiteY57" fmla="*/ 348520 h 654996"/>
              <a:gd name="connsiteX58" fmla="*/ 243231 w 291779"/>
              <a:gd name="connsiteY58" fmla="*/ 350272 h 654996"/>
              <a:gd name="connsiteX59" fmla="*/ 240630 w 291779"/>
              <a:gd name="connsiteY59" fmla="*/ 352854 h 654996"/>
              <a:gd name="connsiteX60" fmla="*/ 240049 w 291779"/>
              <a:gd name="connsiteY60" fmla="*/ 355235 h 654996"/>
              <a:gd name="connsiteX61" fmla="*/ 240135 w 291779"/>
              <a:gd name="connsiteY61" fmla="*/ 357349 h 654996"/>
              <a:gd name="connsiteX62" fmla="*/ 241021 w 291779"/>
              <a:gd name="connsiteY62" fmla="*/ 360921 h 654996"/>
              <a:gd name="connsiteX63" fmla="*/ 242745 w 291779"/>
              <a:gd name="connsiteY63" fmla="*/ 365074 h 654996"/>
              <a:gd name="connsiteX64" fmla="*/ 244926 w 291779"/>
              <a:gd name="connsiteY64" fmla="*/ 367675 h 654996"/>
              <a:gd name="connsiteX65" fmla="*/ 252670 w 291779"/>
              <a:gd name="connsiteY65" fmla="*/ 370142 h 654996"/>
              <a:gd name="connsiteX66" fmla="*/ 253670 w 291779"/>
              <a:gd name="connsiteY66" fmla="*/ 372170 h 654996"/>
              <a:gd name="connsiteX67" fmla="*/ 254089 w 291779"/>
              <a:gd name="connsiteY67" fmla="*/ 374952 h 654996"/>
              <a:gd name="connsiteX68" fmla="*/ 253927 w 291779"/>
              <a:gd name="connsiteY68" fmla="*/ 377666 h 654996"/>
              <a:gd name="connsiteX69" fmla="*/ 250327 w 291779"/>
              <a:gd name="connsiteY69" fmla="*/ 383076 h 654996"/>
              <a:gd name="connsiteX70" fmla="*/ 250355 w 291779"/>
              <a:gd name="connsiteY70" fmla="*/ 385153 h 654996"/>
              <a:gd name="connsiteX71" fmla="*/ 251832 w 291779"/>
              <a:gd name="connsiteY71" fmla="*/ 390163 h 654996"/>
              <a:gd name="connsiteX72" fmla="*/ 253603 w 291779"/>
              <a:gd name="connsiteY72" fmla="*/ 394935 h 654996"/>
              <a:gd name="connsiteX73" fmla="*/ 261157 w 291779"/>
              <a:gd name="connsiteY73" fmla="*/ 400098 h 654996"/>
              <a:gd name="connsiteX74" fmla="*/ 263757 w 291779"/>
              <a:gd name="connsiteY74" fmla="*/ 402917 h 654996"/>
              <a:gd name="connsiteX75" fmla="*/ 264443 w 291779"/>
              <a:gd name="connsiteY75" fmla="*/ 405155 h 654996"/>
              <a:gd name="connsiteX76" fmla="*/ 264824 w 291779"/>
              <a:gd name="connsiteY76" fmla="*/ 408765 h 654996"/>
              <a:gd name="connsiteX77" fmla="*/ 264776 w 291779"/>
              <a:gd name="connsiteY77" fmla="*/ 412671 h 654996"/>
              <a:gd name="connsiteX78" fmla="*/ 264186 w 291779"/>
              <a:gd name="connsiteY78" fmla="*/ 416128 h 654996"/>
              <a:gd name="connsiteX79" fmla="*/ 261814 w 291779"/>
              <a:gd name="connsiteY79" fmla="*/ 420576 h 654996"/>
              <a:gd name="connsiteX80" fmla="*/ 256337 w 291779"/>
              <a:gd name="connsiteY80" fmla="*/ 429320 h 654996"/>
              <a:gd name="connsiteX81" fmla="*/ 250822 w 291779"/>
              <a:gd name="connsiteY81" fmla="*/ 432702 h 654996"/>
              <a:gd name="connsiteX82" fmla="*/ 250489 w 291779"/>
              <a:gd name="connsiteY82" fmla="*/ 433435 h 654996"/>
              <a:gd name="connsiteX83" fmla="*/ 252193 w 291779"/>
              <a:gd name="connsiteY83" fmla="*/ 436216 h 654996"/>
              <a:gd name="connsiteX84" fmla="*/ 261900 w 291779"/>
              <a:gd name="connsiteY84" fmla="*/ 447323 h 654996"/>
              <a:gd name="connsiteX85" fmla="*/ 268234 w 291779"/>
              <a:gd name="connsiteY85" fmla="*/ 452495 h 654996"/>
              <a:gd name="connsiteX86" fmla="*/ 276768 w 291779"/>
              <a:gd name="connsiteY86" fmla="*/ 459448 h 654996"/>
              <a:gd name="connsiteX87" fmla="*/ 282273 w 291779"/>
              <a:gd name="connsiteY87" fmla="*/ 464925 h 654996"/>
              <a:gd name="connsiteX88" fmla="*/ 284055 w 291779"/>
              <a:gd name="connsiteY88" fmla="*/ 468849 h 654996"/>
              <a:gd name="connsiteX89" fmla="*/ 286436 w 291779"/>
              <a:gd name="connsiteY89" fmla="*/ 473212 h 654996"/>
              <a:gd name="connsiteX90" fmla="*/ 289113 w 291779"/>
              <a:gd name="connsiteY90" fmla="*/ 476764 h 654996"/>
              <a:gd name="connsiteX91" fmla="*/ 291046 w 291779"/>
              <a:gd name="connsiteY91" fmla="*/ 479841 h 654996"/>
              <a:gd name="connsiteX92" fmla="*/ 291779 w 291779"/>
              <a:gd name="connsiteY92" fmla="*/ 481822 h 654996"/>
              <a:gd name="connsiteX93" fmla="*/ 291713 w 291779"/>
              <a:gd name="connsiteY93" fmla="*/ 483946 h 654996"/>
              <a:gd name="connsiteX94" fmla="*/ 289132 w 291779"/>
              <a:gd name="connsiteY94" fmla="*/ 490337 h 654996"/>
              <a:gd name="connsiteX95" fmla="*/ 287664 w 291779"/>
              <a:gd name="connsiteY95" fmla="*/ 495262 h 654996"/>
              <a:gd name="connsiteX96" fmla="*/ 285083 w 291779"/>
              <a:gd name="connsiteY96" fmla="*/ 502453 h 654996"/>
              <a:gd name="connsiteX97" fmla="*/ 282436 w 291779"/>
              <a:gd name="connsiteY97" fmla="*/ 507444 h 654996"/>
              <a:gd name="connsiteX98" fmla="*/ 275730 w 291779"/>
              <a:gd name="connsiteY98" fmla="*/ 516531 h 654996"/>
              <a:gd name="connsiteX99" fmla="*/ 265833 w 291779"/>
              <a:gd name="connsiteY99" fmla="*/ 527771 h 654996"/>
              <a:gd name="connsiteX100" fmla="*/ 263538 w 291779"/>
              <a:gd name="connsiteY100" fmla="*/ 531152 h 654996"/>
              <a:gd name="connsiteX101" fmla="*/ 258909 w 291779"/>
              <a:gd name="connsiteY101" fmla="*/ 537029 h 654996"/>
              <a:gd name="connsiteX102" fmla="*/ 250974 w 291779"/>
              <a:gd name="connsiteY102" fmla="*/ 548773 h 654996"/>
              <a:gd name="connsiteX103" fmla="*/ 248927 w 291779"/>
              <a:gd name="connsiteY103" fmla="*/ 551355 h 654996"/>
              <a:gd name="connsiteX104" fmla="*/ 242431 w 291779"/>
              <a:gd name="connsiteY104" fmla="*/ 560651 h 654996"/>
              <a:gd name="connsiteX105" fmla="*/ 239468 w 291779"/>
              <a:gd name="connsiteY105" fmla="*/ 563604 h 654996"/>
              <a:gd name="connsiteX106" fmla="*/ 237134 w 291779"/>
              <a:gd name="connsiteY106" fmla="*/ 566356 h 654996"/>
              <a:gd name="connsiteX107" fmla="*/ 230705 w 291779"/>
              <a:gd name="connsiteY107" fmla="*/ 575072 h 654996"/>
              <a:gd name="connsiteX108" fmla="*/ 223790 w 291779"/>
              <a:gd name="connsiteY108" fmla="*/ 581654 h 654996"/>
              <a:gd name="connsiteX109" fmla="*/ 217008 w 291779"/>
              <a:gd name="connsiteY109" fmla="*/ 587750 h 654996"/>
              <a:gd name="connsiteX110" fmla="*/ 214970 w 291779"/>
              <a:gd name="connsiteY110" fmla="*/ 590826 h 654996"/>
              <a:gd name="connsiteX111" fmla="*/ 212436 w 291779"/>
              <a:gd name="connsiteY111" fmla="*/ 593179 h 654996"/>
              <a:gd name="connsiteX112" fmla="*/ 209417 w 291779"/>
              <a:gd name="connsiteY112" fmla="*/ 595408 h 654996"/>
              <a:gd name="connsiteX113" fmla="*/ 208150 w 291779"/>
              <a:gd name="connsiteY113" fmla="*/ 596655 h 654996"/>
              <a:gd name="connsiteX114" fmla="*/ 201320 w 291779"/>
              <a:gd name="connsiteY114" fmla="*/ 604933 h 654996"/>
              <a:gd name="connsiteX115" fmla="*/ 191843 w 291779"/>
              <a:gd name="connsiteY115" fmla="*/ 616344 h 654996"/>
              <a:gd name="connsiteX116" fmla="*/ 190881 w 291779"/>
              <a:gd name="connsiteY116" fmla="*/ 616525 h 654996"/>
              <a:gd name="connsiteX117" fmla="*/ 188414 w 291779"/>
              <a:gd name="connsiteY117" fmla="*/ 618363 h 654996"/>
              <a:gd name="connsiteX118" fmla="*/ 184557 w 291779"/>
              <a:gd name="connsiteY118" fmla="*/ 618811 h 654996"/>
              <a:gd name="connsiteX119" fmla="*/ 182880 w 291779"/>
              <a:gd name="connsiteY119" fmla="*/ 620211 h 654996"/>
              <a:gd name="connsiteX120" fmla="*/ 176984 w 291779"/>
              <a:gd name="connsiteY120" fmla="*/ 616210 h 654996"/>
              <a:gd name="connsiteX121" fmla="*/ 176003 w 291779"/>
              <a:gd name="connsiteY121" fmla="*/ 615953 h 654996"/>
              <a:gd name="connsiteX122" fmla="*/ 172536 w 291779"/>
              <a:gd name="connsiteY122" fmla="*/ 616944 h 654996"/>
              <a:gd name="connsiteX123" fmla="*/ 169212 w 291779"/>
              <a:gd name="connsiteY123" fmla="*/ 619849 h 654996"/>
              <a:gd name="connsiteX124" fmla="*/ 163068 w 291779"/>
              <a:gd name="connsiteY124" fmla="*/ 620735 h 654996"/>
              <a:gd name="connsiteX125" fmla="*/ 160020 w 291779"/>
              <a:gd name="connsiteY125" fmla="*/ 621678 h 654996"/>
              <a:gd name="connsiteX126" fmla="*/ 158077 w 291779"/>
              <a:gd name="connsiteY126" fmla="*/ 623021 h 654996"/>
              <a:gd name="connsiteX127" fmla="*/ 157677 w 291779"/>
              <a:gd name="connsiteY127" fmla="*/ 619849 h 654996"/>
              <a:gd name="connsiteX128" fmla="*/ 158515 w 291779"/>
              <a:gd name="connsiteY128" fmla="*/ 615820 h 654996"/>
              <a:gd name="connsiteX129" fmla="*/ 159868 w 291779"/>
              <a:gd name="connsiteY129" fmla="*/ 613124 h 654996"/>
              <a:gd name="connsiteX130" fmla="*/ 159991 w 291779"/>
              <a:gd name="connsiteY130" fmla="*/ 611372 h 654996"/>
              <a:gd name="connsiteX131" fmla="*/ 159001 w 291779"/>
              <a:gd name="connsiteY131" fmla="*/ 611553 h 654996"/>
              <a:gd name="connsiteX132" fmla="*/ 157029 w 291779"/>
              <a:gd name="connsiteY132" fmla="*/ 615505 h 654996"/>
              <a:gd name="connsiteX133" fmla="*/ 155982 w 291779"/>
              <a:gd name="connsiteY133" fmla="*/ 620116 h 654996"/>
              <a:gd name="connsiteX134" fmla="*/ 153877 w 291779"/>
              <a:gd name="connsiteY134" fmla="*/ 622430 h 654996"/>
              <a:gd name="connsiteX135" fmla="*/ 149247 w 291779"/>
              <a:gd name="connsiteY135" fmla="*/ 623373 h 654996"/>
              <a:gd name="connsiteX136" fmla="*/ 144742 w 291779"/>
              <a:gd name="connsiteY136" fmla="*/ 619677 h 654996"/>
              <a:gd name="connsiteX137" fmla="*/ 142599 w 291779"/>
              <a:gd name="connsiteY137" fmla="*/ 619706 h 654996"/>
              <a:gd name="connsiteX138" fmla="*/ 143942 w 291779"/>
              <a:gd name="connsiteY138" fmla="*/ 622354 h 654996"/>
              <a:gd name="connsiteX139" fmla="*/ 144847 w 291779"/>
              <a:gd name="connsiteY139" fmla="*/ 625259 h 654996"/>
              <a:gd name="connsiteX140" fmla="*/ 144732 w 291779"/>
              <a:gd name="connsiteY140" fmla="*/ 626878 h 654996"/>
              <a:gd name="connsiteX141" fmla="*/ 142332 w 291779"/>
              <a:gd name="connsiteY141" fmla="*/ 626593 h 654996"/>
              <a:gd name="connsiteX142" fmla="*/ 139655 w 291779"/>
              <a:gd name="connsiteY142" fmla="*/ 628326 h 654996"/>
              <a:gd name="connsiteX143" fmla="*/ 137313 w 291779"/>
              <a:gd name="connsiteY143" fmla="*/ 630860 h 654996"/>
              <a:gd name="connsiteX144" fmla="*/ 136170 w 291779"/>
              <a:gd name="connsiteY144" fmla="*/ 630869 h 654996"/>
              <a:gd name="connsiteX145" fmla="*/ 134588 w 291779"/>
              <a:gd name="connsiteY145" fmla="*/ 627326 h 654996"/>
              <a:gd name="connsiteX146" fmla="*/ 131693 w 291779"/>
              <a:gd name="connsiteY146" fmla="*/ 628983 h 654996"/>
              <a:gd name="connsiteX147" fmla="*/ 129217 w 291779"/>
              <a:gd name="connsiteY147" fmla="*/ 631203 h 654996"/>
              <a:gd name="connsiteX148" fmla="*/ 124196 w 291779"/>
              <a:gd name="connsiteY148" fmla="*/ 631888 h 654996"/>
              <a:gd name="connsiteX149" fmla="*/ 121206 w 291779"/>
              <a:gd name="connsiteY149" fmla="*/ 634803 h 654996"/>
              <a:gd name="connsiteX150" fmla="*/ 115910 w 291779"/>
              <a:gd name="connsiteY150" fmla="*/ 636775 h 654996"/>
              <a:gd name="connsiteX151" fmla="*/ 113005 w 291779"/>
              <a:gd name="connsiteY151" fmla="*/ 636727 h 654996"/>
              <a:gd name="connsiteX152" fmla="*/ 106366 w 291779"/>
              <a:gd name="connsiteY152" fmla="*/ 639089 h 654996"/>
              <a:gd name="connsiteX153" fmla="*/ 104156 w 291779"/>
              <a:gd name="connsiteY153" fmla="*/ 642728 h 654996"/>
              <a:gd name="connsiteX154" fmla="*/ 102222 w 291779"/>
              <a:gd name="connsiteY154" fmla="*/ 644061 h 654996"/>
              <a:gd name="connsiteX155" fmla="*/ 99470 w 291779"/>
              <a:gd name="connsiteY155" fmla="*/ 642938 h 654996"/>
              <a:gd name="connsiteX156" fmla="*/ 90983 w 291779"/>
              <a:gd name="connsiteY156" fmla="*/ 644709 h 654996"/>
              <a:gd name="connsiteX157" fmla="*/ 82868 w 291779"/>
              <a:gd name="connsiteY157" fmla="*/ 647033 h 654996"/>
              <a:gd name="connsiteX158" fmla="*/ 79420 w 291779"/>
              <a:gd name="connsiteY158" fmla="*/ 646900 h 654996"/>
              <a:gd name="connsiteX159" fmla="*/ 75972 w 291779"/>
              <a:gd name="connsiteY159" fmla="*/ 645938 h 654996"/>
              <a:gd name="connsiteX160" fmla="*/ 72314 w 291779"/>
              <a:gd name="connsiteY160" fmla="*/ 649157 h 654996"/>
              <a:gd name="connsiteX161" fmla="*/ 68428 w 291779"/>
              <a:gd name="connsiteY161" fmla="*/ 653463 h 654996"/>
              <a:gd name="connsiteX162" fmla="*/ 64151 w 291779"/>
              <a:gd name="connsiteY162" fmla="*/ 654996 h 654996"/>
              <a:gd name="connsiteX163" fmla="*/ 62618 w 291779"/>
              <a:gd name="connsiteY163" fmla="*/ 654444 h 654996"/>
              <a:gd name="connsiteX164" fmla="*/ 63846 w 291779"/>
              <a:gd name="connsiteY164" fmla="*/ 652186 h 654996"/>
              <a:gd name="connsiteX165" fmla="*/ 66675 w 291779"/>
              <a:gd name="connsiteY165" fmla="*/ 649853 h 654996"/>
              <a:gd name="connsiteX166" fmla="*/ 68618 w 291779"/>
              <a:gd name="connsiteY166" fmla="*/ 646681 h 654996"/>
              <a:gd name="connsiteX167" fmla="*/ 68885 w 291779"/>
              <a:gd name="connsiteY167" fmla="*/ 644033 h 654996"/>
              <a:gd name="connsiteX168" fmla="*/ 67552 w 291779"/>
              <a:gd name="connsiteY168" fmla="*/ 642995 h 654996"/>
              <a:gd name="connsiteX169" fmla="*/ 65723 w 291779"/>
              <a:gd name="connsiteY169" fmla="*/ 642671 h 654996"/>
              <a:gd name="connsiteX170" fmla="*/ 63427 w 291779"/>
              <a:gd name="connsiteY170" fmla="*/ 639928 h 654996"/>
              <a:gd name="connsiteX171" fmla="*/ 61227 w 291779"/>
              <a:gd name="connsiteY171" fmla="*/ 633965 h 654996"/>
              <a:gd name="connsiteX172" fmla="*/ 60036 w 291779"/>
              <a:gd name="connsiteY172" fmla="*/ 633632 h 654996"/>
              <a:gd name="connsiteX173" fmla="*/ 59436 w 291779"/>
              <a:gd name="connsiteY173" fmla="*/ 635203 h 654996"/>
              <a:gd name="connsiteX174" fmla="*/ 58760 w 291779"/>
              <a:gd name="connsiteY174" fmla="*/ 639766 h 654996"/>
              <a:gd name="connsiteX175" fmla="*/ 58074 w 291779"/>
              <a:gd name="connsiteY175" fmla="*/ 641080 h 654996"/>
              <a:gd name="connsiteX176" fmla="*/ 56912 w 291779"/>
              <a:gd name="connsiteY176" fmla="*/ 642128 h 654996"/>
              <a:gd name="connsiteX177" fmla="*/ 55512 w 291779"/>
              <a:gd name="connsiteY177" fmla="*/ 643176 h 654996"/>
              <a:gd name="connsiteX178" fmla="*/ 54140 w 291779"/>
              <a:gd name="connsiteY178" fmla="*/ 643690 h 654996"/>
              <a:gd name="connsiteX179" fmla="*/ 49235 w 291779"/>
              <a:gd name="connsiteY179" fmla="*/ 643623 h 654996"/>
              <a:gd name="connsiteX180" fmla="*/ 48587 w 291779"/>
              <a:gd name="connsiteY180" fmla="*/ 641318 h 654996"/>
              <a:gd name="connsiteX181" fmla="*/ 48587 w 291779"/>
              <a:gd name="connsiteY181" fmla="*/ 640356 h 654996"/>
              <a:gd name="connsiteX182" fmla="*/ 49463 w 291779"/>
              <a:gd name="connsiteY182" fmla="*/ 637318 h 654996"/>
              <a:gd name="connsiteX183" fmla="*/ 48702 w 291779"/>
              <a:gd name="connsiteY183" fmla="*/ 636784 h 654996"/>
              <a:gd name="connsiteX184" fmla="*/ 49425 w 291779"/>
              <a:gd name="connsiteY184" fmla="*/ 634403 h 654996"/>
              <a:gd name="connsiteX185" fmla="*/ 50578 w 291779"/>
              <a:gd name="connsiteY185" fmla="*/ 634536 h 654996"/>
              <a:gd name="connsiteX186" fmla="*/ 51950 w 291779"/>
              <a:gd name="connsiteY186" fmla="*/ 634175 h 654996"/>
              <a:gd name="connsiteX187" fmla="*/ 52635 w 291779"/>
              <a:gd name="connsiteY187" fmla="*/ 632955 h 654996"/>
              <a:gd name="connsiteX188" fmla="*/ 52587 w 291779"/>
              <a:gd name="connsiteY188" fmla="*/ 631488 h 654996"/>
              <a:gd name="connsiteX189" fmla="*/ 50683 w 291779"/>
              <a:gd name="connsiteY189" fmla="*/ 631107 h 654996"/>
              <a:gd name="connsiteX190" fmla="*/ 50568 w 291779"/>
              <a:gd name="connsiteY190" fmla="*/ 630107 h 654996"/>
              <a:gd name="connsiteX191" fmla="*/ 52264 w 291779"/>
              <a:gd name="connsiteY191" fmla="*/ 625916 h 654996"/>
              <a:gd name="connsiteX192" fmla="*/ 52502 w 291779"/>
              <a:gd name="connsiteY192" fmla="*/ 624754 h 654996"/>
              <a:gd name="connsiteX193" fmla="*/ 51845 w 291779"/>
              <a:gd name="connsiteY193" fmla="*/ 624516 h 654996"/>
              <a:gd name="connsiteX194" fmla="*/ 50788 w 291779"/>
              <a:gd name="connsiteY194" fmla="*/ 624973 h 654996"/>
              <a:gd name="connsiteX195" fmla="*/ 43768 w 291779"/>
              <a:gd name="connsiteY195" fmla="*/ 623659 h 654996"/>
              <a:gd name="connsiteX196" fmla="*/ 35109 w 291779"/>
              <a:gd name="connsiteY196" fmla="*/ 618287 h 654996"/>
              <a:gd name="connsiteX197" fmla="*/ 32976 w 291779"/>
              <a:gd name="connsiteY197" fmla="*/ 618011 h 654996"/>
              <a:gd name="connsiteX198" fmla="*/ 31671 w 291779"/>
              <a:gd name="connsiteY198" fmla="*/ 613200 h 654996"/>
              <a:gd name="connsiteX199" fmla="*/ 29585 w 291779"/>
              <a:gd name="connsiteY199" fmla="*/ 613810 h 654996"/>
              <a:gd name="connsiteX200" fmla="*/ 26537 w 291779"/>
              <a:gd name="connsiteY200" fmla="*/ 616629 h 654996"/>
              <a:gd name="connsiteX201" fmla="*/ 24251 w 291779"/>
              <a:gd name="connsiteY201" fmla="*/ 614486 h 654996"/>
              <a:gd name="connsiteX202" fmla="*/ 21793 w 291779"/>
              <a:gd name="connsiteY202" fmla="*/ 613077 h 654996"/>
              <a:gd name="connsiteX203" fmla="*/ 21117 w 291779"/>
              <a:gd name="connsiteY203" fmla="*/ 610876 h 654996"/>
              <a:gd name="connsiteX204" fmla="*/ 21155 w 291779"/>
              <a:gd name="connsiteY204" fmla="*/ 607619 h 654996"/>
              <a:gd name="connsiteX205" fmla="*/ 20946 w 291779"/>
              <a:gd name="connsiteY205" fmla="*/ 603761 h 654996"/>
              <a:gd name="connsiteX206" fmla="*/ 20279 w 291779"/>
              <a:gd name="connsiteY206" fmla="*/ 599237 h 654996"/>
              <a:gd name="connsiteX207" fmla="*/ 19793 w 291779"/>
              <a:gd name="connsiteY207" fmla="*/ 592788 h 654996"/>
              <a:gd name="connsiteX208" fmla="*/ 20251 w 291779"/>
              <a:gd name="connsiteY208" fmla="*/ 587731 h 654996"/>
              <a:gd name="connsiteX209" fmla="*/ 22213 w 291779"/>
              <a:gd name="connsiteY209" fmla="*/ 583978 h 654996"/>
              <a:gd name="connsiteX210" fmla="*/ 22965 w 291779"/>
              <a:gd name="connsiteY210" fmla="*/ 581577 h 654996"/>
              <a:gd name="connsiteX211" fmla="*/ 23879 w 291779"/>
              <a:gd name="connsiteY211" fmla="*/ 575434 h 654996"/>
              <a:gd name="connsiteX212" fmla="*/ 24089 w 291779"/>
              <a:gd name="connsiteY212" fmla="*/ 568223 h 654996"/>
              <a:gd name="connsiteX213" fmla="*/ 23565 w 291779"/>
              <a:gd name="connsiteY213" fmla="*/ 565766 h 654996"/>
              <a:gd name="connsiteX214" fmla="*/ 23699 w 291779"/>
              <a:gd name="connsiteY214" fmla="*/ 564128 h 654996"/>
              <a:gd name="connsiteX215" fmla="*/ 25261 w 291779"/>
              <a:gd name="connsiteY215" fmla="*/ 564128 h 654996"/>
              <a:gd name="connsiteX216" fmla="*/ 24918 w 291779"/>
              <a:gd name="connsiteY216" fmla="*/ 562718 h 654996"/>
              <a:gd name="connsiteX217" fmla="*/ 24232 w 291779"/>
              <a:gd name="connsiteY217" fmla="*/ 561946 h 654996"/>
              <a:gd name="connsiteX218" fmla="*/ 23469 w 291779"/>
              <a:gd name="connsiteY218" fmla="*/ 560346 h 654996"/>
              <a:gd name="connsiteX219" fmla="*/ 24118 w 291779"/>
              <a:gd name="connsiteY219" fmla="*/ 559498 h 654996"/>
              <a:gd name="connsiteX220" fmla="*/ 25984 w 291779"/>
              <a:gd name="connsiteY220" fmla="*/ 559441 h 654996"/>
              <a:gd name="connsiteX221" fmla="*/ 26137 w 291779"/>
              <a:gd name="connsiteY221" fmla="*/ 558898 h 654996"/>
              <a:gd name="connsiteX222" fmla="*/ 26346 w 291779"/>
              <a:gd name="connsiteY222" fmla="*/ 558136 h 654996"/>
              <a:gd name="connsiteX223" fmla="*/ 24898 w 291779"/>
              <a:gd name="connsiteY223" fmla="*/ 553907 h 654996"/>
              <a:gd name="connsiteX224" fmla="*/ 24727 w 291779"/>
              <a:gd name="connsiteY224" fmla="*/ 551888 h 654996"/>
              <a:gd name="connsiteX225" fmla="*/ 22727 w 291779"/>
              <a:gd name="connsiteY225" fmla="*/ 545744 h 654996"/>
              <a:gd name="connsiteX226" fmla="*/ 20431 w 291779"/>
              <a:gd name="connsiteY226" fmla="*/ 539896 h 654996"/>
              <a:gd name="connsiteX227" fmla="*/ 16993 w 291779"/>
              <a:gd name="connsiteY227" fmla="*/ 535657 h 654996"/>
              <a:gd name="connsiteX228" fmla="*/ 18212 w 291779"/>
              <a:gd name="connsiteY228" fmla="*/ 528657 h 654996"/>
              <a:gd name="connsiteX229" fmla="*/ 19603 w 291779"/>
              <a:gd name="connsiteY229" fmla="*/ 522303 h 654996"/>
              <a:gd name="connsiteX230" fmla="*/ 19326 w 291779"/>
              <a:gd name="connsiteY230" fmla="*/ 519236 h 654996"/>
              <a:gd name="connsiteX231" fmla="*/ 18793 w 291779"/>
              <a:gd name="connsiteY231" fmla="*/ 515493 h 654996"/>
              <a:gd name="connsiteX232" fmla="*/ 14574 w 291779"/>
              <a:gd name="connsiteY232" fmla="*/ 511378 h 654996"/>
              <a:gd name="connsiteX233" fmla="*/ 13954 w 291779"/>
              <a:gd name="connsiteY233" fmla="*/ 505568 h 654996"/>
              <a:gd name="connsiteX234" fmla="*/ 12925 w 291779"/>
              <a:gd name="connsiteY234" fmla="*/ 499300 h 654996"/>
              <a:gd name="connsiteX235" fmla="*/ 13316 w 291779"/>
              <a:gd name="connsiteY235" fmla="*/ 495452 h 654996"/>
              <a:gd name="connsiteX236" fmla="*/ 14002 w 291779"/>
              <a:gd name="connsiteY236" fmla="*/ 492490 h 654996"/>
              <a:gd name="connsiteX237" fmla="*/ 15393 w 291779"/>
              <a:gd name="connsiteY237" fmla="*/ 489537 h 654996"/>
              <a:gd name="connsiteX238" fmla="*/ 22393 w 291779"/>
              <a:gd name="connsiteY238" fmla="*/ 480203 h 654996"/>
              <a:gd name="connsiteX239" fmla="*/ 22822 w 291779"/>
              <a:gd name="connsiteY239" fmla="*/ 475307 h 654996"/>
              <a:gd name="connsiteX240" fmla="*/ 27566 w 291779"/>
              <a:gd name="connsiteY240" fmla="*/ 474945 h 654996"/>
              <a:gd name="connsiteX241" fmla="*/ 25365 w 291779"/>
              <a:gd name="connsiteY241" fmla="*/ 470564 h 654996"/>
              <a:gd name="connsiteX242" fmla="*/ 24851 w 291779"/>
              <a:gd name="connsiteY242" fmla="*/ 468097 h 654996"/>
              <a:gd name="connsiteX243" fmla="*/ 24737 w 291779"/>
              <a:gd name="connsiteY243" fmla="*/ 465211 h 654996"/>
              <a:gd name="connsiteX244" fmla="*/ 31556 w 291779"/>
              <a:gd name="connsiteY244" fmla="*/ 463229 h 654996"/>
              <a:gd name="connsiteX245" fmla="*/ 34109 w 291779"/>
              <a:gd name="connsiteY245" fmla="*/ 464858 h 654996"/>
              <a:gd name="connsiteX246" fmla="*/ 40110 w 291779"/>
              <a:gd name="connsiteY246" fmla="*/ 462848 h 654996"/>
              <a:gd name="connsiteX247" fmla="*/ 45444 w 291779"/>
              <a:gd name="connsiteY247" fmla="*/ 458914 h 654996"/>
              <a:gd name="connsiteX248" fmla="*/ 45348 w 291779"/>
              <a:gd name="connsiteY248" fmla="*/ 456819 h 654996"/>
              <a:gd name="connsiteX249" fmla="*/ 44529 w 291779"/>
              <a:gd name="connsiteY249" fmla="*/ 454943 h 654996"/>
              <a:gd name="connsiteX250" fmla="*/ 43396 w 291779"/>
              <a:gd name="connsiteY250" fmla="*/ 451323 h 654996"/>
              <a:gd name="connsiteX251" fmla="*/ 44196 w 291779"/>
              <a:gd name="connsiteY251" fmla="*/ 450313 h 654996"/>
              <a:gd name="connsiteX252" fmla="*/ 46139 w 291779"/>
              <a:gd name="connsiteY252" fmla="*/ 451056 h 654996"/>
              <a:gd name="connsiteX253" fmla="*/ 45244 w 291779"/>
              <a:gd name="connsiteY253" fmla="*/ 449256 h 654996"/>
              <a:gd name="connsiteX254" fmla="*/ 45406 w 291779"/>
              <a:gd name="connsiteY254" fmla="*/ 447351 h 654996"/>
              <a:gd name="connsiteX255" fmla="*/ 47530 w 291779"/>
              <a:gd name="connsiteY255" fmla="*/ 448142 h 654996"/>
              <a:gd name="connsiteX256" fmla="*/ 50988 w 291779"/>
              <a:gd name="connsiteY256" fmla="*/ 442817 h 654996"/>
              <a:gd name="connsiteX257" fmla="*/ 51111 w 291779"/>
              <a:gd name="connsiteY257" fmla="*/ 438741 h 654996"/>
              <a:gd name="connsiteX258" fmla="*/ 57093 w 291779"/>
              <a:gd name="connsiteY258" fmla="*/ 436607 h 654996"/>
              <a:gd name="connsiteX259" fmla="*/ 63998 w 291779"/>
              <a:gd name="connsiteY259" fmla="*/ 428244 h 654996"/>
              <a:gd name="connsiteX260" fmla="*/ 67180 w 291779"/>
              <a:gd name="connsiteY260" fmla="*/ 425634 h 654996"/>
              <a:gd name="connsiteX261" fmla="*/ 70257 w 291779"/>
              <a:gd name="connsiteY261" fmla="*/ 423739 h 654996"/>
              <a:gd name="connsiteX262" fmla="*/ 76810 w 291779"/>
              <a:gd name="connsiteY262" fmla="*/ 415328 h 654996"/>
              <a:gd name="connsiteX263" fmla="*/ 79610 w 291779"/>
              <a:gd name="connsiteY263" fmla="*/ 414938 h 654996"/>
              <a:gd name="connsiteX264" fmla="*/ 81049 w 291779"/>
              <a:gd name="connsiteY264" fmla="*/ 409242 h 654996"/>
              <a:gd name="connsiteX265" fmla="*/ 86620 w 291779"/>
              <a:gd name="connsiteY265" fmla="*/ 401631 h 654996"/>
              <a:gd name="connsiteX266" fmla="*/ 88316 w 291779"/>
              <a:gd name="connsiteY266" fmla="*/ 400660 h 654996"/>
              <a:gd name="connsiteX267" fmla="*/ 90917 w 291779"/>
              <a:gd name="connsiteY267" fmla="*/ 393763 h 654996"/>
              <a:gd name="connsiteX268" fmla="*/ 97765 w 291779"/>
              <a:gd name="connsiteY268" fmla="*/ 385763 h 654996"/>
              <a:gd name="connsiteX269" fmla="*/ 102108 w 291779"/>
              <a:gd name="connsiteY269" fmla="*/ 375504 h 654996"/>
              <a:gd name="connsiteX270" fmla="*/ 104499 w 291779"/>
              <a:gd name="connsiteY270" fmla="*/ 371847 h 654996"/>
              <a:gd name="connsiteX271" fmla="*/ 105242 w 291779"/>
              <a:gd name="connsiteY271" fmla="*/ 367941 h 654996"/>
              <a:gd name="connsiteX272" fmla="*/ 107909 w 291779"/>
              <a:gd name="connsiteY272" fmla="*/ 367608 h 654996"/>
              <a:gd name="connsiteX273" fmla="*/ 110309 w 291779"/>
              <a:gd name="connsiteY273" fmla="*/ 364731 h 654996"/>
              <a:gd name="connsiteX274" fmla="*/ 115510 w 291779"/>
              <a:gd name="connsiteY274" fmla="*/ 362731 h 654996"/>
              <a:gd name="connsiteX275" fmla="*/ 120653 w 291779"/>
              <a:gd name="connsiteY275" fmla="*/ 363284 h 654996"/>
              <a:gd name="connsiteX276" fmla="*/ 122797 w 291779"/>
              <a:gd name="connsiteY276" fmla="*/ 364655 h 654996"/>
              <a:gd name="connsiteX277" fmla="*/ 124768 w 291779"/>
              <a:gd name="connsiteY277" fmla="*/ 364226 h 654996"/>
              <a:gd name="connsiteX278" fmla="*/ 124568 w 291779"/>
              <a:gd name="connsiteY278" fmla="*/ 360702 h 654996"/>
              <a:gd name="connsiteX279" fmla="*/ 123158 w 291779"/>
              <a:gd name="connsiteY279" fmla="*/ 358521 h 654996"/>
              <a:gd name="connsiteX280" fmla="*/ 124311 w 291779"/>
              <a:gd name="connsiteY280" fmla="*/ 356416 h 654996"/>
              <a:gd name="connsiteX281" fmla="*/ 127025 w 291779"/>
              <a:gd name="connsiteY281" fmla="*/ 354825 h 654996"/>
              <a:gd name="connsiteX282" fmla="*/ 126749 w 291779"/>
              <a:gd name="connsiteY282" fmla="*/ 351301 h 654996"/>
              <a:gd name="connsiteX283" fmla="*/ 126159 w 291779"/>
              <a:gd name="connsiteY283" fmla="*/ 349177 h 654996"/>
              <a:gd name="connsiteX284" fmla="*/ 123901 w 291779"/>
              <a:gd name="connsiteY284" fmla="*/ 346348 h 654996"/>
              <a:gd name="connsiteX285" fmla="*/ 125026 w 291779"/>
              <a:gd name="connsiteY285" fmla="*/ 339985 h 654996"/>
              <a:gd name="connsiteX286" fmla="*/ 125292 w 291779"/>
              <a:gd name="connsiteY286" fmla="*/ 332984 h 654996"/>
              <a:gd name="connsiteX287" fmla="*/ 126359 w 291779"/>
              <a:gd name="connsiteY287" fmla="*/ 324860 h 654996"/>
              <a:gd name="connsiteX288" fmla="*/ 123530 w 291779"/>
              <a:gd name="connsiteY288" fmla="*/ 320545 h 654996"/>
              <a:gd name="connsiteX289" fmla="*/ 112766 w 291779"/>
              <a:gd name="connsiteY289" fmla="*/ 313172 h 654996"/>
              <a:gd name="connsiteX290" fmla="*/ 110766 w 291779"/>
              <a:gd name="connsiteY290" fmla="*/ 313430 h 654996"/>
              <a:gd name="connsiteX291" fmla="*/ 108375 w 291779"/>
              <a:gd name="connsiteY291" fmla="*/ 312496 h 654996"/>
              <a:gd name="connsiteX292" fmla="*/ 105880 w 291779"/>
              <a:gd name="connsiteY292" fmla="*/ 306886 h 654996"/>
              <a:gd name="connsiteX293" fmla="*/ 106995 w 291779"/>
              <a:gd name="connsiteY293" fmla="*/ 302028 h 654996"/>
              <a:gd name="connsiteX294" fmla="*/ 107128 w 291779"/>
              <a:gd name="connsiteY294" fmla="*/ 300238 h 654996"/>
              <a:gd name="connsiteX295" fmla="*/ 106156 w 291779"/>
              <a:gd name="connsiteY295" fmla="*/ 300295 h 654996"/>
              <a:gd name="connsiteX296" fmla="*/ 104575 w 291779"/>
              <a:gd name="connsiteY296" fmla="*/ 302666 h 654996"/>
              <a:gd name="connsiteX297" fmla="*/ 101146 w 291779"/>
              <a:gd name="connsiteY297" fmla="*/ 305371 h 654996"/>
              <a:gd name="connsiteX298" fmla="*/ 96688 w 291779"/>
              <a:gd name="connsiteY298" fmla="*/ 303295 h 654996"/>
              <a:gd name="connsiteX299" fmla="*/ 94498 w 291779"/>
              <a:gd name="connsiteY299" fmla="*/ 303752 h 654996"/>
              <a:gd name="connsiteX300" fmla="*/ 91650 w 291779"/>
              <a:gd name="connsiteY300" fmla="*/ 291684 h 654996"/>
              <a:gd name="connsiteX301" fmla="*/ 90192 w 291779"/>
              <a:gd name="connsiteY301" fmla="*/ 287045 h 654996"/>
              <a:gd name="connsiteX302" fmla="*/ 87859 w 291779"/>
              <a:gd name="connsiteY302" fmla="*/ 281254 h 654996"/>
              <a:gd name="connsiteX303" fmla="*/ 83696 w 291779"/>
              <a:gd name="connsiteY303" fmla="*/ 278425 h 654996"/>
              <a:gd name="connsiteX304" fmla="*/ 82877 w 291779"/>
              <a:gd name="connsiteY304" fmla="*/ 276816 h 654996"/>
              <a:gd name="connsiteX305" fmla="*/ 82325 w 291779"/>
              <a:gd name="connsiteY305" fmla="*/ 274349 h 654996"/>
              <a:gd name="connsiteX306" fmla="*/ 82144 w 291779"/>
              <a:gd name="connsiteY306" fmla="*/ 270920 h 654996"/>
              <a:gd name="connsiteX307" fmla="*/ 81610 w 291779"/>
              <a:gd name="connsiteY307" fmla="*/ 265833 h 654996"/>
              <a:gd name="connsiteX308" fmla="*/ 81829 w 291779"/>
              <a:gd name="connsiteY308" fmla="*/ 261652 h 654996"/>
              <a:gd name="connsiteX309" fmla="*/ 82344 w 291779"/>
              <a:gd name="connsiteY309" fmla="*/ 259156 h 654996"/>
              <a:gd name="connsiteX310" fmla="*/ 84144 w 291779"/>
              <a:gd name="connsiteY310" fmla="*/ 257480 h 654996"/>
              <a:gd name="connsiteX311" fmla="*/ 86735 w 291779"/>
              <a:gd name="connsiteY311" fmla="*/ 252727 h 654996"/>
              <a:gd name="connsiteX312" fmla="*/ 87278 w 291779"/>
              <a:gd name="connsiteY312" fmla="*/ 249269 h 654996"/>
              <a:gd name="connsiteX313" fmla="*/ 87497 w 291779"/>
              <a:gd name="connsiteY313" fmla="*/ 243954 h 654996"/>
              <a:gd name="connsiteX314" fmla="*/ 88688 w 291779"/>
              <a:gd name="connsiteY314" fmla="*/ 239297 h 654996"/>
              <a:gd name="connsiteX315" fmla="*/ 90011 w 291779"/>
              <a:gd name="connsiteY315" fmla="*/ 236934 h 654996"/>
              <a:gd name="connsiteX316" fmla="*/ 89678 w 291779"/>
              <a:gd name="connsiteY316" fmla="*/ 235048 h 654996"/>
              <a:gd name="connsiteX317" fmla="*/ 88764 w 291779"/>
              <a:gd name="connsiteY317" fmla="*/ 232362 h 654996"/>
              <a:gd name="connsiteX318" fmla="*/ 86820 w 291779"/>
              <a:gd name="connsiteY318" fmla="*/ 228533 h 654996"/>
              <a:gd name="connsiteX319" fmla="*/ 83868 w 291779"/>
              <a:gd name="connsiteY319" fmla="*/ 223857 h 654996"/>
              <a:gd name="connsiteX320" fmla="*/ 81686 w 291779"/>
              <a:gd name="connsiteY320" fmla="*/ 219370 h 654996"/>
              <a:gd name="connsiteX321" fmla="*/ 80725 w 291779"/>
              <a:gd name="connsiteY321" fmla="*/ 215170 h 654996"/>
              <a:gd name="connsiteX322" fmla="*/ 80229 w 291779"/>
              <a:gd name="connsiteY322" fmla="*/ 211398 h 654996"/>
              <a:gd name="connsiteX323" fmla="*/ 80306 w 291779"/>
              <a:gd name="connsiteY323" fmla="*/ 207969 h 654996"/>
              <a:gd name="connsiteX324" fmla="*/ 81125 w 291779"/>
              <a:gd name="connsiteY324" fmla="*/ 205626 h 654996"/>
              <a:gd name="connsiteX325" fmla="*/ 83906 w 291779"/>
              <a:gd name="connsiteY325" fmla="*/ 202673 h 654996"/>
              <a:gd name="connsiteX326" fmla="*/ 84277 w 291779"/>
              <a:gd name="connsiteY326" fmla="*/ 201416 h 654996"/>
              <a:gd name="connsiteX327" fmla="*/ 83172 w 291779"/>
              <a:gd name="connsiteY327" fmla="*/ 194872 h 654996"/>
              <a:gd name="connsiteX328" fmla="*/ 81229 w 291779"/>
              <a:gd name="connsiteY328" fmla="*/ 193681 h 654996"/>
              <a:gd name="connsiteX329" fmla="*/ 77924 w 291779"/>
              <a:gd name="connsiteY329" fmla="*/ 193043 h 654996"/>
              <a:gd name="connsiteX330" fmla="*/ 76076 w 291779"/>
              <a:gd name="connsiteY330" fmla="*/ 192986 h 654996"/>
              <a:gd name="connsiteX331" fmla="*/ 75724 w 291779"/>
              <a:gd name="connsiteY331" fmla="*/ 192262 h 654996"/>
              <a:gd name="connsiteX332" fmla="*/ 75629 w 291779"/>
              <a:gd name="connsiteY332" fmla="*/ 190948 h 654996"/>
              <a:gd name="connsiteX333" fmla="*/ 76010 w 291779"/>
              <a:gd name="connsiteY333" fmla="*/ 188252 h 654996"/>
              <a:gd name="connsiteX334" fmla="*/ 77048 w 291779"/>
              <a:gd name="connsiteY334" fmla="*/ 185156 h 654996"/>
              <a:gd name="connsiteX335" fmla="*/ 77914 w 291779"/>
              <a:gd name="connsiteY335" fmla="*/ 183175 h 654996"/>
              <a:gd name="connsiteX336" fmla="*/ 78029 w 291779"/>
              <a:gd name="connsiteY336" fmla="*/ 181499 h 654996"/>
              <a:gd name="connsiteX337" fmla="*/ 76924 w 291779"/>
              <a:gd name="connsiteY337" fmla="*/ 175746 h 654996"/>
              <a:gd name="connsiteX338" fmla="*/ 76591 w 291779"/>
              <a:gd name="connsiteY338" fmla="*/ 168669 h 654996"/>
              <a:gd name="connsiteX339" fmla="*/ 76971 w 291779"/>
              <a:gd name="connsiteY339" fmla="*/ 163106 h 654996"/>
              <a:gd name="connsiteX340" fmla="*/ 80477 w 291779"/>
              <a:gd name="connsiteY340" fmla="*/ 158991 h 654996"/>
              <a:gd name="connsiteX341" fmla="*/ 80639 w 291779"/>
              <a:gd name="connsiteY341" fmla="*/ 157486 h 654996"/>
              <a:gd name="connsiteX342" fmla="*/ 76238 w 291779"/>
              <a:gd name="connsiteY342" fmla="*/ 153000 h 654996"/>
              <a:gd name="connsiteX343" fmla="*/ 73066 w 291779"/>
              <a:gd name="connsiteY343" fmla="*/ 147904 h 654996"/>
              <a:gd name="connsiteX344" fmla="*/ 72076 w 291779"/>
              <a:gd name="connsiteY344" fmla="*/ 144923 h 654996"/>
              <a:gd name="connsiteX345" fmla="*/ 68447 w 291779"/>
              <a:gd name="connsiteY345" fmla="*/ 144475 h 654996"/>
              <a:gd name="connsiteX346" fmla="*/ 66180 w 291779"/>
              <a:gd name="connsiteY346" fmla="*/ 135769 h 654996"/>
              <a:gd name="connsiteX347" fmla="*/ 62903 w 291779"/>
              <a:gd name="connsiteY347" fmla="*/ 131521 h 654996"/>
              <a:gd name="connsiteX348" fmla="*/ 59665 w 291779"/>
              <a:gd name="connsiteY348" fmla="*/ 127835 h 654996"/>
              <a:gd name="connsiteX349" fmla="*/ 57750 w 291779"/>
              <a:gd name="connsiteY349" fmla="*/ 126121 h 654996"/>
              <a:gd name="connsiteX350" fmla="*/ 46511 w 291779"/>
              <a:gd name="connsiteY350" fmla="*/ 120815 h 654996"/>
              <a:gd name="connsiteX351" fmla="*/ 42053 w 291779"/>
              <a:gd name="connsiteY351" fmla="*/ 119805 h 654996"/>
              <a:gd name="connsiteX352" fmla="*/ 36767 w 291779"/>
              <a:gd name="connsiteY352" fmla="*/ 116700 h 654996"/>
              <a:gd name="connsiteX353" fmla="*/ 32833 w 291779"/>
              <a:gd name="connsiteY353" fmla="*/ 112795 h 654996"/>
              <a:gd name="connsiteX354" fmla="*/ 29461 w 291779"/>
              <a:gd name="connsiteY354" fmla="*/ 110280 h 654996"/>
              <a:gd name="connsiteX355" fmla="*/ 26575 w 291779"/>
              <a:gd name="connsiteY355" fmla="*/ 107166 h 654996"/>
              <a:gd name="connsiteX356" fmla="*/ 22546 w 291779"/>
              <a:gd name="connsiteY356" fmla="*/ 104251 h 654996"/>
              <a:gd name="connsiteX357" fmla="*/ 21393 w 291779"/>
              <a:gd name="connsiteY357" fmla="*/ 101756 h 654996"/>
              <a:gd name="connsiteX358" fmla="*/ 17040 w 291779"/>
              <a:gd name="connsiteY358" fmla="*/ 97126 h 654996"/>
              <a:gd name="connsiteX359" fmla="*/ 15002 w 291779"/>
              <a:gd name="connsiteY359" fmla="*/ 94069 h 654996"/>
              <a:gd name="connsiteX360" fmla="*/ 7925 w 291779"/>
              <a:gd name="connsiteY360" fmla="*/ 88287 h 654996"/>
              <a:gd name="connsiteX361" fmla="*/ 7668 w 291779"/>
              <a:gd name="connsiteY361" fmla="*/ 86001 h 654996"/>
              <a:gd name="connsiteX362" fmla="*/ 7620 w 291779"/>
              <a:gd name="connsiteY362" fmla="*/ 83791 h 654996"/>
              <a:gd name="connsiteX363" fmla="*/ 7296 w 291779"/>
              <a:gd name="connsiteY363" fmla="*/ 82867 h 654996"/>
              <a:gd name="connsiteX364" fmla="*/ 0 w 291779"/>
              <a:gd name="connsiteY364" fmla="*/ 78619 h 654996"/>
              <a:gd name="connsiteX365" fmla="*/ 1438 w 291779"/>
              <a:gd name="connsiteY365" fmla="*/ 76181 h 654996"/>
              <a:gd name="connsiteX366" fmla="*/ 7144 w 291779"/>
              <a:gd name="connsiteY366" fmla="*/ 76029 h 654996"/>
              <a:gd name="connsiteX367" fmla="*/ 11859 w 291779"/>
              <a:gd name="connsiteY367" fmla="*/ 78248 h 654996"/>
              <a:gd name="connsiteX368" fmla="*/ 12897 w 291779"/>
              <a:gd name="connsiteY368" fmla="*/ 77295 h 654996"/>
              <a:gd name="connsiteX369" fmla="*/ 13516 w 291779"/>
              <a:gd name="connsiteY369" fmla="*/ 75324 h 654996"/>
              <a:gd name="connsiteX370" fmla="*/ 11506 w 291779"/>
              <a:gd name="connsiteY370" fmla="*/ 67399 h 654996"/>
              <a:gd name="connsiteX371" fmla="*/ 11868 w 291779"/>
              <a:gd name="connsiteY371" fmla="*/ 65322 h 654996"/>
              <a:gd name="connsiteX372" fmla="*/ 13944 w 291779"/>
              <a:gd name="connsiteY372" fmla="*/ 62827 h 654996"/>
              <a:gd name="connsiteX373" fmla="*/ 17240 w 291779"/>
              <a:gd name="connsiteY373" fmla="*/ 60836 h 654996"/>
              <a:gd name="connsiteX374" fmla="*/ 22432 w 291779"/>
              <a:gd name="connsiteY374" fmla="*/ 60550 h 654996"/>
              <a:gd name="connsiteX375" fmla="*/ 25975 w 291779"/>
              <a:gd name="connsiteY375" fmla="*/ 60846 h 654996"/>
              <a:gd name="connsiteX376" fmla="*/ 26727 w 291779"/>
              <a:gd name="connsiteY376" fmla="*/ 61065 h 654996"/>
              <a:gd name="connsiteX377" fmla="*/ 32014 w 291779"/>
              <a:gd name="connsiteY377" fmla="*/ 69809 h 654996"/>
              <a:gd name="connsiteX378" fmla="*/ 36557 w 291779"/>
              <a:gd name="connsiteY378" fmla="*/ 78296 h 654996"/>
              <a:gd name="connsiteX379" fmla="*/ 38967 w 291779"/>
              <a:gd name="connsiteY379" fmla="*/ 81896 h 654996"/>
              <a:gd name="connsiteX380" fmla="*/ 44863 w 291779"/>
              <a:gd name="connsiteY380" fmla="*/ 92069 h 654996"/>
              <a:gd name="connsiteX381" fmla="*/ 47073 w 291779"/>
              <a:gd name="connsiteY381" fmla="*/ 97926 h 654996"/>
              <a:gd name="connsiteX382" fmla="*/ 47825 w 291779"/>
              <a:gd name="connsiteY382" fmla="*/ 102108 h 654996"/>
              <a:gd name="connsiteX383" fmla="*/ 50225 w 291779"/>
              <a:gd name="connsiteY383" fmla="*/ 102089 h 654996"/>
              <a:gd name="connsiteX384" fmla="*/ 58522 w 291779"/>
              <a:gd name="connsiteY384" fmla="*/ 103918 h 654996"/>
              <a:gd name="connsiteX385" fmla="*/ 65494 w 291779"/>
              <a:gd name="connsiteY385" fmla="*/ 105461 h 654996"/>
              <a:gd name="connsiteX386" fmla="*/ 67437 w 291779"/>
              <a:gd name="connsiteY386" fmla="*/ 107794 h 654996"/>
              <a:gd name="connsiteX387" fmla="*/ 72238 w 291779"/>
              <a:gd name="connsiteY387" fmla="*/ 107328 h 654996"/>
              <a:gd name="connsiteX388" fmla="*/ 75943 w 291779"/>
              <a:gd name="connsiteY388" fmla="*/ 105223 h 654996"/>
              <a:gd name="connsiteX389" fmla="*/ 82477 w 291779"/>
              <a:gd name="connsiteY389" fmla="*/ 102565 h 654996"/>
              <a:gd name="connsiteX390" fmla="*/ 84230 w 291779"/>
              <a:gd name="connsiteY390" fmla="*/ 99289 h 654996"/>
              <a:gd name="connsiteX391" fmla="*/ 86411 w 291779"/>
              <a:gd name="connsiteY391" fmla="*/ 95774 h 654996"/>
              <a:gd name="connsiteX392" fmla="*/ 90240 w 291779"/>
              <a:gd name="connsiteY392" fmla="*/ 96326 h 654996"/>
              <a:gd name="connsiteX393" fmla="*/ 94431 w 291779"/>
              <a:gd name="connsiteY393" fmla="*/ 99098 h 654996"/>
              <a:gd name="connsiteX394" fmla="*/ 99184 w 291779"/>
              <a:gd name="connsiteY394" fmla="*/ 102737 h 654996"/>
              <a:gd name="connsiteX395" fmla="*/ 103423 w 291779"/>
              <a:gd name="connsiteY395" fmla="*/ 104413 h 654996"/>
              <a:gd name="connsiteX396" fmla="*/ 109109 w 291779"/>
              <a:gd name="connsiteY396" fmla="*/ 107042 h 654996"/>
              <a:gd name="connsiteX397" fmla="*/ 111757 w 291779"/>
              <a:gd name="connsiteY397" fmla="*/ 110433 h 654996"/>
              <a:gd name="connsiteX398" fmla="*/ 115471 w 291779"/>
              <a:gd name="connsiteY398" fmla="*/ 111404 h 654996"/>
              <a:gd name="connsiteX399" fmla="*/ 119358 w 291779"/>
              <a:gd name="connsiteY399" fmla="*/ 108013 h 654996"/>
              <a:gd name="connsiteX400" fmla="*/ 121654 w 291779"/>
              <a:gd name="connsiteY400" fmla="*/ 98765 h 654996"/>
              <a:gd name="connsiteX401" fmla="*/ 123692 w 291779"/>
              <a:gd name="connsiteY401" fmla="*/ 94621 h 654996"/>
              <a:gd name="connsiteX402" fmla="*/ 126578 w 291779"/>
              <a:gd name="connsiteY402" fmla="*/ 91583 h 654996"/>
              <a:gd name="connsiteX403" fmla="*/ 129883 w 291779"/>
              <a:gd name="connsiteY403" fmla="*/ 90240 h 654996"/>
              <a:gd name="connsiteX404" fmla="*/ 132407 w 291779"/>
              <a:gd name="connsiteY404" fmla="*/ 89754 h 654996"/>
              <a:gd name="connsiteX405" fmla="*/ 134321 w 291779"/>
              <a:gd name="connsiteY405" fmla="*/ 87382 h 654996"/>
              <a:gd name="connsiteX406" fmla="*/ 137036 w 291779"/>
              <a:gd name="connsiteY406" fmla="*/ 82105 h 654996"/>
              <a:gd name="connsiteX407" fmla="*/ 137570 w 291779"/>
              <a:gd name="connsiteY407" fmla="*/ 75686 h 654996"/>
              <a:gd name="connsiteX408" fmla="*/ 137046 w 291779"/>
              <a:gd name="connsiteY408" fmla="*/ 64027 h 654996"/>
              <a:gd name="connsiteX409" fmla="*/ 137541 w 291779"/>
              <a:gd name="connsiteY409" fmla="*/ 60160 h 654996"/>
              <a:gd name="connsiteX410" fmla="*/ 139761 w 291779"/>
              <a:gd name="connsiteY410" fmla="*/ 53816 h 654996"/>
              <a:gd name="connsiteX411" fmla="*/ 142742 w 291779"/>
              <a:gd name="connsiteY411" fmla="*/ 36900 h 654996"/>
              <a:gd name="connsiteX412" fmla="*/ 144076 w 291779"/>
              <a:gd name="connsiteY412" fmla="*/ 31985 h 654996"/>
              <a:gd name="connsiteX413" fmla="*/ 145704 w 291779"/>
              <a:gd name="connsiteY413" fmla="*/ 28994 h 654996"/>
              <a:gd name="connsiteX414" fmla="*/ 147943 w 291779"/>
              <a:gd name="connsiteY414" fmla="*/ 27213 h 654996"/>
              <a:gd name="connsiteX415" fmla="*/ 152010 w 291779"/>
              <a:gd name="connsiteY415" fmla="*/ 22031 h 654996"/>
              <a:gd name="connsiteX416" fmla="*/ 157820 w 291779"/>
              <a:gd name="connsiteY416" fmla="*/ 11706 h 654996"/>
              <a:gd name="connsiteX417" fmla="*/ 159391 w 291779"/>
              <a:gd name="connsiteY417" fmla="*/ 10830 h 654996"/>
              <a:gd name="connsiteX418" fmla="*/ 163563 w 291779"/>
              <a:gd name="connsiteY418" fmla="*/ 10306 h 654996"/>
              <a:gd name="connsiteX419" fmla="*/ 168745 w 291779"/>
              <a:gd name="connsiteY419" fmla="*/ 10687 h 654996"/>
              <a:gd name="connsiteX420" fmla="*/ 173412 w 291779"/>
              <a:gd name="connsiteY420" fmla="*/ 12506 h 654996"/>
              <a:gd name="connsiteX421" fmla="*/ 173917 w 291779"/>
              <a:gd name="connsiteY421" fmla="*/ 12363 h 654996"/>
              <a:gd name="connsiteX422" fmla="*/ 176013 w 291779"/>
              <a:gd name="connsiteY422" fmla="*/ 11411 h 654996"/>
              <a:gd name="connsiteX423" fmla="*/ 179813 w 291779"/>
              <a:gd name="connsiteY423" fmla="*/ 8192 h 654996"/>
              <a:gd name="connsiteX424" fmla="*/ 186328 w 291779"/>
              <a:gd name="connsiteY424" fmla="*/ 1772 h 654996"/>
              <a:gd name="connsiteX425" fmla="*/ 190500 w 291779"/>
              <a:gd name="connsiteY425" fmla="*/ 0 h 654996"/>
              <a:gd name="connsiteX426" fmla="*/ 194291 w 291779"/>
              <a:gd name="connsiteY426" fmla="*/ 248 h 654996"/>
              <a:gd name="connsiteX427" fmla="*/ 198491 w 291779"/>
              <a:gd name="connsiteY427" fmla="*/ 7277 h 654996"/>
              <a:gd name="connsiteX428" fmla="*/ 204426 w 291779"/>
              <a:gd name="connsiteY428" fmla="*/ 15078 h 654996"/>
              <a:gd name="connsiteX429" fmla="*/ 208236 w 291779"/>
              <a:gd name="connsiteY429" fmla="*/ 18850 h 654996"/>
              <a:gd name="connsiteX430" fmla="*/ 218627 w 291779"/>
              <a:gd name="connsiteY430" fmla="*/ 25908 h 654996"/>
              <a:gd name="connsiteX431" fmla="*/ 227752 w 291779"/>
              <a:gd name="connsiteY431" fmla="*/ 30528 h 654996"/>
              <a:gd name="connsiteX432" fmla="*/ 232877 w 291779"/>
              <a:gd name="connsiteY432" fmla="*/ 45710 h 654996"/>
              <a:gd name="connsiteX433" fmla="*/ 230344 w 291779"/>
              <a:gd name="connsiteY433" fmla="*/ 51721 h 654996"/>
              <a:gd name="connsiteX434" fmla="*/ 229086 w 291779"/>
              <a:gd name="connsiteY434" fmla="*/ 53788 h 654996"/>
              <a:gd name="connsiteX435" fmla="*/ 224619 w 291779"/>
              <a:gd name="connsiteY435" fmla="*/ 59741 h 654996"/>
              <a:gd name="connsiteX436" fmla="*/ 219846 w 291779"/>
              <a:gd name="connsiteY436" fmla="*/ 68104 h 654996"/>
              <a:gd name="connsiteX437" fmla="*/ 219485 w 291779"/>
              <a:gd name="connsiteY437" fmla="*/ 72447 h 654996"/>
              <a:gd name="connsiteX438" fmla="*/ 221066 w 291779"/>
              <a:gd name="connsiteY438" fmla="*/ 76819 h 654996"/>
              <a:gd name="connsiteX439" fmla="*/ 223085 w 291779"/>
              <a:gd name="connsiteY439" fmla="*/ 79648 h 654996"/>
              <a:gd name="connsiteX440" fmla="*/ 113014 w 291779"/>
              <a:gd name="connsiteY440" fmla="*/ 355911 h 654996"/>
              <a:gd name="connsiteX441" fmla="*/ 109024 w 291779"/>
              <a:gd name="connsiteY441" fmla="*/ 358007 h 654996"/>
              <a:gd name="connsiteX442" fmla="*/ 105813 w 291779"/>
              <a:gd name="connsiteY442" fmla="*/ 356702 h 654996"/>
              <a:gd name="connsiteX443" fmla="*/ 105756 w 291779"/>
              <a:gd name="connsiteY443" fmla="*/ 352635 h 654996"/>
              <a:gd name="connsiteX444" fmla="*/ 107747 w 291779"/>
              <a:gd name="connsiteY444" fmla="*/ 350663 h 654996"/>
              <a:gd name="connsiteX445" fmla="*/ 111347 w 291779"/>
              <a:gd name="connsiteY445" fmla="*/ 349872 h 654996"/>
              <a:gd name="connsiteX446" fmla="*/ 116281 w 291779"/>
              <a:gd name="connsiteY446" fmla="*/ 351844 h 654996"/>
              <a:gd name="connsiteX447" fmla="*/ 117005 w 291779"/>
              <a:gd name="connsiteY447" fmla="*/ 352892 h 654996"/>
              <a:gd name="connsiteX448" fmla="*/ 114176 w 291779"/>
              <a:gd name="connsiteY448" fmla="*/ 353682 h 654996"/>
              <a:gd name="connsiteX449" fmla="*/ 113014 w 291779"/>
              <a:gd name="connsiteY449" fmla="*/ 355911 h 654996"/>
              <a:gd name="connsiteX450" fmla="*/ 15964 w 291779"/>
              <a:gd name="connsiteY450" fmla="*/ 462953 h 654996"/>
              <a:gd name="connsiteX451" fmla="*/ 16250 w 291779"/>
              <a:gd name="connsiteY451" fmla="*/ 464058 h 654996"/>
              <a:gd name="connsiteX452" fmla="*/ 17812 w 291779"/>
              <a:gd name="connsiteY452" fmla="*/ 463753 h 654996"/>
              <a:gd name="connsiteX453" fmla="*/ 19927 w 291779"/>
              <a:gd name="connsiteY453" fmla="*/ 461734 h 654996"/>
              <a:gd name="connsiteX454" fmla="*/ 21422 w 291779"/>
              <a:gd name="connsiteY454" fmla="*/ 462677 h 654996"/>
              <a:gd name="connsiteX455" fmla="*/ 21250 w 291779"/>
              <a:gd name="connsiteY455" fmla="*/ 465553 h 654996"/>
              <a:gd name="connsiteX456" fmla="*/ 20241 w 291779"/>
              <a:gd name="connsiteY456" fmla="*/ 465439 h 654996"/>
              <a:gd name="connsiteX457" fmla="*/ 19964 w 291779"/>
              <a:gd name="connsiteY457" fmla="*/ 464963 h 654996"/>
              <a:gd name="connsiteX458" fmla="*/ 18660 w 291779"/>
              <a:gd name="connsiteY458" fmla="*/ 466601 h 654996"/>
              <a:gd name="connsiteX459" fmla="*/ 18431 w 291779"/>
              <a:gd name="connsiteY459" fmla="*/ 467592 h 654996"/>
              <a:gd name="connsiteX460" fmla="*/ 16926 w 291779"/>
              <a:gd name="connsiteY460" fmla="*/ 468220 h 654996"/>
              <a:gd name="connsiteX461" fmla="*/ 14145 w 291779"/>
              <a:gd name="connsiteY461" fmla="*/ 465411 h 654996"/>
              <a:gd name="connsiteX462" fmla="*/ 12392 w 291779"/>
              <a:gd name="connsiteY462" fmla="*/ 460781 h 654996"/>
              <a:gd name="connsiteX463" fmla="*/ 16469 w 291779"/>
              <a:gd name="connsiteY463" fmla="*/ 460772 h 654996"/>
              <a:gd name="connsiteX464" fmla="*/ 16078 w 291779"/>
              <a:gd name="connsiteY464" fmla="*/ 461877 h 654996"/>
              <a:gd name="connsiteX465" fmla="*/ 15964 w 291779"/>
              <a:gd name="connsiteY465" fmla="*/ 462953 h 654996"/>
              <a:gd name="connsiteX466" fmla="*/ 22193 w 291779"/>
              <a:gd name="connsiteY466" fmla="*/ 616667 h 654996"/>
              <a:gd name="connsiteX467" fmla="*/ 21822 w 291779"/>
              <a:gd name="connsiteY467" fmla="*/ 619192 h 654996"/>
              <a:gd name="connsiteX468" fmla="*/ 20003 w 291779"/>
              <a:gd name="connsiteY468" fmla="*/ 618915 h 654996"/>
              <a:gd name="connsiteX469" fmla="*/ 18155 w 291779"/>
              <a:gd name="connsiteY469" fmla="*/ 619373 h 654996"/>
              <a:gd name="connsiteX470" fmla="*/ 16669 w 291779"/>
              <a:gd name="connsiteY470" fmla="*/ 616868 h 654996"/>
              <a:gd name="connsiteX471" fmla="*/ 15878 w 291779"/>
              <a:gd name="connsiteY471" fmla="*/ 612639 h 654996"/>
              <a:gd name="connsiteX472" fmla="*/ 16155 w 291779"/>
              <a:gd name="connsiteY472" fmla="*/ 611724 h 654996"/>
              <a:gd name="connsiteX473" fmla="*/ 17316 w 291779"/>
              <a:gd name="connsiteY473" fmla="*/ 610762 h 654996"/>
              <a:gd name="connsiteX474" fmla="*/ 18202 w 291779"/>
              <a:gd name="connsiteY474" fmla="*/ 613086 h 654996"/>
              <a:gd name="connsiteX475" fmla="*/ 22193 w 291779"/>
              <a:gd name="connsiteY475" fmla="*/ 616667 h 654996"/>
              <a:gd name="connsiteX476" fmla="*/ 36719 w 291779"/>
              <a:gd name="connsiteY476" fmla="*/ 627097 h 654996"/>
              <a:gd name="connsiteX477" fmla="*/ 34766 w 291779"/>
              <a:gd name="connsiteY477" fmla="*/ 627336 h 654996"/>
              <a:gd name="connsiteX478" fmla="*/ 32014 w 291779"/>
              <a:gd name="connsiteY478" fmla="*/ 624659 h 654996"/>
              <a:gd name="connsiteX479" fmla="*/ 31671 w 291779"/>
              <a:gd name="connsiteY479" fmla="*/ 623611 h 654996"/>
              <a:gd name="connsiteX480" fmla="*/ 32747 w 291779"/>
              <a:gd name="connsiteY480" fmla="*/ 623002 h 654996"/>
              <a:gd name="connsiteX481" fmla="*/ 32033 w 291779"/>
              <a:gd name="connsiteY481" fmla="*/ 620849 h 654996"/>
              <a:gd name="connsiteX482" fmla="*/ 32242 w 291779"/>
              <a:gd name="connsiteY482" fmla="*/ 619896 h 654996"/>
              <a:gd name="connsiteX483" fmla="*/ 34367 w 291779"/>
              <a:gd name="connsiteY483" fmla="*/ 621601 h 654996"/>
              <a:gd name="connsiteX484" fmla="*/ 35529 w 291779"/>
              <a:gd name="connsiteY484" fmla="*/ 623583 h 654996"/>
              <a:gd name="connsiteX485" fmla="*/ 34395 w 291779"/>
              <a:gd name="connsiteY485" fmla="*/ 624040 h 654996"/>
              <a:gd name="connsiteX486" fmla="*/ 36319 w 291779"/>
              <a:gd name="connsiteY486" fmla="*/ 626088 h 654996"/>
              <a:gd name="connsiteX487" fmla="*/ 36719 w 291779"/>
              <a:gd name="connsiteY487" fmla="*/ 627097 h 654996"/>
              <a:gd name="connsiteX488" fmla="*/ 41558 w 291779"/>
              <a:gd name="connsiteY488" fmla="*/ 625269 h 654996"/>
              <a:gd name="connsiteX489" fmla="*/ 44939 w 291779"/>
              <a:gd name="connsiteY489" fmla="*/ 626516 h 654996"/>
              <a:gd name="connsiteX490" fmla="*/ 46358 w 291779"/>
              <a:gd name="connsiteY490" fmla="*/ 626069 h 654996"/>
              <a:gd name="connsiteX491" fmla="*/ 47977 w 291779"/>
              <a:gd name="connsiteY491" fmla="*/ 628898 h 654996"/>
              <a:gd name="connsiteX492" fmla="*/ 45234 w 291779"/>
              <a:gd name="connsiteY492" fmla="*/ 630688 h 654996"/>
              <a:gd name="connsiteX493" fmla="*/ 45044 w 291779"/>
              <a:gd name="connsiteY493" fmla="*/ 632917 h 654996"/>
              <a:gd name="connsiteX494" fmla="*/ 46130 w 291779"/>
              <a:gd name="connsiteY494" fmla="*/ 634298 h 654996"/>
              <a:gd name="connsiteX495" fmla="*/ 46511 w 291779"/>
              <a:gd name="connsiteY495" fmla="*/ 636299 h 654996"/>
              <a:gd name="connsiteX496" fmla="*/ 43777 w 291779"/>
              <a:gd name="connsiteY496" fmla="*/ 636299 h 654996"/>
              <a:gd name="connsiteX497" fmla="*/ 42472 w 291779"/>
              <a:gd name="connsiteY497" fmla="*/ 634613 h 654996"/>
              <a:gd name="connsiteX498" fmla="*/ 41900 w 291779"/>
              <a:gd name="connsiteY498" fmla="*/ 632470 h 654996"/>
              <a:gd name="connsiteX499" fmla="*/ 40624 w 291779"/>
              <a:gd name="connsiteY499" fmla="*/ 630955 h 654996"/>
              <a:gd name="connsiteX500" fmla="*/ 38929 w 291779"/>
              <a:gd name="connsiteY500" fmla="*/ 629803 h 654996"/>
              <a:gd name="connsiteX501" fmla="*/ 39757 w 291779"/>
              <a:gd name="connsiteY501" fmla="*/ 628260 h 654996"/>
              <a:gd name="connsiteX502" fmla="*/ 40234 w 291779"/>
              <a:gd name="connsiteY502" fmla="*/ 626050 h 654996"/>
              <a:gd name="connsiteX503" fmla="*/ 41558 w 291779"/>
              <a:gd name="connsiteY503" fmla="*/ 625269 h 654996"/>
              <a:gd name="connsiteX504" fmla="*/ 32414 w 291779"/>
              <a:gd name="connsiteY504" fmla="*/ 637642 h 654996"/>
              <a:gd name="connsiteX505" fmla="*/ 29737 w 291779"/>
              <a:gd name="connsiteY505" fmla="*/ 639480 h 654996"/>
              <a:gd name="connsiteX506" fmla="*/ 28718 w 291779"/>
              <a:gd name="connsiteY506" fmla="*/ 639042 h 654996"/>
              <a:gd name="connsiteX507" fmla="*/ 28975 w 291779"/>
              <a:gd name="connsiteY507" fmla="*/ 635937 h 654996"/>
              <a:gd name="connsiteX508" fmla="*/ 30566 w 291779"/>
              <a:gd name="connsiteY508" fmla="*/ 634517 h 654996"/>
              <a:gd name="connsiteX509" fmla="*/ 33242 w 291779"/>
              <a:gd name="connsiteY509" fmla="*/ 634355 h 654996"/>
              <a:gd name="connsiteX510" fmla="*/ 32414 w 291779"/>
              <a:gd name="connsiteY510" fmla="*/ 637642 h 654996"/>
              <a:gd name="connsiteX511" fmla="*/ 26937 w 291779"/>
              <a:gd name="connsiteY511" fmla="*/ 639394 h 654996"/>
              <a:gd name="connsiteX512" fmla="*/ 24594 w 291779"/>
              <a:gd name="connsiteY512" fmla="*/ 639928 h 654996"/>
              <a:gd name="connsiteX513" fmla="*/ 23136 w 291779"/>
              <a:gd name="connsiteY513" fmla="*/ 638375 h 654996"/>
              <a:gd name="connsiteX514" fmla="*/ 23689 w 291779"/>
              <a:gd name="connsiteY514" fmla="*/ 637222 h 654996"/>
              <a:gd name="connsiteX515" fmla="*/ 25318 w 291779"/>
              <a:gd name="connsiteY515" fmla="*/ 635937 h 654996"/>
              <a:gd name="connsiteX516" fmla="*/ 27089 w 291779"/>
              <a:gd name="connsiteY516" fmla="*/ 636118 h 654996"/>
              <a:gd name="connsiteX517" fmla="*/ 27470 w 291779"/>
              <a:gd name="connsiteY517" fmla="*/ 637623 h 654996"/>
              <a:gd name="connsiteX518" fmla="*/ 26937 w 291779"/>
              <a:gd name="connsiteY518" fmla="*/ 639394 h 65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</a:cxnLst>
            <a:rect l="l" t="t" r="r" b="b"/>
            <a:pathLst>
              <a:path w="291779" h="654996">
                <a:moveTo>
                  <a:pt x="223085" y="79648"/>
                </a:moveTo>
                <a:lnTo>
                  <a:pt x="221295" y="80572"/>
                </a:lnTo>
                <a:lnTo>
                  <a:pt x="215770" y="84191"/>
                </a:lnTo>
                <a:lnTo>
                  <a:pt x="212398" y="86630"/>
                </a:lnTo>
                <a:lnTo>
                  <a:pt x="208340" y="88420"/>
                </a:lnTo>
                <a:lnTo>
                  <a:pt x="209388" y="90792"/>
                </a:lnTo>
                <a:lnTo>
                  <a:pt x="216132" y="91288"/>
                </a:lnTo>
                <a:lnTo>
                  <a:pt x="217170" y="91964"/>
                </a:lnTo>
                <a:lnTo>
                  <a:pt x="217923" y="93174"/>
                </a:lnTo>
                <a:lnTo>
                  <a:pt x="218047" y="95117"/>
                </a:lnTo>
                <a:lnTo>
                  <a:pt x="217370" y="98250"/>
                </a:lnTo>
                <a:lnTo>
                  <a:pt x="210074" y="115405"/>
                </a:lnTo>
                <a:lnTo>
                  <a:pt x="209845" y="118996"/>
                </a:lnTo>
                <a:lnTo>
                  <a:pt x="212227" y="128940"/>
                </a:lnTo>
                <a:lnTo>
                  <a:pt x="215570" y="140599"/>
                </a:lnTo>
                <a:lnTo>
                  <a:pt x="225676" y="145752"/>
                </a:lnTo>
                <a:lnTo>
                  <a:pt x="233182" y="149762"/>
                </a:lnTo>
                <a:lnTo>
                  <a:pt x="238001" y="159229"/>
                </a:lnTo>
                <a:lnTo>
                  <a:pt x="245955" y="171621"/>
                </a:lnTo>
                <a:lnTo>
                  <a:pt x="250165" y="176232"/>
                </a:lnTo>
                <a:lnTo>
                  <a:pt x="250403" y="177660"/>
                </a:lnTo>
                <a:lnTo>
                  <a:pt x="249155" y="186128"/>
                </a:lnTo>
                <a:lnTo>
                  <a:pt x="244059" y="194567"/>
                </a:lnTo>
                <a:lnTo>
                  <a:pt x="239296" y="201654"/>
                </a:lnTo>
                <a:lnTo>
                  <a:pt x="234363" y="210150"/>
                </a:lnTo>
                <a:lnTo>
                  <a:pt x="230505" y="217360"/>
                </a:lnTo>
                <a:lnTo>
                  <a:pt x="226323" y="225962"/>
                </a:lnTo>
                <a:lnTo>
                  <a:pt x="225838" y="228743"/>
                </a:lnTo>
                <a:lnTo>
                  <a:pt x="225762" y="231362"/>
                </a:lnTo>
                <a:lnTo>
                  <a:pt x="226486" y="234248"/>
                </a:lnTo>
                <a:lnTo>
                  <a:pt x="231839" y="244659"/>
                </a:lnTo>
                <a:lnTo>
                  <a:pt x="233925" y="249946"/>
                </a:lnTo>
                <a:lnTo>
                  <a:pt x="236411" y="255641"/>
                </a:lnTo>
                <a:lnTo>
                  <a:pt x="238554" y="261833"/>
                </a:lnTo>
                <a:lnTo>
                  <a:pt x="239792" y="267367"/>
                </a:lnTo>
                <a:lnTo>
                  <a:pt x="241935" y="272729"/>
                </a:lnTo>
                <a:lnTo>
                  <a:pt x="243269" y="275463"/>
                </a:lnTo>
                <a:lnTo>
                  <a:pt x="245479" y="279292"/>
                </a:lnTo>
                <a:lnTo>
                  <a:pt x="248145" y="284969"/>
                </a:lnTo>
                <a:lnTo>
                  <a:pt x="249031" y="289455"/>
                </a:lnTo>
                <a:lnTo>
                  <a:pt x="253060" y="304924"/>
                </a:lnTo>
                <a:lnTo>
                  <a:pt x="253470" y="308839"/>
                </a:lnTo>
                <a:lnTo>
                  <a:pt x="253270" y="311734"/>
                </a:lnTo>
                <a:lnTo>
                  <a:pt x="251498" y="312439"/>
                </a:lnTo>
                <a:lnTo>
                  <a:pt x="247584" y="312896"/>
                </a:lnTo>
                <a:lnTo>
                  <a:pt x="243335" y="314792"/>
                </a:lnTo>
                <a:lnTo>
                  <a:pt x="243126" y="315430"/>
                </a:lnTo>
                <a:lnTo>
                  <a:pt x="245898" y="319030"/>
                </a:lnTo>
                <a:lnTo>
                  <a:pt x="243450" y="325174"/>
                </a:lnTo>
                <a:lnTo>
                  <a:pt x="243097" y="333927"/>
                </a:lnTo>
                <a:lnTo>
                  <a:pt x="240487" y="338499"/>
                </a:lnTo>
                <a:lnTo>
                  <a:pt x="240240" y="339557"/>
                </a:lnTo>
                <a:lnTo>
                  <a:pt x="240354" y="340442"/>
                </a:lnTo>
                <a:lnTo>
                  <a:pt x="240821" y="341138"/>
                </a:lnTo>
                <a:lnTo>
                  <a:pt x="245650" y="342357"/>
                </a:lnTo>
                <a:lnTo>
                  <a:pt x="246069" y="343595"/>
                </a:lnTo>
                <a:lnTo>
                  <a:pt x="246088" y="346158"/>
                </a:lnTo>
                <a:lnTo>
                  <a:pt x="245659" y="348520"/>
                </a:lnTo>
                <a:lnTo>
                  <a:pt x="243231" y="350272"/>
                </a:lnTo>
                <a:lnTo>
                  <a:pt x="240630" y="352854"/>
                </a:lnTo>
                <a:lnTo>
                  <a:pt x="240049" y="355235"/>
                </a:lnTo>
                <a:lnTo>
                  <a:pt x="240135" y="357349"/>
                </a:lnTo>
                <a:lnTo>
                  <a:pt x="241021" y="360921"/>
                </a:lnTo>
                <a:lnTo>
                  <a:pt x="242745" y="365074"/>
                </a:lnTo>
                <a:lnTo>
                  <a:pt x="244926" y="367675"/>
                </a:lnTo>
                <a:lnTo>
                  <a:pt x="252670" y="370142"/>
                </a:lnTo>
                <a:lnTo>
                  <a:pt x="253670" y="372170"/>
                </a:lnTo>
                <a:lnTo>
                  <a:pt x="254089" y="374952"/>
                </a:lnTo>
                <a:lnTo>
                  <a:pt x="253927" y="377666"/>
                </a:lnTo>
                <a:lnTo>
                  <a:pt x="250327" y="383076"/>
                </a:lnTo>
                <a:lnTo>
                  <a:pt x="250355" y="385153"/>
                </a:lnTo>
                <a:lnTo>
                  <a:pt x="251832" y="390163"/>
                </a:lnTo>
                <a:lnTo>
                  <a:pt x="253603" y="394935"/>
                </a:lnTo>
                <a:lnTo>
                  <a:pt x="261157" y="400098"/>
                </a:lnTo>
                <a:lnTo>
                  <a:pt x="263757" y="402917"/>
                </a:lnTo>
                <a:lnTo>
                  <a:pt x="264443" y="405155"/>
                </a:lnTo>
                <a:lnTo>
                  <a:pt x="264824" y="408765"/>
                </a:lnTo>
                <a:lnTo>
                  <a:pt x="264776" y="412671"/>
                </a:lnTo>
                <a:lnTo>
                  <a:pt x="264186" y="416128"/>
                </a:lnTo>
                <a:lnTo>
                  <a:pt x="261814" y="420576"/>
                </a:lnTo>
                <a:lnTo>
                  <a:pt x="256337" y="429320"/>
                </a:lnTo>
                <a:lnTo>
                  <a:pt x="250822" y="432702"/>
                </a:lnTo>
                <a:lnTo>
                  <a:pt x="250489" y="433435"/>
                </a:lnTo>
                <a:lnTo>
                  <a:pt x="252193" y="436216"/>
                </a:lnTo>
                <a:lnTo>
                  <a:pt x="261900" y="447323"/>
                </a:lnTo>
                <a:lnTo>
                  <a:pt x="268234" y="452495"/>
                </a:lnTo>
                <a:lnTo>
                  <a:pt x="276768" y="459448"/>
                </a:lnTo>
                <a:lnTo>
                  <a:pt x="282273" y="464925"/>
                </a:lnTo>
                <a:lnTo>
                  <a:pt x="284055" y="468849"/>
                </a:lnTo>
                <a:lnTo>
                  <a:pt x="286436" y="473212"/>
                </a:lnTo>
                <a:lnTo>
                  <a:pt x="289113" y="476764"/>
                </a:lnTo>
                <a:lnTo>
                  <a:pt x="291046" y="479841"/>
                </a:lnTo>
                <a:lnTo>
                  <a:pt x="291779" y="481822"/>
                </a:lnTo>
                <a:lnTo>
                  <a:pt x="291713" y="483946"/>
                </a:lnTo>
                <a:lnTo>
                  <a:pt x="289132" y="490337"/>
                </a:lnTo>
                <a:lnTo>
                  <a:pt x="287664" y="495262"/>
                </a:lnTo>
                <a:lnTo>
                  <a:pt x="285083" y="502453"/>
                </a:lnTo>
                <a:lnTo>
                  <a:pt x="282436" y="507444"/>
                </a:lnTo>
                <a:lnTo>
                  <a:pt x="275730" y="516531"/>
                </a:lnTo>
                <a:lnTo>
                  <a:pt x="265833" y="527771"/>
                </a:lnTo>
                <a:lnTo>
                  <a:pt x="263538" y="531152"/>
                </a:lnTo>
                <a:lnTo>
                  <a:pt x="258909" y="537029"/>
                </a:lnTo>
                <a:lnTo>
                  <a:pt x="250974" y="548773"/>
                </a:lnTo>
                <a:lnTo>
                  <a:pt x="248927" y="551355"/>
                </a:lnTo>
                <a:lnTo>
                  <a:pt x="242431" y="560651"/>
                </a:lnTo>
                <a:lnTo>
                  <a:pt x="239468" y="563604"/>
                </a:lnTo>
                <a:lnTo>
                  <a:pt x="237134" y="566356"/>
                </a:lnTo>
                <a:lnTo>
                  <a:pt x="230705" y="575072"/>
                </a:lnTo>
                <a:lnTo>
                  <a:pt x="223790" y="581654"/>
                </a:lnTo>
                <a:lnTo>
                  <a:pt x="217008" y="587750"/>
                </a:lnTo>
                <a:lnTo>
                  <a:pt x="214970" y="590826"/>
                </a:lnTo>
                <a:lnTo>
                  <a:pt x="212436" y="593179"/>
                </a:lnTo>
                <a:lnTo>
                  <a:pt x="209417" y="595408"/>
                </a:lnTo>
                <a:lnTo>
                  <a:pt x="208150" y="596655"/>
                </a:lnTo>
                <a:lnTo>
                  <a:pt x="201320" y="604933"/>
                </a:lnTo>
                <a:lnTo>
                  <a:pt x="191843" y="616344"/>
                </a:lnTo>
                <a:lnTo>
                  <a:pt x="190881" y="616525"/>
                </a:lnTo>
                <a:lnTo>
                  <a:pt x="188414" y="618363"/>
                </a:lnTo>
                <a:lnTo>
                  <a:pt x="184557" y="618811"/>
                </a:lnTo>
                <a:lnTo>
                  <a:pt x="182880" y="620211"/>
                </a:lnTo>
                <a:lnTo>
                  <a:pt x="176984" y="616210"/>
                </a:lnTo>
                <a:lnTo>
                  <a:pt x="176003" y="615953"/>
                </a:lnTo>
                <a:lnTo>
                  <a:pt x="172536" y="616944"/>
                </a:lnTo>
                <a:lnTo>
                  <a:pt x="169212" y="619849"/>
                </a:lnTo>
                <a:lnTo>
                  <a:pt x="163068" y="620735"/>
                </a:lnTo>
                <a:lnTo>
                  <a:pt x="160020" y="621678"/>
                </a:lnTo>
                <a:lnTo>
                  <a:pt x="158077" y="623021"/>
                </a:lnTo>
                <a:lnTo>
                  <a:pt x="157677" y="619849"/>
                </a:lnTo>
                <a:lnTo>
                  <a:pt x="158515" y="615820"/>
                </a:lnTo>
                <a:lnTo>
                  <a:pt x="159868" y="613124"/>
                </a:lnTo>
                <a:lnTo>
                  <a:pt x="159991" y="611372"/>
                </a:lnTo>
                <a:lnTo>
                  <a:pt x="159001" y="611553"/>
                </a:lnTo>
                <a:lnTo>
                  <a:pt x="157029" y="615505"/>
                </a:lnTo>
                <a:lnTo>
                  <a:pt x="155982" y="620116"/>
                </a:lnTo>
                <a:lnTo>
                  <a:pt x="153877" y="622430"/>
                </a:lnTo>
                <a:lnTo>
                  <a:pt x="149247" y="623373"/>
                </a:lnTo>
                <a:lnTo>
                  <a:pt x="144742" y="619677"/>
                </a:lnTo>
                <a:lnTo>
                  <a:pt x="142599" y="619706"/>
                </a:lnTo>
                <a:lnTo>
                  <a:pt x="143942" y="622354"/>
                </a:lnTo>
                <a:lnTo>
                  <a:pt x="144847" y="625259"/>
                </a:lnTo>
                <a:lnTo>
                  <a:pt x="144732" y="626878"/>
                </a:lnTo>
                <a:lnTo>
                  <a:pt x="142332" y="626593"/>
                </a:lnTo>
                <a:lnTo>
                  <a:pt x="139655" y="628326"/>
                </a:lnTo>
                <a:lnTo>
                  <a:pt x="137313" y="630860"/>
                </a:lnTo>
                <a:lnTo>
                  <a:pt x="136170" y="630869"/>
                </a:lnTo>
                <a:lnTo>
                  <a:pt x="134588" y="627326"/>
                </a:lnTo>
                <a:lnTo>
                  <a:pt x="131693" y="628983"/>
                </a:lnTo>
                <a:lnTo>
                  <a:pt x="129217" y="631203"/>
                </a:lnTo>
                <a:lnTo>
                  <a:pt x="124196" y="631888"/>
                </a:lnTo>
                <a:lnTo>
                  <a:pt x="121206" y="634803"/>
                </a:lnTo>
                <a:lnTo>
                  <a:pt x="115910" y="636775"/>
                </a:lnTo>
                <a:lnTo>
                  <a:pt x="113005" y="636727"/>
                </a:lnTo>
                <a:lnTo>
                  <a:pt x="106366" y="639089"/>
                </a:lnTo>
                <a:lnTo>
                  <a:pt x="104156" y="642728"/>
                </a:lnTo>
                <a:lnTo>
                  <a:pt x="102222" y="644061"/>
                </a:lnTo>
                <a:lnTo>
                  <a:pt x="99470" y="642938"/>
                </a:lnTo>
                <a:lnTo>
                  <a:pt x="90983" y="644709"/>
                </a:lnTo>
                <a:lnTo>
                  <a:pt x="82868" y="647033"/>
                </a:lnTo>
                <a:lnTo>
                  <a:pt x="79420" y="646900"/>
                </a:lnTo>
                <a:lnTo>
                  <a:pt x="75972" y="645938"/>
                </a:lnTo>
                <a:lnTo>
                  <a:pt x="72314" y="649157"/>
                </a:lnTo>
                <a:lnTo>
                  <a:pt x="68428" y="653463"/>
                </a:lnTo>
                <a:lnTo>
                  <a:pt x="64151" y="654996"/>
                </a:lnTo>
                <a:lnTo>
                  <a:pt x="62618" y="654444"/>
                </a:lnTo>
                <a:lnTo>
                  <a:pt x="63846" y="652186"/>
                </a:lnTo>
                <a:lnTo>
                  <a:pt x="66675" y="649853"/>
                </a:lnTo>
                <a:lnTo>
                  <a:pt x="68618" y="646681"/>
                </a:lnTo>
                <a:lnTo>
                  <a:pt x="68885" y="644033"/>
                </a:lnTo>
                <a:lnTo>
                  <a:pt x="67552" y="642995"/>
                </a:lnTo>
                <a:lnTo>
                  <a:pt x="65723" y="642671"/>
                </a:lnTo>
                <a:lnTo>
                  <a:pt x="63427" y="639928"/>
                </a:lnTo>
                <a:lnTo>
                  <a:pt x="61227" y="633965"/>
                </a:lnTo>
                <a:lnTo>
                  <a:pt x="60036" y="633632"/>
                </a:lnTo>
                <a:lnTo>
                  <a:pt x="59436" y="635203"/>
                </a:lnTo>
                <a:lnTo>
                  <a:pt x="58760" y="639766"/>
                </a:lnTo>
                <a:lnTo>
                  <a:pt x="58074" y="641080"/>
                </a:lnTo>
                <a:lnTo>
                  <a:pt x="56912" y="642128"/>
                </a:lnTo>
                <a:lnTo>
                  <a:pt x="55512" y="643176"/>
                </a:lnTo>
                <a:lnTo>
                  <a:pt x="54140" y="643690"/>
                </a:lnTo>
                <a:lnTo>
                  <a:pt x="49235" y="643623"/>
                </a:lnTo>
                <a:lnTo>
                  <a:pt x="48587" y="641318"/>
                </a:lnTo>
                <a:lnTo>
                  <a:pt x="48587" y="640356"/>
                </a:lnTo>
                <a:lnTo>
                  <a:pt x="49463" y="637318"/>
                </a:lnTo>
                <a:lnTo>
                  <a:pt x="48702" y="636784"/>
                </a:lnTo>
                <a:lnTo>
                  <a:pt x="49425" y="634403"/>
                </a:lnTo>
                <a:lnTo>
                  <a:pt x="50578" y="634536"/>
                </a:lnTo>
                <a:lnTo>
                  <a:pt x="51950" y="634175"/>
                </a:lnTo>
                <a:lnTo>
                  <a:pt x="52635" y="632955"/>
                </a:lnTo>
                <a:lnTo>
                  <a:pt x="52587" y="631488"/>
                </a:lnTo>
                <a:lnTo>
                  <a:pt x="50683" y="631107"/>
                </a:lnTo>
                <a:lnTo>
                  <a:pt x="50568" y="630107"/>
                </a:lnTo>
                <a:lnTo>
                  <a:pt x="52264" y="625916"/>
                </a:lnTo>
                <a:lnTo>
                  <a:pt x="52502" y="624754"/>
                </a:lnTo>
                <a:lnTo>
                  <a:pt x="51845" y="624516"/>
                </a:lnTo>
                <a:lnTo>
                  <a:pt x="50788" y="624973"/>
                </a:lnTo>
                <a:lnTo>
                  <a:pt x="43768" y="623659"/>
                </a:lnTo>
                <a:lnTo>
                  <a:pt x="35109" y="618287"/>
                </a:lnTo>
                <a:lnTo>
                  <a:pt x="32976" y="618011"/>
                </a:lnTo>
                <a:lnTo>
                  <a:pt x="31671" y="613200"/>
                </a:lnTo>
                <a:lnTo>
                  <a:pt x="29585" y="613810"/>
                </a:lnTo>
                <a:lnTo>
                  <a:pt x="26537" y="616629"/>
                </a:lnTo>
                <a:lnTo>
                  <a:pt x="24251" y="614486"/>
                </a:lnTo>
                <a:lnTo>
                  <a:pt x="21793" y="613077"/>
                </a:lnTo>
                <a:lnTo>
                  <a:pt x="21117" y="610876"/>
                </a:lnTo>
                <a:lnTo>
                  <a:pt x="21155" y="607619"/>
                </a:lnTo>
                <a:lnTo>
                  <a:pt x="20946" y="603761"/>
                </a:lnTo>
                <a:lnTo>
                  <a:pt x="20279" y="599237"/>
                </a:lnTo>
                <a:lnTo>
                  <a:pt x="19793" y="592788"/>
                </a:lnTo>
                <a:lnTo>
                  <a:pt x="20251" y="587731"/>
                </a:lnTo>
                <a:lnTo>
                  <a:pt x="22213" y="583978"/>
                </a:lnTo>
                <a:lnTo>
                  <a:pt x="22965" y="581577"/>
                </a:lnTo>
                <a:lnTo>
                  <a:pt x="23879" y="575434"/>
                </a:lnTo>
                <a:lnTo>
                  <a:pt x="24089" y="568223"/>
                </a:lnTo>
                <a:lnTo>
                  <a:pt x="23565" y="565766"/>
                </a:lnTo>
                <a:lnTo>
                  <a:pt x="23699" y="564128"/>
                </a:lnTo>
                <a:lnTo>
                  <a:pt x="25261" y="564128"/>
                </a:lnTo>
                <a:lnTo>
                  <a:pt x="24918" y="562718"/>
                </a:lnTo>
                <a:lnTo>
                  <a:pt x="24232" y="561946"/>
                </a:lnTo>
                <a:lnTo>
                  <a:pt x="23469" y="560346"/>
                </a:lnTo>
                <a:lnTo>
                  <a:pt x="24118" y="559498"/>
                </a:lnTo>
                <a:lnTo>
                  <a:pt x="25984" y="559441"/>
                </a:lnTo>
                <a:lnTo>
                  <a:pt x="26137" y="558898"/>
                </a:lnTo>
                <a:lnTo>
                  <a:pt x="26346" y="558136"/>
                </a:lnTo>
                <a:lnTo>
                  <a:pt x="24898" y="553907"/>
                </a:lnTo>
                <a:lnTo>
                  <a:pt x="24727" y="551888"/>
                </a:lnTo>
                <a:lnTo>
                  <a:pt x="22727" y="545744"/>
                </a:lnTo>
                <a:lnTo>
                  <a:pt x="20431" y="539896"/>
                </a:lnTo>
                <a:lnTo>
                  <a:pt x="16993" y="535657"/>
                </a:lnTo>
                <a:lnTo>
                  <a:pt x="18212" y="528657"/>
                </a:lnTo>
                <a:lnTo>
                  <a:pt x="19603" y="522303"/>
                </a:lnTo>
                <a:lnTo>
                  <a:pt x="19326" y="519236"/>
                </a:lnTo>
                <a:lnTo>
                  <a:pt x="18793" y="515493"/>
                </a:lnTo>
                <a:lnTo>
                  <a:pt x="14574" y="511378"/>
                </a:lnTo>
                <a:lnTo>
                  <a:pt x="13954" y="505568"/>
                </a:lnTo>
                <a:lnTo>
                  <a:pt x="12925" y="499300"/>
                </a:lnTo>
                <a:lnTo>
                  <a:pt x="13316" y="495452"/>
                </a:lnTo>
                <a:lnTo>
                  <a:pt x="14002" y="492490"/>
                </a:lnTo>
                <a:lnTo>
                  <a:pt x="15393" y="489537"/>
                </a:lnTo>
                <a:lnTo>
                  <a:pt x="22393" y="480203"/>
                </a:lnTo>
                <a:lnTo>
                  <a:pt x="22822" y="475307"/>
                </a:lnTo>
                <a:lnTo>
                  <a:pt x="27566" y="474945"/>
                </a:lnTo>
                <a:lnTo>
                  <a:pt x="25365" y="470564"/>
                </a:lnTo>
                <a:lnTo>
                  <a:pt x="24851" y="468097"/>
                </a:lnTo>
                <a:lnTo>
                  <a:pt x="24737" y="465211"/>
                </a:lnTo>
                <a:lnTo>
                  <a:pt x="31556" y="463229"/>
                </a:lnTo>
                <a:lnTo>
                  <a:pt x="34109" y="464858"/>
                </a:lnTo>
                <a:lnTo>
                  <a:pt x="40110" y="462848"/>
                </a:lnTo>
                <a:lnTo>
                  <a:pt x="45444" y="458914"/>
                </a:lnTo>
                <a:lnTo>
                  <a:pt x="45348" y="456819"/>
                </a:lnTo>
                <a:lnTo>
                  <a:pt x="44529" y="454943"/>
                </a:lnTo>
                <a:lnTo>
                  <a:pt x="43396" y="451323"/>
                </a:lnTo>
                <a:lnTo>
                  <a:pt x="44196" y="450313"/>
                </a:lnTo>
                <a:lnTo>
                  <a:pt x="46139" y="451056"/>
                </a:lnTo>
                <a:lnTo>
                  <a:pt x="45244" y="449256"/>
                </a:lnTo>
                <a:lnTo>
                  <a:pt x="45406" y="447351"/>
                </a:lnTo>
                <a:lnTo>
                  <a:pt x="47530" y="448142"/>
                </a:lnTo>
                <a:lnTo>
                  <a:pt x="50988" y="442817"/>
                </a:lnTo>
                <a:lnTo>
                  <a:pt x="51111" y="438741"/>
                </a:lnTo>
                <a:lnTo>
                  <a:pt x="57093" y="436607"/>
                </a:lnTo>
                <a:lnTo>
                  <a:pt x="63998" y="428244"/>
                </a:lnTo>
                <a:lnTo>
                  <a:pt x="67180" y="425634"/>
                </a:lnTo>
                <a:lnTo>
                  <a:pt x="70257" y="423739"/>
                </a:lnTo>
                <a:lnTo>
                  <a:pt x="76810" y="415328"/>
                </a:lnTo>
                <a:lnTo>
                  <a:pt x="79610" y="414938"/>
                </a:lnTo>
                <a:lnTo>
                  <a:pt x="81049" y="409242"/>
                </a:lnTo>
                <a:lnTo>
                  <a:pt x="86620" y="401631"/>
                </a:lnTo>
                <a:lnTo>
                  <a:pt x="88316" y="400660"/>
                </a:lnTo>
                <a:lnTo>
                  <a:pt x="90917" y="393763"/>
                </a:lnTo>
                <a:lnTo>
                  <a:pt x="97765" y="385763"/>
                </a:lnTo>
                <a:lnTo>
                  <a:pt x="102108" y="375504"/>
                </a:lnTo>
                <a:lnTo>
                  <a:pt x="104499" y="371847"/>
                </a:lnTo>
                <a:lnTo>
                  <a:pt x="105242" y="367941"/>
                </a:lnTo>
                <a:lnTo>
                  <a:pt x="107909" y="367608"/>
                </a:lnTo>
                <a:lnTo>
                  <a:pt x="110309" y="364731"/>
                </a:lnTo>
                <a:lnTo>
                  <a:pt x="115510" y="362731"/>
                </a:lnTo>
                <a:lnTo>
                  <a:pt x="120653" y="363284"/>
                </a:lnTo>
                <a:lnTo>
                  <a:pt x="122797" y="364655"/>
                </a:lnTo>
                <a:lnTo>
                  <a:pt x="124768" y="364226"/>
                </a:lnTo>
                <a:lnTo>
                  <a:pt x="124568" y="360702"/>
                </a:lnTo>
                <a:lnTo>
                  <a:pt x="123158" y="358521"/>
                </a:lnTo>
                <a:lnTo>
                  <a:pt x="124311" y="356416"/>
                </a:lnTo>
                <a:lnTo>
                  <a:pt x="127025" y="354825"/>
                </a:lnTo>
                <a:lnTo>
                  <a:pt x="126749" y="351301"/>
                </a:lnTo>
                <a:lnTo>
                  <a:pt x="126159" y="349177"/>
                </a:lnTo>
                <a:lnTo>
                  <a:pt x="123901" y="346348"/>
                </a:lnTo>
                <a:lnTo>
                  <a:pt x="125026" y="339985"/>
                </a:lnTo>
                <a:lnTo>
                  <a:pt x="125292" y="332984"/>
                </a:lnTo>
                <a:lnTo>
                  <a:pt x="126359" y="324860"/>
                </a:lnTo>
                <a:lnTo>
                  <a:pt x="123530" y="320545"/>
                </a:lnTo>
                <a:lnTo>
                  <a:pt x="112766" y="313172"/>
                </a:lnTo>
                <a:lnTo>
                  <a:pt x="110766" y="313430"/>
                </a:lnTo>
                <a:lnTo>
                  <a:pt x="108375" y="312496"/>
                </a:lnTo>
                <a:lnTo>
                  <a:pt x="105880" y="306886"/>
                </a:lnTo>
                <a:lnTo>
                  <a:pt x="106995" y="302028"/>
                </a:lnTo>
                <a:lnTo>
                  <a:pt x="107128" y="300238"/>
                </a:lnTo>
                <a:lnTo>
                  <a:pt x="106156" y="300295"/>
                </a:lnTo>
                <a:lnTo>
                  <a:pt x="104575" y="302666"/>
                </a:lnTo>
                <a:lnTo>
                  <a:pt x="101146" y="305371"/>
                </a:lnTo>
                <a:lnTo>
                  <a:pt x="96688" y="303295"/>
                </a:lnTo>
                <a:lnTo>
                  <a:pt x="94498" y="303752"/>
                </a:lnTo>
                <a:lnTo>
                  <a:pt x="91650" y="291684"/>
                </a:lnTo>
                <a:lnTo>
                  <a:pt x="90192" y="287045"/>
                </a:lnTo>
                <a:lnTo>
                  <a:pt x="87859" y="281254"/>
                </a:lnTo>
                <a:lnTo>
                  <a:pt x="83696" y="278425"/>
                </a:lnTo>
                <a:lnTo>
                  <a:pt x="82877" y="276816"/>
                </a:lnTo>
                <a:lnTo>
                  <a:pt x="82325" y="274349"/>
                </a:lnTo>
                <a:lnTo>
                  <a:pt x="82144" y="270920"/>
                </a:lnTo>
                <a:lnTo>
                  <a:pt x="81610" y="265833"/>
                </a:lnTo>
                <a:lnTo>
                  <a:pt x="81829" y="261652"/>
                </a:lnTo>
                <a:lnTo>
                  <a:pt x="82344" y="259156"/>
                </a:lnTo>
                <a:lnTo>
                  <a:pt x="84144" y="257480"/>
                </a:lnTo>
                <a:lnTo>
                  <a:pt x="86735" y="252727"/>
                </a:lnTo>
                <a:lnTo>
                  <a:pt x="87278" y="249269"/>
                </a:lnTo>
                <a:lnTo>
                  <a:pt x="87497" y="243954"/>
                </a:lnTo>
                <a:lnTo>
                  <a:pt x="88688" y="239297"/>
                </a:lnTo>
                <a:lnTo>
                  <a:pt x="90011" y="236934"/>
                </a:lnTo>
                <a:lnTo>
                  <a:pt x="89678" y="235048"/>
                </a:lnTo>
                <a:lnTo>
                  <a:pt x="88764" y="232362"/>
                </a:lnTo>
                <a:lnTo>
                  <a:pt x="86820" y="228533"/>
                </a:lnTo>
                <a:lnTo>
                  <a:pt x="83868" y="223857"/>
                </a:lnTo>
                <a:lnTo>
                  <a:pt x="81686" y="219370"/>
                </a:lnTo>
                <a:lnTo>
                  <a:pt x="80725" y="215170"/>
                </a:lnTo>
                <a:lnTo>
                  <a:pt x="80229" y="211398"/>
                </a:lnTo>
                <a:lnTo>
                  <a:pt x="80306" y="207969"/>
                </a:lnTo>
                <a:lnTo>
                  <a:pt x="81125" y="205626"/>
                </a:lnTo>
                <a:lnTo>
                  <a:pt x="83906" y="202673"/>
                </a:lnTo>
                <a:lnTo>
                  <a:pt x="84277" y="201416"/>
                </a:lnTo>
                <a:lnTo>
                  <a:pt x="83172" y="194872"/>
                </a:lnTo>
                <a:lnTo>
                  <a:pt x="81229" y="193681"/>
                </a:lnTo>
                <a:lnTo>
                  <a:pt x="77924" y="193043"/>
                </a:lnTo>
                <a:lnTo>
                  <a:pt x="76076" y="192986"/>
                </a:lnTo>
                <a:lnTo>
                  <a:pt x="75724" y="192262"/>
                </a:lnTo>
                <a:lnTo>
                  <a:pt x="75629" y="190948"/>
                </a:lnTo>
                <a:lnTo>
                  <a:pt x="76010" y="188252"/>
                </a:lnTo>
                <a:lnTo>
                  <a:pt x="77048" y="185156"/>
                </a:lnTo>
                <a:lnTo>
                  <a:pt x="77914" y="183175"/>
                </a:lnTo>
                <a:lnTo>
                  <a:pt x="78029" y="181499"/>
                </a:lnTo>
                <a:lnTo>
                  <a:pt x="76924" y="175746"/>
                </a:lnTo>
                <a:lnTo>
                  <a:pt x="76591" y="168669"/>
                </a:lnTo>
                <a:lnTo>
                  <a:pt x="76971" y="163106"/>
                </a:lnTo>
                <a:lnTo>
                  <a:pt x="80477" y="158991"/>
                </a:lnTo>
                <a:lnTo>
                  <a:pt x="80639" y="157486"/>
                </a:lnTo>
                <a:lnTo>
                  <a:pt x="76238" y="153000"/>
                </a:lnTo>
                <a:lnTo>
                  <a:pt x="73066" y="147904"/>
                </a:lnTo>
                <a:lnTo>
                  <a:pt x="72076" y="144923"/>
                </a:lnTo>
                <a:lnTo>
                  <a:pt x="68447" y="144475"/>
                </a:lnTo>
                <a:lnTo>
                  <a:pt x="66180" y="135769"/>
                </a:lnTo>
                <a:lnTo>
                  <a:pt x="62903" y="131521"/>
                </a:lnTo>
                <a:lnTo>
                  <a:pt x="59665" y="127835"/>
                </a:lnTo>
                <a:lnTo>
                  <a:pt x="57750" y="126121"/>
                </a:lnTo>
                <a:lnTo>
                  <a:pt x="46511" y="120815"/>
                </a:lnTo>
                <a:lnTo>
                  <a:pt x="42053" y="119805"/>
                </a:lnTo>
                <a:lnTo>
                  <a:pt x="36767" y="116700"/>
                </a:lnTo>
                <a:lnTo>
                  <a:pt x="32833" y="112795"/>
                </a:lnTo>
                <a:lnTo>
                  <a:pt x="29461" y="110280"/>
                </a:lnTo>
                <a:lnTo>
                  <a:pt x="26575" y="107166"/>
                </a:lnTo>
                <a:lnTo>
                  <a:pt x="22546" y="104251"/>
                </a:lnTo>
                <a:lnTo>
                  <a:pt x="21393" y="101756"/>
                </a:lnTo>
                <a:lnTo>
                  <a:pt x="17040" y="97126"/>
                </a:lnTo>
                <a:lnTo>
                  <a:pt x="15002" y="94069"/>
                </a:lnTo>
                <a:lnTo>
                  <a:pt x="7925" y="88287"/>
                </a:lnTo>
                <a:lnTo>
                  <a:pt x="7668" y="86001"/>
                </a:lnTo>
                <a:lnTo>
                  <a:pt x="7620" y="83791"/>
                </a:lnTo>
                <a:lnTo>
                  <a:pt x="7296" y="82867"/>
                </a:lnTo>
                <a:lnTo>
                  <a:pt x="0" y="78619"/>
                </a:lnTo>
                <a:lnTo>
                  <a:pt x="1438" y="76181"/>
                </a:lnTo>
                <a:lnTo>
                  <a:pt x="7144" y="76029"/>
                </a:lnTo>
                <a:lnTo>
                  <a:pt x="11859" y="78248"/>
                </a:lnTo>
                <a:lnTo>
                  <a:pt x="12897" y="77295"/>
                </a:lnTo>
                <a:lnTo>
                  <a:pt x="13516" y="75324"/>
                </a:lnTo>
                <a:lnTo>
                  <a:pt x="11506" y="67399"/>
                </a:lnTo>
                <a:lnTo>
                  <a:pt x="11868" y="65322"/>
                </a:lnTo>
                <a:lnTo>
                  <a:pt x="13944" y="62827"/>
                </a:lnTo>
                <a:lnTo>
                  <a:pt x="17240" y="60836"/>
                </a:lnTo>
                <a:lnTo>
                  <a:pt x="22432" y="60550"/>
                </a:lnTo>
                <a:lnTo>
                  <a:pt x="25975" y="60846"/>
                </a:lnTo>
                <a:lnTo>
                  <a:pt x="26727" y="61065"/>
                </a:lnTo>
                <a:lnTo>
                  <a:pt x="32014" y="69809"/>
                </a:lnTo>
                <a:lnTo>
                  <a:pt x="36557" y="78296"/>
                </a:lnTo>
                <a:lnTo>
                  <a:pt x="38967" y="81896"/>
                </a:lnTo>
                <a:lnTo>
                  <a:pt x="44863" y="92069"/>
                </a:lnTo>
                <a:lnTo>
                  <a:pt x="47073" y="97926"/>
                </a:lnTo>
                <a:lnTo>
                  <a:pt x="47825" y="102108"/>
                </a:lnTo>
                <a:lnTo>
                  <a:pt x="50225" y="102089"/>
                </a:lnTo>
                <a:lnTo>
                  <a:pt x="58522" y="103918"/>
                </a:lnTo>
                <a:lnTo>
                  <a:pt x="65494" y="105461"/>
                </a:lnTo>
                <a:lnTo>
                  <a:pt x="67437" y="107794"/>
                </a:lnTo>
                <a:lnTo>
                  <a:pt x="72238" y="107328"/>
                </a:lnTo>
                <a:lnTo>
                  <a:pt x="75943" y="105223"/>
                </a:lnTo>
                <a:lnTo>
                  <a:pt x="82477" y="102565"/>
                </a:lnTo>
                <a:lnTo>
                  <a:pt x="84230" y="99289"/>
                </a:lnTo>
                <a:lnTo>
                  <a:pt x="86411" y="95774"/>
                </a:lnTo>
                <a:lnTo>
                  <a:pt x="90240" y="96326"/>
                </a:lnTo>
                <a:lnTo>
                  <a:pt x="94431" y="99098"/>
                </a:lnTo>
                <a:lnTo>
                  <a:pt x="99184" y="102737"/>
                </a:lnTo>
                <a:lnTo>
                  <a:pt x="103423" y="104413"/>
                </a:lnTo>
                <a:lnTo>
                  <a:pt x="109109" y="107042"/>
                </a:lnTo>
                <a:lnTo>
                  <a:pt x="111757" y="110433"/>
                </a:lnTo>
                <a:lnTo>
                  <a:pt x="115471" y="111404"/>
                </a:lnTo>
                <a:lnTo>
                  <a:pt x="119358" y="108013"/>
                </a:lnTo>
                <a:lnTo>
                  <a:pt x="121654" y="98765"/>
                </a:lnTo>
                <a:lnTo>
                  <a:pt x="123692" y="94621"/>
                </a:lnTo>
                <a:lnTo>
                  <a:pt x="126578" y="91583"/>
                </a:lnTo>
                <a:lnTo>
                  <a:pt x="129883" y="90240"/>
                </a:lnTo>
                <a:lnTo>
                  <a:pt x="132407" y="89754"/>
                </a:lnTo>
                <a:lnTo>
                  <a:pt x="134321" y="87382"/>
                </a:lnTo>
                <a:lnTo>
                  <a:pt x="137036" y="82105"/>
                </a:lnTo>
                <a:lnTo>
                  <a:pt x="137570" y="75686"/>
                </a:lnTo>
                <a:lnTo>
                  <a:pt x="137046" y="64027"/>
                </a:lnTo>
                <a:lnTo>
                  <a:pt x="137541" y="60160"/>
                </a:lnTo>
                <a:lnTo>
                  <a:pt x="139761" y="53816"/>
                </a:lnTo>
                <a:lnTo>
                  <a:pt x="142742" y="36900"/>
                </a:lnTo>
                <a:lnTo>
                  <a:pt x="144076" y="31985"/>
                </a:lnTo>
                <a:lnTo>
                  <a:pt x="145704" y="28994"/>
                </a:lnTo>
                <a:lnTo>
                  <a:pt x="147943" y="27213"/>
                </a:lnTo>
                <a:lnTo>
                  <a:pt x="152010" y="22031"/>
                </a:lnTo>
                <a:lnTo>
                  <a:pt x="157820" y="11706"/>
                </a:lnTo>
                <a:lnTo>
                  <a:pt x="159391" y="10830"/>
                </a:lnTo>
                <a:lnTo>
                  <a:pt x="163563" y="10306"/>
                </a:lnTo>
                <a:lnTo>
                  <a:pt x="168745" y="10687"/>
                </a:lnTo>
                <a:lnTo>
                  <a:pt x="173412" y="12506"/>
                </a:lnTo>
                <a:lnTo>
                  <a:pt x="173917" y="12363"/>
                </a:lnTo>
                <a:lnTo>
                  <a:pt x="176013" y="11411"/>
                </a:lnTo>
                <a:lnTo>
                  <a:pt x="179813" y="8192"/>
                </a:lnTo>
                <a:lnTo>
                  <a:pt x="186328" y="1772"/>
                </a:lnTo>
                <a:lnTo>
                  <a:pt x="190500" y="0"/>
                </a:lnTo>
                <a:lnTo>
                  <a:pt x="194291" y="248"/>
                </a:lnTo>
                <a:lnTo>
                  <a:pt x="198491" y="7277"/>
                </a:lnTo>
                <a:lnTo>
                  <a:pt x="204426" y="15078"/>
                </a:lnTo>
                <a:lnTo>
                  <a:pt x="208236" y="18850"/>
                </a:lnTo>
                <a:lnTo>
                  <a:pt x="218627" y="25908"/>
                </a:lnTo>
                <a:lnTo>
                  <a:pt x="227752" y="30528"/>
                </a:lnTo>
                <a:lnTo>
                  <a:pt x="232877" y="45710"/>
                </a:lnTo>
                <a:lnTo>
                  <a:pt x="230344" y="51721"/>
                </a:lnTo>
                <a:lnTo>
                  <a:pt x="229086" y="53788"/>
                </a:lnTo>
                <a:lnTo>
                  <a:pt x="224619" y="59741"/>
                </a:lnTo>
                <a:lnTo>
                  <a:pt x="219846" y="68104"/>
                </a:lnTo>
                <a:lnTo>
                  <a:pt x="219485" y="72447"/>
                </a:lnTo>
                <a:lnTo>
                  <a:pt x="221066" y="76819"/>
                </a:lnTo>
                <a:lnTo>
                  <a:pt x="223085" y="79648"/>
                </a:lnTo>
                <a:close/>
                <a:moveTo>
                  <a:pt x="113014" y="355911"/>
                </a:moveTo>
                <a:lnTo>
                  <a:pt x="109024" y="358007"/>
                </a:lnTo>
                <a:lnTo>
                  <a:pt x="105813" y="356702"/>
                </a:lnTo>
                <a:lnTo>
                  <a:pt x="105756" y="352635"/>
                </a:lnTo>
                <a:lnTo>
                  <a:pt x="107747" y="350663"/>
                </a:lnTo>
                <a:lnTo>
                  <a:pt x="111347" y="349872"/>
                </a:lnTo>
                <a:lnTo>
                  <a:pt x="116281" y="351844"/>
                </a:lnTo>
                <a:lnTo>
                  <a:pt x="117005" y="352892"/>
                </a:lnTo>
                <a:lnTo>
                  <a:pt x="114176" y="353682"/>
                </a:lnTo>
                <a:lnTo>
                  <a:pt x="113014" y="355911"/>
                </a:lnTo>
                <a:close/>
                <a:moveTo>
                  <a:pt x="15964" y="462953"/>
                </a:moveTo>
                <a:lnTo>
                  <a:pt x="16250" y="464058"/>
                </a:lnTo>
                <a:lnTo>
                  <a:pt x="17812" y="463753"/>
                </a:lnTo>
                <a:lnTo>
                  <a:pt x="19927" y="461734"/>
                </a:lnTo>
                <a:lnTo>
                  <a:pt x="21422" y="462677"/>
                </a:lnTo>
                <a:lnTo>
                  <a:pt x="21250" y="465553"/>
                </a:lnTo>
                <a:lnTo>
                  <a:pt x="20241" y="465439"/>
                </a:lnTo>
                <a:lnTo>
                  <a:pt x="19964" y="464963"/>
                </a:lnTo>
                <a:lnTo>
                  <a:pt x="18660" y="466601"/>
                </a:lnTo>
                <a:lnTo>
                  <a:pt x="18431" y="467592"/>
                </a:lnTo>
                <a:lnTo>
                  <a:pt x="16926" y="468220"/>
                </a:lnTo>
                <a:lnTo>
                  <a:pt x="14145" y="465411"/>
                </a:lnTo>
                <a:lnTo>
                  <a:pt x="12392" y="460781"/>
                </a:lnTo>
                <a:lnTo>
                  <a:pt x="16469" y="460772"/>
                </a:lnTo>
                <a:lnTo>
                  <a:pt x="16078" y="461877"/>
                </a:lnTo>
                <a:lnTo>
                  <a:pt x="15964" y="462953"/>
                </a:lnTo>
                <a:close/>
                <a:moveTo>
                  <a:pt x="22193" y="616667"/>
                </a:moveTo>
                <a:lnTo>
                  <a:pt x="21822" y="619192"/>
                </a:lnTo>
                <a:lnTo>
                  <a:pt x="20003" y="618915"/>
                </a:lnTo>
                <a:lnTo>
                  <a:pt x="18155" y="619373"/>
                </a:lnTo>
                <a:lnTo>
                  <a:pt x="16669" y="616868"/>
                </a:lnTo>
                <a:lnTo>
                  <a:pt x="15878" y="612639"/>
                </a:lnTo>
                <a:lnTo>
                  <a:pt x="16155" y="611724"/>
                </a:lnTo>
                <a:lnTo>
                  <a:pt x="17316" y="610762"/>
                </a:lnTo>
                <a:lnTo>
                  <a:pt x="18202" y="613086"/>
                </a:lnTo>
                <a:lnTo>
                  <a:pt x="22193" y="616667"/>
                </a:lnTo>
                <a:close/>
                <a:moveTo>
                  <a:pt x="36719" y="627097"/>
                </a:moveTo>
                <a:lnTo>
                  <a:pt x="34766" y="627336"/>
                </a:lnTo>
                <a:lnTo>
                  <a:pt x="32014" y="624659"/>
                </a:lnTo>
                <a:lnTo>
                  <a:pt x="31671" y="623611"/>
                </a:lnTo>
                <a:lnTo>
                  <a:pt x="32747" y="623002"/>
                </a:lnTo>
                <a:lnTo>
                  <a:pt x="32033" y="620849"/>
                </a:lnTo>
                <a:lnTo>
                  <a:pt x="32242" y="619896"/>
                </a:lnTo>
                <a:lnTo>
                  <a:pt x="34367" y="621601"/>
                </a:lnTo>
                <a:lnTo>
                  <a:pt x="35529" y="623583"/>
                </a:lnTo>
                <a:lnTo>
                  <a:pt x="34395" y="624040"/>
                </a:lnTo>
                <a:lnTo>
                  <a:pt x="36319" y="626088"/>
                </a:lnTo>
                <a:lnTo>
                  <a:pt x="36719" y="627097"/>
                </a:lnTo>
                <a:close/>
                <a:moveTo>
                  <a:pt x="41558" y="625269"/>
                </a:moveTo>
                <a:lnTo>
                  <a:pt x="44939" y="626516"/>
                </a:lnTo>
                <a:lnTo>
                  <a:pt x="46358" y="626069"/>
                </a:lnTo>
                <a:lnTo>
                  <a:pt x="47977" y="628898"/>
                </a:lnTo>
                <a:lnTo>
                  <a:pt x="45234" y="630688"/>
                </a:lnTo>
                <a:lnTo>
                  <a:pt x="45044" y="632917"/>
                </a:lnTo>
                <a:lnTo>
                  <a:pt x="46130" y="634298"/>
                </a:lnTo>
                <a:lnTo>
                  <a:pt x="46511" y="636299"/>
                </a:lnTo>
                <a:lnTo>
                  <a:pt x="43777" y="636299"/>
                </a:lnTo>
                <a:lnTo>
                  <a:pt x="42472" y="634613"/>
                </a:lnTo>
                <a:lnTo>
                  <a:pt x="41900" y="632470"/>
                </a:lnTo>
                <a:lnTo>
                  <a:pt x="40624" y="630955"/>
                </a:lnTo>
                <a:lnTo>
                  <a:pt x="38929" y="629803"/>
                </a:lnTo>
                <a:lnTo>
                  <a:pt x="39757" y="628260"/>
                </a:lnTo>
                <a:lnTo>
                  <a:pt x="40234" y="626050"/>
                </a:lnTo>
                <a:lnTo>
                  <a:pt x="41558" y="625269"/>
                </a:lnTo>
                <a:close/>
                <a:moveTo>
                  <a:pt x="32414" y="637642"/>
                </a:moveTo>
                <a:lnTo>
                  <a:pt x="29737" y="639480"/>
                </a:lnTo>
                <a:lnTo>
                  <a:pt x="28718" y="639042"/>
                </a:lnTo>
                <a:lnTo>
                  <a:pt x="28975" y="635937"/>
                </a:lnTo>
                <a:lnTo>
                  <a:pt x="30566" y="634517"/>
                </a:lnTo>
                <a:lnTo>
                  <a:pt x="33242" y="634355"/>
                </a:lnTo>
                <a:lnTo>
                  <a:pt x="32414" y="637642"/>
                </a:lnTo>
                <a:close/>
                <a:moveTo>
                  <a:pt x="26937" y="639394"/>
                </a:moveTo>
                <a:lnTo>
                  <a:pt x="24594" y="639928"/>
                </a:lnTo>
                <a:lnTo>
                  <a:pt x="23136" y="638375"/>
                </a:lnTo>
                <a:lnTo>
                  <a:pt x="23689" y="637222"/>
                </a:lnTo>
                <a:lnTo>
                  <a:pt x="25318" y="635937"/>
                </a:lnTo>
                <a:lnTo>
                  <a:pt x="27089" y="636118"/>
                </a:lnTo>
                <a:lnTo>
                  <a:pt x="27470" y="637623"/>
                </a:lnTo>
                <a:lnTo>
                  <a:pt x="26937" y="639394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0" name="Forme libre : forme 19">
            <a:extLst>
              <a:ext uri="{FF2B5EF4-FFF2-40B4-BE49-F238E27FC236}">
                <a16:creationId xmlns:a16="http://schemas.microsoft.com/office/drawing/2014/main" id="{69ECC0CF-201F-DC99-E9D1-C7D5DDFFC801}"/>
              </a:ext>
            </a:extLst>
          </p:cNvPr>
          <p:cNvSpPr/>
          <p:nvPr/>
        </p:nvSpPr>
        <p:spPr>
          <a:xfrm>
            <a:off x="5262745" y="2776299"/>
            <a:ext cx="35443" cy="69558"/>
          </a:xfrm>
          <a:custGeom>
            <a:avLst/>
            <a:gdLst>
              <a:gd name="connsiteX0" fmla="*/ 27175 w 27174"/>
              <a:gd name="connsiteY0" fmla="*/ 5572 h 53330"/>
              <a:gd name="connsiteX1" fmla="*/ 25898 w 27174"/>
              <a:gd name="connsiteY1" fmla="*/ 9706 h 53330"/>
              <a:gd name="connsiteX2" fmla="*/ 24003 w 27174"/>
              <a:gd name="connsiteY2" fmla="*/ 9058 h 53330"/>
              <a:gd name="connsiteX3" fmla="*/ 23479 w 27174"/>
              <a:gd name="connsiteY3" fmla="*/ 8611 h 53330"/>
              <a:gd name="connsiteX4" fmla="*/ 23070 w 27174"/>
              <a:gd name="connsiteY4" fmla="*/ 7534 h 53330"/>
              <a:gd name="connsiteX5" fmla="*/ 23270 w 27174"/>
              <a:gd name="connsiteY5" fmla="*/ 4458 h 53330"/>
              <a:gd name="connsiteX6" fmla="*/ 23203 w 27174"/>
              <a:gd name="connsiteY6" fmla="*/ 0 h 53330"/>
              <a:gd name="connsiteX7" fmla="*/ 25384 w 27174"/>
              <a:gd name="connsiteY7" fmla="*/ 3667 h 53330"/>
              <a:gd name="connsiteX8" fmla="*/ 27175 w 27174"/>
              <a:gd name="connsiteY8" fmla="*/ 5572 h 53330"/>
              <a:gd name="connsiteX9" fmla="*/ 21164 w 27174"/>
              <a:gd name="connsiteY9" fmla="*/ 7334 h 53330"/>
              <a:gd name="connsiteX10" fmla="*/ 20498 w 27174"/>
              <a:gd name="connsiteY10" fmla="*/ 15011 h 53330"/>
              <a:gd name="connsiteX11" fmla="*/ 19412 w 27174"/>
              <a:gd name="connsiteY11" fmla="*/ 14973 h 53330"/>
              <a:gd name="connsiteX12" fmla="*/ 17469 w 27174"/>
              <a:gd name="connsiteY12" fmla="*/ 12849 h 53330"/>
              <a:gd name="connsiteX13" fmla="*/ 16012 w 27174"/>
              <a:gd name="connsiteY13" fmla="*/ 12411 h 53330"/>
              <a:gd name="connsiteX14" fmla="*/ 15554 w 27174"/>
              <a:gd name="connsiteY14" fmla="*/ 13545 h 53330"/>
              <a:gd name="connsiteX15" fmla="*/ 15630 w 27174"/>
              <a:gd name="connsiteY15" fmla="*/ 14907 h 53330"/>
              <a:gd name="connsiteX16" fmla="*/ 16383 w 27174"/>
              <a:gd name="connsiteY16" fmla="*/ 15764 h 53330"/>
              <a:gd name="connsiteX17" fmla="*/ 18707 w 27174"/>
              <a:gd name="connsiteY17" fmla="*/ 20888 h 53330"/>
              <a:gd name="connsiteX18" fmla="*/ 18917 w 27174"/>
              <a:gd name="connsiteY18" fmla="*/ 22384 h 53330"/>
              <a:gd name="connsiteX19" fmla="*/ 18631 w 27174"/>
              <a:gd name="connsiteY19" fmla="*/ 23108 h 53330"/>
              <a:gd name="connsiteX20" fmla="*/ 16373 w 27174"/>
              <a:gd name="connsiteY20" fmla="*/ 21631 h 53330"/>
              <a:gd name="connsiteX21" fmla="*/ 10925 w 27174"/>
              <a:gd name="connsiteY21" fmla="*/ 15002 h 53330"/>
              <a:gd name="connsiteX22" fmla="*/ 6687 w 27174"/>
              <a:gd name="connsiteY22" fmla="*/ 4039 h 53330"/>
              <a:gd name="connsiteX23" fmla="*/ 12402 w 27174"/>
              <a:gd name="connsiteY23" fmla="*/ 2276 h 53330"/>
              <a:gd name="connsiteX24" fmla="*/ 16545 w 27174"/>
              <a:gd name="connsiteY24" fmla="*/ 5162 h 53330"/>
              <a:gd name="connsiteX25" fmla="*/ 21164 w 27174"/>
              <a:gd name="connsiteY25" fmla="*/ 7334 h 53330"/>
              <a:gd name="connsiteX26" fmla="*/ 6305 w 27174"/>
              <a:gd name="connsiteY26" fmla="*/ 12402 h 53330"/>
              <a:gd name="connsiteX27" fmla="*/ 8706 w 27174"/>
              <a:gd name="connsiteY27" fmla="*/ 14611 h 53330"/>
              <a:gd name="connsiteX28" fmla="*/ 9553 w 27174"/>
              <a:gd name="connsiteY28" fmla="*/ 16173 h 53330"/>
              <a:gd name="connsiteX29" fmla="*/ 8172 w 27174"/>
              <a:gd name="connsiteY29" fmla="*/ 17678 h 53330"/>
              <a:gd name="connsiteX30" fmla="*/ 6505 w 27174"/>
              <a:gd name="connsiteY30" fmla="*/ 18069 h 53330"/>
              <a:gd name="connsiteX31" fmla="*/ 4486 w 27174"/>
              <a:gd name="connsiteY31" fmla="*/ 17717 h 53330"/>
              <a:gd name="connsiteX32" fmla="*/ 1162 w 27174"/>
              <a:gd name="connsiteY32" fmla="*/ 16088 h 53330"/>
              <a:gd name="connsiteX33" fmla="*/ 0 w 27174"/>
              <a:gd name="connsiteY33" fmla="*/ 12354 h 53330"/>
              <a:gd name="connsiteX34" fmla="*/ 2295 w 27174"/>
              <a:gd name="connsiteY34" fmla="*/ 12440 h 53330"/>
              <a:gd name="connsiteX35" fmla="*/ 5010 w 27174"/>
              <a:gd name="connsiteY35" fmla="*/ 11725 h 53330"/>
              <a:gd name="connsiteX36" fmla="*/ 6305 w 27174"/>
              <a:gd name="connsiteY36" fmla="*/ 12402 h 53330"/>
              <a:gd name="connsiteX37" fmla="*/ 21374 w 27174"/>
              <a:gd name="connsiteY37" fmla="*/ 31337 h 53330"/>
              <a:gd name="connsiteX38" fmla="*/ 20850 w 27174"/>
              <a:gd name="connsiteY38" fmla="*/ 33461 h 53330"/>
              <a:gd name="connsiteX39" fmla="*/ 20117 w 27174"/>
              <a:gd name="connsiteY39" fmla="*/ 33442 h 53330"/>
              <a:gd name="connsiteX40" fmla="*/ 17602 w 27174"/>
              <a:gd name="connsiteY40" fmla="*/ 30813 h 53330"/>
              <a:gd name="connsiteX41" fmla="*/ 15602 w 27174"/>
              <a:gd name="connsiteY41" fmla="*/ 29375 h 53330"/>
              <a:gd name="connsiteX42" fmla="*/ 14935 w 27174"/>
              <a:gd name="connsiteY42" fmla="*/ 28156 h 53330"/>
              <a:gd name="connsiteX43" fmla="*/ 14373 w 27174"/>
              <a:gd name="connsiteY43" fmla="*/ 26070 h 53330"/>
              <a:gd name="connsiteX44" fmla="*/ 15526 w 27174"/>
              <a:gd name="connsiteY44" fmla="*/ 25813 h 53330"/>
              <a:gd name="connsiteX45" fmla="*/ 16897 w 27174"/>
              <a:gd name="connsiteY45" fmla="*/ 26289 h 53330"/>
              <a:gd name="connsiteX46" fmla="*/ 20336 w 27174"/>
              <a:gd name="connsiteY46" fmla="*/ 28194 h 53330"/>
              <a:gd name="connsiteX47" fmla="*/ 21307 w 27174"/>
              <a:gd name="connsiteY47" fmla="*/ 30175 h 53330"/>
              <a:gd name="connsiteX48" fmla="*/ 21374 w 27174"/>
              <a:gd name="connsiteY48" fmla="*/ 31337 h 53330"/>
              <a:gd name="connsiteX49" fmla="*/ 19326 w 27174"/>
              <a:gd name="connsiteY49" fmla="*/ 51635 h 53330"/>
              <a:gd name="connsiteX50" fmla="*/ 19860 w 27174"/>
              <a:gd name="connsiteY50" fmla="*/ 53330 h 53330"/>
              <a:gd name="connsiteX51" fmla="*/ 19240 w 27174"/>
              <a:gd name="connsiteY51" fmla="*/ 53140 h 53330"/>
              <a:gd name="connsiteX52" fmla="*/ 17440 w 27174"/>
              <a:gd name="connsiteY52" fmla="*/ 51206 h 53330"/>
              <a:gd name="connsiteX53" fmla="*/ 14297 w 27174"/>
              <a:gd name="connsiteY53" fmla="*/ 46596 h 53330"/>
              <a:gd name="connsiteX54" fmla="*/ 13202 w 27174"/>
              <a:gd name="connsiteY54" fmla="*/ 42777 h 53330"/>
              <a:gd name="connsiteX55" fmla="*/ 13049 w 27174"/>
              <a:gd name="connsiteY55" fmla="*/ 41005 h 53330"/>
              <a:gd name="connsiteX56" fmla="*/ 13830 w 27174"/>
              <a:gd name="connsiteY56" fmla="*/ 41205 h 53330"/>
              <a:gd name="connsiteX57" fmla="*/ 14478 w 27174"/>
              <a:gd name="connsiteY57" fmla="*/ 42777 h 53330"/>
              <a:gd name="connsiteX58" fmla="*/ 17459 w 27174"/>
              <a:gd name="connsiteY58" fmla="*/ 43805 h 53330"/>
              <a:gd name="connsiteX59" fmla="*/ 18250 w 27174"/>
              <a:gd name="connsiteY59" fmla="*/ 44587 h 53330"/>
              <a:gd name="connsiteX60" fmla="*/ 18240 w 27174"/>
              <a:gd name="connsiteY60" fmla="*/ 46501 h 53330"/>
              <a:gd name="connsiteX61" fmla="*/ 19240 w 27174"/>
              <a:gd name="connsiteY61" fmla="*/ 48768 h 53330"/>
              <a:gd name="connsiteX62" fmla="*/ 19326 w 27174"/>
              <a:gd name="connsiteY62" fmla="*/ 51635 h 53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27174" h="53330">
                <a:moveTo>
                  <a:pt x="27175" y="5572"/>
                </a:moveTo>
                <a:lnTo>
                  <a:pt x="25898" y="9706"/>
                </a:lnTo>
                <a:lnTo>
                  <a:pt x="24003" y="9058"/>
                </a:lnTo>
                <a:lnTo>
                  <a:pt x="23479" y="8611"/>
                </a:lnTo>
                <a:lnTo>
                  <a:pt x="23070" y="7534"/>
                </a:lnTo>
                <a:lnTo>
                  <a:pt x="23270" y="4458"/>
                </a:lnTo>
                <a:lnTo>
                  <a:pt x="23203" y="0"/>
                </a:lnTo>
                <a:lnTo>
                  <a:pt x="25384" y="3667"/>
                </a:lnTo>
                <a:lnTo>
                  <a:pt x="27175" y="5572"/>
                </a:lnTo>
                <a:close/>
                <a:moveTo>
                  <a:pt x="21164" y="7334"/>
                </a:moveTo>
                <a:lnTo>
                  <a:pt x="20498" y="15011"/>
                </a:lnTo>
                <a:lnTo>
                  <a:pt x="19412" y="14973"/>
                </a:lnTo>
                <a:lnTo>
                  <a:pt x="17469" y="12849"/>
                </a:lnTo>
                <a:lnTo>
                  <a:pt x="16012" y="12411"/>
                </a:lnTo>
                <a:lnTo>
                  <a:pt x="15554" y="13545"/>
                </a:lnTo>
                <a:lnTo>
                  <a:pt x="15630" y="14907"/>
                </a:lnTo>
                <a:lnTo>
                  <a:pt x="16383" y="15764"/>
                </a:lnTo>
                <a:lnTo>
                  <a:pt x="18707" y="20888"/>
                </a:lnTo>
                <a:lnTo>
                  <a:pt x="18917" y="22384"/>
                </a:lnTo>
                <a:lnTo>
                  <a:pt x="18631" y="23108"/>
                </a:lnTo>
                <a:lnTo>
                  <a:pt x="16373" y="21631"/>
                </a:lnTo>
                <a:lnTo>
                  <a:pt x="10925" y="15002"/>
                </a:lnTo>
                <a:lnTo>
                  <a:pt x="6687" y="4039"/>
                </a:lnTo>
                <a:lnTo>
                  <a:pt x="12402" y="2276"/>
                </a:lnTo>
                <a:lnTo>
                  <a:pt x="16545" y="5162"/>
                </a:lnTo>
                <a:lnTo>
                  <a:pt x="21164" y="7334"/>
                </a:lnTo>
                <a:close/>
                <a:moveTo>
                  <a:pt x="6305" y="12402"/>
                </a:moveTo>
                <a:lnTo>
                  <a:pt x="8706" y="14611"/>
                </a:lnTo>
                <a:lnTo>
                  <a:pt x="9553" y="16173"/>
                </a:lnTo>
                <a:lnTo>
                  <a:pt x="8172" y="17678"/>
                </a:lnTo>
                <a:lnTo>
                  <a:pt x="6505" y="18069"/>
                </a:lnTo>
                <a:lnTo>
                  <a:pt x="4486" y="17717"/>
                </a:lnTo>
                <a:lnTo>
                  <a:pt x="1162" y="16088"/>
                </a:lnTo>
                <a:lnTo>
                  <a:pt x="0" y="12354"/>
                </a:lnTo>
                <a:lnTo>
                  <a:pt x="2295" y="12440"/>
                </a:lnTo>
                <a:lnTo>
                  <a:pt x="5010" y="11725"/>
                </a:lnTo>
                <a:lnTo>
                  <a:pt x="6305" y="12402"/>
                </a:lnTo>
                <a:close/>
                <a:moveTo>
                  <a:pt x="21374" y="31337"/>
                </a:moveTo>
                <a:lnTo>
                  <a:pt x="20850" y="33461"/>
                </a:lnTo>
                <a:lnTo>
                  <a:pt x="20117" y="33442"/>
                </a:lnTo>
                <a:lnTo>
                  <a:pt x="17602" y="30813"/>
                </a:lnTo>
                <a:lnTo>
                  <a:pt x="15602" y="29375"/>
                </a:lnTo>
                <a:lnTo>
                  <a:pt x="14935" y="28156"/>
                </a:lnTo>
                <a:lnTo>
                  <a:pt x="14373" y="26070"/>
                </a:lnTo>
                <a:lnTo>
                  <a:pt x="15526" y="25813"/>
                </a:lnTo>
                <a:lnTo>
                  <a:pt x="16897" y="26289"/>
                </a:lnTo>
                <a:lnTo>
                  <a:pt x="20336" y="28194"/>
                </a:lnTo>
                <a:lnTo>
                  <a:pt x="21307" y="30175"/>
                </a:lnTo>
                <a:lnTo>
                  <a:pt x="21374" y="31337"/>
                </a:lnTo>
                <a:close/>
                <a:moveTo>
                  <a:pt x="19326" y="51635"/>
                </a:moveTo>
                <a:lnTo>
                  <a:pt x="19860" y="53330"/>
                </a:lnTo>
                <a:lnTo>
                  <a:pt x="19240" y="53140"/>
                </a:lnTo>
                <a:lnTo>
                  <a:pt x="17440" y="51206"/>
                </a:lnTo>
                <a:lnTo>
                  <a:pt x="14297" y="46596"/>
                </a:lnTo>
                <a:lnTo>
                  <a:pt x="13202" y="42777"/>
                </a:lnTo>
                <a:lnTo>
                  <a:pt x="13049" y="41005"/>
                </a:lnTo>
                <a:lnTo>
                  <a:pt x="13830" y="41205"/>
                </a:lnTo>
                <a:lnTo>
                  <a:pt x="14478" y="42777"/>
                </a:lnTo>
                <a:lnTo>
                  <a:pt x="17459" y="43805"/>
                </a:lnTo>
                <a:lnTo>
                  <a:pt x="18250" y="44587"/>
                </a:lnTo>
                <a:lnTo>
                  <a:pt x="18240" y="46501"/>
                </a:lnTo>
                <a:lnTo>
                  <a:pt x="19240" y="48768"/>
                </a:lnTo>
                <a:lnTo>
                  <a:pt x="19326" y="51635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1" name="Forme libre : forme 20">
            <a:extLst>
              <a:ext uri="{FF2B5EF4-FFF2-40B4-BE49-F238E27FC236}">
                <a16:creationId xmlns:a16="http://schemas.microsoft.com/office/drawing/2014/main" id="{8BEA474A-73BA-5B99-A370-7E0556197A29}"/>
              </a:ext>
            </a:extLst>
          </p:cNvPr>
          <p:cNvSpPr/>
          <p:nvPr/>
        </p:nvSpPr>
        <p:spPr>
          <a:xfrm>
            <a:off x="5355460" y="3497043"/>
            <a:ext cx="499285" cy="489817"/>
          </a:xfrm>
          <a:custGeom>
            <a:avLst/>
            <a:gdLst>
              <a:gd name="connsiteX0" fmla="*/ 203854 w 382800"/>
              <a:gd name="connsiteY0" fmla="*/ 16040 h 375541"/>
              <a:gd name="connsiteX1" fmla="*/ 205445 w 382800"/>
              <a:gd name="connsiteY1" fmla="*/ 15573 h 375541"/>
              <a:gd name="connsiteX2" fmla="*/ 208141 w 382800"/>
              <a:gd name="connsiteY2" fmla="*/ 13897 h 375541"/>
              <a:gd name="connsiteX3" fmla="*/ 210388 w 382800"/>
              <a:gd name="connsiteY3" fmla="*/ 13363 h 375541"/>
              <a:gd name="connsiteX4" fmla="*/ 211674 w 382800"/>
              <a:gd name="connsiteY4" fmla="*/ 14649 h 375541"/>
              <a:gd name="connsiteX5" fmla="*/ 212398 w 382800"/>
              <a:gd name="connsiteY5" fmla="*/ 15383 h 375541"/>
              <a:gd name="connsiteX6" fmla="*/ 213808 w 382800"/>
              <a:gd name="connsiteY6" fmla="*/ 18278 h 375541"/>
              <a:gd name="connsiteX7" fmla="*/ 214208 w 382800"/>
              <a:gd name="connsiteY7" fmla="*/ 21288 h 375541"/>
              <a:gd name="connsiteX8" fmla="*/ 214836 w 382800"/>
              <a:gd name="connsiteY8" fmla="*/ 23793 h 375541"/>
              <a:gd name="connsiteX9" fmla="*/ 215980 w 382800"/>
              <a:gd name="connsiteY9" fmla="*/ 24803 h 375541"/>
              <a:gd name="connsiteX10" fmla="*/ 220275 w 382800"/>
              <a:gd name="connsiteY10" fmla="*/ 25136 h 375541"/>
              <a:gd name="connsiteX11" fmla="*/ 223447 w 382800"/>
              <a:gd name="connsiteY11" fmla="*/ 26060 h 375541"/>
              <a:gd name="connsiteX12" fmla="*/ 224285 w 382800"/>
              <a:gd name="connsiteY12" fmla="*/ 26898 h 375541"/>
              <a:gd name="connsiteX13" fmla="*/ 225371 w 382800"/>
              <a:gd name="connsiteY13" fmla="*/ 32442 h 375541"/>
              <a:gd name="connsiteX14" fmla="*/ 225962 w 382800"/>
              <a:gd name="connsiteY14" fmla="*/ 33223 h 375541"/>
              <a:gd name="connsiteX15" fmla="*/ 226752 w 382800"/>
              <a:gd name="connsiteY15" fmla="*/ 32575 h 375541"/>
              <a:gd name="connsiteX16" fmla="*/ 227533 w 382800"/>
              <a:gd name="connsiteY16" fmla="*/ 31661 h 375541"/>
              <a:gd name="connsiteX17" fmla="*/ 228619 w 382800"/>
              <a:gd name="connsiteY17" fmla="*/ 31518 h 375541"/>
              <a:gd name="connsiteX18" fmla="*/ 230477 w 382800"/>
              <a:gd name="connsiteY18" fmla="*/ 31870 h 375541"/>
              <a:gd name="connsiteX19" fmla="*/ 232924 w 382800"/>
              <a:gd name="connsiteY19" fmla="*/ 31985 h 375541"/>
              <a:gd name="connsiteX20" fmla="*/ 235448 w 382800"/>
              <a:gd name="connsiteY20" fmla="*/ 32595 h 375541"/>
              <a:gd name="connsiteX21" fmla="*/ 238935 w 382800"/>
              <a:gd name="connsiteY21" fmla="*/ 35719 h 375541"/>
              <a:gd name="connsiteX22" fmla="*/ 238801 w 382800"/>
              <a:gd name="connsiteY22" fmla="*/ 36747 h 375541"/>
              <a:gd name="connsiteX23" fmla="*/ 238125 w 382800"/>
              <a:gd name="connsiteY23" fmla="*/ 38548 h 375541"/>
              <a:gd name="connsiteX24" fmla="*/ 237887 w 382800"/>
              <a:gd name="connsiteY24" fmla="*/ 39986 h 375541"/>
              <a:gd name="connsiteX25" fmla="*/ 238487 w 382800"/>
              <a:gd name="connsiteY25" fmla="*/ 40567 h 375541"/>
              <a:gd name="connsiteX26" fmla="*/ 239411 w 382800"/>
              <a:gd name="connsiteY26" fmla="*/ 42053 h 375541"/>
              <a:gd name="connsiteX27" fmla="*/ 239192 w 382800"/>
              <a:gd name="connsiteY27" fmla="*/ 43767 h 375541"/>
              <a:gd name="connsiteX28" fmla="*/ 238297 w 382800"/>
              <a:gd name="connsiteY28" fmla="*/ 44967 h 375541"/>
              <a:gd name="connsiteX29" fmla="*/ 237935 w 382800"/>
              <a:gd name="connsiteY29" fmla="*/ 45958 h 375541"/>
              <a:gd name="connsiteX30" fmla="*/ 237935 w 382800"/>
              <a:gd name="connsiteY30" fmla="*/ 46596 h 375541"/>
              <a:gd name="connsiteX31" fmla="*/ 238268 w 382800"/>
              <a:gd name="connsiteY31" fmla="*/ 47130 h 375541"/>
              <a:gd name="connsiteX32" fmla="*/ 238982 w 382800"/>
              <a:gd name="connsiteY32" fmla="*/ 47596 h 375541"/>
              <a:gd name="connsiteX33" fmla="*/ 244135 w 382800"/>
              <a:gd name="connsiteY33" fmla="*/ 48225 h 375541"/>
              <a:gd name="connsiteX34" fmla="*/ 248850 w 382800"/>
              <a:gd name="connsiteY34" fmla="*/ 47596 h 375541"/>
              <a:gd name="connsiteX35" fmla="*/ 251822 w 382800"/>
              <a:gd name="connsiteY35" fmla="*/ 45844 h 375541"/>
              <a:gd name="connsiteX36" fmla="*/ 252327 w 382800"/>
              <a:gd name="connsiteY36" fmla="*/ 43996 h 375541"/>
              <a:gd name="connsiteX37" fmla="*/ 253165 w 382800"/>
              <a:gd name="connsiteY37" fmla="*/ 41919 h 375541"/>
              <a:gd name="connsiteX38" fmla="*/ 254937 w 382800"/>
              <a:gd name="connsiteY38" fmla="*/ 40167 h 375541"/>
              <a:gd name="connsiteX39" fmla="*/ 256156 w 382800"/>
              <a:gd name="connsiteY39" fmla="*/ 39576 h 375541"/>
              <a:gd name="connsiteX40" fmla="*/ 257280 w 382800"/>
              <a:gd name="connsiteY40" fmla="*/ 40291 h 375541"/>
              <a:gd name="connsiteX41" fmla="*/ 255394 w 382800"/>
              <a:gd name="connsiteY41" fmla="*/ 47615 h 375541"/>
              <a:gd name="connsiteX42" fmla="*/ 256775 w 382800"/>
              <a:gd name="connsiteY42" fmla="*/ 49482 h 375541"/>
              <a:gd name="connsiteX43" fmla="*/ 256975 w 382800"/>
              <a:gd name="connsiteY43" fmla="*/ 52264 h 375541"/>
              <a:gd name="connsiteX44" fmla="*/ 257470 w 382800"/>
              <a:gd name="connsiteY44" fmla="*/ 54702 h 375541"/>
              <a:gd name="connsiteX45" fmla="*/ 259156 w 382800"/>
              <a:gd name="connsiteY45" fmla="*/ 54654 h 375541"/>
              <a:gd name="connsiteX46" fmla="*/ 261195 w 382800"/>
              <a:gd name="connsiteY46" fmla="*/ 55102 h 375541"/>
              <a:gd name="connsiteX47" fmla="*/ 262642 w 382800"/>
              <a:gd name="connsiteY47" fmla="*/ 55997 h 375541"/>
              <a:gd name="connsiteX48" fmla="*/ 264328 w 382800"/>
              <a:gd name="connsiteY48" fmla="*/ 57445 h 375541"/>
              <a:gd name="connsiteX49" fmla="*/ 266757 w 382800"/>
              <a:gd name="connsiteY49" fmla="*/ 58779 h 375541"/>
              <a:gd name="connsiteX50" fmla="*/ 268462 w 382800"/>
              <a:gd name="connsiteY50" fmla="*/ 59245 h 375541"/>
              <a:gd name="connsiteX51" fmla="*/ 269081 w 382800"/>
              <a:gd name="connsiteY51" fmla="*/ 60350 h 375541"/>
              <a:gd name="connsiteX52" fmla="*/ 270463 w 382800"/>
              <a:gd name="connsiteY52" fmla="*/ 61636 h 375541"/>
              <a:gd name="connsiteX53" fmla="*/ 272634 w 382800"/>
              <a:gd name="connsiteY53" fmla="*/ 64322 h 375541"/>
              <a:gd name="connsiteX54" fmla="*/ 274577 w 382800"/>
              <a:gd name="connsiteY54" fmla="*/ 66113 h 375541"/>
              <a:gd name="connsiteX55" fmla="*/ 275520 w 382800"/>
              <a:gd name="connsiteY55" fmla="*/ 66113 h 375541"/>
              <a:gd name="connsiteX56" fmla="*/ 277330 w 382800"/>
              <a:gd name="connsiteY56" fmla="*/ 65408 h 375541"/>
              <a:gd name="connsiteX57" fmla="*/ 280016 w 382800"/>
              <a:gd name="connsiteY57" fmla="*/ 64960 h 375541"/>
              <a:gd name="connsiteX58" fmla="*/ 282130 w 382800"/>
              <a:gd name="connsiteY58" fmla="*/ 64998 h 375541"/>
              <a:gd name="connsiteX59" fmla="*/ 283035 w 382800"/>
              <a:gd name="connsiteY59" fmla="*/ 66360 h 375541"/>
              <a:gd name="connsiteX60" fmla="*/ 285122 w 382800"/>
              <a:gd name="connsiteY60" fmla="*/ 66989 h 375541"/>
              <a:gd name="connsiteX61" fmla="*/ 285855 w 382800"/>
              <a:gd name="connsiteY61" fmla="*/ 67494 h 375541"/>
              <a:gd name="connsiteX62" fmla="*/ 286674 w 382800"/>
              <a:gd name="connsiteY62" fmla="*/ 68437 h 375541"/>
              <a:gd name="connsiteX63" fmla="*/ 288065 w 382800"/>
              <a:gd name="connsiteY63" fmla="*/ 68818 h 375541"/>
              <a:gd name="connsiteX64" fmla="*/ 289741 w 382800"/>
              <a:gd name="connsiteY64" fmla="*/ 68437 h 375541"/>
              <a:gd name="connsiteX65" fmla="*/ 290960 w 382800"/>
              <a:gd name="connsiteY65" fmla="*/ 67189 h 375541"/>
              <a:gd name="connsiteX66" fmla="*/ 292589 w 382800"/>
              <a:gd name="connsiteY66" fmla="*/ 66618 h 375541"/>
              <a:gd name="connsiteX67" fmla="*/ 294227 w 382800"/>
              <a:gd name="connsiteY67" fmla="*/ 66808 h 375541"/>
              <a:gd name="connsiteX68" fmla="*/ 295170 w 382800"/>
              <a:gd name="connsiteY68" fmla="*/ 67494 h 375541"/>
              <a:gd name="connsiteX69" fmla="*/ 296961 w 382800"/>
              <a:gd name="connsiteY69" fmla="*/ 68513 h 375541"/>
              <a:gd name="connsiteX70" fmla="*/ 297971 w 382800"/>
              <a:gd name="connsiteY70" fmla="*/ 68294 h 375541"/>
              <a:gd name="connsiteX71" fmla="*/ 299999 w 382800"/>
              <a:gd name="connsiteY71" fmla="*/ 68923 h 375541"/>
              <a:gd name="connsiteX72" fmla="*/ 302038 w 382800"/>
              <a:gd name="connsiteY72" fmla="*/ 70904 h 375541"/>
              <a:gd name="connsiteX73" fmla="*/ 302895 w 382800"/>
              <a:gd name="connsiteY73" fmla="*/ 72885 h 375541"/>
              <a:gd name="connsiteX74" fmla="*/ 303114 w 382800"/>
              <a:gd name="connsiteY74" fmla="*/ 73971 h 375541"/>
              <a:gd name="connsiteX75" fmla="*/ 303990 w 382800"/>
              <a:gd name="connsiteY75" fmla="*/ 75152 h 375541"/>
              <a:gd name="connsiteX76" fmla="*/ 307410 w 382800"/>
              <a:gd name="connsiteY76" fmla="*/ 80467 h 375541"/>
              <a:gd name="connsiteX77" fmla="*/ 308496 w 382800"/>
              <a:gd name="connsiteY77" fmla="*/ 80724 h 375541"/>
              <a:gd name="connsiteX78" fmla="*/ 309686 w 382800"/>
              <a:gd name="connsiteY78" fmla="*/ 79924 h 375541"/>
              <a:gd name="connsiteX79" fmla="*/ 310458 w 382800"/>
              <a:gd name="connsiteY79" fmla="*/ 78781 h 375541"/>
              <a:gd name="connsiteX80" fmla="*/ 311572 w 382800"/>
              <a:gd name="connsiteY80" fmla="*/ 78552 h 375541"/>
              <a:gd name="connsiteX81" fmla="*/ 313363 w 382800"/>
              <a:gd name="connsiteY81" fmla="*/ 79086 h 375541"/>
              <a:gd name="connsiteX82" fmla="*/ 314516 w 382800"/>
              <a:gd name="connsiteY82" fmla="*/ 79686 h 375541"/>
              <a:gd name="connsiteX83" fmla="*/ 315068 w 382800"/>
              <a:gd name="connsiteY83" fmla="*/ 81982 h 375541"/>
              <a:gd name="connsiteX84" fmla="*/ 315459 w 382800"/>
              <a:gd name="connsiteY84" fmla="*/ 82420 h 375541"/>
              <a:gd name="connsiteX85" fmla="*/ 316230 w 382800"/>
              <a:gd name="connsiteY85" fmla="*/ 81924 h 375541"/>
              <a:gd name="connsiteX86" fmla="*/ 317611 w 382800"/>
              <a:gd name="connsiteY86" fmla="*/ 81820 h 375541"/>
              <a:gd name="connsiteX87" fmla="*/ 319821 w 382800"/>
              <a:gd name="connsiteY87" fmla="*/ 82382 h 375541"/>
              <a:gd name="connsiteX88" fmla="*/ 322850 w 382800"/>
              <a:gd name="connsiteY88" fmla="*/ 81734 h 375541"/>
              <a:gd name="connsiteX89" fmla="*/ 325279 w 382800"/>
              <a:gd name="connsiteY89" fmla="*/ 80772 h 375541"/>
              <a:gd name="connsiteX90" fmla="*/ 326517 w 382800"/>
              <a:gd name="connsiteY90" fmla="*/ 80810 h 375541"/>
              <a:gd name="connsiteX91" fmla="*/ 328517 w 382800"/>
              <a:gd name="connsiteY91" fmla="*/ 83486 h 375541"/>
              <a:gd name="connsiteX92" fmla="*/ 330803 w 382800"/>
              <a:gd name="connsiteY92" fmla="*/ 84487 h 375541"/>
              <a:gd name="connsiteX93" fmla="*/ 335832 w 382800"/>
              <a:gd name="connsiteY93" fmla="*/ 85296 h 375541"/>
              <a:gd name="connsiteX94" fmla="*/ 341233 w 382800"/>
              <a:gd name="connsiteY94" fmla="*/ 86553 h 375541"/>
              <a:gd name="connsiteX95" fmla="*/ 343357 w 382800"/>
              <a:gd name="connsiteY95" fmla="*/ 87573 h 375541"/>
              <a:gd name="connsiteX96" fmla="*/ 344805 w 382800"/>
              <a:gd name="connsiteY96" fmla="*/ 88077 h 375541"/>
              <a:gd name="connsiteX97" fmla="*/ 344957 w 382800"/>
              <a:gd name="connsiteY97" fmla="*/ 91611 h 375541"/>
              <a:gd name="connsiteX98" fmla="*/ 344519 w 382800"/>
              <a:gd name="connsiteY98" fmla="*/ 92145 h 375541"/>
              <a:gd name="connsiteX99" fmla="*/ 339138 w 382800"/>
              <a:gd name="connsiteY99" fmla="*/ 99212 h 375541"/>
              <a:gd name="connsiteX100" fmla="*/ 336871 w 382800"/>
              <a:gd name="connsiteY100" fmla="*/ 101737 h 375541"/>
              <a:gd name="connsiteX101" fmla="*/ 335718 w 382800"/>
              <a:gd name="connsiteY101" fmla="*/ 105327 h 375541"/>
              <a:gd name="connsiteX102" fmla="*/ 334928 w 382800"/>
              <a:gd name="connsiteY102" fmla="*/ 110833 h 375541"/>
              <a:gd name="connsiteX103" fmla="*/ 333337 w 382800"/>
              <a:gd name="connsiteY103" fmla="*/ 116043 h 375541"/>
              <a:gd name="connsiteX104" fmla="*/ 330956 w 382800"/>
              <a:gd name="connsiteY104" fmla="*/ 120977 h 375541"/>
              <a:gd name="connsiteX105" fmla="*/ 330089 w 382800"/>
              <a:gd name="connsiteY105" fmla="*/ 124673 h 375541"/>
              <a:gd name="connsiteX106" fmla="*/ 330737 w 382800"/>
              <a:gd name="connsiteY106" fmla="*/ 127130 h 375541"/>
              <a:gd name="connsiteX107" fmla="*/ 330327 w 382800"/>
              <a:gd name="connsiteY107" fmla="*/ 130988 h 375541"/>
              <a:gd name="connsiteX108" fmla="*/ 328870 w 382800"/>
              <a:gd name="connsiteY108" fmla="*/ 136236 h 375541"/>
              <a:gd name="connsiteX109" fmla="*/ 328622 w 382800"/>
              <a:gd name="connsiteY109" fmla="*/ 140189 h 375541"/>
              <a:gd name="connsiteX110" fmla="*/ 329594 w 382800"/>
              <a:gd name="connsiteY110" fmla="*/ 142856 h 375541"/>
              <a:gd name="connsiteX111" fmla="*/ 330937 w 382800"/>
              <a:gd name="connsiteY111" fmla="*/ 143399 h 375541"/>
              <a:gd name="connsiteX112" fmla="*/ 327708 w 382800"/>
              <a:gd name="connsiteY112" fmla="*/ 145189 h 375541"/>
              <a:gd name="connsiteX113" fmla="*/ 326974 w 382800"/>
              <a:gd name="connsiteY113" fmla="*/ 146761 h 375541"/>
              <a:gd name="connsiteX114" fmla="*/ 325707 w 382800"/>
              <a:gd name="connsiteY114" fmla="*/ 148828 h 375541"/>
              <a:gd name="connsiteX115" fmla="*/ 323650 w 382800"/>
              <a:gd name="connsiteY115" fmla="*/ 149695 h 375541"/>
              <a:gd name="connsiteX116" fmla="*/ 321583 w 382800"/>
              <a:gd name="connsiteY116" fmla="*/ 149980 h 375541"/>
              <a:gd name="connsiteX117" fmla="*/ 319907 w 382800"/>
              <a:gd name="connsiteY117" fmla="*/ 149714 h 375541"/>
              <a:gd name="connsiteX118" fmla="*/ 318954 w 382800"/>
              <a:gd name="connsiteY118" fmla="*/ 148885 h 375541"/>
              <a:gd name="connsiteX119" fmla="*/ 319002 w 382800"/>
              <a:gd name="connsiteY119" fmla="*/ 148114 h 375541"/>
              <a:gd name="connsiteX120" fmla="*/ 318116 w 382800"/>
              <a:gd name="connsiteY120" fmla="*/ 147456 h 375541"/>
              <a:gd name="connsiteX121" fmla="*/ 315916 w 382800"/>
              <a:gd name="connsiteY121" fmla="*/ 147475 h 375541"/>
              <a:gd name="connsiteX122" fmla="*/ 313639 w 382800"/>
              <a:gd name="connsiteY122" fmla="*/ 148895 h 375541"/>
              <a:gd name="connsiteX123" fmla="*/ 311820 w 382800"/>
              <a:gd name="connsiteY123" fmla="*/ 151219 h 375541"/>
              <a:gd name="connsiteX124" fmla="*/ 312382 w 382800"/>
              <a:gd name="connsiteY124" fmla="*/ 152514 h 375541"/>
              <a:gd name="connsiteX125" fmla="*/ 314058 w 382800"/>
              <a:gd name="connsiteY125" fmla="*/ 152857 h 375541"/>
              <a:gd name="connsiteX126" fmla="*/ 314497 w 382800"/>
              <a:gd name="connsiteY126" fmla="*/ 153371 h 375541"/>
              <a:gd name="connsiteX127" fmla="*/ 314497 w 382800"/>
              <a:gd name="connsiteY127" fmla="*/ 154038 h 375541"/>
              <a:gd name="connsiteX128" fmla="*/ 313906 w 382800"/>
              <a:gd name="connsiteY128" fmla="*/ 154838 h 375541"/>
              <a:gd name="connsiteX129" fmla="*/ 313201 w 382800"/>
              <a:gd name="connsiteY129" fmla="*/ 156210 h 375541"/>
              <a:gd name="connsiteX130" fmla="*/ 309686 w 382800"/>
              <a:gd name="connsiteY130" fmla="*/ 160286 h 375541"/>
              <a:gd name="connsiteX131" fmla="*/ 306143 w 382800"/>
              <a:gd name="connsiteY131" fmla="*/ 164392 h 375541"/>
              <a:gd name="connsiteX132" fmla="*/ 305571 w 382800"/>
              <a:gd name="connsiteY132" fmla="*/ 165630 h 375541"/>
              <a:gd name="connsiteX133" fmla="*/ 304448 w 382800"/>
              <a:gd name="connsiteY133" fmla="*/ 166497 h 375541"/>
              <a:gd name="connsiteX134" fmla="*/ 299942 w 382800"/>
              <a:gd name="connsiteY134" fmla="*/ 168688 h 375541"/>
              <a:gd name="connsiteX135" fmla="*/ 299476 w 382800"/>
              <a:gd name="connsiteY135" fmla="*/ 169564 h 375541"/>
              <a:gd name="connsiteX136" fmla="*/ 299218 w 382800"/>
              <a:gd name="connsiteY136" fmla="*/ 173212 h 375541"/>
              <a:gd name="connsiteX137" fmla="*/ 298713 w 382800"/>
              <a:gd name="connsiteY137" fmla="*/ 176203 h 375541"/>
              <a:gd name="connsiteX138" fmla="*/ 295370 w 382800"/>
              <a:gd name="connsiteY138" fmla="*/ 179013 h 375541"/>
              <a:gd name="connsiteX139" fmla="*/ 292046 w 382800"/>
              <a:gd name="connsiteY139" fmla="*/ 181803 h 375541"/>
              <a:gd name="connsiteX140" fmla="*/ 291217 w 382800"/>
              <a:gd name="connsiteY140" fmla="*/ 183509 h 375541"/>
              <a:gd name="connsiteX141" fmla="*/ 290617 w 382800"/>
              <a:gd name="connsiteY141" fmla="*/ 185480 h 375541"/>
              <a:gd name="connsiteX142" fmla="*/ 289579 w 382800"/>
              <a:gd name="connsiteY142" fmla="*/ 187709 h 375541"/>
              <a:gd name="connsiteX143" fmla="*/ 289370 w 382800"/>
              <a:gd name="connsiteY143" fmla="*/ 188890 h 375541"/>
              <a:gd name="connsiteX144" fmla="*/ 291056 w 382800"/>
              <a:gd name="connsiteY144" fmla="*/ 190805 h 375541"/>
              <a:gd name="connsiteX145" fmla="*/ 290856 w 382800"/>
              <a:gd name="connsiteY145" fmla="*/ 192386 h 375541"/>
              <a:gd name="connsiteX146" fmla="*/ 290322 w 382800"/>
              <a:gd name="connsiteY146" fmla="*/ 194634 h 375541"/>
              <a:gd name="connsiteX147" fmla="*/ 288732 w 382800"/>
              <a:gd name="connsiteY147" fmla="*/ 196224 h 375541"/>
              <a:gd name="connsiteX148" fmla="*/ 286960 w 382800"/>
              <a:gd name="connsiteY148" fmla="*/ 197129 h 375541"/>
              <a:gd name="connsiteX149" fmla="*/ 286998 w 382800"/>
              <a:gd name="connsiteY149" fmla="*/ 199568 h 375541"/>
              <a:gd name="connsiteX150" fmla="*/ 287941 w 382800"/>
              <a:gd name="connsiteY150" fmla="*/ 199910 h 375541"/>
              <a:gd name="connsiteX151" fmla="*/ 290074 w 382800"/>
              <a:gd name="connsiteY151" fmla="*/ 199730 h 375541"/>
              <a:gd name="connsiteX152" fmla="*/ 293094 w 382800"/>
              <a:gd name="connsiteY152" fmla="*/ 197958 h 375541"/>
              <a:gd name="connsiteX153" fmla="*/ 295065 w 382800"/>
              <a:gd name="connsiteY153" fmla="*/ 195672 h 375541"/>
              <a:gd name="connsiteX154" fmla="*/ 293904 w 382800"/>
              <a:gd name="connsiteY154" fmla="*/ 193510 h 375541"/>
              <a:gd name="connsiteX155" fmla="*/ 293761 w 382800"/>
              <a:gd name="connsiteY155" fmla="*/ 193091 h 375541"/>
              <a:gd name="connsiteX156" fmla="*/ 294046 w 382800"/>
              <a:gd name="connsiteY156" fmla="*/ 192576 h 375541"/>
              <a:gd name="connsiteX157" fmla="*/ 296380 w 382800"/>
              <a:gd name="connsiteY157" fmla="*/ 190214 h 375541"/>
              <a:gd name="connsiteX158" fmla="*/ 299238 w 382800"/>
              <a:gd name="connsiteY158" fmla="*/ 188795 h 375541"/>
              <a:gd name="connsiteX159" fmla="*/ 303228 w 382800"/>
              <a:gd name="connsiteY159" fmla="*/ 188528 h 375541"/>
              <a:gd name="connsiteX160" fmla="*/ 308038 w 382800"/>
              <a:gd name="connsiteY160" fmla="*/ 189366 h 375541"/>
              <a:gd name="connsiteX161" fmla="*/ 308515 w 382800"/>
              <a:gd name="connsiteY161" fmla="*/ 189719 h 375541"/>
              <a:gd name="connsiteX162" fmla="*/ 308286 w 382800"/>
              <a:gd name="connsiteY162" fmla="*/ 191167 h 375541"/>
              <a:gd name="connsiteX163" fmla="*/ 308734 w 382800"/>
              <a:gd name="connsiteY163" fmla="*/ 193300 h 375541"/>
              <a:gd name="connsiteX164" fmla="*/ 309601 w 382800"/>
              <a:gd name="connsiteY164" fmla="*/ 194796 h 375541"/>
              <a:gd name="connsiteX165" fmla="*/ 308410 w 382800"/>
              <a:gd name="connsiteY165" fmla="*/ 199034 h 375541"/>
              <a:gd name="connsiteX166" fmla="*/ 309315 w 382800"/>
              <a:gd name="connsiteY166" fmla="*/ 200358 h 375541"/>
              <a:gd name="connsiteX167" fmla="*/ 310715 w 382800"/>
              <a:gd name="connsiteY167" fmla="*/ 201949 h 375541"/>
              <a:gd name="connsiteX168" fmla="*/ 311763 w 382800"/>
              <a:gd name="connsiteY168" fmla="*/ 203397 h 375541"/>
              <a:gd name="connsiteX169" fmla="*/ 313268 w 382800"/>
              <a:gd name="connsiteY169" fmla="*/ 204721 h 375541"/>
              <a:gd name="connsiteX170" fmla="*/ 314611 w 382800"/>
              <a:gd name="connsiteY170" fmla="*/ 206959 h 375541"/>
              <a:gd name="connsiteX171" fmla="*/ 315068 w 382800"/>
              <a:gd name="connsiteY171" fmla="*/ 208226 h 375541"/>
              <a:gd name="connsiteX172" fmla="*/ 312916 w 382800"/>
              <a:gd name="connsiteY172" fmla="*/ 210417 h 375541"/>
              <a:gd name="connsiteX173" fmla="*/ 309277 w 382800"/>
              <a:gd name="connsiteY173" fmla="*/ 212474 h 375541"/>
              <a:gd name="connsiteX174" fmla="*/ 308867 w 382800"/>
              <a:gd name="connsiteY174" fmla="*/ 213798 h 375541"/>
              <a:gd name="connsiteX175" fmla="*/ 308915 w 382800"/>
              <a:gd name="connsiteY175" fmla="*/ 215294 h 375541"/>
              <a:gd name="connsiteX176" fmla="*/ 309324 w 382800"/>
              <a:gd name="connsiteY176" fmla="*/ 216475 h 375541"/>
              <a:gd name="connsiteX177" fmla="*/ 311334 w 382800"/>
              <a:gd name="connsiteY177" fmla="*/ 217989 h 375541"/>
              <a:gd name="connsiteX178" fmla="*/ 313496 w 382800"/>
              <a:gd name="connsiteY178" fmla="*/ 221409 h 375541"/>
              <a:gd name="connsiteX179" fmla="*/ 314868 w 382800"/>
              <a:gd name="connsiteY179" fmla="*/ 224456 h 375541"/>
              <a:gd name="connsiteX180" fmla="*/ 317868 w 382800"/>
              <a:gd name="connsiteY180" fmla="*/ 227371 h 375541"/>
              <a:gd name="connsiteX181" fmla="*/ 318602 w 382800"/>
              <a:gd name="connsiteY181" fmla="*/ 228238 h 375541"/>
              <a:gd name="connsiteX182" fmla="*/ 318411 w 382800"/>
              <a:gd name="connsiteY182" fmla="*/ 228962 h 375541"/>
              <a:gd name="connsiteX183" fmla="*/ 317621 w 382800"/>
              <a:gd name="connsiteY183" fmla="*/ 230200 h 375541"/>
              <a:gd name="connsiteX184" fmla="*/ 316592 w 382800"/>
              <a:gd name="connsiteY184" fmla="*/ 234334 h 375541"/>
              <a:gd name="connsiteX185" fmla="*/ 315363 w 382800"/>
              <a:gd name="connsiteY185" fmla="*/ 234982 h 375541"/>
              <a:gd name="connsiteX186" fmla="*/ 313992 w 382800"/>
              <a:gd name="connsiteY186" fmla="*/ 235248 h 375541"/>
              <a:gd name="connsiteX187" fmla="*/ 310277 w 382800"/>
              <a:gd name="connsiteY187" fmla="*/ 238268 h 375541"/>
              <a:gd name="connsiteX188" fmla="*/ 308620 w 382800"/>
              <a:gd name="connsiteY188" fmla="*/ 237896 h 375541"/>
              <a:gd name="connsiteX189" fmla="*/ 306267 w 382800"/>
              <a:gd name="connsiteY189" fmla="*/ 237934 h 375541"/>
              <a:gd name="connsiteX190" fmla="*/ 304543 w 382800"/>
              <a:gd name="connsiteY190" fmla="*/ 238925 h 375541"/>
              <a:gd name="connsiteX191" fmla="*/ 304733 w 382800"/>
              <a:gd name="connsiteY191" fmla="*/ 240801 h 375541"/>
              <a:gd name="connsiteX192" fmla="*/ 306248 w 382800"/>
              <a:gd name="connsiteY192" fmla="*/ 242516 h 375541"/>
              <a:gd name="connsiteX193" fmla="*/ 307134 w 382800"/>
              <a:gd name="connsiteY193" fmla="*/ 244383 h 375541"/>
              <a:gd name="connsiteX194" fmla="*/ 307496 w 382800"/>
              <a:gd name="connsiteY194" fmla="*/ 246326 h 375541"/>
              <a:gd name="connsiteX195" fmla="*/ 309172 w 382800"/>
              <a:gd name="connsiteY195" fmla="*/ 247764 h 375541"/>
              <a:gd name="connsiteX196" fmla="*/ 311534 w 382800"/>
              <a:gd name="connsiteY196" fmla="*/ 248621 h 375541"/>
              <a:gd name="connsiteX197" fmla="*/ 312887 w 382800"/>
              <a:gd name="connsiteY197" fmla="*/ 248678 h 375541"/>
              <a:gd name="connsiteX198" fmla="*/ 313763 w 382800"/>
              <a:gd name="connsiteY198" fmla="*/ 249193 h 375541"/>
              <a:gd name="connsiteX199" fmla="*/ 314297 w 382800"/>
              <a:gd name="connsiteY199" fmla="*/ 249860 h 375541"/>
              <a:gd name="connsiteX200" fmla="*/ 315316 w 382800"/>
              <a:gd name="connsiteY200" fmla="*/ 254013 h 375541"/>
              <a:gd name="connsiteX201" fmla="*/ 314706 w 382800"/>
              <a:gd name="connsiteY201" fmla="*/ 255051 h 375541"/>
              <a:gd name="connsiteX202" fmla="*/ 313430 w 382800"/>
              <a:gd name="connsiteY202" fmla="*/ 255489 h 375541"/>
              <a:gd name="connsiteX203" fmla="*/ 312668 w 382800"/>
              <a:gd name="connsiteY203" fmla="*/ 257194 h 375541"/>
              <a:gd name="connsiteX204" fmla="*/ 311153 w 382800"/>
              <a:gd name="connsiteY204" fmla="*/ 259699 h 375541"/>
              <a:gd name="connsiteX205" fmla="*/ 310296 w 382800"/>
              <a:gd name="connsiteY205" fmla="*/ 261709 h 375541"/>
              <a:gd name="connsiteX206" fmla="*/ 311248 w 382800"/>
              <a:gd name="connsiteY206" fmla="*/ 263480 h 375541"/>
              <a:gd name="connsiteX207" fmla="*/ 311648 w 382800"/>
              <a:gd name="connsiteY207" fmla="*/ 264795 h 375541"/>
              <a:gd name="connsiteX208" fmla="*/ 311144 w 382800"/>
              <a:gd name="connsiteY208" fmla="*/ 266147 h 375541"/>
              <a:gd name="connsiteX209" fmla="*/ 311820 w 382800"/>
              <a:gd name="connsiteY209" fmla="*/ 268243 h 375541"/>
              <a:gd name="connsiteX210" fmla="*/ 313611 w 382800"/>
              <a:gd name="connsiteY210" fmla="*/ 270319 h 375541"/>
              <a:gd name="connsiteX211" fmla="*/ 318478 w 382800"/>
              <a:gd name="connsiteY211" fmla="*/ 273234 h 375541"/>
              <a:gd name="connsiteX212" fmla="*/ 323002 w 382800"/>
              <a:gd name="connsiteY212" fmla="*/ 275606 h 375541"/>
              <a:gd name="connsiteX213" fmla="*/ 324403 w 382800"/>
              <a:gd name="connsiteY213" fmla="*/ 275996 h 375541"/>
              <a:gd name="connsiteX214" fmla="*/ 330518 w 382800"/>
              <a:gd name="connsiteY214" fmla="*/ 274472 h 375541"/>
              <a:gd name="connsiteX215" fmla="*/ 331527 w 382800"/>
              <a:gd name="connsiteY215" fmla="*/ 274606 h 375541"/>
              <a:gd name="connsiteX216" fmla="*/ 332270 w 382800"/>
              <a:gd name="connsiteY216" fmla="*/ 276415 h 375541"/>
              <a:gd name="connsiteX217" fmla="*/ 332594 w 382800"/>
              <a:gd name="connsiteY217" fmla="*/ 277635 h 375541"/>
              <a:gd name="connsiteX218" fmla="*/ 331908 w 382800"/>
              <a:gd name="connsiteY218" fmla="*/ 279463 h 375541"/>
              <a:gd name="connsiteX219" fmla="*/ 330222 w 382800"/>
              <a:gd name="connsiteY219" fmla="*/ 282045 h 375541"/>
              <a:gd name="connsiteX220" fmla="*/ 328432 w 382800"/>
              <a:gd name="connsiteY220" fmla="*/ 284054 h 375541"/>
              <a:gd name="connsiteX221" fmla="*/ 327346 w 382800"/>
              <a:gd name="connsiteY221" fmla="*/ 285759 h 375541"/>
              <a:gd name="connsiteX222" fmla="*/ 327574 w 382800"/>
              <a:gd name="connsiteY222" fmla="*/ 287312 h 375541"/>
              <a:gd name="connsiteX223" fmla="*/ 327641 w 382800"/>
              <a:gd name="connsiteY223" fmla="*/ 289369 h 375541"/>
              <a:gd name="connsiteX224" fmla="*/ 326184 w 382800"/>
              <a:gd name="connsiteY224" fmla="*/ 289979 h 375541"/>
              <a:gd name="connsiteX225" fmla="*/ 326136 w 382800"/>
              <a:gd name="connsiteY225" fmla="*/ 289579 h 375541"/>
              <a:gd name="connsiteX226" fmla="*/ 325536 w 382800"/>
              <a:gd name="connsiteY226" fmla="*/ 289227 h 375541"/>
              <a:gd name="connsiteX227" fmla="*/ 325022 w 382800"/>
              <a:gd name="connsiteY227" fmla="*/ 289427 h 375541"/>
              <a:gd name="connsiteX228" fmla="*/ 324621 w 382800"/>
              <a:gd name="connsiteY228" fmla="*/ 289874 h 375541"/>
              <a:gd name="connsiteX229" fmla="*/ 324565 w 382800"/>
              <a:gd name="connsiteY229" fmla="*/ 290665 h 375541"/>
              <a:gd name="connsiteX230" fmla="*/ 321459 w 382800"/>
              <a:gd name="connsiteY230" fmla="*/ 291979 h 375541"/>
              <a:gd name="connsiteX231" fmla="*/ 319316 w 382800"/>
              <a:gd name="connsiteY231" fmla="*/ 293341 h 375541"/>
              <a:gd name="connsiteX232" fmla="*/ 310848 w 382800"/>
              <a:gd name="connsiteY232" fmla="*/ 301457 h 375541"/>
              <a:gd name="connsiteX233" fmla="*/ 306886 w 382800"/>
              <a:gd name="connsiteY233" fmla="*/ 303828 h 375541"/>
              <a:gd name="connsiteX234" fmla="*/ 306105 w 382800"/>
              <a:gd name="connsiteY234" fmla="*/ 305257 h 375541"/>
              <a:gd name="connsiteX235" fmla="*/ 305295 w 382800"/>
              <a:gd name="connsiteY235" fmla="*/ 307924 h 375541"/>
              <a:gd name="connsiteX236" fmla="*/ 302971 w 382800"/>
              <a:gd name="connsiteY236" fmla="*/ 310210 h 375541"/>
              <a:gd name="connsiteX237" fmla="*/ 300933 w 382800"/>
              <a:gd name="connsiteY237" fmla="*/ 311296 h 375541"/>
              <a:gd name="connsiteX238" fmla="*/ 295894 w 382800"/>
              <a:gd name="connsiteY238" fmla="*/ 312410 h 375541"/>
              <a:gd name="connsiteX239" fmla="*/ 290827 w 382800"/>
              <a:gd name="connsiteY239" fmla="*/ 314830 h 375541"/>
              <a:gd name="connsiteX240" fmla="*/ 288541 w 382800"/>
              <a:gd name="connsiteY240" fmla="*/ 313782 h 375541"/>
              <a:gd name="connsiteX241" fmla="*/ 282635 w 382800"/>
              <a:gd name="connsiteY241" fmla="*/ 313896 h 375541"/>
              <a:gd name="connsiteX242" fmla="*/ 278949 w 382800"/>
              <a:gd name="connsiteY242" fmla="*/ 310982 h 375541"/>
              <a:gd name="connsiteX243" fmla="*/ 271862 w 382800"/>
              <a:gd name="connsiteY243" fmla="*/ 309134 h 375541"/>
              <a:gd name="connsiteX244" fmla="*/ 269558 w 382800"/>
              <a:gd name="connsiteY244" fmla="*/ 304876 h 375541"/>
              <a:gd name="connsiteX245" fmla="*/ 266329 w 382800"/>
              <a:gd name="connsiteY245" fmla="*/ 304600 h 375541"/>
              <a:gd name="connsiteX246" fmla="*/ 264214 w 382800"/>
              <a:gd name="connsiteY246" fmla="*/ 304733 h 375541"/>
              <a:gd name="connsiteX247" fmla="*/ 262947 w 382800"/>
              <a:gd name="connsiteY247" fmla="*/ 304086 h 375541"/>
              <a:gd name="connsiteX248" fmla="*/ 262624 w 382800"/>
              <a:gd name="connsiteY248" fmla="*/ 302628 h 375541"/>
              <a:gd name="connsiteX249" fmla="*/ 262595 w 382800"/>
              <a:gd name="connsiteY249" fmla="*/ 301228 h 375541"/>
              <a:gd name="connsiteX250" fmla="*/ 260356 w 382800"/>
              <a:gd name="connsiteY250" fmla="*/ 301876 h 375541"/>
              <a:gd name="connsiteX251" fmla="*/ 258642 w 382800"/>
              <a:gd name="connsiteY251" fmla="*/ 301876 h 375541"/>
              <a:gd name="connsiteX252" fmla="*/ 257623 w 382800"/>
              <a:gd name="connsiteY252" fmla="*/ 302438 h 375541"/>
              <a:gd name="connsiteX253" fmla="*/ 256823 w 382800"/>
              <a:gd name="connsiteY253" fmla="*/ 303085 h 375541"/>
              <a:gd name="connsiteX254" fmla="*/ 255870 w 382800"/>
              <a:gd name="connsiteY254" fmla="*/ 302676 h 375541"/>
              <a:gd name="connsiteX255" fmla="*/ 255318 w 382800"/>
              <a:gd name="connsiteY255" fmla="*/ 302819 h 375541"/>
              <a:gd name="connsiteX256" fmla="*/ 255365 w 382800"/>
              <a:gd name="connsiteY256" fmla="*/ 303638 h 375541"/>
              <a:gd name="connsiteX257" fmla="*/ 253308 w 382800"/>
              <a:gd name="connsiteY257" fmla="*/ 303847 h 375541"/>
              <a:gd name="connsiteX258" fmla="*/ 251070 w 382800"/>
              <a:gd name="connsiteY258" fmla="*/ 303343 h 375541"/>
              <a:gd name="connsiteX259" fmla="*/ 245212 w 382800"/>
              <a:gd name="connsiteY259" fmla="*/ 301142 h 375541"/>
              <a:gd name="connsiteX260" fmla="*/ 244316 w 382800"/>
              <a:gd name="connsiteY260" fmla="*/ 300799 h 375541"/>
              <a:gd name="connsiteX261" fmla="*/ 240249 w 382800"/>
              <a:gd name="connsiteY261" fmla="*/ 299952 h 375541"/>
              <a:gd name="connsiteX262" fmla="*/ 238611 w 382800"/>
              <a:gd name="connsiteY262" fmla="*/ 299066 h 375541"/>
              <a:gd name="connsiteX263" fmla="*/ 237277 w 382800"/>
              <a:gd name="connsiteY263" fmla="*/ 296885 h 375541"/>
              <a:gd name="connsiteX264" fmla="*/ 236268 w 382800"/>
              <a:gd name="connsiteY264" fmla="*/ 296199 h 375541"/>
              <a:gd name="connsiteX265" fmla="*/ 235668 w 382800"/>
              <a:gd name="connsiteY265" fmla="*/ 295789 h 375541"/>
              <a:gd name="connsiteX266" fmla="*/ 231877 w 382800"/>
              <a:gd name="connsiteY266" fmla="*/ 296894 h 375541"/>
              <a:gd name="connsiteX267" fmla="*/ 230562 w 382800"/>
              <a:gd name="connsiteY267" fmla="*/ 298609 h 375541"/>
              <a:gd name="connsiteX268" fmla="*/ 228514 w 382800"/>
              <a:gd name="connsiteY268" fmla="*/ 300618 h 375541"/>
              <a:gd name="connsiteX269" fmla="*/ 214456 w 382800"/>
              <a:gd name="connsiteY269" fmla="*/ 310448 h 375541"/>
              <a:gd name="connsiteX270" fmla="*/ 211884 w 382800"/>
              <a:gd name="connsiteY270" fmla="*/ 314553 h 375541"/>
              <a:gd name="connsiteX271" fmla="*/ 208912 w 382800"/>
              <a:gd name="connsiteY271" fmla="*/ 320583 h 375541"/>
              <a:gd name="connsiteX272" fmla="*/ 208683 w 382800"/>
              <a:gd name="connsiteY272" fmla="*/ 323393 h 375541"/>
              <a:gd name="connsiteX273" fmla="*/ 209960 w 382800"/>
              <a:gd name="connsiteY273" fmla="*/ 332346 h 375541"/>
              <a:gd name="connsiteX274" fmla="*/ 212817 w 382800"/>
              <a:gd name="connsiteY274" fmla="*/ 337032 h 375541"/>
              <a:gd name="connsiteX275" fmla="*/ 213179 w 382800"/>
              <a:gd name="connsiteY275" fmla="*/ 338118 h 375541"/>
              <a:gd name="connsiteX276" fmla="*/ 211589 w 382800"/>
              <a:gd name="connsiteY276" fmla="*/ 338128 h 375541"/>
              <a:gd name="connsiteX277" fmla="*/ 208931 w 382800"/>
              <a:gd name="connsiteY277" fmla="*/ 337537 h 375541"/>
              <a:gd name="connsiteX278" fmla="*/ 206731 w 382800"/>
              <a:gd name="connsiteY278" fmla="*/ 336813 h 375541"/>
              <a:gd name="connsiteX279" fmla="*/ 204626 w 382800"/>
              <a:gd name="connsiteY279" fmla="*/ 337213 h 375541"/>
              <a:gd name="connsiteX280" fmla="*/ 202606 w 382800"/>
              <a:gd name="connsiteY280" fmla="*/ 338185 h 375541"/>
              <a:gd name="connsiteX281" fmla="*/ 200835 w 382800"/>
              <a:gd name="connsiteY281" fmla="*/ 338776 h 375541"/>
              <a:gd name="connsiteX282" fmla="*/ 199558 w 382800"/>
              <a:gd name="connsiteY282" fmla="*/ 338937 h 375541"/>
              <a:gd name="connsiteX283" fmla="*/ 198711 w 382800"/>
              <a:gd name="connsiteY283" fmla="*/ 339499 h 375541"/>
              <a:gd name="connsiteX284" fmla="*/ 198301 w 382800"/>
              <a:gd name="connsiteY284" fmla="*/ 340614 h 375541"/>
              <a:gd name="connsiteX285" fmla="*/ 198225 w 382800"/>
              <a:gd name="connsiteY285" fmla="*/ 341395 h 375541"/>
              <a:gd name="connsiteX286" fmla="*/ 195987 w 382800"/>
              <a:gd name="connsiteY286" fmla="*/ 341204 h 375541"/>
              <a:gd name="connsiteX287" fmla="*/ 190815 w 382800"/>
              <a:gd name="connsiteY287" fmla="*/ 339604 h 375541"/>
              <a:gd name="connsiteX288" fmla="*/ 186166 w 382800"/>
              <a:gd name="connsiteY288" fmla="*/ 338499 h 375541"/>
              <a:gd name="connsiteX289" fmla="*/ 183432 w 382800"/>
              <a:gd name="connsiteY289" fmla="*/ 339757 h 375541"/>
              <a:gd name="connsiteX290" fmla="*/ 181680 w 382800"/>
              <a:gd name="connsiteY290" fmla="*/ 340928 h 375541"/>
              <a:gd name="connsiteX291" fmla="*/ 180451 w 382800"/>
              <a:gd name="connsiteY291" fmla="*/ 340747 h 375541"/>
              <a:gd name="connsiteX292" fmla="*/ 179508 w 382800"/>
              <a:gd name="connsiteY292" fmla="*/ 339509 h 375541"/>
              <a:gd name="connsiteX293" fmla="*/ 178879 w 382800"/>
              <a:gd name="connsiteY293" fmla="*/ 338299 h 375541"/>
              <a:gd name="connsiteX294" fmla="*/ 177060 w 382800"/>
              <a:gd name="connsiteY294" fmla="*/ 337185 h 375541"/>
              <a:gd name="connsiteX295" fmla="*/ 172946 w 382800"/>
              <a:gd name="connsiteY295" fmla="*/ 335518 h 375541"/>
              <a:gd name="connsiteX296" fmla="*/ 173155 w 382800"/>
              <a:gd name="connsiteY296" fmla="*/ 334718 h 375541"/>
              <a:gd name="connsiteX297" fmla="*/ 173860 w 382800"/>
              <a:gd name="connsiteY297" fmla="*/ 333594 h 375541"/>
              <a:gd name="connsiteX298" fmla="*/ 173841 w 382800"/>
              <a:gd name="connsiteY298" fmla="*/ 332899 h 375541"/>
              <a:gd name="connsiteX299" fmla="*/ 173050 w 382800"/>
              <a:gd name="connsiteY299" fmla="*/ 331870 h 375541"/>
              <a:gd name="connsiteX300" fmla="*/ 169259 w 382800"/>
              <a:gd name="connsiteY300" fmla="*/ 330765 h 375541"/>
              <a:gd name="connsiteX301" fmla="*/ 167469 w 382800"/>
              <a:gd name="connsiteY301" fmla="*/ 330489 h 375541"/>
              <a:gd name="connsiteX302" fmla="*/ 166335 w 382800"/>
              <a:gd name="connsiteY302" fmla="*/ 331251 h 375541"/>
              <a:gd name="connsiteX303" fmla="*/ 165516 w 382800"/>
              <a:gd name="connsiteY303" fmla="*/ 332184 h 375541"/>
              <a:gd name="connsiteX304" fmla="*/ 163411 w 382800"/>
              <a:gd name="connsiteY304" fmla="*/ 328755 h 375541"/>
              <a:gd name="connsiteX305" fmla="*/ 161906 w 382800"/>
              <a:gd name="connsiteY305" fmla="*/ 328050 h 375541"/>
              <a:gd name="connsiteX306" fmla="*/ 159639 w 382800"/>
              <a:gd name="connsiteY306" fmla="*/ 327936 h 375541"/>
              <a:gd name="connsiteX307" fmla="*/ 157039 w 382800"/>
              <a:gd name="connsiteY307" fmla="*/ 326888 h 375541"/>
              <a:gd name="connsiteX308" fmla="*/ 154334 w 382800"/>
              <a:gd name="connsiteY308" fmla="*/ 325545 h 375541"/>
              <a:gd name="connsiteX309" fmla="*/ 147771 w 382800"/>
              <a:gd name="connsiteY309" fmla="*/ 323402 h 375541"/>
              <a:gd name="connsiteX310" fmla="*/ 145971 w 382800"/>
              <a:gd name="connsiteY310" fmla="*/ 323145 h 375541"/>
              <a:gd name="connsiteX311" fmla="*/ 145247 w 382800"/>
              <a:gd name="connsiteY311" fmla="*/ 323488 h 375541"/>
              <a:gd name="connsiteX312" fmla="*/ 144761 w 382800"/>
              <a:gd name="connsiteY312" fmla="*/ 324774 h 375541"/>
              <a:gd name="connsiteX313" fmla="*/ 144504 w 382800"/>
              <a:gd name="connsiteY313" fmla="*/ 328393 h 375541"/>
              <a:gd name="connsiteX314" fmla="*/ 144228 w 382800"/>
              <a:gd name="connsiteY314" fmla="*/ 328793 h 375541"/>
              <a:gd name="connsiteX315" fmla="*/ 141180 w 382800"/>
              <a:gd name="connsiteY315" fmla="*/ 328917 h 375541"/>
              <a:gd name="connsiteX316" fmla="*/ 137427 w 382800"/>
              <a:gd name="connsiteY316" fmla="*/ 328412 h 375541"/>
              <a:gd name="connsiteX317" fmla="*/ 135703 w 382800"/>
              <a:gd name="connsiteY317" fmla="*/ 328660 h 375541"/>
              <a:gd name="connsiteX318" fmla="*/ 134169 w 382800"/>
              <a:gd name="connsiteY318" fmla="*/ 328669 h 375541"/>
              <a:gd name="connsiteX319" fmla="*/ 132722 w 382800"/>
              <a:gd name="connsiteY319" fmla="*/ 327708 h 375541"/>
              <a:gd name="connsiteX320" fmla="*/ 126235 w 382800"/>
              <a:gd name="connsiteY320" fmla="*/ 328803 h 375541"/>
              <a:gd name="connsiteX321" fmla="*/ 125159 w 382800"/>
              <a:gd name="connsiteY321" fmla="*/ 328270 h 375541"/>
              <a:gd name="connsiteX322" fmla="*/ 123597 w 382800"/>
              <a:gd name="connsiteY322" fmla="*/ 326641 h 375541"/>
              <a:gd name="connsiteX323" fmla="*/ 121844 w 382800"/>
              <a:gd name="connsiteY323" fmla="*/ 325317 h 375541"/>
              <a:gd name="connsiteX324" fmla="*/ 120491 w 382800"/>
              <a:gd name="connsiteY324" fmla="*/ 324640 h 375541"/>
              <a:gd name="connsiteX325" fmla="*/ 119329 w 382800"/>
              <a:gd name="connsiteY325" fmla="*/ 323859 h 375541"/>
              <a:gd name="connsiteX326" fmla="*/ 118281 w 382800"/>
              <a:gd name="connsiteY326" fmla="*/ 323735 h 375541"/>
              <a:gd name="connsiteX327" fmla="*/ 116681 w 382800"/>
              <a:gd name="connsiteY327" fmla="*/ 324488 h 375541"/>
              <a:gd name="connsiteX328" fmla="*/ 114472 w 382800"/>
              <a:gd name="connsiteY328" fmla="*/ 324812 h 375541"/>
              <a:gd name="connsiteX329" fmla="*/ 112643 w 382800"/>
              <a:gd name="connsiteY329" fmla="*/ 324717 h 375541"/>
              <a:gd name="connsiteX330" fmla="*/ 111662 w 382800"/>
              <a:gd name="connsiteY330" fmla="*/ 324821 h 375541"/>
              <a:gd name="connsiteX331" fmla="*/ 107547 w 382800"/>
              <a:gd name="connsiteY331" fmla="*/ 320802 h 375541"/>
              <a:gd name="connsiteX332" fmla="*/ 106947 w 382800"/>
              <a:gd name="connsiteY332" fmla="*/ 319706 h 375541"/>
              <a:gd name="connsiteX333" fmla="*/ 104899 w 382800"/>
              <a:gd name="connsiteY333" fmla="*/ 319402 h 375541"/>
              <a:gd name="connsiteX334" fmla="*/ 102365 w 382800"/>
              <a:gd name="connsiteY334" fmla="*/ 319354 h 375541"/>
              <a:gd name="connsiteX335" fmla="*/ 95907 w 382800"/>
              <a:gd name="connsiteY335" fmla="*/ 316744 h 375541"/>
              <a:gd name="connsiteX336" fmla="*/ 92964 w 382800"/>
              <a:gd name="connsiteY336" fmla="*/ 315344 h 375541"/>
              <a:gd name="connsiteX337" fmla="*/ 92535 w 382800"/>
              <a:gd name="connsiteY337" fmla="*/ 314506 h 375541"/>
              <a:gd name="connsiteX338" fmla="*/ 92573 w 382800"/>
              <a:gd name="connsiteY338" fmla="*/ 313830 h 375541"/>
              <a:gd name="connsiteX339" fmla="*/ 92069 w 382800"/>
              <a:gd name="connsiteY339" fmla="*/ 313982 h 375541"/>
              <a:gd name="connsiteX340" fmla="*/ 91164 w 382800"/>
              <a:gd name="connsiteY340" fmla="*/ 315173 h 375541"/>
              <a:gd name="connsiteX341" fmla="*/ 90687 w 382800"/>
              <a:gd name="connsiteY341" fmla="*/ 316144 h 375541"/>
              <a:gd name="connsiteX342" fmla="*/ 90059 w 382800"/>
              <a:gd name="connsiteY342" fmla="*/ 316325 h 375541"/>
              <a:gd name="connsiteX343" fmla="*/ 89135 w 382800"/>
              <a:gd name="connsiteY343" fmla="*/ 316173 h 375541"/>
              <a:gd name="connsiteX344" fmla="*/ 88278 w 382800"/>
              <a:gd name="connsiteY344" fmla="*/ 315620 h 375541"/>
              <a:gd name="connsiteX345" fmla="*/ 87754 w 382800"/>
              <a:gd name="connsiteY345" fmla="*/ 314915 h 375541"/>
              <a:gd name="connsiteX346" fmla="*/ 88316 w 382800"/>
              <a:gd name="connsiteY346" fmla="*/ 313687 h 375541"/>
              <a:gd name="connsiteX347" fmla="*/ 89306 w 382800"/>
              <a:gd name="connsiteY347" fmla="*/ 312077 h 375541"/>
              <a:gd name="connsiteX348" fmla="*/ 89716 w 382800"/>
              <a:gd name="connsiteY348" fmla="*/ 310324 h 375541"/>
              <a:gd name="connsiteX349" fmla="*/ 89621 w 382800"/>
              <a:gd name="connsiteY349" fmla="*/ 308753 h 375541"/>
              <a:gd name="connsiteX350" fmla="*/ 87992 w 382800"/>
              <a:gd name="connsiteY350" fmla="*/ 307743 h 375541"/>
              <a:gd name="connsiteX351" fmla="*/ 85592 w 382800"/>
              <a:gd name="connsiteY351" fmla="*/ 307324 h 375541"/>
              <a:gd name="connsiteX352" fmla="*/ 83829 w 382800"/>
              <a:gd name="connsiteY352" fmla="*/ 307200 h 375541"/>
              <a:gd name="connsiteX353" fmla="*/ 81544 w 382800"/>
              <a:gd name="connsiteY353" fmla="*/ 306305 h 375541"/>
              <a:gd name="connsiteX354" fmla="*/ 80458 w 382800"/>
              <a:gd name="connsiteY354" fmla="*/ 305657 h 375541"/>
              <a:gd name="connsiteX355" fmla="*/ 79410 w 382800"/>
              <a:gd name="connsiteY355" fmla="*/ 303904 h 375541"/>
              <a:gd name="connsiteX356" fmla="*/ 79372 w 382800"/>
              <a:gd name="connsiteY356" fmla="*/ 302628 h 375541"/>
              <a:gd name="connsiteX357" fmla="*/ 83725 w 382800"/>
              <a:gd name="connsiteY357" fmla="*/ 301504 h 375541"/>
              <a:gd name="connsiteX358" fmla="*/ 87640 w 382800"/>
              <a:gd name="connsiteY358" fmla="*/ 296885 h 375541"/>
              <a:gd name="connsiteX359" fmla="*/ 91354 w 382800"/>
              <a:gd name="connsiteY359" fmla="*/ 280044 h 375541"/>
              <a:gd name="connsiteX360" fmla="*/ 94040 w 382800"/>
              <a:gd name="connsiteY360" fmla="*/ 259956 h 375541"/>
              <a:gd name="connsiteX361" fmla="*/ 96031 w 382800"/>
              <a:gd name="connsiteY361" fmla="*/ 256146 h 375541"/>
              <a:gd name="connsiteX362" fmla="*/ 98546 w 382800"/>
              <a:gd name="connsiteY362" fmla="*/ 255098 h 375541"/>
              <a:gd name="connsiteX363" fmla="*/ 96517 w 382800"/>
              <a:gd name="connsiteY363" fmla="*/ 252317 h 375541"/>
              <a:gd name="connsiteX364" fmla="*/ 95250 w 382800"/>
              <a:gd name="connsiteY364" fmla="*/ 253727 h 375541"/>
              <a:gd name="connsiteX365" fmla="*/ 94717 w 382800"/>
              <a:gd name="connsiteY365" fmla="*/ 255222 h 375541"/>
              <a:gd name="connsiteX366" fmla="*/ 94050 w 382800"/>
              <a:gd name="connsiteY366" fmla="*/ 255975 h 375541"/>
              <a:gd name="connsiteX367" fmla="*/ 95545 w 382800"/>
              <a:gd name="connsiteY367" fmla="*/ 237353 h 375541"/>
              <a:gd name="connsiteX368" fmla="*/ 96612 w 382800"/>
              <a:gd name="connsiteY368" fmla="*/ 230495 h 375541"/>
              <a:gd name="connsiteX369" fmla="*/ 98431 w 382800"/>
              <a:gd name="connsiteY369" fmla="*/ 223295 h 375541"/>
              <a:gd name="connsiteX370" fmla="*/ 102156 w 382800"/>
              <a:gd name="connsiteY370" fmla="*/ 226152 h 375541"/>
              <a:gd name="connsiteX371" fmla="*/ 105242 w 382800"/>
              <a:gd name="connsiteY371" fmla="*/ 229057 h 375541"/>
              <a:gd name="connsiteX372" fmla="*/ 106832 w 382800"/>
              <a:gd name="connsiteY372" fmla="*/ 231572 h 375541"/>
              <a:gd name="connsiteX373" fmla="*/ 108852 w 382800"/>
              <a:gd name="connsiteY373" fmla="*/ 239916 h 375541"/>
              <a:gd name="connsiteX374" fmla="*/ 110385 w 382800"/>
              <a:gd name="connsiteY374" fmla="*/ 241668 h 375541"/>
              <a:gd name="connsiteX375" fmla="*/ 112671 w 382800"/>
              <a:gd name="connsiteY375" fmla="*/ 243421 h 375541"/>
              <a:gd name="connsiteX376" fmla="*/ 111766 w 382800"/>
              <a:gd name="connsiteY376" fmla="*/ 241506 h 375541"/>
              <a:gd name="connsiteX377" fmla="*/ 110195 w 382800"/>
              <a:gd name="connsiteY377" fmla="*/ 240039 h 375541"/>
              <a:gd name="connsiteX378" fmla="*/ 107737 w 382800"/>
              <a:gd name="connsiteY378" fmla="*/ 228905 h 375541"/>
              <a:gd name="connsiteX379" fmla="*/ 106194 w 382800"/>
              <a:gd name="connsiteY379" fmla="*/ 225733 h 375541"/>
              <a:gd name="connsiteX380" fmla="*/ 103794 w 382800"/>
              <a:gd name="connsiteY380" fmla="*/ 223066 h 375541"/>
              <a:gd name="connsiteX381" fmla="*/ 96060 w 382800"/>
              <a:gd name="connsiteY381" fmla="*/ 217436 h 375541"/>
              <a:gd name="connsiteX382" fmla="*/ 95364 w 382800"/>
              <a:gd name="connsiteY382" fmla="*/ 216341 h 375541"/>
              <a:gd name="connsiteX383" fmla="*/ 94983 w 382800"/>
              <a:gd name="connsiteY383" fmla="*/ 214189 h 375541"/>
              <a:gd name="connsiteX384" fmla="*/ 97546 w 382800"/>
              <a:gd name="connsiteY384" fmla="*/ 214284 h 375541"/>
              <a:gd name="connsiteX385" fmla="*/ 99755 w 382800"/>
              <a:gd name="connsiteY385" fmla="*/ 215332 h 375541"/>
              <a:gd name="connsiteX386" fmla="*/ 99498 w 382800"/>
              <a:gd name="connsiteY386" fmla="*/ 214131 h 375541"/>
              <a:gd name="connsiteX387" fmla="*/ 98841 w 382800"/>
              <a:gd name="connsiteY387" fmla="*/ 212874 h 375541"/>
              <a:gd name="connsiteX388" fmla="*/ 97812 w 382800"/>
              <a:gd name="connsiteY388" fmla="*/ 208293 h 375541"/>
              <a:gd name="connsiteX389" fmla="*/ 96955 w 382800"/>
              <a:gd name="connsiteY389" fmla="*/ 197558 h 375541"/>
              <a:gd name="connsiteX390" fmla="*/ 97069 w 382800"/>
              <a:gd name="connsiteY390" fmla="*/ 195719 h 375541"/>
              <a:gd name="connsiteX391" fmla="*/ 96688 w 382800"/>
              <a:gd name="connsiteY391" fmla="*/ 193453 h 375541"/>
              <a:gd name="connsiteX392" fmla="*/ 94212 w 382800"/>
              <a:gd name="connsiteY392" fmla="*/ 192948 h 375541"/>
              <a:gd name="connsiteX393" fmla="*/ 92231 w 382800"/>
              <a:gd name="connsiteY393" fmla="*/ 192862 h 375541"/>
              <a:gd name="connsiteX394" fmla="*/ 90097 w 382800"/>
              <a:gd name="connsiteY394" fmla="*/ 191967 h 375541"/>
              <a:gd name="connsiteX395" fmla="*/ 79562 w 382800"/>
              <a:gd name="connsiteY395" fmla="*/ 185604 h 375541"/>
              <a:gd name="connsiteX396" fmla="*/ 75962 w 382800"/>
              <a:gd name="connsiteY396" fmla="*/ 179013 h 375541"/>
              <a:gd name="connsiteX397" fmla="*/ 72276 w 382800"/>
              <a:gd name="connsiteY397" fmla="*/ 174136 h 375541"/>
              <a:gd name="connsiteX398" fmla="*/ 71390 w 382800"/>
              <a:gd name="connsiteY398" fmla="*/ 172002 h 375541"/>
              <a:gd name="connsiteX399" fmla="*/ 71447 w 382800"/>
              <a:gd name="connsiteY399" fmla="*/ 169840 h 375541"/>
              <a:gd name="connsiteX400" fmla="*/ 73362 w 382800"/>
              <a:gd name="connsiteY400" fmla="*/ 165268 h 375541"/>
              <a:gd name="connsiteX401" fmla="*/ 71676 w 382800"/>
              <a:gd name="connsiteY401" fmla="*/ 162373 h 375541"/>
              <a:gd name="connsiteX402" fmla="*/ 70028 w 382800"/>
              <a:gd name="connsiteY402" fmla="*/ 161801 h 375541"/>
              <a:gd name="connsiteX403" fmla="*/ 68599 w 382800"/>
              <a:gd name="connsiteY403" fmla="*/ 160363 h 375541"/>
              <a:gd name="connsiteX404" fmla="*/ 69895 w 382800"/>
              <a:gd name="connsiteY404" fmla="*/ 157972 h 375541"/>
              <a:gd name="connsiteX405" fmla="*/ 70971 w 382800"/>
              <a:gd name="connsiteY405" fmla="*/ 156438 h 375541"/>
              <a:gd name="connsiteX406" fmla="*/ 73133 w 382800"/>
              <a:gd name="connsiteY406" fmla="*/ 156029 h 375541"/>
              <a:gd name="connsiteX407" fmla="*/ 75962 w 382800"/>
              <a:gd name="connsiteY407" fmla="*/ 156534 h 375541"/>
              <a:gd name="connsiteX408" fmla="*/ 78648 w 382800"/>
              <a:gd name="connsiteY408" fmla="*/ 157924 h 375541"/>
              <a:gd name="connsiteX409" fmla="*/ 80753 w 382800"/>
              <a:gd name="connsiteY409" fmla="*/ 158296 h 375541"/>
              <a:gd name="connsiteX410" fmla="*/ 74533 w 382800"/>
              <a:gd name="connsiteY410" fmla="*/ 154572 h 375541"/>
              <a:gd name="connsiteX411" fmla="*/ 64437 w 382800"/>
              <a:gd name="connsiteY411" fmla="*/ 155829 h 375541"/>
              <a:gd name="connsiteX412" fmla="*/ 62256 w 382800"/>
              <a:gd name="connsiteY412" fmla="*/ 155353 h 375541"/>
              <a:gd name="connsiteX413" fmla="*/ 60427 w 382800"/>
              <a:gd name="connsiteY413" fmla="*/ 154524 h 375541"/>
              <a:gd name="connsiteX414" fmla="*/ 59703 w 382800"/>
              <a:gd name="connsiteY414" fmla="*/ 151781 h 375541"/>
              <a:gd name="connsiteX415" fmla="*/ 61141 w 382800"/>
              <a:gd name="connsiteY415" fmla="*/ 150552 h 375541"/>
              <a:gd name="connsiteX416" fmla="*/ 62436 w 382800"/>
              <a:gd name="connsiteY416" fmla="*/ 148266 h 375541"/>
              <a:gd name="connsiteX417" fmla="*/ 60970 w 382800"/>
              <a:gd name="connsiteY417" fmla="*/ 146666 h 375541"/>
              <a:gd name="connsiteX418" fmla="*/ 59065 w 382800"/>
              <a:gd name="connsiteY418" fmla="*/ 146056 h 375541"/>
              <a:gd name="connsiteX419" fmla="*/ 56074 w 382800"/>
              <a:gd name="connsiteY419" fmla="*/ 146085 h 375541"/>
              <a:gd name="connsiteX420" fmla="*/ 53283 w 382800"/>
              <a:gd name="connsiteY420" fmla="*/ 146570 h 375541"/>
              <a:gd name="connsiteX421" fmla="*/ 52578 w 382800"/>
              <a:gd name="connsiteY421" fmla="*/ 145647 h 375541"/>
              <a:gd name="connsiteX422" fmla="*/ 54283 w 382800"/>
              <a:gd name="connsiteY422" fmla="*/ 143094 h 375541"/>
              <a:gd name="connsiteX423" fmla="*/ 52835 w 382800"/>
              <a:gd name="connsiteY423" fmla="*/ 142161 h 375541"/>
              <a:gd name="connsiteX424" fmla="*/ 50902 w 382800"/>
              <a:gd name="connsiteY424" fmla="*/ 142599 h 375541"/>
              <a:gd name="connsiteX425" fmla="*/ 48101 w 382800"/>
              <a:gd name="connsiteY425" fmla="*/ 143122 h 375541"/>
              <a:gd name="connsiteX426" fmla="*/ 45425 w 382800"/>
              <a:gd name="connsiteY426" fmla="*/ 142322 h 375541"/>
              <a:gd name="connsiteX427" fmla="*/ 42891 w 382800"/>
              <a:gd name="connsiteY427" fmla="*/ 139417 h 375541"/>
              <a:gd name="connsiteX428" fmla="*/ 41215 w 382800"/>
              <a:gd name="connsiteY428" fmla="*/ 139436 h 375541"/>
              <a:gd name="connsiteX429" fmla="*/ 40062 w 382800"/>
              <a:gd name="connsiteY429" fmla="*/ 139798 h 375541"/>
              <a:gd name="connsiteX430" fmla="*/ 38357 w 382800"/>
              <a:gd name="connsiteY430" fmla="*/ 138674 h 375541"/>
              <a:gd name="connsiteX431" fmla="*/ 36557 w 382800"/>
              <a:gd name="connsiteY431" fmla="*/ 138398 h 375541"/>
              <a:gd name="connsiteX432" fmla="*/ 35271 w 382800"/>
              <a:gd name="connsiteY432" fmla="*/ 138769 h 375541"/>
              <a:gd name="connsiteX433" fmla="*/ 33566 w 382800"/>
              <a:gd name="connsiteY433" fmla="*/ 137103 h 375541"/>
              <a:gd name="connsiteX434" fmla="*/ 23051 w 382800"/>
              <a:gd name="connsiteY434" fmla="*/ 133750 h 375541"/>
              <a:gd name="connsiteX435" fmla="*/ 18517 w 382800"/>
              <a:gd name="connsiteY435" fmla="*/ 133340 h 375541"/>
              <a:gd name="connsiteX436" fmla="*/ 14354 w 382800"/>
              <a:gd name="connsiteY436" fmla="*/ 134855 h 375541"/>
              <a:gd name="connsiteX437" fmla="*/ 12059 w 382800"/>
              <a:gd name="connsiteY437" fmla="*/ 134331 h 375541"/>
              <a:gd name="connsiteX438" fmla="*/ 10373 w 382800"/>
              <a:gd name="connsiteY438" fmla="*/ 132159 h 375541"/>
              <a:gd name="connsiteX439" fmla="*/ 8963 w 382800"/>
              <a:gd name="connsiteY439" fmla="*/ 128521 h 375541"/>
              <a:gd name="connsiteX440" fmla="*/ 2257 w 382800"/>
              <a:gd name="connsiteY440" fmla="*/ 125711 h 375541"/>
              <a:gd name="connsiteX441" fmla="*/ 3581 w 382800"/>
              <a:gd name="connsiteY441" fmla="*/ 123863 h 375541"/>
              <a:gd name="connsiteX442" fmla="*/ 6706 w 382800"/>
              <a:gd name="connsiteY442" fmla="*/ 123425 h 375541"/>
              <a:gd name="connsiteX443" fmla="*/ 10296 w 382800"/>
              <a:gd name="connsiteY443" fmla="*/ 122148 h 375541"/>
              <a:gd name="connsiteX444" fmla="*/ 11592 w 382800"/>
              <a:gd name="connsiteY444" fmla="*/ 120500 h 375541"/>
              <a:gd name="connsiteX445" fmla="*/ 8782 w 382800"/>
              <a:gd name="connsiteY445" fmla="*/ 118586 h 375541"/>
              <a:gd name="connsiteX446" fmla="*/ 6706 w 382800"/>
              <a:gd name="connsiteY446" fmla="*/ 118110 h 375541"/>
              <a:gd name="connsiteX447" fmla="*/ 5848 w 382800"/>
              <a:gd name="connsiteY447" fmla="*/ 117424 h 375541"/>
              <a:gd name="connsiteX448" fmla="*/ 4972 w 382800"/>
              <a:gd name="connsiteY448" fmla="*/ 115700 h 375541"/>
              <a:gd name="connsiteX449" fmla="*/ 6210 w 382800"/>
              <a:gd name="connsiteY449" fmla="*/ 114910 h 375541"/>
              <a:gd name="connsiteX450" fmla="*/ 7087 w 382800"/>
              <a:gd name="connsiteY450" fmla="*/ 115328 h 375541"/>
              <a:gd name="connsiteX451" fmla="*/ 9620 w 382800"/>
              <a:gd name="connsiteY451" fmla="*/ 115576 h 375541"/>
              <a:gd name="connsiteX452" fmla="*/ 13945 w 382800"/>
              <a:gd name="connsiteY452" fmla="*/ 115157 h 375541"/>
              <a:gd name="connsiteX453" fmla="*/ 12335 w 382800"/>
              <a:gd name="connsiteY453" fmla="*/ 113414 h 375541"/>
              <a:gd name="connsiteX454" fmla="*/ 10659 w 382800"/>
              <a:gd name="connsiteY454" fmla="*/ 113024 h 375541"/>
              <a:gd name="connsiteX455" fmla="*/ 9887 w 382800"/>
              <a:gd name="connsiteY455" fmla="*/ 112585 h 375541"/>
              <a:gd name="connsiteX456" fmla="*/ 6363 w 382800"/>
              <a:gd name="connsiteY456" fmla="*/ 112395 h 375541"/>
              <a:gd name="connsiteX457" fmla="*/ 4763 w 382800"/>
              <a:gd name="connsiteY457" fmla="*/ 112995 h 375541"/>
              <a:gd name="connsiteX458" fmla="*/ 1162 w 382800"/>
              <a:gd name="connsiteY458" fmla="*/ 112766 h 375541"/>
              <a:gd name="connsiteX459" fmla="*/ 381 w 382800"/>
              <a:gd name="connsiteY459" fmla="*/ 110890 h 375541"/>
              <a:gd name="connsiteX460" fmla="*/ 0 w 382800"/>
              <a:gd name="connsiteY460" fmla="*/ 109271 h 375541"/>
              <a:gd name="connsiteX461" fmla="*/ 1114 w 382800"/>
              <a:gd name="connsiteY461" fmla="*/ 105670 h 375541"/>
              <a:gd name="connsiteX462" fmla="*/ 6182 w 382800"/>
              <a:gd name="connsiteY462" fmla="*/ 102441 h 375541"/>
              <a:gd name="connsiteX463" fmla="*/ 18812 w 382800"/>
              <a:gd name="connsiteY463" fmla="*/ 98907 h 375541"/>
              <a:gd name="connsiteX464" fmla="*/ 24241 w 382800"/>
              <a:gd name="connsiteY464" fmla="*/ 99422 h 375541"/>
              <a:gd name="connsiteX465" fmla="*/ 28004 w 382800"/>
              <a:gd name="connsiteY465" fmla="*/ 98784 h 375541"/>
              <a:gd name="connsiteX466" fmla="*/ 32518 w 382800"/>
              <a:gd name="connsiteY466" fmla="*/ 96555 h 375541"/>
              <a:gd name="connsiteX467" fmla="*/ 34509 w 382800"/>
              <a:gd name="connsiteY467" fmla="*/ 94640 h 375541"/>
              <a:gd name="connsiteX468" fmla="*/ 40929 w 382800"/>
              <a:gd name="connsiteY468" fmla="*/ 93516 h 375541"/>
              <a:gd name="connsiteX469" fmla="*/ 47025 w 382800"/>
              <a:gd name="connsiteY469" fmla="*/ 95545 h 375541"/>
              <a:gd name="connsiteX470" fmla="*/ 52645 w 382800"/>
              <a:gd name="connsiteY470" fmla="*/ 103203 h 375541"/>
              <a:gd name="connsiteX471" fmla="*/ 55331 w 382800"/>
              <a:gd name="connsiteY471" fmla="*/ 105794 h 375541"/>
              <a:gd name="connsiteX472" fmla="*/ 61913 w 382800"/>
              <a:gd name="connsiteY472" fmla="*/ 101298 h 375541"/>
              <a:gd name="connsiteX473" fmla="*/ 71714 w 382800"/>
              <a:gd name="connsiteY473" fmla="*/ 101432 h 375541"/>
              <a:gd name="connsiteX474" fmla="*/ 73733 w 382800"/>
              <a:gd name="connsiteY474" fmla="*/ 103965 h 375541"/>
              <a:gd name="connsiteX475" fmla="*/ 74552 w 382800"/>
              <a:gd name="connsiteY475" fmla="*/ 101832 h 375541"/>
              <a:gd name="connsiteX476" fmla="*/ 76352 w 382800"/>
              <a:gd name="connsiteY476" fmla="*/ 99326 h 375541"/>
              <a:gd name="connsiteX477" fmla="*/ 77791 w 382800"/>
              <a:gd name="connsiteY477" fmla="*/ 100469 h 375541"/>
              <a:gd name="connsiteX478" fmla="*/ 78524 w 382800"/>
              <a:gd name="connsiteY478" fmla="*/ 102022 h 375541"/>
              <a:gd name="connsiteX479" fmla="*/ 88868 w 382800"/>
              <a:gd name="connsiteY479" fmla="*/ 101584 h 375541"/>
              <a:gd name="connsiteX480" fmla="*/ 90497 w 382800"/>
              <a:gd name="connsiteY480" fmla="*/ 101136 h 375541"/>
              <a:gd name="connsiteX481" fmla="*/ 87716 w 382800"/>
              <a:gd name="connsiteY481" fmla="*/ 99317 h 375541"/>
              <a:gd name="connsiteX482" fmla="*/ 85449 w 382800"/>
              <a:gd name="connsiteY482" fmla="*/ 94955 h 375541"/>
              <a:gd name="connsiteX483" fmla="*/ 84973 w 382800"/>
              <a:gd name="connsiteY483" fmla="*/ 78829 h 375541"/>
              <a:gd name="connsiteX484" fmla="*/ 82105 w 382800"/>
              <a:gd name="connsiteY484" fmla="*/ 74304 h 375541"/>
              <a:gd name="connsiteX485" fmla="*/ 78819 w 382800"/>
              <a:gd name="connsiteY485" fmla="*/ 67056 h 375541"/>
              <a:gd name="connsiteX486" fmla="*/ 77305 w 382800"/>
              <a:gd name="connsiteY486" fmla="*/ 62741 h 375541"/>
              <a:gd name="connsiteX487" fmla="*/ 77162 w 382800"/>
              <a:gd name="connsiteY487" fmla="*/ 61246 h 375541"/>
              <a:gd name="connsiteX488" fmla="*/ 77667 w 382800"/>
              <a:gd name="connsiteY488" fmla="*/ 59083 h 375541"/>
              <a:gd name="connsiteX489" fmla="*/ 81705 w 382800"/>
              <a:gd name="connsiteY489" fmla="*/ 59198 h 375541"/>
              <a:gd name="connsiteX490" fmla="*/ 84830 w 382800"/>
              <a:gd name="connsiteY490" fmla="*/ 59750 h 375541"/>
              <a:gd name="connsiteX491" fmla="*/ 90783 w 382800"/>
              <a:gd name="connsiteY491" fmla="*/ 58121 h 375541"/>
              <a:gd name="connsiteX492" fmla="*/ 93640 w 382800"/>
              <a:gd name="connsiteY492" fmla="*/ 59236 h 375541"/>
              <a:gd name="connsiteX493" fmla="*/ 93469 w 382800"/>
              <a:gd name="connsiteY493" fmla="*/ 62608 h 375541"/>
              <a:gd name="connsiteX494" fmla="*/ 94345 w 382800"/>
              <a:gd name="connsiteY494" fmla="*/ 66856 h 375541"/>
              <a:gd name="connsiteX495" fmla="*/ 95336 w 382800"/>
              <a:gd name="connsiteY495" fmla="*/ 68913 h 375541"/>
              <a:gd name="connsiteX496" fmla="*/ 96850 w 382800"/>
              <a:gd name="connsiteY496" fmla="*/ 71247 h 375541"/>
              <a:gd name="connsiteX497" fmla="*/ 101641 w 382800"/>
              <a:gd name="connsiteY497" fmla="*/ 71037 h 375541"/>
              <a:gd name="connsiteX498" fmla="*/ 106814 w 382800"/>
              <a:gd name="connsiteY498" fmla="*/ 72409 h 375541"/>
              <a:gd name="connsiteX499" fmla="*/ 113357 w 382800"/>
              <a:gd name="connsiteY499" fmla="*/ 72619 h 375541"/>
              <a:gd name="connsiteX500" fmla="*/ 122911 w 382800"/>
              <a:gd name="connsiteY500" fmla="*/ 74981 h 375541"/>
              <a:gd name="connsiteX501" fmla="*/ 126978 w 382800"/>
              <a:gd name="connsiteY501" fmla="*/ 73609 h 375541"/>
              <a:gd name="connsiteX502" fmla="*/ 130921 w 382800"/>
              <a:gd name="connsiteY502" fmla="*/ 70685 h 375541"/>
              <a:gd name="connsiteX503" fmla="*/ 138427 w 382800"/>
              <a:gd name="connsiteY503" fmla="*/ 68761 h 375541"/>
              <a:gd name="connsiteX504" fmla="*/ 139027 w 382800"/>
              <a:gd name="connsiteY504" fmla="*/ 67751 h 375541"/>
              <a:gd name="connsiteX505" fmla="*/ 134703 w 382800"/>
              <a:gd name="connsiteY505" fmla="*/ 68151 h 375541"/>
              <a:gd name="connsiteX506" fmla="*/ 130740 w 382800"/>
              <a:gd name="connsiteY506" fmla="*/ 66294 h 375541"/>
              <a:gd name="connsiteX507" fmla="*/ 130207 w 382800"/>
              <a:gd name="connsiteY507" fmla="*/ 64284 h 375541"/>
              <a:gd name="connsiteX508" fmla="*/ 130664 w 382800"/>
              <a:gd name="connsiteY508" fmla="*/ 62474 h 375541"/>
              <a:gd name="connsiteX509" fmla="*/ 132274 w 382800"/>
              <a:gd name="connsiteY509" fmla="*/ 58302 h 375541"/>
              <a:gd name="connsiteX510" fmla="*/ 143761 w 382800"/>
              <a:gd name="connsiteY510" fmla="*/ 51701 h 375541"/>
              <a:gd name="connsiteX511" fmla="*/ 151990 w 382800"/>
              <a:gd name="connsiteY511" fmla="*/ 49749 h 375541"/>
              <a:gd name="connsiteX512" fmla="*/ 160582 w 382800"/>
              <a:gd name="connsiteY512" fmla="*/ 46101 h 375541"/>
              <a:gd name="connsiteX513" fmla="*/ 164907 w 382800"/>
              <a:gd name="connsiteY513" fmla="*/ 42358 h 375541"/>
              <a:gd name="connsiteX514" fmla="*/ 167764 w 382800"/>
              <a:gd name="connsiteY514" fmla="*/ 37509 h 375541"/>
              <a:gd name="connsiteX515" fmla="*/ 168688 w 382800"/>
              <a:gd name="connsiteY515" fmla="*/ 36443 h 375541"/>
              <a:gd name="connsiteX516" fmla="*/ 169878 w 382800"/>
              <a:gd name="connsiteY516" fmla="*/ 35547 h 375541"/>
              <a:gd name="connsiteX517" fmla="*/ 168773 w 382800"/>
              <a:gd name="connsiteY517" fmla="*/ 33804 h 375541"/>
              <a:gd name="connsiteX518" fmla="*/ 169516 w 382800"/>
              <a:gd name="connsiteY518" fmla="*/ 15135 h 375541"/>
              <a:gd name="connsiteX519" fmla="*/ 170317 w 382800"/>
              <a:gd name="connsiteY519" fmla="*/ 11754 h 375541"/>
              <a:gd name="connsiteX520" fmla="*/ 171993 w 382800"/>
              <a:gd name="connsiteY520" fmla="*/ 8982 h 375541"/>
              <a:gd name="connsiteX521" fmla="*/ 174546 w 382800"/>
              <a:gd name="connsiteY521" fmla="*/ 6839 h 375541"/>
              <a:gd name="connsiteX522" fmla="*/ 178413 w 382800"/>
              <a:gd name="connsiteY522" fmla="*/ 4515 h 375541"/>
              <a:gd name="connsiteX523" fmla="*/ 192672 w 382800"/>
              <a:gd name="connsiteY523" fmla="*/ 1305 h 375541"/>
              <a:gd name="connsiteX524" fmla="*/ 194786 w 382800"/>
              <a:gd name="connsiteY524" fmla="*/ 0 h 375541"/>
              <a:gd name="connsiteX525" fmla="*/ 195082 w 382800"/>
              <a:gd name="connsiteY525" fmla="*/ 2019 h 375541"/>
              <a:gd name="connsiteX526" fmla="*/ 196120 w 382800"/>
              <a:gd name="connsiteY526" fmla="*/ 4600 h 375541"/>
              <a:gd name="connsiteX527" fmla="*/ 196834 w 382800"/>
              <a:gd name="connsiteY527" fmla="*/ 6010 h 375541"/>
              <a:gd name="connsiteX528" fmla="*/ 196234 w 382800"/>
              <a:gd name="connsiteY528" fmla="*/ 7848 h 375541"/>
              <a:gd name="connsiteX529" fmla="*/ 196701 w 382800"/>
              <a:gd name="connsiteY529" fmla="*/ 9363 h 375541"/>
              <a:gd name="connsiteX530" fmla="*/ 198634 w 382800"/>
              <a:gd name="connsiteY530" fmla="*/ 12087 h 375541"/>
              <a:gd name="connsiteX531" fmla="*/ 201044 w 382800"/>
              <a:gd name="connsiteY531" fmla="*/ 14649 h 375541"/>
              <a:gd name="connsiteX532" fmla="*/ 203197 w 382800"/>
              <a:gd name="connsiteY532" fmla="*/ 16288 h 375541"/>
              <a:gd name="connsiteX533" fmla="*/ 203854 w 382800"/>
              <a:gd name="connsiteY533" fmla="*/ 16040 h 375541"/>
              <a:gd name="connsiteX534" fmla="*/ 95841 w 382800"/>
              <a:gd name="connsiteY534" fmla="*/ 209074 h 375541"/>
              <a:gd name="connsiteX535" fmla="*/ 94898 w 382800"/>
              <a:gd name="connsiteY535" fmla="*/ 212426 h 375541"/>
              <a:gd name="connsiteX536" fmla="*/ 93107 w 382800"/>
              <a:gd name="connsiteY536" fmla="*/ 209340 h 375541"/>
              <a:gd name="connsiteX537" fmla="*/ 90745 w 382800"/>
              <a:gd name="connsiteY537" fmla="*/ 206635 h 375541"/>
              <a:gd name="connsiteX538" fmla="*/ 90202 w 382800"/>
              <a:gd name="connsiteY538" fmla="*/ 204130 h 375541"/>
              <a:gd name="connsiteX539" fmla="*/ 90202 w 382800"/>
              <a:gd name="connsiteY539" fmla="*/ 203463 h 375541"/>
              <a:gd name="connsiteX540" fmla="*/ 92974 w 382800"/>
              <a:gd name="connsiteY540" fmla="*/ 205292 h 375541"/>
              <a:gd name="connsiteX541" fmla="*/ 95841 w 382800"/>
              <a:gd name="connsiteY541" fmla="*/ 209074 h 375541"/>
              <a:gd name="connsiteX542" fmla="*/ 380762 w 382800"/>
              <a:gd name="connsiteY542" fmla="*/ 324564 h 375541"/>
              <a:gd name="connsiteX543" fmla="*/ 380067 w 382800"/>
              <a:gd name="connsiteY543" fmla="*/ 329889 h 375541"/>
              <a:gd name="connsiteX544" fmla="*/ 380572 w 382800"/>
              <a:gd name="connsiteY544" fmla="*/ 331441 h 375541"/>
              <a:gd name="connsiteX545" fmla="*/ 381543 w 382800"/>
              <a:gd name="connsiteY545" fmla="*/ 332527 h 375541"/>
              <a:gd name="connsiteX546" fmla="*/ 381991 w 382800"/>
              <a:gd name="connsiteY546" fmla="*/ 333718 h 375541"/>
              <a:gd name="connsiteX547" fmla="*/ 382800 w 382800"/>
              <a:gd name="connsiteY547" fmla="*/ 347834 h 375541"/>
              <a:gd name="connsiteX548" fmla="*/ 382648 w 382800"/>
              <a:gd name="connsiteY548" fmla="*/ 348958 h 375541"/>
              <a:gd name="connsiteX549" fmla="*/ 379381 w 382800"/>
              <a:gd name="connsiteY549" fmla="*/ 354606 h 375541"/>
              <a:gd name="connsiteX550" fmla="*/ 378648 w 382800"/>
              <a:gd name="connsiteY550" fmla="*/ 356254 h 375541"/>
              <a:gd name="connsiteX551" fmla="*/ 378485 w 382800"/>
              <a:gd name="connsiteY551" fmla="*/ 363226 h 375541"/>
              <a:gd name="connsiteX552" fmla="*/ 377933 w 382800"/>
              <a:gd name="connsiteY552" fmla="*/ 365093 h 375541"/>
              <a:gd name="connsiteX553" fmla="*/ 376771 w 382800"/>
              <a:gd name="connsiteY553" fmla="*/ 366931 h 375541"/>
              <a:gd name="connsiteX554" fmla="*/ 374704 w 382800"/>
              <a:gd name="connsiteY554" fmla="*/ 372875 h 375541"/>
              <a:gd name="connsiteX555" fmla="*/ 372913 w 382800"/>
              <a:gd name="connsiteY555" fmla="*/ 375542 h 375541"/>
              <a:gd name="connsiteX556" fmla="*/ 368017 w 382800"/>
              <a:gd name="connsiteY556" fmla="*/ 372285 h 375541"/>
              <a:gd name="connsiteX557" fmla="*/ 365132 w 382800"/>
              <a:gd name="connsiteY557" fmla="*/ 370875 h 375541"/>
              <a:gd name="connsiteX558" fmla="*/ 363722 w 382800"/>
              <a:gd name="connsiteY558" fmla="*/ 369360 h 375541"/>
              <a:gd name="connsiteX559" fmla="*/ 362798 w 382800"/>
              <a:gd name="connsiteY559" fmla="*/ 368313 h 375541"/>
              <a:gd name="connsiteX560" fmla="*/ 363398 w 382800"/>
              <a:gd name="connsiteY560" fmla="*/ 366913 h 375541"/>
              <a:gd name="connsiteX561" fmla="*/ 364712 w 382800"/>
              <a:gd name="connsiteY561" fmla="*/ 365455 h 375541"/>
              <a:gd name="connsiteX562" fmla="*/ 364922 w 382800"/>
              <a:gd name="connsiteY562" fmla="*/ 364302 h 375541"/>
              <a:gd name="connsiteX563" fmla="*/ 361826 w 382800"/>
              <a:gd name="connsiteY563" fmla="*/ 363007 h 375541"/>
              <a:gd name="connsiteX564" fmla="*/ 360407 w 382800"/>
              <a:gd name="connsiteY564" fmla="*/ 362140 h 375541"/>
              <a:gd name="connsiteX565" fmla="*/ 360426 w 382800"/>
              <a:gd name="connsiteY565" fmla="*/ 360616 h 375541"/>
              <a:gd name="connsiteX566" fmla="*/ 361493 w 382800"/>
              <a:gd name="connsiteY566" fmla="*/ 358245 h 375541"/>
              <a:gd name="connsiteX567" fmla="*/ 361007 w 382800"/>
              <a:gd name="connsiteY567" fmla="*/ 356283 h 375541"/>
              <a:gd name="connsiteX568" fmla="*/ 359216 w 382800"/>
              <a:gd name="connsiteY568" fmla="*/ 356378 h 375541"/>
              <a:gd name="connsiteX569" fmla="*/ 357826 w 382800"/>
              <a:gd name="connsiteY569" fmla="*/ 356082 h 375541"/>
              <a:gd name="connsiteX570" fmla="*/ 357645 w 382800"/>
              <a:gd name="connsiteY570" fmla="*/ 355063 h 375541"/>
              <a:gd name="connsiteX571" fmla="*/ 358664 w 382800"/>
              <a:gd name="connsiteY571" fmla="*/ 353758 h 375541"/>
              <a:gd name="connsiteX572" fmla="*/ 359978 w 382800"/>
              <a:gd name="connsiteY572" fmla="*/ 352054 h 375541"/>
              <a:gd name="connsiteX573" fmla="*/ 359940 w 382800"/>
              <a:gd name="connsiteY573" fmla="*/ 350167 h 375541"/>
              <a:gd name="connsiteX574" fmla="*/ 358350 w 382800"/>
              <a:gd name="connsiteY574" fmla="*/ 349358 h 375541"/>
              <a:gd name="connsiteX575" fmla="*/ 356911 w 382800"/>
              <a:gd name="connsiteY575" fmla="*/ 347824 h 375541"/>
              <a:gd name="connsiteX576" fmla="*/ 356330 w 382800"/>
              <a:gd name="connsiteY576" fmla="*/ 345738 h 375541"/>
              <a:gd name="connsiteX577" fmla="*/ 357445 w 382800"/>
              <a:gd name="connsiteY577" fmla="*/ 344310 h 375541"/>
              <a:gd name="connsiteX578" fmla="*/ 359255 w 382800"/>
              <a:gd name="connsiteY578" fmla="*/ 343395 h 375541"/>
              <a:gd name="connsiteX579" fmla="*/ 357921 w 382800"/>
              <a:gd name="connsiteY579" fmla="*/ 341252 h 375541"/>
              <a:gd name="connsiteX580" fmla="*/ 357026 w 382800"/>
              <a:gd name="connsiteY580" fmla="*/ 341204 h 375541"/>
              <a:gd name="connsiteX581" fmla="*/ 356311 w 382800"/>
              <a:gd name="connsiteY581" fmla="*/ 340738 h 375541"/>
              <a:gd name="connsiteX582" fmla="*/ 356902 w 382800"/>
              <a:gd name="connsiteY582" fmla="*/ 339747 h 375541"/>
              <a:gd name="connsiteX583" fmla="*/ 358302 w 382800"/>
              <a:gd name="connsiteY583" fmla="*/ 338261 h 375541"/>
              <a:gd name="connsiteX584" fmla="*/ 360255 w 382800"/>
              <a:gd name="connsiteY584" fmla="*/ 333813 h 375541"/>
              <a:gd name="connsiteX585" fmla="*/ 362969 w 382800"/>
              <a:gd name="connsiteY585" fmla="*/ 331708 h 375541"/>
              <a:gd name="connsiteX586" fmla="*/ 367789 w 382800"/>
              <a:gd name="connsiteY586" fmla="*/ 330355 h 375541"/>
              <a:gd name="connsiteX587" fmla="*/ 369094 w 382800"/>
              <a:gd name="connsiteY587" fmla="*/ 329755 h 375541"/>
              <a:gd name="connsiteX588" fmla="*/ 370284 w 382800"/>
              <a:gd name="connsiteY588" fmla="*/ 328184 h 375541"/>
              <a:gd name="connsiteX589" fmla="*/ 371608 w 382800"/>
              <a:gd name="connsiteY589" fmla="*/ 327174 h 375541"/>
              <a:gd name="connsiteX590" fmla="*/ 373218 w 382800"/>
              <a:gd name="connsiteY590" fmla="*/ 327307 h 375541"/>
              <a:gd name="connsiteX591" fmla="*/ 374704 w 382800"/>
              <a:gd name="connsiteY591" fmla="*/ 327908 h 375541"/>
              <a:gd name="connsiteX592" fmla="*/ 375618 w 382800"/>
              <a:gd name="connsiteY592" fmla="*/ 328555 h 375541"/>
              <a:gd name="connsiteX593" fmla="*/ 376304 w 382800"/>
              <a:gd name="connsiteY593" fmla="*/ 327879 h 375541"/>
              <a:gd name="connsiteX594" fmla="*/ 376971 w 382800"/>
              <a:gd name="connsiteY594" fmla="*/ 325926 h 375541"/>
              <a:gd name="connsiteX595" fmla="*/ 376561 w 382800"/>
              <a:gd name="connsiteY595" fmla="*/ 324212 h 375541"/>
              <a:gd name="connsiteX596" fmla="*/ 376771 w 382800"/>
              <a:gd name="connsiteY596" fmla="*/ 319497 h 375541"/>
              <a:gd name="connsiteX597" fmla="*/ 377628 w 382800"/>
              <a:gd name="connsiteY597" fmla="*/ 316821 h 375541"/>
              <a:gd name="connsiteX598" fmla="*/ 379019 w 382800"/>
              <a:gd name="connsiteY598" fmla="*/ 316668 h 375541"/>
              <a:gd name="connsiteX599" fmla="*/ 380295 w 382800"/>
              <a:gd name="connsiteY599" fmla="*/ 318144 h 375541"/>
              <a:gd name="connsiteX600" fmla="*/ 380238 w 382800"/>
              <a:gd name="connsiteY600" fmla="*/ 319449 h 375541"/>
              <a:gd name="connsiteX601" fmla="*/ 380714 w 382800"/>
              <a:gd name="connsiteY601" fmla="*/ 322536 h 375541"/>
              <a:gd name="connsiteX602" fmla="*/ 380762 w 382800"/>
              <a:gd name="connsiteY602" fmla="*/ 324564 h 375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</a:cxnLst>
            <a:rect l="l" t="t" r="r" b="b"/>
            <a:pathLst>
              <a:path w="382800" h="375541">
                <a:moveTo>
                  <a:pt x="203854" y="16040"/>
                </a:moveTo>
                <a:lnTo>
                  <a:pt x="205445" y="15573"/>
                </a:lnTo>
                <a:lnTo>
                  <a:pt x="208141" y="13897"/>
                </a:lnTo>
                <a:lnTo>
                  <a:pt x="210388" y="13363"/>
                </a:lnTo>
                <a:lnTo>
                  <a:pt x="211674" y="14649"/>
                </a:lnTo>
                <a:lnTo>
                  <a:pt x="212398" y="15383"/>
                </a:lnTo>
                <a:lnTo>
                  <a:pt x="213808" y="18278"/>
                </a:lnTo>
                <a:lnTo>
                  <a:pt x="214208" y="21288"/>
                </a:lnTo>
                <a:lnTo>
                  <a:pt x="214836" y="23793"/>
                </a:lnTo>
                <a:lnTo>
                  <a:pt x="215980" y="24803"/>
                </a:lnTo>
                <a:lnTo>
                  <a:pt x="220275" y="25136"/>
                </a:lnTo>
                <a:lnTo>
                  <a:pt x="223447" y="26060"/>
                </a:lnTo>
                <a:lnTo>
                  <a:pt x="224285" y="26898"/>
                </a:lnTo>
                <a:lnTo>
                  <a:pt x="225371" y="32442"/>
                </a:lnTo>
                <a:lnTo>
                  <a:pt x="225962" y="33223"/>
                </a:lnTo>
                <a:lnTo>
                  <a:pt x="226752" y="32575"/>
                </a:lnTo>
                <a:lnTo>
                  <a:pt x="227533" y="31661"/>
                </a:lnTo>
                <a:lnTo>
                  <a:pt x="228619" y="31518"/>
                </a:lnTo>
                <a:lnTo>
                  <a:pt x="230477" y="31870"/>
                </a:lnTo>
                <a:lnTo>
                  <a:pt x="232924" y="31985"/>
                </a:lnTo>
                <a:lnTo>
                  <a:pt x="235448" y="32595"/>
                </a:lnTo>
                <a:lnTo>
                  <a:pt x="238935" y="35719"/>
                </a:lnTo>
                <a:lnTo>
                  <a:pt x="238801" y="36747"/>
                </a:lnTo>
                <a:lnTo>
                  <a:pt x="238125" y="38548"/>
                </a:lnTo>
                <a:lnTo>
                  <a:pt x="237887" y="39986"/>
                </a:lnTo>
                <a:lnTo>
                  <a:pt x="238487" y="40567"/>
                </a:lnTo>
                <a:lnTo>
                  <a:pt x="239411" y="42053"/>
                </a:lnTo>
                <a:lnTo>
                  <a:pt x="239192" y="43767"/>
                </a:lnTo>
                <a:lnTo>
                  <a:pt x="238297" y="44967"/>
                </a:lnTo>
                <a:lnTo>
                  <a:pt x="237935" y="45958"/>
                </a:lnTo>
                <a:lnTo>
                  <a:pt x="237935" y="46596"/>
                </a:lnTo>
                <a:lnTo>
                  <a:pt x="238268" y="47130"/>
                </a:lnTo>
                <a:lnTo>
                  <a:pt x="238982" y="47596"/>
                </a:lnTo>
                <a:lnTo>
                  <a:pt x="244135" y="48225"/>
                </a:lnTo>
                <a:lnTo>
                  <a:pt x="248850" y="47596"/>
                </a:lnTo>
                <a:lnTo>
                  <a:pt x="251822" y="45844"/>
                </a:lnTo>
                <a:lnTo>
                  <a:pt x="252327" y="43996"/>
                </a:lnTo>
                <a:lnTo>
                  <a:pt x="253165" y="41919"/>
                </a:lnTo>
                <a:lnTo>
                  <a:pt x="254937" y="40167"/>
                </a:lnTo>
                <a:lnTo>
                  <a:pt x="256156" y="39576"/>
                </a:lnTo>
                <a:lnTo>
                  <a:pt x="257280" y="40291"/>
                </a:lnTo>
                <a:lnTo>
                  <a:pt x="255394" y="47615"/>
                </a:lnTo>
                <a:lnTo>
                  <a:pt x="256775" y="49482"/>
                </a:lnTo>
                <a:lnTo>
                  <a:pt x="256975" y="52264"/>
                </a:lnTo>
                <a:lnTo>
                  <a:pt x="257470" y="54702"/>
                </a:lnTo>
                <a:lnTo>
                  <a:pt x="259156" y="54654"/>
                </a:lnTo>
                <a:lnTo>
                  <a:pt x="261195" y="55102"/>
                </a:lnTo>
                <a:lnTo>
                  <a:pt x="262642" y="55997"/>
                </a:lnTo>
                <a:lnTo>
                  <a:pt x="264328" y="57445"/>
                </a:lnTo>
                <a:lnTo>
                  <a:pt x="266757" y="58779"/>
                </a:lnTo>
                <a:lnTo>
                  <a:pt x="268462" y="59245"/>
                </a:lnTo>
                <a:lnTo>
                  <a:pt x="269081" y="60350"/>
                </a:lnTo>
                <a:lnTo>
                  <a:pt x="270463" y="61636"/>
                </a:lnTo>
                <a:lnTo>
                  <a:pt x="272634" y="64322"/>
                </a:lnTo>
                <a:lnTo>
                  <a:pt x="274577" y="66113"/>
                </a:lnTo>
                <a:lnTo>
                  <a:pt x="275520" y="66113"/>
                </a:lnTo>
                <a:lnTo>
                  <a:pt x="277330" y="65408"/>
                </a:lnTo>
                <a:lnTo>
                  <a:pt x="280016" y="64960"/>
                </a:lnTo>
                <a:lnTo>
                  <a:pt x="282130" y="64998"/>
                </a:lnTo>
                <a:lnTo>
                  <a:pt x="283035" y="66360"/>
                </a:lnTo>
                <a:lnTo>
                  <a:pt x="285122" y="66989"/>
                </a:lnTo>
                <a:lnTo>
                  <a:pt x="285855" y="67494"/>
                </a:lnTo>
                <a:lnTo>
                  <a:pt x="286674" y="68437"/>
                </a:lnTo>
                <a:lnTo>
                  <a:pt x="288065" y="68818"/>
                </a:lnTo>
                <a:lnTo>
                  <a:pt x="289741" y="68437"/>
                </a:lnTo>
                <a:lnTo>
                  <a:pt x="290960" y="67189"/>
                </a:lnTo>
                <a:lnTo>
                  <a:pt x="292589" y="66618"/>
                </a:lnTo>
                <a:lnTo>
                  <a:pt x="294227" y="66808"/>
                </a:lnTo>
                <a:lnTo>
                  <a:pt x="295170" y="67494"/>
                </a:lnTo>
                <a:lnTo>
                  <a:pt x="296961" y="68513"/>
                </a:lnTo>
                <a:lnTo>
                  <a:pt x="297971" y="68294"/>
                </a:lnTo>
                <a:lnTo>
                  <a:pt x="299999" y="68923"/>
                </a:lnTo>
                <a:lnTo>
                  <a:pt x="302038" y="70904"/>
                </a:lnTo>
                <a:lnTo>
                  <a:pt x="302895" y="72885"/>
                </a:lnTo>
                <a:lnTo>
                  <a:pt x="303114" y="73971"/>
                </a:lnTo>
                <a:lnTo>
                  <a:pt x="303990" y="75152"/>
                </a:lnTo>
                <a:lnTo>
                  <a:pt x="307410" y="80467"/>
                </a:lnTo>
                <a:lnTo>
                  <a:pt x="308496" y="80724"/>
                </a:lnTo>
                <a:lnTo>
                  <a:pt x="309686" y="79924"/>
                </a:lnTo>
                <a:lnTo>
                  <a:pt x="310458" y="78781"/>
                </a:lnTo>
                <a:lnTo>
                  <a:pt x="311572" y="78552"/>
                </a:lnTo>
                <a:lnTo>
                  <a:pt x="313363" y="79086"/>
                </a:lnTo>
                <a:lnTo>
                  <a:pt x="314516" y="79686"/>
                </a:lnTo>
                <a:lnTo>
                  <a:pt x="315068" y="81982"/>
                </a:lnTo>
                <a:lnTo>
                  <a:pt x="315459" y="82420"/>
                </a:lnTo>
                <a:lnTo>
                  <a:pt x="316230" y="81924"/>
                </a:lnTo>
                <a:lnTo>
                  <a:pt x="317611" y="81820"/>
                </a:lnTo>
                <a:lnTo>
                  <a:pt x="319821" y="82382"/>
                </a:lnTo>
                <a:lnTo>
                  <a:pt x="322850" y="81734"/>
                </a:lnTo>
                <a:lnTo>
                  <a:pt x="325279" y="80772"/>
                </a:lnTo>
                <a:lnTo>
                  <a:pt x="326517" y="80810"/>
                </a:lnTo>
                <a:lnTo>
                  <a:pt x="328517" y="83486"/>
                </a:lnTo>
                <a:lnTo>
                  <a:pt x="330803" y="84487"/>
                </a:lnTo>
                <a:lnTo>
                  <a:pt x="335832" y="85296"/>
                </a:lnTo>
                <a:lnTo>
                  <a:pt x="341233" y="86553"/>
                </a:lnTo>
                <a:lnTo>
                  <a:pt x="343357" y="87573"/>
                </a:lnTo>
                <a:lnTo>
                  <a:pt x="344805" y="88077"/>
                </a:lnTo>
                <a:lnTo>
                  <a:pt x="344957" y="91611"/>
                </a:lnTo>
                <a:lnTo>
                  <a:pt x="344519" y="92145"/>
                </a:lnTo>
                <a:lnTo>
                  <a:pt x="339138" y="99212"/>
                </a:lnTo>
                <a:lnTo>
                  <a:pt x="336871" y="101737"/>
                </a:lnTo>
                <a:lnTo>
                  <a:pt x="335718" y="105327"/>
                </a:lnTo>
                <a:lnTo>
                  <a:pt x="334928" y="110833"/>
                </a:lnTo>
                <a:lnTo>
                  <a:pt x="333337" y="116043"/>
                </a:lnTo>
                <a:lnTo>
                  <a:pt x="330956" y="120977"/>
                </a:lnTo>
                <a:lnTo>
                  <a:pt x="330089" y="124673"/>
                </a:lnTo>
                <a:lnTo>
                  <a:pt x="330737" y="127130"/>
                </a:lnTo>
                <a:lnTo>
                  <a:pt x="330327" y="130988"/>
                </a:lnTo>
                <a:lnTo>
                  <a:pt x="328870" y="136236"/>
                </a:lnTo>
                <a:lnTo>
                  <a:pt x="328622" y="140189"/>
                </a:lnTo>
                <a:lnTo>
                  <a:pt x="329594" y="142856"/>
                </a:lnTo>
                <a:lnTo>
                  <a:pt x="330937" y="143399"/>
                </a:lnTo>
                <a:lnTo>
                  <a:pt x="327708" y="145189"/>
                </a:lnTo>
                <a:lnTo>
                  <a:pt x="326974" y="146761"/>
                </a:lnTo>
                <a:lnTo>
                  <a:pt x="325707" y="148828"/>
                </a:lnTo>
                <a:lnTo>
                  <a:pt x="323650" y="149695"/>
                </a:lnTo>
                <a:lnTo>
                  <a:pt x="321583" y="149980"/>
                </a:lnTo>
                <a:lnTo>
                  <a:pt x="319907" y="149714"/>
                </a:lnTo>
                <a:lnTo>
                  <a:pt x="318954" y="148885"/>
                </a:lnTo>
                <a:lnTo>
                  <a:pt x="319002" y="148114"/>
                </a:lnTo>
                <a:lnTo>
                  <a:pt x="318116" y="147456"/>
                </a:lnTo>
                <a:lnTo>
                  <a:pt x="315916" y="147475"/>
                </a:lnTo>
                <a:lnTo>
                  <a:pt x="313639" y="148895"/>
                </a:lnTo>
                <a:lnTo>
                  <a:pt x="311820" y="151219"/>
                </a:lnTo>
                <a:lnTo>
                  <a:pt x="312382" y="152514"/>
                </a:lnTo>
                <a:lnTo>
                  <a:pt x="314058" y="152857"/>
                </a:lnTo>
                <a:lnTo>
                  <a:pt x="314497" y="153371"/>
                </a:lnTo>
                <a:lnTo>
                  <a:pt x="314497" y="154038"/>
                </a:lnTo>
                <a:lnTo>
                  <a:pt x="313906" y="154838"/>
                </a:lnTo>
                <a:lnTo>
                  <a:pt x="313201" y="156210"/>
                </a:lnTo>
                <a:lnTo>
                  <a:pt x="309686" y="160286"/>
                </a:lnTo>
                <a:lnTo>
                  <a:pt x="306143" y="164392"/>
                </a:lnTo>
                <a:lnTo>
                  <a:pt x="305571" y="165630"/>
                </a:lnTo>
                <a:lnTo>
                  <a:pt x="304448" y="166497"/>
                </a:lnTo>
                <a:lnTo>
                  <a:pt x="299942" y="168688"/>
                </a:lnTo>
                <a:lnTo>
                  <a:pt x="299476" y="169564"/>
                </a:lnTo>
                <a:lnTo>
                  <a:pt x="299218" y="173212"/>
                </a:lnTo>
                <a:lnTo>
                  <a:pt x="298713" y="176203"/>
                </a:lnTo>
                <a:lnTo>
                  <a:pt x="295370" y="179013"/>
                </a:lnTo>
                <a:lnTo>
                  <a:pt x="292046" y="181803"/>
                </a:lnTo>
                <a:lnTo>
                  <a:pt x="291217" y="183509"/>
                </a:lnTo>
                <a:lnTo>
                  <a:pt x="290617" y="185480"/>
                </a:lnTo>
                <a:lnTo>
                  <a:pt x="289579" y="187709"/>
                </a:lnTo>
                <a:lnTo>
                  <a:pt x="289370" y="188890"/>
                </a:lnTo>
                <a:lnTo>
                  <a:pt x="291056" y="190805"/>
                </a:lnTo>
                <a:lnTo>
                  <a:pt x="290856" y="192386"/>
                </a:lnTo>
                <a:lnTo>
                  <a:pt x="290322" y="194634"/>
                </a:lnTo>
                <a:lnTo>
                  <a:pt x="288732" y="196224"/>
                </a:lnTo>
                <a:lnTo>
                  <a:pt x="286960" y="197129"/>
                </a:lnTo>
                <a:lnTo>
                  <a:pt x="286998" y="199568"/>
                </a:lnTo>
                <a:lnTo>
                  <a:pt x="287941" y="199910"/>
                </a:lnTo>
                <a:lnTo>
                  <a:pt x="290074" y="199730"/>
                </a:lnTo>
                <a:lnTo>
                  <a:pt x="293094" y="197958"/>
                </a:lnTo>
                <a:lnTo>
                  <a:pt x="295065" y="195672"/>
                </a:lnTo>
                <a:lnTo>
                  <a:pt x="293904" y="193510"/>
                </a:lnTo>
                <a:lnTo>
                  <a:pt x="293761" y="193091"/>
                </a:lnTo>
                <a:lnTo>
                  <a:pt x="294046" y="192576"/>
                </a:lnTo>
                <a:lnTo>
                  <a:pt x="296380" y="190214"/>
                </a:lnTo>
                <a:lnTo>
                  <a:pt x="299238" y="188795"/>
                </a:lnTo>
                <a:lnTo>
                  <a:pt x="303228" y="188528"/>
                </a:lnTo>
                <a:lnTo>
                  <a:pt x="308038" y="189366"/>
                </a:lnTo>
                <a:lnTo>
                  <a:pt x="308515" y="189719"/>
                </a:lnTo>
                <a:lnTo>
                  <a:pt x="308286" y="191167"/>
                </a:lnTo>
                <a:lnTo>
                  <a:pt x="308734" y="193300"/>
                </a:lnTo>
                <a:lnTo>
                  <a:pt x="309601" y="194796"/>
                </a:lnTo>
                <a:lnTo>
                  <a:pt x="308410" y="199034"/>
                </a:lnTo>
                <a:lnTo>
                  <a:pt x="309315" y="200358"/>
                </a:lnTo>
                <a:lnTo>
                  <a:pt x="310715" y="201949"/>
                </a:lnTo>
                <a:lnTo>
                  <a:pt x="311763" y="203397"/>
                </a:lnTo>
                <a:lnTo>
                  <a:pt x="313268" y="204721"/>
                </a:lnTo>
                <a:lnTo>
                  <a:pt x="314611" y="206959"/>
                </a:lnTo>
                <a:lnTo>
                  <a:pt x="315068" y="208226"/>
                </a:lnTo>
                <a:lnTo>
                  <a:pt x="312916" y="210417"/>
                </a:lnTo>
                <a:lnTo>
                  <a:pt x="309277" y="212474"/>
                </a:lnTo>
                <a:lnTo>
                  <a:pt x="308867" y="213798"/>
                </a:lnTo>
                <a:lnTo>
                  <a:pt x="308915" y="215294"/>
                </a:lnTo>
                <a:lnTo>
                  <a:pt x="309324" y="216475"/>
                </a:lnTo>
                <a:lnTo>
                  <a:pt x="311334" y="217989"/>
                </a:lnTo>
                <a:lnTo>
                  <a:pt x="313496" y="221409"/>
                </a:lnTo>
                <a:lnTo>
                  <a:pt x="314868" y="224456"/>
                </a:lnTo>
                <a:lnTo>
                  <a:pt x="317868" y="227371"/>
                </a:lnTo>
                <a:lnTo>
                  <a:pt x="318602" y="228238"/>
                </a:lnTo>
                <a:lnTo>
                  <a:pt x="318411" y="228962"/>
                </a:lnTo>
                <a:lnTo>
                  <a:pt x="317621" y="230200"/>
                </a:lnTo>
                <a:lnTo>
                  <a:pt x="316592" y="234334"/>
                </a:lnTo>
                <a:lnTo>
                  <a:pt x="315363" y="234982"/>
                </a:lnTo>
                <a:lnTo>
                  <a:pt x="313992" y="235248"/>
                </a:lnTo>
                <a:lnTo>
                  <a:pt x="310277" y="238268"/>
                </a:lnTo>
                <a:lnTo>
                  <a:pt x="308620" y="237896"/>
                </a:lnTo>
                <a:lnTo>
                  <a:pt x="306267" y="237934"/>
                </a:lnTo>
                <a:lnTo>
                  <a:pt x="304543" y="238925"/>
                </a:lnTo>
                <a:lnTo>
                  <a:pt x="304733" y="240801"/>
                </a:lnTo>
                <a:lnTo>
                  <a:pt x="306248" y="242516"/>
                </a:lnTo>
                <a:lnTo>
                  <a:pt x="307134" y="244383"/>
                </a:lnTo>
                <a:lnTo>
                  <a:pt x="307496" y="246326"/>
                </a:lnTo>
                <a:lnTo>
                  <a:pt x="309172" y="247764"/>
                </a:lnTo>
                <a:lnTo>
                  <a:pt x="311534" y="248621"/>
                </a:lnTo>
                <a:lnTo>
                  <a:pt x="312887" y="248678"/>
                </a:lnTo>
                <a:lnTo>
                  <a:pt x="313763" y="249193"/>
                </a:lnTo>
                <a:lnTo>
                  <a:pt x="314297" y="249860"/>
                </a:lnTo>
                <a:lnTo>
                  <a:pt x="315316" y="254013"/>
                </a:lnTo>
                <a:lnTo>
                  <a:pt x="314706" y="255051"/>
                </a:lnTo>
                <a:lnTo>
                  <a:pt x="313430" y="255489"/>
                </a:lnTo>
                <a:lnTo>
                  <a:pt x="312668" y="257194"/>
                </a:lnTo>
                <a:lnTo>
                  <a:pt x="311153" y="259699"/>
                </a:lnTo>
                <a:lnTo>
                  <a:pt x="310296" y="261709"/>
                </a:lnTo>
                <a:lnTo>
                  <a:pt x="311248" y="263480"/>
                </a:lnTo>
                <a:lnTo>
                  <a:pt x="311648" y="264795"/>
                </a:lnTo>
                <a:lnTo>
                  <a:pt x="311144" y="266147"/>
                </a:lnTo>
                <a:lnTo>
                  <a:pt x="311820" y="268243"/>
                </a:lnTo>
                <a:lnTo>
                  <a:pt x="313611" y="270319"/>
                </a:lnTo>
                <a:lnTo>
                  <a:pt x="318478" y="273234"/>
                </a:lnTo>
                <a:lnTo>
                  <a:pt x="323002" y="275606"/>
                </a:lnTo>
                <a:lnTo>
                  <a:pt x="324403" y="275996"/>
                </a:lnTo>
                <a:lnTo>
                  <a:pt x="330518" y="274472"/>
                </a:lnTo>
                <a:lnTo>
                  <a:pt x="331527" y="274606"/>
                </a:lnTo>
                <a:lnTo>
                  <a:pt x="332270" y="276415"/>
                </a:lnTo>
                <a:lnTo>
                  <a:pt x="332594" y="277635"/>
                </a:lnTo>
                <a:lnTo>
                  <a:pt x="331908" y="279463"/>
                </a:lnTo>
                <a:lnTo>
                  <a:pt x="330222" y="282045"/>
                </a:lnTo>
                <a:lnTo>
                  <a:pt x="328432" y="284054"/>
                </a:lnTo>
                <a:lnTo>
                  <a:pt x="327346" y="285759"/>
                </a:lnTo>
                <a:lnTo>
                  <a:pt x="327574" y="287312"/>
                </a:lnTo>
                <a:lnTo>
                  <a:pt x="327641" y="289369"/>
                </a:lnTo>
                <a:lnTo>
                  <a:pt x="326184" y="289979"/>
                </a:lnTo>
                <a:lnTo>
                  <a:pt x="326136" y="289579"/>
                </a:lnTo>
                <a:lnTo>
                  <a:pt x="325536" y="289227"/>
                </a:lnTo>
                <a:lnTo>
                  <a:pt x="325022" y="289427"/>
                </a:lnTo>
                <a:lnTo>
                  <a:pt x="324621" y="289874"/>
                </a:lnTo>
                <a:lnTo>
                  <a:pt x="324565" y="290665"/>
                </a:lnTo>
                <a:lnTo>
                  <a:pt x="321459" y="291979"/>
                </a:lnTo>
                <a:lnTo>
                  <a:pt x="319316" y="293341"/>
                </a:lnTo>
                <a:lnTo>
                  <a:pt x="310848" y="301457"/>
                </a:lnTo>
                <a:lnTo>
                  <a:pt x="306886" y="303828"/>
                </a:lnTo>
                <a:lnTo>
                  <a:pt x="306105" y="305257"/>
                </a:lnTo>
                <a:lnTo>
                  <a:pt x="305295" y="307924"/>
                </a:lnTo>
                <a:lnTo>
                  <a:pt x="302971" y="310210"/>
                </a:lnTo>
                <a:lnTo>
                  <a:pt x="300933" y="311296"/>
                </a:lnTo>
                <a:lnTo>
                  <a:pt x="295894" y="312410"/>
                </a:lnTo>
                <a:lnTo>
                  <a:pt x="290827" y="314830"/>
                </a:lnTo>
                <a:lnTo>
                  <a:pt x="288541" y="313782"/>
                </a:lnTo>
                <a:lnTo>
                  <a:pt x="282635" y="313896"/>
                </a:lnTo>
                <a:lnTo>
                  <a:pt x="278949" y="310982"/>
                </a:lnTo>
                <a:lnTo>
                  <a:pt x="271862" y="309134"/>
                </a:lnTo>
                <a:lnTo>
                  <a:pt x="269558" y="304876"/>
                </a:lnTo>
                <a:lnTo>
                  <a:pt x="266329" y="304600"/>
                </a:lnTo>
                <a:lnTo>
                  <a:pt x="264214" y="304733"/>
                </a:lnTo>
                <a:lnTo>
                  <a:pt x="262947" y="304086"/>
                </a:lnTo>
                <a:lnTo>
                  <a:pt x="262624" y="302628"/>
                </a:lnTo>
                <a:lnTo>
                  <a:pt x="262595" y="301228"/>
                </a:lnTo>
                <a:lnTo>
                  <a:pt x="260356" y="301876"/>
                </a:lnTo>
                <a:lnTo>
                  <a:pt x="258642" y="301876"/>
                </a:lnTo>
                <a:lnTo>
                  <a:pt x="257623" y="302438"/>
                </a:lnTo>
                <a:lnTo>
                  <a:pt x="256823" y="303085"/>
                </a:lnTo>
                <a:lnTo>
                  <a:pt x="255870" y="302676"/>
                </a:lnTo>
                <a:lnTo>
                  <a:pt x="255318" y="302819"/>
                </a:lnTo>
                <a:lnTo>
                  <a:pt x="255365" y="303638"/>
                </a:lnTo>
                <a:lnTo>
                  <a:pt x="253308" y="303847"/>
                </a:lnTo>
                <a:lnTo>
                  <a:pt x="251070" y="303343"/>
                </a:lnTo>
                <a:lnTo>
                  <a:pt x="245212" y="301142"/>
                </a:lnTo>
                <a:lnTo>
                  <a:pt x="244316" y="300799"/>
                </a:lnTo>
                <a:lnTo>
                  <a:pt x="240249" y="299952"/>
                </a:lnTo>
                <a:lnTo>
                  <a:pt x="238611" y="299066"/>
                </a:lnTo>
                <a:lnTo>
                  <a:pt x="237277" y="296885"/>
                </a:lnTo>
                <a:lnTo>
                  <a:pt x="236268" y="296199"/>
                </a:lnTo>
                <a:lnTo>
                  <a:pt x="235668" y="295789"/>
                </a:lnTo>
                <a:lnTo>
                  <a:pt x="231877" y="296894"/>
                </a:lnTo>
                <a:lnTo>
                  <a:pt x="230562" y="298609"/>
                </a:lnTo>
                <a:lnTo>
                  <a:pt x="228514" y="300618"/>
                </a:lnTo>
                <a:lnTo>
                  <a:pt x="214456" y="310448"/>
                </a:lnTo>
                <a:lnTo>
                  <a:pt x="211884" y="314553"/>
                </a:lnTo>
                <a:lnTo>
                  <a:pt x="208912" y="320583"/>
                </a:lnTo>
                <a:lnTo>
                  <a:pt x="208683" y="323393"/>
                </a:lnTo>
                <a:lnTo>
                  <a:pt x="209960" y="332346"/>
                </a:lnTo>
                <a:lnTo>
                  <a:pt x="212817" y="337032"/>
                </a:lnTo>
                <a:lnTo>
                  <a:pt x="213179" y="338118"/>
                </a:lnTo>
                <a:lnTo>
                  <a:pt x="211589" y="338128"/>
                </a:lnTo>
                <a:lnTo>
                  <a:pt x="208931" y="337537"/>
                </a:lnTo>
                <a:lnTo>
                  <a:pt x="206731" y="336813"/>
                </a:lnTo>
                <a:lnTo>
                  <a:pt x="204626" y="337213"/>
                </a:lnTo>
                <a:lnTo>
                  <a:pt x="202606" y="338185"/>
                </a:lnTo>
                <a:lnTo>
                  <a:pt x="200835" y="338776"/>
                </a:lnTo>
                <a:lnTo>
                  <a:pt x="199558" y="338937"/>
                </a:lnTo>
                <a:lnTo>
                  <a:pt x="198711" y="339499"/>
                </a:lnTo>
                <a:lnTo>
                  <a:pt x="198301" y="340614"/>
                </a:lnTo>
                <a:lnTo>
                  <a:pt x="198225" y="341395"/>
                </a:lnTo>
                <a:lnTo>
                  <a:pt x="195987" y="341204"/>
                </a:lnTo>
                <a:lnTo>
                  <a:pt x="190815" y="339604"/>
                </a:lnTo>
                <a:lnTo>
                  <a:pt x="186166" y="338499"/>
                </a:lnTo>
                <a:lnTo>
                  <a:pt x="183432" y="339757"/>
                </a:lnTo>
                <a:lnTo>
                  <a:pt x="181680" y="340928"/>
                </a:lnTo>
                <a:lnTo>
                  <a:pt x="180451" y="340747"/>
                </a:lnTo>
                <a:lnTo>
                  <a:pt x="179508" y="339509"/>
                </a:lnTo>
                <a:lnTo>
                  <a:pt x="178879" y="338299"/>
                </a:lnTo>
                <a:lnTo>
                  <a:pt x="177060" y="337185"/>
                </a:lnTo>
                <a:lnTo>
                  <a:pt x="172946" y="335518"/>
                </a:lnTo>
                <a:lnTo>
                  <a:pt x="173155" y="334718"/>
                </a:lnTo>
                <a:lnTo>
                  <a:pt x="173860" y="333594"/>
                </a:lnTo>
                <a:lnTo>
                  <a:pt x="173841" y="332899"/>
                </a:lnTo>
                <a:lnTo>
                  <a:pt x="173050" y="331870"/>
                </a:lnTo>
                <a:lnTo>
                  <a:pt x="169259" y="330765"/>
                </a:lnTo>
                <a:lnTo>
                  <a:pt x="167469" y="330489"/>
                </a:lnTo>
                <a:lnTo>
                  <a:pt x="166335" y="331251"/>
                </a:lnTo>
                <a:lnTo>
                  <a:pt x="165516" y="332184"/>
                </a:lnTo>
                <a:lnTo>
                  <a:pt x="163411" y="328755"/>
                </a:lnTo>
                <a:lnTo>
                  <a:pt x="161906" y="328050"/>
                </a:lnTo>
                <a:lnTo>
                  <a:pt x="159639" y="327936"/>
                </a:lnTo>
                <a:lnTo>
                  <a:pt x="157039" y="326888"/>
                </a:lnTo>
                <a:lnTo>
                  <a:pt x="154334" y="325545"/>
                </a:lnTo>
                <a:lnTo>
                  <a:pt x="147771" y="323402"/>
                </a:lnTo>
                <a:lnTo>
                  <a:pt x="145971" y="323145"/>
                </a:lnTo>
                <a:lnTo>
                  <a:pt x="145247" y="323488"/>
                </a:lnTo>
                <a:lnTo>
                  <a:pt x="144761" y="324774"/>
                </a:lnTo>
                <a:lnTo>
                  <a:pt x="144504" y="328393"/>
                </a:lnTo>
                <a:lnTo>
                  <a:pt x="144228" y="328793"/>
                </a:lnTo>
                <a:lnTo>
                  <a:pt x="141180" y="328917"/>
                </a:lnTo>
                <a:lnTo>
                  <a:pt x="137427" y="328412"/>
                </a:lnTo>
                <a:lnTo>
                  <a:pt x="135703" y="328660"/>
                </a:lnTo>
                <a:lnTo>
                  <a:pt x="134169" y="328669"/>
                </a:lnTo>
                <a:lnTo>
                  <a:pt x="132722" y="327708"/>
                </a:lnTo>
                <a:lnTo>
                  <a:pt x="126235" y="328803"/>
                </a:lnTo>
                <a:lnTo>
                  <a:pt x="125159" y="328270"/>
                </a:lnTo>
                <a:lnTo>
                  <a:pt x="123597" y="326641"/>
                </a:lnTo>
                <a:lnTo>
                  <a:pt x="121844" y="325317"/>
                </a:lnTo>
                <a:lnTo>
                  <a:pt x="120491" y="324640"/>
                </a:lnTo>
                <a:lnTo>
                  <a:pt x="119329" y="323859"/>
                </a:lnTo>
                <a:lnTo>
                  <a:pt x="118281" y="323735"/>
                </a:lnTo>
                <a:lnTo>
                  <a:pt x="116681" y="324488"/>
                </a:lnTo>
                <a:lnTo>
                  <a:pt x="114472" y="324812"/>
                </a:lnTo>
                <a:lnTo>
                  <a:pt x="112643" y="324717"/>
                </a:lnTo>
                <a:lnTo>
                  <a:pt x="111662" y="324821"/>
                </a:lnTo>
                <a:lnTo>
                  <a:pt x="107547" y="320802"/>
                </a:lnTo>
                <a:lnTo>
                  <a:pt x="106947" y="319706"/>
                </a:lnTo>
                <a:lnTo>
                  <a:pt x="104899" y="319402"/>
                </a:lnTo>
                <a:lnTo>
                  <a:pt x="102365" y="319354"/>
                </a:lnTo>
                <a:lnTo>
                  <a:pt x="95907" y="316744"/>
                </a:lnTo>
                <a:lnTo>
                  <a:pt x="92964" y="315344"/>
                </a:lnTo>
                <a:lnTo>
                  <a:pt x="92535" y="314506"/>
                </a:lnTo>
                <a:lnTo>
                  <a:pt x="92573" y="313830"/>
                </a:lnTo>
                <a:lnTo>
                  <a:pt x="92069" y="313982"/>
                </a:lnTo>
                <a:lnTo>
                  <a:pt x="91164" y="315173"/>
                </a:lnTo>
                <a:lnTo>
                  <a:pt x="90687" y="316144"/>
                </a:lnTo>
                <a:lnTo>
                  <a:pt x="90059" y="316325"/>
                </a:lnTo>
                <a:lnTo>
                  <a:pt x="89135" y="316173"/>
                </a:lnTo>
                <a:lnTo>
                  <a:pt x="88278" y="315620"/>
                </a:lnTo>
                <a:lnTo>
                  <a:pt x="87754" y="314915"/>
                </a:lnTo>
                <a:lnTo>
                  <a:pt x="88316" y="313687"/>
                </a:lnTo>
                <a:lnTo>
                  <a:pt x="89306" y="312077"/>
                </a:lnTo>
                <a:lnTo>
                  <a:pt x="89716" y="310324"/>
                </a:lnTo>
                <a:lnTo>
                  <a:pt x="89621" y="308753"/>
                </a:lnTo>
                <a:lnTo>
                  <a:pt x="87992" y="307743"/>
                </a:lnTo>
                <a:lnTo>
                  <a:pt x="85592" y="307324"/>
                </a:lnTo>
                <a:lnTo>
                  <a:pt x="83829" y="307200"/>
                </a:lnTo>
                <a:lnTo>
                  <a:pt x="81544" y="306305"/>
                </a:lnTo>
                <a:lnTo>
                  <a:pt x="80458" y="305657"/>
                </a:lnTo>
                <a:lnTo>
                  <a:pt x="79410" y="303904"/>
                </a:lnTo>
                <a:lnTo>
                  <a:pt x="79372" y="302628"/>
                </a:lnTo>
                <a:lnTo>
                  <a:pt x="83725" y="301504"/>
                </a:lnTo>
                <a:lnTo>
                  <a:pt x="87640" y="296885"/>
                </a:lnTo>
                <a:lnTo>
                  <a:pt x="91354" y="280044"/>
                </a:lnTo>
                <a:lnTo>
                  <a:pt x="94040" y="259956"/>
                </a:lnTo>
                <a:lnTo>
                  <a:pt x="96031" y="256146"/>
                </a:lnTo>
                <a:lnTo>
                  <a:pt x="98546" y="255098"/>
                </a:lnTo>
                <a:lnTo>
                  <a:pt x="96517" y="252317"/>
                </a:lnTo>
                <a:lnTo>
                  <a:pt x="95250" y="253727"/>
                </a:lnTo>
                <a:lnTo>
                  <a:pt x="94717" y="255222"/>
                </a:lnTo>
                <a:lnTo>
                  <a:pt x="94050" y="255975"/>
                </a:lnTo>
                <a:lnTo>
                  <a:pt x="95545" y="237353"/>
                </a:lnTo>
                <a:lnTo>
                  <a:pt x="96612" y="230495"/>
                </a:lnTo>
                <a:lnTo>
                  <a:pt x="98431" y="223295"/>
                </a:lnTo>
                <a:lnTo>
                  <a:pt x="102156" y="226152"/>
                </a:lnTo>
                <a:lnTo>
                  <a:pt x="105242" y="229057"/>
                </a:lnTo>
                <a:lnTo>
                  <a:pt x="106832" y="231572"/>
                </a:lnTo>
                <a:lnTo>
                  <a:pt x="108852" y="239916"/>
                </a:lnTo>
                <a:lnTo>
                  <a:pt x="110385" y="241668"/>
                </a:lnTo>
                <a:lnTo>
                  <a:pt x="112671" y="243421"/>
                </a:lnTo>
                <a:lnTo>
                  <a:pt x="111766" y="241506"/>
                </a:lnTo>
                <a:lnTo>
                  <a:pt x="110195" y="240039"/>
                </a:lnTo>
                <a:lnTo>
                  <a:pt x="107737" y="228905"/>
                </a:lnTo>
                <a:lnTo>
                  <a:pt x="106194" y="225733"/>
                </a:lnTo>
                <a:lnTo>
                  <a:pt x="103794" y="223066"/>
                </a:lnTo>
                <a:lnTo>
                  <a:pt x="96060" y="217436"/>
                </a:lnTo>
                <a:lnTo>
                  <a:pt x="95364" y="216341"/>
                </a:lnTo>
                <a:lnTo>
                  <a:pt x="94983" y="214189"/>
                </a:lnTo>
                <a:lnTo>
                  <a:pt x="97546" y="214284"/>
                </a:lnTo>
                <a:lnTo>
                  <a:pt x="99755" y="215332"/>
                </a:lnTo>
                <a:lnTo>
                  <a:pt x="99498" y="214131"/>
                </a:lnTo>
                <a:lnTo>
                  <a:pt x="98841" y="212874"/>
                </a:lnTo>
                <a:lnTo>
                  <a:pt x="97812" y="208293"/>
                </a:lnTo>
                <a:lnTo>
                  <a:pt x="96955" y="197558"/>
                </a:lnTo>
                <a:lnTo>
                  <a:pt x="97069" y="195719"/>
                </a:lnTo>
                <a:lnTo>
                  <a:pt x="96688" y="193453"/>
                </a:lnTo>
                <a:lnTo>
                  <a:pt x="94212" y="192948"/>
                </a:lnTo>
                <a:lnTo>
                  <a:pt x="92231" y="192862"/>
                </a:lnTo>
                <a:lnTo>
                  <a:pt x="90097" y="191967"/>
                </a:lnTo>
                <a:lnTo>
                  <a:pt x="79562" y="185604"/>
                </a:lnTo>
                <a:lnTo>
                  <a:pt x="75962" y="179013"/>
                </a:lnTo>
                <a:lnTo>
                  <a:pt x="72276" y="174136"/>
                </a:lnTo>
                <a:lnTo>
                  <a:pt x="71390" y="172002"/>
                </a:lnTo>
                <a:lnTo>
                  <a:pt x="71447" y="169840"/>
                </a:lnTo>
                <a:lnTo>
                  <a:pt x="73362" y="165268"/>
                </a:lnTo>
                <a:lnTo>
                  <a:pt x="71676" y="162373"/>
                </a:lnTo>
                <a:lnTo>
                  <a:pt x="70028" y="161801"/>
                </a:lnTo>
                <a:lnTo>
                  <a:pt x="68599" y="160363"/>
                </a:lnTo>
                <a:lnTo>
                  <a:pt x="69895" y="157972"/>
                </a:lnTo>
                <a:lnTo>
                  <a:pt x="70971" y="156438"/>
                </a:lnTo>
                <a:lnTo>
                  <a:pt x="73133" y="156029"/>
                </a:lnTo>
                <a:lnTo>
                  <a:pt x="75962" y="156534"/>
                </a:lnTo>
                <a:lnTo>
                  <a:pt x="78648" y="157924"/>
                </a:lnTo>
                <a:lnTo>
                  <a:pt x="80753" y="158296"/>
                </a:lnTo>
                <a:lnTo>
                  <a:pt x="74533" y="154572"/>
                </a:lnTo>
                <a:lnTo>
                  <a:pt x="64437" y="155829"/>
                </a:lnTo>
                <a:lnTo>
                  <a:pt x="62256" y="155353"/>
                </a:lnTo>
                <a:lnTo>
                  <a:pt x="60427" y="154524"/>
                </a:lnTo>
                <a:lnTo>
                  <a:pt x="59703" y="151781"/>
                </a:lnTo>
                <a:lnTo>
                  <a:pt x="61141" y="150552"/>
                </a:lnTo>
                <a:lnTo>
                  <a:pt x="62436" y="148266"/>
                </a:lnTo>
                <a:lnTo>
                  <a:pt x="60970" y="146666"/>
                </a:lnTo>
                <a:lnTo>
                  <a:pt x="59065" y="146056"/>
                </a:lnTo>
                <a:lnTo>
                  <a:pt x="56074" y="146085"/>
                </a:lnTo>
                <a:lnTo>
                  <a:pt x="53283" y="146570"/>
                </a:lnTo>
                <a:lnTo>
                  <a:pt x="52578" y="145647"/>
                </a:lnTo>
                <a:lnTo>
                  <a:pt x="54283" y="143094"/>
                </a:lnTo>
                <a:lnTo>
                  <a:pt x="52835" y="142161"/>
                </a:lnTo>
                <a:lnTo>
                  <a:pt x="50902" y="142599"/>
                </a:lnTo>
                <a:lnTo>
                  <a:pt x="48101" y="143122"/>
                </a:lnTo>
                <a:lnTo>
                  <a:pt x="45425" y="142322"/>
                </a:lnTo>
                <a:lnTo>
                  <a:pt x="42891" y="139417"/>
                </a:lnTo>
                <a:lnTo>
                  <a:pt x="41215" y="139436"/>
                </a:lnTo>
                <a:lnTo>
                  <a:pt x="40062" y="139798"/>
                </a:lnTo>
                <a:lnTo>
                  <a:pt x="38357" y="138674"/>
                </a:lnTo>
                <a:lnTo>
                  <a:pt x="36557" y="138398"/>
                </a:lnTo>
                <a:lnTo>
                  <a:pt x="35271" y="138769"/>
                </a:lnTo>
                <a:lnTo>
                  <a:pt x="33566" y="137103"/>
                </a:lnTo>
                <a:lnTo>
                  <a:pt x="23051" y="133750"/>
                </a:lnTo>
                <a:lnTo>
                  <a:pt x="18517" y="133340"/>
                </a:lnTo>
                <a:lnTo>
                  <a:pt x="14354" y="134855"/>
                </a:lnTo>
                <a:lnTo>
                  <a:pt x="12059" y="134331"/>
                </a:lnTo>
                <a:lnTo>
                  <a:pt x="10373" y="132159"/>
                </a:lnTo>
                <a:lnTo>
                  <a:pt x="8963" y="128521"/>
                </a:lnTo>
                <a:lnTo>
                  <a:pt x="2257" y="125711"/>
                </a:lnTo>
                <a:lnTo>
                  <a:pt x="3581" y="123863"/>
                </a:lnTo>
                <a:lnTo>
                  <a:pt x="6706" y="123425"/>
                </a:lnTo>
                <a:lnTo>
                  <a:pt x="10296" y="122148"/>
                </a:lnTo>
                <a:lnTo>
                  <a:pt x="11592" y="120500"/>
                </a:lnTo>
                <a:lnTo>
                  <a:pt x="8782" y="118586"/>
                </a:lnTo>
                <a:lnTo>
                  <a:pt x="6706" y="118110"/>
                </a:lnTo>
                <a:lnTo>
                  <a:pt x="5848" y="117424"/>
                </a:lnTo>
                <a:lnTo>
                  <a:pt x="4972" y="115700"/>
                </a:lnTo>
                <a:lnTo>
                  <a:pt x="6210" y="114910"/>
                </a:lnTo>
                <a:lnTo>
                  <a:pt x="7087" y="115328"/>
                </a:lnTo>
                <a:lnTo>
                  <a:pt x="9620" y="115576"/>
                </a:lnTo>
                <a:lnTo>
                  <a:pt x="13945" y="115157"/>
                </a:lnTo>
                <a:lnTo>
                  <a:pt x="12335" y="113414"/>
                </a:lnTo>
                <a:lnTo>
                  <a:pt x="10659" y="113024"/>
                </a:lnTo>
                <a:lnTo>
                  <a:pt x="9887" y="112585"/>
                </a:lnTo>
                <a:lnTo>
                  <a:pt x="6363" y="112395"/>
                </a:lnTo>
                <a:lnTo>
                  <a:pt x="4763" y="112995"/>
                </a:lnTo>
                <a:lnTo>
                  <a:pt x="1162" y="112766"/>
                </a:lnTo>
                <a:lnTo>
                  <a:pt x="381" y="110890"/>
                </a:lnTo>
                <a:lnTo>
                  <a:pt x="0" y="109271"/>
                </a:lnTo>
                <a:lnTo>
                  <a:pt x="1114" y="105670"/>
                </a:lnTo>
                <a:lnTo>
                  <a:pt x="6182" y="102441"/>
                </a:lnTo>
                <a:lnTo>
                  <a:pt x="18812" y="98907"/>
                </a:lnTo>
                <a:lnTo>
                  <a:pt x="24241" y="99422"/>
                </a:lnTo>
                <a:lnTo>
                  <a:pt x="28004" y="98784"/>
                </a:lnTo>
                <a:lnTo>
                  <a:pt x="32518" y="96555"/>
                </a:lnTo>
                <a:lnTo>
                  <a:pt x="34509" y="94640"/>
                </a:lnTo>
                <a:lnTo>
                  <a:pt x="40929" y="93516"/>
                </a:lnTo>
                <a:lnTo>
                  <a:pt x="47025" y="95545"/>
                </a:lnTo>
                <a:lnTo>
                  <a:pt x="52645" y="103203"/>
                </a:lnTo>
                <a:lnTo>
                  <a:pt x="55331" y="105794"/>
                </a:lnTo>
                <a:lnTo>
                  <a:pt x="61913" y="101298"/>
                </a:lnTo>
                <a:lnTo>
                  <a:pt x="71714" y="101432"/>
                </a:lnTo>
                <a:lnTo>
                  <a:pt x="73733" y="103965"/>
                </a:lnTo>
                <a:lnTo>
                  <a:pt x="74552" y="101832"/>
                </a:lnTo>
                <a:lnTo>
                  <a:pt x="76352" y="99326"/>
                </a:lnTo>
                <a:lnTo>
                  <a:pt x="77791" y="100469"/>
                </a:lnTo>
                <a:lnTo>
                  <a:pt x="78524" y="102022"/>
                </a:lnTo>
                <a:lnTo>
                  <a:pt x="88868" y="101584"/>
                </a:lnTo>
                <a:lnTo>
                  <a:pt x="90497" y="101136"/>
                </a:lnTo>
                <a:lnTo>
                  <a:pt x="87716" y="99317"/>
                </a:lnTo>
                <a:lnTo>
                  <a:pt x="85449" y="94955"/>
                </a:lnTo>
                <a:lnTo>
                  <a:pt x="84973" y="78829"/>
                </a:lnTo>
                <a:lnTo>
                  <a:pt x="82105" y="74304"/>
                </a:lnTo>
                <a:lnTo>
                  <a:pt x="78819" y="67056"/>
                </a:lnTo>
                <a:lnTo>
                  <a:pt x="77305" y="62741"/>
                </a:lnTo>
                <a:lnTo>
                  <a:pt x="77162" y="61246"/>
                </a:lnTo>
                <a:lnTo>
                  <a:pt x="77667" y="59083"/>
                </a:lnTo>
                <a:lnTo>
                  <a:pt x="81705" y="59198"/>
                </a:lnTo>
                <a:lnTo>
                  <a:pt x="84830" y="59750"/>
                </a:lnTo>
                <a:lnTo>
                  <a:pt x="90783" y="58121"/>
                </a:lnTo>
                <a:lnTo>
                  <a:pt x="93640" y="59236"/>
                </a:lnTo>
                <a:lnTo>
                  <a:pt x="93469" y="62608"/>
                </a:lnTo>
                <a:lnTo>
                  <a:pt x="94345" y="66856"/>
                </a:lnTo>
                <a:lnTo>
                  <a:pt x="95336" y="68913"/>
                </a:lnTo>
                <a:lnTo>
                  <a:pt x="96850" y="71247"/>
                </a:lnTo>
                <a:lnTo>
                  <a:pt x="101641" y="71037"/>
                </a:lnTo>
                <a:lnTo>
                  <a:pt x="106814" y="72409"/>
                </a:lnTo>
                <a:lnTo>
                  <a:pt x="113357" y="72619"/>
                </a:lnTo>
                <a:lnTo>
                  <a:pt x="122911" y="74981"/>
                </a:lnTo>
                <a:lnTo>
                  <a:pt x="126978" y="73609"/>
                </a:lnTo>
                <a:lnTo>
                  <a:pt x="130921" y="70685"/>
                </a:lnTo>
                <a:lnTo>
                  <a:pt x="138427" y="68761"/>
                </a:lnTo>
                <a:lnTo>
                  <a:pt x="139027" y="67751"/>
                </a:lnTo>
                <a:lnTo>
                  <a:pt x="134703" y="68151"/>
                </a:lnTo>
                <a:lnTo>
                  <a:pt x="130740" y="66294"/>
                </a:lnTo>
                <a:lnTo>
                  <a:pt x="130207" y="64284"/>
                </a:lnTo>
                <a:lnTo>
                  <a:pt x="130664" y="62474"/>
                </a:lnTo>
                <a:lnTo>
                  <a:pt x="132274" y="58302"/>
                </a:lnTo>
                <a:lnTo>
                  <a:pt x="143761" y="51701"/>
                </a:lnTo>
                <a:lnTo>
                  <a:pt x="151990" y="49749"/>
                </a:lnTo>
                <a:lnTo>
                  <a:pt x="160582" y="46101"/>
                </a:lnTo>
                <a:lnTo>
                  <a:pt x="164907" y="42358"/>
                </a:lnTo>
                <a:lnTo>
                  <a:pt x="167764" y="37509"/>
                </a:lnTo>
                <a:lnTo>
                  <a:pt x="168688" y="36443"/>
                </a:lnTo>
                <a:lnTo>
                  <a:pt x="169878" y="35547"/>
                </a:lnTo>
                <a:lnTo>
                  <a:pt x="168773" y="33804"/>
                </a:lnTo>
                <a:lnTo>
                  <a:pt x="169516" y="15135"/>
                </a:lnTo>
                <a:lnTo>
                  <a:pt x="170317" y="11754"/>
                </a:lnTo>
                <a:lnTo>
                  <a:pt x="171993" y="8982"/>
                </a:lnTo>
                <a:lnTo>
                  <a:pt x="174546" y="6839"/>
                </a:lnTo>
                <a:lnTo>
                  <a:pt x="178413" y="4515"/>
                </a:lnTo>
                <a:lnTo>
                  <a:pt x="192672" y="1305"/>
                </a:lnTo>
                <a:lnTo>
                  <a:pt x="194786" y="0"/>
                </a:lnTo>
                <a:lnTo>
                  <a:pt x="195082" y="2019"/>
                </a:lnTo>
                <a:lnTo>
                  <a:pt x="196120" y="4600"/>
                </a:lnTo>
                <a:lnTo>
                  <a:pt x="196834" y="6010"/>
                </a:lnTo>
                <a:lnTo>
                  <a:pt x="196234" y="7848"/>
                </a:lnTo>
                <a:lnTo>
                  <a:pt x="196701" y="9363"/>
                </a:lnTo>
                <a:lnTo>
                  <a:pt x="198634" y="12087"/>
                </a:lnTo>
                <a:lnTo>
                  <a:pt x="201044" y="14649"/>
                </a:lnTo>
                <a:lnTo>
                  <a:pt x="203197" y="16288"/>
                </a:lnTo>
                <a:lnTo>
                  <a:pt x="203854" y="16040"/>
                </a:lnTo>
                <a:close/>
                <a:moveTo>
                  <a:pt x="95841" y="209074"/>
                </a:moveTo>
                <a:lnTo>
                  <a:pt x="94898" y="212426"/>
                </a:lnTo>
                <a:lnTo>
                  <a:pt x="93107" y="209340"/>
                </a:lnTo>
                <a:lnTo>
                  <a:pt x="90745" y="206635"/>
                </a:lnTo>
                <a:lnTo>
                  <a:pt x="90202" y="204130"/>
                </a:lnTo>
                <a:lnTo>
                  <a:pt x="90202" y="203463"/>
                </a:lnTo>
                <a:lnTo>
                  <a:pt x="92974" y="205292"/>
                </a:lnTo>
                <a:lnTo>
                  <a:pt x="95841" y="209074"/>
                </a:lnTo>
                <a:close/>
                <a:moveTo>
                  <a:pt x="380762" y="324564"/>
                </a:moveTo>
                <a:lnTo>
                  <a:pt x="380067" y="329889"/>
                </a:lnTo>
                <a:lnTo>
                  <a:pt x="380572" y="331441"/>
                </a:lnTo>
                <a:lnTo>
                  <a:pt x="381543" y="332527"/>
                </a:lnTo>
                <a:lnTo>
                  <a:pt x="381991" y="333718"/>
                </a:lnTo>
                <a:lnTo>
                  <a:pt x="382800" y="347834"/>
                </a:lnTo>
                <a:lnTo>
                  <a:pt x="382648" y="348958"/>
                </a:lnTo>
                <a:lnTo>
                  <a:pt x="379381" y="354606"/>
                </a:lnTo>
                <a:lnTo>
                  <a:pt x="378648" y="356254"/>
                </a:lnTo>
                <a:lnTo>
                  <a:pt x="378485" y="363226"/>
                </a:lnTo>
                <a:lnTo>
                  <a:pt x="377933" y="365093"/>
                </a:lnTo>
                <a:lnTo>
                  <a:pt x="376771" y="366931"/>
                </a:lnTo>
                <a:lnTo>
                  <a:pt x="374704" y="372875"/>
                </a:lnTo>
                <a:lnTo>
                  <a:pt x="372913" y="375542"/>
                </a:lnTo>
                <a:lnTo>
                  <a:pt x="368017" y="372285"/>
                </a:lnTo>
                <a:lnTo>
                  <a:pt x="365132" y="370875"/>
                </a:lnTo>
                <a:lnTo>
                  <a:pt x="363722" y="369360"/>
                </a:lnTo>
                <a:lnTo>
                  <a:pt x="362798" y="368313"/>
                </a:lnTo>
                <a:lnTo>
                  <a:pt x="363398" y="366913"/>
                </a:lnTo>
                <a:lnTo>
                  <a:pt x="364712" y="365455"/>
                </a:lnTo>
                <a:lnTo>
                  <a:pt x="364922" y="364302"/>
                </a:lnTo>
                <a:lnTo>
                  <a:pt x="361826" y="363007"/>
                </a:lnTo>
                <a:lnTo>
                  <a:pt x="360407" y="362140"/>
                </a:lnTo>
                <a:lnTo>
                  <a:pt x="360426" y="360616"/>
                </a:lnTo>
                <a:lnTo>
                  <a:pt x="361493" y="358245"/>
                </a:lnTo>
                <a:lnTo>
                  <a:pt x="361007" y="356283"/>
                </a:lnTo>
                <a:lnTo>
                  <a:pt x="359216" y="356378"/>
                </a:lnTo>
                <a:lnTo>
                  <a:pt x="357826" y="356082"/>
                </a:lnTo>
                <a:lnTo>
                  <a:pt x="357645" y="355063"/>
                </a:lnTo>
                <a:lnTo>
                  <a:pt x="358664" y="353758"/>
                </a:lnTo>
                <a:lnTo>
                  <a:pt x="359978" y="352054"/>
                </a:lnTo>
                <a:lnTo>
                  <a:pt x="359940" y="350167"/>
                </a:lnTo>
                <a:lnTo>
                  <a:pt x="358350" y="349358"/>
                </a:lnTo>
                <a:lnTo>
                  <a:pt x="356911" y="347824"/>
                </a:lnTo>
                <a:lnTo>
                  <a:pt x="356330" y="345738"/>
                </a:lnTo>
                <a:lnTo>
                  <a:pt x="357445" y="344310"/>
                </a:lnTo>
                <a:lnTo>
                  <a:pt x="359255" y="343395"/>
                </a:lnTo>
                <a:lnTo>
                  <a:pt x="357921" y="341252"/>
                </a:lnTo>
                <a:lnTo>
                  <a:pt x="357026" y="341204"/>
                </a:lnTo>
                <a:lnTo>
                  <a:pt x="356311" y="340738"/>
                </a:lnTo>
                <a:lnTo>
                  <a:pt x="356902" y="339747"/>
                </a:lnTo>
                <a:lnTo>
                  <a:pt x="358302" y="338261"/>
                </a:lnTo>
                <a:lnTo>
                  <a:pt x="360255" y="333813"/>
                </a:lnTo>
                <a:lnTo>
                  <a:pt x="362969" y="331708"/>
                </a:lnTo>
                <a:lnTo>
                  <a:pt x="367789" y="330355"/>
                </a:lnTo>
                <a:lnTo>
                  <a:pt x="369094" y="329755"/>
                </a:lnTo>
                <a:lnTo>
                  <a:pt x="370284" y="328184"/>
                </a:lnTo>
                <a:lnTo>
                  <a:pt x="371608" y="327174"/>
                </a:lnTo>
                <a:lnTo>
                  <a:pt x="373218" y="327307"/>
                </a:lnTo>
                <a:lnTo>
                  <a:pt x="374704" y="327908"/>
                </a:lnTo>
                <a:lnTo>
                  <a:pt x="375618" y="328555"/>
                </a:lnTo>
                <a:lnTo>
                  <a:pt x="376304" y="327879"/>
                </a:lnTo>
                <a:lnTo>
                  <a:pt x="376971" y="325926"/>
                </a:lnTo>
                <a:lnTo>
                  <a:pt x="376561" y="324212"/>
                </a:lnTo>
                <a:lnTo>
                  <a:pt x="376771" y="319497"/>
                </a:lnTo>
                <a:lnTo>
                  <a:pt x="377628" y="316821"/>
                </a:lnTo>
                <a:lnTo>
                  <a:pt x="379019" y="316668"/>
                </a:lnTo>
                <a:lnTo>
                  <a:pt x="380295" y="318144"/>
                </a:lnTo>
                <a:lnTo>
                  <a:pt x="380238" y="319449"/>
                </a:lnTo>
                <a:lnTo>
                  <a:pt x="380714" y="322536"/>
                </a:lnTo>
                <a:lnTo>
                  <a:pt x="380762" y="324564"/>
                </a:lnTo>
                <a:close/>
              </a:path>
            </a:pathLst>
          </a:cu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EEEEED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sp>
        <p:nvSpPr>
          <p:cNvPr id="102" name="Forme libre : forme 21">
            <a:extLst>
              <a:ext uri="{FF2B5EF4-FFF2-40B4-BE49-F238E27FC236}">
                <a16:creationId xmlns:a16="http://schemas.microsoft.com/office/drawing/2014/main" id="{786ADE25-E7BF-2AA4-6900-D045F5965EB6}"/>
              </a:ext>
            </a:extLst>
          </p:cNvPr>
          <p:cNvSpPr/>
          <p:nvPr/>
        </p:nvSpPr>
        <p:spPr>
          <a:xfrm>
            <a:off x="5237526" y="2887836"/>
            <a:ext cx="344935" cy="668006"/>
          </a:xfrm>
          <a:custGeom>
            <a:avLst/>
            <a:gdLst>
              <a:gd name="connsiteX0" fmla="*/ 189271 w 264461"/>
              <a:gd name="connsiteY0" fmla="*/ 484203 h 512159"/>
              <a:gd name="connsiteX1" fmla="*/ 187033 w 264461"/>
              <a:gd name="connsiteY1" fmla="*/ 485651 h 512159"/>
              <a:gd name="connsiteX2" fmla="*/ 186328 w 264461"/>
              <a:gd name="connsiteY2" fmla="*/ 487356 h 512159"/>
              <a:gd name="connsiteX3" fmla="*/ 185785 w 264461"/>
              <a:gd name="connsiteY3" fmla="*/ 488023 h 512159"/>
              <a:gd name="connsiteX4" fmla="*/ 184309 w 264461"/>
              <a:gd name="connsiteY4" fmla="*/ 488461 h 512159"/>
              <a:gd name="connsiteX5" fmla="*/ 182842 w 264461"/>
              <a:gd name="connsiteY5" fmla="*/ 488470 h 512159"/>
              <a:gd name="connsiteX6" fmla="*/ 177260 w 264461"/>
              <a:gd name="connsiteY6" fmla="*/ 485061 h 512159"/>
              <a:gd name="connsiteX7" fmla="*/ 175974 w 264461"/>
              <a:gd name="connsiteY7" fmla="*/ 485213 h 512159"/>
              <a:gd name="connsiteX8" fmla="*/ 177251 w 264461"/>
              <a:gd name="connsiteY8" fmla="*/ 483651 h 512159"/>
              <a:gd name="connsiteX9" fmla="*/ 180718 w 264461"/>
              <a:gd name="connsiteY9" fmla="*/ 482375 h 512159"/>
              <a:gd name="connsiteX10" fmla="*/ 182670 w 264461"/>
              <a:gd name="connsiteY10" fmla="*/ 480689 h 512159"/>
              <a:gd name="connsiteX11" fmla="*/ 187176 w 264461"/>
              <a:gd name="connsiteY11" fmla="*/ 482317 h 512159"/>
              <a:gd name="connsiteX12" fmla="*/ 189271 w 264461"/>
              <a:gd name="connsiteY12" fmla="*/ 484203 h 512159"/>
              <a:gd name="connsiteX13" fmla="*/ 105565 w 264461"/>
              <a:gd name="connsiteY13" fmla="*/ 370189 h 512159"/>
              <a:gd name="connsiteX14" fmla="*/ 106689 w 264461"/>
              <a:gd name="connsiteY14" fmla="*/ 371018 h 512159"/>
              <a:gd name="connsiteX15" fmla="*/ 109509 w 264461"/>
              <a:gd name="connsiteY15" fmla="*/ 370884 h 512159"/>
              <a:gd name="connsiteX16" fmla="*/ 108575 w 264461"/>
              <a:gd name="connsiteY16" fmla="*/ 372732 h 512159"/>
              <a:gd name="connsiteX17" fmla="*/ 105470 w 264461"/>
              <a:gd name="connsiteY17" fmla="*/ 374790 h 512159"/>
              <a:gd name="connsiteX18" fmla="*/ 103384 w 264461"/>
              <a:gd name="connsiteY18" fmla="*/ 376819 h 512159"/>
              <a:gd name="connsiteX19" fmla="*/ 100860 w 264461"/>
              <a:gd name="connsiteY19" fmla="*/ 378514 h 512159"/>
              <a:gd name="connsiteX20" fmla="*/ 99641 w 264461"/>
              <a:gd name="connsiteY20" fmla="*/ 376561 h 512159"/>
              <a:gd name="connsiteX21" fmla="*/ 98222 w 264461"/>
              <a:gd name="connsiteY21" fmla="*/ 376637 h 512159"/>
              <a:gd name="connsiteX22" fmla="*/ 96050 w 264461"/>
              <a:gd name="connsiteY22" fmla="*/ 372885 h 512159"/>
              <a:gd name="connsiteX23" fmla="*/ 95660 w 264461"/>
              <a:gd name="connsiteY23" fmla="*/ 367265 h 512159"/>
              <a:gd name="connsiteX24" fmla="*/ 98498 w 264461"/>
              <a:gd name="connsiteY24" fmla="*/ 365798 h 512159"/>
              <a:gd name="connsiteX25" fmla="*/ 102422 w 264461"/>
              <a:gd name="connsiteY25" fmla="*/ 365884 h 512159"/>
              <a:gd name="connsiteX26" fmla="*/ 105565 w 264461"/>
              <a:gd name="connsiteY26" fmla="*/ 370189 h 512159"/>
              <a:gd name="connsiteX27" fmla="*/ 47339 w 264461"/>
              <a:gd name="connsiteY27" fmla="*/ 282445 h 512159"/>
              <a:gd name="connsiteX28" fmla="*/ 51111 w 264461"/>
              <a:gd name="connsiteY28" fmla="*/ 283616 h 512159"/>
              <a:gd name="connsiteX29" fmla="*/ 53921 w 264461"/>
              <a:gd name="connsiteY29" fmla="*/ 283598 h 512159"/>
              <a:gd name="connsiteX30" fmla="*/ 56416 w 264461"/>
              <a:gd name="connsiteY30" fmla="*/ 286998 h 512159"/>
              <a:gd name="connsiteX31" fmla="*/ 57750 w 264461"/>
              <a:gd name="connsiteY31" fmla="*/ 292351 h 512159"/>
              <a:gd name="connsiteX32" fmla="*/ 60865 w 264461"/>
              <a:gd name="connsiteY32" fmla="*/ 297628 h 512159"/>
              <a:gd name="connsiteX33" fmla="*/ 64941 w 264461"/>
              <a:gd name="connsiteY33" fmla="*/ 302200 h 512159"/>
              <a:gd name="connsiteX34" fmla="*/ 65103 w 264461"/>
              <a:gd name="connsiteY34" fmla="*/ 304990 h 512159"/>
              <a:gd name="connsiteX35" fmla="*/ 63646 w 264461"/>
              <a:gd name="connsiteY35" fmla="*/ 306486 h 512159"/>
              <a:gd name="connsiteX36" fmla="*/ 60607 w 264461"/>
              <a:gd name="connsiteY36" fmla="*/ 308343 h 512159"/>
              <a:gd name="connsiteX37" fmla="*/ 60617 w 264461"/>
              <a:gd name="connsiteY37" fmla="*/ 310334 h 512159"/>
              <a:gd name="connsiteX38" fmla="*/ 62627 w 264461"/>
              <a:gd name="connsiteY38" fmla="*/ 309334 h 512159"/>
              <a:gd name="connsiteX39" fmla="*/ 64360 w 264461"/>
              <a:gd name="connsiteY39" fmla="*/ 308877 h 512159"/>
              <a:gd name="connsiteX40" fmla="*/ 68532 w 264461"/>
              <a:gd name="connsiteY40" fmla="*/ 309315 h 512159"/>
              <a:gd name="connsiteX41" fmla="*/ 69990 w 264461"/>
              <a:gd name="connsiteY41" fmla="*/ 311334 h 512159"/>
              <a:gd name="connsiteX42" fmla="*/ 70999 w 264461"/>
              <a:gd name="connsiteY42" fmla="*/ 314354 h 512159"/>
              <a:gd name="connsiteX43" fmla="*/ 71533 w 264461"/>
              <a:gd name="connsiteY43" fmla="*/ 316830 h 512159"/>
              <a:gd name="connsiteX44" fmla="*/ 71171 w 264461"/>
              <a:gd name="connsiteY44" fmla="*/ 319516 h 512159"/>
              <a:gd name="connsiteX45" fmla="*/ 70047 w 264461"/>
              <a:gd name="connsiteY45" fmla="*/ 318659 h 512159"/>
              <a:gd name="connsiteX46" fmla="*/ 68904 w 264461"/>
              <a:gd name="connsiteY46" fmla="*/ 316259 h 512159"/>
              <a:gd name="connsiteX47" fmla="*/ 67637 w 264461"/>
              <a:gd name="connsiteY47" fmla="*/ 315154 h 512159"/>
              <a:gd name="connsiteX48" fmla="*/ 66161 w 264461"/>
              <a:gd name="connsiteY48" fmla="*/ 314554 h 512159"/>
              <a:gd name="connsiteX49" fmla="*/ 66827 w 264461"/>
              <a:gd name="connsiteY49" fmla="*/ 317859 h 512159"/>
              <a:gd name="connsiteX50" fmla="*/ 66560 w 264461"/>
              <a:gd name="connsiteY50" fmla="*/ 322269 h 512159"/>
              <a:gd name="connsiteX51" fmla="*/ 67199 w 264461"/>
              <a:gd name="connsiteY51" fmla="*/ 322679 h 512159"/>
              <a:gd name="connsiteX52" fmla="*/ 69180 w 264461"/>
              <a:gd name="connsiteY52" fmla="*/ 322755 h 512159"/>
              <a:gd name="connsiteX53" fmla="*/ 67875 w 264461"/>
              <a:gd name="connsiteY53" fmla="*/ 327250 h 512159"/>
              <a:gd name="connsiteX54" fmla="*/ 65160 w 264461"/>
              <a:gd name="connsiteY54" fmla="*/ 328470 h 512159"/>
              <a:gd name="connsiteX55" fmla="*/ 62008 w 264461"/>
              <a:gd name="connsiteY55" fmla="*/ 328927 h 512159"/>
              <a:gd name="connsiteX56" fmla="*/ 61246 w 264461"/>
              <a:gd name="connsiteY56" fmla="*/ 330518 h 512159"/>
              <a:gd name="connsiteX57" fmla="*/ 60674 w 264461"/>
              <a:gd name="connsiteY57" fmla="*/ 332565 h 512159"/>
              <a:gd name="connsiteX58" fmla="*/ 59026 w 264461"/>
              <a:gd name="connsiteY58" fmla="*/ 335614 h 512159"/>
              <a:gd name="connsiteX59" fmla="*/ 56855 w 264461"/>
              <a:gd name="connsiteY59" fmla="*/ 337338 h 512159"/>
              <a:gd name="connsiteX60" fmla="*/ 54168 w 264461"/>
              <a:gd name="connsiteY60" fmla="*/ 336985 h 512159"/>
              <a:gd name="connsiteX61" fmla="*/ 51540 w 264461"/>
              <a:gd name="connsiteY61" fmla="*/ 335623 h 512159"/>
              <a:gd name="connsiteX62" fmla="*/ 49244 w 264461"/>
              <a:gd name="connsiteY62" fmla="*/ 335347 h 512159"/>
              <a:gd name="connsiteX63" fmla="*/ 47644 w 264461"/>
              <a:gd name="connsiteY63" fmla="*/ 336156 h 512159"/>
              <a:gd name="connsiteX64" fmla="*/ 46606 w 264461"/>
              <a:gd name="connsiteY64" fmla="*/ 336909 h 512159"/>
              <a:gd name="connsiteX65" fmla="*/ 45596 w 264461"/>
              <a:gd name="connsiteY65" fmla="*/ 336775 h 512159"/>
              <a:gd name="connsiteX66" fmla="*/ 42710 w 264461"/>
              <a:gd name="connsiteY66" fmla="*/ 337061 h 512159"/>
              <a:gd name="connsiteX67" fmla="*/ 39995 w 264461"/>
              <a:gd name="connsiteY67" fmla="*/ 337004 h 512159"/>
              <a:gd name="connsiteX68" fmla="*/ 39605 w 264461"/>
              <a:gd name="connsiteY68" fmla="*/ 335814 h 512159"/>
              <a:gd name="connsiteX69" fmla="*/ 40072 w 264461"/>
              <a:gd name="connsiteY69" fmla="*/ 332232 h 512159"/>
              <a:gd name="connsiteX70" fmla="*/ 39462 w 264461"/>
              <a:gd name="connsiteY70" fmla="*/ 331261 h 512159"/>
              <a:gd name="connsiteX71" fmla="*/ 36871 w 264461"/>
              <a:gd name="connsiteY71" fmla="*/ 330765 h 512159"/>
              <a:gd name="connsiteX72" fmla="*/ 35909 w 264461"/>
              <a:gd name="connsiteY72" fmla="*/ 329908 h 512159"/>
              <a:gd name="connsiteX73" fmla="*/ 34414 w 264461"/>
              <a:gd name="connsiteY73" fmla="*/ 327431 h 512159"/>
              <a:gd name="connsiteX74" fmla="*/ 34119 w 264461"/>
              <a:gd name="connsiteY74" fmla="*/ 326269 h 512159"/>
              <a:gd name="connsiteX75" fmla="*/ 33909 w 264461"/>
              <a:gd name="connsiteY75" fmla="*/ 324669 h 512159"/>
              <a:gd name="connsiteX76" fmla="*/ 32328 w 264461"/>
              <a:gd name="connsiteY76" fmla="*/ 322602 h 512159"/>
              <a:gd name="connsiteX77" fmla="*/ 30413 w 264461"/>
              <a:gd name="connsiteY77" fmla="*/ 321116 h 512159"/>
              <a:gd name="connsiteX78" fmla="*/ 29289 w 264461"/>
              <a:gd name="connsiteY78" fmla="*/ 321040 h 512159"/>
              <a:gd name="connsiteX79" fmla="*/ 27051 w 264461"/>
              <a:gd name="connsiteY79" fmla="*/ 323460 h 512159"/>
              <a:gd name="connsiteX80" fmla="*/ 25203 w 264461"/>
              <a:gd name="connsiteY80" fmla="*/ 325907 h 512159"/>
              <a:gd name="connsiteX81" fmla="*/ 25851 w 264461"/>
              <a:gd name="connsiteY81" fmla="*/ 327136 h 512159"/>
              <a:gd name="connsiteX82" fmla="*/ 26451 w 264461"/>
              <a:gd name="connsiteY82" fmla="*/ 328746 h 512159"/>
              <a:gd name="connsiteX83" fmla="*/ 25451 w 264461"/>
              <a:gd name="connsiteY83" fmla="*/ 329908 h 512159"/>
              <a:gd name="connsiteX84" fmla="*/ 22412 w 264461"/>
              <a:gd name="connsiteY84" fmla="*/ 332556 h 512159"/>
              <a:gd name="connsiteX85" fmla="*/ 21936 w 264461"/>
              <a:gd name="connsiteY85" fmla="*/ 333585 h 512159"/>
              <a:gd name="connsiteX86" fmla="*/ 21117 w 264461"/>
              <a:gd name="connsiteY86" fmla="*/ 334146 h 512159"/>
              <a:gd name="connsiteX87" fmla="*/ 19669 w 264461"/>
              <a:gd name="connsiteY87" fmla="*/ 333413 h 512159"/>
              <a:gd name="connsiteX88" fmla="*/ 16059 w 264461"/>
              <a:gd name="connsiteY88" fmla="*/ 333585 h 512159"/>
              <a:gd name="connsiteX89" fmla="*/ 14402 w 264461"/>
              <a:gd name="connsiteY89" fmla="*/ 333118 h 512159"/>
              <a:gd name="connsiteX90" fmla="*/ 12468 w 264461"/>
              <a:gd name="connsiteY90" fmla="*/ 331165 h 512159"/>
              <a:gd name="connsiteX91" fmla="*/ 7753 w 264461"/>
              <a:gd name="connsiteY91" fmla="*/ 329860 h 512159"/>
              <a:gd name="connsiteX92" fmla="*/ 6963 w 264461"/>
              <a:gd name="connsiteY92" fmla="*/ 326727 h 512159"/>
              <a:gd name="connsiteX93" fmla="*/ 6058 w 264461"/>
              <a:gd name="connsiteY93" fmla="*/ 326136 h 512159"/>
              <a:gd name="connsiteX94" fmla="*/ 714 w 264461"/>
              <a:gd name="connsiteY94" fmla="*/ 320754 h 512159"/>
              <a:gd name="connsiteX95" fmla="*/ 0 w 264461"/>
              <a:gd name="connsiteY95" fmla="*/ 318954 h 512159"/>
              <a:gd name="connsiteX96" fmla="*/ 695 w 264461"/>
              <a:gd name="connsiteY96" fmla="*/ 317878 h 512159"/>
              <a:gd name="connsiteX97" fmla="*/ 2686 w 264461"/>
              <a:gd name="connsiteY97" fmla="*/ 316249 h 512159"/>
              <a:gd name="connsiteX98" fmla="*/ 9382 w 264461"/>
              <a:gd name="connsiteY98" fmla="*/ 313544 h 512159"/>
              <a:gd name="connsiteX99" fmla="*/ 10439 w 264461"/>
              <a:gd name="connsiteY99" fmla="*/ 312458 h 512159"/>
              <a:gd name="connsiteX100" fmla="*/ 10658 w 264461"/>
              <a:gd name="connsiteY100" fmla="*/ 311496 h 512159"/>
              <a:gd name="connsiteX101" fmla="*/ 8687 w 264461"/>
              <a:gd name="connsiteY101" fmla="*/ 310401 h 512159"/>
              <a:gd name="connsiteX102" fmla="*/ 6915 w 264461"/>
              <a:gd name="connsiteY102" fmla="*/ 309181 h 512159"/>
              <a:gd name="connsiteX103" fmla="*/ 6315 w 264461"/>
              <a:gd name="connsiteY103" fmla="*/ 308391 h 512159"/>
              <a:gd name="connsiteX104" fmla="*/ 6267 w 264461"/>
              <a:gd name="connsiteY104" fmla="*/ 307696 h 512159"/>
              <a:gd name="connsiteX105" fmla="*/ 7277 w 264461"/>
              <a:gd name="connsiteY105" fmla="*/ 306791 h 512159"/>
              <a:gd name="connsiteX106" fmla="*/ 9296 w 264461"/>
              <a:gd name="connsiteY106" fmla="*/ 306724 h 512159"/>
              <a:gd name="connsiteX107" fmla="*/ 10896 w 264461"/>
              <a:gd name="connsiteY107" fmla="*/ 307134 h 512159"/>
              <a:gd name="connsiteX108" fmla="*/ 12163 w 264461"/>
              <a:gd name="connsiteY108" fmla="*/ 306324 h 512159"/>
              <a:gd name="connsiteX109" fmla="*/ 14392 w 264461"/>
              <a:gd name="connsiteY109" fmla="*/ 305505 h 512159"/>
              <a:gd name="connsiteX110" fmla="*/ 15888 w 264461"/>
              <a:gd name="connsiteY110" fmla="*/ 304476 h 512159"/>
              <a:gd name="connsiteX111" fmla="*/ 17173 w 264461"/>
              <a:gd name="connsiteY111" fmla="*/ 301819 h 512159"/>
              <a:gd name="connsiteX112" fmla="*/ 18535 w 264461"/>
              <a:gd name="connsiteY112" fmla="*/ 299428 h 512159"/>
              <a:gd name="connsiteX113" fmla="*/ 18679 w 264461"/>
              <a:gd name="connsiteY113" fmla="*/ 298132 h 512159"/>
              <a:gd name="connsiteX114" fmla="*/ 19869 w 264461"/>
              <a:gd name="connsiteY114" fmla="*/ 293570 h 512159"/>
              <a:gd name="connsiteX115" fmla="*/ 20526 w 264461"/>
              <a:gd name="connsiteY115" fmla="*/ 292437 h 512159"/>
              <a:gd name="connsiteX116" fmla="*/ 24755 w 264461"/>
              <a:gd name="connsiteY116" fmla="*/ 289446 h 512159"/>
              <a:gd name="connsiteX117" fmla="*/ 25822 w 264461"/>
              <a:gd name="connsiteY117" fmla="*/ 291084 h 512159"/>
              <a:gd name="connsiteX118" fmla="*/ 27908 w 264461"/>
              <a:gd name="connsiteY118" fmla="*/ 291484 h 512159"/>
              <a:gd name="connsiteX119" fmla="*/ 29775 w 264461"/>
              <a:gd name="connsiteY119" fmla="*/ 289979 h 512159"/>
              <a:gd name="connsiteX120" fmla="*/ 32013 w 264461"/>
              <a:gd name="connsiteY120" fmla="*/ 285226 h 512159"/>
              <a:gd name="connsiteX121" fmla="*/ 33566 w 264461"/>
              <a:gd name="connsiteY121" fmla="*/ 284931 h 512159"/>
              <a:gd name="connsiteX122" fmla="*/ 35280 w 264461"/>
              <a:gd name="connsiteY122" fmla="*/ 285322 h 512159"/>
              <a:gd name="connsiteX123" fmla="*/ 38652 w 264461"/>
              <a:gd name="connsiteY123" fmla="*/ 284721 h 512159"/>
              <a:gd name="connsiteX124" fmla="*/ 44634 w 264461"/>
              <a:gd name="connsiteY124" fmla="*/ 282502 h 512159"/>
              <a:gd name="connsiteX125" fmla="*/ 47339 w 264461"/>
              <a:gd name="connsiteY125" fmla="*/ 282445 h 512159"/>
              <a:gd name="connsiteX126" fmla="*/ 81277 w 264461"/>
              <a:gd name="connsiteY126" fmla="*/ 272729 h 512159"/>
              <a:gd name="connsiteX127" fmla="*/ 77905 w 264461"/>
              <a:gd name="connsiteY127" fmla="*/ 272767 h 512159"/>
              <a:gd name="connsiteX128" fmla="*/ 76686 w 264461"/>
              <a:gd name="connsiteY128" fmla="*/ 272358 h 512159"/>
              <a:gd name="connsiteX129" fmla="*/ 75228 w 264461"/>
              <a:gd name="connsiteY129" fmla="*/ 271215 h 512159"/>
              <a:gd name="connsiteX130" fmla="*/ 73590 w 264461"/>
              <a:gd name="connsiteY130" fmla="*/ 264738 h 512159"/>
              <a:gd name="connsiteX131" fmla="*/ 74181 w 264461"/>
              <a:gd name="connsiteY131" fmla="*/ 262442 h 512159"/>
              <a:gd name="connsiteX132" fmla="*/ 74847 w 264461"/>
              <a:gd name="connsiteY132" fmla="*/ 261318 h 512159"/>
              <a:gd name="connsiteX133" fmla="*/ 75590 w 264461"/>
              <a:gd name="connsiteY133" fmla="*/ 260442 h 512159"/>
              <a:gd name="connsiteX134" fmla="*/ 77371 w 264461"/>
              <a:gd name="connsiteY134" fmla="*/ 260080 h 512159"/>
              <a:gd name="connsiteX135" fmla="*/ 79143 w 264461"/>
              <a:gd name="connsiteY135" fmla="*/ 261309 h 512159"/>
              <a:gd name="connsiteX136" fmla="*/ 79810 w 264461"/>
              <a:gd name="connsiteY136" fmla="*/ 262452 h 512159"/>
              <a:gd name="connsiteX137" fmla="*/ 81296 w 264461"/>
              <a:gd name="connsiteY137" fmla="*/ 266833 h 512159"/>
              <a:gd name="connsiteX138" fmla="*/ 81572 w 264461"/>
              <a:gd name="connsiteY138" fmla="*/ 270586 h 512159"/>
              <a:gd name="connsiteX139" fmla="*/ 81277 w 264461"/>
              <a:gd name="connsiteY139" fmla="*/ 272729 h 512159"/>
              <a:gd name="connsiteX140" fmla="*/ 53921 w 264461"/>
              <a:gd name="connsiteY140" fmla="*/ 249927 h 512159"/>
              <a:gd name="connsiteX141" fmla="*/ 54883 w 264461"/>
              <a:gd name="connsiteY141" fmla="*/ 256032 h 512159"/>
              <a:gd name="connsiteX142" fmla="*/ 55826 w 264461"/>
              <a:gd name="connsiteY142" fmla="*/ 259804 h 512159"/>
              <a:gd name="connsiteX143" fmla="*/ 55893 w 264461"/>
              <a:gd name="connsiteY143" fmla="*/ 261090 h 512159"/>
              <a:gd name="connsiteX144" fmla="*/ 55007 w 264461"/>
              <a:gd name="connsiteY144" fmla="*/ 262880 h 512159"/>
              <a:gd name="connsiteX145" fmla="*/ 50597 w 264461"/>
              <a:gd name="connsiteY145" fmla="*/ 265262 h 512159"/>
              <a:gd name="connsiteX146" fmla="*/ 49206 w 264461"/>
              <a:gd name="connsiteY146" fmla="*/ 265271 h 512159"/>
              <a:gd name="connsiteX147" fmla="*/ 49149 w 264461"/>
              <a:gd name="connsiteY147" fmla="*/ 264690 h 512159"/>
              <a:gd name="connsiteX148" fmla="*/ 50139 w 264461"/>
              <a:gd name="connsiteY148" fmla="*/ 262271 h 512159"/>
              <a:gd name="connsiteX149" fmla="*/ 49282 w 264461"/>
              <a:gd name="connsiteY149" fmla="*/ 259518 h 512159"/>
              <a:gd name="connsiteX150" fmla="*/ 49701 w 264461"/>
              <a:gd name="connsiteY150" fmla="*/ 257423 h 512159"/>
              <a:gd name="connsiteX151" fmla="*/ 49292 w 264461"/>
              <a:gd name="connsiteY151" fmla="*/ 257042 h 512159"/>
              <a:gd name="connsiteX152" fmla="*/ 48435 w 264461"/>
              <a:gd name="connsiteY152" fmla="*/ 257337 h 512159"/>
              <a:gd name="connsiteX153" fmla="*/ 45272 w 264461"/>
              <a:gd name="connsiteY153" fmla="*/ 260661 h 512159"/>
              <a:gd name="connsiteX154" fmla="*/ 44215 w 264461"/>
              <a:gd name="connsiteY154" fmla="*/ 260985 h 512159"/>
              <a:gd name="connsiteX155" fmla="*/ 44101 w 264461"/>
              <a:gd name="connsiteY155" fmla="*/ 260309 h 512159"/>
              <a:gd name="connsiteX156" fmla="*/ 44882 w 264461"/>
              <a:gd name="connsiteY156" fmla="*/ 257585 h 512159"/>
              <a:gd name="connsiteX157" fmla="*/ 44977 w 264461"/>
              <a:gd name="connsiteY157" fmla="*/ 255718 h 512159"/>
              <a:gd name="connsiteX158" fmla="*/ 45444 w 264461"/>
              <a:gd name="connsiteY158" fmla="*/ 254575 h 512159"/>
              <a:gd name="connsiteX159" fmla="*/ 46301 w 264461"/>
              <a:gd name="connsiteY159" fmla="*/ 253517 h 512159"/>
              <a:gd name="connsiteX160" fmla="*/ 47320 w 264461"/>
              <a:gd name="connsiteY160" fmla="*/ 252727 h 512159"/>
              <a:gd name="connsiteX161" fmla="*/ 48149 w 264461"/>
              <a:gd name="connsiteY161" fmla="*/ 252612 h 512159"/>
              <a:gd name="connsiteX162" fmla="*/ 49025 w 264461"/>
              <a:gd name="connsiteY162" fmla="*/ 253432 h 512159"/>
              <a:gd name="connsiteX163" fmla="*/ 51578 w 264461"/>
              <a:gd name="connsiteY163" fmla="*/ 251146 h 512159"/>
              <a:gd name="connsiteX164" fmla="*/ 53921 w 264461"/>
              <a:gd name="connsiteY164" fmla="*/ 249927 h 512159"/>
              <a:gd name="connsiteX165" fmla="*/ 58169 w 264461"/>
              <a:gd name="connsiteY165" fmla="*/ 255451 h 512159"/>
              <a:gd name="connsiteX166" fmla="*/ 57607 w 264461"/>
              <a:gd name="connsiteY166" fmla="*/ 255956 h 512159"/>
              <a:gd name="connsiteX167" fmla="*/ 56254 w 264461"/>
              <a:gd name="connsiteY167" fmla="*/ 255813 h 512159"/>
              <a:gd name="connsiteX168" fmla="*/ 55750 w 264461"/>
              <a:gd name="connsiteY168" fmla="*/ 255041 h 512159"/>
              <a:gd name="connsiteX169" fmla="*/ 55473 w 264461"/>
              <a:gd name="connsiteY169" fmla="*/ 253860 h 512159"/>
              <a:gd name="connsiteX170" fmla="*/ 55445 w 264461"/>
              <a:gd name="connsiteY170" fmla="*/ 251698 h 512159"/>
              <a:gd name="connsiteX171" fmla="*/ 56264 w 264461"/>
              <a:gd name="connsiteY171" fmla="*/ 250145 h 512159"/>
              <a:gd name="connsiteX172" fmla="*/ 59731 w 264461"/>
              <a:gd name="connsiteY172" fmla="*/ 247802 h 512159"/>
              <a:gd name="connsiteX173" fmla="*/ 58160 w 264461"/>
              <a:gd name="connsiteY173" fmla="*/ 246974 h 512159"/>
              <a:gd name="connsiteX174" fmla="*/ 58102 w 264461"/>
              <a:gd name="connsiteY174" fmla="*/ 246383 h 512159"/>
              <a:gd name="connsiteX175" fmla="*/ 58998 w 264461"/>
              <a:gd name="connsiteY175" fmla="*/ 244431 h 512159"/>
              <a:gd name="connsiteX176" fmla="*/ 62722 w 264461"/>
              <a:gd name="connsiteY176" fmla="*/ 241392 h 512159"/>
              <a:gd name="connsiteX177" fmla="*/ 63722 w 264461"/>
              <a:gd name="connsiteY177" fmla="*/ 240840 h 512159"/>
              <a:gd name="connsiteX178" fmla="*/ 64713 w 264461"/>
              <a:gd name="connsiteY178" fmla="*/ 240925 h 512159"/>
              <a:gd name="connsiteX179" fmla="*/ 62789 w 264461"/>
              <a:gd name="connsiteY179" fmla="*/ 246317 h 512159"/>
              <a:gd name="connsiteX180" fmla="*/ 58169 w 264461"/>
              <a:gd name="connsiteY180" fmla="*/ 255451 h 512159"/>
              <a:gd name="connsiteX181" fmla="*/ 63303 w 264461"/>
              <a:gd name="connsiteY181" fmla="*/ 230124 h 512159"/>
              <a:gd name="connsiteX182" fmla="*/ 52654 w 264461"/>
              <a:gd name="connsiteY182" fmla="*/ 232801 h 512159"/>
              <a:gd name="connsiteX183" fmla="*/ 48987 w 264461"/>
              <a:gd name="connsiteY183" fmla="*/ 232563 h 512159"/>
              <a:gd name="connsiteX184" fmla="*/ 48654 w 264461"/>
              <a:gd name="connsiteY184" fmla="*/ 231248 h 512159"/>
              <a:gd name="connsiteX185" fmla="*/ 49387 w 264461"/>
              <a:gd name="connsiteY185" fmla="*/ 230372 h 512159"/>
              <a:gd name="connsiteX186" fmla="*/ 52426 w 264461"/>
              <a:gd name="connsiteY186" fmla="*/ 229524 h 512159"/>
              <a:gd name="connsiteX187" fmla="*/ 53654 w 264461"/>
              <a:gd name="connsiteY187" fmla="*/ 223076 h 512159"/>
              <a:gd name="connsiteX188" fmla="*/ 49063 w 264461"/>
              <a:gd name="connsiteY188" fmla="*/ 220094 h 512159"/>
              <a:gd name="connsiteX189" fmla="*/ 48825 w 264461"/>
              <a:gd name="connsiteY189" fmla="*/ 219265 h 512159"/>
              <a:gd name="connsiteX190" fmla="*/ 49187 w 264461"/>
              <a:gd name="connsiteY190" fmla="*/ 217846 h 512159"/>
              <a:gd name="connsiteX191" fmla="*/ 49721 w 264461"/>
              <a:gd name="connsiteY191" fmla="*/ 217208 h 512159"/>
              <a:gd name="connsiteX192" fmla="*/ 52502 w 264461"/>
              <a:gd name="connsiteY192" fmla="*/ 215703 h 512159"/>
              <a:gd name="connsiteX193" fmla="*/ 53673 w 264461"/>
              <a:gd name="connsiteY193" fmla="*/ 215370 h 512159"/>
              <a:gd name="connsiteX194" fmla="*/ 54626 w 264461"/>
              <a:gd name="connsiteY194" fmla="*/ 215570 h 512159"/>
              <a:gd name="connsiteX195" fmla="*/ 56588 w 264461"/>
              <a:gd name="connsiteY195" fmla="*/ 217313 h 512159"/>
              <a:gd name="connsiteX196" fmla="*/ 58798 w 264461"/>
              <a:gd name="connsiteY196" fmla="*/ 220961 h 512159"/>
              <a:gd name="connsiteX197" fmla="*/ 61760 w 264461"/>
              <a:gd name="connsiteY197" fmla="*/ 221542 h 512159"/>
              <a:gd name="connsiteX198" fmla="*/ 63770 w 264461"/>
              <a:gd name="connsiteY198" fmla="*/ 223085 h 512159"/>
              <a:gd name="connsiteX199" fmla="*/ 63303 w 264461"/>
              <a:gd name="connsiteY199" fmla="*/ 230124 h 512159"/>
              <a:gd name="connsiteX200" fmla="*/ 41119 w 264461"/>
              <a:gd name="connsiteY200" fmla="*/ 218504 h 512159"/>
              <a:gd name="connsiteX201" fmla="*/ 39605 w 264461"/>
              <a:gd name="connsiteY201" fmla="*/ 218770 h 512159"/>
              <a:gd name="connsiteX202" fmla="*/ 39491 w 264461"/>
              <a:gd name="connsiteY202" fmla="*/ 218084 h 512159"/>
              <a:gd name="connsiteX203" fmla="*/ 42129 w 264461"/>
              <a:gd name="connsiteY203" fmla="*/ 214808 h 512159"/>
              <a:gd name="connsiteX204" fmla="*/ 43834 w 264461"/>
              <a:gd name="connsiteY204" fmla="*/ 214265 h 512159"/>
              <a:gd name="connsiteX205" fmla="*/ 44434 w 264461"/>
              <a:gd name="connsiteY205" fmla="*/ 214589 h 512159"/>
              <a:gd name="connsiteX206" fmla="*/ 43196 w 264461"/>
              <a:gd name="connsiteY206" fmla="*/ 216494 h 512159"/>
              <a:gd name="connsiteX207" fmla="*/ 41119 w 264461"/>
              <a:gd name="connsiteY207" fmla="*/ 218504 h 512159"/>
              <a:gd name="connsiteX208" fmla="*/ 19488 w 264461"/>
              <a:gd name="connsiteY208" fmla="*/ 199977 h 512159"/>
              <a:gd name="connsiteX209" fmla="*/ 17135 w 264461"/>
              <a:gd name="connsiteY209" fmla="*/ 200644 h 512159"/>
              <a:gd name="connsiteX210" fmla="*/ 16268 w 264461"/>
              <a:gd name="connsiteY210" fmla="*/ 200254 h 512159"/>
              <a:gd name="connsiteX211" fmla="*/ 16116 w 264461"/>
              <a:gd name="connsiteY211" fmla="*/ 199635 h 512159"/>
              <a:gd name="connsiteX212" fmla="*/ 16650 w 264461"/>
              <a:gd name="connsiteY212" fmla="*/ 197949 h 512159"/>
              <a:gd name="connsiteX213" fmla="*/ 18450 w 264461"/>
              <a:gd name="connsiteY213" fmla="*/ 197348 h 512159"/>
              <a:gd name="connsiteX214" fmla="*/ 19755 w 264461"/>
              <a:gd name="connsiteY214" fmla="*/ 198263 h 512159"/>
              <a:gd name="connsiteX215" fmla="*/ 19964 w 264461"/>
              <a:gd name="connsiteY215" fmla="*/ 199092 h 512159"/>
              <a:gd name="connsiteX216" fmla="*/ 19488 w 264461"/>
              <a:gd name="connsiteY216" fmla="*/ 199977 h 512159"/>
              <a:gd name="connsiteX217" fmla="*/ 49911 w 264461"/>
              <a:gd name="connsiteY217" fmla="*/ 200015 h 512159"/>
              <a:gd name="connsiteX218" fmla="*/ 49120 w 264461"/>
              <a:gd name="connsiteY218" fmla="*/ 200644 h 512159"/>
              <a:gd name="connsiteX219" fmla="*/ 48120 w 264461"/>
              <a:gd name="connsiteY219" fmla="*/ 200520 h 512159"/>
              <a:gd name="connsiteX220" fmla="*/ 47130 w 264461"/>
              <a:gd name="connsiteY220" fmla="*/ 199711 h 512159"/>
              <a:gd name="connsiteX221" fmla="*/ 45815 w 264461"/>
              <a:gd name="connsiteY221" fmla="*/ 197406 h 512159"/>
              <a:gd name="connsiteX222" fmla="*/ 48768 w 264461"/>
              <a:gd name="connsiteY222" fmla="*/ 195805 h 512159"/>
              <a:gd name="connsiteX223" fmla="*/ 49949 w 264461"/>
              <a:gd name="connsiteY223" fmla="*/ 196748 h 512159"/>
              <a:gd name="connsiteX224" fmla="*/ 50397 w 264461"/>
              <a:gd name="connsiteY224" fmla="*/ 197825 h 512159"/>
              <a:gd name="connsiteX225" fmla="*/ 50416 w 264461"/>
              <a:gd name="connsiteY225" fmla="*/ 199015 h 512159"/>
              <a:gd name="connsiteX226" fmla="*/ 49911 w 264461"/>
              <a:gd name="connsiteY226" fmla="*/ 200015 h 512159"/>
              <a:gd name="connsiteX227" fmla="*/ 23955 w 264461"/>
              <a:gd name="connsiteY227" fmla="*/ 192624 h 512159"/>
              <a:gd name="connsiteX228" fmla="*/ 22822 w 264461"/>
              <a:gd name="connsiteY228" fmla="*/ 192900 h 512159"/>
              <a:gd name="connsiteX229" fmla="*/ 21346 w 264461"/>
              <a:gd name="connsiteY229" fmla="*/ 192634 h 512159"/>
              <a:gd name="connsiteX230" fmla="*/ 20431 w 264461"/>
              <a:gd name="connsiteY230" fmla="*/ 191872 h 512159"/>
              <a:gd name="connsiteX231" fmla="*/ 19507 w 264461"/>
              <a:gd name="connsiteY231" fmla="*/ 188852 h 512159"/>
              <a:gd name="connsiteX232" fmla="*/ 19336 w 264461"/>
              <a:gd name="connsiteY232" fmla="*/ 187023 h 512159"/>
              <a:gd name="connsiteX233" fmla="*/ 19745 w 264461"/>
              <a:gd name="connsiteY233" fmla="*/ 183614 h 512159"/>
              <a:gd name="connsiteX234" fmla="*/ 19650 w 264461"/>
              <a:gd name="connsiteY234" fmla="*/ 179527 h 512159"/>
              <a:gd name="connsiteX235" fmla="*/ 22698 w 264461"/>
              <a:gd name="connsiteY235" fmla="*/ 179403 h 512159"/>
              <a:gd name="connsiteX236" fmla="*/ 23488 w 264461"/>
              <a:gd name="connsiteY236" fmla="*/ 179994 h 512159"/>
              <a:gd name="connsiteX237" fmla="*/ 24012 w 264461"/>
              <a:gd name="connsiteY237" fmla="*/ 192100 h 512159"/>
              <a:gd name="connsiteX238" fmla="*/ 23955 w 264461"/>
              <a:gd name="connsiteY238" fmla="*/ 192624 h 512159"/>
              <a:gd name="connsiteX239" fmla="*/ 53502 w 264461"/>
              <a:gd name="connsiteY239" fmla="*/ 173384 h 512159"/>
              <a:gd name="connsiteX240" fmla="*/ 53464 w 264461"/>
              <a:gd name="connsiteY240" fmla="*/ 175574 h 512159"/>
              <a:gd name="connsiteX241" fmla="*/ 52987 w 264461"/>
              <a:gd name="connsiteY241" fmla="*/ 178156 h 512159"/>
              <a:gd name="connsiteX242" fmla="*/ 53597 w 264461"/>
              <a:gd name="connsiteY242" fmla="*/ 180889 h 512159"/>
              <a:gd name="connsiteX243" fmla="*/ 53740 w 264461"/>
              <a:gd name="connsiteY243" fmla="*/ 182842 h 512159"/>
              <a:gd name="connsiteX244" fmla="*/ 54864 w 264461"/>
              <a:gd name="connsiteY244" fmla="*/ 183461 h 512159"/>
              <a:gd name="connsiteX245" fmla="*/ 55550 w 264461"/>
              <a:gd name="connsiteY245" fmla="*/ 184356 h 512159"/>
              <a:gd name="connsiteX246" fmla="*/ 60560 w 264461"/>
              <a:gd name="connsiteY246" fmla="*/ 185356 h 512159"/>
              <a:gd name="connsiteX247" fmla="*/ 65218 w 264461"/>
              <a:gd name="connsiteY247" fmla="*/ 185071 h 512159"/>
              <a:gd name="connsiteX248" fmla="*/ 66113 w 264461"/>
              <a:gd name="connsiteY248" fmla="*/ 185871 h 512159"/>
              <a:gd name="connsiteX249" fmla="*/ 66218 w 264461"/>
              <a:gd name="connsiteY249" fmla="*/ 187147 h 512159"/>
              <a:gd name="connsiteX250" fmla="*/ 65484 w 264461"/>
              <a:gd name="connsiteY250" fmla="*/ 188548 h 512159"/>
              <a:gd name="connsiteX251" fmla="*/ 62827 w 264461"/>
              <a:gd name="connsiteY251" fmla="*/ 191100 h 512159"/>
              <a:gd name="connsiteX252" fmla="*/ 59664 w 264461"/>
              <a:gd name="connsiteY252" fmla="*/ 195224 h 512159"/>
              <a:gd name="connsiteX253" fmla="*/ 58721 w 264461"/>
              <a:gd name="connsiteY253" fmla="*/ 196082 h 512159"/>
              <a:gd name="connsiteX254" fmla="*/ 57702 w 264461"/>
              <a:gd name="connsiteY254" fmla="*/ 196120 h 512159"/>
              <a:gd name="connsiteX255" fmla="*/ 56969 w 264461"/>
              <a:gd name="connsiteY255" fmla="*/ 195748 h 512159"/>
              <a:gd name="connsiteX256" fmla="*/ 56445 w 264461"/>
              <a:gd name="connsiteY256" fmla="*/ 188414 h 512159"/>
              <a:gd name="connsiteX257" fmla="*/ 53016 w 264461"/>
              <a:gd name="connsiteY257" fmla="*/ 189357 h 512159"/>
              <a:gd name="connsiteX258" fmla="*/ 50254 w 264461"/>
              <a:gd name="connsiteY258" fmla="*/ 189252 h 512159"/>
              <a:gd name="connsiteX259" fmla="*/ 48739 w 264461"/>
              <a:gd name="connsiteY259" fmla="*/ 188357 h 512159"/>
              <a:gd name="connsiteX260" fmla="*/ 47682 w 264461"/>
              <a:gd name="connsiteY260" fmla="*/ 186633 h 512159"/>
              <a:gd name="connsiteX261" fmla="*/ 45539 w 264461"/>
              <a:gd name="connsiteY261" fmla="*/ 182194 h 512159"/>
              <a:gd name="connsiteX262" fmla="*/ 39310 w 264461"/>
              <a:gd name="connsiteY262" fmla="*/ 180442 h 512159"/>
              <a:gd name="connsiteX263" fmla="*/ 37547 w 264461"/>
              <a:gd name="connsiteY263" fmla="*/ 177984 h 512159"/>
              <a:gd name="connsiteX264" fmla="*/ 37014 w 264461"/>
              <a:gd name="connsiteY264" fmla="*/ 176498 h 512159"/>
              <a:gd name="connsiteX265" fmla="*/ 37233 w 264461"/>
              <a:gd name="connsiteY265" fmla="*/ 175679 h 512159"/>
              <a:gd name="connsiteX266" fmla="*/ 38528 w 264461"/>
              <a:gd name="connsiteY266" fmla="*/ 173850 h 512159"/>
              <a:gd name="connsiteX267" fmla="*/ 40148 w 264461"/>
              <a:gd name="connsiteY267" fmla="*/ 174498 h 512159"/>
              <a:gd name="connsiteX268" fmla="*/ 41148 w 264461"/>
              <a:gd name="connsiteY268" fmla="*/ 174098 h 512159"/>
              <a:gd name="connsiteX269" fmla="*/ 41757 w 264461"/>
              <a:gd name="connsiteY269" fmla="*/ 173279 h 512159"/>
              <a:gd name="connsiteX270" fmla="*/ 41748 w 264461"/>
              <a:gd name="connsiteY270" fmla="*/ 172603 h 512159"/>
              <a:gd name="connsiteX271" fmla="*/ 40900 w 264461"/>
              <a:gd name="connsiteY271" fmla="*/ 171012 h 512159"/>
              <a:gd name="connsiteX272" fmla="*/ 40862 w 264461"/>
              <a:gd name="connsiteY272" fmla="*/ 170517 h 512159"/>
              <a:gd name="connsiteX273" fmla="*/ 47234 w 264461"/>
              <a:gd name="connsiteY273" fmla="*/ 168497 h 512159"/>
              <a:gd name="connsiteX274" fmla="*/ 47796 w 264461"/>
              <a:gd name="connsiteY274" fmla="*/ 165335 h 512159"/>
              <a:gd name="connsiteX275" fmla="*/ 49178 w 264461"/>
              <a:gd name="connsiteY275" fmla="*/ 165078 h 512159"/>
              <a:gd name="connsiteX276" fmla="*/ 50759 w 264461"/>
              <a:gd name="connsiteY276" fmla="*/ 166116 h 512159"/>
              <a:gd name="connsiteX277" fmla="*/ 52921 w 264461"/>
              <a:gd name="connsiteY277" fmla="*/ 169402 h 512159"/>
              <a:gd name="connsiteX278" fmla="*/ 53502 w 264461"/>
              <a:gd name="connsiteY278" fmla="*/ 173384 h 512159"/>
              <a:gd name="connsiteX279" fmla="*/ 25136 w 264461"/>
              <a:gd name="connsiteY279" fmla="*/ 164525 h 512159"/>
              <a:gd name="connsiteX280" fmla="*/ 28156 w 264461"/>
              <a:gd name="connsiteY280" fmla="*/ 167326 h 512159"/>
              <a:gd name="connsiteX281" fmla="*/ 25755 w 264461"/>
              <a:gd name="connsiteY281" fmla="*/ 171974 h 512159"/>
              <a:gd name="connsiteX282" fmla="*/ 22069 w 264461"/>
              <a:gd name="connsiteY282" fmla="*/ 171955 h 512159"/>
              <a:gd name="connsiteX283" fmla="*/ 16878 w 264461"/>
              <a:gd name="connsiteY283" fmla="*/ 168564 h 512159"/>
              <a:gd name="connsiteX284" fmla="*/ 16859 w 264461"/>
              <a:gd name="connsiteY284" fmla="*/ 167869 h 512159"/>
              <a:gd name="connsiteX285" fmla="*/ 17288 w 264461"/>
              <a:gd name="connsiteY285" fmla="*/ 166849 h 512159"/>
              <a:gd name="connsiteX286" fmla="*/ 18069 w 264461"/>
              <a:gd name="connsiteY286" fmla="*/ 166040 h 512159"/>
              <a:gd name="connsiteX287" fmla="*/ 18878 w 264461"/>
              <a:gd name="connsiteY287" fmla="*/ 165849 h 512159"/>
              <a:gd name="connsiteX288" fmla="*/ 20164 w 264461"/>
              <a:gd name="connsiteY288" fmla="*/ 166402 h 512159"/>
              <a:gd name="connsiteX289" fmla="*/ 21955 w 264461"/>
              <a:gd name="connsiteY289" fmla="*/ 165506 h 512159"/>
              <a:gd name="connsiteX290" fmla="*/ 23384 w 264461"/>
              <a:gd name="connsiteY290" fmla="*/ 165792 h 512159"/>
              <a:gd name="connsiteX291" fmla="*/ 25136 w 264461"/>
              <a:gd name="connsiteY291" fmla="*/ 164525 h 512159"/>
              <a:gd name="connsiteX292" fmla="*/ 52054 w 264461"/>
              <a:gd name="connsiteY292" fmla="*/ 130245 h 512159"/>
              <a:gd name="connsiteX293" fmla="*/ 48654 w 264461"/>
              <a:gd name="connsiteY293" fmla="*/ 139094 h 512159"/>
              <a:gd name="connsiteX294" fmla="*/ 47320 w 264461"/>
              <a:gd name="connsiteY294" fmla="*/ 139313 h 512159"/>
              <a:gd name="connsiteX295" fmla="*/ 46149 w 264461"/>
              <a:gd name="connsiteY295" fmla="*/ 141522 h 512159"/>
              <a:gd name="connsiteX296" fmla="*/ 42529 w 264461"/>
              <a:gd name="connsiteY296" fmla="*/ 143951 h 512159"/>
              <a:gd name="connsiteX297" fmla="*/ 45691 w 264461"/>
              <a:gd name="connsiteY297" fmla="*/ 143999 h 512159"/>
              <a:gd name="connsiteX298" fmla="*/ 46577 w 264461"/>
              <a:gd name="connsiteY298" fmla="*/ 144809 h 512159"/>
              <a:gd name="connsiteX299" fmla="*/ 46596 w 264461"/>
              <a:gd name="connsiteY299" fmla="*/ 146552 h 512159"/>
              <a:gd name="connsiteX300" fmla="*/ 45996 w 264461"/>
              <a:gd name="connsiteY300" fmla="*/ 147561 h 512159"/>
              <a:gd name="connsiteX301" fmla="*/ 41910 w 264461"/>
              <a:gd name="connsiteY301" fmla="*/ 151581 h 512159"/>
              <a:gd name="connsiteX302" fmla="*/ 39100 w 264461"/>
              <a:gd name="connsiteY302" fmla="*/ 153105 h 512159"/>
              <a:gd name="connsiteX303" fmla="*/ 36071 w 264461"/>
              <a:gd name="connsiteY303" fmla="*/ 157296 h 512159"/>
              <a:gd name="connsiteX304" fmla="*/ 34537 w 264461"/>
              <a:gd name="connsiteY304" fmla="*/ 157344 h 512159"/>
              <a:gd name="connsiteX305" fmla="*/ 33023 w 264461"/>
              <a:gd name="connsiteY305" fmla="*/ 160001 h 512159"/>
              <a:gd name="connsiteX306" fmla="*/ 31785 w 264461"/>
              <a:gd name="connsiteY306" fmla="*/ 161172 h 512159"/>
              <a:gd name="connsiteX307" fmla="*/ 31080 w 264461"/>
              <a:gd name="connsiteY307" fmla="*/ 161172 h 512159"/>
              <a:gd name="connsiteX308" fmla="*/ 30280 w 264461"/>
              <a:gd name="connsiteY308" fmla="*/ 160582 h 512159"/>
              <a:gd name="connsiteX309" fmla="*/ 28403 w 264461"/>
              <a:gd name="connsiteY309" fmla="*/ 157982 h 512159"/>
              <a:gd name="connsiteX310" fmla="*/ 31813 w 264461"/>
              <a:gd name="connsiteY310" fmla="*/ 155420 h 512159"/>
              <a:gd name="connsiteX311" fmla="*/ 32128 w 264461"/>
              <a:gd name="connsiteY311" fmla="*/ 153981 h 512159"/>
              <a:gd name="connsiteX312" fmla="*/ 34461 w 264461"/>
              <a:gd name="connsiteY312" fmla="*/ 152476 h 512159"/>
              <a:gd name="connsiteX313" fmla="*/ 34261 w 264461"/>
              <a:gd name="connsiteY313" fmla="*/ 152010 h 512159"/>
              <a:gd name="connsiteX314" fmla="*/ 30556 w 264461"/>
              <a:gd name="connsiteY314" fmla="*/ 149895 h 512159"/>
              <a:gd name="connsiteX315" fmla="*/ 29099 w 264461"/>
              <a:gd name="connsiteY315" fmla="*/ 148476 h 512159"/>
              <a:gd name="connsiteX316" fmla="*/ 29232 w 264461"/>
              <a:gd name="connsiteY316" fmla="*/ 147733 h 512159"/>
              <a:gd name="connsiteX317" fmla="*/ 31013 w 264461"/>
              <a:gd name="connsiteY317" fmla="*/ 146095 h 512159"/>
              <a:gd name="connsiteX318" fmla="*/ 30175 w 264461"/>
              <a:gd name="connsiteY318" fmla="*/ 145885 h 512159"/>
              <a:gd name="connsiteX319" fmla="*/ 29604 w 264461"/>
              <a:gd name="connsiteY319" fmla="*/ 144999 h 512159"/>
              <a:gd name="connsiteX320" fmla="*/ 28575 w 264461"/>
              <a:gd name="connsiteY320" fmla="*/ 144656 h 512159"/>
              <a:gd name="connsiteX321" fmla="*/ 28260 w 264461"/>
              <a:gd name="connsiteY321" fmla="*/ 143837 h 512159"/>
              <a:gd name="connsiteX322" fmla="*/ 28070 w 264461"/>
              <a:gd name="connsiteY322" fmla="*/ 141665 h 512159"/>
              <a:gd name="connsiteX323" fmla="*/ 28346 w 264461"/>
              <a:gd name="connsiteY323" fmla="*/ 139446 h 512159"/>
              <a:gd name="connsiteX324" fmla="*/ 29423 w 264461"/>
              <a:gd name="connsiteY324" fmla="*/ 138465 h 512159"/>
              <a:gd name="connsiteX325" fmla="*/ 29861 w 264461"/>
              <a:gd name="connsiteY325" fmla="*/ 137417 h 512159"/>
              <a:gd name="connsiteX326" fmla="*/ 30299 w 264461"/>
              <a:gd name="connsiteY326" fmla="*/ 137093 h 512159"/>
              <a:gd name="connsiteX327" fmla="*/ 31966 w 264461"/>
              <a:gd name="connsiteY327" fmla="*/ 137655 h 512159"/>
              <a:gd name="connsiteX328" fmla="*/ 33661 w 264461"/>
              <a:gd name="connsiteY328" fmla="*/ 139437 h 512159"/>
              <a:gd name="connsiteX329" fmla="*/ 35642 w 264461"/>
              <a:gd name="connsiteY329" fmla="*/ 138751 h 512159"/>
              <a:gd name="connsiteX330" fmla="*/ 37938 w 264461"/>
              <a:gd name="connsiteY330" fmla="*/ 139084 h 512159"/>
              <a:gd name="connsiteX331" fmla="*/ 37985 w 264461"/>
              <a:gd name="connsiteY331" fmla="*/ 138674 h 512159"/>
              <a:gd name="connsiteX332" fmla="*/ 36300 w 264461"/>
              <a:gd name="connsiteY332" fmla="*/ 134303 h 512159"/>
              <a:gd name="connsiteX333" fmla="*/ 36604 w 264461"/>
              <a:gd name="connsiteY333" fmla="*/ 133407 h 512159"/>
              <a:gd name="connsiteX334" fmla="*/ 37519 w 264461"/>
              <a:gd name="connsiteY334" fmla="*/ 132388 h 512159"/>
              <a:gd name="connsiteX335" fmla="*/ 42815 w 264461"/>
              <a:gd name="connsiteY335" fmla="*/ 129254 h 512159"/>
              <a:gd name="connsiteX336" fmla="*/ 49416 w 264461"/>
              <a:gd name="connsiteY336" fmla="*/ 123977 h 512159"/>
              <a:gd name="connsiteX337" fmla="*/ 51016 w 264461"/>
              <a:gd name="connsiteY337" fmla="*/ 123149 h 512159"/>
              <a:gd name="connsiteX338" fmla="*/ 51502 w 264461"/>
              <a:gd name="connsiteY338" fmla="*/ 123873 h 512159"/>
              <a:gd name="connsiteX339" fmla="*/ 52168 w 264461"/>
              <a:gd name="connsiteY339" fmla="*/ 126606 h 512159"/>
              <a:gd name="connsiteX340" fmla="*/ 52054 w 264461"/>
              <a:gd name="connsiteY340" fmla="*/ 130245 h 512159"/>
              <a:gd name="connsiteX341" fmla="*/ 134626 w 264461"/>
              <a:gd name="connsiteY341" fmla="*/ 122482 h 512159"/>
              <a:gd name="connsiteX342" fmla="*/ 134855 w 264461"/>
              <a:gd name="connsiteY342" fmla="*/ 126654 h 512159"/>
              <a:gd name="connsiteX343" fmla="*/ 134541 w 264461"/>
              <a:gd name="connsiteY343" fmla="*/ 127921 h 512159"/>
              <a:gd name="connsiteX344" fmla="*/ 133902 w 264461"/>
              <a:gd name="connsiteY344" fmla="*/ 129483 h 512159"/>
              <a:gd name="connsiteX345" fmla="*/ 131883 w 264461"/>
              <a:gd name="connsiteY345" fmla="*/ 132388 h 512159"/>
              <a:gd name="connsiteX346" fmla="*/ 126568 w 264461"/>
              <a:gd name="connsiteY346" fmla="*/ 136531 h 512159"/>
              <a:gd name="connsiteX347" fmla="*/ 116843 w 264461"/>
              <a:gd name="connsiteY347" fmla="*/ 146018 h 512159"/>
              <a:gd name="connsiteX348" fmla="*/ 111090 w 264461"/>
              <a:gd name="connsiteY348" fmla="*/ 150704 h 512159"/>
              <a:gd name="connsiteX349" fmla="*/ 110299 w 264461"/>
              <a:gd name="connsiteY349" fmla="*/ 152953 h 512159"/>
              <a:gd name="connsiteX350" fmla="*/ 109871 w 264461"/>
              <a:gd name="connsiteY350" fmla="*/ 156077 h 512159"/>
              <a:gd name="connsiteX351" fmla="*/ 113309 w 264461"/>
              <a:gd name="connsiteY351" fmla="*/ 156696 h 512159"/>
              <a:gd name="connsiteX352" fmla="*/ 114643 w 264461"/>
              <a:gd name="connsiteY352" fmla="*/ 157753 h 512159"/>
              <a:gd name="connsiteX353" fmla="*/ 113824 w 264461"/>
              <a:gd name="connsiteY353" fmla="*/ 159334 h 512159"/>
              <a:gd name="connsiteX354" fmla="*/ 108728 w 264461"/>
              <a:gd name="connsiteY354" fmla="*/ 164830 h 512159"/>
              <a:gd name="connsiteX355" fmla="*/ 107232 w 264461"/>
              <a:gd name="connsiteY355" fmla="*/ 169783 h 512159"/>
              <a:gd name="connsiteX356" fmla="*/ 111138 w 264461"/>
              <a:gd name="connsiteY356" fmla="*/ 169602 h 512159"/>
              <a:gd name="connsiteX357" fmla="*/ 114357 w 264461"/>
              <a:gd name="connsiteY357" fmla="*/ 168650 h 512159"/>
              <a:gd name="connsiteX358" fmla="*/ 120767 w 264461"/>
              <a:gd name="connsiteY358" fmla="*/ 165563 h 512159"/>
              <a:gd name="connsiteX359" fmla="*/ 126797 w 264461"/>
              <a:gd name="connsiteY359" fmla="*/ 163268 h 512159"/>
              <a:gd name="connsiteX360" fmla="*/ 129692 w 264461"/>
              <a:gd name="connsiteY360" fmla="*/ 163173 h 512159"/>
              <a:gd name="connsiteX361" fmla="*/ 135322 w 264461"/>
              <a:gd name="connsiteY361" fmla="*/ 165002 h 512159"/>
              <a:gd name="connsiteX362" fmla="*/ 136598 w 264461"/>
              <a:gd name="connsiteY362" fmla="*/ 165059 h 512159"/>
              <a:gd name="connsiteX363" fmla="*/ 138989 w 264461"/>
              <a:gd name="connsiteY363" fmla="*/ 164211 h 512159"/>
              <a:gd name="connsiteX364" fmla="*/ 141408 w 264461"/>
              <a:gd name="connsiteY364" fmla="*/ 164059 h 512159"/>
              <a:gd name="connsiteX365" fmla="*/ 157772 w 264461"/>
              <a:gd name="connsiteY365" fmla="*/ 164630 h 512159"/>
              <a:gd name="connsiteX366" fmla="*/ 162325 w 264461"/>
              <a:gd name="connsiteY366" fmla="*/ 163554 h 512159"/>
              <a:gd name="connsiteX367" fmla="*/ 165335 w 264461"/>
              <a:gd name="connsiteY367" fmla="*/ 164840 h 512159"/>
              <a:gd name="connsiteX368" fmla="*/ 167849 w 264461"/>
              <a:gd name="connsiteY368" fmla="*/ 168040 h 512159"/>
              <a:gd name="connsiteX369" fmla="*/ 170240 w 264461"/>
              <a:gd name="connsiteY369" fmla="*/ 173936 h 512159"/>
              <a:gd name="connsiteX370" fmla="*/ 170164 w 264461"/>
              <a:gd name="connsiteY370" fmla="*/ 174917 h 512159"/>
              <a:gd name="connsiteX371" fmla="*/ 168716 w 264461"/>
              <a:gd name="connsiteY371" fmla="*/ 177594 h 512159"/>
              <a:gd name="connsiteX372" fmla="*/ 166049 w 264461"/>
              <a:gd name="connsiteY372" fmla="*/ 180947 h 512159"/>
              <a:gd name="connsiteX373" fmla="*/ 163754 w 264461"/>
              <a:gd name="connsiteY373" fmla="*/ 185556 h 512159"/>
              <a:gd name="connsiteX374" fmla="*/ 163087 w 264461"/>
              <a:gd name="connsiteY374" fmla="*/ 188033 h 512159"/>
              <a:gd name="connsiteX375" fmla="*/ 162639 w 264461"/>
              <a:gd name="connsiteY375" fmla="*/ 190748 h 512159"/>
              <a:gd name="connsiteX376" fmla="*/ 161915 w 264461"/>
              <a:gd name="connsiteY376" fmla="*/ 193253 h 512159"/>
              <a:gd name="connsiteX377" fmla="*/ 157353 w 264461"/>
              <a:gd name="connsiteY377" fmla="*/ 204969 h 512159"/>
              <a:gd name="connsiteX378" fmla="*/ 152905 w 264461"/>
              <a:gd name="connsiteY378" fmla="*/ 211426 h 512159"/>
              <a:gd name="connsiteX379" fmla="*/ 150924 w 264461"/>
              <a:gd name="connsiteY379" fmla="*/ 215998 h 512159"/>
              <a:gd name="connsiteX380" fmla="*/ 148476 w 264461"/>
              <a:gd name="connsiteY380" fmla="*/ 219628 h 512159"/>
              <a:gd name="connsiteX381" fmla="*/ 146113 w 264461"/>
              <a:gd name="connsiteY381" fmla="*/ 221913 h 512159"/>
              <a:gd name="connsiteX382" fmla="*/ 143599 w 264461"/>
              <a:gd name="connsiteY382" fmla="*/ 223438 h 512159"/>
              <a:gd name="connsiteX383" fmla="*/ 136322 w 264461"/>
              <a:gd name="connsiteY383" fmla="*/ 225057 h 512159"/>
              <a:gd name="connsiteX384" fmla="*/ 134283 w 264461"/>
              <a:gd name="connsiteY384" fmla="*/ 226219 h 512159"/>
              <a:gd name="connsiteX385" fmla="*/ 131854 w 264461"/>
              <a:gd name="connsiteY385" fmla="*/ 228210 h 512159"/>
              <a:gd name="connsiteX386" fmla="*/ 129302 w 264461"/>
              <a:gd name="connsiteY386" fmla="*/ 229200 h 512159"/>
              <a:gd name="connsiteX387" fmla="*/ 132293 w 264461"/>
              <a:gd name="connsiteY387" fmla="*/ 229076 h 512159"/>
              <a:gd name="connsiteX388" fmla="*/ 135255 w 264461"/>
              <a:gd name="connsiteY388" fmla="*/ 227971 h 512159"/>
              <a:gd name="connsiteX389" fmla="*/ 140656 w 264461"/>
              <a:gd name="connsiteY389" fmla="*/ 227571 h 512159"/>
              <a:gd name="connsiteX390" fmla="*/ 146866 w 264461"/>
              <a:gd name="connsiteY390" fmla="*/ 231381 h 512159"/>
              <a:gd name="connsiteX391" fmla="*/ 146285 w 264461"/>
              <a:gd name="connsiteY391" fmla="*/ 234496 h 512159"/>
              <a:gd name="connsiteX392" fmla="*/ 143789 w 264461"/>
              <a:gd name="connsiteY392" fmla="*/ 236954 h 512159"/>
              <a:gd name="connsiteX393" fmla="*/ 138113 w 264461"/>
              <a:gd name="connsiteY393" fmla="*/ 237344 h 512159"/>
              <a:gd name="connsiteX394" fmla="*/ 132807 w 264461"/>
              <a:gd name="connsiteY394" fmla="*/ 242802 h 512159"/>
              <a:gd name="connsiteX395" fmla="*/ 130416 w 264461"/>
              <a:gd name="connsiteY395" fmla="*/ 244478 h 512159"/>
              <a:gd name="connsiteX396" fmla="*/ 127883 w 264461"/>
              <a:gd name="connsiteY396" fmla="*/ 245307 h 512159"/>
              <a:gd name="connsiteX397" fmla="*/ 124720 w 264461"/>
              <a:gd name="connsiteY397" fmla="*/ 245059 h 512159"/>
              <a:gd name="connsiteX398" fmla="*/ 118977 w 264461"/>
              <a:gd name="connsiteY398" fmla="*/ 243602 h 512159"/>
              <a:gd name="connsiteX399" fmla="*/ 116462 w 264461"/>
              <a:gd name="connsiteY399" fmla="*/ 242078 h 512159"/>
              <a:gd name="connsiteX400" fmla="*/ 118729 w 264461"/>
              <a:gd name="connsiteY400" fmla="*/ 244564 h 512159"/>
              <a:gd name="connsiteX401" fmla="*/ 121310 w 264461"/>
              <a:gd name="connsiteY401" fmla="*/ 245859 h 512159"/>
              <a:gd name="connsiteX402" fmla="*/ 136255 w 264461"/>
              <a:gd name="connsiteY402" fmla="*/ 248917 h 512159"/>
              <a:gd name="connsiteX403" fmla="*/ 137160 w 264461"/>
              <a:gd name="connsiteY403" fmla="*/ 248593 h 512159"/>
              <a:gd name="connsiteX404" fmla="*/ 141922 w 264461"/>
              <a:gd name="connsiteY404" fmla="*/ 245374 h 512159"/>
              <a:gd name="connsiteX405" fmla="*/ 148276 w 264461"/>
              <a:gd name="connsiteY405" fmla="*/ 245326 h 512159"/>
              <a:gd name="connsiteX406" fmla="*/ 160363 w 264461"/>
              <a:gd name="connsiteY406" fmla="*/ 251250 h 512159"/>
              <a:gd name="connsiteX407" fmla="*/ 163839 w 264461"/>
              <a:gd name="connsiteY407" fmla="*/ 255775 h 512159"/>
              <a:gd name="connsiteX408" fmla="*/ 168830 w 264461"/>
              <a:gd name="connsiteY408" fmla="*/ 262223 h 512159"/>
              <a:gd name="connsiteX409" fmla="*/ 171545 w 264461"/>
              <a:gd name="connsiteY409" fmla="*/ 264738 h 512159"/>
              <a:gd name="connsiteX410" fmla="*/ 173507 w 264461"/>
              <a:gd name="connsiteY410" fmla="*/ 267014 h 512159"/>
              <a:gd name="connsiteX411" fmla="*/ 174717 w 264461"/>
              <a:gd name="connsiteY411" fmla="*/ 270415 h 512159"/>
              <a:gd name="connsiteX412" fmla="*/ 177060 w 264461"/>
              <a:gd name="connsiteY412" fmla="*/ 281616 h 512159"/>
              <a:gd name="connsiteX413" fmla="*/ 179737 w 264461"/>
              <a:gd name="connsiteY413" fmla="*/ 292494 h 512159"/>
              <a:gd name="connsiteX414" fmla="*/ 183232 w 264461"/>
              <a:gd name="connsiteY414" fmla="*/ 304209 h 512159"/>
              <a:gd name="connsiteX415" fmla="*/ 184823 w 264461"/>
              <a:gd name="connsiteY415" fmla="*/ 307448 h 512159"/>
              <a:gd name="connsiteX416" fmla="*/ 186909 w 264461"/>
              <a:gd name="connsiteY416" fmla="*/ 309715 h 512159"/>
              <a:gd name="connsiteX417" fmla="*/ 197463 w 264461"/>
              <a:gd name="connsiteY417" fmla="*/ 314916 h 512159"/>
              <a:gd name="connsiteX418" fmla="*/ 199815 w 264461"/>
              <a:gd name="connsiteY418" fmla="*/ 316640 h 512159"/>
              <a:gd name="connsiteX419" fmla="*/ 203911 w 264461"/>
              <a:gd name="connsiteY419" fmla="*/ 321631 h 512159"/>
              <a:gd name="connsiteX420" fmla="*/ 207864 w 264461"/>
              <a:gd name="connsiteY420" fmla="*/ 326936 h 512159"/>
              <a:gd name="connsiteX421" fmla="*/ 211541 w 264461"/>
              <a:gd name="connsiteY421" fmla="*/ 331003 h 512159"/>
              <a:gd name="connsiteX422" fmla="*/ 215512 w 264461"/>
              <a:gd name="connsiteY422" fmla="*/ 334289 h 512159"/>
              <a:gd name="connsiteX423" fmla="*/ 213588 w 264461"/>
              <a:gd name="connsiteY423" fmla="*/ 335994 h 512159"/>
              <a:gd name="connsiteX424" fmla="*/ 212274 w 264461"/>
              <a:gd name="connsiteY424" fmla="*/ 338671 h 512159"/>
              <a:gd name="connsiteX425" fmla="*/ 213265 w 264461"/>
              <a:gd name="connsiteY425" fmla="*/ 342300 h 512159"/>
              <a:gd name="connsiteX426" fmla="*/ 214874 w 264461"/>
              <a:gd name="connsiteY426" fmla="*/ 345757 h 512159"/>
              <a:gd name="connsiteX427" fmla="*/ 218046 w 264461"/>
              <a:gd name="connsiteY427" fmla="*/ 351282 h 512159"/>
              <a:gd name="connsiteX428" fmla="*/ 220846 w 264461"/>
              <a:gd name="connsiteY428" fmla="*/ 357292 h 512159"/>
              <a:gd name="connsiteX429" fmla="*/ 219818 w 264461"/>
              <a:gd name="connsiteY429" fmla="*/ 356388 h 512159"/>
              <a:gd name="connsiteX430" fmla="*/ 218732 w 264461"/>
              <a:gd name="connsiteY430" fmla="*/ 355892 h 512159"/>
              <a:gd name="connsiteX431" fmla="*/ 217246 w 264461"/>
              <a:gd name="connsiteY431" fmla="*/ 356045 h 512159"/>
              <a:gd name="connsiteX432" fmla="*/ 215798 w 264461"/>
              <a:gd name="connsiteY432" fmla="*/ 355759 h 512159"/>
              <a:gd name="connsiteX433" fmla="*/ 213122 w 264461"/>
              <a:gd name="connsiteY433" fmla="*/ 353873 h 512159"/>
              <a:gd name="connsiteX434" fmla="*/ 210550 w 264461"/>
              <a:gd name="connsiteY434" fmla="*/ 351558 h 512159"/>
              <a:gd name="connsiteX435" fmla="*/ 205435 w 264461"/>
              <a:gd name="connsiteY435" fmla="*/ 352492 h 512159"/>
              <a:gd name="connsiteX436" fmla="*/ 202597 w 264461"/>
              <a:gd name="connsiteY436" fmla="*/ 352073 h 512159"/>
              <a:gd name="connsiteX437" fmla="*/ 200130 w 264461"/>
              <a:gd name="connsiteY437" fmla="*/ 352139 h 512159"/>
              <a:gd name="connsiteX438" fmla="*/ 204806 w 264461"/>
              <a:gd name="connsiteY438" fmla="*/ 353473 h 512159"/>
              <a:gd name="connsiteX439" fmla="*/ 209921 w 264461"/>
              <a:gd name="connsiteY439" fmla="*/ 353568 h 512159"/>
              <a:gd name="connsiteX440" fmla="*/ 221199 w 264461"/>
              <a:gd name="connsiteY440" fmla="*/ 363636 h 512159"/>
              <a:gd name="connsiteX441" fmla="*/ 225009 w 264461"/>
              <a:gd name="connsiteY441" fmla="*/ 369579 h 512159"/>
              <a:gd name="connsiteX442" fmla="*/ 227276 w 264461"/>
              <a:gd name="connsiteY442" fmla="*/ 377400 h 512159"/>
              <a:gd name="connsiteX443" fmla="*/ 225733 w 264461"/>
              <a:gd name="connsiteY443" fmla="*/ 380905 h 512159"/>
              <a:gd name="connsiteX444" fmla="*/ 223333 w 264461"/>
              <a:gd name="connsiteY444" fmla="*/ 383172 h 512159"/>
              <a:gd name="connsiteX445" fmla="*/ 221094 w 264461"/>
              <a:gd name="connsiteY445" fmla="*/ 385753 h 512159"/>
              <a:gd name="connsiteX446" fmla="*/ 218989 w 264461"/>
              <a:gd name="connsiteY446" fmla="*/ 388677 h 512159"/>
              <a:gd name="connsiteX447" fmla="*/ 225247 w 264461"/>
              <a:gd name="connsiteY447" fmla="*/ 392954 h 512159"/>
              <a:gd name="connsiteX448" fmla="*/ 226600 w 264461"/>
              <a:gd name="connsiteY448" fmla="*/ 392830 h 512159"/>
              <a:gd name="connsiteX449" fmla="*/ 227981 w 264461"/>
              <a:gd name="connsiteY449" fmla="*/ 392230 h 512159"/>
              <a:gd name="connsiteX450" fmla="*/ 229314 w 264461"/>
              <a:gd name="connsiteY450" fmla="*/ 390773 h 512159"/>
              <a:gd name="connsiteX451" fmla="*/ 231553 w 264461"/>
              <a:gd name="connsiteY451" fmla="*/ 387220 h 512159"/>
              <a:gd name="connsiteX452" fmla="*/ 232705 w 264461"/>
              <a:gd name="connsiteY452" fmla="*/ 385963 h 512159"/>
              <a:gd name="connsiteX453" fmla="*/ 236601 w 264461"/>
              <a:gd name="connsiteY453" fmla="*/ 385505 h 512159"/>
              <a:gd name="connsiteX454" fmla="*/ 239868 w 264461"/>
              <a:gd name="connsiteY454" fmla="*/ 385782 h 512159"/>
              <a:gd name="connsiteX455" fmla="*/ 243116 w 264461"/>
              <a:gd name="connsiteY455" fmla="*/ 386572 h 512159"/>
              <a:gd name="connsiteX456" fmla="*/ 245983 w 264461"/>
              <a:gd name="connsiteY456" fmla="*/ 386324 h 512159"/>
              <a:gd name="connsiteX457" fmla="*/ 251746 w 264461"/>
              <a:gd name="connsiteY457" fmla="*/ 387848 h 512159"/>
              <a:gd name="connsiteX458" fmla="*/ 254708 w 264461"/>
              <a:gd name="connsiteY458" fmla="*/ 389220 h 512159"/>
              <a:gd name="connsiteX459" fmla="*/ 262052 w 264461"/>
              <a:gd name="connsiteY459" fmla="*/ 395383 h 512159"/>
              <a:gd name="connsiteX460" fmla="*/ 263642 w 264461"/>
              <a:gd name="connsiteY460" fmla="*/ 398755 h 512159"/>
              <a:gd name="connsiteX461" fmla="*/ 264376 w 264461"/>
              <a:gd name="connsiteY461" fmla="*/ 403098 h 512159"/>
              <a:gd name="connsiteX462" fmla="*/ 264461 w 264461"/>
              <a:gd name="connsiteY462" fmla="*/ 407899 h 512159"/>
              <a:gd name="connsiteX463" fmla="*/ 263223 w 264461"/>
              <a:gd name="connsiteY463" fmla="*/ 412270 h 512159"/>
              <a:gd name="connsiteX464" fmla="*/ 261804 w 264461"/>
              <a:gd name="connsiteY464" fmla="*/ 416214 h 512159"/>
              <a:gd name="connsiteX465" fmla="*/ 260928 w 264461"/>
              <a:gd name="connsiteY465" fmla="*/ 421291 h 512159"/>
              <a:gd name="connsiteX466" fmla="*/ 260309 w 264461"/>
              <a:gd name="connsiteY466" fmla="*/ 423120 h 512159"/>
              <a:gd name="connsiteX467" fmla="*/ 259442 w 264461"/>
              <a:gd name="connsiteY467" fmla="*/ 424548 h 512159"/>
              <a:gd name="connsiteX468" fmla="*/ 255556 w 264461"/>
              <a:gd name="connsiteY468" fmla="*/ 428539 h 512159"/>
              <a:gd name="connsiteX469" fmla="*/ 252974 w 264461"/>
              <a:gd name="connsiteY469" fmla="*/ 430178 h 512159"/>
              <a:gd name="connsiteX470" fmla="*/ 251888 w 264461"/>
              <a:gd name="connsiteY470" fmla="*/ 429463 h 512159"/>
              <a:gd name="connsiteX471" fmla="*/ 250717 w 264461"/>
              <a:gd name="connsiteY471" fmla="*/ 429558 h 512159"/>
              <a:gd name="connsiteX472" fmla="*/ 250593 w 264461"/>
              <a:gd name="connsiteY472" fmla="*/ 430521 h 512159"/>
              <a:gd name="connsiteX473" fmla="*/ 251822 w 264461"/>
              <a:gd name="connsiteY473" fmla="*/ 432549 h 512159"/>
              <a:gd name="connsiteX474" fmla="*/ 251831 w 264461"/>
              <a:gd name="connsiteY474" fmla="*/ 434997 h 512159"/>
              <a:gd name="connsiteX475" fmla="*/ 249536 w 264461"/>
              <a:gd name="connsiteY475" fmla="*/ 436807 h 512159"/>
              <a:gd name="connsiteX476" fmla="*/ 247202 w 264461"/>
              <a:gd name="connsiteY476" fmla="*/ 437579 h 512159"/>
              <a:gd name="connsiteX477" fmla="*/ 243297 w 264461"/>
              <a:gd name="connsiteY477" fmla="*/ 436616 h 512159"/>
              <a:gd name="connsiteX478" fmla="*/ 237877 w 264461"/>
              <a:gd name="connsiteY478" fmla="*/ 439988 h 512159"/>
              <a:gd name="connsiteX479" fmla="*/ 241773 w 264461"/>
              <a:gd name="connsiteY479" fmla="*/ 441722 h 512159"/>
              <a:gd name="connsiteX480" fmla="*/ 242563 w 264461"/>
              <a:gd name="connsiteY480" fmla="*/ 443560 h 512159"/>
              <a:gd name="connsiteX481" fmla="*/ 241592 w 264461"/>
              <a:gd name="connsiteY481" fmla="*/ 446789 h 512159"/>
              <a:gd name="connsiteX482" fmla="*/ 239144 w 264461"/>
              <a:gd name="connsiteY482" fmla="*/ 448228 h 512159"/>
              <a:gd name="connsiteX483" fmla="*/ 236420 w 264461"/>
              <a:gd name="connsiteY483" fmla="*/ 448866 h 512159"/>
              <a:gd name="connsiteX484" fmla="*/ 233639 w 264461"/>
              <a:gd name="connsiteY484" fmla="*/ 449018 h 512159"/>
              <a:gd name="connsiteX485" fmla="*/ 231334 w 264461"/>
              <a:gd name="connsiteY485" fmla="*/ 449809 h 512159"/>
              <a:gd name="connsiteX486" fmla="*/ 229124 w 264461"/>
              <a:gd name="connsiteY486" fmla="*/ 451333 h 512159"/>
              <a:gd name="connsiteX487" fmla="*/ 231895 w 264461"/>
              <a:gd name="connsiteY487" fmla="*/ 450532 h 512159"/>
              <a:gd name="connsiteX488" fmla="*/ 233819 w 264461"/>
              <a:gd name="connsiteY488" fmla="*/ 451237 h 512159"/>
              <a:gd name="connsiteX489" fmla="*/ 235029 w 264461"/>
              <a:gd name="connsiteY489" fmla="*/ 453942 h 512159"/>
              <a:gd name="connsiteX490" fmla="*/ 236125 w 264461"/>
              <a:gd name="connsiteY490" fmla="*/ 454723 h 512159"/>
              <a:gd name="connsiteX491" fmla="*/ 241554 w 264461"/>
              <a:gd name="connsiteY491" fmla="*/ 455876 h 512159"/>
              <a:gd name="connsiteX492" fmla="*/ 244907 w 264461"/>
              <a:gd name="connsiteY492" fmla="*/ 455867 h 512159"/>
              <a:gd name="connsiteX493" fmla="*/ 251384 w 264461"/>
              <a:gd name="connsiteY493" fmla="*/ 455209 h 512159"/>
              <a:gd name="connsiteX494" fmla="*/ 254498 w 264461"/>
              <a:gd name="connsiteY494" fmla="*/ 455219 h 512159"/>
              <a:gd name="connsiteX495" fmla="*/ 255603 w 264461"/>
              <a:gd name="connsiteY495" fmla="*/ 455714 h 512159"/>
              <a:gd name="connsiteX496" fmla="*/ 255622 w 264461"/>
              <a:gd name="connsiteY496" fmla="*/ 457953 h 512159"/>
              <a:gd name="connsiteX497" fmla="*/ 255146 w 264461"/>
              <a:gd name="connsiteY497" fmla="*/ 463439 h 512159"/>
              <a:gd name="connsiteX498" fmla="*/ 254289 w 264461"/>
              <a:gd name="connsiteY498" fmla="*/ 464573 h 512159"/>
              <a:gd name="connsiteX499" fmla="*/ 245707 w 264461"/>
              <a:gd name="connsiteY499" fmla="*/ 469164 h 512159"/>
              <a:gd name="connsiteX500" fmla="*/ 243945 w 264461"/>
              <a:gd name="connsiteY500" fmla="*/ 472364 h 512159"/>
              <a:gd name="connsiteX501" fmla="*/ 243459 w 264461"/>
              <a:gd name="connsiteY501" fmla="*/ 474298 h 512159"/>
              <a:gd name="connsiteX502" fmla="*/ 238439 w 264461"/>
              <a:gd name="connsiteY502" fmla="*/ 473955 h 512159"/>
              <a:gd name="connsiteX503" fmla="*/ 236086 w 264461"/>
              <a:gd name="connsiteY503" fmla="*/ 476002 h 512159"/>
              <a:gd name="connsiteX504" fmla="*/ 232019 w 264461"/>
              <a:gd name="connsiteY504" fmla="*/ 477364 h 512159"/>
              <a:gd name="connsiteX505" fmla="*/ 228876 w 264461"/>
              <a:gd name="connsiteY505" fmla="*/ 478803 h 512159"/>
              <a:gd name="connsiteX506" fmla="*/ 225800 w 264461"/>
              <a:gd name="connsiteY506" fmla="*/ 480622 h 512159"/>
              <a:gd name="connsiteX507" fmla="*/ 223266 w 264461"/>
              <a:gd name="connsiteY507" fmla="*/ 481165 h 512159"/>
              <a:gd name="connsiteX508" fmla="*/ 212341 w 264461"/>
              <a:gd name="connsiteY508" fmla="*/ 479003 h 512159"/>
              <a:gd name="connsiteX509" fmla="*/ 205740 w 264461"/>
              <a:gd name="connsiteY509" fmla="*/ 479184 h 512159"/>
              <a:gd name="connsiteX510" fmla="*/ 196796 w 264461"/>
              <a:gd name="connsiteY510" fmla="*/ 481070 h 512159"/>
              <a:gd name="connsiteX511" fmla="*/ 194491 w 264461"/>
              <a:gd name="connsiteY511" fmla="*/ 480755 h 512159"/>
              <a:gd name="connsiteX512" fmla="*/ 191043 w 264461"/>
              <a:gd name="connsiteY512" fmla="*/ 478955 h 512159"/>
              <a:gd name="connsiteX513" fmla="*/ 187500 w 264461"/>
              <a:gd name="connsiteY513" fmla="*/ 477736 h 512159"/>
              <a:gd name="connsiteX514" fmla="*/ 183432 w 264461"/>
              <a:gd name="connsiteY514" fmla="*/ 477203 h 512159"/>
              <a:gd name="connsiteX515" fmla="*/ 179918 w 264461"/>
              <a:gd name="connsiteY515" fmla="*/ 475526 h 512159"/>
              <a:gd name="connsiteX516" fmla="*/ 182108 w 264461"/>
              <a:gd name="connsiteY516" fmla="*/ 478736 h 512159"/>
              <a:gd name="connsiteX517" fmla="*/ 177241 w 264461"/>
              <a:gd name="connsiteY517" fmla="*/ 481832 h 512159"/>
              <a:gd name="connsiteX518" fmla="*/ 174993 w 264461"/>
              <a:gd name="connsiteY518" fmla="*/ 482441 h 512159"/>
              <a:gd name="connsiteX519" fmla="*/ 172660 w 264461"/>
              <a:gd name="connsiteY519" fmla="*/ 482346 h 512159"/>
              <a:gd name="connsiteX520" fmla="*/ 167897 w 264461"/>
              <a:gd name="connsiteY520" fmla="*/ 483184 h 512159"/>
              <a:gd name="connsiteX521" fmla="*/ 163468 w 264461"/>
              <a:gd name="connsiteY521" fmla="*/ 482727 h 512159"/>
              <a:gd name="connsiteX522" fmla="*/ 164135 w 264461"/>
              <a:gd name="connsiteY522" fmla="*/ 484918 h 512159"/>
              <a:gd name="connsiteX523" fmla="*/ 165316 w 264461"/>
              <a:gd name="connsiteY523" fmla="*/ 486832 h 512159"/>
              <a:gd name="connsiteX524" fmla="*/ 164354 w 264461"/>
              <a:gd name="connsiteY524" fmla="*/ 487661 h 512159"/>
              <a:gd name="connsiteX525" fmla="*/ 163344 w 264461"/>
              <a:gd name="connsiteY525" fmla="*/ 487871 h 512159"/>
              <a:gd name="connsiteX526" fmla="*/ 154943 w 264461"/>
              <a:gd name="connsiteY526" fmla="*/ 486432 h 512159"/>
              <a:gd name="connsiteX527" fmla="*/ 153753 w 264461"/>
              <a:gd name="connsiteY527" fmla="*/ 486699 h 512159"/>
              <a:gd name="connsiteX528" fmla="*/ 152714 w 264461"/>
              <a:gd name="connsiteY528" fmla="*/ 488032 h 512159"/>
              <a:gd name="connsiteX529" fmla="*/ 149657 w 264461"/>
              <a:gd name="connsiteY529" fmla="*/ 487318 h 512159"/>
              <a:gd name="connsiteX530" fmla="*/ 146685 w 264461"/>
              <a:gd name="connsiteY530" fmla="*/ 485080 h 512159"/>
              <a:gd name="connsiteX531" fmla="*/ 143532 w 264461"/>
              <a:gd name="connsiteY531" fmla="*/ 483565 h 512159"/>
              <a:gd name="connsiteX532" fmla="*/ 140217 w 264461"/>
              <a:gd name="connsiteY532" fmla="*/ 482851 h 512159"/>
              <a:gd name="connsiteX533" fmla="*/ 137588 w 264461"/>
              <a:gd name="connsiteY533" fmla="*/ 483098 h 512159"/>
              <a:gd name="connsiteX534" fmla="*/ 126759 w 264461"/>
              <a:gd name="connsiteY534" fmla="*/ 486642 h 512159"/>
              <a:gd name="connsiteX535" fmla="*/ 124596 w 264461"/>
              <a:gd name="connsiteY535" fmla="*/ 490185 h 512159"/>
              <a:gd name="connsiteX536" fmla="*/ 123510 w 264461"/>
              <a:gd name="connsiteY536" fmla="*/ 495205 h 512159"/>
              <a:gd name="connsiteX537" fmla="*/ 121948 w 264461"/>
              <a:gd name="connsiteY537" fmla="*/ 499653 h 512159"/>
              <a:gd name="connsiteX538" fmla="*/ 119396 w 264461"/>
              <a:gd name="connsiteY538" fmla="*/ 503073 h 512159"/>
              <a:gd name="connsiteX539" fmla="*/ 116357 w 264461"/>
              <a:gd name="connsiteY539" fmla="*/ 503520 h 512159"/>
              <a:gd name="connsiteX540" fmla="*/ 113500 w 264461"/>
              <a:gd name="connsiteY540" fmla="*/ 501148 h 512159"/>
              <a:gd name="connsiteX541" fmla="*/ 108070 w 264461"/>
              <a:gd name="connsiteY541" fmla="*/ 498538 h 512159"/>
              <a:gd name="connsiteX542" fmla="*/ 106223 w 264461"/>
              <a:gd name="connsiteY542" fmla="*/ 496767 h 512159"/>
              <a:gd name="connsiteX543" fmla="*/ 105632 w 264461"/>
              <a:gd name="connsiteY543" fmla="*/ 496662 h 512159"/>
              <a:gd name="connsiteX544" fmla="*/ 105023 w 264461"/>
              <a:gd name="connsiteY544" fmla="*/ 497291 h 512159"/>
              <a:gd name="connsiteX545" fmla="*/ 102889 w 264461"/>
              <a:gd name="connsiteY545" fmla="*/ 498091 h 512159"/>
              <a:gd name="connsiteX546" fmla="*/ 100689 w 264461"/>
              <a:gd name="connsiteY546" fmla="*/ 498129 h 512159"/>
              <a:gd name="connsiteX547" fmla="*/ 97288 w 264461"/>
              <a:gd name="connsiteY547" fmla="*/ 498834 h 512159"/>
              <a:gd name="connsiteX548" fmla="*/ 91373 w 264461"/>
              <a:gd name="connsiteY548" fmla="*/ 500958 h 512159"/>
              <a:gd name="connsiteX549" fmla="*/ 88982 w 264461"/>
              <a:gd name="connsiteY549" fmla="*/ 502396 h 512159"/>
              <a:gd name="connsiteX550" fmla="*/ 83848 w 264461"/>
              <a:gd name="connsiteY550" fmla="*/ 506368 h 512159"/>
              <a:gd name="connsiteX551" fmla="*/ 82801 w 264461"/>
              <a:gd name="connsiteY551" fmla="*/ 507464 h 512159"/>
              <a:gd name="connsiteX552" fmla="*/ 80934 w 264461"/>
              <a:gd name="connsiteY552" fmla="*/ 511455 h 512159"/>
              <a:gd name="connsiteX553" fmla="*/ 78086 w 264461"/>
              <a:gd name="connsiteY553" fmla="*/ 512159 h 512159"/>
              <a:gd name="connsiteX554" fmla="*/ 75476 w 264461"/>
              <a:gd name="connsiteY554" fmla="*/ 509607 h 512159"/>
              <a:gd name="connsiteX555" fmla="*/ 72504 w 264461"/>
              <a:gd name="connsiteY555" fmla="*/ 508711 h 512159"/>
              <a:gd name="connsiteX556" fmla="*/ 69370 w 264461"/>
              <a:gd name="connsiteY556" fmla="*/ 509578 h 512159"/>
              <a:gd name="connsiteX557" fmla="*/ 67475 w 264461"/>
              <a:gd name="connsiteY557" fmla="*/ 510940 h 512159"/>
              <a:gd name="connsiteX558" fmla="*/ 66589 w 264461"/>
              <a:gd name="connsiteY558" fmla="*/ 509835 h 512159"/>
              <a:gd name="connsiteX559" fmla="*/ 66560 w 264461"/>
              <a:gd name="connsiteY559" fmla="*/ 507568 h 512159"/>
              <a:gd name="connsiteX560" fmla="*/ 68847 w 264461"/>
              <a:gd name="connsiteY560" fmla="*/ 504863 h 512159"/>
              <a:gd name="connsiteX561" fmla="*/ 74952 w 264461"/>
              <a:gd name="connsiteY561" fmla="*/ 502815 h 512159"/>
              <a:gd name="connsiteX562" fmla="*/ 80315 w 264461"/>
              <a:gd name="connsiteY562" fmla="*/ 497491 h 512159"/>
              <a:gd name="connsiteX563" fmla="*/ 82943 w 264461"/>
              <a:gd name="connsiteY563" fmla="*/ 494243 h 512159"/>
              <a:gd name="connsiteX564" fmla="*/ 83991 w 264461"/>
              <a:gd name="connsiteY564" fmla="*/ 492405 h 512159"/>
              <a:gd name="connsiteX565" fmla="*/ 85277 w 264461"/>
              <a:gd name="connsiteY565" fmla="*/ 491233 h 512159"/>
              <a:gd name="connsiteX566" fmla="*/ 86954 w 264461"/>
              <a:gd name="connsiteY566" fmla="*/ 490795 h 512159"/>
              <a:gd name="connsiteX567" fmla="*/ 87821 w 264461"/>
              <a:gd name="connsiteY567" fmla="*/ 488766 h 512159"/>
              <a:gd name="connsiteX568" fmla="*/ 95259 w 264461"/>
              <a:gd name="connsiteY568" fmla="*/ 480593 h 512159"/>
              <a:gd name="connsiteX569" fmla="*/ 95869 w 264461"/>
              <a:gd name="connsiteY569" fmla="*/ 478717 h 512159"/>
              <a:gd name="connsiteX570" fmla="*/ 96240 w 264461"/>
              <a:gd name="connsiteY570" fmla="*/ 475345 h 512159"/>
              <a:gd name="connsiteX571" fmla="*/ 96850 w 264461"/>
              <a:gd name="connsiteY571" fmla="*/ 472097 h 512159"/>
              <a:gd name="connsiteX572" fmla="*/ 102908 w 264461"/>
              <a:gd name="connsiteY572" fmla="*/ 469992 h 512159"/>
              <a:gd name="connsiteX573" fmla="*/ 105804 w 264461"/>
              <a:gd name="connsiteY573" fmla="*/ 463144 h 512159"/>
              <a:gd name="connsiteX574" fmla="*/ 106604 w 264461"/>
              <a:gd name="connsiteY574" fmla="*/ 462601 h 512159"/>
              <a:gd name="connsiteX575" fmla="*/ 115052 w 264461"/>
              <a:gd name="connsiteY575" fmla="*/ 461343 h 512159"/>
              <a:gd name="connsiteX576" fmla="*/ 121320 w 264461"/>
              <a:gd name="connsiteY576" fmla="*/ 461448 h 512159"/>
              <a:gd name="connsiteX577" fmla="*/ 127549 w 264461"/>
              <a:gd name="connsiteY577" fmla="*/ 462791 h 512159"/>
              <a:gd name="connsiteX578" fmla="*/ 130740 w 264461"/>
              <a:gd name="connsiteY578" fmla="*/ 462915 h 512159"/>
              <a:gd name="connsiteX579" fmla="*/ 133940 w 264461"/>
              <a:gd name="connsiteY579" fmla="*/ 462448 h 512159"/>
              <a:gd name="connsiteX580" fmla="*/ 136455 w 264461"/>
              <a:gd name="connsiteY580" fmla="*/ 460591 h 512159"/>
              <a:gd name="connsiteX581" fmla="*/ 140751 w 264461"/>
              <a:gd name="connsiteY581" fmla="*/ 453885 h 512159"/>
              <a:gd name="connsiteX582" fmla="*/ 143170 w 264461"/>
              <a:gd name="connsiteY582" fmla="*/ 450923 h 512159"/>
              <a:gd name="connsiteX583" fmla="*/ 145942 w 264461"/>
              <a:gd name="connsiteY583" fmla="*/ 448246 h 512159"/>
              <a:gd name="connsiteX584" fmla="*/ 148533 w 264461"/>
              <a:gd name="connsiteY584" fmla="*/ 445189 h 512159"/>
              <a:gd name="connsiteX585" fmla="*/ 152733 w 264461"/>
              <a:gd name="connsiteY585" fmla="*/ 439512 h 512159"/>
              <a:gd name="connsiteX586" fmla="*/ 149895 w 264461"/>
              <a:gd name="connsiteY586" fmla="*/ 441474 h 512159"/>
              <a:gd name="connsiteX587" fmla="*/ 146466 w 264461"/>
              <a:gd name="connsiteY587" fmla="*/ 444579 h 512159"/>
              <a:gd name="connsiteX588" fmla="*/ 144475 w 264461"/>
              <a:gd name="connsiteY588" fmla="*/ 446380 h 512159"/>
              <a:gd name="connsiteX589" fmla="*/ 138151 w 264461"/>
              <a:gd name="connsiteY589" fmla="*/ 448190 h 512159"/>
              <a:gd name="connsiteX590" fmla="*/ 135426 w 264461"/>
              <a:gd name="connsiteY590" fmla="*/ 450037 h 512159"/>
              <a:gd name="connsiteX591" fmla="*/ 130654 w 264461"/>
              <a:gd name="connsiteY591" fmla="*/ 454200 h 512159"/>
              <a:gd name="connsiteX592" fmla="*/ 129740 w 264461"/>
              <a:gd name="connsiteY592" fmla="*/ 454543 h 512159"/>
              <a:gd name="connsiteX593" fmla="*/ 122539 w 264461"/>
              <a:gd name="connsiteY593" fmla="*/ 453542 h 512159"/>
              <a:gd name="connsiteX594" fmla="*/ 117186 w 264461"/>
              <a:gd name="connsiteY594" fmla="*/ 448142 h 512159"/>
              <a:gd name="connsiteX595" fmla="*/ 113767 w 264461"/>
              <a:gd name="connsiteY595" fmla="*/ 445932 h 512159"/>
              <a:gd name="connsiteX596" fmla="*/ 112357 w 264461"/>
              <a:gd name="connsiteY596" fmla="*/ 445675 h 512159"/>
              <a:gd name="connsiteX597" fmla="*/ 110890 w 264461"/>
              <a:gd name="connsiteY597" fmla="*/ 446332 h 512159"/>
              <a:gd name="connsiteX598" fmla="*/ 107766 w 264461"/>
              <a:gd name="connsiteY598" fmla="*/ 447008 h 512159"/>
              <a:gd name="connsiteX599" fmla="*/ 104584 w 264461"/>
              <a:gd name="connsiteY599" fmla="*/ 446894 h 512159"/>
              <a:gd name="connsiteX600" fmla="*/ 106213 w 264461"/>
              <a:gd name="connsiteY600" fmla="*/ 444389 h 512159"/>
              <a:gd name="connsiteX601" fmla="*/ 108423 w 264461"/>
              <a:gd name="connsiteY601" fmla="*/ 442989 h 512159"/>
              <a:gd name="connsiteX602" fmla="*/ 103470 w 264461"/>
              <a:gd name="connsiteY602" fmla="*/ 442017 h 512159"/>
              <a:gd name="connsiteX603" fmla="*/ 102089 w 264461"/>
              <a:gd name="connsiteY603" fmla="*/ 441255 h 512159"/>
              <a:gd name="connsiteX604" fmla="*/ 100517 w 264461"/>
              <a:gd name="connsiteY604" fmla="*/ 439493 h 512159"/>
              <a:gd name="connsiteX605" fmla="*/ 96631 w 264461"/>
              <a:gd name="connsiteY605" fmla="*/ 439198 h 512159"/>
              <a:gd name="connsiteX606" fmla="*/ 94783 w 264461"/>
              <a:gd name="connsiteY606" fmla="*/ 439646 h 512159"/>
              <a:gd name="connsiteX607" fmla="*/ 91659 w 264461"/>
              <a:gd name="connsiteY607" fmla="*/ 441970 h 512159"/>
              <a:gd name="connsiteX608" fmla="*/ 86725 w 264461"/>
              <a:gd name="connsiteY608" fmla="*/ 444437 h 512159"/>
              <a:gd name="connsiteX609" fmla="*/ 80772 w 264461"/>
              <a:gd name="connsiteY609" fmla="*/ 441017 h 512159"/>
              <a:gd name="connsiteX610" fmla="*/ 79610 w 264461"/>
              <a:gd name="connsiteY610" fmla="*/ 439522 h 512159"/>
              <a:gd name="connsiteX611" fmla="*/ 79638 w 264461"/>
              <a:gd name="connsiteY611" fmla="*/ 436616 h 512159"/>
              <a:gd name="connsiteX612" fmla="*/ 78743 w 264461"/>
              <a:gd name="connsiteY612" fmla="*/ 434312 h 512159"/>
              <a:gd name="connsiteX613" fmla="*/ 77095 w 264461"/>
              <a:gd name="connsiteY613" fmla="*/ 433502 h 512159"/>
              <a:gd name="connsiteX614" fmla="*/ 79200 w 264461"/>
              <a:gd name="connsiteY614" fmla="*/ 430501 h 512159"/>
              <a:gd name="connsiteX615" fmla="*/ 81753 w 264461"/>
              <a:gd name="connsiteY615" fmla="*/ 428501 h 512159"/>
              <a:gd name="connsiteX616" fmla="*/ 87354 w 264461"/>
              <a:gd name="connsiteY616" fmla="*/ 426511 h 512159"/>
              <a:gd name="connsiteX617" fmla="*/ 95840 w 264461"/>
              <a:gd name="connsiteY617" fmla="*/ 421777 h 512159"/>
              <a:gd name="connsiteX618" fmla="*/ 100603 w 264461"/>
              <a:gd name="connsiteY618" fmla="*/ 419757 h 512159"/>
              <a:gd name="connsiteX619" fmla="*/ 105023 w 264461"/>
              <a:gd name="connsiteY619" fmla="*/ 416271 h 512159"/>
              <a:gd name="connsiteX620" fmla="*/ 106851 w 264461"/>
              <a:gd name="connsiteY620" fmla="*/ 414138 h 512159"/>
              <a:gd name="connsiteX621" fmla="*/ 108175 w 264461"/>
              <a:gd name="connsiteY621" fmla="*/ 411213 h 512159"/>
              <a:gd name="connsiteX622" fmla="*/ 109490 w 264461"/>
              <a:gd name="connsiteY622" fmla="*/ 407632 h 512159"/>
              <a:gd name="connsiteX623" fmla="*/ 111366 w 264461"/>
              <a:gd name="connsiteY623" fmla="*/ 404708 h 512159"/>
              <a:gd name="connsiteX624" fmla="*/ 109547 w 264461"/>
              <a:gd name="connsiteY624" fmla="*/ 404013 h 512159"/>
              <a:gd name="connsiteX625" fmla="*/ 108728 w 264461"/>
              <a:gd name="connsiteY625" fmla="*/ 401812 h 512159"/>
              <a:gd name="connsiteX626" fmla="*/ 108947 w 264461"/>
              <a:gd name="connsiteY626" fmla="*/ 399574 h 512159"/>
              <a:gd name="connsiteX627" fmla="*/ 109785 w 264461"/>
              <a:gd name="connsiteY627" fmla="*/ 397583 h 512159"/>
              <a:gd name="connsiteX628" fmla="*/ 109033 w 264461"/>
              <a:gd name="connsiteY628" fmla="*/ 395088 h 512159"/>
              <a:gd name="connsiteX629" fmla="*/ 107690 w 264461"/>
              <a:gd name="connsiteY629" fmla="*/ 392478 h 512159"/>
              <a:gd name="connsiteX630" fmla="*/ 107766 w 264461"/>
              <a:gd name="connsiteY630" fmla="*/ 390439 h 512159"/>
              <a:gd name="connsiteX631" fmla="*/ 108128 w 264461"/>
              <a:gd name="connsiteY631" fmla="*/ 388258 h 512159"/>
              <a:gd name="connsiteX632" fmla="*/ 104718 w 264461"/>
              <a:gd name="connsiteY632" fmla="*/ 388373 h 512159"/>
              <a:gd name="connsiteX633" fmla="*/ 101317 w 264461"/>
              <a:gd name="connsiteY633" fmla="*/ 389058 h 512159"/>
              <a:gd name="connsiteX634" fmla="*/ 98231 w 264461"/>
              <a:gd name="connsiteY634" fmla="*/ 390601 h 512159"/>
              <a:gd name="connsiteX635" fmla="*/ 95240 w 264461"/>
              <a:gd name="connsiteY635" fmla="*/ 392697 h 512159"/>
              <a:gd name="connsiteX636" fmla="*/ 92583 w 264461"/>
              <a:gd name="connsiteY636" fmla="*/ 393087 h 512159"/>
              <a:gd name="connsiteX637" fmla="*/ 92621 w 264461"/>
              <a:gd name="connsiteY637" fmla="*/ 391411 h 512159"/>
              <a:gd name="connsiteX638" fmla="*/ 93774 w 264461"/>
              <a:gd name="connsiteY638" fmla="*/ 389334 h 512159"/>
              <a:gd name="connsiteX639" fmla="*/ 96783 w 264461"/>
              <a:gd name="connsiteY639" fmla="*/ 386362 h 512159"/>
              <a:gd name="connsiteX640" fmla="*/ 100003 w 264461"/>
              <a:gd name="connsiteY640" fmla="*/ 383896 h 512159"/>
              <a:gd name="connsiteX641" fmla="*/ 101146 w 264461"/>
              <a:gd name="connsiteY641" fmla="*/ 382019 h 512159"/>
              <a:gd name="connsiteX642" fmla="*/ 102051 w 264461"/>
              <a:gd name="connsiteY642" fmla="*/ 379838 h 512159"/>
              <a:gd name="connsiteX643" fmla="*/ 103651 w 264461"/>
              <a:gd name="connsiteY643" fmla="*/ 378085 h 512159"/>
              <a:gd name="connsiteX644" fmla="*/ 107861 w 264461"/>
              <a:gd name="connsiteY644" fmla="*/ 374771 h 512159"/>
              <a:gd name="connsiteX645" fmla="*/ 115929 w 264461"/>
              <a:gd name="connsiteY645" fmla="*/ 371037 h 512159"/>
              <a:gd name="connsiteX646" fmla="*/ 117129 w 264461"/>
              <a:gd name="connsiteY646" fmla="*/ 370818 h 512159"/>
              <a:gd name="connsiteX647" fmla="*/ 120291 w 264461"/>
              <a:gd name="connsiteY647" fmla="*/ 371256 h 512159"/>
              <a:gd name="connsiteX648" fmla="*/ 123406 w 264461"/>
              <a:gd name="connsiteY648" fmla="*/ 370684 h 512159"/>
              <a:gd name="connsiteX649" fmla="*/ 126130 w 264461"/>
              <a:gd name="connsiteY649" fmla="*/ 369341 h 512159"/>
              <a:gd name="connsiteX650" fmla="*/ 128844 w 264461"/>
              <a:gd name="connsiteY650" fmla="*/ 369056 h 512159"/>
              <a:gd name="connsiteX651" fmla="*/ 134960 w 264461"/>
              <a:gd name="connsiteY651" fmla="*/ 372932 h 512159"/>
              <a:gd name="connsiteX652" fmla="*/ 133140 w 264461"/>
              <a:gd name="connsiteY652" fmla="*/ 366932 h 512159"/>
              <a:gd name="connsiteX653" fmla="*/ 135836 w 264461"/>
              <a:gd name="connsiteY653" fmla="*/ 365493 h 512159"/>
              <a:gd name="connsiteX654" fmla="*/ 139741 w 264461"/>
              <a:gd name="connsiteY654" fmla="*/ 370923 h 512159"/>
              <a:gd name="connsiteX655" fmla="*/ 141189 w 264461"/>
              <a:gd name="connsiteY655" fmla="*/ 371494 h 512159"/>
              <a:gd name="connsiteX656" fmla="*/ 144256 w 264461"/>
              <a:gd name="connsiteY656" fmla="*/ 370704 h 512159"/>
              <a:gd name="connsiteX657" fmla="*/ 143075 w 264461"/>
              <a:gd name="connsiteY657" fmla="*/ 369789 h 512159"/>
              <a:gd name="connsiteX658" fmla="*/ 141694 w 264461"/>
              <a:gd name="connsiteY658" fmla="*/ 369732 h 512159"/>
              <a:gd name="connsiteX659" fmla="*/ 139884 w 264461"/>
              <a:gd name="connsiteY659" fmla="*/ 368913 h 512159"/>
              <a:gd name="connsiteX660" fmla="*/ 138360 w 264461"/>
              <a:gd name="connsiteY660" fmla="*/ 367170 h 512159"/>
              <a:gd name="connsiteX661" fmla="*/ 135826 w 264461"/>
              <a:gd name="connsiteY661" fmla="*/ 361626 h 512159"/>
              <a:gd name="connsiteX662" fmla="*/ 135969 w 264461"/>
              <a:gd name="connsiteY662" fmla="*/ 358330 h 512159"/>
              <a:gd name="connsiteX663" fmla="*/ 137674 w 264461"/>
              <a:gd name="connsiteY663" fmla="*/ 354902 h 512159"/>
              <a:gd name="connsiteX664" fmla="*/ 139560 w 264461"/>
              <a:gd name="connsiteY664" fmla="*/ 351739 h 512159"/>
              <a:gd name="connsiteX665" fmla="*/ 137979 w 264461"/>
              <a:gd name="connsiteY665" fmla="*/ 351111 h 512159"/>
              <a:gd name="connsiteX666" fmla="*/ 136712 w 264461"/>
              <a:gd name="connsiteY666" fmla="*/ 349901 h 512159"/>
              <a:gd name="connsiteX667" fmla="*/ 136350 w 264461"/>
              <a:gd name="connsiteY667" fmla="*/ 346729 h 512159"/>
              <a:gd name="connsiteX668" fmla="*/ 136845 w 264461"/>
              <a:gd name="connsiteY668" fmla="*/ 343919 h 512159"/>
              <a:gd name="connsiteX669" fmla="*/ 140237 w 264461"/>
              <a:gd name="connsiteY669" fmla="*/ 341443 h 512159"/>
              <a:gd name="connsiteX670" fmla="*/ 141236 w 264461"/>
              <a:gd name="connsiteY670" fmla="*/ 337671 h 512159"/>
              <a:gd name="connsiteX671" fmla="*/ 141656 w 264461"/>
              <a:gd name="connsiteY671" fmla="*/ 333508 h 512159"/>
              <a:gd name="connsiteX672" fmla="*/ 141094 w 264461"/>
              <a:gd name="connsiteY672" fmla="*/ 331594 h 512159"/>
              <a:gd name="connsiteX673" fmla="*/ 137722 w 264461"/>
              <a:gd name="connsiteY673" fmla="*/ 331899 h 512159"/>
              <a:gd name="connsiteX674" fmla="*/ 136084 w 264461"/>
              <a:gd name="connsiteY674" fmla="*/ 332680 h 512159"/>
              <a:gd name="connsiteX675" fmla="*/ 134617 w 264461"/>
              <a:gd name="connsiteY675" fmla="*/ 333908 h 512159"/>
              <a:gd name="connsiteX676" fmla="*/ 133112 w 264461"/>
              <a:gd name="connsiteY676" fmla="*/ 333832 h 512159"/>
              <a:gd name="connsiteX677" fmla="*/ 128949 w 264461"/>
              <a:gd name="connsiteY677" fmla="*/ 329222 h 512159"/>
              <a:gd name="connsiteX678" fmla="*/ 126578 w 264461"/>
              <a:gd name="connsiteY678" fmla="*/ 325726 h 512159"/>
              <a:gd name="connsiteX679" fmla="*/ 122320 w 264461"/>
              <a:gd name="connsiteY679" fmla="*/ 318316 h 512159"/>
              <a:gd name="connsiteX680" fmla="*/ 121720 w 264461"/>
              <a:gd name="connsiteY680" fmla="*/ 313868 h 512159"/>
              <a:gd name="connsiteX681" fmla="*/ 125120 w 264461"/>
              <a:gd name="connsiteY681" fmla="*/ 304248 h 512159"/>
              <a:gd name="connsiteX682" fmla="*/ 130378 w 264461"/>
              <a:gd name="connsiteY682" fmla="*/ 298066 h 512159"/>
              <a:gd name="connsiteX683" fmla="*/ 136569 w 264461"/>
              <a:gd name="connsiteY683" fmla="*/ 295904 h 512159"/>
              <a:gd name="connsiteX684" fmla="*/ 135369 w 264461"/>
              <a:gd name="connsiteY684" fmla="*/ 295494 h 512159"/>
              <a:gd name="connsiteX685" fmla="*/ 125930 w 264461"/>
              <a:gd name="connsiteY685" fmla="*/ 295408 h 512159"/>
              <a:gd name="connsiteX686" fmla="*/ 122815 w 264461"/>
              <a:gd name="connsiteY686" fmla="*/ 296170 h 512159"/>
              <a:gd name="connsiteX687" fmla="*/ 119929 w 264461"/>
              <a:gd name="connsiteY687" fmla="*/ 298704 h 512159"/>
              <a:gd name="connsiteX688" fmla="*/ 118300 w 264461"/>
              <a:gd name="connsiteY688" fmla="*/ 299485 h 512159"/>
              <a:gd name="connsiteX689" fmla="*/ 116586 w 264461"/>
              <a:gd name="connsiteY689" fmla="*/ 299771 h 512159"/>
              <a:gd name="connsiteX690" fmla="*/ 115024 w 264461"/>
              <a:gd name="connsiteY690" fmla="*/ 301028 h 512159"/>
              <a:gd name="connsiteX691" fmla="*/ 113500 w 264461"/>
              <a:gd name="connsiteY691" fmla="*/ 302771 h 512159"/>
              <a:gd name="connsiteX692" fmla="*/ 111909 w 264461"/>
              <a:gd name="connsiteY692" fmla="*/ 303895 h 512159"/>
              <a:gd name="connsiteX693" fmla="*/ 108756 w 264461"/>
              <a:gd name="connsiteY693" fmla="*/ 303600 h 512159"/>
              <a:gd name="connsiteX694" fmla="*/ 107232 w 264461"/>
              <a:gd name="connsiteY694" fmla="*/ 303971 h 512159"/>
              <a:gd name="connsiteX695" fmla="*/ 106137 w 264461"/>
              <a:gd name="connsiteY695" fmla="*/ 302962 h 512159"/>
              <a:gd name="connsiteX696" fmla="*/ 105213 w 264461"/>
              <a:gd name="connsiteY696" fmla="*/ 301295 h 512159"/>
              <a:gd name="connsiteX697" fmla="*/ 104013 w 264461"/>
              <a:gd name="connsiteY697" fmla="*/ 300847 h 512159"/>
              <a:gd name="connsiteX698" fmla="*/ 102670 w 264461"/>
              <a:gd name="connsiteY698" fmla="*/ 301362 h 512159"/>
              <a:gd name="connsiteX699" fmla="*/ 99831 w 264461"/>
              <a:gd name="connsiteY699" fmla="*/ 303609 h 512159"/>
              <a:gd name="connsiteX700" fmla="*/ 96955 w 264461"/>
              <a:gd name="connsiteY700" fmla="*/ 304933 h 512159"/>
              <a:gd name="connsiteX701" fmla="*/ 93478 w 264461"/>
              <a:gd name="connsiteY701" fmla="*/ 303514 h 512159"/>
              <a:gd name="connsiteX702" fmla="*/ 88916 w 264461"/>
              <a:gd name="connsiteY702" fmla="*/ 300866 h 512159"/>
              <a:gd name="connsiteX703" fmla="*/ 88021 w 264461"/>
              <a:gd name="connsiteY703" fmla="*/ 301838 h 512159"/>
              <a:gd name="connsiteX704" fmla="*/ 87011 w 264461"/>
              <a:gd name="connsiteY704" fmla="*/ 304295 h 512159"/>
              <a:gd name="connsiteX705" fmla="*/ 86430 w 264461"/>
              <a:gd name="connsiteY705" fmla="*/ 308115 h 512159"/>
              <a:gd name="connsiteX706" fmla="*/ 83191 w 264461"/>
              <a:gd name="connsiteY706" fmla="*/ 304790 h 512159"/>
              <a:gd name="connsiteX707" fmla="*/ 80438 w 264461"/>
              <a:gd name="connsiteY707" fmla="*/ 300342 h 512159"/>
              <a:gd name="connsiteX708" fmla="*/ 79505 w 264461"/>
              <a:gd name="connsiteY708" fmla="*/ 297542 h 512159"/>
              <a:gd name="connsiteX709" fmla="*/ 79438 w 264461"/>
              <a:gd name="connsiteY709" fmla="*/ 294380 h 512159"/>
              <a:gd name="connsiteX710" fmla="*/ 80934 w 264461"/>
              <a:gd name="connsiteY710" fmla="*/ 293151 h 512159"/>
              <a:gd name="connsiteX711" fmla="*/ 82563 w 264461"/>
              <a:gd name="connsiteY711" fmla="*/ 294275 h 512159"/>
              <a:gd name="connsiteX712" fmla="*/ 84982 w 264461"/>
              <a:gd name="connsiteY712" fmla="*/ 286760 h 512159"/>
              <a:gd name="connsiteX713" fmla="*/ 89801 w 264461"/>
              <a:gd name="connsiteY713" fmla="*/ 276930 h 512159"/>
              <a:gd name="connsiteX714" fmla="*/ 91507 w 264461"/>
              <a:gd name="connsiteY714" fmla="*/ 274044 h 512159"/>
              <a:gd name="connsiteX715" fmla="*/ 92697 w 264461"/>
              <a:gd name="connsiteY715" fmla="*/ 270262 h 512159"/>
              <a:gd name="connsiteX716" fmla="*/ 92497 w 264461"/>
              <a:gd name="connsiteY716" fmla="*/ 267786 h 512159"/>
              <a:gd name="connsiteX717" fmla="*/ 91440 w 264461"/>
              <a:gd name="connsiteY717" fmla="*/ 265690 h 512159"/>
              <a:gd name="connsiteX718" fmla="*/ 86954 w 264461"/>
              <a:gd name="connsiteY718" fmla="*/ 260928 h 512159"/>
              <a:gd name="connsiteX719" fmla="*/ 87011 w 264461"/>
              <a:gd name="connsiteY719" fmla="*/ 257032 h 512159"/>
              <a:gd name="connsiteX720" fmla="*/ 87487 w 264461"/>
              <a:gd name="connsiteY720" fmla="*/ 252632 h 512159"/>
              <a:gd name="connsiteX721" fmla="*/ 88706 w 264461"/>
              <a:gd name="connsiteY721" fmla="*/ 249984 h 512159"/>
              <a:gd name="connsiteX722" fmla="*/ 89220 w 264461"/>
              <a:gd name="connsiteY722" fmla="*/ 249479 h 512159"/>
              <a:gd name="connsiteX723" fmla="*/ 95174 w 264461"/>
              <a:gd name="connsiteY723" fmla="*/ 249546 h 512159"/>
              <a:gd name="connsiteX724" fmla="*/ 92850 w 264461"/>
              <a:gd name="connsiteY724" fmla="*/ 248174 h 512159"/>
              <a:gd name="connsiteX725" fmla="*/ 88220 w 264461"/>
              <a:gd name="connsiteY725" fmla="*/ 244183 h 512159"/>
              <a:gd name="connsiteX726" fmla="*/ 88306 w 264461"/>
              <a:gd name="connsiteY726" fmla="*/ 242764 h 512159"/>
              <a:gd name="connsiteX727" fmla="*/ 89392 w 264461"/>
              <a:gd name="connsiteY727" fmla="*/ 239058 h 512159"/>
              <a:gd name="connsiteX728" fmla="*/ 88887 w 264461"/>
              <a:gd name="connsiteY728" fmla="*/ 239430 h 512159"/>
              <a:gd name="connsiteX729" fmla="*/ 87897 w 264461"/>
              <a:gd name="connsiteY729" fmla="*/ 241145 h 512159"/>
              <a:gd name="connsiteX730" fmla="*/ 86001 w 264461"/>
              <a:gd name="connsiteY730" fmla="*/ 245288 h 512159"/>
              <a:gd name="connsiteX731" fmla="*/ 84849 w 264461"/>
              <a:gd name="connsiteY731" fmla="*/ 246250 h 512159"/>
              <a:gd name="connsiteX732" fmla="*/ 81572 w 264461"/>
              <a:gd name="connsiteY732" fmla="*/ 247231 h 512159"/>
              <a:gd name="connsiteX733" fmla="*/ 80972 w 264461"/>
              <a:gd name="connsiteY733" fmla="*/ 249260 h 512159"/>
              <a:gd name="connsiteX734" fmla="*/ 80448 w 264461"/>
              <a:gd name="connsiteY734" fmla="*/ 249793 h 512159"/>
              <a:gd name="connsiteX735" fmla="*/ 78819 w 264461"/>
              <a:gd name="connsiteY735" fmla="*/ 250022 h 512159"/>
              <a:gd name="connsiteX736" fmla="*/ 78314 w 264461"/>
              <a:gd name="connsiteY736" fmla="*/ 251917 h 512159"/>
              <a:gd name="connsiteX737" fmla="*/ 77953 w 264461"/>
              <a:gd name="connsiteY737" fmla="*/ 252041 h 512159"/>
              <a:gd name="connsiteX738" fmla="*/ 77486 w 264461"/>
              <a:gd name="connsiteY738" fmla="*/ 250003 h 512159"/>
              <a:gd name="connsiteX739" fmla="*/ 77438 w 264461"/>
              <a:gd name="connsiteY739" fmla="*/ 246612 h 512159"/>
              <a:gd name="connsiteX740" fmla="*/ 78086 w 264461"/>
              <a:gd name="connsiteY740" fmla="*/ 243487 h 512159"/>
              <a:gd name="connsiteX741" fmla="*/ 79324 w 264461"/>
              <a:gd name="connsiteY741" fmla="*/ 241040 h 512159"/>
              <a:gd name="connsiteX742" fmla="*/ 84125 w 264461"/>
              <a:gd name="connsiteY742" fmla="*/ 235468 h 512159"/>
              <a:gd name="connsiteX743" fmla="*/ 81791 w 264461"/>
              <a:gd name="connsiteY743" fmla="*/ 237192 h 512159"/>
              <a:gd name="connsiteX744" fmla="*/ 76495 w 264461"/>
              <a:gd name="connsiteY744" fmla="*/ 242345 h 512159"/>
              <a:gd name="connsiteX745" fmla="*/ 73790 w 264461"/>
              <a:gd name="connsiteY745" fmla="*/ 245726 h 512159"/>
              <a:gd name="connsiteX746" fmla="*/ 73066 w 264461"/>
              <a:gd name="connsiteY746" fmla="*/ 246869 h 512159"/>
              <a:gd name="connsiteX747" fmla="*/ 72847 w 264461"/>
              <a:gd name="connsiteY747" fmla="*/ 247831 h 512159"/>
              <a:gd name="connsiteX748" fmla="*/ 72857 w 264461"/>
              <a:gd name="connsiteY748" fmla="*/ 248936 h 512159"/>
              <a:gd name="connsiteX749" fmla="*/ 74066 w 264461"/>
              <a:gd name="connsiteY749" fmla="*/ 254851 h 512159"/>
              <a:gd name="connsiteX750" fmla="*/ 73714 w 264461"/>
              <a:gd name="connsiteY750" fmla="*/ 257585 h 512159"/>
              <a:gd name="connsiteX751" fmla="*/ 69151 w 264461"/>
              <a:gd name="connsiteY751" fmla="*/ 275539 h 512159"/>
              <a:gd name="connsiteX752" fmla="*/ 68284 w 264461"/>
              <a:gd name="connsiteY752" fmla="*/ 277330 h 512159"/>
              <a:gd name="connsiteX753" fmla="*/ 67494 w 264461"/>
              <a:gd name="connsiteY753" fmla="*/ 278263 h 512159"/>
              <a:gd name="connsiteX754" fmla="*/ 66742 w 264461"/>
              <a:gd name="connsiteY754" fmla="*/ 278482 h 512159"/>
              <a:gd name="connsiteX755" fmla="*/ 64494 w 264461"/>
              <a:gd name="connsiteY755" fmla="*/ 278139 h 512159"/>
              <a:gd name="connsiteX756" fmla="*/ 63494 w 264461"/>
              <a:gd name="connsiteY756" fmla="*/ 276796 h 512159"/>
              <a:gd name="connsiteX757" fmla="*/ 63503 w 264461"/>
              <a:gd name="connsiteY757" fmla="*/ 275282 h 512159"/>
              <a:gd name="connsiteX758" fmla="*/ 63922 w 264461"/>
              <a:gd name="connsiteY758" fmla="*/ 273006 h 512159"/>
              <a:gd name="connsiteX759" fmla="*/ 65817 w 264461"/>
              <a:gd name="connsiteY759" fmla="*/ 264500 h 512159"/>
              <a:gd name="connsiteX760" fmla="*/ 66637 w 264461"/>
              <a:gd name="connsiteY760" fmla="*/ 262128 h 512159"/>
              <a:gd name="connsiteX761" fmla="*/ 67856 w 264461"/>
              <a:gd name="connsiteY761" fmla="*/ 259918 h 512159"/>
              <a:gd name="connsiteX762" fmla="*/ 70542 w 264461"/>
              <a:gd name="connsiteY762" fmla="*/ 256051 h 512159"/>
              <a:gd name="connsiteX763" fmla="*/ 70475 w 264461"/>
              <a:gd name="connsiteY763" fmla="*/ 255794 h 512159"/>
              <a:gd name="connsiteX764" fmla="*/ 68685 w 264461"/>
              <a:gd name="connsiteY764" fmla="*/ 256556 h 512159"/>
              <a:gd name="connsiteX765" fmla="*/ 67923 w 264461"/>
              <a:gd name="connsiteY765" fmla="*/ 256308 h 512159"/>
              <a:gd name="connsiteX766" fmla="*/ 67370 w 264461"/>
              <a:gd name="connsiteY766" fmla="*/ 255537 h 512159"/>
              <a:gd name="connsiteX767" fmla="*/ 67723 w 264461"/>
              <a:gd name="connsiteY767" fmla="*/ 244002 h 512159"/>
              <a:gd name="connsiteX768" fmla="*/ 69180 w 264461"/>
              <a:gd name="connsiteY768" fmla="*/ 240192 h 512159"/>
              <a:gd name="connsiteX769" fmla="*/ 69723 w 264461"/>
              <a:gd name="connsiteY769" fmla="*/ 234639 h 512159"/>
              <a:gd name="connsiteX770" fmla="*/ 70980 w 264461"/>
              <a:gd name="connsiteY770" fmla="*/ 229867 h 512159"/>
              <a:gd name="connsiteX771" fmla="*/ 72437 w 264461"/>
              <a:gd name="connsiteY771" fmla="*/ 226381 h 512159"/>
              <a:gd name="connsiteX772" fmla="*/ 73552 w 264461"/>
              <a:gd name="connsiteY772" fmla="*/ 221913 h 512159"/>
              <a:gd name="connsiteX773" fmla="*/ 75219 w 264461"/>
              <a:gd name="connsiteY773" fmla="*/ 219923 h 512159"/>
              <a:gd name="connsiteX774" fmla="*/ 75667 w 264461"/>
              <a:gd name="connsiteY774" fmla="*/ 216875 h 512159"/>
              <a:gd name="connsiteX775" fmla="*/ 77543 w 264461"/>
              <a:gd name="connsiteY775" fmla="*/ 213570 h 512159"/>
              <a:gd name="connsiteX776" fmla="*/ 78991 w 264461"/>
              <a:gd name="connsiteY776" fmla="*/ 210112 h 512159"/>
              <a:gd name="connsiteX777" fmla="*/ 78210 w 264461"/>
              <a:gd name="connsiteY777" fmla="*/ 210455 h 512159"/>
              <a:gd name="connsiteX778" fmla="*/ 68942 w 264461"/>
              <a:gd name="connsiteY778" fmla="*/ 219446 h 512159"/>
              <a:gd name="connsiteX779" fmla="*/ 66580 w 264461"/>
              <a:gd name="connsiteY779" fmla="*/ 221075 h 512159"/>
              <a:gd name="connsiteX780" fmla="*/ 63360 w 264461"/>
              <a:gd name="connsiteY780" fmla="*/ 220637 h 512159"/>
              <a:gd name="connsiteX781" fmla="*/ 60903 w 264461"/>
              <a:gd name="connsiteY781" fmla="*/ 219628 h 512159"/>
              <a:gd name="connsiteX782" fmla="*/ 58979 w 264461"/>
              <a:gd name="connsiteY782" fmla="*/ 217503 h 512159"/>
              <a:gd name="connsiteX783" fmla="*/ 58121 w 264461"/>
              <a:gd name="connsiteY783" fmla="*/ 213417 h 512159"/>
              <a:gd name="connsiteX784" fmla="*/ 55750 w 264461"/>
              <a:gd name="connsiteY784" fmla="*/ 213312 h 512159"/>
              <a:gd name="connsiteX785" fmla="*/ 53721 w 264461"/>
              <a:gd name="connsiteY785" fmla="*/ 212608 h 512159"/>
              <a:gd name="connsiteX786" fmla="*/ 53740 w 264461"/>
              <a:gd name="connsiteY786" fmla="*/ 212055 h 512159"/>
              <a:gd name="connsiteX787" fmla="*/ 56359 w 264461"/>
              <a:gd name="connsiteY787" fmla="*/ 209826 h 512159"/>
              <a:gd name="connsiteX788" fmla="*/ 60560 w 264461"/>
              <a:gd name="connsiteY788" fmla="*/ 209064 h 512159"/>
              <a:gd name="connsiteX789" fmla="*/ 64494 w 264461"/>
              <a:gd name="connsiteY789" fmla="*/ 205483 h 512159"/>
              <a:gd name="connsiteX790" fmla="*/ 60998 w 264461"/>
              <a:gd name="connsiteY790" fmla="*/ 203063 h 512159"/>
              <a:gd name="connsiteX791" fmla="*/ 61293 w 264461"/>
              <a:gd name="connsiteY791" fmla="*/ 202292 h 512159"/>
              <a:gd name="connsiteX792" fmla="*/ 64341 w 264461"/>
              <a:gd name="connsiteY792" fmla="*/ 200225 h 512159"/>
              <a:gd name="connsiteX793" fmla="*/ 68218 w 264461"/>
              <a:gd name="connsiteY793" fmla="*/ 193281 h 512159"/>
              <a:gd name="connsiteX794" fmla="*/ 68999 w 264461"/>
              <a:gd name="connsiteY794" fmla="*/ 186871 h 512159"/>
              <a:gd name="connsiteX795" fmla="*/ 67151 w 264461"/>
              <a:gd name="connsiteY795" fmla="*/ 183852 h 512159"/>
              <a:gd name="connsiteX796" fmla="*/ 66484 w 264461"/>
              <a:gd name="connsiteY796" fmla="*/ 181870 h 512159"/>
              <a:gd name="connsiteX797" fmla="*/ 62779 w 264461"/>
              <a:gd name="connsiteY797" fmla="*/ 179661 h 512159"/>
              <a:gd name="connsiteX798" fmla="*/ 62160 w 264461"/>
              <a:gd name="connsiteY798" fmla="*/ 176832 h 512159"/>
              <a:gd name="connsiteX799" fmla="*/ 62589 w 264461"/>
              <a:gd name="connsiteY799" fmla="*/ 175241 h 512159"/>
              <a:gd name="connsiteX800" fmla="*/ 63798 w 264461"/>
              <a:gd name="connsiteY800" fmla="*/ 173689 h 512159"/>
              <a:gd name="connsiteX801" fmla="*/ 65618 w 264461"/>
              <a:gd name="connsiteY801" fmla="*/ 172488 h 512159"/>
              <a:gd name="connsiteX802" fmla="*/ 68475 w 264461"/>
              <a:gd name="connsiteY802" fmla="*/ 171326 h 512159"/>
              <a:gd name="connsiteX803" fmla="*/ 65884 w 264461"/>
              <a:gd name="connsiteY803" fmla="*/ 170088 h 512159"/>
              <a:gd name="connsiteX804" fmla="*/ 64913 w 264461"/>
              <a:gd name="connsiteY804" fmla="*/ 168621 h 512159"/>
              <a:gd name="connsiteX805" fmla="*/ 64179 w 264461"/>
              <a:gd name="connsiteY805" fmla="*/ 166497 h 512159"/>
              <a:gd name="connsiteX806" fmla="*/ 64113 w 264461"/>
              <a:gd name="connsiteY806" fmla="*/ 165268 h 512159"/>
              <a:gd name="connsiteX807" fmla="*/ 65456 w 264461"/>
              <a:gd name="connsiteY807" fmla="*/ 159782 h 512159"/>
              <a:gd name="connsiteX808" fmla="*/ 66237 w 264461"/>
              <a:gd name="connsiteY808" fmla="*/ 157515 h 512159"/>
              <a:gd name="connsiteX809" fmla="*/ 67770 w 264461"/>
              <a:gd name="connsiteY809" fmla="*/ 154619 h 512159"/>
              <a:gd name="connsiteX810" fmla="*/ 74704 w 264461"/>
              <a:gd name="connsiteY810" fmla="*/ 154781 h 512159"/>
              <a:gd name="connsiteX811" fmla="*/ 75505 w 264461"/>
              <a:gd name="connsiteY811" fmla="*/ 153505 h 512159"/>
              <a:gd name="connsiteX812" fmla="*/ 76295 w 264461"/>
              <a:gd name="connsiteY812" fmla="*/ 153457 h 512159"/>
              <a:gd name="connsiteX813" fmla="*/ 79838 w 264461"/>
              <a:gd name="connsiteY813" fmla="*/ 154629 h 512159"/>
              <a:gd name="connsiteX814" fmla="*/ 79315 w 264461"/>
              <a:gd name="connsiteY814" fmla="*/ 153371 h 512159"/>
              <a:gd name="connsiteX815" fmla="*/ 73514 w 264461"/>
              <a:gd name="connsiteY815" fmla="*/ 146466 h 512159"/>
              <a:gd name="connsiteX816" fmla="*/ 72990 w 264461"/>
              <a:gd name="connsiteY816" fmla="*/ 145152 h 512159"/>
              <a:gd name="connsiteX817" fmla="*/ 74647 w 264461"/>
              <a:gd name="connsiteY817" fmla="*/ 141418 h 512159"/>
              <a:gd name="connsiteX818" fmla="*/ 74762 w 264461"/>
              <a:gd name="connsiteY818" fmla="*/ 139751 h 512159"/>
              <a:gd name="connsiteX819" fmla="*/ 74523 w 264461"/>
              <a:gd name="connsiteY819" fmla="*/ 137970 h 512159"/>
              <a:gd name="connsiteX820" fmla="*/ 75000 w 264461"/>
              <a:gd name="connsiteY820" fmla="*/ 136608 h 512159"/>
              <a:gd name="connsiteX821" fmla="*/ 76838 w 264461"/>
              <a:gd name="connsiteY821" fmla="*/ 135969 h 512159"/>
              <a:gd name="connsiteX822" fmla="*/ 82439 w 264461"/>
              <a:gd name="connsiteY822" fmla="*/ 136027 h 512159"/>
              <a:gd name="connsiteX823" fmla="*/ 83820 w 264461"/>
              <a:gd name="connsiteY823" fmla="*/ 135398 h 512159"/>
              <a:gd name="connsiteX824" fmla="*/ 83191 w 264461"/>
              <a:gd name="connsiteY824" fmla="*/ 133588 h 512159"/>
              <a:gd name="connsiteX825" fmla="*/ 81886 w 264461"/>
              <a:gd name="connsiteY825" fmla="*/ 131207 h 512159"/>
              <a:gd name="connsiteX826" fmla="*/ 81629 w 264461"/>
              <a:gd name="connsiteY826" fmla="*/ 129207 h 512159"/>
              <a:gd name="connsiteX827" fmla="*/ 81934 w 264461"/>
              <a:gd name="connsiteY827" fmla="*/ 127435 h 512159"/>
              <a:gd name="connsiteX828" fmla="*/ 82001 w 264461"/>
              <a:gd name="connsiteY828" fmla="*/ 123863 h 512159"/>
              <a:gd name="connsiteX829" fmla="*/ 82258 w 264461"/>
              <a:gd name="connsiteY829" fmla="*/ 122282 h 512159"/>
              <a:gd name="connsiteX830" fmla="*/ 83591 w 264461"/>
              <a:gd name="connsiteY830" fmla="*/ 119910 h 512159"/>
              <a:gd name="connsiteX831" fmla="*/ 84687 w 264461"/>
              <a:gd name="connsiteY831" fmla="*/ 119206 h 512159"/>
              <a:gd name="connsiteX832" fmla="*/ 86049 w 264461"/>
              <a:gd name="connsiteY832" fmla="*/ 118796 h 512159"/>
              <a:gd name="connsiteX833" fmla="*/ 89125 w 264461"/>
              <a:gd name="connsiteY833" fmla="*/ 119586 h 512159"/>
              <a:gd name="connsiteX834" fmla="*/ 90297 w 264461"/>
              <a:gd name="connsiteY834" fmla="*/ 120539 h 512159"/>
              <a:gd name="connsiteX835" fmla="*/ 91649 w 264461"/>
              <a:gd name="connsiteY835" fmla="*/ 122796 h 512159"/>
              <a:gd name="connsiteX836" fmla="*/ 92640 w 264461"/>
              <a:gd name="connsiteY836" fmla="*/ 122615 h 512159"/>
              <a:gd name="connsiteX837" fmla="*/ 96469 w 264461"/>
              <a:gd name="connsiteY837" fmla="*/ 120158 h 512159"/>
              <a:gd name="connsiteX838" fmla="*/ 97622 w 264461"/>
              <a:gd name="connsiteY838" fmla="*/ 119805 h 512159"/>
              <a:gd name="connsiteX839" fmla="*/ 99193 w 264461"/>
              <a:gd name="connsiteY839" fmla="*/ 122654 h 512159"/>
              <a:gd name="connsiteX840" fmla="*/ 105737 w 264461"/>
              <a:gd name="connsiteY840" fmla="*/ 120387 h 512159"/>
              <a:gd name="connsiteX841" fmla="*/ 114528 w 264461"/>
              <a:gd name="connsiteY841" fmla="*/ 119377 h 512159"/>
              <a:gd name="connsiteX842" fmla="*/ 119815 w 264461"/>
              <a:gd name="connsiteY842" fmla="*/ 117881 h 512159"/>
              <a:gd name="connsiteX843" fmla="*/ 125378 w 264461"/>
              <a:gd name="connsiteY843" fmla="*/ 117338 h 512159"/>
              <a:gd name="connsiteX844" fmla="*/ 130568 w 264461"/>
              <a:gd name="connsiteY844" fmla="*/ 115634 h 512159"/>
              <a:gd name="connsiteX845" fmla="*/ 136074 w 264461"/>
              <a:gd name="connsiteY845" fmla="*/ 116415 h 512159"/>
              <a:gd name="connsiteX846" fmla="*/ 136265 w 264461"/>
              <a:gd name="connsiteY846" fmla="*/ 117405 h 512159"/>
              <a:gd name="connsiteX847" fmla="*/ 135979 w 264461"/>
              <a:gd name="connsiteY847" fmla="*/ 118777 h 512159"/>
              <a:gd name="connsiteX848" fmla="*/ 134626 w 264461"/>
              <a:gd name="connsiteY848" fmla="*/ 122482 h 512159"/>
              <a:gd name="connsiteX849" fmla="*/ 139455 w 264461"/>
              <a:gd name="connsiteY849" fmla="*/ 110890 h 512159"/>
              <a:gd name="connsiteX850" fmla="*/ 139198 w 264461"/>
              <a:gd name="connsiteY850" fmla="*/ 111042 h 512159"/>
              <a:gd name="connsiteX851" fmla="*/ 138217 w 264461"/>
              <a:gd name="connsiteY851" fmla="*/ 110099 h 512159"/>
              <a:gd name="connsiteX852" fmla="*/ 136617 w 264461"/>
              <a:gd name="connsiteY852" fmla="*/ 106718 h 512159"/>
              <a:gd name="connsiteX853" fmla="*/ 139141 w 264461"/>
              <a:gd name="connsiteY853" fmla="*/ 106042 h 512159"/>
              <a:gd name="connsiteX854" fmla="*/ 140332 w 264461"/>
              <a:gd name="connsiteY854" fmla="*/ 106461 h 512159"/>
              <a:gd name="connsiteX855" fmla="*/ 139884 w 264461"/>
              <a:gd name="connsiteY855" fmla="*/ 107899 h 512159"/>
              <a:gd name="connsiteX856" fmla="*/ 139455 w 264461"/>
              <a:gd name="connsiteY856" fmla="*/ 110890 h 512159"/>
              <a:gd name="connsiteX857" fmla="*/ 133150 w 264461"/>
              <a:gd name="connsiteY857" fmla="*/ 108185 h 512159"/>
              <a:gd name="connsiteX858" fmla="*/ 131616 w 264461"/>
              <a:gd name="connsiteY858" fmla="*/ 108871 h 512159"/>
              <a:gd name="connsiteX859" fmla="*/ 130102 w 264461"/>
              <a:gd name="connsiteY859" fmla="*/ 108823 h 512159"/>
              <a:gd name="connsiteX860" fmla="*/ 127740 w 264461"/>
              <a:gd name="connsiteY860" fmla="*/ 105842 h 512159"/>
              <a:gd name="connsiteX861" fmla="*/ 126844 w 264461"/>
              <a:gd name="connsiteY861" fmla="*/ 103670 h 512159"/>
              <a:gd name="connsiteX862" fmla="*/ 127006 w 264461"/>
              <a:gd name="connsiteY862" fmla="*/ 102232 h 512159"/>
              <a:gd name="connsiteX863" fmla="*/ 127997 w 264461"/>
              <a:gd name="connsiteY863" fmla="*/ 101746 h 512159"/>
              <a:gd name="connsiteX864" fmla="*/ 130283 w 264461"/>
              <a:gd name="connsiteY864" fmla="*/ 102451 h 512159"/>
              <a:gd name="connsiteX865" fmla="*/ 131464 w 264461"/>
              <a:gd name="connsiteY865" fmla="*/ 104937 h 512159"/>
              <a:gd name="connsiteX866" fmla="*/ 131616 w 264461"/>
              <a:gd name="connsiteY866" fmla="*/ 106547 h 512159"/>
              <a:gd name="connsiteX867" fmla="*/ 131893 w 264461"/>
              <a:gd name="connsiteY867" fmla="*/ 107175 h 512159"/>
              <a:gd name="connsiteX868" fmla="*/ 133312 w 264461"/>
              <a:gd name="connsiteY868" fmla="*/ 107813 h 512159"/>
              <a:gd name="connsiteX869" fmla="*/ 133150 w 264461"/>
              <a:gd name="connsiteY869" fmla="*/ 108185 h 512159"/>
              <a:gd name="connsiteX870" fmla="*/ 136026 w 264461"/>
              <a:gd name="connsiteY870" fmla="*/ 96021 h 512159"/>
              <a:gd name="connsiteX871" fmla="*/ 135664 w 264461"/>
              <a:gd name="connsiteY871" fmla="*/ 97298 h 512159"/>
              <a:gd name="connsiteX872" fmla="*/ 137693 w 264461"/>
              <a:gd name="connsiteY872" fmla="*/ 97269 h 512159"/>
              <a:gd name="connsiteX873" fmla="*/ 140636 w 264461"/>
              <a:gd name="connsiteY873" fmla="*/ 98355 h 512159"/>
              <a:gd name="connsiteX874" fmla="*/ 142418 w 264461"/>
              <a:gd name="connsiteY874" fmla="*/ 98488 h 512159"/>
              <a:gd name="connsiteX875" fmla="*/ 143904 w 264461"/>
              <a:gd name="connsiteY875" fmla="*/ 99841 h 512159"/>
              <a:gd name="connsiteX876" fmla="*/ 143084 w 264461"/>
              <a:gd name="connsiteY876" fmla="*/ 102365 h 512159"/>
              <a:gd name="connsiteX877" fmla="*/ 142199 w 264461"/>
              <a:gd name="connsiteY877" fmla="*/ 103079 h 512159"/>
              <a:gd name="connsiteX878" fmla="*/ 141198 w 264461"/>
              <a:gd name="connsiteY878" fmla="*/ 103222 h 512159"/>
              <a:gd name="connsiteX879" fmla="*/ 137693 w 264461"/>
              <a:gd name="connsiteY879" fmla="*/ 100698 h 512159"/>
              <a:gd name="connsiteX880" fmla="*/ 133102 w 264461"/>
              <a:gd name="connsiteY880" fmla="*/ 101746 h 512159"/>
              <a:gd name="connsiteX881" fmla="*/ 132188 w 264461"/>
              <a:gd name="connsiteY881" fmla="*/ 101422 h 512159"/>
              <a:gd name="connsiteX882" fmla="*/ 131588 w 264461"/>
              <a:gd name="connsiteY882" fmla="*/ 100727 h 512159"/>
              <a:gd name="connsiteX883" fmla="*/ 131340 w 264461"/>
              <a:gd name="connsiteY883" fmla="*/ 99860 h 512159"/>
              <a:gd name="connsiteX884" fmla="*/ 131340 w 264461"/>
              <a:gd name="connsiteY884" fmla="*/ 98088 h 512159"/>
              <a:gd name="connsiteX885" fmla="*/ 131093 w 264461"/>
              <a:gd name="connsiteY885" fmla="*/ 97565 h 512159"/>
              <a:gd name="connsiteX886" fmla="*/ 129426 w 264461"/>
              <a:gd name="connsiteY886" fmla="*/ 99241 h 512159"/>
              <a:gd name="connsiteX887" fmla="*/ 128702 w 264461"/>
              <a:gd name="connsiteY887" fmla="*/ 99041 h 512159"/>
              <a:gd name="connsiteX888" fmla="*/ 128292 w 264461"/>
              <a:gd name="connsiteY888" fmla="*/ 98241 h 512159"/>
              <a:gd name="connsiteX889" fmla="*/ 128111 w 264461"/>
              <a:gd name="connsiteY889" fmla="*/ 96584 h 512159"/>
              <a:gd name="connsiteX890" fmla="*/ 128292 w 264461"/>
              <a:gd name="connsiteY890" fmla="*/ 94193 h 512159"/>
              <a:gd name="connsiteX891" fmla="*/ 129273 w 264461"/>
              <a:gd name="connsiteY891" fmla="*/ 90773 h 512159"/>
              <a:gd name="connsiteX892" fmla="*/ 130921 w 264461"/>
              <a:gd name="connsiteY892" fmla="*/ 90088 h 512159"/>
              <a:gd name="connsiteX893" fmla="*/ 133378 w 264461"/>
              <a:gd name="connsiteY893" fmla="*/ 90488 h 512159"/>
              <a:gd name="connsiteX894" fmla="*/ 136198 w 264461"/>
              <a:gd name="connsiteY894" fmla="*/ 92421 h 512159"/>
              <a:gd name="connsiteX895" fmla="*/ 137046 w 264461"/>
              <a:gd name="connsiteY895" fmla="*/ 93612 h 512159"/>
              <a:gd name="connsiteX896" fmla="*/ 137027 w 264461"/>
              <a:gd name="connsiteY896" fmla="*/ 94564 h 512159"/>
              <a:gd name="connsiteX897" fmla="*/ 136026 w 264461"/>
              <a:gd name="connsiteY897" fmla="*/ 96021 h 512159"/>
              <a:gd name="connsiteX898" fmla="*/ 149618 w 264461"/>
              <a:gd name="connsiteY898" fmla="*/ 85525 h 512159"/>
              <a:gd name="connsiteX899" fmla="*/ 146599 w 264461"/>
              <a:gd name="connsiteY899" fmla="*/ 85582 h 512159"/>
              <a:gd name="connsiteX900" fmla="*/ 148161 w 264461"/>
              <a:gd name="connsiteY900" fmla="*/ 82496 h 512159"/>
              <a:gd name="connsiteX901" fmla="*/ 149981 w 264461"/>
              <a:gd name="connsiteY901" fmla="*/ 81715 h 512159"/>
              <a:gd name="connsiteX902" fmla="*/ 153419 w 264461"/>
              <a:gd name="connsiteY902" fmla="*/ 82058 h 512159"/>
              <a:gd name="connsiteX903" fmla="*/ 152810 w 264461"/>
              <a:gd name="connsiteY903" fmla="*/ 83449 h 512159"/>
              <a:gd name="connsiteX904" fmla="*/ 149618 w 264461"/>
              <a:gd name="connsiteY904" fmla="*/ 85525 h 512159"/>
              <a:gd name="connsiteX905" fmla="*/ 144799 w 264461"/>
              <a:gd name="connsiteY905" fmla="*/ 87849 h 512159"/>
              <a:gd name="connsiteX906" fmla="*/ 142504 w 264461"/>
              <a:gd name="connsiteY906" fmla="*/ 89145 h 512159"/>
              <a:gd name="connsiteX907" fmla="*/ 141522 w 264461"/>
              <a:gd name="connsiteY907" fmla="*/ 88078 h 512159"/>
              <a:gd name="connsiteX908" fmla="*/ 141265 w 264461"/>
              <a:gd name="connsiteY908" fmla="*/ 84725 h 512159"/>
              <a:gd name="connsiteX909" fmla="*/ 138531 w 264461"/>
              <a:gd name="connsiteY909" fmla="*/ 83287 h 512159"/>
              <a:gd name="connsiteX910" fmla="*/ 137198 w 264461"/>
              <a:gd name="connsiteY910" fmla="*/ 82391 h 512159"/>
              <a:gd name="connsiteX911" fmla="*/ 136169 w 264461"/>
              <a:gd name="connsiteY911" fmla="*/ 80696 h 512159"/>
              <a:gd name="connsiteX912" fmla="*/ 136427 w 264461"/>
              <a:gd name="connsiteY912" fmla="*/ 80172 h 512159"/>
              <a:gd name="connsiteX913" fmla="*/ 138208 w 264461"/>
              <a:gd name="connsiteY913" fmla="*/ 79477 h 512159"/>
              <a:gd name="connsiteX914" fmla="*/ 141256 w 264461"/>
              <a:gd name="connsiteY914" fmla="*/ 82553 h 512159"/>
              <a:gd name="connsiteX915" fmla="*/ 142504 w 264461"/>
              <a:gd name="connsiteY915" fmla="*/ 85030 h 512159"/>
              <a:gd name="connsiteX916" fmla="*/ 144761 w 264461"/>
              <a:gd name="connsiteY916" fmla="*/ 85763 h 512159"/>
              <a:gd name="connsiteX917" fmla="*/ 145047 w 264461"/>
              <a:gd name="connsiteY917" fmla="*/ 86144 h 512159"/>
              <a:gd name="connsiteX918" fmla="*/ 144799 w 264461"/>
              <a:gd name="connsiteY918" fmla="*/ 87849 h 512159"/>
              <a:gd name="connsiteX919" fmla="*/ 182785 w 264461"/>
              <a:gd name="connsiteY919" fmla="*/ 16050 h 512159"/>
              <a:gd name="connsiteX920" fmla="*/ 183337 w 264461"/>
              <a:gd name="connsiteY920" fmla="*/ 19869 h 512159"/>
              <a:gd name="connsiteX921" fmla="*/ 184718 w 264461"/>
              <a:gd name="connsiteY921" fmla="*/ 18879 h 512159"/>
              <a:gd name="connsiteX922" fmla="*/ 186804 w 264461"/>
              <a:gd name="connsiteY922" fmla="*/ 22536 h 512159"/>
              <a:gd name="connsiteX923" fmla="*/ 187871 w 264461"/>
              <a:gd name="connsiteY923" fmla="*/ 22536 h 512159"/>
              <a:gd name="connsiteX924" fmla="*/ 189624 w 264461"/>
              <a:gd name="connsiteY924" fmla="*/ 21088 h 512159"/>
              <a:gd name="connsiteX925" fmla="*/ 189271 w 264461"/>
              <a:gd name="connsiteY925" fmla="*/ 24489 h 512159"/>
              <a:gd name="connsiteX926" fmla="*/ 187452 w 264461"/>
              <a:gd name="connsiteY926" fmla="*/ 33890 h 512159"/>
              <a:gd name="connsiteX927" fmla="*/ 186937 w 264461"/>
              <a:gd name="connsiteY927" fmla="*/ 35481 h 512159"/>
              <a:gd name="connsiteX928" fmla="*/ 186595 w 264461"/>
              <a:gd name="connsiteY928" fmla="*/ 38329 h 512159"/>
              <a:gd name="connsiteX929" fmla="*/ 186233 w 264461"/>
              <a:gd name="connsiteY929" fmla="*/ 38891 h 512159"/>
              <a:gd name="connsiteX930" fmla="*/ 185699 w 264461"/>
              <a:gd name="connsiteY930" fmla="*/ 44634 h 512159"/>
              <a:gd name="connsiteX931" fmla="*/ 184470 w 264461"/>
              <a:gd name="connsiteY931" fmla="*/ 46520 h 512159"/>
              <a:gd name="connsiteX932" fmla="*/ 183442 w 264461"/>
              <a:gd name="connsiteY932" fmla="*/ 51016 h 512159"/>
              <a:gd name="connsiteX933" fmla="*/ 183023 w 264461"/>
              <a:gd name="connsiteY933" fmla="*/ 51454 h 512159"/>
              <a:gd name="connsiteX934" fmla="*/ 181518 w 264461"/>
              <a:gd name="connsiteY934" fmla="*/ 49730 h 512159"/>
              <a:gd name="connsiteX935" fmla="*/ 183023 w 264461"/>
              <a:gd name="connsiteY935" fmla="*/ 42863 h 512159"/>
              <a:gd name="connsiteX936" fmla="*/ 183642 w 264461"/>
              <a:gd name="connsiteY936" fmla="*/ 38862 h 512159"/>
              <a:gd name="connsiteX937" fmla="*/ 183242 w 264461"/>
              <a:gd name="connsiteY937" fmla="*/ 36786 h 512159"/>
              <a:gd name="connsiteX938" fmla="*/ 182394 w 264461"/>
              <a:gd name="connsiteY938" fmla="*/ 34909 h 512159"/>
              <a:gd name="connsiteX939" fmla="*/ 180089 w 264461"/>
              <a:gd name="connsiteY939" fmla="*/ 34852 h 512159"/>
              <a:gd name="connsiteX940" fmla="*/ 178146 w 264461"/>
              <a:gd name="connsiteY940" fmla="*/ 35719 h 512159"/>
              <a:gd name="connsiteX941" fmla="*/ 177736 w 264461"/>
              <a:gd name="connsiteY941" fmla="*/ 34614 h 512159"/>
              <a:gd name="connsiteX942" fmla="*/ 177679 w 264461"/>
              <a:gd name="connsiteY942" fmla="*/ 33128 h 512159"/>
              <a:gd name="connsiteX943" fmla="*/ 177212 w 264461"/>
              <a:gd name="connsiteY943" fmla="*/ 32633 h 512159"/>
              <a:gd name="connsiteX944" fmla="*/ 174631 w 264461"/>
              <a:gd name="connsiteY944" fmla="*/ 32737 h 512159"/>
              <a:gd name="connsiteX945" fmla="*/ 173869 w 264461"/>
              <a:gd name="connsiteY945" fmla="*/ 32328 h 512159"/>
              <a:gd name="connsiteX946" fmla="*/ 173364 w 264461"/>
              <a:gd name="connsiteY946" fmla="*/ 30956 h 512159"/>
              <a:gd name="connsiteX947" fmla="*/ 173269 w 264461"/>
              <a:gd name="connsiteY947" fmla="*/ 29861 h 512159"/>
              <a:gd name="connsiteX948" fmla="*/ 175603 w 264461"/>
              <a:gd name="connsiteY948" fmla="*/ 29004 h 512159"/>
              <a:gd name="connsiteX949" fmla="*/ 177794 w 264461"/>
              <a:gd name="connsiteY949" fmla="*/ 29328 h 512159"/>
              <a:gd name="connsiteX950" fmla="*/ 180994 w 264461"/>
              <a:gd name="connsiteY950" fmla="*/ 27146 h 512159"/>
              <a:gd name="connsiteX951" fmla="*/ 178994 w 264461"/>
              <a:gd name="connsiteY951" fmla="*/ 19822 h 512159"/>
              <a:gd name="connsiteX952" fmla="*/ 176336 w 264461"/>
              <a:gd name="connsiteY952" fmla="*/ 19126 h 512159"/>
              <a:gd name="connsiteX953" fmla="*/ 175726 w 264461"/>
              <a:gd name="connsiteY953" fmla="*/ 18412 h 512159"/>
              <a:gd name="connsiteX954" fmla="*/ 176241 w 264461"/>
              <a:gd name="connsiteY954" fmla="*/ 17164 h 512159"/>
              <a:gd name="connsiteX955" fmla="*/ 177698 w 264461"/>
              <a:gd name="connsiteY955" fmla="*/ 16488 h 512159"/>
              <a:gd name="connsiteX956" fmla="*/ 179937 w 264461"/>
              <a:gd name="connsiteY956" fmla="*/ 12744 h 512159"/>
              <a:gd name="connsiteX957" fmla="*/ 181280 w 264461"/>
              <a:gd name="connsiteY957" fmla="*/ 12154 h 512159"/>
              <a:gd name="connsiteX958" fmla="*/ 182947 w 264461"/>
              <a:gd name="connsiteY958" fmla="*/ 12259 h 512159"/>
              <a:gd name="connsiteX959" fmla="*/ 182785 w 264461"/>
              <a:gd name="connsiteY959" fmla="*/ 16050 h 512159"/>
              <a:gd name="connsiteX960" fmla="*/ 189890 w 264461"/>
              <a:gd name="connsiteY960" fmla="*/ 17336 h 512159"/>
              <a:gd name="connsiteX961" fmla="*/ 189214 w 264461"/>
              <a:gd name="connsiteY961" fmla="*/ 17955 h 512159"/>
              <a:gd name="connsiteX962" fmla="*/ 186604 w 264461"/>
              <a:gd name="connsiteY962" fmla="*/ 12440 h 512159"/>
              <a:gd name="connsiteX963" fmla="*/ 188538 w 264461"/>
              <a:gd name="connsiteY963" fmla="*/ 6106 h 512159"/>
              <a:gd name="connsiteX964" fmla="*/ 190881 w 264461"/>
              <a:gd name="connsiteY964" fmla="*/ 6306 h 512159"/>
              <a:gd name="connsiteX965" fmla="*/ 191252 w 264461"/>
              <a:gd name="connsiteY965" fmla="*/ 7963 h 512159"/>
              <a:gd name="connsiteX966" fmla="*/ 191024 w 264461"/>
              <a:gd name="connsiteY966" fmla="*/ 9497 h 512159"/>
              <a:gd name="connsiteX967" fmla="*/ 189833 w 264461"/>
              <a:gd name="connsiteY967" fmla="*/ 9630 h 512159"/>
              <a:gd name="connsiteX968" fmla="*/ 189728 w 264461"/>
              <a:gd name="connsiteY968" fmla="*/ 10096 h 512159"/>
              <a:gd name="connsiteX969" fmla="*/ 190100 w 264461"/>
              <a:gd name="connsiteY969" fmla="*/ 13040 h 512159"/>
              <a:gd name="connsiteX970" fmla="*/ 190119 w 264461"/>
              <a:gd name="connsiteY970" fmla="*/ 16450 h 512159"/>
              <a:gd name="connsiteX971" fmla="*/ 189890 w 264461"/>
              <a:gd name="connsiteY971" fmla="*/ 17336 h 512159"/>
              <a:gd name="connsiteX972" fmla="*/ 197053 w 264461"/>
              <a:gd name="connsiteY972" fmla="*/ 1086 h 512159"/>
              <a:gd name="connsiteX973" fmla="*/ 197053 w 264461"/>
              <a:gd name="connsiteY973" fmla="*/ 1715 h 512159"/>
              <a:gd name="connsiteX974" fmla="*/ 195662 w 264461"/>
              <a:gd name="connsiteY974" fmla="*/ 6325 h 512159"/>
              <a:gd name="connsiteX975" fmla="*/ 195681 w 264461"/>
              <a:gd name="connsiteY975" fmla="*/ 8087 h 512159"/>
              <a:gd name="connsiteX976" fmla="*/ 193443 w 264461"/>
              <a:gd name="connsiteY976" fmla="*/ 7915 h 512159"/>
              <a:gd name="connsiteX977" fmla="*/ 193091 w 264461"/>
              <a:gd name="connsiteY977" fmla="*/ 7353 h 512159"/>
              <a:gd name="connsiteX978" fmla="*/ 192672 w 264461"/>
              <a:gd name="connsiteY978" fmla="*/ 4715 h 512159"/>
              <a:gd name="connsiteX979" fmla="*/ 192957 w 264461"/>
              <a:gd name="connsiteY979" fmla="*/ 1905 h 512159"/>
              <a:gd name="connsiteX980" fmla="*/ 193272 w 264461"/>
              <a:gd name="connsiteY980" fmla="*/ 1172 h 512159"/>
              <a:gd name="connsiteX981" fmla="*/ 193919 w 264461"/>
              <a:gd name="connsiteY981" fmla="*/ 876 h 512159"/>
              <a:gd name="connsiteX982" fmla="*/ 194624 w 264461"/>
              <a:gd name="connsiteY982" fmla="*/ 1429 h 512159"/>
              <a:gd name="connsiteX983" fmla="*/ 195739 w 264461"/>
              <a:gd name="connsiteY983" fmla="*/ 0 h 512159"/>
              <a:gd name="connsiteX984" fmla="*/ 196320 w 264461"/>
              <a:gd name="connsiteY984" fmla="*/ 29 h 512159"/>
              <a:gd name="connsiteX985" fmla="*/ 197053 w 264461"/>
              <a:gd name="connsiteY985" fmla="*/ 1086 h 512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</a:cxnLst>
            <a:rect l="l" t="t" r="r" b="b"/>
            <a:pathLst>
              <a:path w="264461" h="512159">
                <a:moveTo>
                  <a:pt x="189271" y="484203"/>
                </a:moveTo>
                <a:lnTo>
                  <a:pt x="187033" y="485651"/>
                </a:lnTo>
                <a:lnTo>
                  <a:pt x="186328" y="487356"/>
                </a:lnTo>
                <a:lnTo>
                  <a:pt x="185785" y="488023"/>
                </a:lnTo>
                <a:lnTo>
                  <a:pt x="184309" y="488461"/>
                </a:lnTo>
                <a:lnTo>
                  <a:pt x="182842" y="488470"/>
                </a:lnTo>
                <a:lnTo>
                  <a:pt x="177260" y="485061"/>
                </a:lnTo>
                <a:lnTo>
                  <a:pt x="175974" y="485213"/>
                </a:lnTo>
                <a:lnTo>
                  <a:pt x="177251" y="483651"/>
                </a:lnTo>
                <a:lnTo>
                  <a:pt x="180718" y="482375"/>
                </a:lnTo>
                <a:lnTo>
                  <a:pt x="182670" y="480689"/>
                </a:lnTo>
                <a:lnTo>
                  <a:pt x="187176" y="482317"/>
                </a:lnTo>
                <a:lnTo>
                  <a:pt x="189271" y="484203"/>
                </a:lnTo>
                <a:close/>
                <a:moveTo>
                  <a:pt x="105565" y="370189"/>
                </a:moveTo>
                <a:lnTo>
                  <a:pt x="106689" y="371018"/>
                </a:lnTo>
                <a:lnTo>
                  <a:pt x="109509" y="370884"/>
                </a:lnTo>
                <a:lnTo>
                  <a:pt x="108575" y="372732"/>
                </a:lnTo>
                <a:lnTo>
                  <a:pt x="105470" y="374790"/>
                </a:lnTo>
                <a:lnTo>
                  <a:pt x="103384" y="376819"/>
                </a:lnTo>
                <a:lnTo>
                  <a:pt x="100860" y="378514"/>
                </a:lnTo>
                <a:lnTo>
                  <a:pt x="99641" y="376561"/>
                </a:lnTo>
                <a:lnTo>
                  <a:pt x="98222" y="376637"/>
                </a:lnTo>
                <a:lnTo>
                  <a:pt x="96050" y="372885"/>
                </a:lnTo>
                <a:lnTo>
                  <a:pt x="95660" y="367265"/>
                </a:lnTo>
                <a:lnTo>
                  <a:pt x="98498" y="365798"/>
                </a:lnTo>
                <a:lnTo>
                  <a:pt x="102422" y="365884"/>
                </a:lnTo>
                <a:lnTo>
                  <a:pt x="105565" y="370189"/>
                </a:lnTo>
                <a:close/>
                <a:moveTo>
                  <a:pt x="47339" y="282445"/>
                </a:moveTo>
                <a:lnTo>
                  <a:pt x="51111" y="283616"/>
                </a:lnTo>
                <a:lnTo>
                  <a:pt x="53921" y="283598"/>
                </a:lnTo>
                <a:lnTo>
                  <a:pt x="56416" y="286998"/>
                </a:lnTo>
                <a:lnTo>
                  <a:pt x="57750" y="292351"/>
                </a:lnTo>
                <a:lnTo>
                  <a:pt x="60865" y="297628"/>
                </a:lnTo>
                <a:lnTo>
                  <a:pt x="64941" y="302200"/>
                </a:lnTo>
                <a:lnTo>
                  <a:pt x="65103" y="304990"/>
                </a:lnTo>
                <a:lnTo>
                  <a:pt x="63646" y="306486"/>
                </a:lnTo>
                <a:lnTo>
                  <a:pt x="60607" y="308343"/>
                </a:lnTo>
                <a:lnTo>
                  <a:pt x="60617" y="310334"/>
                </a:lnTo>
                <a:lnTo>
                  <a:pt x="62627" y="309334"/>
                </a:lnTo>
                <a:lnTo>
                  <a:pt x="64360" y="308877"/>
                </a:lnTo>
                <a:lnTo>
                  <a:pt x="68532" y="309315"/>
                </a:lnTo>
                <a:lnTo>
                  <a:pt x="69990" y="311334"/>
                </a:lnTo>
                <a:lnTo>
                  <a:pt x="70999" y="314354"/>
                </a:lnTo>
                <a:lnTo>
                  <a:pt x="71533" y="316830"/>
                </a:lnTo>
                <a:lnTo>
                  <a:pt x="71171" y="319516"/>
                </a:lnTo>
                <a:lnTo>
                  <a:pt x="70047" y="318659"/>
                </a:lnTo>
                <a:lnTo>
                  <a:pt x="68904" y="316259"/>
                </a:lnTo>
                <a:lnTo>
                  <a:pt x="67637" y="315154"/>
                </a:lnTo>
                <a:lnTo>
                  <a:pt x="66161" y="314554"/>
                </a:lnTo>
                <a:lnTo>
                  <a:pt x="66827" y="317859"/>
                </a:lnTo>
                <a:lnTo>
                  <a:pt x="66560" y="322269"/>
                </a:lnTo>
                <a:lnTo>
                  <a:pt x="67199" y="322679"/>
                </a:lnTo>
                <a:lnTo>
                  <a:pt x="69180" y="322755"/>
                </a:lnTo>
                <a:lnTo>
                  <a:pt x="67875" y="327250"/>
                </a:lnTo>
                <a:lnTo>
                  <a:pt x="65160" y="328470"/>
                </a:lnTo>
                <a:lnTo>
                  <a:pt x="62008" y="328927"/>
                </a:lnTo>
                <a:lnTo>
                  <a:pt x="61246" y="330518"/>
                </a:lnTo>
                <a:lnTo>
                  <a:pt x="60674" y="332565"/>
                </a:lnTo>
                <a:lnTo>
                  <a:pt x="59026" y="335614"/>
                </a:lnTo>
                <a:lnTo>
                  <a:pt x="56855" y="337338"/>
                </a:lnTo>
                <a:lnTo>
                  <a:pt x="54168" y="336985"/>
                </a:lnTo>
                <a:lnTo>
                  <a:pt x="51540" y="335623"/>
                </a:lnTo>
                <a:lnTo>
                  <a:pt x="49244" y="335347"/>
                </a:lnTo>
                <a:lnTo>
                  <a:pt x="47644" y="336156"/>
                </a:lnTo>
                <a:lnTo>
                  <a:pt x="46606" y="336909"/>
                </a:lnTo>
                <a:lnTo>
                  <a:pt x="45596" y="336775"/>
                </a:lnTo>
                <a:lnTo>
                  <a:pt x="42710" y="337061"/>
                </a:lnTo>
                <a:lnTo>
                  <a:pt x="39995" y="337004"/>
                </a:lnTo>
                <a:lnTo>
                  <a:pt x="39605" y="335814"/>
                </a:lnTo>
                <a:lnTo>
                  <a:pt x="40072" y="332232"/>
                </a:lnTo>
                <a:lnTo>
                  <a:pt x="39462" y="331261"/>
                </a:lnTo>
                <a:lnTo>
                  <a:pt x="36871" y="330765"/>
                </a:lnTo>
                <a:lnTo>
                  <a:pt x="35909" y="329908"/>
                </a:lnTo>
                <a:lnTo>
                  <a:pt x="34414" y="327431"/>
                </a:lnTo>
                <a:lnTo>
                  <a:pt x="34119" y="326269"/>
                </a:lnTo>
                <a:lnTo>
                  <a:pt x="33909" y="324669"/>
                </a:lnTo>
                <a:lnTo>
                  <a:pt x="32328" y="322602"/>
                </a:lnTo>
                <a:lnTo>
                  <a:pt x="30413" y="321116"/>
                </a:lnTo>
                <a:lnTo>
                  <a:pt x="29289" y="321040"/>
                </a:lnTo>
                <a:lnTo>
                  <a:pt x="27051" y="323460"/>
                </a:lnTo>
                <a:lnTo>
                  <a:pt x="25203" y="325907"/>
                </a:lnTo>
                <a:lnTo>
                  <a:pt x="25851" y="327136"/>
                </a:lnTo>
                <a:lnTo>
                  <a:pt x="26451" y="328746"/>
                </a:lnTo>
                <a:lnTo>
                  <a:pt x="25451" y="329908"/>
                </a:lnTo>
                <a:lnTo>
                  <a:pt x="22412" y="332556"/>
                </a:lnTo>
                <a:lnTo>
                  <a:pt x="21936" y="333585"/>
                </a:lnTo>
                <a:lnTo>
                  <a:pt x="21117" y="334146"/>
                </a:lnTo>
                <a:lnTo>
                  <a:pt x="19669" y="333413"/>
                </a:lnTo>
                <a:lnTo>
                  <a:pt x="16059" y="333585"/>
                </a:lnTo>
                <a:lnTo>
                  <a:pt x="14402" y="333118"/>
                </a:lnTo>
                <a:lnTo>
                  <a:pt x="12468" y="331165"/>
                </a:lnTo>
                <a:lnTo>
                  <a:pt x="7753" y="329860"/>
                </a:lnTo>
                <a:lnTo>
                  <a:pt x="6963" y="326727"/>
                </a:lnTo>
                <a:lnTo>
                  <a:pt x="6058" y="326136"/>
                </a:lnTo>
                <a:lnTo>
                  <a:pt x="714" y="320754"/>
                </a:lnTo>
                <a:lnTo>
                  <a:pt x="0" y="318954"/>
                </a:lnTo>
                <a:lnTo>
                  <a:pt x="695" y="317878"/>
                </a:lnTo>
                <a:lnTo>
                  <a:pt x="2686" y="316249"/>
                </a:lnTo>
                <a:lnTo>
                  <a:pt x="9382" y="313544"/>
                </a:lnTo>
                <a:lnTo>
                  <a:pt x="10439" y="312458"/>
                </a:lnTo>
                <a:lnTo>
                  <a:pt x="10658" y="311496"/>
                </a:lnTo>
                <a:lnTo>
                  <a:pt x="8687" y="310401"/>
                </a:lnTo>
                <a:lnTo>
                  <a:pt x="6915" y="309181"/>
                </a:lnTo>
                <a:lnTo>
                  <a:pt x="6315" y="308391"/>
                </a:lnTo>
                <a:lnTo>
                  <a:pt x="6267" y="307696"/>
                </a:lnTo>
                <a:lnTo>
                  <a:pt x="7277" y="306791"/>
                </a:lnTo>
                <a:lnTo>
                  <a:pt x="9296" y="306724"/>
                </a:lnTo>
                <a:lnTo>
                  <a:pt x="10896" y="307134"/>
                </a:lnTo>
                <a:lnTo>
                  <a:pt x="12163" y="306324"/>
                </a:lnTo>
                <a:lnTo>
                  <a:pt x="14392" y="305505"/>
                </a:lnTo>
                <a:lnTo>
                  <a:pt x="15888" y="304476"/>
                </a:lnTo>
                <a:lnTo>
                  <a:pt x="17173" y="301819"/>
                </a:lnTo>
                <a:lnTo>
                  <a:pt x="18535" y="299428"/>
                </a:lnTo>
                <a:lnTo>
                  <a:pt x="18679" y="298132"/>
                </a:lnTo>
                <a:lnTo>
                  <a:pt x="19869" y="293570"/>
                </a:lnTo>
                <a:lnTo>
                  <a:pt x="20526" y="292437"/>
                </a:lnTo>
                <a:lnTo>
                  <a:pt x="24755" y="289446"/>
                </a:lnTo>
                <a:lnTo>
                  <a:pt x="25822" y="291084"/>
                </a:lnTo>
                <a:lnTo>
                  <a:pt x="27908" y="291484"/>
                </a:lnTo>
                <a:lnTo>
                  <a:pt x="29775" y="289979"/>
                </a:lnTo>
                <a:lnTo>
                  <a:pt x="32013" y="285226"/>
                </a:lnTo>
                <a:lnTo>
                  <a:pt x="33566" y="284931"/>
                </a:lnTo>
                <a:lnTo>
                  <a:pt x="35280" y="285322"/>
                </a:lnTo>
                <a:lnTo>
                  <a:pt x="38652" y="284721"/>
                </a:lnTo>
                <a:lnTo>
                  <a:pt x="44634" y="282502"/>
                </a:lnTo>
                <a:lnTo>
                  <a:pt x="47339" y="282445"/>
                </a:lnTo>
                <a:close/>
                <a:moveTo>
                  <a:pt x="81277" y="272729"/>
                </a:moveTo>
                <a:lnTo>
                  <a:pt x="77905" y="272767"/>
                </a:lnTo>
                <a:lnTo>
                  <a:pt x="76686" y="272358"/>
                </a:lnTo>
                <a:lnTo>
                  <a:pt x="75228" y="271215"/>
                </a:lnTo>
                <a:lnTo>
                  <a:pt x="73590" y="264738"/>
                </a:lnTo>
                <a:lnTo>
                  <a:pt x="74181" y="262442"/>
                </a:lnTo>
                <a:lnTo>
                  <a:pt x="74847" y="261318"/>
                </a:lnTo>
                <a:lnTo>
                  <a:pt x="75590" y="260442"/>
                </a:lnTo>
                <a:lnTo>
                  <a:pt x="77371" y="260080"/>
                </a:lnTo>
                <a:lnTo>
                  <a:pt x="79143" y="261309"/>
                </a:lnTo>
                <a:lnTo>
                  <a:pt x="79810" y="262452"/>
                </a:lnTo>
                <a:lnTo>
                  <a:pt x="81296" y="266833"/>
                </a:lnTo>
                <a:lnTo>
                  <a:pt x="81572" y="270586"/>
                </a:lnTo>
                <a:lnTo>
                  <a:pt x="81277" y="272729"/>
                </a:lnTo>
                <a:close/>
                <a:moveTo>
                  <a:pt x="53921" y="249927"/>
                </a:moveTo>
                <a:lnTo>
                  <a:pt x="54883" y="256032"/>
                </a:lnTo>
                <a:lnTo>
                  <a:pt x="55826" y="259804"/>
                </a:lnTo>
                <a:lnTo>
                  <a:pt x="55893" y="261090"/>
                </a:lnTo>
                <a:lnTo>
                  <a:pt x="55007" y="262880"/>
                </a:lnTo>
                <a:lnTo>
                  <a:pt x="50597" y="265262"/>
                </a:lnTo>
                <a:lnTo>
                  <a:pt x="49206" y="265271"/>
                </a:lnTo>
                <a:lnTo>
                  <a:pt x="49149" y="264690"/>
                </a:lnTo>
                <a:lnTo>
                  <a:pt x="50139" y="262271"/>
                </a:lnTo>
                <a:lnTo>
                  <a:pt x="49282" y="259518"/>
                </a:lnTo>
                <a:lnTo>
                  <a:pt x="49701" y="257423"/>
                </a:lnTo>
                <a:lnTo>
                  <a:pt x="49292" y="257042"/>
                </a:lnTo>
                <a:lnTo>
                  <a:pt x="48435" y="257337"/>
                </a:lnTo>
                <a:lnTo>
                  <a:pt x="45272" y="260661"/>
                </a:lnTo>
                <a:lnTo>
                  <a:pt x="44215" y="260985"/>
                </a:lnTo>
                <a:lnTo>
                  <a:pt x="44101" y="260309"/>
                </a:lnTo>
                <a:lnTo>
                  <a:pt x="44882" y="257585"/>
                </a:lnTo>
                <a:lnTo>
                  <a:pt x="44977" y="255718"/>
                </a:lnTo>
                <a:lnTo>
                  <a:pt x="45444" y="254575"/>
                </a:lnTo>
                <a:lnTo>
                  <a:pt x="46301" y="253517"/>
                </a:lnTo>
                <a:lnTo>
                  <a:pt x="47320" y="252727"/>
                </a:lnTo>
                <a:lnTo>
                  <a:pt x="48149" y="252612"/>
                </a:lnTo>
                <a:lnTo>
                  <a:pt x="49025" y="253432"/>
                </a:lnTo>
                <a:lnTo>
                  <a:pt x="51578" y="251146"/>
                </a:lnTo>
                <a:lnTo>
                  <a:pt x="53921" y="249927"/>
                </a:lnTo>
                <a:close/>
                <a:moveTo>
                  <a:pt x="58169" y="255451"/>
                </a:moveTo>
                <a:lnTo>
                  <a:pt x="57607" y="255956"/>
                </a:lnTo>
                <a:lnTo>
                  <a:pt x="56254" y="255813"/>
                </a:lnTo>
                <a:lnTo>
                  <a:pt x="55750" y="255041"/>
                </a:lnTo>
                <a:lnTo>
                  <a:pt x="55473" y="253860"/>
                </a:lnTo>
                <a:lnTo>
                  <a:pt x="55445" y="251698"/>
                </a:lnTo>
                <a:lnTo>
                  <a:pt x="56264" y="250145"/>
                </a:lnTo>
                <a:lnTo>
                  <a:pt x="59731" y="247802"/>
                </a:lnTo>
                <a:lnTo>
                  <a:pt x="58160" y="246974"/>
                </a:lnTo>
                <a:lnTo>
                  <a:pt x="58102" y="246383"/>
                </a:lnTo>
                <a:lnTo>
                  <a:pt x="58998" y="244431"/>
                </a:lnTo>
                <a:lnTo>
                  <a:pt x="62722" y="241392"/>
                </a:lnTo>
                <a:lnTo>
                  <a:pt x="63722" y="240840"/>
                </a:lnTo>
                <a:lnTo>
                  <a:pt x="64713" y="240925"/>
                </a:lnTo>
                <a:lnTo>
                  <a:pt x="62789" y="246317"/>
                </a:lnTo>
                <a:lnTo>
                  <a:pt x="58169" y="255451"/>
                </a:lnTo>
                <a:close/>
                <a:moveTo>
                  <a:pt x="63303" y="230124"/>
                </a:moveTo>
                <a:lnTo>
                  <a:pt x="52654" y="232801"/>
                </a:lnTo>
                <a:lnTo>
                  <a:pt x="48987" y="232563"/>
                </a:lnTo>
                <a:lnTo>
                  <a:pt x="48654" y="231248"/>
                </a:lnTo>
                <a:lnTo>
                  <a:pt x="49387" y="230372"/>
                </a:lnTo>
                <a:lnTo>
                  <a:pt x="52426" y="229524"/>
                </a:lnTo>
                <a:lnTo>
                  <a:pt x="53654" y="223076"/>
                </a:lnTo>
                <a:lnTo>
                  <a:pt x="49063" y="220094"/>
                </a:lnTo>
                <a:lnTo>
                  <a:pt x="48825" y="219265"/>
                </a:lnTo>
                <a:lnTo>
                  <a:pt x="49187" y="217846"/>
                </a:lnTo>
                <a:lnTo>
                  <a:pt x="49721" y="217208"/>
                </a:lnTo>
                <a:lnTo>
                  <a:pt x="52502" y="215703"/>
                </a:lnTo>
                <a:lnTo>
                  <a:pt x="53673" y="215370"/>
                </a:lnTo>
                <a:lnTo>
                  <a:pt x="54626" y="215570"/>
                </a:lnTo>
                <a:lnTo>
                  <a:pt x="56588" y="217313"/>
                </a:lnTo>
                <a:lnTo>
                  <a:pt x="58798" y="220961"/>
                </a:lnTo>
                <a:lnTo>
                  <a:pt x="61760" y="221542"/>
                </a:lnTo>
                <a:lnTo>
                  <a:pt x="63770" y="223085"/>
                </a:lnTo>
                <a:lnTo>
                  <a:pt x="63303" y="230124"/>
                </a:lnTo>
                <a:close/>
                <a:moveTo>
                  <a:pt x="41119" y="218504"/>
                </a:moveTo>
                <a:lnTo>
                  <a:pt x="39605" y="218770"/>
                </a:lnTo>
                <a:lnTo>
                  <a:pt x="39491" y="218084"/>
                </a:lnTo>
                <a:lnTo>
                  <a:pt x="42129" y="214808"/>
                </a:lnTo>
                <a:lnTo>
                  <a:pt x="43834" y="214265"/>
                </a:lnTo>
                <a:lnTo>
                  <a:pt x="44434" y="214589"/>
                </a:lnTo>
                <a:lnTo>
                  <a:pt x="43196" y="216494"/>
                </a:lnTo>
                <a:lnTo>
                  <a:pt x="41119" y="218504"/>
                </a:lnTo>
                <a:close/>
                <a:moveTo>
                  <a:pt x="19488" y="199977"/>
                </a:moveTo>
                <a:lnTo>
                  <a:pt x="17135" y="200644"/>
                </a:lnTo>
                <a:lnTo>
                  <a:pt x="16268" y="200254"/>
                </a:lnTo>
                <a:lnTo>
                  <a:pt x="16116" y="199635"/>
                </a:lnTo>
                <a:lnTo>
                  <a:pt x="16650" y="197949"/>
                </a:lnTo>
                <a:lnTo>
                  <a:pt x="18450" y="197348"/>
                </a:lnTo>
                <a:lnTo>
                  <a:pt x="19755" y="198263"/>
                </a:lnTo>
                <a:lnTo>
                  <a:pt x="19964" y="199092"/>
                </a:lnTo>
                <a:lnTo>
                  <a:pt x="19488" y="199977"/>
                </a:lnTo>
                <a:close/>
                <a:moveTo>
                  <a:pt x="49911" y="200015"/>
                </a:moveTo>
                <a:lnTo>
                  <a:pt x="49120" y="200644"/>
                </a:lnTo>
                <a:lnTo>
                  <a:pt x="48120" y="200520"/>
                </a:lnTo>
                <a:lnTo>
                  <a:pt x="47130" y="199711"/>
                </a:lnTo>
                <a:lnTo>
                  <a:pt x="45815" y="197406"/>
                </a:lnTo>
                <a:lnTo>
                  <a:pt x="48768" y="195805"/>
                </a:lnTo>
                <a:lnTo>
                  <a:pt x="49949" y="196748"/>
                </a:lnTo>
                <a:lnTo>
                  <a:pt x="50397" y="197825"/>
                </a:lnTo>
                <a:lnTo>
                  <a:pt x="50416" y="199015"/>
                </a:lnTo>
                <a:lnTo>
                  <a:pt x="49911" y="200015"/>
                </a:lnTo>
                <a:close/>
                <a:moveTo>
                  <a:pt x="23955" y="192624"/>
                </a:moveTo>
                <a:lnTo>
                  <a:pt x="22822" y="192900"/>
                </a:lnTo>
                <a:lnTo>
                  <a:pt x="21346" y="192634"/>
                </a:lnTo>
                <a:lnTo>
                  <a:pt x="20431" y="191872"/>
                </a:lnTo>
                <a:lnTo>
                  <a:pt x="19507" y="188852"/>
                </a:lnTo>
                <a:lnTo>
                  <a:pt x="19336" y="187023"/>
                </a:lnTo>
                <a:lnTo>
                  <a:pt x="19745" y="183614"/>
                </a:lnTo>
                <a:lnTo>
                  <a:pt x="19650" y="179527"/>
                </a:lnTo>
                <a:lnTo>
                  <a:pt x="22698" y="179403"/>
                </a:lnTo>
                <a:lnTo>
                  <a:pt x="23488" y="179994"/>
                </a:lnTo>
                <a:lnTo>
                  <a:pt x="24012" y="192100"/>
                </a:lnTo>
                <a:lnTo>
                  <a:pt x="23955" y="192624"/>
                </a:lnTo>
                <a:close/>
                <a:moveTo>
                  <a:pt x="53502" y="173384"/>
                </a:moveTo>
                <a:lnTo>
                  <a:pt x="53464" y="175574"/>
                </a:lnTo>
                <a:lnTo>
                  <a:pt x="52987" y="178156"/>
                </a:lnTo>
                <a:lnTo>
                  <a:pt x="53597" y="180889"/>
                </a:lnTo>
                <a:lnTo>
                  <a:pt x="53740" y="182842"/>
                </a:lnTo>
                <a:lnTo>
                  <a:pt x="54864" y="183461"/>
                </a:lnTo>
                <a:lnTo>
                  <a:pt x="55550" y="184356"/>
                </a:lnTo>
                <a:lnTo>
                  <a:pt x="60560" y="185356"/>
                </a:lnTo>
                <a:lnTo>
                  <a:pt x="65218" y="185071"/>
                </a:lnTo>
                <a:lnTo>
                  <a:pt x="66113" y="185871"/>
                </a:lnTo>
                <a:lnTo>
                  <a:pt x="66218" y="187147"/>
                </a:lnTo>
                <a:lnTo>
                  <a:pt x="65484" y="188548"/>
                </a:lnTo>
                <a:lnTo>
                  <a:pt x="62827" y="191100"/>
                </a:lnTo>
                <a:lnTo>
                  <a:pt x="59664" y="195224"/>
                </a:lnTo>
                <a:lnTo>
                  <a:pt x="58721" y="196082"/>
                </a:lnTo>
                <a:lnTo>
                  <a:pt x="57702" y="196120"/>
                </a:lnTo>
                <a:lnTo>
                  <a:pt x="56969" y="195748"/>
                </a:lnTo>
                <a:lnTo>
                  <a:pt x="56445" y="188414"/>
                </a:lnTo>
                <a:lnTo>
                  <a:pt x="53016" y="189357"/>
                </a:lnTo>
                <a:lnTo>
                  <a:pt x="50254" y="189252"/>
                </a:lnTo>
                <a:lnTo>
                  <a:pt x="48739" y="188357"/>
                </a:lnTo>
                <a:lnTo>
                  <a:pt x="47682" y="186633"/>
                </a:lnTo>
                <a:lnTo>
                  <a:pt x="45539" y="182194"/>
                </a:lnTo>
                <a:lnTo>
                  <a:pt x="39310" y="180442"/>
                </a:lnTo>
                <a:lnTo>
                  <a:pt x="37547" y="177984"/>
                </a:lnTo>
                <a:lnTo>
                  <a:pt x="37014" y="176498"/>
                </a:lnTo>
                <a:lnTo>
                  <a:pt x="37233" y="175679"/>
                </a:lnTo>
                <a:lnTo>
                  <a:pt x="38528" y="173850"/>
                </a:lnTo>
                <a:lnTo>
                  <a:pt x="40148" y="174498"/>
                </a:lnTo>
                <a:lnTo>
                  <a:pt x="41148" y="174098"/>
                </a:lnTo>
                <a:lnTo>
                  <a:pt x="41757" y="173279"/>
                </a:lnTo>
                <a:lnTo>
                  <a:pt x="41748" y="172603"/>
                </a:lnTo>
                <a:lnTo>
                  <a:pt x="40900" y="171012"/>
                </a:lnTo>
                <a:lnTo>
                  <a:pt x="40862" y="170517"/>
                </a:lnTo>
                <a:lnTo>
                  <a:pt x="47234" y="168497"/>
                </a:lnTo>
                <a:lnTo>
                  <a:pt x="47796" y="165335"/>
                </a:lnTo>
                <a:lnTo>
                  <a:pt x="49178" y="165078"/>
                </a:lnTo>
                <a:lnTo>
                  <a:pt x="50759" y="166116"/>
                </a:lnTo>
                <a:lnTo>
                  <a:pt x="52921" y="169402"/>
                </a:lnTo>
                <a:lnTo>
                  <a:pt x="53502" y="173384"/>
                </a:lnTo>
                <a:close/>
                <a:moveTo>
                  <a:pt x="25136" y="164525"/>
                </a:moveTo>
                <a:lnTo>
                  <a:pt x="28156" y="167326"/>
                </a:lnTo>
                <a:lnTo>
                  <a:pt x="25755" y="171974"/>
                </a:lnTo>
                <a:lnTo>
                  <a:pt x="22069" y="171955"/>
                </a:lnTo>
                <a:lnTo>
                  <a:pt x="16878" y="168564"/>
                </a:lnTo>
                <a:lnTo>
                  <a:pt x="16859" y="167869"/>
                </a:lnTo>
                <a:lnTo>
                  <a:pt x="17288" y="166849"/>
                </a:lnTo>
                <a:lnTo>
                  <a:pt x="18069" y="166040"/>
                </a:lnTo>
                <a:lnTo>
                  <a:pt x="18878" y="165849"/>
                </a:lnTo>
                <a:lnTo>
                  <a:pt x="20164" y="166402"/>
                </a:lnTo>
                <a:lnTo>
                  <a:pt x="21955" y="165506"/>
                </a:lnTo>
                <a:lnTo>
                  <a:pt x="23384" y="165792"/>
                </a:lnTo>
                <a:lnTo>
                  <a:pt x="25136" y="164525"/>
                </a:lnTo>
                <a:close/>
                <a:moveTo>
                  <a:pt x="52054" y="130245"/>
                </a:moveTo>
                <a:lnTo>
                  <a:pt x="48654" y="139094"/>
                </a:lnTo>
                <a:lnTo>
                  <a:pt x="47320" y="139313"/>
                </a:lnTo>
                <a:lnTo>
                  <a:pt x="46149" y="141522"/>
                </a:lnTo>
                <a:lnTo>
                  <a:pt x="42529" y="143951"/>
                </a:lnTo>
                <a:lnTo>
                  <a:pt x="45691" y="143999"/>
                </a:lnTo>
                <a:lnTo>
                  <a:pt x="46577" y="144809"/>
                </a:lnTo>
                <a:lnTo>
                  <a:pt x="46596" y="146552"/>
                </a:lnTo>
                <a:lnTo>
                  <a:pt x="45996" y="147561"/>
                </a:lnTo>
                <a:lnTo>
                  <a:pt x="41910" y="151581"/>
                </a:lnTo>
                <a:lnTo>
                  <a:pt x="39100" y="153105"/>
                </a:lnTo>
                <a:lnTo>
                  <a:pt x="36071" y="157296"/>
                </a:lnTo>
                <a:lnTo>
                  <a:pt x="34537" y="157344"/>
                </a:lnTo>
                <a:lnTo>
                  <a:pt x="33023" y="160001"/>
                </a:lnTo>
                <a:lnTo>
                  <a:pt x="31785" y="161172"/>
                </a:lnTo>
                <a:lnTo>
                  <a:pt x="31080" y="161172"/>
                </a:lnTo>
                <a:lnTo>
                  <a:pt x="30280" y="160582"/>
                </a:lnTo>
                <a:lnTo>
                  <a:pt x="28403" y="157982"/>
                </a:lnTo>
                <a:lnTo>
                  <a:pt x="31813" y="155420"/>
                </a:lnTo>
                <a:lnTo>
                  <a:pt x="32128" y="153981"/>
                </a:lnTo>
                <a:lnTo>
                  <a:pt x="34461" y="152476"/>
                </a:lnTo>
                <a:lnTo>
                  <a:pt x="34261" y="152010"/>
                </a:lnTo>
                <a:lnTo>
                  <a:pt x="30556" y="149895"/>
                </a:lnTo>
                <a:lnTo>
                  <a:pt x="29099" y="148476"/>
                </a:lnTo>
                <a:lnTo>
                  <a:pt x="29232" y="147733"/>
                </a:lnTo>
                <a:lnTo>
                  <a:pt x="31013" y="146095"/>
                </a:lnTo>
                <a:lnTo>
                  <a:pt x="30175" y="145885"/>
                </a:lnTo>
                <a:lnTo>
                  <a:pt x="29604" y="144999"/>
                </a:lnTo>
                <a:lnTo>
                  <a:pt x="28575" y="144656"/>
                </a:lnTo>
                <a:lnTo>
                  <a:pt x="28260" y="143837"/>
                </a:lnTo>
                <a:lnTo>
                  <a:pt x="28070" y="141665"/>
                </a:lnTo>
                <a:lnTo>
                  <a:pt x="28346" y="139446"/>
                </a:lnTo>
                <a:lnTo>
                  <a:pt x="29423" y="138465"/>
                </a:lnTo>
                <a:lnTo>
                  <a:pt x="29861" y="137417"/>
                </a:lnTo>
                <a:lnTo>
                  <a:pt x="30299" y="137093"/>
                </a:lnTo>
                <a:lnTo>
                  <a:pt x="31966" y="137655"/>
                </a:lnTo>
                <a:lnTo>
                  <a:pt x="33661" y="139437"/>
                </a:lnTo>
                <a:lnTo>
                  <a:pt x="35642" y="138751"/>
                </a:lnTo>
                <a:lnTo>
                  <a:pt x="37938" y="139084"/>
                </a:lnTo>
                <a:lnTo>
                  <a:pt x="37985" y="138674"/>
                </a:lnTo>
                <a:lnTo>
                  <a:pt x="36300" y="134303"/>
                </a:lnTo>
                <a:lnTo>
                  <a:pt x="36604" y="133407"/>
                </a:lnTo>
                <a:lnTo>
                  <a:pt x="37519" y="132388"/>
                </a:lnTo>
                <a:lnTo>
                  <a:pt x="42815" y="129254"/>
                </a:lnTo>
                <a:lnTo>
                  <a:pt x="49416" y="123977"/>
                </a:lnTo>
                <a:lnTo>
                  <a:pt x="51016" y="123149"/>
                </a:lnTo>
                <a:lnTo>
                  <a:pt x="51502" y="123873"/>
                </a:lnTo>
                <a:lnTo>
                  <a:pt x="52168" y="126606"/>
                </a:lnTo>
                <a:lnTo>
                  <a:pt x="52054" y="130245"/>
                </a:lnTo>
                <a:close/>
                <a:moveTo>
                  <a:pt x="134626" y="122482"/>
                </a:moveTo>
                <a:lnTo>
                  <a:pt x="134855" y="126654"/>
                </a:lnTo>
                <a:lnTo>
                  <a:pt x="134541" y="127921"/>
                </a:lnTo>
                <a:lnTo>
                  <a:pt x="133902" y="129483"/>
                </a:lnTo>
                <a:lnTo>
                  <a:pt x="131883" y="132388"/>
                </a:lnTo>
                <a:lnTo>
                  <a:pt x="126568" y="136531"/>
                </a:lnTo>
                <a:lnTo>
                  <a:pt x="116843" y="146018"/>
                </a:lnTo>
                <a:lnTo>
                  <a:pt x="111090" y="150704"/>
                </a:lnTo>
                <a:lnTo>
                  <a:pt x="110299" y="152953"/>
                </a:lnTo>
                <a:lnTo>
                  <a:pt x="109871" y="156077"/>
                </a:lnTo>
                <a:lnTo>
                  <a:pt x="113309" y="156696"/>
                </a:lnTo>
                <a:lnTo>
                  <a:pt x="114643" y="157753"/>
                </a:lnTo>
                <a:lnTo>
                  <a:pt x="113824" y="159334"/>
                </a:lnTo>
                <a:lnTo>
                  <a:pt x="108728" y="164830"/>
                </a:lnTo>
                <a:lnTo>
                  <a:pt x="107232" y="169783"/>
                </a:lnTo>
                <a:lnTo>
                  <a:pt x="111138" y="169602"/>
                </a:lnTo>
                <a:lnTo>
                  <a:pt x="114357" y="168650"/>
                </a:lnTo>
                <a:lnTo>
                  <a:pt x="120767" y="165563"/>
                </a:lnTo>
                <a:lnTo>
                  <a:pt x="126797" y="163268"/>
                </a:lnTo>
                <a:lnTo>
                  <a:pt x="129692" y="163173"/>
                </a:lnTo>
                <a:lnTo>
                  <a:pt x="135322" y="165002"/>
                </a:lnTo>
                <a:lnTo>
                  <a:pt x="136598" y="165059"/>
                </a:lnTo>
                <a:lnTo>
                  <a:pt x="138989" y="164211"/>
                </a:lnTo>
                <a:lnTo>
                  <a:pt x="141408" y="164059"/>
                </a:lnTo>
                <a:lnTo>
                  <a:pt x="157772" y="164630"/>
                </a:lnTo>
                <a:lnTo>
                  <a:pt x="162325" y="163554"/>
                </a:lnTo>
                <a:lnTo>
                  <a:pt x="165335" y="164840"/>
                </a:lnTo>
                <a:lnTo>
                  <a:pt x="167849" y="168040"/>
                </a:lnTo>
                <a:lnTo>
                  <a:pt x="170240" y="173936"/>
                </a:lnTo>
                <a:lnTo>
                  <a:pt x="170164" y="174917"/>
                </a:lnTo>
                <a:lnTo>
                  <a:pt x="168716" y="177594"/>
                </a:lnTo>
                <a:lnTo>
                  <a:pt x="166049" y="180947"/>
                </a:lnTo>
                <a:lnTo>
                  <a:pt x="163754" y="185556"/>
                </a:lnTo>
                <a:lnTo>
                  <a:pt x="163087" y="188033"/>
                </a:lnTo>
                <a:lnTo>
                  <a:pt x="162639" y="190748"/>
                </a:lnTo>
                <a:lnTo>
                  <a:pt x="161915" y="193253"/>
                </a:lnTo>
                <a:lnTo>
                  <a:pt x="157353" y="204969"/>
                </a:lnTo>
                <a:lnTo>
                  <a:pt x="152905" y="211426"/>
                </a:lnTo>
                <a:lnTo>
                  <a:pt x="150924" y="215998"/>
                </a:lnTo>
                <a:lnTo>
                  <a:pt x="148476" y="219628"/>
                </a:lnTo>
                <a:lnTo>
                  <a:pt x="146113" y="221913"/>
                </a:lnTo>
                <a:lnTo>
                  <a:pt x="143599" y="223438"/>
                </a:lnTo>
                <a:lnTo>
                  <a:pt x="136322" y="225057"/>
                </a:lnTo>
                <a:lnTo>
                  <a:pt x="134283" y="226219"/>
                </a:lnTo>
                <a:lnTo>
                  <a:pt x="131854" y="228210"/>
                </a:lnTo>
                <a:lnTo>
                  <a:pt x="129302" y="229200"/>
                </a:lnTo>
                <a:lnTo>
                  <a:pt x="132293" y="229076"/>
                </a:lnTo>
                <a:lnTo>
                  <a:pt x="135255" y="227971"/>
                </a:lnTo>
                <a:lnTo>
                  <a:pt x="140656" y="227571"/>
                </a:lnTo>
                <a:lnTo>
                  <a:pt x="146866" y="231381"/>
                </a:lnTo>
                <a:lnTo>
                  <a:pt x="146285" y="234496"/>
                </a:lnTo>
                <a:lnTo>
                  <a:pt x="143789" y="236954"/>
                </a:lnTo>
                <a:lnTo>
                  <a:pt x="138113" y="237344"/>
                </a:lnTo>
                <a:lnTo>
                  <a:pt x="132807" y="242802"/>
                </a:lnTo>
                <a:lnTo>
                  <a:pt x="130416" y="244478"/>
                </a:lnTo>
                <a:lnTo>
                  <a:pt x="127883" y="245307"/>
                </a:lnTo>
                <a:lnTo>
                  <a:pt x="124720" y="245059"/>
                </a:lnTo>
                <a:lnTo>
                  <a:pt x="118977" y="243602"/>
                </a:lnTo>
                <a:lnTo>
                  <a:pt x="116462" y="242078"/>
                </a:lnTo>
                <a:lnTo>
                  <a:pt x="118729" y="244564"/>
                </a:lnTo>
                <a:lnTo>
                  <a:pt x="121310" y="245859"/>
                </a:lnTo>
                <a:lnTo>
                  <a:pt x="136255" y="248917"/>
                </a:lnTo>
                <a:lnTo>
                  <a:pt x="137160" y="248593"/>
                </a:lnTo>
                <a:lnTo>
                  <a:pt x="141922" y="245374"/>
                </a:lnTo>
                <a:lnTo>
                  <a:pt x="148276" y="245326"/>
                </a:lnTo>
                <a:lnTo>
                  <a:pt x="160363" y="251250"/>
                </a:lnTo>
                <a:lnTo>
                  <a:pt x="163839" y="255775"/>
                </a:lnTo>
                <a:lnTo>
                  <a:pt x="168830" y="262223"/>
                </a:lnTo>
                <a:lnTo>
                  <a:pt x="171545" y="264738"/>
                </a:lnTo>
                <a:lnTo>
                  <a:pt x="173507" y="267014"/>
                </a:lnTo>
                <a:lnTo>
                  <a:pt x="174717" y="270415"/>
                </a:lnTo>
                <a:lnTo>
                  <a:pt x="177060" y="281616"/>
                </a:lnTo>
                <a:lnTo>
                  <a:pt x="179737" y="292494"/>
                </a:lnTo>
                <a:lnTo>
                  <a:pt x="183232" y="304209"/>
                </a:lnTo>
                <a:lnTo>
                  <a:pt x="184823" y="307448"/>
                </a:lnTo>
                <a:lnTo>
                  <a:pt x="186909" y="309715"/>
                </a:lnTo>
                <a:lnTo>
                  <a:pt x="197463" y="314916"/>
                </a:lnTo>
                <a:lnTo>
                  <a:pt x="199815" y="316640"/>
                </a:lnTo>
                <a:lnTo>
                  <a:pt x="203911" y="321631"/>
                </a:lnTo>
                <a:lnTo>
                  <a:pt x="207864" y="326936"/>
                </a:lnTo>
                <a:lnTo>
                  <a:pt x="211541" y="331003"/>
                </a:lnTo>
                <a:lnTo>
                  <a:pt x="215512" y="334289"/>
                </a:lnTo>
                <a:lnTo>
                  <a:pt x="213588" y="335994"/>
                </a:lnTo>
                <a:lnTo>
                  <a:pt x="212274" y="338671"/>
                </a:lnTo>
                <a:lnTo>
                  <a:pt x="213265" y="342300"/>
                </a:lnTo>
                <a:lnTo>
                  <a:pt x="214874" y="345757"/>
                </a:lnTo>
                <a:lnTo>
                  <a:pt x="218046" y="351282"/>
                </a:lnTo>
                <a:lnTo>
                  <a:pt x="220846" y="357292"/>
                </a:lnTo>
                <a:lnTo>
                  <a:pt x="219818" y="356388"/>
                </a:lnTo>
                <a:lnTo>
                  <a:pt x="218732" y="355892"/>
                </a:lnTo>
                <a:lnTo>
                  <a:pt x="217246" y="356045"/>
                </a:lnTo>
                <a:lnTo>
                  <a:pt x="215798" y="355759"/>
                </a:lnTo>
                <a:lnTo>
                  <a:pt x="213122" y="353873"/>
                </a:lnTo>
                <a:lnTo>
                  <a:pt x="210550" y="351558"/>
                </a:lnTo>
                <a:lnTo>
                  <a:pt x="205435" y="352492"/>
                </a:lnTo>
                <a:lnTo>
                  <a:pt x="202597" y="352073"/>
                </a:lnTo>
                <a:lnTo>
                  <a:pt x="200130" y="352139"/>
                </a:lnTo>
                <a:lnTo>
                  <a:pt x="204806" y="353473"/>
                </a:lnTo>
                <a:lnTo>
                  <a:pt x="209921" y="353568"/>
                </a:lnTo>
                <a:lnTo>
                  <a:pt x="221199" y="363636"/>
                </a:lnTo>
                <a:lnTo>
                  <a:pt x="225009" y="369579"/>
                </a:lnTo>
                <a:lnTo>
                  <a:pt x="227276" y="377400"/>
                </a:lnTo>
                <a:lnTo>
                  <a:pt x="225733" y="380905"/>
                </a:lnTo>
                <a:lnTo>
                  <a:pt x="223333" y="383172"/>
                </a:lnTo>
                <a:lnTo>
                  <a:pt x="221094" y="385753"/>
                </a:lnTo>
                <a:lnTo>
                  <a:pt x="218989" y="388677"/>
                </a:lnTo>
                <a:lnTo>
                  <a:pt x="225247" y="392954"/>
                </a:lnTo>
                <a:lnTo>
                  <a:pt x="226600" y="392830"/>
                </a:lnTo>
                <a:lnTo>
                  <a:pt x="227981" y="392230"/>
                </a:lnTo>
                <a:lnTo>
                  <a:pt x="229314" y="390773"/>
                </a:lnTo>
                <a:lnTo>
                  <a:pt x="231553" y="387220"/>
                </a:lnTo>
                <a:lnTo>
                  <a:pt x="232705" y="385963"/>
                </a:lnTo>
                <a:lnTo>
                  <a:pt x="236601" y="385505"/>
                </a:lnTo>
                <a:lnTo>
                  <a:pt x="239868" y="385782"/>
                </a:lnTo>
                <a:lnTo>
                  <a:pt x="243116" y="386572"/>
                </a:lnTo>
                <a:lnTo>
                  <a:pt x="245983" y="386324"/>
                </a:lnTo>
                <a:lnTo>
                  <a:pt x="251746" y="387848"/>
                </a:lnTo>
                <a:lnTo>
                  <a:pt x="254708" y="389220"/>
                </a:lnTo>
                <a:lnTo>
                  <a:pt x="262052" y="395383"/>
                </a:lnTo>
                <a:lnTo>
                  <a:pt x="263642" y="398755"/>
                </a:lnTo>
                <a:lnTo>
                  <a:pt x="264376" y="403098"/>
                </a:lnTo>
                <a:lnTo>
                  <a:pt x="264461" y="407899"/>
                </a:lnTo>
                <a:lnTo>
                  <a:pt x="263223" y="412270"/>
                </a:lnTo>
                <a:lnTo>
                  <a:pt x="261804" y="416214"/>
                </a:lnTo>
                <a:lnTo>
                  <a:pt x="260928" y="421291"/>
                </a:lnTo>
                <a:lnTo>
                  <a:pt x="260309" y="423120"/>
                </a:lnTo>
                <a:lnTo>
                  <a:pt x="259442" y="424548"/>
                </a:lnTo>
                <a:lnTo>
                  <a:pt x="255556" y="428539"/>
                </a:lnTo>
                <a:lnTo>
                  <a:pt x="252974" y="430178"/>
                </a:lnTo>
                <a:lnTo>
                  <a:pt x="251888" y="429463"/>
                </a:lnTo>
                <a:lnTo>
                  <a:pt x="250717" y="429558"/>
                </a:lnTo>
                <a:lnTo>
                  <a:pt x="250593" y="430521"/>
                </a:lnTo>
                <a:lnTo>
                  <a:pt x="251822" y="432549"/>
                </a:lnTo>
                <a:lnTo>
                  <a:pt x="251831" y="434997"/>
                </a:lnTo>
                <a:lnTo>
                  <a:pt x="249536" y="436807"/>
                </a:lnTo>
                <a:lnTo>
                  <a:pt x="247202" y="437579"/>
                </a:lnTo>
                <a:lnTo>
                  <a:pt x="243297" y="436616"/>
                </a:lnTo>
                <a:lnTo>
                  <a:pt x="237877" y="439988"/>
                </a:lnTo>
                <a:lnTo>
                  <a:pt x="241773" y="441722"/>
                </a:lnTo>
                <a:lnTo>
                  <a:pt x="242563" y="443560"/>
                </a:lnTo>
                <a:lnTo>
                  <a:pt x="241592" y="446789"/>
                </a:lnTo>
                <a:lnTo>
                  <a:pt x="239144" y="448228"/>
                </a:lnTo>
                <a:lnTo>
                  <a:pt x="236420" y="448866"/>
                </a:lnTo>
                <a:lnTo>
                  <a:pt x="233639" y="449018"/>
                </a:lnTo>
                <a:lnTo>
                  <a:pt x="231334" y="449809"/>
                </a:lnTo>
                <a:lnTo>
                  <a:pt x="229124" y="451333"/>
                </a:lnTo>
                <a:lnTo>
                  <a:pt x="231895" y="450532"/>
                </a:lnTo>
                <a:lnTo>
                  <a:pt x="233819" y="451237"/>
                </a:lnTo>
                <a:lnTo>
                  <a:pt x="235029" y="453942"/>
                </a:lnTo>
                <a:lnTo>
                  <a:pt x="236125" y="454723"/>
                </a:lnTo>
                <a:lnTo>
                  <a:pt x="241554" y="455876"/>
                </a:lnTo>
                <a:lnTo>
                  <a:pt x="244907" y="455867"/>
                </a:lnTo>
                <a:lnTo>
                  <a:pt x="251384" y="455209"/>
                </a:lnTo>
                <a:lnTo>
                  <a:pt x="254498" y="455219"/>
                </a:lnTo>
                <a:lnTo>
                  <a:pt x="255603" y="455714"/>
                </a:lnTo>
                <a:lnTo>
                  <a:pt x="255622" y="457953"/>
                </a:lnTo>
                <a:lnTo>
                  <a:pt x="255146" y="463439"/>
                </a:lnTo>
                <a:lnTo>
                  <a:pt x="254289" y="464573"/>
                </a:lnTo>
                <a:lnTo>
                  <a:pt x="245707" y="469164"/>
                </a:lnTo>
                <a:lnTo>
                  <a:pt x="243945" y="472364"/>
                </a:lnTo>
                <a:lnTo>
                  <a:pt x="243459" y="474298"/>
                </a:lnTo>
                <a:lnTo>
                  <a:pt x="238439" y="473955"/>
                </a:lnTo>
                <a:lnTo>
                  <a:pt x="236086" y="476002"/>
                </a:lnTo>
                <a:lnTo>
                  <a:pt x="232019" y="477364"/>
                </a:lnTo>
                <a:lnTo>
                  <a:pt x="228876" y="478803"/>
                </a:lnTo>
                <a:lnTo>
                  <a:pt x="225800" y="480622"/>
                </a:lnTo>
                <a:lnTo>
                  <a:pt x="223266" y="481165"/>
                </a:lnTo>
                <a:lnTo>
                  <a:pt x="212341" y="479003"/>
                </a:lnTo>
                <a:lnTo>
                  <a:pt x="205740" y="479184"/>
                </a:lnTo>
                <a:lnTo>
                  <a:pt x="196796" y="481070"/>
                </a:lnTo>
                <a:lnTo>
                  <a:pt x="194491" y="480755"/>
                </a:lnTo>
                <a:lnTo>
                  <a:pt x="191043" y="478955"/>
                </a:lnTo>
                <a:lnTo>
                  <a:pt x="187500" y="477736"/>
                </a:lnTo>
                <a:lnTo>
                  <a:pt x="183432" y="477203"/>
                </a:lnTo>
                <a:lnTo>
                  <a:pt x="179918" y="475526"/>
                </a:lnTo>
                <a:lnTo>
                  <a:pt x="182108" y="478736"/>
                </a:lnTo>
                <a:lnTo>
                  <a:pt x="177241" y="481832"/>
                </a:lnTo>
                <a:lnTo>
                  <a:pt x="174993" y="482441"/>
                </a:lnTo>
                <a:lnTo>
                  <a:pt x="172660" y="482346"/>
                </a:lnTo>
                <a:lnTo>
                  <a:pt x="167897" y="483184"/>
                </a:lnTo>
                <a:lnTo>
                  <a:pt x="163468" y="482727"/>
                </a:lnTo>
                <a:lnTo>
                  <a:pt x="164135" y="484918"/>
                </a:lnTo>
                <a:lnTo>
                  <a:pt x="165316" y="486832"/>
                </a:lnTo>
                <a:lnTo>
                  <a:pt x="164354" y="487661"/>
                </a:lnTo>
                <a:lnTo>
                  <a:pt x="163344" y="487871"/>
                </a:lnTo>
                <a:lnTo>
                  <a:pt x="154943" y="486432"/>
                </a:lnTo>
                <a:lnTo>
                  <a:pt x="153753" y="486699"/>
                </a:lnTo>
                <a:lnTo>
                  <a:pt x="152714" y="488032"/>
                </a:lnTo>
                <a:lnTo>
                  <a:pt x="149657" y="487318"/>
                </a:lnTo>
                <a:lnTo>
                  <a:pt x="146685" y="485080"/>
                </a:lnTo>
                <a:lnTo>
                  <a:pt x="143532" y="483565"/>
                </a:lnTo>
                <a:lnTo>
                  <a:pt x="140217" y="482851"/>
                </a:lnTo>
                <a:lnTo>
                  <a:pt x="137588" y="483098"/>
                </a:lnTo>
                <a:lnTo>
                  <a:pt x="126759" y="486642"/>
                </a:lnTo>
                <a:lnTo>
                  <a:pt x="124596" y="490185"/>
                </a:lnTo>
                <a:lnTo>
                  <a:pt x="123510" y="495205"/>
                </a:lnTo>
                <a:lnTo>
                  <a:pt x="121948" y="499653"/>
                </a:lnTo>
                <a:lnTo>
                  <a:pt x="119396" y="503073"/>
                </a:lnTo>
                <a:lnTo>
                  <a:pt x="116357" y="503520"/>
                </a:lnTo>
                <a:lnTo>
                  <a:pt x="113500" y="501148"/>
                </a:lnTo>
                <a:lnTo>
                  <a:pt x="108070" y="498538"/>
                </a:lnTo>
                <a:lnTo>
                  <a:pt x="106223" y="496767"/>
                </a:lnTo>
                <a:lnTo>
                  <a:pt x="105632" y="496662"/>
                </a:lnTo>
                <a:lnTo>
                  <a:pt x="105023" y="497291"/>
                </a:lnTo>
                <a:lnTo>
                  <a:pt x="102889" y="498091"/>
                </a:lnTo>
                <a:lnTo>
                  <a:pt x="100689" y="498129"/>
                </a:lnTo>
                <a:lnTo>
                  <a:pt x="97288" y="498834"/>
                </a:lnTo>
                <a:lnTo>
                  <a:pt x="91373" y="500958"/>
                </a:lnTo>
                <a:lnTo>
                  <a:pt x="88982" y="502396"/>
                </a:lnTo>
                <a:lnTo>
                  <a:pt x="83848" y="506368"/>
                </a:lnTo>
                <a:lnTo>
                  <a:pt x="82801" y="507464"/>
                </a:lnTo>
                <a:lnTo>
                  <a:pt x="80934" y="511455"/>
                </a:lnTo>
                <a:lnTo>
                  <a:pt x="78086" y="512159"/>
                </a:lnTo>
                <a:lnTo>
                  <a:pt x="75476" y="509607"/>
                </a:lnTo>
                <a:lnTo>
                  <a:pt x="72504" y="508711"/>
                </a:lnTo>
                <a:lnTo>
                  <a:pt x="69370" y="509578"/>
                </a:lnTo>
                <a:lnTo>
                  <a:pt x="67475" y="510940"/>
                </a:lnTo>
                <a:lnTo>
                  <a:pt x="66589" y="509835"/>
                </a:lnTo>
                <a:lnTo>
                  <a:pt x="66560" y="507568"/>
                </a:lnTo>
                <a:lnTo>
                  <a:pt x="68847" y="504863"/>
                </a:lnTo>
                <a:lnTo>
                  <a:pt x="74952" y="502815"/>
                </a:lnTo>
                <a:lnTo>
                  <a:pt x="80315" y="497491"/>
                </a:lnTo>
                <a:lnTo>
                  <a:pt x="82943" y="494243"/>
                </a:lnTo>
                <a:lnTo>
                  <a:pt x="83991" y="492405"/>
                </a:lnTo>
                <a:lnTo>
                  <a:pt x="85277" y="491233"/>
                </a:lnTo>
                <a:lnTo>
                  <a:pt x="86954" y="490795"/>
                </a:lnTo>
                <a:lnTo>
                  <a:pt x="87821" y="488766"/>
                </a:lnTo>
                <a:lnTo>
                  <a:pt x="95259" y="480593"/>
                </a:lnTo>
                <a:lnTo>
                  <a:pt x="95869" y="478717"/>
                </a:lnTo>
                <a:lnTo>
                  <a:pt x="96240" y="475345"/>
                </a:lnTo>
                <a:lnTo>
                  <a:pt x="96850" y="472097"/>
                </a:lnTo>
                <a:lnTo>
                  <a:pt x="102908" y="469992"/>
                </a:lnTo>
                <a:lnTo>
                  <a:pt x="105804" y="463144"/>
                </a:lnTo>
                <a:lnTo>
                  <a:pt x="106604" y="462601"/>
                </a:lnTo>
                <a:lnTo>
                  <a:pt x="115052" y="461343"/>
                </a:lnTo>
                <a:lnTo>
                  <a:pt x="121320" y="461448"/>
                </a:lnTo>
                <a:lnTo>
                  <a:pt x="127549" y="462791"/>
                </a:lnTo>
                <a:lnTo>
                  <a:pt x="130740" y="462915"/>
                </a:lnTo>
                <a:lnTo>
                  <a:pt x="133940" y="462448"/>
                </a:lnTo>
                <a:lnTo>
                  <a:pt x="136455" y="460591"/>
                </a:lnTo>
                <a:lnTo>
                  <a:pt x="140751" y="453885"/>
                </a:lnTo>
                <a:lnTo>
                  <a:pt x="143170" y="450923"/>
                </a:lnTo>
                <a:lnTo>
                  <a:pt x="145942" y="448246"/>
                </a:lnTo>
                <a:lnTo>
                  <a:pt x="148533" y="445189"/>
                </a:lnTo>
                <a:lnTo>
                  <a:pt x="152733" y="439512"/>
                </a:lnTo>
                <a:lnTo>
                  <a:pt x="149895" y="441474"/>
                </a:lnTo>
                <a:lnTo>
                  <a:pt x="146466" y="444579"/>
                </a:lnTo>
                <a:lnTo>
                  <a:pt x="144475" y="446380"/>
                </a:lnTo>
                <a:lnTo>
                  <a:pt x="138151" y="448190"/>
                </a:lnTo>
                <a:lnTo>
                  <a:pt x="135426" y="450037"/>
                </a:lnTo>
                <a:lnTo>
                  <a:pt x="130654" y="454200"/>
                </a:lnTo>
                <a:lnTo>
                  <a:pt x="129740" y="454543"/>
                </a:lnTo>
                <a:lnTo>
                  <a:pt x="122539" y="453542"/>
                </a:lnTo>
                <a:lnTo>
                  <a:pt x="117186" y="448142"/>
                </a:lnTo>
                <a:lnTo>
                  <a:pt x="113767" y="445932"/>
                </a:lnTo>
                <a:lnTo>
                  <a:pt x="112357" y="445675"/>
                </a:lnTo>
                <a:lnTo>
                  <a:pt x="110890" y="446332"/>
                </a:lnTo>
                <a:lnTo>
                  <a:pt x="107766" y="447008"/>
                </a:lnTo>
                <a:lnTo>
                  <a:pt x="104584" y="446894"/>
                </a:lnTo>
                <a:lnTo>
                  <a:pt x="106213" y="444389"/>
                </a:lnTo>
                <a:lnTo>
                  <a:pt x="108423" y="442989"/>
                </a:lnTo>
                <a:lnTo>
                  <a:pt x="103470" y="442017"/>
                </a:lnTo>
                <a:lnTo>
                  <a:pt x="102089" y="441255"/>
                </a:lnTo>
                <a:lnTo>
                  <a:pt x="100517" y="439493"/>
                </a:lnTo>
                <a:lnTo>
                  <a:pt x="96631" y="439198"/>
                </a:lnTo>
                <a:lnTo>
                  <a:pt x="94783" y="439646"/>
                </a:lnTo>
                <a:lnTo>
                  <a:pt x="91659" y="441970"/>
                </a:lnTo>
                <a:lnTo>
                  <a:pt x="86725" y="444437"/>
                </a:lnTo>
                <a:lnTo>
                  <a:pt x="80772" y="441017"/>
                </a:lnTo>
                <a:lnTo>
                  <a:pt x="79610" y="439522"/>
                </a:lnTo>
                <a:lnTo>
                  <a:pt x="79638" y="436616"/>
                </a:lnTo>
                <a:lnTo>
                  <a:pt x="78743" y="434312"/>
                </a:lnTo>
                <a:lnTo>
                  <a:pt x="77095" y="433502"/>
                </a:lnTo>
                <a:lnTo>
                  <a:pt x="79200" y="430501"/>
                </a:lnTo>
                <a:lnTo>
                  <a:pt x="81753" y="428501"/>
                </a:lnTo>
                <a:lnTo>
                  <a:pt x="87354" y="426511"/>
                </a:lnTo>
                <a:lnTo>
                  <a:pt x="95840" y="421777"/>
                </a:lnTo>
                <a:lnTo>
                  <a:pt x="100603" y="419757"/>
                </a:lnTo>
                <a:lnTo>
                  <a:pt x="105023" y="416271"/>
                </a:lnTo>
                <a:lnTo>
                  <a:pt x="106851" y="414138"/>
                </a:lnTo>
                <a:lnTo>
                  <a:pt x="108175" y="411213"/>
                </a:lnTo>
                <a:lnTo>
                  <a:pt x="109490" y="407632"/>
                </a:lnTo>
                <a:lnTo>
                  <a:pt x="111366" y="404708"/>
                </a:lnTo>
                <a:lnTo>
                  <a:pt x="109547" y="404013"/>
                </a:lnTo>
                <a:lnTo>
                  <a:pt x="108728" y="401812"/>
                </a:lnTo>
                <a:lnTo>
                  <a:pt x="108947" y="399574"/>
                </a:lnTo>
                <a:lnTo>
                  <a:pt x="109785" y="397583"/>
                </a:lnTo>
                <a:lnTo>
                  <a:pt x="109033" y="395088"/>
                </a:lnTo>
                <a:lnTo>
                  <a:pt x="107690" y="392478"/>
                </a:lnTo>
                <a:lnTo>
                  <a:pt x="107766" y="390439"/>
                </a:lnTo>
                <a:lnTo>
                  <a:pt x="108128" y="388258"/>
                </a:lnTo>
                <a:lnTo>
                  <a:pt x="104718" y="388373"/>
                </a:lnTo>
                <a:lnTo>
                  <a:pt x="101317" y="389058"/>
                </a:lnTo>
                <a:lnTo>
                  <a:pt x="98231" y="390601"/>
                </a:lnTo>
                <a:lnTo>
                  <a:pt x="95240" y="392697"/>
                </a:lnTo>
                <a:lnTo>
                  <a:pt x="92583" y="393087"/>
                </a:lnTo>
                <a:lnTo>
                  <a:pt x="92621" y="391411"/>
                </a:lnTo>
                <a:lnTo>
                  <a:pt x="93774" y="389334"/>
                </a:lnTo>
                <a:lnTo>
                  <a:pt x="96783" y="386362"/>
                </a:lnTo>
                <a:lnTo>
                  <a:pt x="100003" y="383896"/>
                </a:lnTo>
                <a:lnTo>
                  <a:pt x="101146" y="382019"/>
                </a:lnTo>
                <a:lnTo>
                  <a:pt x="102051" y="379838"/>
                </a:lnTo>
                <a:lnTo>
                  <a:pt x="103651" y="378085"/>
                </a:lnTo>
                <a:lnTo>
                  <a:pt x="107861" y="374771"/>
                </a:lnTo>
                <a:lnTo>
                  <a:pt x="115929" y="371037"/>
                </a:lnTo>
                <a:lnTo>
                  <a:pt x="117129" y="370818"/>
                </a:lnTo>
                <a:lnTo>
                  <a:pt x="120291" y="371256"/>
                </a:lnTo>
                <a:lnTo>
                  <a:pt x="123406" y="370684"/>
                </a:lnTo>
                <a:lnTo>
                  <a:pt x="126130" y="369341"/>
                </a:lnTo>
                <a:lnTo>
                  <a:pt x="128844" y="369056"/>
                </a:lnTo>
                <a:lnTo>
                  <a:pt x="134960" y="372932"/>
                </a:lnTo>
                <a:lnTo>
                  <a:pt x="133140" y="366932"/>
                </a:lnTo>
                <a:lnTo>
                  <a:pt x="135836" y="365493"/>
                </a:lnTo>
                <a:lnTo>
                  <a:pt x="139741" y="370923"/>
                </a:lnTo>
                <a:lnTo>
                  <a:pt x="141189" y="371494"/>
                </a:lnTo>
                <a:lnTo>
                  <a:pt x="144256" y="370704"/>
                </a:lnTo>
                <a:lnTo>
                  <a:pt x="143075" y="369789"/>
                </a:lnTo>
                <a:lnTo>
                  <a:pt x="141694" y="369732"/>
                </a:lnTo>
                <a:lnTo>
                  <a:pt x="139884" y="368913"/>
                </a:lnTo>
                <a:lnTo>
                  <a:pt x="138360" y="367170"/>
                </a:lnTo>
                <a:lnTo>
                  <a:pt x="135826" y="361626"/>
                </a:lnTo>
                <a:lnTo>
                  <a:pt x="135969" y="358330"/>
                </a:lnTo>
                <a:lnTo>
                  <a:pt x="137674" y="354902"/>
                </a:lnTo>
                <a:lnTo>
                  <a:pt x="139560" y="351739"/>
                </a:lnTo>
                <a:lnTo>
                  <a:pt x="137979" y="351111"/>
                </a:lnTo>
                <a:lnTo>
                  <a:pt x="136712" y="349901"/>
                </a:lnTo>
                <a:lnTo>
                  <a:pt x="136350" y="346729"/>
                </a:lnTo>
                <a:lnTo>
                  <a:pt x="136845" y="343919"/>
                </a:lnTo>
                <a:lnTo>
                  <a:pt x="140237" y="341443"/>
                </a:lnTo>
                <a:lnTo>
                  <a:pt x="141236" y="337671"/>
                </a:lnTo>
                <a:lnTo>
                  <a:pt x="141656" y="333508"/>
                </a:lnTo>
                <a:lnTo>
                  <a:pt x="141094" y="331594"/>
                </a:lnTo>
                <a:lnTo>
                  <a:pt x="137722" y="331899"/>
                </a:lnTo>
                <a:lnTo>
                  <a:pt x="136084" y="332680"/>
                </a:lnTo>
                <a:lnTo>
                  <a:pt x="134617" y="333908"/>
                </a:lnTo>
                <a:lnTo>
                  <a:pt x="133112" y="333832"/>
                </a:lnTo>
                <a:lnTo>
                  <a:pt x="128949" y="329222"/>
                </a:lnTo>
                <a:lnTo>
                  <a:pt x="126578" y="325726"/>
                </a:lnTo>
                <a:lnTo>
                  <a:pt x="122320" y="318316"/>
                </a:lnTo>
                <a:lnTo>
                  <a:pt x="121720" y="313868"/>
                </a:lnTo>
                <a:lnTo>
                  <a:pt x="125120" y="304248"/>
                </a:lnTo>
                <a:lnTo>
                  <a:pt x="130378" y="298066"/>
                </a:lnTo>
                <a:lnTo>
                  <a:pt x="136569" y="295904"/>
                </a:lnTo>
                <a:lnTo>
                  <a:pt x="135369" y="295494"/>
                </a:lnTo>
                <a:lnTo>
                  <a:pt x="125930" y="295408"/>
                </a:lnTo>
                <a:lnTo>
                  <a:pt x="122815" y="296170"/>
                </a:lnTo>
                <a:lnTo>
                  <a:pt x="119929" y="298704"/>
                </a:lnTo>
                <a:lnTo>
                  <a:pt x="118300" y="299485"/>
                </a:lnTo>
                <a:lnTo>
                  <a:pt x="116586" y="299771"/>
                </a:lnTo>
                <a:lnTo>
                  <a:pt x="115024" y="301028"/>
                </a:lnTo>
                <a:lnTo>
                  <a:pt x="113500" y="302771"/>
                </a:lnTo>
                <a:lnTo>
                  <a:pt x="111909" y="303895"/>
                </a:lnTo>
                <a:lnTo>
                  <a:pt x="108756" y="303600"/>
                </a:lnTo>
                <a:lnTo>
                  <a:pt x="107232" y="303971"/>
                </a:lnTo>
                <a:lnTo>
                  <a:pt x="106137" y="302962"/>
                </a:lnTo>
                <a:lnTo>
                  <a:pt x="105213" y="301295"/>
                </a:lnTo>
                <a:lnTo>
                  <a:pt x="104013" y="300847"/>
                </a:lnTo>
                <a:lnTo>
                  <a:pt x="102670" y="301362"/>
                </a:lnTo>
                <a:lnTo>
                  <a:pt x="99831" y="303609"/>
                </a:lnTo>
                <a:lnTo>
                  <a:pt x="96955" y="304933"/>
                </a:lnTo>
                <a:lnTo>
                  <a:pt x="93478" y="303514"/>
                </a:lnTo>
                <a:lnTo>
                  <a:pt x="88916" y="300866"/>
                </a:lnTo>
                <a:lnTo>
                  <a:pt x="88021" y="301838"/>
                </a:lnTo>
                <a:lnTo>
                  <a:pt x="87011" y="304295"/>
                </a:lnTo>
                <a:lnTo>
                  <a:pt x="86430" y="308115"/>
                </a:lnTo>
                <a:lnTo>
                  <a:pt x="83191" y="304790"/>
                </a:lnTo>
                <a:lnTo>
                  <a:pt x="80438" y="300342"/>
                </a:lnTo>
                <a:lnTo>
                  <a:pt x="79505" y="297542"/>
                </a:lnTo>
                <a:lnTo>
                  <a:pt x="79438" y="294380"/>
                </a:lnTo>
                <a:lnTo>
                  <a:pt x="80934" y="293151"/>
                </a:lnTo>
                <a:lnTo>
                  <a:pt x="82563" y="294275"/>
                </a:lnTo>
                <a:lnTo>
                  <a:pt x="84982" y="286760"/>
                </a:lnTo>
                <a:lnTo>
                  <a:pt x="89801" y="276930"/>
                </a:lnTo>
                <a:lnTo>
                  <a:pt x="91507" y="274044"/>
                </a:lnTo>
                <a:lnTo>
                  <a:pt x="92697" y="270262"/>
                </a:lnTo>
                <a:lnTo>
                  <a:pt x="92497" y="267786"/>
                </a:lnTo>
                <a:lnTo>
                  <a:pt x="91440" y="265690"/>
                </a:lnTo>
                <a:lnTo>
                  <a:pt x="86954" y="260928"/>
                </a:lnTo>
                <a:lnTo>
                  <a:pt x="87011" y="257032"/>
                </a:lnTo>
                <a:lnTo>
                  <a:pt x="87487" y="252632"/>
                </a:lnTo>
                <a:lnTo>
                  <a:pt x="88706" y="249984"/>
                </a:lnTo>
                <a:lnTo>
                  <a:pt x="89220" y="249479"/>
                </a:lnTo>
                <a:lnTo>
                  <a:pt x="95174" y="249546"/>
                </a:lnTo>
                <a:lnTo>
                  <a:pt x="92850" y="248174"/>
                </a:lnTo>
                <a:lnTo>
                  <a:pt x="88220" y="244183"/>
                </a:lnTo>
                <a:lnTo>
                  <a:pt x="88306" y="242764"/>
                </a:lnTo>
                <a:lnTo>
                  <a:pt x="89392" y="239058"/>
                </a:lnTo>
                <a:lnTo>
                  <a:pt x="88887" y="239430"/>
                </a:lnTo>
                <a:lnTo>
                  <a:pt x="87897" y="241145"/>
                </a:lnTo>
                <a:lnTo>
                  <a:pt x="86001" y="245288"/>
                </a:lnTo>
                <a:lnTo>
                  <a:pt x="84849" y="246250"/>
                </a:lnTo>
                <a:lnTo>
                  <a:pt x="81572" y="247231"/>
                </a:lnTo>
                <a:lnTo>
                  <a:pt x="80972" y="249260"/>
                </a:lnTo>
                <a:lnTo>
                  <a:pt x="80448" y="249793"/>
                </a:lnTo>
                <a:lnTo>
                  <a:pt x="78819" y="250022"/>
                </a:lnTo>
                <a:lnTo>
                  <a:pt x="78314" y="251917"/>
                </a:lnTo>
                <a:lnTo>
                  <a:pt x="77953" y="252041"/>
                </a:lnTo>
                <a:lnTo>
                  <a:pt x="77486" y="250003"/>
                </a:lnTo>
                <a:lnTo>
                  <a:pt x="77438" y="246612"/>
                </a:lnTo>
                <a:lnTo>
                  <a:pt x="78086" y="243487"/>
                </a:lnTo>
                <a:lnTo>
                  <a:pt x="79324" y="241040"/>
                </a:lnTo>
                <a:lnTo>
                  <a:pt x="84125" y="235468"/>
                </a:lnTo>
                <a:lnTo>
                  <a:pt x="81791" y="237192"/>
                </a:lnTo>
                <a:lnTo>
                  <a:pt x="76495" y="242345"/>
                </a:lnTo>
                <a:lnTo>
                  <a:pt x="73790" y="245726"/>
                </a:lnTo>
                <a:lnTo>
                  <a:pt x="73066" y="246869"/>
                </a:lnTo>
                <a:lnTo>
                  <a:pt x="72847" y="247831"/>
                </a:lnTo>
                <a:lnTo>
                  <a:pt x="72857" y="248936"/>
                </a:lnTo>
                <a:lnTo>
                  <a:pt x="74066" y="254851"/>
                </a:lnTo>
                <a:lnTo>
                  <a:pt x="73714" y="257585"/>
                </a:lnTo>
                <a:lnTo>
                  <a:pt x="69151" y="275539"/>
                </a:lnTo>
                <a:lnTo>
                  <a:pt x="68284" y="277330"/>
                </a:lnTo>
                <a:lnTo>
                  <a:pt x="67494" y="278263"/>
                </a:lnTo>
                <a:lnTo>
                  <a:pt x="66742" y="278482"/>
                </a:lnTo>
                <a:lnTo>
                  <a:pt x="64494" y="278139"/>
                </a:lnTo>
                <a:lnTo>
                  <a:pt x="63494" y="276796"/>
                </a:lnTo>
                <a:lnTo>
                  <a:pt x="63503" y="275282"/>
                </a:lnTo>
                <a:lnTo>
                  <a:pt x="63922" y="273006"/>
                </a:lnTo>
                <a:lnTo>
                  <a:pt x="65817" y="264500"/>
                </a:lnTo>
                <a:lnTo>
                  <a:pt x="66637" y="262128"/>
                </a:lnTo>
                <a:lnTo>
                  <a:pt x="67856" y="259918"/>
                </a:lnTo>
                <a:lnTo>
                  <a:pt x="70542" y="256051"/>
                </a:lnTo>
                <a:lnTo>
                  <a:pt x="70475" y="255794"/>
                </a:lnTo>
                <a:lnTo>
                  <a:pt x="68685" y="256556"/>
                </a:lnTo>
                <a:lnTo>
                  <a:pt x="67923" y="256308"/>
                </a:lnTo>
                <a:lnTo>
                  <a:pt x="67370" y="255537"/>
                </a:lnTo>
                <a:lnTo>
                  <a:pt x="67723" y="244002"/>
                </a:lnTo>
                <a:lnTo>
                  <a:pt x="69180" y="240192"/>
                </a:lnTo>
                <a:lnTo>
                  <a:pt x="69723" y="234639"/>
                </a:lnTo>
                <a:lnTo>
                  <a:pt x="70980" y="229867"/>
                </a:lnTo>
                <a:lnTo>
                  <a:pt x="72437" y="226381"/>
                </a:lnTo>
                <a:lnTo>
                  <a:pt x="73552" y="221913"/>
                </a:lnTo>
                <a:lnTo>
                  <a:pt x="75219" y="219923"/>
                </a:lnTo>
                <a:lnTo>
                  <a:pt x="75667" y="216875"/>
                </a:lnTo>
                <a:lnTo>
                  <a:pt x="77543" y="213570"/>
                </a:lnTo>
                <a:lnTo>
                  <a:pt x="78991" y="210112"/>
                </a:lnTo>
                <a:lnTo>
                  <a:pt x="78210" y="210455"/>
                </a:lnTo>
                <a:lnTo>
                  <a:pt x="68942" y="219446"/>
                </a:lnTo>
                <a:lnTo>
                  <a:pt x="66580" y="221075"/>
                </a:lnTo>
                <a:lnTo>
                  <a:pt x="63360" y="220637"/>
                </a:lnTo>
                <a:lnTo>
                  <a:pt x="60903" y="219628"/>
                </a:lnTo>
                <a:lnTo>
                  <a:pt x="58979" y="217503"/>
                </a:lnTo>
                <a:lnTo>
                  <a:pt x="58121" y="213417"/>
                </a:lnTo>
                <a:lnTo>
                  <a:pt x="55750" y="213312"/>
                </a:lnTo>
                <a:lnTo>
                  <a:pt x="53721" y="212608"/>
                </a:lnTo>
                <a:lnTo>
                  <a:pt x="53740" y="212055"/>
                </a:lnTo>
                <a:lnTo>
                  <a:pt x="56359" y="209826"/>
                </a:lnTo>
                <a:lnTo>
                  <a:pt x="60560" y="209064"/>
                </a:lnTo>
                <a:lnTo>
                  <a:pt x="64494" y="205483"/>
                </a:lnTo>
                <a:lnTo>
                  <a:pt x="60998" y="203063"/>
                </a:lnTo>
                <a:lnTo>
                  <a:pt x="61293" y="202292"/>
                </a:lnTo>
                <a:lnTo>
                  <a:pt x="64341" y="200225"/>
                </a:lnTo>
                <a:lnTo>
                  <a:pt x="68218" y="193281"/>
                </a:lnTo>
                <a:lnTo>
                  <a:pt x="68999" y="186871"/>
                </a:lnTo>
                <a:lnTo>
                  <a:pt x="67151" y="183852"/>
                </a:lnTo>
                <a:lnTo>
                  <a:pt x="66484" y="181870"/>
                </a:lnTo>
                <a:lnTo>
                  <a:pt x="62779" y="179661"/>
                </a:lnTo>
                <a:lnTo>
                  <a:pt x="62160" y="176832"/>
                </a:lnTo>
                <a:lnTo>
                  <a:pt x="62589" y="175241"/>
                </a:lnTo>
                <a:lnTo>
                  <a:pt x="63798" y="173689"/>
                </a:lnTo>
                <a:lnTo>
                  <a:pt x="65618" y="172488"/>
                </a:lnTo>
                <a:lnTo>
                  <a:pt x="68475" y="171326"/>
                </a:lnTo>
                <a:lnTo>
                  <a:pt x="65884" y="170088"/>
                </a:lnTo>
                <a:lnTo>
                  <a:pt x="64913" y="168621"/>
                </a:lnTo>
                <a:lnTo>
                  <a:pt x="64179" y="166497"/>
                </a:lnTo>
                <a:lnTo>
                  <a:pt x="64113" y="165268"/>
                </a:lnTo>
                <a:lnTo>
                  <a:pt x="65456" y="159782"/>
                </a:lnTo>
                <a:lnTo>
                  <a:pt x="66237" y="157515"/>
                </a:lnTo>
                <a:lnTo>
                  <a:pt x="67770" y="154619"/>
                </a:lnTo>
                <a:lnTo>
                  <a:pt x="74704" y="154781"/>
                </a:lnTo>
                <a:lnTo>
                  <a:pt x="75505" y="153505"/>
                </a:lnTo>
                <a:lnTo>
                  <a:pt x="76295" y="153457"/>
                </a:lnTo>
                <a:lnTo>
                  <a:pt x="79838" y="154629"/>
                </a:lnTo>
                <a:lnTo>
                  <a:pt x="79315" y="153371"/>
                </a:lnTo>
                <a:lnTo>
                  <a:pt x="73514" y="146466"/>
                </a:lnTo>
                <a:lnTo>
                  <a:pt x="72990" y="145152"/>
                </a:lnTo>
                <a:lnTo>
                  <a:pt x="74647" y="141418"/>
                </a:lnTo>
                <a:lnTo>
                  <a:pt x="74762" y="139751"/>
                </a:lnTo>
                <a:lnTo>
                  <a:pt x="74523" y="137970"/>
                </a:lnTo>
                <a:lnTo>
                  <a:pt x="75000" y="136608"/>
                </a:lnTo>
                <a:lnTo>
                  <a:pt x="76838" y="135969"/>
                </a:lnTo>
                <a:lnTo>
                  <a:pt x="82439" y="136027"/>
                </a:lnTo>
                <a:lnTo>
                  <a:pt x="83820" y="135398"/>
                </a:lnTo>
                <a:lnTo>
                  <a:pt x="83191" y="133588"/>
                </a:lnTo>
                <a:lnTo>
                  <a:pt x="81886" y="131207"/>
                </a:lnTo>
                <a:lnTo>
                  <a:pt x="81629" y="129207"/>
                </a:lnTo>
                <a:lnTo>
                  <a:pt x="81934" y="127435"/>
                </a:lnTo>
                <a:lnTo>
                  <a:pt x="82001" y="123863"/>
                </a:lnTo>
                <a:lnTo>
                  <a:pt x="82258" y="122282"/>
                </a:lnTo>
                <a:lnTo>
                  <a:pt x="83591" y="119910"/>
                </a:lnTo>
                <a:lnTo>
                  <a:pt x="84687" y="119206"/>
                </a:lnTo>
                <a:lnTo>
                  <a:pt x="86049" y="118796"/>
                </a:lnTo>
                <a:lnTo>
                  <a:pt x="89125" y="119586"/>
                </a:lnTo>
                <a:lnTo>
                  <a:pt x="90297" y="120539"/>
                </a:lnTo>
                <a:lnTo>
                  <a:pt x="91649" y="122796"/>
                </a:lnTo>
                <a:lnTo>
                  <a:pt x="92640" y="122615"/>
                </a:lnTo>
                <a:lnTo>
                  <a:pt x="96469" y="120158"/>
                </a:lnTo>
                <a:lnTo>
                  <a:pt x="97622" y="119805"/>
                </a:lnTo>
                <a:lnTo>
                  <a:pt x="99193" y="122654"/>
                </a:lnTo>
                <a:lnTo>
                  <a:pt x="105737" y="120387"/>
                </a:lnTo>
                <a:lnTo>
                  <a:pt x="114528" y="119377"/>
                </a:lnTo>
                <a:lnTo>
                  <a:pt x="119815" y="117881"/>
                </a:lnTo>
                <a:lnTo>
                  <a:pt x="125378" y="117338"/>
                </a:lnTo>
                <a:lnTo>
                  <a:pt x="130568" y="115634"/>
                </a:lnTo>
                <a:lnTo>
                  <a:pt x="136074" y="116415"/>
                </a:lnTo>
                <a:lnTo>
                  <a:pt x="136265" y="117405"/>
                </a:lnTo>
                <a:lnTo>
                  <a:pt x="135979" y="118777"/>
                </a:lnTo>
                <a:lnTo>
                  <a:pt x="134626" y="122482"/>
                </a:lnTo>
                <a:close/>
                <a:moveTo>
                  <a:pt x="139455" y="110890"/>
                </a:moveTo>
                <a:lnTo>
                  <a:pt x="139198" y="111042"/>
                </a:lnTo>
                <a:lnTo>
                  <a:pt x="138217" y="110099"/>
                </a:lnTo>
                <a:lnTo>
                  <a:pt x="136617" y="106718"/>
                </a:lnTo>
                <a:lnTo>
                  <a:pt x="139141" y="106042"/>
                </a:lnTo>
                <a:lnTo>
                  <a:pt x="140332" y="106461"/>
                </a:lnTo>
                <a:lnTo>
                  <a:pt x="139884" y="107899"/>
                </a:lnTo>
                <a:lnTo>
                  <a:pt x="139455" y="110890"/>
                </a:lnTo>
                <a:close/>
                <a:moveTo>
                  <a:pt x="133150" y="108185"/>
                </a:moveTo>
                <a:lnTo>
                  <a:pt x="131616" y="108871"/>
                </a:lnTo>
                <a:lnTo>
                  <a:pt x="130102" y="108823"/>
                </a:lnTo>
                <a:lnTo>
                  <a:pt x="127740" y="105842"/>
                </a:lnTo>
                <a:lnTo>
                  <a:pt x="126844" y="103670"/>
                </a:lnTo>
                <a:lnTo>
                  <a:pt x="127006" y="102232"/>
                </a:lnTo>
                <a:lnTo>
                  <a:pt x="127997" y="101746"/>
                </a:lnTo>
                <a:lnTo>
                  <a:pt x="130283" y="102451"/>
                </a:lnTo>
                <a:lnTo>
                  <a:pt x="131464" y="104937"/>
                </a:lnTo>
                <a:lnTo>
                  <a:pt x="131616" y="106547"/>
                </a:lnTo>
                <a:lnTo>
                  <a:pt x="131893" y="107175"/>
                </a:lnTo>
                <a:lnTo>
                  <a:pt x="133312" y="107813"/>
                </a:lnTo>
                <a:lnTo>
                  <a:pt x="133150" y="108185"/>
                </a:lnTo>
                <a:close/>
                <a:moveTo>
                  <a:pt x="136026" y="96021"/>
                </a:moveTo>
                <a:lnTo>
                  <a:pt x="135664" y="97298"/>
                </a:lnTo>
                <a:lnTo>
                  <a:pt x="137693" y="97269"/>
                </a:lnTo>
                <a:lnTo>
                  <a:pt x="140636" y="98355"/>
                </a:lnTo>
                <a:lnTo>
                  <a:pt x="142418" y="98488"/>
                </a:lnTo>
                <a:lnTo>
                  <a:pt x="143904" y="99841"/>
                </a:lnTo>
                <a:lnTo>
                  <a:pt x="143084" y="102365"/>
                </a:lnTo>
                <a:lnTo>
                  <a:pt x="142199" y="103079"/>
                </a:lnTo>
                <a:lnTo>
                  <a:pt x="141198" y="103222"/>
                </a:lnTo>
                <a:lnTo>
                  <a:pt x="137693" y="100698"/>
                </a:lnTo>
                <a:lnTo>
                  <a:pt x="133102" y="101746"/>
                </a:lnTo>
                <a:lnTo>
                  <a:pt x="132188" y="101422"/>
                </a:lnTo>
                <a:lnTo>
                  <a:pt x="131588" y="100727"/>
                </a:lnTo>
                <a:lnTo>
                  <a:pt x="131340" y="99860"/>
                </a:lnTo>
                <a:lnTo>
                  <a:pt x="131340" y="98088"/>
                </a:lnTo>
                <a:lnTo>
                  <a:pt x="131093" y="97565"/>
                </a:lnTo>
                <a:lnTo>
                  <a:pt x="129426" y="99241"/>
                </a:lnTo>
                <a:lnTo>
                  <a:pt x="128702" y="99041"/>
                </a:lnTo>
                <a:lnTo>
                  <a:pt x="128292" y="98241"/>
                </a:lnTo>
                <a:lnTo>
                  <a:pt x="128111" y="96584"/>
                </a:lnTo>
                <a:lnTo>
                  <a:pt x="128292" y="94193"/>
                </a:lnTo>
                <a:lnTo>
                  <a:pt x="129273" y="90773"/>
                </a:lnTo>
                <a:lnTo>
                  <a:pt x="130921" y="90088"/>
                </a:lnTo>
                <a:lnTo>
                  <a:pt x="133378" y="90488"/>
                </a:lnTo>
                <a:lnTo>
                  <a:pt x="136198" y="92421"/>
                </a:lnTo>
                <a:lnTo>
                  <a:pt x="137046" y="93612"/>
                </a:lnTo>
                <a:lnTo>
                  <a:pt x="137027" y="94564"/>
                </a:lnTo>
                <a:lnTo>
                  <a:pt x="136026" y="96021"/>
                </a:lnTo>
                <a:close/>
                <a:moveTo>
                  <a:pt x="149618" y="85525"/>
                </a:moveTo>
                <a:lnTo>
                  <a:pt x="146599" y="85582"/>
                </a:lnTo>
                <a:lnTo>
                  <a:pt x="148161" y="82496"/>
                </a:lnTo>
                <a:lnTo>
                  <a:pt x="149981" y="81715"/>
                </a:lnTo>
                <a:lnTo>
                  <a:pt x="153419" y="82058"/>
                </a:lnTo>
                <a:lnTo>
                  <a:pt x="152810" y="83449"/>
                </a:lnTo>
                <a:lnTo>
                  <a:pt x="149618" y="85525"/>
                </a:lnTo>
                <a:close/>
                <a:moveTo>
                  <a:pt x="144799" y="87849"/>
                </a:moveTo>
                <a:lnTo>
                  <a:pt x="142504" y="89145"/>
                </a:lnTo>
                <a:lnTo>
                  <a:pt x="141522" y="88078"/>
                </a:lnTo>
                <a:lnTo>
                  <a:pt x="141265" y="84725"/>
                </a:lnTo>
                <a:lnTo>
                  <a:pt x="138531" y="83287"/>
                </a:lnTo>
                <a:lnTo>
                  <a:pt x="137198" y="82391"/>
                </a:lnTo>
                <a:lnTo>
                  <a:pt x="136169" y="80696"/>
                </a:lnTo>
                <a:lnTo>
                  <a:pt x="136427" y="80172"/>
                </a:lnTo>
                <a:lnTo>
                  <a:pt x="138208" y="79477"/>
                </a:lnTo>
                <a:lnTo>
                  <a:pt x="141256" y="82553"/>
                </a:lnTo>
                <a:lnTo>
                  <a:pt x="142504" y="85030"/>
                </a:lnTo>
                <a:lnTo>
                  <a:pt x="144761" y="85763"/>
                </a:lnTo>
                <a:lnTo>
                  <a:pt x="145047" y="86144"/>
                </a:lnTo>
                <a:lnTo>
                  <a:pt x="144799" y="87849"/>
                </a:lnTo>
                <a:close/>
                <a:moveTo>
                  <a:pt x="182785" y="16050"/>
                </a:moveTo>
                <a:lnTo>
                  <a:pt x="183337" y="19869"/>
                </a:lnTo>
                <a:lnTo>
                  <a:pt x="184718" y="18879"/>
                </a:lnTo>
                <a:lnTo>
                  <a:pt x="186804" y="22536"/>
                </a:lnTo>
                <a:lnTo>
                  <a:pt x="187871" y="22536"/>
                </a:lnTo>
                <a:lnTo>
                  <a:pt x="189624" y="21088"/>
                </a:lnTo>
                <a:lnTo>
                  <a:pt x="189271" y="24489"/>
                </a:lnTo>
                <a:lnTo>
                  <a:pt x="187452" y="33890"/>
                </a:lnTo>
                <a:lnTo>
                  <a:pt x="186937" y="35481"/>
                </a:lnTo>
                <a:lnTo>
                  <a:pt x="186595" y="38329"/>
                </a:lnTo>
                <a:lnTo>
                  <a:pt x="186233" y="38891"/>
                </a:lnTo>
                <a:lnTo>
                  <a:pt x="185699" y="44634"/>
                </a:lnTo>
                <a:lnTo>
                  <a:pt x="184470" y="46520"/>
                </a:lnTo>
                <a:lnTo>
                  <a:pt x="183442" y="51016"/>
                </a:lnTo>
                <a:lnTo>
                  <a:pt x="183023" y="51454"/>
                </a:lnTo>
                <a:lnTo>
                  <a:pt x="181518" y="49730"/>
                </a:lnTo>
                <a:lnTo>
                  <a:pt x="183023" y="42863"/>
                </a:lnTo>
                <a:lnTo>
                  <a:pt x="183642" y="38862"/>
                </a:lnTo>
                <a:lnTo>
                  <a:pt x="183242" y="36786"/>
                </a:lnTo>
                <a:lnTo>
                  <a:pt x="182394" y="34909"/>
                </a:lnTo>
                <a:lnTo>
                  <a:pt x="180089" y="34852"/>
                </a:lnTo>
                <a:lnTo>
                  <a:pt x="178146" y="35719"/>
                </a:lnTo>
                <a:lnTo>
                  <a:pt x="177736" y="34614"/>
                </a:lnTo>
                <a:lnTo>
                  <a:pt x="177679" y="33128"/>
                </a:lnTo>
                <a:lnTo>
                  <a:pt x="177212" y="32633"/>
                </a:lnTo>
                <a:lnTo>
                  <a:pt x="174631" y="32737"/>
                </a:lnTo>
                <a:lnTo>
                  <a:pt x="173869" y="32328"/>
                </a:lnTo>
                <a:lnTo>
                  <a:pt x="173364" y="30956"/>
                </a:lnTo>
                <a:lnTo>
                  <a:pt x="173269" y="29861"/>
                </a:lnTo>
                <a:lnTo>
                  <a:pt x="175603" y="29004"/>
                </a:lnTo>
                <a:lnTo>
                  <a:pt x="177794" y="29328"/>
                </a:lnTo>
                <a:lnTo>
                  <a:pt x="180994" y="27146"/>
                </a:lnTo>
                <a:lnTo>
                  <a:pt x="178994" y="19822"/>
                </a:lnTo>
                <a:lnTo>
                  <a:pt x="176336" y="19126"/>
                </a:lnTo>
                <a:lnTo>
                  <a:pt x="175726" y="18412"/>
                </a:lnTo>
                <a:lnTo>
                  <a:pt x="176241" y="17164"/>
                </a:lnTo>
                <a:lnTo>
                  <a:pt x="177698" y="16488"/>
                </a:lnTo>
                <a:lnTo>
                  <a:pt x="179937" y="12744"/>
                </a:lnTo>
                <a:lnTo>
                  <a:pt x="181280" y="12154"/>
                </a:lnTo>
                <a:lnTo>
                  <a:pt x="182947" y="12259"/>
                </a:lnTo>
                <a:lnTo>
                  <a:pt x="182785" y="16050"/>
                </a:lnTo>
                <a:close/>
                <a:moveTo>
                  <a:pt x="189890" y="17336"/>
                </a:moveTo>
                <a:lnTo>
                  <a:pt x="189214" y="17955"/>
                </a:lnTo>
                <a:lnTo>
                  <a:pt x="186604" y="12440"/>
                </a:lnTo>
                <a:lnTo>
                  <a:pt x="188538" y="6106"/>
                </a:lnTo>
                <a:lnTo>
                  <a:pt x="190881" y="6306"/>
                </a:lnTo>
                <a:lnTo>
                  <a:pt x="191252" y="7963"/>
                </a:lnTo>
                <a:lnTo>
                  <a:pt x="191024" y="9497"/>
                </a:lnTo>
                <a:lnTo>
                  <a:pt x="189833" y="9630"/>
                </a:lnTo>
                <a:lnTo>
                  <a:pt x="189728" y="10096"/>
                </a:lnTo>
                <a:lnTo>
                  <a:pt x="190100" y="13040"/>
                </a:lnTo>
                <a:lnTo>
                  <a:pt x="190119" y="16450"/>
                </a:lnTo>
                <a:lnTo>
                  <a:pt x="189890" y="17336"/>
                </a:lnTo>
                <a:close/>
                <a:moveTo>
                  <a:pt x="197053" y="1086"/>
                </a:moveTo>
                <a:lnTo>
                  <a:pt x="197053" y="1715"/>
                </a:lnTo>
                <a:lnTo>
                  <a:pt x="195662" y="6325"/>
                </a:lnTo>
                <a:lnTo>
                  <a:pt x="195681" y="8087"/>
                </a:lnTo>
                <a:lnTo>
                  <a:pt x="193443" y="7915"/>
                </a:lnTo>
                <a:lnTo>
                  <a:pt x="193091" y="7353"/>
                </a:lnTo>
                <a:lnTo>
                  <a:pt x="192672" y="4715"/>
                </a:lnTo>
                <a:lnTo>
                  <a:pt x="192957" y="1905"/>
                </a:lnTo>
                <a:lnTo>
                  <a:pt x="193272" y="1172"/>
                </a:lnTo>
                <a:lnTo>
                  <a:pt x="193919" y="876"/>
                </a:lnTo>
                <a:lnTo>
                  <a:pt x="194624" y="1429"/>
                </a:lnTo>
                <a:lnTo>
                  <a:pt x="195739" y="0"/>
                </a:lnTo>
                <a:lnTo>
                  <a:pt x="196320" y="29"/>
                </a:lnTo>
                <a:lnTo>
                  <a:pt x="197053" y="1086"/>
                </a:ln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3" name="Forme libre : forme 22">
            <a:extLst>
              <a:ext uri="{FF2B5EF4-FFF2-40B4-BE49-F238E27FC236}">
                <a16:creationId xmlns:a16="http://schemas.microsoft.com/office/drawing/2014/main" id="{938B5E75-7AF5-A207-2CE5-07E0BC01D873}"/>
              </a:ext>
            </a:extLst>
          </p:cNvPr>
          <p:cNvSpPr/>
          <p:nvPr/>
        </p:nvSpPr>
        <p:spPr>
          <a:xfrm>
            <a:off x="5429281" y="3583547"/>
            <a:ext cx="4671" cy="4161"/>
          </a:xfrm>
          <a:custGeom>
            <a:avLst/>
            <a:gdLst>
              <a:gd name="connsiteX0" fmla="*/ 3581 w 3581"/>
              <a:gd name="connsiteY0" fmla="*/ 486 h 3190"/>
              <a:gd name="connsiteX1" fmla="*/ 2638 w 3581"/>
              <a:gd name="connsiteY1" fmla="*/ 3191 h 3190"/>
              <a:gd name="connsiteX2" fmla="*/ 190 w 3581"/>
              <a:gd name="connsiteY2" fmla="*/ 2277 h 3190"/>
              <a:gd name="connsiteX3" fmla="*/ 0 w 3581"/>
              <a:gd name="connsiteY3" fmla="*/ 1572 h 3190"/>
              <a:gd name="connsiteX4" fmla="*/ 2781 w 3581"/>
              <a:gd name="connsiteY4" fmla="*/ 0 h 3190"/>
              <a:gd name="connsiteX5" fmla="*/ 3353 w 3581"/>
              <a:gd name="connsiteY5" fmla="*/ 10 h 3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" h="3190">
                <a:moveTo>
                  <a:pt x="3581" y="486"/>
                </a:moveTo>
                <a:lnTo>
                  <a:pt x="2638" y="3191"/>
                </a:lnTo>
                <a:lnTo>
                  <a:pt x="190" y="2277"/>
                </a:lnTo>
                <a:lnTo>
                  <a:pt x="0" y="1572"/>
                </a:lnTo>
                <a:lnTo>
                  <a:pt x="2781" y="0"/>
                </a:lnTo>
                <a:lnTo>
                  <a:pt x="3353" y="10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4" name="Forme libre : forme 23">
            <a:extLst>
              <a:ext uri="{FF2B5EF4-FFF2-40B4-BE49-F238E27FC236}">
                <a16:creationId xmlns:a16="http://schemas.microsoft.com/office/drawing/2014/main" id="{45480E80-5CE1-CA74-9783-4A59A81CD017}"/>
              </a:ext>
            </a:extLst>
          </p:cNvPr>
          <p:cNvSpPr/>
          <p:nvPr/>
        </p:nvSpPr>
        <p:spPr>
          <a:xfrm>
            <a:off x="5334789" y="4219650"/>
            <a:ext cx="770" cy="2174"/>
          </a:xfrm>
          <a:custGeom>
            <a:avLst/>
            <a:gdLst>
              <a:gd name="connsiteX0" fmla="*/ 591 w 590"/>
              <a:gd name="connsiteY0" fmla="*/ 0 h 1667"/>
              <a:gd name="connsiteX1" fmla="*/ 505 w 590"/>
              <a:gd name="connsiteY1" fmla="*/ 448 h 1667"/>
              <a:gd name="connsiteX2" fmla="*/ 553 w 590"/>
              <a:gd name="connsiteY2" fmla="*/ 771 h 1667"/>
              <a:gd name="connsiteX3" fmla="*/ 486 w 590"/>
              <a:gd name="connsiteY3" fmla="*/ 1667 h 1667"/>
              <a:gd name="connsiteX4" fmla="*/ 305 w 590"/>
              <a:gd name="connsiteY4" fmla="*/ 1648 h 1667"/>
              <a:gd name="connsiteX5" fmla="*/ 0 w 590"/>
              <a:gd name="connsiteY5" fmla="*/ 1191 h 1667"/>
              <a:gd name="connsiteX6" fmla="*/ 29 w 590"/>
              <a:gd name="connsiteY6" fmla="*/ 571 h 1667"/>
              <a:gd name="connsiteX7" fmla="*/ 324 w 590"/>
              <a:gd name="connsiteY7" fmla="*/ 410 h 1667"/>
              <a:gd name="connsiteX8" fmla="*/ 124 w 590"/>
              <a:gd name="connsiteY8" fmla="*/ 29 h 1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0" h="1667">
                <a:moveTo>
                  <a:pt x="591" y="0"/>
                </a:moveTo>
                <a:lnTo>
                  <a:pt x="505" y="448"/>
                </a:lnTo>
                <a:lnTo>
                  <a:pt x="553" y="771"/>
                </a:lnTo>
                <a:lnTo>
                  <a:pt x="486" y="1667"/>
                </a:lnTo>
                <a:lnTo>
                  <a:pt x="305" y="1648"/>
                </a:lnTo>
                <a:lnTo>
                  <a:pt x="0" y="1191"/>
                </a:lnTo>
                <a:lnTo>
                  <a:pt x="29" y="571"/>
                </a:lnTo>
                <a:lnTo>
                  <a:pt x="324" y="410"/>
                </a:lnTo>
                <a:lnTo>
                  <a:pt x="124" y="29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5" name="Forme libre : forme 24">
            <a:extLst>
              <a:ext uri="{FF2B5EF4-FFF2-40B4-BE49-F238E27FC236}">
                <a16:creationId xmlns:a16="http://schemas.microsoft.com/office/drawing/2014/main" id="{E5EB8EBA-9D88-5680-E47E-1E5FCBD1E60B}"/>
              </a:ext>
            </a:extLst>
          </p:cNvPr>
          <p:cNvSpPr/>
          <p:nvPr/>
        </p:nvSpPr>
        <p:spPr>
          <a:xfrm>
            <a:off x="6206540" y="3970053"/>
            <a:ext cx="299343" cy="302000"/>
          </a:xfrm>
          <a:custGeom>
            <a:avLst/>
            <a:gdLst>
              <a:gd name="connsiteX0" fmla="*/ 178422 w 229505"/>
              <a:gd name="connsiteY0" fmla="*/ 1086 h 231543"/>
              <a:gd name="connsiteX1" fmla="*/ 180813 w 229505"/>
              <a:gd name="connsiteY1" fmla="*/ 1810 h 231543"/>
              <a:gd name="connsiteX2" fmla="*/ 182204 w 229505"/>
              <a:gd name="connsiteY2" fmla="*/ 2982 h 231543"/>
              <a:gd name="connsiteX3" fmla="*/ 183071 w 229505"/>
              <a:gd name="connsiteY3" fmla="*/ 4058 h 231543"/>
              <a:gd name="connsiteX4" fmla="*/ 184395 w 229505"/>
              <a:gd name="connsiteY4" fmla="*/ 4982 h 231543"/>
              <a:gd name="connsiteX5" fmla="*/ 185385 w 229505"/>
              <a:gd name="connsiteY5" fmla="*/ 5191 h 231543"/>
              <a:gd name="connsiteX6" fmla="*/ 186147 w 229505"/>
              <a:gd name="connsiteY6" fmla="*/ 8363 h 231543"/>
              <a:gd name="connsiteX7" fmla="*/ 186547 w 229505"/>
              <a:gd name="connsiteY7" fmla="*/ 12287 h 231543"/>
              <a:gd name="connsiteX8" fmla="*/ 185947 w 229505"/>
              <a:gd name="connsiteY8" fmla="*/ 13983 h 231543"/>
              <a:gd name="connsiteX9" fmla="*/ 184185 w 229505"/>
              <a:gd name="connsiteY9" fmla="*/ 14373 h 231543"/>
              <a:gd name="connsiteX10" fmla="*/ 178680 w 229505"/>
              <a:gd name="connsiteY10" fmla="*/ 18069 h 231543"/>
              <a:gd name="connsiteX11" fmla="*/ 178546 w 229505"/>
              <a:gd name="connsiteY11" fmla="*/ 21450 h 231543"/>
              <a:gd name="connsiteX12" fmla="*/ 178623 w 229505"/>
              <a:gd name="connsiteY12" fmla="*/ 23079 h 231543"/>
              <a:gd name="connsiteX13" fmla="*/ 178737 w 229505"/>
              <a:gd name="connsiteY13" fmla="*/ 24241 h 231543"/>
              <a:gd name="connsiteX14" fmla="*/ 179318 w 229505"/>
              <a:gd name="connsiteY14" fmla="*/ 25213 h 231543"/>
              <a:gd name="connsiteX15" fmla="*/ 179318 w 229505"/>
              <a:gd name="connsiteY15" fmla="*/ 26613 h 231543"/>
              <a:gd name="connsiteX16" fmla="*/ 178708 w 229505"/>
              <a:gd name="connsiteY16" fmla="*/ 28118 h 231543"/>
              <a:gd name="connsiteX17" fmla="*/ 176308 w 229505"/>
              <a:gd name="connsiteY17" fmla="*/ 30632 h 231543"/>
              <a:gd name="connsiteX18" fmla="*/ 174641 w 229505"/>
              <a:gd name="connsiteY18" fmla="*/ 32623 h 231543"/>
              <a:gd name="connsiteX19" fmla="*/ 172774 w 229505"/>
              <a:gd name="connsiteY19" fmla="*/ 35328 h 231543"/>
              <a:gd name="connsiteX20" fmla="*/ 171727 w 229505"/>
              <a:gd name="connsiteY20" fmla="*/ 35662 h 231543"/>
              <a:gd name="connsiteX21" fmla="*/ 170898 w 229505"/>
              <a:gd name="connsiteY21" fmla="*/ 36138 h 231543"/>
              <a:gd name="connsiteX22" fmla="*/ 170145 w 229505"/>
              <a:gd name="connsiteY22" fmla="*/ 34652 h 231543"/>
              <a:gd name="connsiteX23" fmla="*/ 166002 w 229505"/>
              <a:gd name="connsiteY23" fmla="*/ 32014 h 231543"/>
              <a:gd name="connsiteX24" fmla="*/ 156410 w 229505"/>
              <a:gd name="connsiteY24" fmla="*/ 30471 h 231543"/>
              <a:gd name="connsiteX25" fmla="*/ 151829 w 229505"/>
              <a:gd name="connsiteY25" fmla="*/ 28518 h 231543"/>
              <a:gd name="connsiteX26" fmla="*/ 149819 w 229505"/>
              <a:gd name="connsiteY26" fmla="*/ 28880 h 231543"/>
              <a:gd name="connsiteX27" fmla="*/ 145923 w 229505"/>
              <a:gd name="connsiteY27" fmla="*/ 26699 h 231543"/>
              <a:gd name="connsiteX28" fmla="*/ 143256 w 229505"/>
              <a:gd name="connsiteY28" fmla="*/ 27661 h 231543"/>
              <a:gd name="connsiteX29" fmla="*/ 137599 w 229505"/>
              <a:gd name="connsiteY29" fmla="*/ 31537 h 231543"/>
              <a:gd name="connsiteX30" fmla="*/ 134541 w 229505"/>
              <a:gd name="connsiteY30" fmla="*/ 31118 h 231543"/>
              <a:gd name="connsiteX31" fmla="*/ 131274 w 229505"/>
              <a:gd name="connsiteY31" fmla="*/ 28785 h 231543"/>
              <a:gd name="connsiteX32" fmla="*/ 129150 w 229505"/>
              <a:gd name="connsiteY32" fmla="*/ 28356 h 231543"/>
              <a:gd name="connsiteX33" fmla="*/ 126654 w 229505"/>
              <a:gd name="connsiteY33" fmla="*/ 29585 h 231543"/>
              <a:gd name="connsiteX34" fmla="*/ 122663 w 229505"/>
              <a:gd name="connsiteY34" fmla="*/ 34042 h 231543"/>
              <a:gd name="connsiteX35" fmla="*/ 118596 w 229505"/>
              <a:gd name="connsiteY35" fmla="*/ 36224 h 231543"/>
              <a:gd name="connsiteX36" fmla="*/ 114958 w 229505"/>
              <a:gd name="connsiteY36" fmla="*/ 35376 h 231543"/>
              <a:gd name="connsiteX37" fmla="*/ 110062 w 229505"/>
              <a:gd name="connsiteY37" fmla="*/ 35395 h 231543"/>
              <a:gd name="connsiteX38" fmla="*/ 109538 w 229505"/>
              <a:gd name="connsiteY38" fmla="*/ 37881 h 231543"/>
              <a:gd name="connsiteX39" fmla="*/ 110480 w 229505"/>
              <a:gd name="connsiteY39" fmla="*/ 39605 h 231543"/>
              <a:gd name="connsiteX40" fmla="*/ 113157 w 229505"/>
              <a:gd name="connsiteY40" fmla="*/ 42539 h 231543"/>
              <a:gd name="connsiteX41" fmla="*/ 111900 w 229505"/>
              <a:gd name="connsiteY41" fmla="*/ 44739 h 231543"/>
              <a:gd name="connsiteX42" fmla="*/ 112833 w 229505"/>
              <a:gd name="connsiteY42" fmla="*/ 46939 h 231543"/>
              <a:gd name="connsiteX43" fmla="*/ 114577 w 229505"/>
              <a:gd name="connsiteY43" fmla="*/ 47387 h 231543"/>
              <a:gd name="connsiteX44" fmla="*/ 117215 w 229505"/>
              <a:gd name="connsiteY44" fmla="*/ 47263 h 231543"/>
              <a:gd name="connsiteX45" fmla="*/ 122082 w 229505"/>
              <a:gd name="connsiteY45" fmla="*/ 50111 h 231543"/>
              <a:gd name="connsiteX46" fmla="*/ 124216 w 229505"/>
              <a:gd name="connsiteY46" fmla="*/ 53112 h 231543"/>
              <a:gd name="connsiteX47" fmla="*/ 125578 w 229505"/>
              <a:gd name="connsiteY47" fmla="*/ 56388 h 231543"/>
              <a:gd name="connsiteX48" fmla="*/ 122606 w 229505"/>
              <a:gd name="connsiteY48" fmla="*/ 54035 h 231543"/>
              <a:gd name="connsiteX49" fmla="*/ 120635 w 229505"/>
              <a:gd name="connsiteY49" fmla="*/ 51768 h 231543"/>
              <a:gd name="connsiteX50" fmla="*/ 117882 w 229505"/>
              <a:gd name="connsiteY50" fmla="*/ 50949 h 231543"/>
              <a:gd name="connsiteX51" fmla="*/ 114062 w 229505"/>
              <a:gd name="connsiteY51" fmla="*/ 49016 h 231543"/>
              <a:gd name="connsiteX52" fmla="*/ 111662 w 229505"/>
              <a:gd name="connsiteY52" fmla="*/ 48692 h 231543"/>
              <a:gd name="connsiteX53" fmla="*/ 109109 w 229505"/>
              <a:gd name="connsiteY53" fmla="*/ 50035 h 231543"/>
              <a:gd name="connsiteX54" fmla="*/ 108909 w 229505"/>
              <a:gd name="connsiteY54" fmla="*/ 51549 h 231543"/>
              <a:gd name="connsiteX55" fmla="*/ 111662 w 229505"/>
              <a:gd name="connsiteY55" fmla="*/ 54378 h 231543"/>
              <a:gd name="connsiteX56" fmla="*/ 114176 w 229505"/>
              <a:gd name="connsiteY56" fmla="*/ 56121 h 231543"/>
              <a:gd name="connsiteX57" fmla="*/ 115510 w 229505"/>
              <a:gd name="connsiteY57" fmla="*/ 57531 h 231543"/>
              <a:gd name="connsiteX58" fmla="*/ 116396 w 229505"/>
              <a:gd name="connsiteY58" fmla="*/ 60665 h 231543"/>
              <a:gd name="connsiteX59" fmla="*/ 115891 w 229505"/>
              <a:gd name="connsiteY59" fmla="*/ 61722 h 231543"/>
              <a:gd name="connsiteX60" fmla="*/ 114958 w 229505"/>
              <a:gd name="connsiteY60" fmla="*/ 62713 h 231543"/>
              <a:gd name="connsiteX61" fmla="*/ 111976 w 229505"/>
              <a:gd name="connsiteY61" fmla="*/ 60741 h 231543"/>
              <a:gd name="connsiteX62" fmla="*/ 107414 w 229505"/>
              <a:gd name="connsiteY62" fmla="*/ 53721 h 231543"/>
              <a:gd name="connsiteX63" fmla="*/ 101051 w 229505"/>
              <a:gd name="connsiteY63" fmla="*/ 52321 h 231543"/>
              <a:gd name="connsiteX64" fmla="*/ 99984 w 229505"/>
              <a:gd name="connsiteY64" fmla="*/ 53788 h 231543"/>
              <a:gd name="connsiteX65" fmla="*/ 101241 w 229505"/>
              <a:gd name="connsiteY65" fmla="*/ 57503 h 231543"/>
              <a:gd name="connsiteX66" fmla="*/ 102146 w 229505"/>
              <a:gd name="connsiteY66" fmla="*/ 58941 h 231543"/>
              <a:gd name="connsiteX67" fmla="*/ 107681 w 229505"/>
              <a:gd name="connsiteY67" fmla="*/ 62941 h 231543"/>
              <a:gd name="connsiteX68" fmla="*/ 107242 w 229505"/>
              <a:gd name="connsiteY68" fmla="*/ 63789 h 231543"/>
              <a:gd name="connsiteX69" fmla="*/ 106432 w 229505"/>
              <a:gd name="connsiteY69" fmla="*/ 64151 h 231543"/>
              <a:gd name="connsiteX70" fmla="*/ 100242 w 229505"/>
              <a:gd name="connsiteY70" fmla="*/ 61865 h 231543"/>
              <a:gd name="connsiteX71" fmla="*/ 98441 w 229505"/>
              <a:gd name="connsiteY71" fmla="*/ 58388 h 231543"/>
              <a:gd name="connsiteX72" fmla="*/ 98013 w 229505"/>
              <a:gd name="connsiteY72" fmla="*/ 53978 h 231543"/>
              <a:gd name="connsiteX73" fmla="*/ 92297 w 229505"/>
              <a:gd name="connsiteY73" fmla="*/ 50911 h 231543"/>
              <a:gd name="connsiteX74" fmla="*/ 86906 w 229505"/>
              <a:gd name="connsiteY74" fmla="*/ 47568 h 231543"/>
              <a:gd name="connsiteX75" fmla="*/ 85697 w 229505"/>
              <a:gd name="connsiteY75" fmla="*/ 44396 h 231543"/>
              <a:gd name="connsiteX76" fmla="*/ 86811 w 229505"/>
              <a:gd name="connsiteY76" fmla="*/ 43215 h 231543"/>
              <a:gd name="connsiteX77" fmla="*/ 87602 w 229505"/>
              <a:gd name="connsiteY77" fmla="*/ 40882 h 231543"/>
              <a:gd name="connsiteX78" fmla="*/ 84640 w 229505"/>
              <a:gd name="connsiteY78" fmla="*/ 41310 h 231543"/>
              <a:gd name="connsiteX79" fmla="*/ 82782 w 229505"/>
              <a:gd name="connsiteY79" fmla="*/ 42786 h 231543"/>
              <a:gd name="connsiteX80" fmla="*/ 79782 w 229505"/>
              <a:gd name="connsiteY80" fmla="*/ 44215 h 231543"/>
              <a:gd name="connsiteX81" fmla="*/ 79658 w 229505"/>
              <a:gd name="connsiteY81" fmla="*/ 46558 h 231543"/>
              <a:gd name="connsiteX82" fmla="*/ 80134 w 229505"/>
              <a:gd name="connsiteY82" fmla="*/ 48730 h 231543"/>
              <a:gd name="connsiteX83" fmla="*/ 79143 w 229505"/>
              <a:gd name="connsiteY83" fmla="*/ 51883 h 231543"/>
              <a:gd name="connsiteX84" fmla="*/ 78172 w 229505"/>
              <a:gd name="connsiteY84" fmla="*/ 57360 h 231543"/>
              <a:gd name="connsiteX85" fmla="*/ 78781 w 229505"/>
              <a:gd name="connsiteY85" fmla="*/ 60227 h 231543"/>
              <a:gd name="connsiteX86" fmla="*/ 85297 w 229505"/>
              <a:gd name="connsiteY86" fmla="*/ 68428 h 231543"/>
              <a:gd name="connsiteX87" fmla="*/ 87525 w 229505"/>
              <a:gd name="connsiteY87" fmla="*/ 74371 h 231543"/>
              <a:gd name="connsiteX88" fmla="*/ 89125 w 229505"/>
              <a:gd name="connsiteY88" fmla="*/ 76619 h 231543"/>
              <a:gd name="connsiteX89" fmla="*/ 92459 w 229505"/>
              <a:gd name="connsiteY89" fmla="*/ 79096 h 231543"/>
              <a:gd name="connsiteX90" fmla="*/ 95936 w 229505"/>
              <a:gd name="connsiteY90" fmla="*/ 83696 h 231543"/>
              <a:gd name="connsiteX91" fmla="*/ 97403 w 229505"/>
              <a:gd name="connsiteY91" fmla="*/ 86087 h 231543"/>
              <a:gd name="connsiteX92" fmla="*/ 98450 w 229505"/>
              <a:gd name="connsiteY92" fmla="*/ 90002 h 231543"/>
              <a:gd name="connsiteX93" fmla="*/ 95527 w 229505"/>
              <a:gd name="connsiteY93" fmla="*/ 92421 h 231543"/>
              <a:gd name="connsiteX94" fmla="*/ 93831 w 229505"/>
              <a:gd name="connsiteY94" fmla="*/ 92516 h 231543"/>
              <a:gd name="connsiteX95" fmla="*/ 92888 w 229505"/>
              <a:gd name="connsiteY95" fmla="*/ 91450 h 231543"/>
              <a:gd name="connsiteX96" fmla="*/ 94202 w 229505"/>
              <a:gd name="connsiteY96" fmla="*/ 88783 h 231543"/>
              <a:gd name="connsiteX97" fmla="*/ 94012 w 229505"/>
              <a:gd name="connsiteY97" fmla="*/ 87154 h 231543"/>
              <a:gd name="connsiteX98" fmla="*/ 89497 w 229505"/>
              <a:gd name="connsiteY98" fmla="*/ 84630 h 231543"/>
              <a:gd name="connsiteX99" fmla="*/ 87592 w 229505"/>
              <a:gd name="connsiteY99" fmla="*/ 85477 h 231543"/>
              <a:gd name="connsiteX100" fmla="*/ 85392 w 229505"/>
              <a:gd name="connsiteY100" fmla="*/ 87116 h 231543"/>
              <a:gd name="connsiteX101" fmla="*/ 86649 w 229505"/>
              <a:gd name="connsiteY101" fmla="*/ 90164 h 231543"/>
              <a:gd name="connsiteX102" fmla="*/ 88059 w 229505"/>
              <a:gd name="connsiteY102" fmla="*/ 92173 h 231543"/>
              <a:gd name="connsiteX103" fmla="*/ 88773 w 229505"/>
              <a:gd name="connsiteY103" fmla="*/ 94936 h 231543"/>
              <a:gd name="connsiteX104" fmla="*/ 91478 w 229505"/>
              <a:gd name="connsiteY104" fmla="*/ 94698 h 231543"/>
              <a:gd name="connsiteX105" fmla="*/ 87840 w 229505"/>
              <a:gd name="connsiteY105" fmla="*/ 97793 h 231543"/>
              <a:gd name="connsiteX106" fmla="*/ 84420 w 229505"/>
              <a:gd name="connsiteY106" fmla="*/ 99374 h 231543"/>
              <a:gd name="connsiteX107" fmla="*/ 81058 w 229505"/>
              <a:gd name="connsiteY107" fmla="*/ 99470 h 231543"/>
              <a:gd name="connsiteX108" fmla="*/ 78915 w 229505"/>
              <a:gd name="connsiteY108" fmla="*/ 99756 h 231543"/>
              <a:gd name="connsiteX109" fmla="*/ 78172 w 229505"/>
              <a:gd name="connsiteY109" fmla="*/ 100546 h 231543"/>
              <a:gd name="connsiteX110" fmla="*/ 79915 w 229505"/>
              <a:gd name="connsiteY110" fmla="*/ 101117 h 231543"/>
              <a:gd name="connsiteX111" fmla="*/ 81334 w 229505"/>
              <a:gd name="connsiteY111" fmla="*/ 101175 h 231543"/>
              <a:gd name="connsiteX112" fmla="*/ 83649 w 229505"/>
              <a:gd name="connsiteY112" fmla="*/ 102841 h 231543"/>
              <a:gd name="connsiteX113" fmla="*/ 90231 w 229505"/>
              <a:gd name="connsiteY113" fmla="*/ 104832 h 231543"/>
              <a:gd name="connsiteX114" fmla="*/ 93374 w 229505"/>
              <a:gd name="connsiteY114" fmla="*/ 107356 h 231543"/>
              <a:gd name="connsiteX115" fmla="*/ 96460 w 229505"/>
              <a:gd name="connsiteY115" fmla="*/ 107585 h 231543"/>
              <a:gd name="connsiteX116" fmla="*/ 99556 w 229505"/>
              <a:gd name="connsiteY116" fmla="*/ 112204 h 231543"/>
              <a:gd name="connsiteX117" fmla="*/ 104918 w 229505"/>
              <a:gd name="connsiteY117" fmla="*/ 113433 h 231543"/>
              <a:gd name="connsiteX118" fmla="*/ 107975 w 229505"/>
              <a:gd name="connsiteY118" fmla="*/ 118091 h 231543"/>
              <a:gd name="connsiteX119" fmla="*/ 112033 w 229505"/>
              <a:gd name="connsiteY119" fmla="*/ 119006 h 231543"/>
              <a:gd name="connsiteX120" fmla="*/ 115538 w 229505"/>
              <a:gd name="connsiteY120" fmla="*/ 120720 h 231543"/>
              <a:gd name="connsiteX121" fmla="*/ 116557 w 229505"/>
              <a:gd name="connsiteY121" fmla="*/ 122349 h 231543"/>
              <a:gd name="connsiteX122" fmla="*/ 117072 w 229505"/>
              <a:gd name="connsiteY122" fmla="*/ 125301 h 231543"/>
              <a:gd name="connsiteX123" fmla="*/ 117300 w 229505"/>
              <a:gd name="connsiteY123" fmla="*/ 131540 h 231543"/>
              <a:gd name="connsiteX124" fmla="*/ 118063 w 229505"/>
              <a:gd name="connsiteY124" fmla="*/ 136170 h 231543"/>
              <a:gd name="connsiteX125" fmla="*/ 118091 w 229505"/>
              <a:gd name="connsiteY125" fmla="*/ 137627 h 231543"/>
              <a:gd name="connsiteX126" fmla="*/ 117901 w 229505"/>
              <a:gd name="connsiteY126" fmla="*/ 139808 h 231543"/>
              <a:gd name="connsiteX127" fmla="*/ 116948 w 229505"/>
              <a:gd name="connsiteY127" fmla="*/ 140875 h 231543"/>
              <a:gd name="connsiteX128" fmla="*/ 115662 w 229505"/>
              <a:gd name="connsiteY128" fmla="*/ 140913 h 231543"/>
              <a:gd name="connsiteX129" fmla="*/ 113138 w 229505"/>
              <a:gd name="connsiteY129" fmla="*/ 137513 h 231543"/>
              <a:gd name="connsiteX130" fmla="*/ 109281 w 229505"/>
              <a:gd name="connsiteY130" fmla="*/ 133931 h 231543"/>
              <a:gd name="connsiteX131" fmla="*/ 105204 w 229505"/>
              <a:gd name="connsiteY131" fmla="*/ 129664 h 231543"/>
              <a:gd name="connsiteX132" fmla="*/ 104042 w 229505"/>
              <a:gd name="connsiteY132" fmla="*/ 128911 h 231543"/>
              <a:gd name="connsiteX133" fmla="*/ 103089 w 229505"/>
              <a:gd name="connsiteY133" fmla="*/ 128845 h 231543"/>
              <a:gd name="connsiteX134" fmla="*/ 100908 w 229505"/>
              <a:gd name="connsiteY134" fmla="*/ 130283 h 231543"/>
              <a:gd name="connsiteX135" fmla="*/ 94850 w 229505"/>
              <a:gd name="connsiteY135" fmla="*/ 131398 h 231543"/>
              <a:gd name="connsiteX136" fmla="*/ 92012 w 229505"/>
              <a:gd name="connsiteY136" fmla="*/ 132960 h 231543"/>
              <a:gd name="connsiteX137" fmla="*/ 90945 w 229505"/>
              <a:gd name="connsiteY137" fmla="*/ 133302 h 231543"/>
              <a:gd name="connsiteX138" fmla="*/ 90650 w 229505"/>
              <a:gd name="connsiteY138" fmla="*/ 134122 h 231543"/>
              <a:gd name="connsiteX139" fmla="*/ 91983 w 229505"/>
              <a:gd name="connsiteY139" fmla="*/ 134969 h 231543"/>
              <a:gd name="connsiteX140" fmla="*/ 93612 w 229505"/>
              <a:gd name="connsiteY140" fmla="*/ 136922 h 231543"/>
              <a:gd name="connsiteX141" fmla="*/ 93612 w 229505"/>
              <a:gd name="connsiteY141" fmla="*/ 139580 h 231543"/>
              <a:gd name="connsiteX142" fmla="*/ 94965 w 229505"/>
              <a:gd name="connsiteY142" fmla="*/ 142808 h 231543"/>
              <a:gd name="connsiteX143" fmla="*/ 96707 w 229505"/>
              <a:gd name="connsiteY143" fmla="*/ 143637 h 231543"/>
              <a:gd name="connsiteX144" fmla="*/ 98975 w 229505"/>
              <a:gd name="connsiteY144" fmla="*/ 143570 h 231543"/>
              <a:gd name="connsiteX145" fmla="*/ 100279 w 229505"/>
              <a:gd name="connsiteY145" fmla="*/ 144171 h 231543"/>
              <a:gd name="connsiteX146" fmla="*/ 100613 w 229505"/>
              <a:gd name="connsiteY146" fmla="*/ 145456 h 231543"/>
              <a:gd name="connsiteX147" fmla="*/ 101937 w 229505"/>
              <a:gd name="connsiteY147" fmla="*/ 146952 h 231543"/>
              <a:gd name="connsiteX148" fmla="*/ 102804 w 229505"/>
              <a:gd name="connsiteY148" fmla="*/ 148066 h 231543"/>
              <a:gd name="connsiteX149" fmla="*/ 102775 w 229505"/>
              <a:gd name="connsiteY149" fmla="*/ 148857 h 231543"/>
              <a:gd name="connsiteX150" fmla="*/ 96441 w 229505"/>
              <a:gd name="connsiteY150" fmla="*/ 150962 h 231543"/>
              <a:gd name="connsiteX151" fmla="*/ 95117 w 229505"/>
              <a:gd name="connsiteY151" fmla="*/ 151924 h 231543"/>
              <a:gd name="connsiteX152" fmla="*/ 94002 w 229505"/>
              <a:gd name="connsiteY152" fmla="*/ 152419 h 231543"/>
              <a:gd name="connsiteX153" fmla="*/ 92355 w 229505"/>
              <a:gd name="connsiteY153" fmla="*/ 151419 h 231543"/>
              <a:gd name="connsiteX154" fmla="*/ 92259 w 229505"/>
              <a:gd name="connsiteY154" fmla="*/ 148847 h 231543"/>
              <a:gd name="connsiteX155" fmla="*/ 90088 w 229505"/>
              <a:gd name="connsiteY155" fmla="*/ 147466 h 231543"/>
              <a:gd name="connsiteX156" fmla="*/ 88097 w 229505"/>
              <a:gd name="connsiteY156" fmla="*/ 146276 h 231543"/>
              <a:gd name="connsiteX157" fmla="*/ 85706 w 229505"/>
              <a:gd name="connsiteY157" fmla="*/ 145771 h 231543"/>
              <a:gd name="connsiteX158" fmla="*/ 83677 w 229505"/>
              <a:gd name="connsiteY158" fmla="*/ 143989 h 231543"/>
              <a:gd name="connsiteX159" fmla="*/ 82353 w 229505"/>
              <a:gd name="connsiteY159" fmla="*/ 145428 h 231543"/>
              <a:gd name="connsiteX160" fmla="*/ 83411 w 229505"/>
              <a:gd name="connsiteY160" fmla="*/ 150419 h 231543"/>
              <a:gd name="connsiteX161" fmla="*/ 85706 w 229505"/>
              <a:gd name="connsiteY161" fmla="*/ 153848 h 231543"/>
              <a:gd name="connsiteX162" fmla="*/ 89554 w 229505"/>
              <a:gd name="connsiteY162" fmla="*/ 163030 h 231543"/>
              <a:gd name="connsiteX163" fmla="*/ 91297 w 229505"/>
              <a:gd name="connsiteY163" fmla="*/ 168431 h 231543"/>
              <a:gd name="connsiteX164" fmla="*/ 91650 w 229505"/>
              <a:gd name="connsiteY164" fmla="*/ 171040 h 231543"/>
              <a:gd name="connsiteX165" fmla="*/ 90783 w 229505"/>
              <a:gd name="connsiteY165" fmla="*/ 175374 h 231543"/>
              <a:gd name="connsiteX166" fmla="*/ 92679 w 229505"/>
              <a:gd name="connsiteY166" fmla="*/ 178584 h 231543"/>
              <a:gd name="connsiteX167" fmla="*/ 93974 w 229505"/>
              <a:gd name="connsiteY167" fmla="*/ 181880 h 231543"/>
              <a:gd name="connsiteX168" fmla="*/ 92555 w 229505"/>
              <a:gd name="connsiteY168" fmla="*/ 181756 h 231543"/>
              <a:gd name="connsiteX169" fmla="*/ 91317 w 229505"/>
              <a:gd name="connsiteY169" fmla="*/ 180594 h 231543"/>
              <a:gd name="connsiteX170" fmla="*/ 89240 w 229505"/>
              <a:gd name="connsiteY170" fmla="*/ 179222 h 231543"/>
              <a:gd name="connsiteX171" fmla="*/ 85220 w 229505"/>
              <a:gd name="connsiteY171" fmla="*/ 173955 h 231543"/>
              <a:gd name="connsiteX172" fmla="*/ 83820 w 229505"/>
              <a:gd name="connsiteY172" fmla="*/ 170669 h 231543"/>
              <a:gd name="connsiteX173" fmla="*/ 82144 w 229505"/>
              <a:gd name="connsiteY173" fmla="*/ 170412 h 231543"/>
              <a:gd name="connsiteX174" fmla="*/ 79229 w 229505"/>
              <a:gd name="connsiteY174" fmla="*/ 170888 h 231543"/>
              <a:gd name="connsiteX175" fmla="*/ 76048 w 229505"/>
              <a:gd name="connsiteY175" fmla="*/ 177908 h 231543"/>
              <a:gd name="connsiteX176" fmla="*/ 76058 w 229505"/>
              <a:gd name="connsiteY176" fmla="*/ 181918 h 231543"/>
              <a:gd name="connsiteX177" fmla="*/ 74409 w 229505"/>
              <a:gd name="connsiteY177" fmla="*/ 180966 h 231543"/>
              <a:gd name="connsiteX178" fmla="*/ 73000 w 229505"/>
              <a:gd name="connsiteY178" fmla="*/ 179718 h 231543"/>
              <a:gd name="connsiteX179" fmla="*/ 73171 w 229505"/>
              <a:gd name="connsiteY179" fmla="*/ 175327 h 231543"/>
              <a:gd name="connsiteX180" fmla="*/ 73029 w 229505"/>
              <a:gd name="connsiteY180" fmla="*/ 173479 h 231543"/>
              <a:gd name="connsiteX181" fmla="*/ 69161 w 229505"/>
              <a:gd name="connsiteY181" fmla="*/ 167478 h 231543"/>
              <a:gd name="connsiteX182" fmla="*/ 67389 w 229505"/>
              <a:gd name="connsiteY182" fmla="*/ 166802 h 231543"/>
              <a:gd name="connsiteX183" fmla="*/ 66561 w 229505"/>
              <a:gd name="connsiteY183" fmla="*/ 164773 h 231543"/>
              <a:gd name="connsiteX184" fmla="*/ 65132 w 229505"/>
              <a:gd name="connsiteY184" fmla="*/ 162601 h 231543"/>
              <a:gd name="connsiteX185" fmla="*/ 63294 w 229505"/>
              <a:gd name="connsiteY185" fmla="*/ 163011 h 231543"/>
              <a:gd name="connsiteX186" fmla="*/ 61789 w 229505"/>
              <a:gd name="connsiteY186" fmla="*/ 163887 h 231543"/>
              <a:gd name="connsiteX187" fmla="*/ 61379 w 229505"/>
              <a:gd name="connsiteY187" fmla="*/ 167164 h 231543"/>
              <a:gd name="connsiteX188" fmla="*/ 61227 w 229505"/>
              <a:gd name="connsiteY188" fmla="*/ 170097 h 231543"/>
              <a:gd name="connsiteX189" fmla="*/ 60103 w 229505"/>
              <a:gd name="connsiteY189" fmla="*/ 172298 h 231543"/>
              <a:gd name="connsiteX190" fmla="*/ 55979 w 229505"/>
              <a:gd name="connsiteY190" fmla="*/ 168116 h 231543"/>
              <a:gd name="connsiteX191" fmla="*/ 51826 w 229505"/>
              <a:gd name="connsiteY191" fmla="*/ 160858 h 231543"/>
              <a:gd name="connsiteX192" fmla="*/ 51721 w 229505"/>
              <a:gd name="connsiteY192" fmla="*/ 156877 h 231543"/>
              <a:gd name="connsiteX193" fmla="*/ 54759 w 229505"/>
              <a:gd name="connsiteY193" fmla="*/ 153229 h 231543"/>
              <a:gd name="connsiteX194" fmla="*/ 54397 w 229505"/>
              <a:gd name="connsiteY194" fmla="*/ 150619 h 231543"/>
              <a:gd name="connsiteX195" fmla="*/ 51521 w 229505"/>
              <a:gd name="connsiteY195" fmla="*/ 145456 h 231543"/>
              <a:gd name="connsiteX196" fmla="*/ 47368 w 229505"/>
              <a:gd name="connsiteY196" fmla="*/ 142132 h 231543"/>
              <a:gd name="connsiteX197" fmla="*/ 45044 w 229505"/>
              <a:gd name="connsiteY197" fmla="*/ 141142 h 231543"/>
              <a:gd name="connsiteX198" fmla="*/ 43948 w 229505"/>
              <a:gd name="connsiteY198" fmla="*/ 137598 h 231543"/>
              <a:gd name="connsiteX199" fmla="*/ 41729 w 229505"/>
              <a:gd name="connsiteY199" fmla="*/ 135769 h 231543"/>
              <a:gd name="connsiteX200" fmla="*/ 39929 w 229505"/>
              <a:gd name="connsiteY200" fmla="*/ 134912 h 231543"/>
              <a:gd name="connsiteX201" fmla="*/ 39577 w 229505"/>
              <a:gd name="connsiteY201" fmla="*/ 133655 h 231543"/>
              <a:gd name="connsiteX202" fmla="*/ 40120 w 229505"/>
              <a:gd name="connsiteY202" fmla="*/ 132722 h 231543"/>
              <a:gd name="connsiteX203" fmla="*/ 44482 w 229505"/>
              <a:gd name="connsiteY203" fmla="*/ 129074 h 231543"/>
              <a:gd name="connsiteX204" fmla="*/ 47035 w 229505"/>
              <a:gd name="connsiteY204" fmla="*/ 123339 h 231543"/>
              <a:gd name="connsiteX205" fmla="*/ 48302 w 229505"/>
              <a:gd name="connsiteY205" fmla="*/ 123073 h 231543"/>
              <a:gd name="connsiteX206" fmla="*/ 50911 w 229505"/>
              <a:gd name="connsiteY206" fmla="*/ 124435 h 231543"/>
              <a:gd name="connsiteX207" fmla="*/ 53845 w 229505"/>
              <a:gd name="connsiteY207" fmla="*/ 124082 h 231543"/>
              <a:gd name="connsiteX208" fmla="*/ 56245 w 229505"/>
              <a:gd name="connsiteY208" fmla="*/ 120720 h 231543"/>
              <a:gd name="connsiteX209" fmla="*/ 58284 w 229505"/>
              <a:gd name="connsiteY209" fmla="*/ 118891 h 231543"/>
              <a:gd name="connsiteX210" fmla="*/ 61722 w 229505"/>
              <a:gd name="connsiteY210" fmla="*/ 119129 h 231543"/>
              <a:gd name="connsiteX211" fmla="*/ 69485 w 229505"/>
              <a:gd name="connsiteY211" fmla="*/ 123615 h 231543"/>
              <a:gd name="connsiteX212" fmla="*/ 77829 w 229505"/>
              <a:gd name="connsiteY212" fmla="*/ 126178 h 231543"/>
              <a:gd name="connsiteX213" fmla="*/ 81992 w 229505"/>
              <a:gd name="connsiteY213" fmla="*/ 128416 h 231543"/>
              <a:gd name="connsiteX214" fmla="*/ 84354 w 229505"/>
              <a:gd name="connsiteY214" fmla="*/ 130635 h 231543"/>
              <a:gd name="connsiteX215" fmla="*/ 85601 w 229505"/>
              <a:gd name="connsiteY215" fmla="*/ 131093 h 231543"/>
              <a:gd name="connsiteX216" fmla="*/ 87582 w 229505"/>
              <a:gd name="connsiteY216" fmla="*/ 131407 h 231543"/>
              <a:gd name="connsiteX217" fmla="*/ 87497 w 229505"/>
              <a:gd name="connsiteY217" fmla="*/ 129750 h 231543"/>
              <a:gd name="connsiteX218" fmla="*/ 86868 w 229505"/>
              <a:gd name="connsiteY218" fmla="*/ 128283 h 231543"/>
              <a:gd name="connsiteX219" fmla="*/ 88516 w 229505"/>
              <a:gd name="connsiteY219" fmla="*/ 127483 h 231543"/>
              <a:gd name="connsiteX220" fmla="*/ 92983 w 229505"/>
              <a:gd name="connsiteY220" fmla="*/ 127521 h 231543"/>
              <a:gd name="connsiteX221" fmla="*/ 93793 w 229505"/>
              <a:gd name="connsiteY221" fmla="*/ 126740 h 231543"/>
              <a:gd name="connsiteX222" fmla="*/ 94622 w 229505"/>
              <a:gd name="connsiteY222" fmla="*/ 125482 h 231543"/>
              <a:gd name="connsiteX223" fmla="*/ 93698 w 229505"/>
              <a:gd name="connsiteY223" fmla="*/ 124044 h 231543"/>
              <a:gd name="connsiteX224" fmla="*/ 92221 w 229505"/>
              <a:gd name="connsiteY224" fmla="*/ 123358 h 231543"/>
              <a:gd name="connsiteX225" fmla="*/ 90640 w 229505"/>
              <a:gd name="connsiteY225" fmla="*/ 123168 h 231543"/>
              <a:gd name="connsiteX226" fmla="*/ 89602 w 229505"/>
              <a:gd name="connsiteY226" fmla="*/ 122711 h 231543"/>
              <a:gd name="connsiteX227" fmla="*/ 87916 w 229505"/>
              <a:gd name="connsiteY227" fmla="*/ 123168 h 231543"/>
              <a:gd name="connsiteX228" fmla="*/ 85297 w 229505"/>
              <a:gd name="connsiteY228" fmla="*/ 122053 h 231543"/>
              <a:gd name="connsiteX229" fmla="*/ 83934 w 229505"/>
              <a:gd name="connsiteY229" fmla="*/ 121139 h 231543"/>
              <a:gd name="connsiteX230" fmla="*/ 83144 w 229505"/>
              <a:gd name="connsiteY230" fmla="*/ 120196 h 231543"/>
              <a:gd name="connsiteX231" fmla="*/ 78581 w 229505"/>
              <a:gd name="connsiteY231" fmla="*/ 118320 h 231543"/>
              <a:gd name="connsiteX232" fmla="*/ 74257 w 229505"/>
              <a:gd name="connsiteY232" fmla="*/ 115138 h 231543"/>
              <a:gd name="connsiteX233" fmla="*/ 73276 w 229505"/>
              <a:gd name="connsiteY233" fmla="*/ 116939 h 231543"/>
              <a:gd name="connsiteX234" fmla="*/ 71524 w 229505"/>
              <a:gd name="connsiteY234" fmla="*/ 117910 h 231543"/>
              <a:gd name="connsiteX235" fmla="*/ 69038 w 229505"/>
              <a:gd name="connsiteY235" fmla="*/ 118053 h 231543"/>
              <a:gd name="connsiteX236" fmla="*/ 62046 w 229505"/>
              <a:gd name="connsiteY236" fmla="*/ 116034 h 231543"/>
              <a:gd name="connsiteX237" fmla="*/ 57751 w 229505"/>
              <a:gd name="connsiteY237" fmla="*/ 117577 h 231543"/>
              <a:gd name="connsiteX238" fmla="*/ 55407 w 229505"/>
              <a:gd name="connsiteY238" fmla="*/ 117977 h 231543"/>
              <a:gd name="connsiteX239" fmla="*/ 53616 w 229505"/>
              <a:gd name="connsiteY239" fmla="*/ 118015 h 231543"/>
              <a:gd name="connsiteX240" fmla="*/ 51416 w 229505"/>
              <a:gd name="connsiteY240" fmla="*/ 118701 h 231543"/>
              <a:gd name="connsiteX241" fmla="*/ 48873 w 229505"/>
              <a:gd name="connsiteY241" fmla="*/ 119110 h 231543"/>
              <a:gd name="connsiteX242" fmla="*/ 46673 w 229505"/>
              <a:gd name="connsiteY242" fmla="*/ 116177 h 231543"/>
              <a:gd name="connsiteX243" fmla="*/ 45749 w 229505"/>
              <a:gd name="connsiteY243" fmla="*/ 113900 h 231543"/>
              <a:gd name="connsiteX244" fmla="*/ 45101 w 229505"/>
              <a:gd name="connsiteY244" fmla="*/ 113472 h 231543"/>
              <a:gd name="connsiteX245" fmla="*/ 45072 w 229505"/>
              <a:gd name="connsiteY245" fmla="*/ 115614 h 231543"/>
              <a:gd name="connsiteX246" fmla="*/ 44368 w 229505"/>
              <a:gd name="connsiteY246" fmla="*/ 117329 h 231543"/>
              <a:gd name="connsiteX247" fmla="*/ 41139 w 229505"/>
              <a:gd name="connsiteY247" fmla="*/ 118291 h 231543"/>
              <a:gd name="connsiteX248" fmla="*/ 39281 w 229505"/>
              <a:gd name="connsiteY248" fmla="*/ 116958 h 231543"/>
              <a:gd name="connsiteX249" fmla="*/ 37852 w 229505"/>
              <a:gd name="connsiteY249" fmla="*/ 112929 h 231543"/>
              <a:gd name="connsiteX250" fmla="*/ 36052 w 229505"/>
              <a:gd name="connsiteY250" fmla="*/ 107795 h 231543"/>
              <a:gd name="connsiteX251" fmla="*/ 32881 w 229505"/>
              <a:gd name="connsiteY251" fmla="*/ 103642 h 231543"/>
              <a:gd name="connsiteX252" fmla="*/ 30299 w 229505"/>
              <a:gd name="connsiteY252" fmla="*/ 102556 h 231543"/>
              <a:gd name="connsiteX253" fmla="*/ 30080 w 229505"/>
              <a:gd name="connsiteY253" fmla="*/ 100270 h 231543"/>
              <a:gd name="connsiteX254" fmla="*/ 30309 w 229505"/>
              <a:gd name="connsiteY254" fmla="*/ 98441 h 231543"/>
              <a:gd name="connsiteX255" fmla="*/ 33404 w 229505"/>
              <a:gd name="connsiteY255" fmla="*/ 97984 h 231543"/>
              <a:gd name="connsiteX256" fmla="*/ 38243 w 229505"/>
              <a:gd name="connsiteY256" fmla="*/ 99898 h 231543"/>
              <a:gd name="connsiteX257" fmla="*/ 39243 w 229505"/>
              <a:gd name="connsiteY257" fmla="*/ 99517 h 231543"/>
              <a:gd name="connsiteX258" fmla="*/ 40329 w 229505"/>
              <a:gd name="connsiteY258" fmla="*/ 98631 h 231543"/>
              <a:gd name="connsiteX259" fmla="*/ 40120 w 229505"/>
              <a:gd name="connsiteY259" fmla="*/ 96679 h 231543"/>
              <a:gd name="connsiteX260" fmla="*/ 39414 w 229505"/>
              <a:gd name="connsiteY260" fmla="*/ 94936 h 231543"/>
              <a:gd name="connsiteX261" fmla="*/ 38081 w 229505"/>
              <a:gd name="connsiteY261" fmla="*/ 94860 h 231543"/>
              <a:gd name="connsiteX262" fmla="*/ 37157 w 229505"/>
              <a:gd name="connsiteY262" fmla="*/ 95060 h 231543"/>
              <a:gd name="connsiteX263" fmla="*/ 34176 w 229505"/>
              <a:gd name="connsiteY263" fmla="*/ 94698 h 231543"/>
              <a:gd name="connsiteX264" fmla="*/ 30356 w 229505"/>
              <a:gd name="connsiteY264" fmla="*/ 95669 h 231543"/>
              <a:gd name="connsiteX265" fmla="*/ 28585 w 229505"/>
              <a:gd name="connsiteY265" fmla="*/ 94755 h 231543"/>
              <a:gd name="connsiteX266" fmla="*/ 27994 w 229505"/>
              <a:gd name="connsiteY266" fmla="*/ 93641 h 231543"/>
              <a:gd name="connsiteX267" fmla="*/ 24794 w 229505"/>
              <a:gd name="connsiteY267" fmla="*/ 90888 h 231543"/>
              <a:gd name="connsiteX268" fmla="*/ 22032 w 229505"/>
              <a:gd name="connsiteY268" fmla="*/ 87192 h 231543"/>
              <a:gd name="connsiteX269" fmla="*/ 17555 w 229505"/>
              <a:gd name="connsiteY269" fmla="*/ 84725 h 231543"/>
              <a:gd name="connsiteX270" fmla="*/ 14631 w 229505"/>
              <a:gd name="connsiteY270" fmla="*/ 77181 h 231543"/>
              <a:gd name="connsiteX271" fmla="*/ 12173 w 229505"/>
              <a:gd name="connsiteY271" fmla="*/ 73886 h 231543"/>
              <a:gd name="connsiteX272" fmla="*/ 9554 w 229505"/>
              <a:gd name="connsiteY272" fmla="*/ 71523 h 231543"/>
              <a:gd name="connsiteX273" fmla="*/ 10126 w 229505"/>
              <a:gd name="connsiteY273" fmla="*/ 71485 h 231543"/>
              <a:gd name="connsiteX274" fmla="*/ 11116 w 229505"/>
              <a:gd name="connsiteY274" fmla="*/ 71885 h 231543"/>
              <a:gd name="connsiteX275" fmla="*/ 13021 w 229505"/>
              <a:gd name="connsiteY275" fmla="*/ 73181 h 231543"/>
              <a:gd name="connsiteX276" fmla="*/ 15040 w 229505"/>
              <a:gd name="connsiteY276" fmla="*/ 73457 h 231543"/>
              <a:gd name="connsiteX277" fmla="*/ 16145 w 229505"/>
              <a:gd name="connsiteY277" fmla="*/ 72600 h 231543"/>
              <a:gd name="connsiteX278" fmla="*/ 16783 w 229505"/>
              <a:gd name="connsiteY278" fmla="*/ 71809 h 231543"/>
              <a:gd name="connsiteX279" fmla="*/ 17193 w 229505"/>
              <a:gd name="connsiteY279" fmla="*/ 70514 h 231543"/>
              <a:gd name="connsiteX280" fmla="*/ 17364 w 229505"/>
              <a:gd name="connsiteY280" fmla="*/ 68999 h 231543"/>
              <a:gd name="connsiteX281" fmla="*/ 17698 w 229505"/>
              <a:gd name="connsiteY281" fmla="*/ 68494 h 231543"/>
              <a:gd name="connsiteX282" fmla="*/ 19250 w 229505"/>
              <a:gd name="connsiteY282" fmla="*/ 68675 h 231543"/>
              <a:gd name="connsiteX283" fmla="*/ 19745 w 229505"/>
              <a:gd name="connsiteY283" fmla="*/ 68294 h 231543"/>
              <a:gd name="connsiteX284" fmla="*/ 19727 w 229505"/>
              <a:gd name="connsiteY284" fmla="*/ 66932 h 231543"/>
              <a:gd name="connsiteX285" fmla="*/ 18726 w 229505"/>
              <a:gd name="connsiteY285" fmla="*/ 65237 h 231543"/>
              <a:gd name="connsiteX286" fmla="*/ 17850 w 229505"/>
              <a:gd name="connsiteY286" fmla="*/ 63151 h 231543"/>
              <a:gd name="connsiteX287" fmla="*/ 17850 w 229505"/>
              <a:gd name="connsiteY287" fmla="*/ 62160 h 231543"/>
              <a:gd name="connsiteX288" fmla="*/ 18584 w 229505"/>
              <a:gd name="connsiteY288" fmla="*/ 61760 h 231543"/>
              <a:gd name="connsiteX289" fmla="*/ 19793 w 229505"/>
              <a:gd name="connsiteY289" fmla="*/ 60855 h 231543"/>
              <a:gd name="connsiteX290" fmla="*/ 20441 w 229505"/>
              <a:gd name="connsiteY290" fmla="*/ 59731 h 231543"/>
              <a:gd name="connsiteX291" fmla="*/ 21727 w 229505"/>
              <a:gd name="connsiteY291" fmla="*/ 59169 h 231543"/>
              <a:gd name="connsiteX292" fmla="*/ 23622 w 229505"/>
              <a:gd name="connsiteY292" fmla="*/ 59065 h 231543"/>
              <a:gd name="connsiteX293" fmla="*/ 25737 w 229505"/>
              <a:gd name="connsiteY293" fmla="*/ 58569 h 231543"/>
              <a:gd name="connsiteX294" fmla="*/ 27108 w 229505"/>
              <a:gd name="connsiteY294" fmla="*/ 57360 h 231543"/>
              <a:gd name="connsiteX295" fmla="*/ 27308 w 229505"/>
              <a:gd name="connsiteY295" fmla="*/ 56169 h 231543"/>
              <a:gd name="connsiteX296" fmla="*/ 28166 w 229505"/>
              <a:gd name="connsiteY296" fmla="*/ 52874 h 231543"/>
              <a:gd name="connsiteX297" fmla="*/ 28728 w 229505"/>
              <a:gd name="connsiteY297" fmla="*/ 51254 h 231543"/>
              <a:gd name="connsiteX298" fmla="*/ 29632 w 229505"/>
              <a:gd name="connsiteY298" fmla="*/ 49778 h 231543"/>
              <a:gd name="connsiteX299" fmla="*/ 30119 w 229505"/>
              <a:gd name="connsiteY299" fmla="*/ 47787 h 231543"/>
              <a:gd name="connsiteX300" fmla="*/ 31090 w 229505"/>
              <a:gd name="connsiteY300" fmla="*/ 45911 h 231543"/>
              <a:gd name="connsiteX301" fmla="*/ 33109 w 229505"/>
              <a:gd name="connsiteY301" fmla="*/ 45120 h 231543"/>
              <a:gd name="connsiteX302" fmla="*/ 34938 w 229505"/>
              <a:gd name="connsiteY302" fmla="*/ 44196 h 231543"/>
              <a:gd name="connsiteX303" fmla="*/ 36319 w 229505"/>
              <a:gd name="connsiteY303" fmla="*/ 41777 h 231543"/>
              <a:gd name="connsiteX304" fmla="*/ 37100 w 229505"/>
              <a:gd name="connsiteY304" fmla="*/ 39710 h 231543"/>
              <a:gd name="connsiteX305" fmla="*/ 37100 w 229505"/>
              <a:gd name="connsiteY305" fmla="*/ 38443 h 231543"/>
              <a:gd name="connsiteX306" fmla="*/ 35938 w 229505"/>
              <a:gd name="connsiteY306" fmla="*/ 36367 h 231543"/>
              <a:gd name="connsiteX307" fmla="*/ 35081 w 229505"/>
              <a:gd name="connsiteY307" fmla="*/ 34347 h 231543"/>
              <a:gd name="connsiteX308" fmla="*/ 35309 w 229505"/>
              <a:gd name="connsiteY308" fmla="*/ 31718 h 231543"/>
              <a:gd name="connsiteX309" fmla="*/ 38938 w 229505"/>
              <a:gd name="connsiteY309" fmla="*/ 31499 h 231543"/>
              <a:gd name="connsiteX310" fmla="*/ 40205 w 229505"/>
              <a:gd name="connsiteY310" fmla="*/ 31252 h 231543"/>
              <a:gd name="connsiteX311" fmla="*/ 44920 w 229505"/>
              <a:gd name="connsiteY311" fmla="*/ 31109 h 231543"/>
              <a:gd name="connsiteX312" fmla="*/ 47073 w 229505"/>
              <a:gd name="connsiteY312" fmla="*/ 29699 h 231543"/>
              <a:gd name="connsiteX313" fmla="*/ 48559 w 229505"/>
              <a:gd name="connsiteY313" fmla="*/ 29832 h 231543"/>
              <a:gd name="connsiteX314" fmla="*/ 51664 w 229505"/>
              <a:gd name="connsiteY314" fmla="*/ 31052 h 231543"/>
              <a:gd name="connsiteX315" fmla="*/ 53054 w 229505"/>
              <a:gd name="connsiteY315" fmla="*/ 30089 h 231543"/>
              <a:gd name="connsiteX316" fmla="*/ 57112 w 229505"/>
              <a:gd name="connsiteY316" fmla="*/ 28185 h 231543"/>
              <a:gd name="connsiteX317" fmla="*/ 61122 w 229505"/>
              <a:gd name="connsiteY317" fmla="*/ 22641 h 231543"/>
              <a:gd name="connsiteX318" fmla="*/ 62827 w 229505"/>
              <a:gd name="connsiteY318" fmla="*/ 21812 h 231543"/>
              <a:gd name="connsiteX319" fmla="*/ 66723 w 229505"/>
              <a:gd name="connsiteY319" fmla="*/ 21469 h 231543"/>
              <a:gd name="connsiteX320" fmla="*/ 67942 w 229505"/>
              <a:gd name="connsiteY320" fmla="*/ 20831 h 231543"/>
              <a:gd name="connsiteX321" fmla="*/ 69361 w 229505"/>
              <a:gd name="connsiteY321" fmla="*/ 20955 h 231543"/>
              <a:gd name="connsiteX322" fmla="*/ 73724 w 229505"/>
              <a:gd name="connsiteY322" fmla="*/ 22079 h 231543"/>
              <a:gd name="connsiteX323" fmla="*/ 76200 w 229505"/>
              <a:gd name="connsiteY323" fmla="*/ 22250 h 231543"/>
              <a:gd name="connsiteX324" fmla="*/ 79143 w 229505"/>
              <a:gd name="connsiteY324" fmla="*/ 21479 h 231543"/>
              <a:gd name="connsiteX325" fmla="*/ 82382 w 229505"/>
              <a:gd name="connsiteY325" fmla="*/ 20126 h 231543"/>
              <a:gd name="connsiteX326" fmla="*/ 83191 w 229505"/>
              <a:gd name="connsiteY326" fmla="*/ 15373 h 231543"/>
              <a:gd name="connsiteX327" fmla="*/ 83963 w 229505"/>
              <a:gd name="connsiteY327" fmla="*/ 14688 h 231543"/>
              <a:gd name="connsiteX328" fmla="*/ 85973 w 229505"/>
              <a:gd name="connsiteY328" fmla="*/ 14497 h 231543"/>
              <a:gd name="connsiteX329" fmla="*/ 87497 w 229505"/>
              <a:gd name="connsiteY329" fmla="*/ 14535 h 231543"/>
              <a:gd name="connsiteX330" fmla="*/ 90431 w 229505"/>
              <a:gd name="connsiteY330" fmla="*/ 14916 h 231543"/>
              <a:gd name="connsiteX331" fmla="*/ 93917 w 229505"/>
              <a:gd name="connsiteY331" fmla="*/ 15040 h 231543"/>
              <a:gd name="connsiteX332" fmla="*/ 96155 w 229505"/>
              <a:gd name="connsiteY332" fmla="*/ 12811 h 231543"/>
              <a:gd name="connsiteX333" fmla="*/ 99689 w 229505"/>
              <a:gd name="connsiteY333" fmla="*/ 12649 h 231543"/>
              <a:gd name="connsiteX334" fmla="*/ 101327 w 229505"/>
              <a:gd name="connsiteY334" fmla="*/ 12325 h 231543"/>
              <a:gd name="connsiteX335" fmla="*/ 104061 w 229505"/>
              <a:gd name="connsiteY335" fmla="*/ 12773 h 231543"/>
              <a:gd name="connsiteX336" fmla="*/ 106718 w 229505"/>
              <a:gd name="connsiteY336" fmla="*/ 12754 h 231543"/>
              <a:gd name="connsiteX337" fmla="*/ 110119 w 229505"/>
              <a:gd name="connsiteY337" fmla="*/ 11820 h 231543"/>
              <a:gd name="connsiteX338" fmla="*/ 113291 w 229505"/>
              <a:gd name="connsiteY338" fmla="*/ 10287 h 231543"/>
              <a:gd name="connsiteX339" fmla="*/ 115767 w 229505"/>
              <a:gd name="connsiteY339" fmla="*/ 10421 h 231543"/>
              <a:gd name="connsiteX340" fmla="*/ 116777 w 229505"/>
              <a:gd name="connsiteY340" fmla="*/ 10144 h 231543"/>
              <a:gd name="connsiteX341" fmla="*/ 117348 w 229505"/>
              <a:gd name="connsiteY341" fmla="*/ 9820 h 231543"/>
              <a:gd name="connsiteX342" fmla="*/ 117967 w 229505"/>
              <a:gd name="connsiteY342" fmla="*/ 7753 h 231543"/>
              <a:gd name="connsiteX343" fmla="*/ 122625 w 229505"/>
              <a:gd name="connsiteY343" fmla="*/ 7620 h 231543"/>
              <a:gd name="connsiteX344" fmla="*/ 124206 w 229505"/>
              <a:gd name="connsiteY344" fmla="*/ 7820 h 231543"/>
              <a:gd name="connsiteX345" fmla="*/ 126807 w 229505"/>
              <a:gd name="connsiteY345" fmla="*/ 7877 h 231543"/>
              <a:gd name="connsiteX346" fmla="*/ 129512 w 229505"/>
              <a:gd name="connsiteY346" fmla="*/ 6744 h 231543"/>
              <a:gd name="connsiteX347" fmla="*/ 130321 w 229505"/>
              <a:gd name="connsiteY347" fmla="*/ 6839 h 231543"/>
              <a:gd name="connsiteX348" fmla="*/ 131683 w 229505"/>
              <a:gd name="connsiteY348" fmla="*/ 9868 h 231543"/>
              <a:gd name="connsiteX349" fmla="*/ 132398 w 229505"/>
              <a:gd name="connsiteY349" fmla="*/ 10744 h 231543"/>
              <a:gd name="connsiteX350" fmla="*/ 133865 w 229505"/>
              <a:gd name="connsiteY350" fmla="*/ 11554 h 231543"/>
              <a:gd name="connsiteX351" fmla="*/ 137141 w 229505"/>
              <a:gd name="connsiteY351" fmla="*/ 13821 h 231543"/>
              <a:gd name="connsiteX352" fmla="*/ 137732 w 229505"/>
              <a:gd name="connsiteY352" fmla="*/ 13221 h 231543"/>
              <a:gd name="connsiteX353" fmla="*/ 139103 w 229505"/>
              <a:gd name="connsiteY353" fmla="*/ 12459 h 231543"/>
              <a:gd name="connsiteX354" fmla="*/ 143028 w 229505"/>
              <a:gd name="connsiteY354" fmla="*/ 13497 h 231543"/>
              <a:gd name="connsiteX355" fmla="*/ 146771 w 229505"/>
              <a:gd name="connsiteY355" fmla="*/ 15240 h 231543"/>
              <a:gd name="connsiteX356" fmla="*/ 149914 w 229505"/>
              <a:gd name="connsiteY356" fmla="*/ 17802 h 231543"/>
              <a:gd name="connsiteX357" fmla="*/ 153410 w 229505"/>
              <a:gd name="connsiteY357" fmla="*/ 17059 h 231543"/>
              <a:gd name="connsiteX358" fmla="*/ 157286 w 229505"/>
              <a:gd name="connsiteY358" fmla="*/ 15802 h 231543"/>
              <a:gd name="connsiteX359" fmla="*/ 159811 w 229505"/>
              <a:gd name="connsiteY359" fmla="*/ 15440 h 231543"/>
              <a:gd name="connsiteX360" fmla="*/ 162554 w 229505"/>
              <a:gd name="connsiteY360" fmla="*/ 15259 h 231543"/>
              <a:gd name="connsiteX361" fmla="*/ 164182 w 229505"/>
              <a:gd name="connsiteY361" fmla="*/ 14716 h 231543"/>
              <a:gd name="connsiteX362" fmla="*/ 167888 w 229505"/>
              <a:gd name="connsiteY362" fmla="*/ 15373 h 231543"/>
              <a:gd name="connsiteX363" fmla="*/ 171708 w 229505"/>
              <a:gd name="connsiteY363" fmla="*/ 13992 h 231543"/>
              <a:gd name="connsiteX364" fmla="*/ 173546 w 229505"/>
              <a:gd name="connsiteY364" fmla="*/ 12754 h 231543"/>
              <a:gd name="connsiteX365" fmla="*/ 174079 w 229505"/>
              <a:gd name="connsiteY365" fmla="*/ 11001 h 231543"/>
              <a:gd name="connsiteX366" fmla="*/ 173774 w 229505"/>
              <a:gd name="connsiteY366" fmla="*/ 7925 h 231543"/>
              <a:gd name="connsiteX367" fmla="*/ 172907 w 229505"/>
              <a:gd name="connsiteY367" fmla="*/ 4839 h 231543"/>
              <a:gd name="connsiteX368" fmla="*/ 171993 w 229505"/>
              <a:gd name="connsiteY368" fmla="*/ 3696 h 231543"/>
              <a:gd name="connsiteX369" fmla="*/ 171698 w 229505"/>
              <a:gd name="connsiteY369" fmla="*/ 2515 h 231543"/>
              <a:gd name="connsiteX370" fmla="*/ 172222 w 229505"/>
              <a:gd name="connsiteY370" fmla="*/ 1410 h 231543"/>
              <a:gd name="connsiteX371" fmla="*/ 172812 w 229505"/>
              <a:gd name="connsiteY371" fmla="*/ 648 h 231543"/>
              <a:gd name="connsiteX372" fmla="*/ 175308 w 229505"/>
              <a:gd name="connsiteY372" fmla="*/ 0 h 231543"/>
              <a:gd name="connsiteX373" fmla="*/ 178422 w 229505"/>
              <a:gd name="connsiteY373" fmla="*/ 1086 h 231543"/>
              <a:gd name="connsiteX374" fmla="*/ 137075 w 229505"/>
              <a:gd name="connsiteY374" fmla="*/ 40053 h 231543"/>
              <a:gd name="connsiteX375" fmla="*/ 133645 w 229505"/>
              <a:gd name="connsiteY375" fmla="*/ 41300 h 231543"/>
              <a:gd name="connsiteX376" fmla="*/ 130160 w 229505"/>
              <a:gd name="connsiteY376" fmla="*/ 38929 h 231543"/>
              <a:gd name="connsiteX377" fmla="*/ 130188 w 229505"/>
              <a:gd name="connsiteY377" fmla="*/ 37519 h 231543"/>
              <a:gd name="connsiteX378" fmla="*/ 132026 w 229505"/>
              <a:gd name="connsiteY378" fmla="*/ 34652 h 231543"/>
              <a:gd name="connsiteX379" fmla="*/ 133036 w 229505"/>
              <a:gd name="connsiteY379" fmla="*/ 33804 h 231543"/>
              <a:gd name="connsiteX380" fmla="*/ 135598 w 229505"/>
              <a:gd name="connsiteY380" fmla="*/ 34033 h 231543"/>
              <a:gd name="connsiteX381" fmla="*/ 137056 w 229505"/>
              <a:gd name="connsiteY381" fmla="*/ 36004 h 231543"/>
              <a:gd name="connsiteX382" fmla="*/ 137399 w 229505"/>
              <a:gd name="connsiteY382" fmla="*/ 36938 h 231543"/>
              <a:gd name="connsiteX383" fmla="*/ 136922 w 229505"/>
              <a:gd name="connsiteY383" fmla="*/ 38519 h 231543"/>
              <a:gd name="connsiteX384" fmla="*/ 137075 w 229505"/>
              <a:gd name="connsiteY384" fmla="*/ 40053 h 231543"/>
              <a:gd name="connsiteX385" fmla="*/ 161449 w 229505"/>
              <a:gd name="connsiteY385" fmla="*/ 46663 h 231543"/>
              <a:gd name="connsiteX386" fmla="*/ 158420 w 229505"/>
              <a:gd name="connsiteY386" fmla="*/ 47577 h 231543"/>
              <a:gd name="connsiteX387" fmla="*/ 155086 w 229505"/>
              <a:gd name="connsiteY387" fmla="*/ 44691 h 231543"/>
              <a:gd name="connsiteX388" fmla="*/ 158305 w 229505"/>
              <a:gd name="connsiteY388" fmla="*/ 43529 h 231543"/>
              <a:gd name="connsiteX389" fmla="*/ 159801 w 229505"/>
              <a:gd name="connsiteY389" fmla="*/ 44368 h 231543"/>
              <a:gd name="connsiteX390" fmla="*/ 160868 w 229505"/>
              <a:gd name="connsiteY390" fmla="*/ 45358 h 231543"/>
              <a:gd name="connsiteX391" fmla="*/ 161449 w 229505"/>
              <a:gd name="connsiteY391" fmla="*/ 46663 h 231543"/>
              <a:gd name="connsiteX392" fmla="*/ 154810 w 229505"/>
              <a:gd name="connsiteY392" fmla="*/ 62112 h 231543"/>
              <a:gd name="connsiteX393" fmla="*/ 153801 w 229505"/>
              <a:gd name="connsiteY393" fmla="*/ 63284 h 231543"/>
              <a:gd name="connsiteX394" fmla="*/ 153048 w 229505"/>
              <a:gd name="connsiteY394" fmla="*/ 65304 h 231543"/>
              <a:gd name="connsiteX395" fmla="*/ 152648 w 229505"/>
              <a:gd name="connsiteY395" fmla="*/ 68189 h 231543"/>
              <a:gd name="connsiteX396" fmla="*/ 151086 w 229505"/>
              <a:gd name="connsiteY396" fmla="*/ 68256 h 231543"/>
              <a:gd name="connsiteX397" fmla="*/ 150143 w 229505"/>
              <a:gd name="connsiteY397" fmla="*/ 67675 h 231543"/>
              <a:gd name="connsiteX398" fmla="*/ 149829 w 229505"/>
              <a:gd name="connsiteY398" fmla="*/ 66580 h 231543"/>
              <a:gd name="connsiteX399" fmla="*/ 149771 w 229505"/>
              <a:gd name="connsiteY399" fmla="*/ 65199 h 231543"/>
              <a:gd name="connsiteX400" fmla="*/ 149086 w 229505"/>
              <a:gd name="connsiteY400" fmla="*/ 65256 h 231543"/>
              <a:gd name="connsiteX401" fmla="*/ 148533 w 229505"/>
              <a:gd name="connsiteY401" fmla="*/ 66751 h 231543"/>
              <a:gd name="connsiteX402" fmla="*/ 148047 w 229505"/>
              <a:gd name="connsiteY402" fmla="*/ 67428 h 231543"/>
              <a:gd name="connsiteX403" fmla="*/ 146476 w 229505"/>
              <a:gd name="connsiteY403" fmla="*/ 67571 h 231543"/>
              <a:gd name="connsiteX404" fmla="*/ 144752 w 229505"/>
              <a:gd name="connsiteY404" fmla="*/ 66647 h 231543"/>
              <a:gd name="connsiteX405" fmla="*/ 144838 w 229505"/>
              <a:gd name="connsiteY405" fmla="*/ 64656 h 231543"/>
              <a:gd name="connsiteX406" fmla="*/ 144495 w 229505"/>
              <a:gd name="connsiteY406" fmla="*/ 62341 h 231543"/>
              <a:gd name="connsiteX407" fmla="*/ 144647 w 229505"/>
              <a:gd name="connsiteY407" fmla="*/ 61532 h 231543"/>
              <a:gd name="connsiteX408" fmla="*/ 149362 w 229505"/>
              <a:gd name="connsiteY408" fmla="*/ 61331 h 231543"/>
              <a:gd name="connsiteX409" fmla="*/ 150743 w 229505"/>
              <a:gd name="connsiteY409" fmla="*/ 63037 h 231543"/>
              <a:gd name="connsiteX410" fmla="*/ 152410 w 229505"/>
              <a:gd name="connsiteY410" fmla="*/ 62046 h 231543"/>
              <a:gd name="connsiteX411" fmla="*/ 153095 w 229505"/>
              <a:gd name="connsiteY411" fmla="*/ 60979 h 231543"/>
              <a:gd name="connsiteX412" fmla="*/ 155115 w 229505"/>
              <a:gd name="connsiteY412" fmla="*/ 60312 h 231543"/>
              <a:gd name="connsiteX413" fmla="*/ 154810 w 229505"/>
              <a:gd name="connsiteY413" fmla="*/ 62112 h 231543"/>
              <a:gd name="connsiteX414" fmla="*/ 11535 w 229505"/>
              <a:gd name="connsiteY414" fmla="*/ 81172 h 231543"/>
              <a:gd name="connsiteX415" fmla="*/ 12116 w 229505"/>
              <a:gd name="connsiteY415" fmla="*/ 83106 h 231543"/>
              <a:gd name="connsiteX416" fmla="*/ 8782 w 229505"/>
              <a:gd name="connsiteY416" fmla="*/ 81905 h 231543"/>
              <a:gd name="connsiteX417" fmla="*/ 6354 w 229505"/>
              <a:gd name="connsiteY417" fmla="*/ 80181 h 231543"/>
              <a:gd name="connsiteX418" fmla="*/ 4344 w 229505"/>
              <a:gd name="connsiteY418" fmla="*/ 75905 h 231543"/>
              <a:gd name="connsiteX419" fmla="*/ 67 w 229505"/>
              <a:gd name="connsiteY419" fmla="*/ 71038 h 231543"/>
              <a:gd name="connsiteX420" fmla="*/ 0 w 229505"/>
              <a:gd name="connsiteY420" fmla="*/ 69618 h 231543"/>
              <a:gd name="connsiteX421" fmla="*/ 1629 w 229505"/>
              <a:gd name="connsiteY421" fmla="*/ 68542 h 231543"/>
              <a:gd name="connsiteX422" fmla="*/ 5144 w 229505"/>
              <a:gd name="connsiteY422" fmla="*/ 67780 h 231543"/>
              <a:gd name="connsiteX423" fmla="*/ 6563 w 229505"/>
              <a:gd name="connsiteY423" fmla="*/ 68571 h 231543"/>
              <a:gd name="connsiteX424" fmla="*/ 7477 w 229505"/>
              <a:gd name="connsiteY424" fmla="*/ 69390 h 231543"/>
              <a:gd name="connsiteX425" fmla="*/ 7763 w 229505"/>
              <a:gd name="connsiteY425" fmla="*/ 70323 h 231543"/>
              <a:gd name="connsiteX426" fmla="*/ 5772 w 229505"/>
              <a:gd name="connsiteY426" fmla="*/ 72190 h 231543"/>
              <a:gd name="connsiteX427" fmla="*/ 5363 w 229505"/>
              <a:gd name="connsiteY427" fmla="*/ 73038 h 231543"/>
              <a:gd name="connsiteX428" fmla="*/ 6896 w 229505"/>
              <a:gd name="connsiteY428" fmla="*/ 74714 h 231543"/>
              <a:gd name="connsiteX429" fmla="*/ 6877 w 229505"/>
              <a:gd name="connsiteY429" fmla="*/ 75390 h 231543"/>
              <a:gd name="connsiteX430" fmla="*/ 7515 w 229505"/>
              <a:gd name="connsiteY430" fmla="*/ 78639 h 231543"/>
              <a:gd name="connsiteX431" fmla="*/ 8268 w 229505"/>
              <a:gd name="connsiteY431" fmla="*/ 79858 h 231543"/>
              <a:gd name="connsiteX432" fmla="*/ 10202 w 229505"/>
              <a:gd name="connsiteY432" fmla="*/ 80839 h 231543"/>
              <a:gd name="connsiteX433" fmla="*/ 11535 w 229505"/>
              <a:gd name="connsiteY433" fmla="*/ 81172 h 231543"/>
              <a:gd name="connsiteX434" fmla="*/ 180804 w 229505"/>
              <a:gd name="connsiteY434" fmla="*/ 84725 h 231543"/>
              <a:gd name="connsiteX435" fmla="*/ 180337 w 229505"/>
              <a:gd name="connsiteY435" fmla="*/ 86763 h 231543"/>
              <a:gd name="connsiteX436" fmla="*/ 184033 w 229505"/>
              <a:gd name="connsiteY436" fmla="*/ 90145 h 231543"/>
              <a:gd name="connsiteX437" fmla="*/ 185290 w 229505"/>
              <a:gd name="connsiteY437" fmla="*/ 92288 h 231543"/>
              <a:gd name="connsiteX438" fmla="*/ 185757 w 229505"/>
              <a:gd name="connsiteY438" fmla="*/ 94364 h 231543"/>
              <a:gd name="connsiteX439" fmla="*/ 185443 w 229505"/>
              <a:gd name="connsiteY439" fmla="*/ 94964 h 231543"/>
              <a:gd name="connsiteX440" fmla="*/ 184042 w 229505"/>
              <a:gd name="connsiteY440" fmla="*/ 93840 h 231543"/>
              <a:gd name="connsiteX441" fmla="*/ 182890 w 229505"/>
              <a:gd name="connsiteY441" fmla="*/ 93478 h 231543"/>
              <a:gd name="connsiteX442" fmla="*/ 183280 w 229505"/>
              <a:gd name="connsiteY442" fmla="*/ 94964 h 231543"/>
              <a:gd name="connsiteX443" fmla="*/ 184461 w 229505"/>
              <a:gd name="connsiteY443" fmla="*/ 96241 h 231543"/>
              <a:gd name="connsiteX444" fmla="*/ 182366 w 229505"/>
              <a:gd name="connsiteY444" fmla="*/ 96974 h 231543"/>
              <a:gd name="connsiteX445" fmla="*/ 180270 w 229505"/>
              <a:gd name="connsiteY445" fmla="*/ 96936 h 231543"/>
              <a:gd name="connsiteX446" fmla="*/ 174136 w 229505"/>
              <a:gd name="connsiteY446" fmla="*/ 95155 h 231543"/>
              <a:gd name="connsiteX447" fmla="*/ 172727 w 229505"/>
              <a:gd name="connsiteY447" fmla="*/ 93259 h 231543"/>
              <a:gd name="connsiteX448" fmla="*/ 176394 w 229505"/>
              <a:gd name="connsiteY448" fmla="*/ 90411 h 231543"/>
              <a:gd name="connsiteX449" fmla="*/ 177137 w 229505"/>
              <a:gd name="connsiteY449" fmla="*/ 89259 h 231543"/>
              <a:gd name="connsiteX450" fmla="*/ 174546 w 229505"/>
              <a:gd name="connsiteY450" fmla="*/ 89373 h 231543"/>
              <a:gd name="connsiteX451" fmla="*/ 171774 w 229505"/>
              <a:gd name="connsiteY451" fmla="*/ 92755 h 231543"/>
              <a:gd name="connsiteX452" fmla="*/ 167336 w 229505"/>
              <a:gd name="connsiteY452" fmla="*/ 91269 h 231543"/>
              <a:gd name="connsiteX453" fmla="*/ 165974 w 229505"/>
              <a:gd name="connsiteY453" fmla="*/ 89906 h 231543"/>
              <a:gd name="connsiteX454" fmla="*/ 165668 w 229505"/>
              <a:gd name="connsiteY454" fmla="*/ 89173 h 231543"/>
              <a:gd name="connsiteX455" fmla="*/ 167421 w 229505"/>
              <a:gd name="connsiteY455" fmla="*/ 86163 h 231543"/>
              <a:gd name="connsiteX456" fmla="*/ 170545 w 229505"/>
              <a:gd name="connsiteY456" fmla="*/ 86268 h 231543"/>
              <a:gd name="connsiteX457" fmla="*/ 172193 w 229505"/>
              <a:gd name="connsiteY457" fmla="*/ 85592 h 231543"/>
              <a:gd name="connsiteX458" fmla="*/ 174241 w 229505"/>
              <a:gd name="connsiteY458" fmla="*/ 84639 h 231543"/>
              <a:gd name="connsiteX459" fmla="*/ 174260 w 229505"/>
              <a:gd name="connsiteY459" fmla="*/ 83211 h 231543"/>
              <a:gd name="connsiteX460" fmla="*/ 179137 w 229505"/>
              <a:gd name="connsiteY460" fmla="*/ 82887 h 231543"/>
              <a:gd name="connsiteX461" fmla="*/ 180804 w 229505"/>
              <a:gd name="connsiteY461" fmla="*/ 84725 h 231543"/>
              <a:gd name="connsiteX462" fmla="*/ 113386 w 229505"/>
              <a:gd name="connsiteY462" fmla="*/ 90611 h 231543"/>
              <a:gd name="connsiteX463" fmla="*/ 112138 w 229505"/>
              <a:gd name="connsiteY463" fmla="*/ 91012 h 231543"/>
              <a:gd name="connsiteX464" fmla="*/ 113386 w 229505"/>
              <a:gd name="connsiteY464" fmla="*/ 88268 h 231543"/>
              <a:gd name="connsiteX465" fmla="*/ 115596 w 229505"/>
              <a:gd name="connsiteY465" fmla="*/ 86849 h 231543"/>
              <a:gd name="connsiteX466" fmla="*/ 114767 w 229505"/>
              <a:gd name="connsiteY466" fmla="*/ 89154 h 231543"/>
              <a:gd name="connsiteX467" fmla="*/ 113386 w 229505"/>
              <a:gd name="connsiteY467" fmla="*/ 90611 h 231543"/>
              <a:gd name="connsiteX468" fmla="*/ 110490 w 229505"/>
              <a:gd name="connsiteY468" fmla="*/ 92116 h 231543"/>
              <a:gd name="connsiteX469" fmla="*/ 109300 w 229505"/>
              <a:gd name="connsiteY469" fmla="*/ 93278 h 231543"/>
              <a:gd name="connsiteX470" fmla="*/ 107452 w 229505"/>
              <a:gd name="connsiteY470" fmla="*/ 92774 h 231543"/>
              <a:gd name="connsiteX471" fmla="*/ 105518 w 229505"/>
              <a:gd name="connsiteY471" fmla="*/ 88887 h 231543"/>
              <a:gd name="connsiteX472" fmla="*/ 110490 w 229505"/>
              <a:gd name="connsiteY472" fmla="*/ 92116 h 231543"/>
              <a:gd name="connsiteX473" fmla="*/ 100755 w 229505"/>
              <a:gd name="connsiteY473" fmla="*/ 97450 h 231543"/>
              <a:gd name="connsiteX474" fmla="*/ 102270 w 229505"/>
              <a:gd name="connsiteY474" fmla="*/ 101165 h 231543"/>
              <a:gd name="connsiteX475" fmla="*/ 103690 w 229505"/>
              <a:gd name="connsiteY475" fmla="*/ 102413 h 231543"/>
              <a:gd name="connsiteX476" fmla="*/ 106661 w 229505"/>
              <a:gd name="connsiteY476" fmla="*/ 103889 h 231543"/>
              <a:gd name="connsiteX477" fmla="*/ 108061 w 229505"/>
              <a:gd name="connsiteY477" fmla="*/ 104080 h 231543"/>
              <a:gd name="connsiteX478" fmla="*/ 113138 w 229505"/>
              <a:gd name="connsiteY478" fmla="*/ 106747 h 231543"/>
              <a:gd name="connsiteX479" fmla="*/ 119034 w 229505"/>
              <a:gd name="connsiteY479" fmla="*/ 107280 h 231543"/>
              <a:gd name="connsiteX480" fmla="*/ 119796 w 229505"/>
              <a:gd name="connsiteY480" fmla="*/ 108052 h 231543"/>
              <a:gd name="connsiteX481" fmla="*/ 120520 w 229505"/>
              <a:gd name="connsiteY481" fmla="*/ 110100 h 231543"/>
              <a:gd name="connsiteX482" fmla="*/ 121720 w 229505"/>
              <a:gd name="connsiteY482" fmla="*/ 111709 h 231543"/>
              <a:gd name="connsiteX483" fmla="*/ 122025 w 229505"/>
              <a:gd name="connsiteY483" fmla="*/ 112957 h 231543"/>
              <a:gd name="connsiteX484" fmla="*/ 121396 w 229505"/>
              <a:gd name="connsiteY484" fmla="*/ 114348 h 231543"/>
              <a:gd name="connsiteX485" fmla="*/ 122263 w 229505"/>
              <a:gd name="connsiteY485" fmla="*/ 118586 h 231543"/>
              <a:gd name="connsiteX486" fmla="*/ 123749 w 229505"/>
              <a:gd name="connsiteY486" fmla="*/ 122606 h 231543"/>
              <a:gd name="connsiteX487" fmla="*/ 125988 w 229505"/>
              <a:gd name="connsiteY487" fmla="*/ 124549 h 231543"/>
              <a:gd name="connsiteX488" fmla="*/ 128778 w 229505"/>
              <a:gd name="connsiteY488" fmla="*/ 125139 h 231543"/>
              <a:gd name="connsiteX489" fmla="*/ 131436 w 229505"/>
              <a:gd name="connsiteY489" fmla="*/ 125054 h 231543"/>
              <a:gd name="connsiteX490" fmla="*/ 132102 w 229505"/>
              <a:gd name="connsiteY490" fmla="*/ 125854 h 231543"/>
              <a:gd name="connsiteX491" fmla="*/ 131836 w 229505"/>
              <a:gd name="connsiteY491" fmla="*/ 129359 h 231543"/>
              <a:gd name="connsiteX492" fmla="*/ 130712 w 229505"/>
              <a:gd name="connsiteY492" fmla="*/ 130731 h 231543"/>
              <a:gd name="connsiteX493" fmla="*/ 129797 w 229505"/>
              <a:gd name="connsiteY493" fmla="*/ 131064 h 231543"/>
              <a:gd name="connsiteX494" fmla="*/ 129007 w 229505"/>
              <a:gd name="connsiteY494" fmla="*/ 130702 h 231543"/>
              <a:gd name="connsiteX495" fmla="*/ 128283 w 229505"/>
              <a:gd name="connsiteY495" fmla="*/ 129883 h 231543"/>
              <a:gd name="connsiteX496" fmla="*/ 127502 w 229505"/>
              <a:gd name="connsiteY496" fmla="*/ 129492 h 231543"/>
              <a:gd name="connsiteX497" fmla="*/ 125978 w 229505"/>
              <a:gd name="connsiteY497" fmla="*/ 129426 h 231543"/>
              <a:gd name="connsiteX498" fmla="*/ 124863 w 229505"/>
              <a:gd name="connsiteY498" fmla="*/ 128016 h 231543"/>
              <a:gd name="connsiteX499" fmla="*/ 122034 w 229505"/>
              <a:gd name="connsiteY499" fmla="*/ 126082 h 231543"/>
              <a:gd name="connsiteX500" fmla="*/ 121511 w 229505"/>
              <a:gd name="connsiteY500" fmla="*/ 124921 h 231543"/>
              <a:gd name="connsiteX501" fmla="*/ 121415 w 229505"/>
              <a:gd name="connsiteY501" fmla="*/ 123139 h 231543"/>
              <a:gd name="connsiteX502" fmla="*/ 120215 w 229505"/>
              <a:gd name="connsiteY502" fmla="*/ 121825 h 231543"/>
              <a:gd name="connsiteX503" fmla="*/ 119110 w 229505"/>
              <a:gd name="connsiteY503" fmla="*/ 119329 h 231543"/>
              <a:gd name="connsiteX504" fmla="*/ 118063 w 229505"/>
              <a:gd name="connsiteY504" fmla="*/ 118634 h 231543"/>
              <a:gd name="connsiteX505" fmla="*/ 117482 w 229505"/>
              <a:gd name="connsiteY505" fmla="*/ 117377 h 231543"/>
              <a:gd name="connsiteX506" fmla="*/ 117434 w 229505"/>
              <a:gd name="connsiteY506" fmla="*/ 116843 h 231543"/>
              <a:gd name="connsiteX507" fmla="*/ 113319 w 229505"/>
              <a:gd name="connsiteY507" fmla="*/ 116472 h 231543"/>
              <a:gd name="connsiteX508" fmla="*/ 109919 w 229505"/>
              <a:gd name="connsiteY508" fmla="*/ 116462 h 231543"/>
              <a:gd name="connsiteX509" fmla="*/ 107032 w 229505"/>
              <a:gd name="connsiteY509" fmla="*/ 115043 h 231543"/>
              <a:gd name="connsiteX510" fmla="*/ 106137 w 229505"/>
              <a:gd name="connsiteY510" fmla="*/ 111319 h 231543"/>
              <a:gd name="connsiteX511" fmla="*/ 104423 w 229505"/>
              <a:gd name="connsiteY511" fmla="*/ 110319 h 231543"/>
              <a:gd name="connsiteX512" fmla="*/ 103137 w 229505"/>
              <a:gd name="connsiteY512" fmla="*/ 109261 h 231543"/>
              <a:gd name="connsiteX513" fmla="*/ 102070 w 229505"/>
              <a:gd name="connsiteY513" fmla="*/ 107795 h 231543"/>
              <a:gd name="connsiteX514" fmla="*/ 99365 w 229505"/>
              <a:gd name="connsiteY514" fmla="*/ 105099 h 231543"/>
              <a:gd name="connsiteX515" fmla="*/ 96374 w 229505"/>
              <a:gd name="connsiteY515" fmla="*/ 102841 h 231543"/>
              <a:gd name="connsiteX516" fmla="*/ 93479 w 229505"/>
              <a:gd name="connsiteY516" fmla="*/ 101346 h 231543"/>
              <a:gd name="connsiteX517" fmla="*/ 90411 w 229505"/>
              <a:gd name="connsiteY517" fmla="*/ 100365 h 231543"/>
              <a:gd name="connsiteX518" fmla="*/ 87916 w 229505"/>
              <a:gd name="connsiteY518" fmla="*/ 101518 h 231543"/>
              <a:gd name="connsiteX519" fmla="*/ 86459 w 229505"/>
              <a:gd name="connsiteY519" fmla="*/ 101251 h 231543"/>
              <a:gd name="connsiteX520" fmla="*/ 86163 w 229505"/>
              <a:gd name="connsiteY520" fmla="*/ 100470 h 231543"/>
              <a:gd name="connsiteX521" fmla="*/ 89268 w 229505"/>
              <a:gd name="connsiteY521" fmla="*/ 98917 h 231543"/>
              <a:gd name="connsiteX522" fmla="*/ 93536 w 229505"/>
              <a:gd name="connsiteY522" fmla="*/ 95945 h 231543"/>
              <a:gd name="connsiteX523" fmla="*/ 96536 w 229505"/>
              <a:gd name="connsiteY523" fmla="*/ 94964 h 231543"/>
              <a:gd name="connsiteX524" fmla="*/ 97993 w 229505"/>
              <a:gd name="connsiteY524" fmla="*/ 94840 h 231543"/>
              <a:gd name="connsiteX525" fmla="*/ 100755 w 229505"/>
              <a:gd name="connsiteY525" fmla="*/ 97450 h 231543"/>
              <a:gd name="connsiteX526" fmla="*/ 134417 w 229505"/>
              <a:gd name="connsiteY526" fmla="*/ 102565 h 231543"/>
              <a:gd name="connsiteX527" fmla="*/ 131598 w 229505"/>
              <a:gd name="connsiteY527" fmla="*/ 103394 h 231543"/>
              <a:gd name="connsiteX528" fmla="*/ 130845 w 229505"/>
              <a:gd name="connsiteY528" fmla="*/ 103261 h 231543"/>
              <a:gd name="connsiteX529" fmla="*/ 131474 w 229505"/>
              <a:gd name="connsiteY529" fmla="*/ 102213 h 231543"/>
              <a:gd name="connsiteX530" fmla="*/ 131522 w 229505"/>
              <a:gd name="connsiteY530" fmla="*/ 101775 h 231543"/>
              <a:gd name="connsiteX531" fmla="*/ 128702 w 229505"/>
              <a:gd name="connsiteY531" fmla="*/ 99851 h 231543"/>
              <a:gd name="connsiteX532" fmla="*/ 129035 w 229505"/>
              <a:gd name="connsiteY532" fmla="*/ 97355 h 231543"/>
              <a:gd name="connsiteX533" fmla="*/ 129369 w 229505"/>
              <a:gd name="connsiteY533" fmla="*/ 96717 h 231543"/>
              <a:gd name="connsiteX534" fmla="*/ 131464 w 229505"/>
              <a:gd name="connsiteY534" fmla="*/ 98022 h 231543"/>
              <a:gd name="connsiteX535" fmla="*/ 131922 w 229505"/>
              <a:gd name="connsiteY535" fmla="*/ 100194 h 231543"/>
              <a:gd name="connsiteX536" fmla="*/ 134417 w 229505"/>
              <a:gd name="connsiteY536" fmla="*/ 102565 h 231543"/>
              <a:gd name="connsiteX537" fmla="*/ 27813 w 229505"/>
              <a:gd name="connsiteY537" fmla="*/ 109404 h 231543"/>
              <a:gd name="connsiteX538" fmla="*/ 26775 w 229505"/>
              <a:gd name="connsiteY538" fmla="*/ 109671 h 231543"/>
              <a:gd name="connsiteX539" fmla="*/ 25880 w 229505"/>
              <a:gd name="connsiteY539" fmla="*/ 109490 h 231543"/>
              <a:gd name="connsiteX540" fmla="*/ 25070 w 229505"/>
              <a:gd name="connsiteY540" fmla="*/ 109642 h 231543"/>
              <a:gd name="connsiteX541" fmla="*/ 24279 w 229505"/>
              <a:gd name="connsiteY541" fmla="*/ 110290 h 231543"/>
              <a:gd name="connsiteX542" fmla="*/ 24365 w 229505"/>
              <a:gd name="connsiteY542" fmla="*/ 107595 h 231543"/>
              <a:gd name="connsiteX543" fmla="*/ 25289 w 229505"/>
              <a:gd name="connsiteY543" fmla="*/ 104232 h 231543"/>
              <a:gd name="connsiteX544" fmla="*/ 26413 w 229505"/>
              <a:gd name="connsiteY544" fmla="*/ 102270 h 231543"/>
              <a:gd name="connsiteX545" fmla="*/ 28004 w 229505"/>
              <a:gd name="connsiteY545" fmla="*/ 101356 h 231543"/>
              <a:gd name="connsiteX546" fmla="*/ 28680 w 229505"/>
              <a:gd name="connsiteY546" fmla="*/ 102899 h 231543"/>
              <a:gd name="connsiteX547" fmla="*/ 28556 w 229505"/>
              <a:gd name="connsiteY547" fmla="*/ 108385 h 231543"/>
              <a:gd name="connsiteX548" fmla="*/ 27813 w 229505"/>
              <a:gd name="connsiteY548" fmla="*/ 109404 h 231543"/>
              <a:gd name="connsiteX549" fmla="*/ 172355 w 229505"/>
              <a:gd name="connsiteY549" fmla="*/ 122672 h 231543"/>
              <a:gd name="connsiteX550" fmla="*/ 169802 w 229505"/>
              <a:gd name="connsiteY550" fmla="*/ 124587 h 231543"/>
              <a:gd name="connsiteX551" fmla="*/ 166954 w 229505"/>
              <a:gd name="connsiteY551" fmla="*/ 121815 h 231543"/>
              <a:gd name="connsiteX552" fmla="*/ 166488 w 229505"/>
              <a:gd name="connsiteY552" fmla="*/ 120920 h 231543"/>
              <a:gd name="connsiteX553" fmla="*/ 168583 w 229505"/>
              <a:gd name="connsiteY553" fmla="*/ 119796 h 231543"/>
              <a:gd name="connsiteX554" fmla="*/ 169622 w 229505"/>
              <a:gd name="connsiteY554" fmla="*/ 118072 h 231543"/>
              <a:gd name="connsiteX555" fmla="*/ 168783 w 229505"/>
              <a:gd name="connsiteY555" fmla="*/ 115948 h 231543"/>
              <a:gd name="connsiteX556" fmla="*/ 165878 w 229505"/>
              <a:gd name="connsiteY556" fmla="*/ 112805 h 231543"/>
              <a:gd name="connsiteX557" fmla="*/ 165735 w 229505"/>
              <a:gd name="connsiteY557" fmla="*/ 110576 h 231543"/>
              <a:gd name="connsiteX558" fmla="*/ 170183 w 229505"/>
              <a:gd name="connsiteY558" fmla="*/ 109633 h 231543"/>
              <a:gd name="connsiteX559" fmla="*/ 172803 w 229505"/>
              <a:gd name="connsiteY559" fmla="*/ 111576 h 231543"/>
              <a:gd name="connsiteX560" fmla="*/ 174136 w 229505"/>
              <a:gd name="connsiteY560" fmla="*/ 111709 h 231543"/>
              <a:gd name="connsiteX561" fmla="*/ 173622 w 229505"/>
              <a:gd name="connsiteY561" fmla="*/ 113567 h 231543"/>
              <a:gd name="connsiteX562" fmla="*/ 173850 w 229505"/>
              <a:gd name="connsiteY562" fmla="*/ 114167 h 231543"/>
              <a:gd name="connsiteX563" fmla="*/ 174050 w 229505"/>
              <a:gd name="connsiteY563" fmla="*/ 119787 h 231543"/>
              <a:gd name="connsiteX564" fmla="*/ 172812 w 229505"/>
              <a:gd name="connsiteY564" fmla="*/ 120577 h 231543"/>
              <a:gd name="connsiteX565" fmla="*/ 172612 w 229505"/>
              <a:gd name="connsiteY565" fmla="*/ 122120 h 231543"/>
              <a:gd name="connsiteX566" fmla="*/ 172355 w 229505"/>
              <a:gd name="connsiteY566" fmla="*/ 122672 h 231543"/>
              <a:gd name="connsiteX567" fmla="*/ 29728 w 229505"/>
              <a:gd name="connsiteY567" fmla="*/ 118901 h 231543"/>
              <a:gd name="connsiteX568" fmla="*/ 28403 w 229505"/>
              <a:gd name="connsiteY568" fmla="*/ 119272 h 231543"/>
              <a:gd name="connsiteX569" fmla="*/ 26727 w 229505"/>
              <a:gd name="connsiteY569" fmla="*/ 116024 h 231543"/>
              <a:gd name="connsiteX570" fmla="*/ 26118 w 229505"/>
              <a:gd name="connsiteY570" fmla="*/ 113776 h 231543"/>
              <a:gd name="connsiteX571" fmla="*/ 26823 w 229505"/>
              <a:gd name="connsiteY571" fmla="*/ 113652 h 231543"/>
              <a:gd name="connsiteX572" fmla="*/ 27490 w 229505"/>
              <a:gd name="connsiteY572" fmla="*/ 113910 h 231543"/>
              <a:gd name="connsiteX573" fmla="*/ 28194 w 229505"/>
              <a:gd name="connsiteY573" fmla="*/ 114757 h 231543"/>
              <a:gd name="connsiteX574" fmla="*/ 28194 w 229505"/>
              <a:gd name="connsiteY574" fmla="*/ 115624 h 231543"/>
              <a:gd name="connsiteX575" fmla="*/ 28480 w 229505"/>
              <a:gd name="connsiteY575" fmla="*/ 116557 h 231543"/>
              <a:gd name="connsiteX576" fmla="*/ 29213 w 229505"/>
              <a:gd name="connsiteY576" fmla="*/ 117672 h 231543"/>
              <a:gd name="connsiteX577" fmla="*/ 29728 w 229505"/>
              <a:gd name="connsiteY577" fmla="*/ 118901 h 231543"/>
              <a:gd name="connsiteX578" fmla="*/ 25822 w 229505"/>
              <a:gd name="connsiteY578" fmla="*/ 117072 h 231543"/>
              <a:gd name="connsiteX579" fmla="*/ 26156 w 229505"/>
              <a:gd name="connsiteY579" fmla="*/ 120996 h 231543"/>
              <a:gd name="connsiteX580" fmla="*/ 28042 w 229505"/>
              <a:gd name="connsiteY580" fmla="*/ 121729 h 231543"/>
              <a:gd name="connsiteX581" fmla="*/ 30547 w 229505"/>
              <a:gd name="connsiteY581" fmla="*/ 125254 h 231543"/>
              <a:gd name="connsiteX582" fmla="*/ 30337 w 229505"/>
              <a:gd name="connsiteY582" fmla="*/ 127054 h 231543"/>
              <a:gd name="connsiteX583" fmla="*/ 29813 w 229505"/>
              <a:gd name="connsiteY583" fmla="*/ 127673 h 231543"/>
              <a:gd name="connsiteX584" fmla="*/ 25661 w 229505"/>
              <a:gd name="connsiteY584" fmla="*/ 126006 h 231543"/>
              <a:gd name="connsiteX585" fmla="*/ 24670 w 229505"/>
              <a:gd name="connsiteY585" fmla="*/ 126759 h 231543"/>
              <a:gd name="connsiteX586" fmla="*/ 23460 w 229505"/>
              <a:gd name="connsiteY586" fmla="*/ 126454 h 231543"/>
              <a:gd name="connsiteX587" fmla="*/ 22708 w 229505"/>
              <a:gd name="connsiteY587" fmla="*/ 124501 h 231543"/>
              <a:gd name="connsiteX588" fmla="*/ 22793 w 229505"/>
              <a:gd name="connsiteY588" fmla="*/ 123816 h 231543"/>
              <a:gd name="connsiteX589" fmla="*/ 22117 w 229505"/>
              <a:gd name="connsiteY589" fmla="*/ 122644 h 231543"/>
              <a:gd name="connsiteX590" fmla="*/ 21546 w 229505"/>
              <a:gd name="connsiteY590" fmla="*/ 122120 h 231543"/>
              <a:gd name="connsiteX591" fmla="*/ 19917 w 229505"/>
              <a:gd name="connsiteY591" fmla="*/ 123673 h 231543"/>
              <a:gd name="connsiteX592" fmla="*/ 18888 w 229505"/>
              <a:gd name="connsiteY592" fmla="*/ 123958 h 231543"/>
              <a:gd name="connsiteX593" fmla="*/ 18888 w 229505"/>
              <a:gd name="connsiteY593" fmla="*/ 122539 h 231543"/>
              <a:gd name="connsiteX594" fmla="*/ 20403 w 229505"/>
              <a:gd name="connsiteY594" fmla="*/ 118634 h 231543"/>
              <a:gd name="connsiteX595" fmla="*/ 21107 w 229505"/>
              <a:gd name="connsiteY595" fmla="*/ 117977 h 231543"/>
              <a:gd name="connsiteX596" fmla="*/ 22346 w 229505"/>
              <a:gd name="connsiteY596" fmla="*/ 119262 h 231543"/>
              <a:gd name="connsiteX597" fmla="*/ 23365 w 229505"/>
              <a:gd name="connsiteY597" fmla="*/ 118786 h 231543"/>
              <a:gd name="connsiteX598" fmla="*/ 24136 w 229505"/>
              <a:gd name="connsiteY598" fmla="*/ 116672 h 231543"/>
              <a:gd name="connsiteX599" fmla="*/ 24184 w 229505"/>
              <a:gd name="connsiteY599" fmla="*/ 114567 h 231543"/>
              <a:gd name="connsiteX600" fmla="*/ 24537 w 229505"/>
              <a:gd name="connsiteY600" fmla="*/ 113948 h 231543"/>
              <a:gd name="connsiteX601" fmla="*/ 25822 w 229505"/>
              <a:gd name="connsiteY601" fmla="*/ 117072 h 231543"/>
              <a:gd name="connsiteX602" fmla="*/ 104375 w 229505"/>
              <a:gd name="connsiteY602" fmla="*/ 132560 h 231543"/>
              <a:gd name="connsiteX603" fmla="*/ 103318 w 229505"/>
              <a:gd name="connsiteY603" fmla="*/ 133388 h 231543"/>
              <a:gd name="connsiteX604" fmla="*/ 102127 w 229505"/>
              <a:gd name="connsiteY604" fmla="*/ 133350 h 231543"/>
              <a:gd name="connsiteX605" fmla="*/ 101279 w 229505"/>
              <a:gd name="connsiteY605" fmla="*/ 133045 h 231543"/>
              <a:gd name="connsiteX606" fmla="*/ 100861 w 229505"/>
              <a:gd name="connsiteY606" fmla="*/ 132379 h 231543"/>
              <a:gd name="connsiteX607" fmla="*/ 101385 w 229505"/>
              <a:gd name="connsiteY607" fmla="*/ 132064 h 231543"/>
              <a:gd name="connsiteX608" fmla="*/ 102004 w 229505"/>
              <a:gd name="connsiteY608" fmla="*/ 130721 h 231543"/>
              <a:gd name="connsiteX609" fmla="*/ 102575 w 229505"/>
              <a:gd name="connsiteY609" fmla="*/ 130359 h 231543"/>
              <a:gd name="connsiteX610" fmla="*/ 103423 w 229505"/>
              <a:gd name="connsiteY610" fmla="*/ 130531 h 231543"/>
              <a:gd name="connsiteX611" fmla="*/ 103947 w 229505"/>
              <a:gd name="connsiteY611" fmla="*/ 131074 h 231543"/>
              <a:gd name="connsiteX612" fmla="*/ 104375 w 229505"/>
              <a:gd name="connsiteY612" fmla="*/ 132560 h 231543"/>
              <a:gd name="connsiteX613" fmla="*/ 142885 w 229505"/>
              <a:gd name="connsiteY613" fmla="*/ 138160 h 231543"/>
              <a:gd name="connsiteX614" fmla="*/ 142094 w 229505"/>
              <a:gd name="connsiteY614" fmla="*/ 140418 h 231543"/>
              <a:gd name="connsiteX615" fmla="*/ 140008 w 229505"/>
              <a:gd name="connsiteY615" fmla="*/ 137789 h 231543"/>
              <a:gd name="connsiteX616" fmla="*/ 137722 w 229505"/>
              <a:gd name="connsiteY616" fmla="*/ 135989 h 231543"/>
              <a:gd name="connsiteX617" fmla="*/ 136865 w 229505"/>
              <a:gd name="connsiteY617" fmla="*/ 134408 h 231543"/>
              <a:gd name="connsiteX618" fmla="*/ 135474 w 229505"/>
              <a:gd name="connsiteY618" fmla="*/ 133455 h 231543"/>
              <a:gd name="connsiteX619" fmla="*/ 135094 w 229505"/>
              <a:gd name="connsiteY619" fmla="*/ 131331 h 231543"/>
              <a:gd name="connsiteX620" fmla="*/ 136779 w 229505"/>
              <a:gd name="connsiteY620" fmla="*/ 130464 h 231543"/>
              <a:gd name="connsiteX621" fmla="*/ 137503 w 229505"/>
              <a:gd name="connsiteY621" fmla="*/ 130378 h 231543"/>
              <a:gd name="connsiteX622" fmla="*/ 139237 w 229505"/>
              <a:gd name="connsiteY622" fmla="*/ 132960 h 231543"/>
              <a:gd name="connsiteX623" fmla="*/ 141942 w 229505"/>
              <a:gd name="connsiteY623" fmla="*/ 133255 h 231543"/>
              <a:gd name="connsiteX624" fmla="*/ 141732 w 229505"/>
              <a:gd name="connsiteY624" fmla="*/ 134846 h 231543"/>
              <a:gd name="connsiteX625" fmla="*/ 142590 w 229505"/>
              <a:gd name="connsiteY625" fmla="*/ 136893 h 231543"/>
              <a:gd name="connsiteX626" fmla="*/ 142885 w 229505"/>
              <a:gd name="connsiteY626" fmla="*/ 138160 h 231543"/>
              <a:gd name="connsiteX627" fmla="*/ 33204 w 229505"/>
              <a:gd name="connsiteY627" fmla="*/ 136627 h 231543"/>
              <a:gd name="connsiteX628" fmla="*/ 36024 w 229505"/>
              <a:gd name="connsiteY628" fmla="*/ 139903 h 231543"/>
              <a:gd name="connsiteX629" fmla="*/ 33747 w 229505"/>
              <a:gd name="connsiteY629" fmla="*/ 139094 h 231543"/>
              <a:gd name="connsiteX630" fmla="*/ 31328 w 229505"/>
              <a:gd name="connsiteY630" fmla="*/ 141361 h 231543"/>
              <a:gd name="connsiteX631" fmla="*/ 28261 w 229505"/>
              <a:gd name="connsiteY631" fmla="*/ 138713 h 231543"/>
              <a:gd name="connsiteX632" fmla="*/ 26423 w 229505"/>
              <a:gd name="connsiteY632" fmla="*/ 136027 h 231543"/>
              <a:gd name="connsiteX633" fmla="*/ 26013 w 229505"/>
              <a:gd name="connsiteY633" fmla="*/ 134950 h 231543"/>
              <a:gd name="connsiteX634" fmla="*/ 27937 w 229505"/>
              <a:gd name="connsiteY634" fmla="*/ 132436 h 231543"/>
              <a:gd name="connsiteX635" fmla="*/ 29728 w 229505"/>
              <a:gd name="connsiteY635" fmla="*/ 135017 h 231543"/>
              <a:gd name="connsiteX636" fmla="*/ 31899 w 229505"/>
              <a:gd name="connsiteY636" fmla="*/ 135427 h 231543"/>
              <a:gd name="connsiteX637" fmla="*/ 33204 w 229505"/>
              <a:gd name="connsiteY637" fmla="*/ 136627 h 231543"/>
              <a:gd name="connsiteX638" fmla="*/ 191881 w 229505"/>
              <a:gd name="connsiteY638" fmla="*/ 136417 h 231543"/>
              <a:gd name="connsiteX639" fmla="*/ 195168 w 229505"/>
              <a:gd name="connsiteY639" fmla="*/ 137531 h 231543"/>
              <a:gd name="connsiteX640" fmla="*/ 196082 w 229505"/>
              <a:gd name="connsiteY640" fmla="*/ 137408 h 231543"/>
              <a:gd name="connsiteX641" fmla="*/ 197634 w 229505"/>
              <a:gd name="connsiteY641" fmla="*/ 137808 h 231543"/>
              <a:gd name="connsiteX642" fmla="*/ 198044 w 229505"/>
              <a:gd name="connsiteY642" fmla="*/ 139846 h 231543"/>
              <a:gd name="connsiteX643" fmla="*/ 195987 w 229505"/>
              <a:gd name="connsiteY643" fmla="*/ 140141 h 231543"/>
              <a:gd name="connsiteX644" fmla="*/ 192424 w 229505"/>
              <a:gd name="connsiteY644" fmla="*/ 142018 h 231543"/>
              <a:gd name="connsiteX645" fmla="*/ 190910 w 229505"/>
              <a:gd name="connsiteY645" fmla="*/ 141608 h 231543"/>
              <a:gd name="connsiteX646" fmla="*/ 189100 w 229505"/>
              <a:gd name="connsiteY646" fmla="*/ 139980 h 231543"/>
              <a:gd name="connsiteX647" fmla="*/ 186224 w 229505"/>
              <a:gd name="connsiteY647" fmla="*/ 139808 h 231543"/>
              <a:gd name="connsiteX648" fmla="*/ 185376 w 229505"/>
              <a:gd name="connsiteY648" fmla="*/ 139360 h 231543"/>
              <a:gd name="connsiteX649" fmla="*/ 186919 w 229505"/>
              <a:gd name="connsiteY649" fmla="*/ 137436 h 231543"/>
              <a:gd name="connsiteX650" fmla="*/ 189719 w 229505"/>
              <a:gd name="connsiteY650" fmla="*/ 136465 h 231543"/>
              <a:gd name="connsiteX651" fmla="*/ 191881 w 229505"/>
              <a:gd name="connsiteY651" fmla="*/ 136417 h 231543"/>
              <a:gd name="connsiteX652" fmla="*/ 125892 w 229505"/>
              <a:gd name="connsiteY652" fmla="*/ 144304 h 231543"/>
              <a:gd name="connsiteX653" fmla="*/ 124102 w 229505"/>
              <a:gd name="connsiteY653" fmla="*/ 145933 h 231543"/>
              <a:gd name="connsiteX654" fmla="*/ 123797 w 229505"/>
              <a:gd name="connsiteY654" fmla="*/ 143485 h 231543"/>
              <a:gd name="connsiteX655" fmla="*/ 124949 w 229505"/>
              <a:gd name="connsiteY655" fmla="*/ 140903 h 231543"/>
              <a:gd name="connsiteX656" fmla="*/ 126521 w 229505"/>
              <a:gd name="connsiteY656" fmla="*/ 140741 h 231543"/>
              <a:gd name="connsiteX657" fmla="*/ 127102 w 229505"/>
              <a:gd name="connsiteY657" fmla="*/ 141875 h 231543"/>
              <a:gd name="connsiteX658" fmla="*/ 125892 w 229505"/>
              <a:gd name="connsiteY658" fmla="*/ 144304 h 231543"/>
              <a:gd name="connsiteX659" fmla="*/ 149952 w 229505"/>
              <a:gd name="connsiteY659" fmla="*/ 143542 h 231543"/>
              <a:gd name="connsiteX660" fmla="*/ 148962 w 229505"/>
              <a:gd name="connsiteY660" fmla="*/ 145713 h 231543"/>
              <a:gd name="connsiteX661" fmla="*/ 147295 w 229505"/>
              <a:gd name="connsiteY661" fmla="*/ 145380 h 231543"/>
              <a:gd name="connsiteX662" fmla="*/ 144504 w 229505"/>
              <a:gd name="connsiteY662" fmla="*/ 143047 h 231543"/>
              <a:gd name="connsiteX663" fmla="*/ 143552 w 229505"/>
              <a:gd name="connsiteY663" fmla="*/ 141989 h 231543"/>
              <a:gd name="connsiteX664" fmla="*/ 143028 w 229505"/>
              <a:gd name="connsiteY664" fmla="*/ 140951 h 231543"/>
              <a:gd name="connsiteX665" fmla="*/ 144171 w 229505"/>
              <a:gd name="connsiteY665" fmla="*/ 140827 h 231543"/>
              <a:gd name="connsiteX666" fmla="*/ 145571 w 229505"/>
              <a:gd name="connsiteY666" fmla="*/ 141932 h 231543"/>
              <a:gd name="connsiteX667" fmla="*/ 149143 w 229505"/>
              <a:gd name="connsiteY667" fmla="*/ 142513 h 231543"/>
              <a:gd name="connsiteX668" fmla="*/ 149952 w 229505"/>
              <a:gd name="connsiteY668" fmla="*/ 143542 h 231543"/>
              <a:gd name="connsiteX669" fmla="*/ 170622 w 229505"/>
              <a:gd name="connsiteY669" fmla="*/ 145904 h 231543"/>
              <a:gd name="connsiteX670" fmla="*/ 169374 w 229505"/>
              <a:gd name="connsiteY670" fmla="*/ 146037 h 231543"/>
              <a:gd name="connsiteX671" fmla="*/ 169755 w 229505"/>
              <a:gd name="connsiteY671" fmla="*/ 144694 h 231543"/>
              <a:gd name="connsiteX672" fmla="*/ 172145 w 229505"/>
              <a:gd name="connsiteY672" fmla="*/ 142361 h 231543"/>
              <a:gd name="connsiteX673" fmla="*/ 175499 w 229505"/>
              <a:gd name="connsiteY673" fmla="*/ 142247 h 231543"/>
              <a:gd name="connsiteX674" fmla="*/ 178546 w 229505"/>
              <a:gd name="connsiteY674" fmla="*/ 141075 h 231543"/>
              <a:gd name="connsiteX675" fmla="*/ 179232 w 229505"/>
              <a:gd name="connsiteY675" fmla="*/ 141037 h 231543"/>
              <a:gd name="connsiteX676" fmla="*/ 177775 w 229505"/>
              <a:gd name="connsiteY676" fmla="*/ 142875 h 231543"/>
              <a:gd name="connsiteX677" fmla="*/ 175317 w 229505"/>
              <a:gd name="connsiteY677" fmla="*/ 144590 h 231543"/>
              <a:gd name="connsiteX678" fmla="*/ 170622 w 229505"/>
              <a:gd name="connsiteY678" fmla="*/ 145904 h 231543"/>
              <a:gd name="connsiteX679" fmla="*/ 153877 w 229505"/>
              <a:gd name="connsiteY679" fmla="*/ 149600 h 231543"/>
              <a:gd name="connsiteX680" fmla="*/ 151315 w 229505"/>
              <a:gd name="connsiteY680" fmla="*/ 149809 h 231543"/>
              <a:gd name="connsiteX681" fmla="*/ 151467 w 229505"/>
              <a:gd name="connsiteY681" fmla="*/ 147247 h 231543"/>
              <a:gd name="connsiteX682" fmla="*/ 152419 w 229505"/>
              <a:gd name="connsiteY682" fmla="*/ 146580 h 231543"/>
              <a:gd name="connsiteX683" fmla="*/ 155486 w 229505"/>
              <a:gd name="connsiteY683" fmla="*/ 147857 h 231543"/>
              <a:gd name="connsiteX684" fmla="*/ 155334 w 229505"/>
              <a:gd name="connsiteY684" fmla="*/ 148657 h 231543"/>
              <a:gd name="connsiteX685" fmla="*/ 153877 w 229505"/>
              <a:gd name="connsiteY685" fmla="*/ 149600 h 231543"/>
              <a:gd name="connsiteX686" fmla="*/ 141590 w 229505"/>
              <a:gd name="connsiteY686" fmla="*/ 147104 h 231543"/>
              <a:gd name="connsiteX687" fmla="*/ 141456 w 229505"/>
              <a:gd name="connsiteY687" fmla="*/ 150581 h 231543"/>
              <a:gd name="connsiteX688" fmla="*/ 140751 w 229505"/>
              <a:gd name="connsiteY688" fmla="*/ 150552 h 231543"/>
              <a:gd name="connsiteX689" fmla="*/ 140341 w 229505"/>
              <a:gd name="connsiteY689" fmla="*/ 150019 h 231543"/>
              <a:gd name="connsiteX690" fmla="*/ 140322 w 229505"/>
              <a:gd name="connsiteY690" fmla="*/ 148685 h 231543"/>
              <a:gd name="connsiteX691" fmla="*/ 140627 w 229505"/>
              <a:gd name="connsiteY691" fmla="*/ 146590 h 231543"/>
              <a:gd name="connsiteX692" fmla="*/ 141590 w 229505"/>
              <a:gd name="connsiteY692" fmla="*/ 147104 h 231543"/>
              <a:gd name="connsiteX693" fmla="*/ 128026 w 229505"/>
              <a:gd name="connsiteY693" fmla="*/ 152105 h 231543"/>
              <a:gd name="connsiteX694" fmla="*/ 126502 w 229505"/>
              <a:gd name="connsiteY694" fmla="*/ 153124 h 231543"/>
              <a:gd name="connsiteX695" fmla="*/ 127007 w 229505"/>
              <a:gd name="connsiteY695" fmla="*/ 150800 h 231543"/>
              <a:gd name="connsiteX696" fmla="*/ 126254 w 229505"/>
              <a:gd name="connsiteY696" fmla="*/ 149590 h 231543"/>
              <a:gd name="connsiteX697" fmla="*/ 126921 w 229505"/>
              <a:gd name="connsiteY697" fmla="*/ 148562 h 231543"/>
              <a:gd name="connsiteX698" fmla="*/ 127902 w 229505"/>
              <a:gd name="connsiteY698" fmla="*/ 147733 h 231543"/>
              <a:gd name="connsiteX699" fmla="*/ 128359 w 229505"/>
              <a:gd name="connsiteY699" fmla="*/ 148590 h 231543"/>
              <a:gd name="connsiteX700" fmla="*/ 129236 w 229505"/>
              <a:gd name="connsiteY700" fmla="*/ 149981 h 231543"/>
              <a:gd name="connsiteX701" fmla="*/ 128026 w 229505"/>
              <a:gd name="connsiteY701" fmla="*/ 152105 h 231543"/>
              <a:gd name="connsiteX702" fmla="*/ 130369 w 229505"/>
              <a:gd name="connsiteY702" fmla="*/ 159439 h 231543"/>
              <a:gd name="connsiteX703" fmla="*/ 129378 w 229505"/>
              <a:gd name="connsiteY703" fmla="*/ 159944 h 231543"/>
              <a:gd name="connsiteX704" fmla="*/ 127731 w 229505"/>
              <a:gd name="connsiteY704" fmla="*/ 159210 h 231543"/>
              <a:gd name="connsiteX705" fmla="*/ 128169 w 229505"/>
              <a:gd name="connsiteY705" fmla="*/ 157382 h 231543"/>
              <a:gd name="connsiteX706" fmla="*/ 129312 w 229505"/>
              <a:gd name="connsiteY706" fmla="*/ 156601 h 231543"/>
              <a:gd name="connsiteX707" fmla="*/ 130521 w 229505"/>
              <a:gd name="connsiteY707" fmla="*/ 157201 h 231543"/>
              <a:gd name="connsiteX708" fmla="*/ 130702 w 229505"/>
              <a:gd name="connsiteY708" fmla="*/ 158029 h 231543"/>
              <a:gd name="connsiteX709" fmla="*/ 130369 w 229505"/>
              <a:gd name="connsiteY709" fmla="*/ 159439 h 231543"/>
              <a:gd name="connsiteX710" fmla="*/ 157705 w 229505"/>
              <a:gd name="connsiteY710" fmla="*/ 164697 h 231543"/>
              <a:gd name="connsiteX711" fmla="*/ 155324 w 229505"/>
              <a:gd name="connsiteY711" fmla="*/ 165954 h 231543"/>
              <a:gd name="connsiteX712" fmla="*/ 153696 w 229505"/>
              <a:gd name="connsiteY712" fmla="*/ 164135 h 231543"/>
              <a:gd name="connsiteX713" fmla="*/ 152791 w 229505"/>
              <a:gd name="connsiteY713" fmla="*/ 161268 h 231543"/>
              <a:gd name="connsiteX714" fmla="*/ 157153 w 229505"/>
              <a:gd name="connsiteY714" fmla="*/ 157058 h 231543"/>
              <a:gd name="connsiteX715" fmla="*/ 158201 w 229505"/>
              <a:gd name="connsiteY715" fmla="*/ 157439 h 231543"/>
              <a:gd name="connsiteX716" fmla="*/ 158830 w 229505"/>
              <a:gd name="connsiteY716" fmla="*/ 158525 h 231543"/>
              <a:gd name="connsiteX717" fmla="*/ 158735 w 229505"/>
              <a:gd name="connsiteY717" fmla="*/ 162306 h 231543"/>
              <a:gd name="connsiteX718" fmla="*/ 157705 w 229505"/>
              <a:gd name="connsiteY718" fmla="*/ 164697 h 231543"/>
              <a:gd name="connsiteX719" fmla="*/ 150572 w 229505"/>
              <a:gd name="connsiteY719" fmla="*/ 161335 h 231543"/>
              <a:gd name="connsiteX720" fmla="*/ 148447 w 229505"/>
              <a:gd name="connsiteY720" fmla="*/ 163906 h 231543"/>
              <a:gd name="connsiteX721" fmla="*/ 146676 w 229505"/>
              <a:gd name="connsiteY721" fmla="*/ 163630 h 231543"/>
              <a:gd name="connsiteX722" fmla="*/ 145933 w 229505"/>
              <a:gd name="connsiteY722" fmla="*/ 162449 h 231543"/>
              <a:gd name="connsiteX723" fmla="*/ 147028 w 229505"/>
              <a:gd name="connsiteY723" fmla="*/ 160030 h 231543"/>
              <a:gd name="connsiteX724" fmla="*/ 149400 w 229505"/>
              <a:gd name="connsiteY724" fmla="*/ 158658 h 231543"/>
              <a:gd name="connsiteX725" fmla="*/ 150476 w 229505"/>
              <a:gd name="connsiteY725" fmla="*/ 159020 h 231543"/>
              <a:gd name="connsiteX726" fmla="*/ 150372 w 229505"/>
              <a:gd name="connsiteY726" fmla="*/ 160811 h 231543"/>
              <a:gd name="connsiteX727" fmla="*/ 150572 w 229505"/>
              <a:gd name="connsiteY727" fmla="*/ 161335 h 231543"/>
              <a:gd name="connsiteX728" fmla="*/ 197101 w 229505"/>
              <a:gd name="connsiteY728" fmla="*/ 164973 h 231543"/>
              <a:gd name="connsiteX729" fmla="*/ 194434 w 229505"/>
              <a:gd name="connsiteY729" fmla="*/ 165430 h 231543"/>
              <a:gd name="connsiteX730" fmla="*/ 194910 w 229505"/>
              <a:gd name="connsiteY730" fmla="*/ 162782 h 231543"/>
              <a:gd name="connsiteX731" fmla="*/ 193606 w 229505"/>
              <a:gd name="connsiteY731" fmla="*/ 160696 h 231543"/>
              <a:gd name="connsiteX732" fmla="*/ 195682 w 229505"/>
              <a:gd name="connsiteY732" fmla="*/ 161868 h 231543"/>
              <a:gd name="connsiteX733" fmla="*/ 197006 w 229505"/>
              <a:gd name="connsiteY733" fmla="*/ 163278 h 231543"/>
              <a:gd name="connsiteX734" fmla="*/ 197654 w 229505"/>
              <a:gd name="connsiteY734" fmla="*/ 163544 h 231543"/>
              <a:gd name="connsiteX735" fmla="*/ 197501 w 229505"/>
              <a:gd name="connsiteY735" fmla="*/ 164392 h 231543"/>
              <a:gd name="connsiteX736" fmla="*/ 197101 w 229505"/>
              <a:gd name="connsiteY736" fmla="*/ 164973 h 231543"/>
              <a:gd name="connsiteX737" fmla="*/ 135655 w 229505"/>
              <a:gd name="connsiteY737" fmla="*/ 166230 h 231543"/>
              <a:gd name="connsiteX738" fmla="*/ 135170 w 229505"/>
              <a:gd name="connsiteY738" fmla="*/ 166373 h 231543"/>
              <a:gd name="connsiteX739" fmla="*/ 134464 w 229505"/>
              <a:gd name="connsiteY739" fmla="*/ 164973 h 231543"/>
              <a:gd name="connsiteX740" fmla="*/ 134322 w 229505"/>
              <a:gd name="connsiteY740" fmla="*/ 163668 h 231543"/>
              <a:gd name="connsiteX741" fmla="*/ 134598 w 229505"/>
              <a:gd name="connsiteY741" fmla="*/ 162897 h 231543"/>
              <a:gd name="connsiteX742" fmla="*/ 135522 w 229505"/>
              <a:gd name="connsiteY742" fmla="*/ 162821 h 231543"/>
              <a:gd name="connsiteX743" fmla="*/ 136779 w 229505"/>
              <a:gd name="connsiteY743" fmla="*/ 165306 h 231543"/>
              <a:gd name="connsiteX744" fmla="*/ 135655 w 229505"/>
              <a:gd name="connsiteY744" fmla="*/ 166230 h 231543"/>
              <a:gd name="connsiteX745" fmla="*/ 166078 w 229505"/>
              <a:gd name="connsiteY745" fmla="*/ 170583 h 231543"/>
              <a:gd name="connsiteX746" fmla="*/ 163716 w 229505"/>
              <a:gd name="connsiteY746" fmla="*/ 170860 h 231543"/>
              <a:gd name="connsiteX747" fmla="*/ 162963 w 229505"/>
              <a:gd name="connsiteY747" fmla="*/ 170612 h 231543"/>
              <a:gd name="connsiteX748" fmla="*/ 164402 w 229505"/>
              <a:gd name="connsiteY748" fmla="*/ 170041 h 231543"/>
              <a:gd name="connsiteX749" fmla="*/ 165402 w 229505"/>
              <a:gd name="connsiteY749" fmla="*/ 169431 h 231543"/>
              <a:gd name="connsiteX750" fmla="*/ 165888 w 229505"/>
              <a:gd name="connsiteY750" fmla="*/ 168697 h 231543"/>
              <a:gd name="connsiteX751" fmla="*/ 168279 w 229505"/>
              <a:gd name="connsiteY751" fmla="*/ 167402 h 231543"/>
              <a:gd name="connsiteX752" fmla="*/ 169850 w 229505"/>
              <a:gd name="connsiteY752" fmla="*/ 165706 h 231543"/>
              <a:gd name="connsiteX753" fmla="*/ 171555 w 229505"/>
              <a:gd name="connsiteY753" fmla="*/ 166859 h 231543"/>
              <a:gd name="connsiteX754" fmla="*/ 169422 w 229505"/>
              <a:gd name="connsiteY754" fmla="*/ 167630 h 231543"/>
              <a:gd name="connsiteX755" fmla="*/ 166078 w 229505"/>
              <a:gd name="connsiteY755" fmla="*/ 170583 h 231543"/>
              <a:gd name="connsiteX756" fmla="*/ 195225 w 229505"/>
              <a:gd name="connsiteY756" fmla="*/ 172688 h 231543"/>
              <a:gd name="connsiteX757" fmla="*/ 194396 w 229505"/>
              <a:gd name="connsiteY757" fmla="*/ 172726 h 231543"/>
              <a:gd name="connsiteX758" fmla="*/ 195386 w 229505"/>
              <a:gd name="connsiteY758" fmla="*/ 171126 h 231543"/>
              <a:gd name="connsiteX759" fmla="*/ 198206 w 229505"/>
              <a:gd name="connsiteY759" fmla="*/ 168926 h 231543"/>
              <a:gd name="connsiteX760" fmla="*/ 202311 w 229505"/>
              <a:gd name="connsiteY760" fmla="*/ 166983 h 231543"/>
              <a:gd name="connsiteX761" fmla="*/ 203673 w 229505"/>
              <a:gd name="connsiteY761" fmla="*/ 166773 h 231543"/>
              <a:gd name="connsiteX762" fmla="*/ 205988 w 229505"/>
              <a:gd name="connsiteY762" fmla="*/ 167973 h 231543"/>
              <a:gd name="connsiteX763" fmla="*/ 201740 w 229505"/>
              <a:gd name="connsiteY763" fmla="*/ 169964 h 231543"/>
              <a:gd name="connsiteX764" fmla="*/ 200606 w 229505"/>
              <a:gd name="connsiteY764" fmla="*/ 171012 h 231543"/>
              <a:gd name="connsiteX765" fmla="*/ 197472 w 229505"/>
              <a:gd name="connsiteY765" fmla="*/ 171240 h 231543"/>
              <a:gd name="connsiteX766" fmla="*/ 195225 w 229505"/>
              <a:gd name="connsiteY766" fmla="*/ 172688 h 231543"/>
              <a:gd name="connsiteX767" fmla="*/ 153314 w 229505"/>
              <a:gd name="connsiteY767" fmla="*/ 174450 h 231543"/>
              <a:gd name="connsiteX768" fmla="*/ 152848 w 229505"/>
              <a:gd name="connsiteY768" fmla="*/ 174974 h 231543"/>
              <a:gd name="connsiteX769" fmla="*/ 150829 w 229505"/>
              <a:gd name="connsiteY769" fmla="*/ 172879 h 231543"/>
              <a:gd name="connsiteX770" fmla="*/ 150057 w 229505"/>
              <a:gd name="connsiteY770" fmla="*/ 171660 h 231543"/>
              <a:gd name="connsiteX771" fmla="*/ 151019 w 229505"/>
              <a:gd name="connsiteY771" fmla="*/ 170640 h 231543"/>
              <a:gd name="connsiteX772" fmla="*/ 153991 w 229505"/>
              <a:gd name="connsiteY772" fmla="*/ 173022 h 231543"/>
              <a:gd name="connsiteX773" fmla="*/ 153314 w 229505"/>
              <a:gd name="connsiteY773" fmla="*/ 174450 h 231543"/>
              <a:gd name="connsiteX774" fmla="*/ 130702 w 229505"/>
              <a:gd name="connsiteY774" fmla="*/ 171469 h 231543"/>
              <a:gd name="connsiteX775" fmla="*/ 130750 w 229505"/>
              <a:gd name="connsiteY775" fmla="*/ 173422 h 231543"/>
              <a:gd name="connsiteX776" fmla="*/ 130559 w 229505"/>
              <a:gd name="connsiteY776" fmla="*/ 174117 h 231543"/>
              <a:gd name="connsiteX777" fmla="*/ 125092 w 229505"/>
              <a:gd name="connsiteY777" fmla="*/ 175060 h 231543"/>
              <a:gd name="connsiteX778" fmla="*/ 125597 w 229505"/>
              <a:gd name="connsiteY778" fmla="*/ 172822 h 231543"/>
              <a:gd name="connsiteX779" fmla="*/ 125930 w 229505"/>
              <a:gd name="connsiteY779" fmla="*/ 172117 h 231543"/>
              <a:gd name="connsiteX780" fmla="*/ 127740 w 229505"/>
              <a:gd name="connsiteY780" fmla="*/ 173155 h 231543"/>
              <a:gd name="connsiteX781" fmla="*/ 128407 w 229505"/>
              <a:gd name="connsiteY781" fmla="*/ 172622 h 231543"/>
              <a:gd name="connsiteX782" fmla="*/ 128674 w 229505"/>
              <a:gd name="connsiteY782" fmla="*/ 172012 h 231543"/>
              <a:gd name="connsiteX783" fmla="*/ 130702 w 229505"/>
              <a:gd name="connsiteY783" fmla="*/ 171469 h 231543"/>
              <a:gd name="connsiteX784" fmla="*/ 219570 w 229505"/>
              <a:gd name="connsiteY784" fmla="*/ 178432 h 231543"/>
              <a:gd name="connsiteX785" fmla="*/ 218990 w 229505"/>
              <a:gd name="connsiteY785" fmla="*/ 178956 h 231543"/>
              <a:gd name="connsiteX786" fmla="*/ 217647 w 229505"/>
              <a:gd name="connsiteY786" fmla="*/ 177441 h 231543"/>
              <a:gd name="connsiteX787" fmla="*/ 217580 w 229505"/>
              <a:gd name="connsiteY787" fmla="*/ 176651 h 231543"/>
              <a:gd name="connsiteX788" fmla="*/ 218951 w 229505"/>
              <a:gd name="connsiteY788" fmla="*/ 175746 h 231543"/>
              <a:gd name="connsiteX789" fmla="*/ 219637 w 229505"/>
              <a:gd name="connsiteY789" fmla="*/ 175536 h 231543"/>
              <a:gd name="connsiteX790" fmla="*/ 219837 w 229505"/>
              <a:gd name="connsiteY790" fmla="*/ 176156 h 231543"/>
              <a:gd name="connsiteX791" fmla="*/ 219818 w 229505"/>
              <a:gd name="connsiteY791" fmla="*/ 177479 h 231543"/>
              <a:gd name="connsiteX792" fmla="*/ 219570 w 229505"/>
              <a:gd name="connsiteY792" fmla="*/ 178432 h 231543"/>
              <a:gd name="connsiteX793" fmla="*/ 182156 w 229505"/>
              <a:gd name="connsiteY793" fmla="*/ 177394 h 231543"/>
              <a:gd name="connsiteX794" fmla="*/ 180042 w 229505"/>
              <a:gd name="connsiteY794" fmla="*/ 178184 h 231543"/>
              <a:gd name="connsiteX795" fmla="*/ 178699 w 229505"/>
              <a:gd name="connsiteY795" fmla="*/ 179851 h 231543"/>
              <a:gd name="connsiteX796" fmla="*/ 177061 w 229505"/>
              <a:gd name="connsiteY796" fmla="*/ 178670 h 231543"/>
              <a:gd name="connsiteX797" fmla="*/ 177061 w 229505"/>
              <a:gd name="connsiteY797" fmla="*/ 177070 h 231543"/>
              <a:gd name="connsiteX798" fmla="*/ 178851 w 229505"/>
              <a:gd name="connsiteY798" fmla="*/ 177565 h 231543"/>
              <a:gd name="connsiteX799" fmla="*/ 180108 w 229505"/>
              <a:gd name="connsiteY799" fmla="*/ 176660 h 231543"/>
              <a:gd name="connsiteX800" fmla="*/ 179727 w 229505"/>
              <a:gd name="connsiteY800" fmla="*/ 175641 h 231543"/>
              <a:gd name="connsiteX801" fmla="*/ 181099 w 229505"/>
              <a:gd name="connsiteY801" fmla="*/ 176117 h 231543"/>
              <a:gd name="connsiteX802" fmla="*/ 182156 w 229505"/>
              <a:gd name="connsiteY802" fmla="*/ 177394 h 231543"/>
              <a:gd name="connsiteX803" fmla="*/ 156010 w 229505"/>
              <a:gd name="connsiteY803" fmla="*/ 183775 h 231543"/>
              <a:gd name="connsiteX804" fmla="*/ 154772 w 229505"/>
              <a:gd name="connsiteY804" fmla="*/ 185519 h 231543"/>
              <a:gd name="connsiteX805" fmla="*/ 153019 w 229505"/>
              <a:gd name="connsiteY805" fmla="*/ 184899 h 231543"/>
              <a:gd name="connsiteX806" fmla="*/ 153734 w 229505"/>
              <a:gd name="connsiteY806" fmla="*/ 184242 h 231543"/>
              <a:gd name="connsiteX807" fmla="*/ 154153 w 229505"/>
              <a:gd name="connsiteY807" fmla="*/ 183385 h 231543"/>
              <a:gd name="connsiteX808" fmla="*/ 154200 w 229505"/>
              <a:gd name="connsiteY808" fmla="*/ 182147 h 231543"/>
              <a:gd name="connsiteX809" fmla="*/ 153724 w 229505"/>
              <a:gd name="connsiteY809" fmla="*/ 181385 h 231543"/>
              <a:gd name="connsiteX810" fmla="*/ 154048 w 229505"/>
              <a:gd name="connsiteY810" fmla="*/ 181108 h 231543"/>
              <a:gd name="connsiteX811" fmla="*/ 155610 w 229505"/>
              <a:gd name="connsiteY811" fmla="*/ 182385 h 231543"/>
              <a:gd name="connsiteX812" fmla="*/ 156010 w 229505"/>
              <a:gd name="connsiteY812" fmla="*/ 183775 h 231543"/>
              <a:gd name="connsiteX813" fmla="*/ 219104 w 229505"/>
              <a:gd name="connsiteY813" fmla="*/ 199044 h 231543"/>
              <a:gd name="connsiteX814" fmla="*/ 217180 w 229505"/>
              <a:gd name="connsiteY814" fmla="*/ 199739 h 231543"/>
              <a:gd name="connsiteX815" fmla="*/ 216513 w 229505"/>
              <a:gd name="connsiteY815" fmla="*/ 199654 h 231543"/>
              <a:gd name="connsiteX816" fmla="*/ 215713 w 229505"/>
              <a:gd name="connsiteY816" fmla="*/ 198130 h 231543"/>
              <a:gd name="connsiteX817" fmla="*/ 216827 w 229505"/>
              <a:gd name="connsiteY817" fmla="*/ 194453 h 231543"/>
              <a:gd name="connsiteX818" fmla="*/ 215798 w 229505"/>
              <a:gd name="connsiteY818" fmla="*/ 192081 h 231543"/>
              <a:gd name="connsiteX819" fmla="*/ 215732 w 229505"/>
              <a:gd name="connsiteY819" fmla="*/ 191081 h 231543"/>
              <a:gd name="connsiteX820" fmla="*/ 217294 w 229505"/>
              <a:gd name="connsiteY820" fmla="*/ 189690 h 231543"/>
              <a:gd name="connsiteX821" fmla="*/ 218380 w 229505"/>
              <a:gd name="connsiteY821" fmla="*/ 187605 h 231543"/>
              <a:gd name="connsiteX822" fmla="*/ 221028 w 229505"/>
              <a:gd name="connsiteY822" fmla="*/ 185347 h 231543"/>
              <a:gd name="connsiteX823" fmla="*/ 227895 w 229505"/>
              <a:gd name="connsiteY823" fmla="*/ 182671 h 231543"/>
              <a:gd name="connsiteX824" fmla="*/ 229505 w 229505"/>
              <a:gd name="connsiteY824" fmla="*/ 182423 h 231543"/>
              <a:gd name="connsiteX825" fmla="*/ 229458 w 229505"/>
              <a:gd name="connsiteY825" fmla="*/ 184518 h 231543"/>
              <a:gd name="connsiteX826" fmla="*/ 227162 w 229505"/>
              <a:gd name="connsiteY826" fmla="*/ 189814 h 231543"/>
              <a:gd name="connsiteX827" fmla="*/ 225123 w 229505"/>
              <a:gd name="connsiteY827" fmla="*/ 192462 h 231543"/>
              <a:gd name="connsiteX828" fmla="*/ 225666 w 229505"/>
              <a:gd name="connsiteY828" fmla="*/ 194577 h 231543"/>
              <a:gd name="connsiteX829" fmla="*/ 222399 w 229505"/>
              <a:gd name="connsiteY829" fmla="*/ 195167 h 231543"/>
              <a:gd name="connsiteX830" fmla="*/ 219104 w 229505"/>
              <a:gd name="connsiteY830" fmla="*/ 199044 h 231543"/>
              <a:gd name="connsiteX831" fmla="*/ 91088 w 229505"/>
              <a:gd name="connsiteY831" fmla="*/ 190472 h 231543"/>
              <a:gd name="connsiteX832" fmla="*/ 90774 w 229505"/>
              <a:gd name="connsiteY832" fmla="*/ 191900 h 231543"/>
              <a:gd name="connsiteX833" fmla="*/ 88021 w 229505"/>
              <a:gd name="connsiteY833" fmla="*/ 190919 h 231543"/>
              <a:gd name="connsiteX834" fmla="*/ 87259 w 229505"/>
              <a:gd name="connsiteY834" fmla="*/ 189443 h 231543"/>
              <a:gd name="connsiteX835" fmla="*/ 87116 w 229505"/>
              <a:gd name="connsiteY835" fmla="*/ 186166 h 231543"/>
              <a:gd name="connsiteX836" fmla="*/ 87840 w 229505"/>
              <a:gd name="connsiteY836" fmla="*/ 184566 h 231543"/>
              <a:gd name="connsiteX837" fmla="*/ 88316 w 229505"/>
              <a:gd name="connsiteY837" fmla="*/ 184061 h 231543"/>
              <a:gd name="connsiteX838" fmla="*/ 89583 w 229505"/>
              <a:gd name="connsiteY838" fmla="*/ 185909 h 231543"/>
              <a:gd name="connsiteX839" fmla="*/ 92240 w 229505"/>
              <a:gd name="connsiteY839" fmla="*/ 188605 h 231543"/>
              <a:gd name="connsiteX840" fmla="*/ 91088 w 229505"/>
              <a:gd name="connsiteY840" fmla="*/ 190472 h 231543"/>
              <a:gd name="connsiteX841" fmla="*/ 201282 w 229505"/>
              <a:gd name="connsiteY841" fmla="*/ 214256 h 231543"/>
              <a:gd name="connsiteX842" fmla="*/ 200263 w 229505"/>
              <a:gd name="connsiteY842" fmla="*/ 216094 h 231543"/>
              <a:gd name="connsiteX843" fmla="*/ 199225 w 229505"/>
              <a:gd name="connsiteY843" fmla="*/ 214541 h 231543"/>
              <a:gd name="connsiteX844" fmla="*/ 199673 w 229505"/>
              <a:gd name="connsiteY844" fmla="*/ 212750 h 231543"/>
              <a:gd name="connsiteX845" fmla="*/ 198473 w 229505"/>
              <a:gd name="connsiteY845" fmla="*/ 209921 h 231543"/>
              <a:gd name="connsiteX846" fmla="*/ 200749 w 229505"/>
              <a:gd name="connsiteY846" fmla="*/ 205712 h 231543"/>
              <a:gd name="connsiteX847" fmla="*/ 200797 w 229505"/>
              <a:gd name="connsiteY847" fmla="*/ 203664 h 231543"/>
              <a:gd name="connsiteX848" fmla="*/ 202540 w 229505"/>
              <a:gd name="connsiteY848" fmla="*/ 202616 h 231543"/>
              <a:gd name="connsiteX849" fmla="*/ 202112 w 229505"/>
              <a:gd name="connsiteY849" fmla="*/ 206093 h 231543"/>
              <a:gd name="connsiteX850" fmla="*/ 200778 w 229505"/>
              <a:gd name="connsiteY850" fmla="*/ 208874 h 231543"/>
              <a:gd name="connsiteX851" fmla="*/ 202159 w 229505"/>
              <a:gd name="connsiteY851" fmla="*/ 211188 h 231543"/>
              <a:gd name="connsiteX852" fmla="*/ 202816 w 229505"/>
              <a:gd name="connsiteY852" fmla="*/ 213817 h 231543"/>
              <a:gd name="connsiteX853" fmla="*/ 201282 w 229505"/>
              <a:gd name="connsiteY853" fmla="*/ 214256 h 231543"/>
              <a:gd name="connsiteX854" fmla="*/ 112433 w 229505"/>
              <a:gd name="connsiteY854" fmla="*/ 211960 h 231543"/>
              <a:gd name="connsiteX855" fmla="*/ 114262 w 229505"/>
              <a:gd name="connsiteY855" fmla="*/ 212198 h 231543"/>
              <a:gd name="connsiteX856" fmla="*/ 116739 w 229505"/>
              <a:gd name="connsiteY856" fmla="*/ 212160 h 231543"/>
              <a:gd name="connsiteX857" fmla="*/ 117300 w 229505"/>
              <a:gd name="connsiteY857" fmla="*/ 211960 h 231543"/>
              <a:gd name="connsiteX858" fmla="*/ 118882 w 229505"/>
              <a:gd name="connsiteY858" fmla="*/ 210045 h 231543"/>
              <a:gd name="connsiteX859" fmla="*/ 120825 w 229505"/>
              <a:gd name="connsiteY859" fmla="*/ 210007 h 231543"/>
              <a:gd name="connsiteX860" fmla="*/ 121673 w 229505"/>
              <a:gd name="connsiteY860" fmla="*/ 211893 h 231543"/>
              <a:gd name="connsiteX861" fmla="*/ 119701 w 229505"/>
              <a:gd name="connsiteY861" fmla="*/ 212760 h 231543"/>
              <a:gd name="connsiteX862" fmla="*/ 119301 w 229505"/>
              <a:gd name="connsiteY862" fmla="*/ 213255 h 231543"/>
              <a:gd name="connsiteX863" fmla="*/ 119682 w 229505"/>
              <a:gd name="connsiteY863" fmla="*/ 213655 h 231543"/>
              <a:gd name="connsiteX864" fmla="*/ 121158 w 229505"/>
              <a:gd name="connsiteY864" fmla="*/ 214446 h 231543"/>
              <a:gd name="connsiteX865" fmla="*/ 123216 w 229505"/>
              <a:gd name="connsiteY865" fmla="*/ 214151 h 231543"/>
              <a:gd name="connsiteX866" fmla="*/ 123273 w 229505"/>
              <a:gd name="connsiteY866" fmla="*/ 215637 h 231543"/>
              <a:gd name="connsiteX867" fmla="*/ 123730 w 229505"/>
              <a:gd name="connsiteY867" fmla="*/ 216846 h 231543"/>
              <a:gd name="connsiteX868" fmla="*/ 124739 w 229505"/>
              <a:gd name="connsiteY868" fmla="*/ 217570 h 231543"/>
              <a:gd name="connsiteX869" fmla="*/ 125845 w 229505"/>
              <a:gd name="connsiteY869" fmla="*/ 217713 h 231543"/>
              <a:gd name="connsiteX870" fmla="*/ 128274 w 229505"/>
              <a:gd name="connsiteY870" fmla="*/ 217504 h 231543"/>
              <a:gd name="connsiteX871" fmla="*/ 130664 w 229505"/>
              <a:gd name="connsiteY871" fmla="*/ 217027 h 231543"/>
              <a:gd name="connsiteX872" fmla="*/ 133131 w 229505"/>
              <a:gd name="connsiteY872" fmla="*/ 216075 h 231543"/>
              <a:gd name="connsiteX873" fmla="*/ 135655 w 229505"/>
              <a:gd name="connsiteY873" fmla="*/ 215589 h 231543"/>
              <a:gd name="connsiteX874" fmla="*/ 143190 w 229505"/>
              <a:gd name="connsiteY874" fmla="*/ 216075 h 231543"/>
              <a:gd name="connsiteX875" fmla="*/ 145895 w 229505"/>
              <a:gd name="connsiteY875" fmla="*/ 218132 h 231543"/>
              <a:gd name="connsiteX876" fmla="*/ 151048 w 229505"/>
              <a:gd name="connsiteY876" fmla="*/ 218380 h 231543"/>
              <a:gd name="connsiteX877" fmla="*/ 155829 w 229505"/>
              <a:gd name="connsiteY877" fmla="*/ 219466 h 231543"/>
              <a:gd name="connsiteX878" fmla="*/ 158344 w 229505"/>
              <a:gd name="connsiteY878" fmla="*/ 218751 h 231543"/>
              <a:gd name="connsiteX879" fmla="*/ 162639 w 229505"/>
              <a:gd name="connsiteY879" fmla="*/ 218084 h 231543"/>
              <a:gd name="connsiteX880" fmla="*/ 163326 w 229505"/>
              <a:gd name="connsiteY880" fmla="*/ 218808 h 231543"/>
              <a:gd name="connsiteX881" fmla="*/ 162773 w 229505"/>
              <a:gd name="connsiteY881" fmla="*/ 223447 h 231543"/>
              <a:gd name="connsiteX882" fmla="*/ 163039 w 229505"/>
              <a:gd name="connsiteY882" fmla="*/ 224800 h 231543"/>
              <a:gd name="connsiteX883" fmla="*/ 164278 w 229505"/>
              <a:gd name="connsiteY883" fmla="*/ 225447 h 231543"/>
              <a:gd name="connsiteX884" fmla="*/ 165497 w 229505"/>
              <a:gd name="connsiteY884" fmla="*/ 225133 h 231543"/>
              <a:gd name="connsiteX885" fmla="*/ 167002 w 229505"/>
              <a:gd name="connsiteY885" fmla="*/ 223609 h 231543"/>
              <a:gd name="connsiteX886" fmla="*/ 170602 w 229505"/>
              <a:gd name="connsiteY886" fmla="*/ 222437 h 231543"/>
              <a:gd name="connsiteX887" fmla="*/ 174336 w 229505"/>
              <a:gd name="connsiteY887" fmla="*/ 222437 h 231543"/>
              <a:gd name="connsiteX888" fmla="*/ 177489 w 229505"/>
              <a:gd name="connsiteY888" fmla="*/ 219351 h 231543"/>
              <a:gd name="connsiteX889" fmla="*/ 178413 w 229505"/>
              <a:gd name="connsiteY889" fmla="*/ 219170 h 231543"/>
              <a:gd name="connsiteX890" fmla="*/ 177832 w 229505"/>
              <a:gd name="connsiteY890" fmla="*/ 220685 h 231543"/>
              <a:gd name="connsiteX891" fmla="*/ 177355 w 229505"/>
              <a:gd name="connsiteY891" fmla="*/ 224247 h 231543"/>
              <a:gd name="connsiteX892" fmla="*/ 176689 w 229505"/>
              <a:gd name="connsiteY892" fmla="*/ 226333 h 231543"/>
              <a:gd name="connsiteX893" fmla="*/ 176384 w 229505"/>
              <a:gd name="connsiteY893" fmla="*/ 227972 h 231543"/>
              <a:gd name="connsiteX894" fmla="*/ 174279 w 229505"/>
              <a:gd name="connsiteY894" fmla="*/ 228819 h 231543"/>
              <a:gd name="connsiteX895" fmla="*/ 171108 w 229505"/>
              <a:gd name="connsiteY895" fmla="*/ 228962 h 231543"/>
              <a:gd name="connsiteX896" fmla="*/ 165307 w 229505"/>
              <a:gd name="connsiteY896" fmla="*/ 228600 h 231543"/>
              <a:gd name="connsiteX897" fmla="*/ 159458 w 229505"/>
              <a:gd name="connsiteY897" fmla="*/ 229181 h 231543"/>
              <a:gd name="connsiteX898" fmla="*/ 148628 w 229505"/>
              <a:gd name="connsiteY898" fmla="*/ 230743 h 231543"/>
              <a:gd name="connsiteX899" fmla="*/ 137779 w 229505"/>
              <a:gd name="connsiteY899" fmla="*/ 231543 h 231543"/>
              <a:gd name="connsiteX900" fmla="*/ 136322 w 229505"/>
              <a:gd name="connsiteY900" fmla="*/ 231019 h 231543"/>
              <a:gd name="connsiteX901" fmla="*/ 136293 w 229505"/>
              <a:gd name="connsiteY901" fmla="*/ 228953 h 231543"/>
              <a:gd name="connsiteX902" fmla="*/ 136065 w 229505"/>
              <a:gd name="connsiteY902" fmla="*/ 227524 h 231543"/>
              <a:gd name="connsiteX903" fmla="*/ 135360 w 229505"/>
              <a:gd name="connsiteY903" fmla="*/ 226524 h 231543"/>
              <a:gd name="connsiteX904" fmla="*/ 132007 w 229505"/>
              <a:gd name="connsiteY904" fmla="*/ 225666 h 231543"/>
              <a:gd name="connsiteX905" fmla="*/ 128807 w 229505"/>
              <a:gd name="connsiteY905" fmla="*/ 224200 h 231543"/>
              <a:gd name="connsiteX906" fmla="*/ 116263 w 229505"/>
              <a:gd name="connsiteY906" fmla="*/ 222199 h 231543"/>
              <a:gd name="connsiteX907" fmla="*/ 113300 w 229505"/>
              <a:gd name="connsiteY907" fmla="*/ 221409 h 231543"/>
              <a:gd name="connsiteX908" fmla="*/ 108500 w 229505"/>
              <a:gd name="connsiteY908" fmla="*/ 221818 h 231543"/>
              <a:gd name="connsiteX909" fmla="*/ 106738 w 229505"/>
              <a:gd name="connsiteY909" fmla="*/ 221761 h 231543"/>
              <a:gd name="connsiteX910" fmla="*/ 105528 w 229505"/>
              <a:gd name="connsiteY910" fmla="*/ 221047 h 231543"/>
              <a:gd name="connsiteX911" fmla="*/ 104690 w 229505"/>
              <a:gd name="connsiteY911" fmla="*/ 219808 h 231543"/>
              <a:gd name="connsiteX912" fmla="*/ 104309 w 229505"/>
              <a:gd name="connsiteY912" fmla="*/ 215875 h 231543"/>
              <a:gd name="connsiteX913" fmla="*/ 104909 w 229505"/>
              <a:gd name="connsiteY913" fmla="*/ 211979 h 231543"/>
              <a:gd name="connsiteX914" fmla="*/ 105947 w 229505"/>
              <a:gd name="connsiteY914" fmla="*/ 210950 h 231543"/>
              <a:gd name="connsiteX915" fmla="*/ 106423 w 229505"/>
              <a:gd name="connsiteY915" fmla="*/ 212122 h 231543"/>
              <a:gd name="connsiteX916" fmla="*/ 107652 w 229505"/>
              <a:gd name="connsiteY916" fmla="*/ 212665 h 231543"/>
              <a:gd name="connsiteX917" fmla="*/ 108795 w 229505"/>
              <a:gd name="connsiteY917" fmla="*/ 211484 h 231543"/>
              <a:gd name="connsiteX918" fmla="*/ 108785 w 229505"/>
              <a:gd name="connsiteY918" fmla="*/ 209693 h 231543"/>
              <a:gd name="connsiteX919" fmla="*/ 109366 w 229505"/>
              <a:gd name="connsiteY919" fmla="*/ 208036 h 231543"/>
              <a:gd name="connsiteX920" fmla="*/ 110271 w 229505"/>
              <a:gd name="connsiteY920" fmla="*/ 208731 h 231543"/>
              <a:gd name="connsiteX921" fmla="*/ 110871 w 229505"/>
              <a:gd name="connsiteY921" fmla="*/ 211284 h 231543"/>
              <a:gd name="connsiteX922" fmla="*/ 112433 w 229505"/>
              <a:gd name="connsiteY922" fmla="*/ 211960 h 231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</a:cxnLst>
            <a:rect l="l" t="t" r="r" b="b"/>
            <a:pathLst>
              <a:path w="229505" h="231543">
                <a:moveTo>
                  <a:pt x="178422" y="1086"/>
                </a:moveTo>
                <a:lnTo>
                  <a:pt x="180813" y="1810"/>
                </a:lnTo>
                <a:lnTo>
                  <a:pt x="182204" y="2982"/>
                </a:lnTo>
                <a:lnTo>
                  <a:pt x="183071" y="4058"/>
                </a:lnTo>
                <a:lnTo>
                  <a:pt x="184395" y="4982"/>
                </a:lnTo>
                <a:lnTo>
                  <a:pt x="185385" y="5191"/>
                </a:lnTo>
                <a:lnTo>
                  <a:pt x="186147" y="8363"/>
                </a:lnTo>
                <a:lnTo>
                  <a:pt x="186547" y="12287"/>
                </a:lnTo>
                <a:lnTo>
                  <a:pt x="185947" y="13983"/>
                </a:lnTo>
                <a:lnTo>
                  <a:pt x="184185" y="14373"/>
                </a:lnTo>
                <a:lnTo>
                  <a:pt x="178680" y="18069"/>
                </a:lnTo>
                <a:lnTo>
                  <a:pt x="178546" y="21450"/>
                </a:lnTo>
                <a:lnTo>
                  <a:pt x="178623" y="23079"/>
                </a:lnTo>
                <a:lnTo>
                  <a:pt x="178737" y="24241"/>
                </a:lnTo>
                <a:lnTo>
                  <a:pt x="179318" y="25213"/>
                </a:lnTo>
                <a:lnTo>
                  <a:pt x="179318" y="26613"/>
                </a:lnTo>
                <a:lnTo>
                  <a:pt x="178708" y="28118"/>
                </a:lnTo>
                <a:lnTo>
                  <a:pt x="176308" y="30632"/>
                </a:lnTo>
                <a:lnTo>
                  <a:pt x="174641" y="32623"/>
                </a:lnTo>
                <a:lnTo>
                  <a:pt x="172774" y="35328"/>
                </a:lnTo>
                <a:lnTo>
                  <a:pt x="171727" y="35662"/>
                </a:lnTo>
                <a:lnTo>
                  <a:pt x="170898" y="36138"/>
                </a:lnTo>
                <a:lnTo>
                  <a:pt x="170145" y="34652"/>
                </a:lnTo>
                <a:lnTo>
                  <a:pt x="166002" y="32014"/>
                </a:lnTo>
                <a:lnTo>
                  <a:pt x="156410" y="30471"/>
                </a:lnTo>
                <a:lnTo>
                  <a:pt x="151829" y="28518"/>
                </a:lnTo>
                <a:lnTo>
                  <a:pt x="149819" y="28880"/>
                </a:lnTo>
                <a:lnTo>
                  <a:pt x="145923" y="26699"/>
                </a:lnTo>
                <a:lnTo>
                  <a:pt x="143256" y="27661"/>
                </a:lnTo>
                <a:lnTo>
                  <a:pt x="137599" y="31537"/>
                </a:lnTo>
                <a:lnTo>
                  <a:pt x="134541" y="31118"/>
                </a:lnTo>
                <a:lnTo>
                  <a:pt x="131274" y="28785"/>
                </a:lnTo>
                <a:lnTo>
                  <a:pt x="129150" y="28356"/>
                </a:lnTo>
                <a:lnTo>
                  <a:pt x="126654" y="29585"/>
                </a:lnTo>
                <a:lnTo>
                  <a:pt x="122663" y="34042"/>
                </a:lnTo>
                <a:lnTo>
                  <a:pt x="118596" y="36224"/>
                </a:lnTo>
                <a:lnTo>
                  <a:pt x="114958" y="35376"/>
                </a:lnTo>
                <a:lnTo>
                  <a:pt x="110062" y="35395"/>
                </a:lnTo>
                <a:lnTo>
                  <a:pt x="109538" y="37881"/>
                </a:lnTo>
                <a:lnTo>
                  <a:pt x="110480" y="39605"/>
                </a:lnTo>
                <a:lnTo>
                  <a:pt x="113157" y="42539"/>
                </a:lnTo>
                <a:lnTo>
                  <a:pt x="111900" y="44739"/>
                </a:lnTo>
                <a:lnTo>
                  <a:pt x="112833" y="46939"/>
                </a:lnTo>
                <a:lnTo>
                  <a:pt x="114577" y="47387"/>
                </a:lnTo>
                <a:lnTo>
                  <a:pt x="117215" y="47263"/>
                </a:lnTo>
                <a:lnTo>
                  <a:pt x="122082" y="50111"/>
                </a:lnTo>
                <a:lnTo>
                  <a:pt x="124216" y="53112"/>
                </a:lnTo>
                <a:lnTo>
                  <a:pt x="125578" y="56388"/>
                </a:lnTo>
                <a:lnTo>
                  <a:pt x="122606" y="54035"/>
                </a:lnTo>
                <a:lnTo>
                  <a:pt x="120635" y="51768"/>
                </a:lnTo>
                <a:lnTo>
                  <a:pt x="117882" y="50949"/>
                </a:lnTo>
                <a:lnTo>
                  <a:pt x="114062" y="49016"/>
                </a:lnTo>
                <a:lnTo>
                  <a:pt x="111662" y="48692"/>
                </a:lnTo>
                <a:lnTo>
                  <a:pt x="109109" y="50035"/>
                </a:lnTo>
                <a:lnTo>
                  <a:pt x="108909" y="51549"/>
                </a:lnTo>
                <a:lnTo>
                  <a:pt x="111662" y="54378"/>
                </a:lnTo>
                <a:lnTo>
                  <a:pt x="114176" y="56121"/>
                </a:lnTo>
                <a:lnTo>
                  <a:pt x="115510" y="57531"/>
                </a:lnTo>
                <a:lnTo>
                  <a:pt x="116396" y="60665"/>
                </a:lnTo>
                <a:lnTo>
                  <a:pt x="115891" y="61722"/>
                </a:lnTo>
                <a:lnTo>
                  <a:pt x="114958" y="62713"/>
                </a:lnTo>
                <a:lnTo>
                  <a:pt x="111976" y="60741"/>
                </a:lnTo>
                <a:lnTo>
                  <a:pt x="107414" y="53721"/>
                </a:lnTo>
                <a:lnTo>
                  <a:pt x="101051" y="52321"/>
                </a:lnTo>
                <a:lnTo>
                  <a:pt x="99984" y="53788"/>
                </a:lnTo>
                <a:lnTo>
                  <a:pt x="101241" y="57503"/>
                </a:lnTo>
                <a:lnTo>
                  <a:pt x="102146" y="58941"/>
                </a:lnTo>
                <a:lnTo>
                  <a:pt x="107681" y="62941"/>
                </a:lnTo>
                <a:lnTo>
                  <a:pt x="107242" y="63789"/>
                </a:lnTo>
                <a:lnTo>
                  <a:pt x="106432" y="64151"/>
                </a:lnTo>
                <a:lnTo>
                  <a:pt x="100242" y="61865"/>
                </a:lnTo>
                <a:lnTo>
                  <a:pt x="98441" y="58388"/>
                </a:lnTo>
                <a:lnTo>
                  <a:pt x="98013" y="53978"/>
                </a:lnTo>
                <a:lnTo>
                  <a:pt x="92297" y="50911"/>
                </a:lnTo>
                <a:lnTo>
                  <a:pt x="86906" y="47568"/>
                </a:lnTo>
                <a:lnTo>
                  <a:pt x="85697" y="44396"/>
                </a:lnTo>
                <a:lnTo>
                  <a:pt x="86811" y="43215"/>
                </a:lnTo>
                <a:lnTo>
                  <a:pt x="87602" y="40882"/>
                </a:lnTo>
                <a:lnTo>
                  <a:pt x="84640" y="41310"/>
                </a:lnTo>
                <a:lnTo>
                  <a:pt x="82782" y="42786"/>
                </a:lnTo>
                <a:lnTo>
                  <a:pt x="79782" y="44215"/>
                </a:lnTo>
                <a:lnTo>
                  <a:pt x="79658" y="46558"/>
                </a:lnTo>
                <a:lnTo>
                  <a:pt x="80134" y="48730"/>
                </a:lnTo>
                <a:lnTo>
                  <a:pt x="79143" y="51883"/>
                </a:lnTo>
                <a:lnTo>
                  <a:pt x="78172" y="57360"/>
                </a:lnTo>
                <a:lnTo>
                  <a:pt x="78781" y="60227"/>
                </a:lnTo>
                <a:lnTo>
                  <a:pt x="85297" y="68428"/>
                </a:lnTo>
                <a:lnTo>
                  <a:pt x="87525" y="74371"/>
                </a:lnTo>
                <a:lnTo>
                  <a:pt x="89125" y="76619"/>
                </a:lnTo>
                <a:lnTo>
                  <a:pt x="92459" y="79096"/>
                </a:lnTo>
                <a:lnTo>
                  <a:pt x="95936" y="83696"/>
                </a:lnTo>
                <a:lnTo>
                  <a:pt x="97403" y="86087"/>
                </a:lnTo>
                <a:lnTo>
                  <a:pt x="98450" y="90002"/>
                </a:lnTo>
                <a:lnTo>
                  <a:pt x="95527" y="92421"/>
                </a:lnTo>
                <a:lnTo>
                  <a:pt x="93831" y="92516"/>
                </a:lnTo>
                <a:lnTo>
                  <a:pt x="92888" y="91450"/>
                </a:lnTo>
                <a:lnTo>
                  <a:pt x="94202" y="88783"/>
                </a:lnTo>
                <a:lnTo>
                  <a:pt x="94012" y="87154"/>
                </a:lnTo>
                <a:lnTo>
                  <a:pt x="89497" y="84630"/>
                </a:lnTo>
                <a:lnTo>
                  <a:pt x="87592" y="85477"/>
                </a:lnTo>
                <a:lnTo>
                  <a:pt x="85392" y="87116"/>
                </a:lnTo>
                <a:lnTo>
                  <a:pt x="86649" y="90164"/>
                </a:lnTo>
                <a:lnTo>
                  <a:pt x="88059" y="92173"/>
                </a:lnTo>
                <a:lnTo>
                  <a:pt x="88773" y="94936"/>
                </a:lnTo>
                <a:lnTo>
                  <a:pt x="91478" y="94698"/>
                </a:lnTo>
                <a:lnTo>
                  <a:pt x="87840" y="97793"/>
                </a:lnTo>
                <a:lnTo>
                  <a:pt x="84420" y="99374"/>
                </a:lnTo>
                <a:lnTo>
                  <a:pt x="81058" y="99470"/>
                </a:lnTo>
                <a:lnTo>
                  <a:pt x="78915" y="99756"/>
                </a:lnTo>
                <a:lnTo>
                  <a:pt x="78172" y="100546"/>
                </a:lnTo>
                <a:lnTo>
                  <a:pt x="79915" y="101117"/>
                </a:lnTo>
                <a:lnTo>
                  <a:pt x="81334" y="101175"/>
                </a:lnTo>
                <a:lnTo>
                  <a:pt x="83649" y="102841"/>
                </a:lnTo>
                <a:lnTo>
                  <a:pt x="90231" y="104832"/>
                </a:lnTo>
                <a:lnTo>
                  <a:pt x="93374" y="107356"/>
                </a:lnTo>
                <a:lnTo>
                  <a:pt x="96460" y="107585"/>
                </a:lnTo>
                <a:lnTo>
                  <a:pt x="99556" y="112204"/>
                </a:lnTo>
                <a:lnTo>
                  <a:pt x="104918" y="113433"/>
                </a:lnTo>
                <a:lnTo>
                  <a:pt x="107975" y="118091"/>
                </a:lnTo>
                <a:lnTo>
                  <a:pt x="112033" y="119006"/>
                </a:lnTo>
                <a:lnTo>
                  <a:pt x="115538" y="120720"/>
                </a:lnTo>
                <a:lnTo>
                  <a:pt x="116557" y="122349"/>
                </a:lnTo>
                <a:lnTo>
                  <a:pt x="117072" y="125301"/>
                </a:lnTo>
                <a:lnTo>
                  <a:pt x="117300" y="131540"/>
                </a:lnTo>
                <a:lnTo>
                  <a:pt x="118063" y="136170"/>
                </a:lnTo>
                <a:lnTo>
                  <a:pt x="118091" y="137627"/>
                </a:lnTo>
                <a:lnTo>
                  <a:pt x="117901" y="139808"/>
                </a:lnTo>
                <a:lnTo>
                  <a:pt x="116948" y="140875"/>
                </a:lnTo>
                <a:lnTo>
                  <a:pt x="115662" y="140913"/>
                </a:lnTo>
                <a:lnTo>
                  <a:pt x="113138" y="137513"/>
                </a:lnTo>
                <a:lnTo>
                  <a:pt x="109281" y="133931"/>
                </a:lnTo>
                <a:lnTo>
                  <a:pt x="105204" y="129664"/>
                </a:lnTo>
                <a:lnTo>
                  <a:pt x="104042" y="128911"/>
                </a:lnTo>
                <a:lnTo>
                  <a:pt x="103089" y="128845"/>
                </a:lnTo>
                <a:lnTo>
                  <a:pt x="100908" y="130283"/>
                </a:lnTo>
                <a:lnTo>
                  <a:pt x="94850" y="131398"/>
                </a:lnTo>
                <a:lnTo>
                  <a:pt x="92012" y="132960"/>
                </a:lnTo>
                <a:lnTo>
                  <a:pt x="90945" y="133302"/>
                </a:lnTo>
                <a:lnTo>
                  <a:pt x="90650" y="134122"/>
                </a:lnTo>
                <a:lnTo>
                  <a:pt x="91983" y="134969"/>
                </a:lnTo>
                <a:lnTo>
                  <a:pt x="93612" y="136922"/>
                </a:lnTo>
                <a:lnTo>
                  <a:pt x="93612" y="139580"/>
                </a:lnTo>
                <a:lnTo>
                  <a:pt x="94965" y="142808"/>
                </a:lnTo>
                <a:lnTo>
                  <a:pt x="96707" y="143637"/>
                </a:lnTo>
                <a:lnTo>
                  <a:pt x="98975" y="143570"/>
                </a:lnTo>
                <a:lnTo>
                  <a:pt x="100279" y="144171"/>
                </a:lnTo>
                <a:lnTo>
                  <a:pt x="100613" y="145456"/>
                </a:lnTo>
                <a:lnTo>
                  <a:pt x="101937" y="146952"/>
                </a:lnTo>
                <a:lnTo>
                  <a:pt x="102804" y="148066"/>
                </a:lnTo>
                <a:lnTo>
                  <a:pt x="102775" y="148857"/>
                </a:lnTo>
                <a:lnTo>
                  <a:pt x="96441" y="150962"/>
                </a:lnTo>
                <a:lnTo>
                  <a:pt x="95117" y="151924"/>
                </a:lnTo>
                <a:lnTo>
                  <a:pt x="94002" y="152419"/>
                </a:lnTo>
                <a:lnTo>
                  <a:pt x="92355" y="151419"/>
                </a:lnTo>
                <a:lnTo>
                  <a:pt x="92259" y="148847"/>
                </a:lnTo>
                <a:lnTo>
                  <a:pt x="90088" y="147466"/>
                </a:lnTo>
                <a:lnTo>
                  <a:pt x="88097" y="146276"/>
                </a:lnTo>
                <a:lnTo>
                  <a:pt x="85706" y="145771"/>
                </a:lnTo>
                <a:lnTo>
                  <a:pt x="83677" y="143989"/>
                </a:lnTo>
                <a:lnTo>
                  <a:pt x="82353" y="145428"/>
                </a:lnTo>
                <a:lnTo>
                  <a:pt x="83411" y="150419"/>
                </a:lnTo>
                <a:lnTo>
                  <a:pt x="85706" y="153848"/>
                </a:lnTo>
                <a:lnTo>
                  <a:pt x="89554" y="163030"/>
                </a:lnTo>
                <a:lnTo>
                  <a:pt x="91297" y="168431"/>
                </a:lnTo>
                <a:lnTo>
                  <a:pt x="91650" y="171040"/>
                </a:lnTo>
                <a:lnTo>
                  <a:pt x="90783" y="175374"/>
                </a:lnTo>
                <a:lnTo>
                  <a:pt x="92679" y="178584"/>
                </a:lnTo>
                <a:lnTo>
                  <a:pt x="93974" y="181880"/>
                </a:lnTo>
                <a:lnTo>
                  <a:pt x="92555" y="181756"/>
                </a:lnTo>
                <a:lnTo>
                  <a:pt x="91317" y="180594"/>
                </a:lnTo>
                <a:lnTo>
                  <a:pt x="89240" y="179222"/>
                </a:lnTo>
                <a:lnTo>
                  <a:pt x="85220" y="173955"/>
                </a:lnTo>
                <a:lnTo>
                  <a:pt x="83820" y="170669"/>
                </a:lnTo>
                <a:lnTo>
                  <a:pt x="82144" y="170412"/>
                </a:lnTo>
                <a:lnTo>
                  <a:pt x="79229" y="170888"/>
                </a:lnTo>
                <a:lnTo>
                  <a:pt x="76048" y="177908"/>
                </a:lnTo>
                <a:lnTo>
                  <a:pt x="76058" y="181918"/>
                </a:lnTo>
                <a:lnTo>
                  <a:pt x="74409" y="180966"/>
                </a:lnTo>
                <a:lnTo>
                  <a:pt x="73000" y="179718"/>
                </a:lnTo>
                <a:lnTo>
                  <a:pt x="73171" y="175327"/>
                </a:lnTo>
                <a:lnTo>
                  <a:pt x="73029" y="173479"/>
                </a:lnTo>
                <a:lnTo>
                  <a:pt x="69161" y="167478"/>
                </a:lnTo>
                <a:lnTo>
                  <a:pt x="67389" y="166802"/>
                </a:lnTo>
                <a:lnTo>
                  <a:pt x="66561" y="164773"/>
                </a:lnTo>
                <a:lnTo>
                  <a:pt x="65132" y="162601"/>
                </a:lnTo>
                <a:lnTo>
                  <a:pt x="63294" y="163011"/>
                </a:lnTo>
                <a:lnTo>
                  <a:pt x="61789" y="163887"/>
                </a:lnTo>
                <a:lnTo>
                  <a:pt x="61379" y="167164"/>
                </a:lnTo>
                <a:lnTo>
                  <a:pt x="61227" y="170097"/>
                </a:lnTo>
                <a:lnTo>
                  <a:pt x="60103" y="172298"/>
                </a:lnTo>
                <a:lnTo>
                  <a:pt x="55979" y="168116"/>
                </a:lnTo>
                <a:lnTo>
                  <a:pt x="51826" y="160858"/>
                </a:lnTo>
                <a:lnTo>
                  <a:pt x="51721" y="156877"/>
                </a:lnTo>
                <a:lnTo>
                  <a:pt x="54759" y="153229"/>
                </a:lnTo>
                <a:lnTo>
                  <a:pt x="54397" y="150619"/>
                </a:lnTo>
                <a:lnTo>
                  <a:pt x="51521" y="145456"/>
                </a:lnTo>
                <a:lnTo>
                  <a:pt x="47368" y="142132"/>
                </a:lnTo>
                <a:lnTo>
                  <a:pt x="45044" y="141142"/>
                </a:lnTo>
                <a:lnTo>
                  <a:pt x="43948" y="137598"/>
                </a:lnTo>
                <a:lnTo>
                  <a:pt x="41729" y="135769"/>
                </a:lnTo>
                <a:lnTo>
                  <a:pt x="39929" y="134912"/>
                </a:lnTo>
                <a:lnTo>
                  <a:pt x="39577" y="133655"/>
                </a:lnTo>
                <a:lnTo>
                  <a:pt x="40120" y="132722"/>
                </a:lnTo>
                <a:lnTo>
                  <a:pt x="44482" y="129074"/>
                </a:lnTo>
                <a:lnTo>
                  <a:pt x="47035" y="123339"/>
                </a:lnTo>
                <a:lnTo>
                  <a:pt x="48302" y="123073"/>
                </a:lnTo>
                <a:lnTo>
                  <a:pt x="50911" y="124435"/>
                </a:lnTo>
                <a:lnTo>
                  <a:pt x="53845" y="124082"/>
                </a:lnTo>
                <a:lnTo>
                  <a:pt x="56245" y="120720"/>
                </a:lnTo>
                <a:lnTo>
                  <a:pt x="58284" y="118891"/>
                </a:lnTo>
                <a:lnTo>
                  <a:pt x="61722" y="119129"/>
                </a:lnTo>
                <a:lnTo>
                  <a:pt x="69485" y="123615"/>
                </a:lnTo>
                <a:lnTo>
                  <a:pt x="77829" y="126178"/>
                </a:lnTo>
                <a:lnTo>
                  <a:pt x="81992" y="128416"/>
                </a:lnTo>
                <a:lnTo>
                  <a:pt x="84354" y="130635"/>
                </a:lnTo>
                <a:lnTo>
                  <a:pt x="85601" y="131093"/>
                </a:lnTo>
                <a:lnTo>
                  <a:pt x="87582" y="131407"/>
                </a:lnTo>
                <a:lnTo>
                  <a:pt x="87497" y="129750"/>
                </a:lnTo>
                <a:lnTo>
                  <a:pt x="86868" y="128283"/>
                </a:lnTo>
                <a:lnTo>
                  <a:pt x="88516" y="127483"/>
                </a:lnTo>
                <a:lnTo>
                  <a:pt x="92983" y="127521"/>
                </a:lnTo>
                <a:lnTo>
                  <a:pt x="93793" y="126740"/>
                </a:lnTo>
                <a:lnTo>
                  <a:pt x="94622" y="125482"/>
                </a:lnTo>
                <a:lnTo>
                  <a:pt x="93698" y="124044"/>
                </a:lnTo>
                <a:lnTo>
                  <a:pt x="92221" y="123358"/>
                </a:lnTo>
                <a:lnTo>
                  <a:pt x="90640" y="123168"/>
                </a:lnTo>
                <a:lnTo>
                  <a:pt x="89602" y="122711"/>
                </a:lnTo>
                <a:lnTo>
                  <a:pt x="87916" y="123168"/>
                </a:lnTo>
                <a:lnTo>
                  <a:pt x="85297" y="122053"/>
                </a:lnTo>
                <a:lnTo>
                  <a:pt x="83934" y="121139"/>
                </a:lnTo>
                <a:lnTo>
                  <a:pt x="83144" y="120196"/>
                </a:lnTo>
                <a:lnTo>
                  <a:pt x="78581" y="118320"/>
                </a:lnTo>
                <a:lnTo>
                  <a:pt x="74257" y="115138"/>
                </a:lnTo>
                <a:lnTo>
                  <a:pt x="73276" y="116939"/>
                </a:lnTo>
                <a:lnTo>
                  <a:pt x="71524" y="117910"/>
                </a:lnTo>
                <a:lnTo>
                  <a:pt x="69038" y="118053"/>
                </a:lnTo>
                <a:lnTo>
                  <a:pt x="62046" y="116034"/>
                </a:lnTo>
                <a:lnTo>
                  <a:pt x="57751" y="117577"/>
                </a:lnTo>
                <a:lnTo>
                  <a:pt x="55407" y="117977"/>
                </a:lnTo>
                <a:lnTo>
                  <a:pt x="53616" y="118015"/>
                </a:lnTo>
                <a:lnTo>
                  <a:pt x="51416" y="118701"/>
                </a:lnTo>
                <a:lnTo>
                  <a:pt x="48873" y="119110"/>
                </a:lnTo>
                <a:lnTo>
                  <a:pt x="46673" y="116177"/>
                </a:lnTo>
                <a:lnTo>
                  <a:pt x="45749" y="113900"/>
                </a:lnTo>
                <a:lnTo>
                  <a:pt x="45101" y="113472"/>
                </a:lnTo>
                <a:lnTo>
                  <a:pt x="45072" y="115614"/>
                </a:lnTo>
                <a:lnTo>
                  <a:pt x="44368" y="117329"/>
                </a:lnTo>
                <a:lnTo>
                  <a:pt x="41139" y="118291"/>
                </a:lnTo>
                <a:lnTo>
                  <a:pt x="39281" y="116958"/>
                </a:lnTo>
                <a:lnTo>
                  <a:pt x="37852" y="112929"/>
                </a:lnTo>
                <a:lnTo>
                  <a:pt x="36052" y="107795"/>
                </a:lnTo>
                <a:lnTo>
                  <a:pt x="32881" y="103642"/>
                </a:lnTo>
                <a:lnTo>
                  <a:pt x="30299" y="102556"/>
                </a:lnTo>
                <a:lnTo>
                  <a:pt x="30080" y="100270"/>
                </a:lnTo>
                <a:lnTo>
                  <a:pt x="30309" y="98441"/>
                </a:lnTo>
                <a:lnTo>
                  <a:pt x="33404" y="97984"/>
                </a:lnTo>
                <a:lnTo>
                  <a:pt x="38243" y="99898"/>
                </a:lnTo>
                <a:lnTo>
                  <a:pt x="39243" y="99517"/>
                </a:lnTo>
                <a:lnTo>
                  <a:pt x="40329" y="98631"/>
                </a:lnTo>
                <a:lnTo>
                  <a:pt x="40120" y="96679"/>
                </a:lnTo>
                <a:lnTo>
                  <a:pt x="39414" y="94936"/>
                </a:lnTo>
                <a:lnTo>
                  <a:pt x="38081" y="94860"/>
                </a:lnTo>
                <a:lnTo>
                  <a:pt x="37157" y="95060"/>
                </a:lnTo>
                <a:lnTo>
                  <a:pt x="34176" y="94698"/>
                </a:lnTo>
                <a:lnTo>
                  <a:pt x="30356" y="95669"/>
                </a:lnTo>
                <a:lnTo>
                  <a:pt x="28585" y="94755"/>
                </a:lnTo>
                <a:lnTo>
                  <a:pt x="27994" y="93641"/>
                </a:lnTo>
                <a:lnTo>
                  <a:pt x="24794" y="90888"/>
                </a:lnTo>
                <a:lnTo>
                  <a:pt x="22032" y="87192"/>
                </a:lnTo>
                <a:lnTo>
                  <a:pt x="17555" y="84725"/>
                </a:lnTo>
                <a:lnTo>
                  <a:pt x="14631" y="77181"/>
                </a:lnTo>
                <a:lnTo>
                  <a:pt x="12173" y="73886"/>
                </a:lnTo>
                <a:lnTo>
                  <a:pt x="9554" y="71523"/>
                </a:lnTo>
                <a:lnTo>
                  <a:pt x="10126" y="71485"/>
                </a:lnTo>
                <a:lnTo>
                  <a:pt x="11116" y="71885"/>
                </a:lnTo>
                <a:lnTo>
                  <a:pt x="13021" y="73181"/>
                </a:lnTo>
                <a:lnTo>
                  <a:pt x="15040" y="73457"/>
                </a:lnTo>
                <a:lnTo>
                  <a:pt x="16145" y="72600"/>
                </a:lnTo>
                <a:lnTo>
                  <a:pt x="16783" y="71809"/>
                </a:lnTo>
                <a:lnTo>
                  <a:pt x="17193" y="70514"/>
                </a:lnTo>
                <a:lnTo>
                  <a:pt x="17364" y="68999"/>
                </a:lnTo>
                <a:lnTo>
                  <a:pt x="17698" y="68494"/>
                </a:lnTo>
                <a:lnTo>
                  <a:pt x="19250" y="68675"/>
                </a:lnTo>
                <a:lnTo>
                  <a:pt x="19745" y="68294"/>
                </a:lnTo>
                <a:lnTo>
                  <a:pt x="19727" y="66932"/>
                </a:lnTo>
                <a:lnTo>
                  <a:pt x="18726" y="65237"/>
                </a:lnTo>
                <a:lnTo>
                  <a:pt x="17850" y="63151"/>
                </a:lnTo>
                <a:lnTo>
                  <a:pt x="17850" y="62160"/>
                </a:lnTo>
                <a:lnTo>
                  <a:pt x="18584" y="61760"/>
                </a:lnTo>
                <a:lnTo>
                  <a:pt x="19793" y="60855"/>
                </a:lnTo>
                <a:lnTo>
                  <a:pt x="20441" y="59731"/>
                </a:lnTo>
                <a:lnTo>
                  <a:pt x="21727" y="59169"/>
                </a:lnTo>
                <a:lnTo>
                  <a:pt x="23622" y="59065"/>
                </a:lnTo>
                <a:lnTo>
                  <a:pt x="25737" y="58569"/>
                </a:lnTo>
                <a:lnTo>
                  <a:pt x="27108" y="57360"/>
                </a:lnTo>
                <a:lnTo>
                  <a:pt x="27308" y="56169"/>
                </a:lnTo>
                <a:lnTo>
                  <a:pt x="28166" y="52874"/>
                </a:lnTo>
                <a:lnTo>
                  <a:pt x="28728" y="51254"/>
                </a:lnTo>
                <a:lnTo>
                  <a:pt x="29632" y="49778"/>
                </a:lnTo>
                <a:lnTo>
                  <a:pt x="30119" y="47787"/>
                </a:lnTo>
                <a:lnTo>
                  <a:pt x="31090" y="45911"/>
                </a:lnTo>
                <a:lnTo>
                  <a:pt x="33109" y="45120"/>
                </a:lnTo>
                <a:lnTo>
                  <a:pt x="34938" y="44196"/>
                </a:lnTo>
                <a:lnTo>
                  <a:pt x="36319" y="41777"/>
                </a:lnTo>
                <a:lnTo>
                  <a:pt x="37100" y="39710"/>
                </a:lnTo>
                <a:lnTo>
                  <a:pt x="37100" y="38443"/>
                </a:lnTo>
                <a:lnTo>
                  <a:pt x="35938" y="36367"/>
                </a:lnTo>
                <a:lnTo>
                  <a:pt x="35081" y="34347"/>
                </a:lnTo>
                <a:lnTo>
                  <a:pt x="35309" y="31718"/>
                </a:lnTo>
                <a:lnTo>
                  <a:pt x="38938" y="31499"/>
                </a:lnTo>
                <a:lnTo>
                  <a:pt x="40205" y="31252"/>
                </a:lnTo>
                <a:lnTo>
                  <a:pt x="44920" y="31109"/>
                </a:lnTo>
                <a:lnTo>
                  <a:pt x="47073" y="29699"/>
                </a:lnTo>
                <a:lnTo>
                  <a:pt x="48559" y="29832"/>
                </a:lnTo>
                <a:lnTo>
                  <a:pt x="51664" y="31052"/>
                </a:lnTo>
                <a:lnTo>
                  <a:pt x="53054" y="30089"/>
                </a:lnTo>
                <a:lnTo>
                  <a:pt x="57112" y="28185"/>
                </a:lnTo>
                <a:lnTo>
                  <a:pt x="61122" y="22641"/>
                </a:lnTo>
                <a:lnTo>
                  <a:pt x="62827" y="21812"/>
                </a:lnTo>
                <a:lnTo>
                  <a:pt x="66723" y="21469"/>
                </a:lnTo>
                <a:lnTo>
                  <a:pt x="67942" y="20831"/>
                </a:lnTo>
                <a:lnTo>
                  <a:pt x="69361" y="20955"/>
                </a:lnTo>
                <a:lnTo>
                  <a:pt x="73724" y="22079"/>
                </a:lnTo>
                <a:lnTo>
                  <a:pt x="76200" y="22250"/>
                </a:lnTo>
                <a:lnTo>
                  <a:pt x="79143" y="21479"/>
                </a:lnTo>
                <a:lnTo>
                  <a:pt x="82382" y="20126"/>
                </a:lnTo>
                <a:lnTo>
                  <a:pt x="83191" y="15373"/>
                </a:lnTo>
                <a:lnTo>
                  <a:pt x="83963" y="14688"/>
                </a:lnTo>
                <a:lnTo>
                  <a:pt x="85973" y="14497"/>
                </a:lnTo>
                <a:lnTo>
                  <a:pt x="87497" y="14535"/>
                </a:lnTo>
                <a:lnTo>
                  <a:pt x="90431" y="14916"/>
                </a:lnTo>
                <a:lnTo>
                  <a:pt x="93917" y="15040"/>
                </a:lnTo>
                <a:lnTo>
                  <a:pt x="96155" y="12811"/>
                </a:lnTo>
                <a:lnTo>
                  <a:pt x="99689" y="12649"/>
                </a:lnTo>
                <a:lnTo>
                  <a:pt x="101327" y="12325"/>
                </a:lnTo>
                <a:lnTo>
                  <a:pt x="104061" y="12773"/>
                </a:lnTo>
                <a:lnTo>
                  <a:pt x="106718" y="12754"/>
                </a:lnTo>
                <a:lnTo>
                  <a:pt x="110119" y="11820"/>
                </a:lnTo>
                <a:lnTo>
                  <a:pt x="113291" y="10287"/>
                </a:lnTo>
                <a:lnTo>
                  <a:pt x="115767" y="10421"/>
                </a:lnTo>
                <a:lnTo>
                  <a:pt x="116777" y="10144"/>
                </a:lnTo>
                <a:lnTo>
                  <a:pt x="117348" y="9820"/>
                </a:lnTo>
                <a:lnTo>
                  <a:pt x="117967" y="7753"/>
                </a:lnTo>
                <a:lnTo>
                  <a:pt x="122625" y="7620"/>
                </a:lnTo>
                <a:lnTo>
                  <a:pt x="124206" y="7820"/>
                </a:lnTo>
                <a:lnTo>
                  <a:pt x="126807" y="7877"/>
                </a:lnTo>
                <a:lnTo>
                  <a:pt x="129512" y="6744"/>
                </a:lnTo>
                <a:lnTo>
                  <a:pt x="130321" y="6839"/>
                </a:lnTo>
                <a:lnTo>
                  <a:pt x="131683" y="9868"/>
                </a:lnTo>
                <a:lnTo>
                  <a:pt x="132398" y="10744"/>
                </a:lnTo>
                <a:lnTo>
                  <a:pt x="133865" y="11554"/>
                </a:lnTo>
                <a:lnTo>
                  <a:pt x="137141" y="13821"/>
                </a:lnTo>
                <a:lnTo>
                  <a:pt x="137732" y="13221"/>
                </a:lnTo>
                <a:lnTo>
                  <a:pt x="139103" y="12459"/>
                </a:lnTo>
                <a:lnTo>
                  <a:pt x="143028" y="13497"/>
                </a:lnTo>
                <a:lnTo>
                  <a:pt x="146771" y="15240"/>
                </a:lnTo>
                <a:lnTo>
                  <a:pt x="149914" y="17802"/>
                </a:lnTo>
                <a:lnTo>
                  <a:pt x="153410" y="17059"/>
                </a:lnTo>
                <a:lnTo>
                  <a:pt x="157286" y="15802"/>
                </a:lnTo>
                <a:lnTo>
                  <a:pt x="159811" y="15440"/>
                </a:lnTo>
                <a:lnTo>
                  <a:pt x="162554" y="15259"/>
                </a:lnTo>
                <a:lnTo>
                  <a:pt x="164182" y="14716"/>
                </a:lnTo>
                <a:lnTo>
                  <a:pt x="167888" y="15373"/>
                </a:lnTo>
                <a:lnTo>
                  <a:pt x="171708" y="13992"/>
                </a:lnTo>
                <a:lnTo>
                  <a:pt x="173546" y="12754"/>
                </a:lnTo>
                <a:lnTo>
                  <a:pt x="174079" y="11001"/>
                </a:lnTo>
                <a:lnTo>
                  <a:pt x="173774" y="7925"/>
                </a:lnTo>
                <a:lnTo>
                  <a:pt x="172907" y="4839"/>
                </a:lnTo>
                <a:lnTo>
                  <a:pt x="171993" y="3696"/>
                </a:lnTo>
                <a:lnTo>
                  <a:pt x="171698" y="2515"/>
                </a:lnTo>
                <a:lnTo>
                  <a:pt x="172222" y="1410"/>
                </a:lnTo>
                <a:lnTo>
                  <a:pt x="172812" y="648"/>
                </a:lnTo>
                <a:lnTo>
                  <a:pt x="175308" y="0"/>
                </a:lnTo>
                <a:lnTo>
                  <a:pt x="178422" y="1086"/>
                </a:lnTo>
                <a:close/>
                <a:moveTo>
                  <a:pt x="137075" y="40053"/>
                </a:moveTo>
                <a:lnTo>
                  <a:pt x="133645" y="41300"/>
                </a:lnTo>
                <a:lnTo>
                  <a:pt x="130160" y="38929"/>
                </a:lnTo>
                <a:lnTo>
                  <a:pt x="130188" y="37519"/>
                </a:lnTo>
                <a:lnTo>
                  <a:pt x="132026" y="34652"/>
                </a:lnTo>
                <a:lnTo>
                  <a:pt x="133036" y="33804"/>
                </a:lnTo>
                <a:lnTo>
                  <a:pt x="135598" y="34033"/>
                </a:lnTo>
                <a:lnTo>
                  <a:pt x="137056" y="36004"/>
                </a:lnTo>
                <a:lnTo>
                  <a:pt x="137399" y="36938"/>
                </a:lnTo>
                <a:lnTo>
                  <a:pt x="136922" y="38519"/>
                </a:lnTo>
                <a:lnTo>
                  <a:pt x="137075" y="40053"/>
                </a:lnTo>
                <a:close/>
                <a:moveTo>
                  <a:pt x="161449" y="46663"/>
                </a:moveTo>
                <a:lnTo>
                  <a:pt x="158420" y="47577"/>
                </a:lnTo>
                <a:lnTo>
                  <a:pt x="155086" y="44691"/>
                </a:lnTo>
                <a:lnTo>
                  <a:pt x="158305" y="43529"/>
                </a:lnTo>
                <a:lnTo>
                  <a:pt x="159801" y="44368"/>
                </a:lnTo>
                <a:lnTo>
                  <a:pt x="160868" y="45358"/>
                </a:lnTo>
                <a:lnTo>
                  <a:pt x="161449" y="46663"/>
                </a:lnTo>
                <a:close/>
                <a:moveTo>
                  <a:pt x="154810" y="62112"/>
                </a:moveTo>
                <a:lnTo>
                  <a:pt x="153801" y="63284"/>
                </a:lnTo>
                <a:lnTo>
                  <a:pt x="153048" y="65304"/>
                </a:lnTo>
                <a:lnTo>
                  <a:pt x="152648" y="68189"/>
                </a:lnTo>
                <a:lnTo>
                  <a:pt x="151086" y="68256"/>
                </a:lnTo>
                <a:lnTo>
                  <a:pt x="150143" y="67675"/>
                </a:lnTo>
                <a:lnTo>
                  <a:pt x="149829" y="66580"/>
                </a:lnTo>
                <a:lnTo>
                  <a:pt x="149771" y="65199"/>
                </a:lnTo>
                <a:lnTo>
                  <a:pt x="149086" y="65256"/>
                </a:lnTo>
                <a:lnTo>
                  <a:pt x="148533" y="66751"/>
                </a:lnTo>
                <a:lnTo>
                  <a:pt x="148047" y="67428"/>
                </a:lnTo>
                <a:lnTo>
                  <a:pt x="146476" y="67571"/>
                </a:lnTo>
                <a:lnTo>
                  <a:pt x="144752" y="66647"/>
                </a:lnTo>
                <a:lnTo>
                  <a:pt x="144838" y="64656"/>
                </a:lnTo>
                <a:lnTo>
                  <a:pt x="144495" y="62341"/>
                </a:lnTo>
                <a:lnTo>
                  <a:pt x="144647" y="61532"/>
                </a:lnTo>
                <a:lnTo>
                  <a:pt x="149362" y="61331"/>
                </a:lnTo>
                <a:lnTo>
                  <a:pt x="150743" y="63037"/>
                </a:lnTo>
                <a:lnTo>
                  <a:pt x="152410" y="62046"/>
                </a:lnTo>
                <a:lnTo>
                  <a:pt x="153095" y="60979"/>
                </a:lnTo>
                <a:lnTo>
                  <a:pt x="155115" y="60312"/>
                </a:lnTo>
                <a:lnTo>
                  <a:pt x="154810" y="62112"/>
                </a:lnTo>
                <a:close/>
                <a:moveTo>
                  <a:pt x="11535" y="81172"/>
                </a:moveTo>
                <a:lnTo>
                  <a:pt x="12116" y="83106"/>
                </a:lnTo>
                <a:lnTo>
                  <a:pt x="8782" y="81905"/>
                </a:lnTo>
                <a:lnTo>
                  <a:pt x="6354" y="80181"/>
                </a:lnTo>
                <a:lnTo>
                  <a:pt x="4344" y="75905"/>
                </a:lnTo>
                <a:lnTo>
                  <a:pt x="67" y="71038"/>
                </a:lnTo>
                <a:lnTo>
                  <a:pt x="0" y="69618"/>
                </a:lnTo>
                <a:lnTo>
                  <a:pt x="1629" y="68542"/>
                </a:lnTo>
                <a:lnTo>
                  <a:pt x="5144" y="67780"/>
                </a:lnTo>
                <a:lnTo>
                  <a:pt x="6563" y="68571"/>
                </a:lnTo>
                <a:lnTo>
                  <a:pt x="7477" y="69390"/>
                </a:lnTo>
                <a:lnTo>
                  <a:pt x="7763" y="70323"/>
                </a:lnTo>
                <a:lnTo>
                  <a:pt x="5772" y="72190"/>
                </a:lnTo>
                <a:lnTo>
                  <a:pt x="5363" y="73038"/>
                </a:lnTo>
                <a:lnTo>
                  <a:pt x="6896" y="74714"/>
                </a:lnTo>
                <a:lnTo>
                  <a:pt x="6877" y="75390"/>
                </a:lnTo>
                <a:lnTo>
                  <a:pt x="7515" y="78639"/>
                </a:lnTo>
                <a:lnTo>
                  <a:pt x="8268" y="79858"/>
                </a:lnTo>
                <a:lnTo>
                  <a:pt x="10202" y="80839"/>
                </a:lnTo>
                <a:lnTo>
                  <a:pt x="11535" y="81172"/>
                </a:lnTo>
                <a:close/>
                <a:moveTo>
                  <a:pt x="180804" y="84725"/>
                </a:moveTo>
                <a:lnTo>
                  <a:pt x="180337" y="86763"/>
                </a:lnTo>
                <a:lnTo>
                  <a:pt x="184033" y="90145"/>
                </a:lnTo>
                <a:lnTo>
                  <a:pt x="185290" y="92288"/>
                </a:lnTo>
                <a:lnTo>
                  <a:pt x="185757" y="94364"/>
                </a:lnTo>
                <a:lnTo>
                  <a:pt x="185443" y="94964"/>
                </a:lnTo>
                <a:lnTo>
                  <a:pt x="184042" y="93840"/>
                </a:lnTo>
                <a:lnTo>
                  <a:pt x="182890" y="93478"/>
                </a:lnTo>
                <a:lnTo>
                  <a:pt x="183280" y="94964"/>
                </a:lnTo>
                <a:lnTo>
                  <a:pt x="184461" y="96241"/>
                </a:lnTo>
                <a:lnTo>
                  <a:pt x="182366" y="96974"/>
                </a:lnTo>
                <a:lnTo>
                  <a:pt x="180270" y="96936"/>
                </a:lnTo>
                <a:lnTo>
                  <a:pt x="174136" y="95155"/>
                </a:lnTo>
                <a:lnTo>
                  <a:pt x="172727" y="93259"/>
                </a:lnTo>
                <a:lnTo>
                  <a:pt x="176394" y="90411"/>
                </a:lnTo>
                <a:lnTo>
                  <a:pt x="177137" y="89259"/>
                </a:lnTo>
                <a:lnTo>
                  <a:pt x="174546" y="89373"/>
                </a:lnTo>
                <a:lnTo>
                  <a:pt x="171774" y="92755"/>
                </a:lnTo>
                <a:lnTo>
                  <a:pt x="167336" y="91269"/>
                </a:lnTo>
                <a:lnTo>
                  <a:pt x="165974" y="89906"/>
                </a:lnTo>
                <a:lnTo>
                  <a:pt x="165668" y="89173"/>
                </a:lnTo>
                <a:lnTo>
                  <a:pt x="167421" y="86163"/>
                </a:lnTo>
                <a:lnTo>
                  <a:pt x="170545" y="86268"/>
                </a:lnTo>
                <a:lnTo>
                  <a:pt x="172193" y="85592"/>
                </a:lnTo>
                <a:lnTo>
                  <a:pt x="174241" y="84639"/>
                </a:lnTo>
                <a:lnTo>
                  <a:pt x="174260" y="83211"/>
                </a:lnTo>
                <a:lnTo>
                  <a:pt x="179137" y="82887"/>
                </a:lnTo>
                <a:lnTo>
                  <a:pt x="180804" y="84725"/>
                </a:lnTo>
                <a:close/>
                <a:moveTo>
                  <a:pt x="113386" y="90611"/>
                </a:moveTo>
                <a:lnTo>
                  <a:pt x="112138" y="91012"/>
                </a:lnTo>
                <a:lnTo>
                  <a:pt x="113386" y="88268"/>
                </a:lnTo>
                <a:lnTo>
                  <a:pt x="115596" y="86849"/>
                </a:lnTo>
                <a:lnTo>
                  <a:pt x="114767" y="89154"/>
                </a:lnTo>
                <a:lnTo>
                  <a:pt x="113386" y="90611"/>
                </a:lnTo>
                <a:close/>
                <a:moveTo>
                  <a:pt x="110490" y="92116"/>
                </a:moveTo>
                <a:lnTo>
                  <a:pt x="109300" y="93278"/>
                </a:lnTo>
                <a:lnTo>
                  <a:pt x="107452" y="92774"/>
                </a:lnTo>
                <a:lnTo>
                  <a:pt x="105518" y="88887"/>
                </a:lnTo>
                <a:lnTo>
                  <a:pt x="110490" y="92116"/>
                </a:lnTo>
                <a:close/>
                <a:moveTo>
                  <a:pt x="100755" y="97450"/>
                </a:moveTo>
                <a:lnTo>
                  <a:pt x="102270" y="101165"/>
                </a:lnTo>
                <a:lnTo>
                  <a:pt x="103690" y="102413"/>
                </a:lnTo>
                <a:lnTo>
                  <a:pt x="106661" y="103889"/>
                </a:lnTo>
                <a:lnTo>
                  <a:pt x="108061" y="104080"/>
                </a:lnTo>
                <a:lnTo>
                  <a:pt x="113138" y="106747"/>
                </a:lnTo>
                <a:lnTo>
                  <a:pt x="119034" y="107280"/>
                </a:lnTo>
                <a:lnTo>
                  <a:pt x="119796" y="108052"/>
                </a:lnTo>
                <a:lnTo>
                  <a:pt x="120520" y="110100"/>
                </a:lnTo>
                <a:lnTo>
                  <a:pt x="121720" y="111709"/>
                </a:lnTo>
                <a:lnTo>
                  <a:pt x="122025" y="112957"/>
                </a:lnTo>
                <a:lnTo>
                  <a:pt x="121396" y="114348"/>
                </a:lnTo>
                <a:lnTo>
                  <a:pt x="122263" y="118586"/>
                </a:lnTo>
                <a:lnTo>
                  <a:pt x="123749" y="122606"/>
                </a:lnTo>
                <a:lnTo>
                  <a:pt x="125988" y="124549"/>
                </a:lnTo>
                <a:lnTo>
                  <a:pt x="128778" y="125139"/>
                </a:lnTo>
                <a:lnTo>
                  <a:pt x="131436" y="125054"/>
                </a:lnTo>
                <a:lnTo>
                  <a:pt x="132102" y="125854"/>
                </a:lnTo>
                <a:lnTo>
                  <a:pt x="131836" y="129359"/>
                </a:lnTo>
                <a:lnTo>
                  <a:pt x="130712" y="130731"/>
                </a:lnTo>
                <a:lnTo>
                  <a:pt x="129797" y="131064"/>
                </a:lnTo>
                <a:lnTo>
                  <a:pt x="129007" y="130702"/>
                </a:lnTo>
                <a:lnTo>
                  <a:pt x="128283" y="129883"/>
                </a:lnTo>
                <a:lnTo>
                  <a:pt x="127502" y="129492"/>
                </a:lnTo>
                <a:lnTo>
                  <a:pt x="125978" y="129426"/>
                </a:lnTo>
                <a:lnTo>
                  <a:pt x="124863" y="128016"/>
                </a:lnTo>
                <a:lnTo>
                  <a:pt x="122034" y="126082"/>
                </a:lnTo>
                <a:lnTo>
                  <a:pt x="121511" y="124921"/>
                </a:lnTo>
                <a:lnTo>
                  <a:pt x="121415" y="123139"/>
                </a:lnTo>
                <a:lnTo>
                  <a:pt x="120215" y="121825"/>
                </a:lnTo>
                <a:lnTo>
                  <a:pt x="119110" y="119329"/>
                </a:lnTo>
                <a:lnTo>
                  <a:pt x="118063" y="118634"/>
                </a:lnTo>
                <a:lnTo>
                  <a:pt x="117482" y="117377"/>
                </a:lnTo>
                <a:lnTo>
                  <a:pt x="117434" y="116843"/>
                </a:lnTo>
                <a:lnTo>
                  <a:pt x="113319" y="116472"/>
                </a:lnTo>
                <a:lnTo>
                  <a:pt x="109919" y="116462"/>
                </a:lnTo>
                <a:lnTo>
                  <a:pt x="107032" y="115043"/>
                </a:lnTo>
                <a:lnTo>
                  <a:pt x="106137" y="111319"/>
                </a:lnTo>
                <a:lnTo>
                  <a:pt x="104423" y="110319"/>
                </a:lnTo>
                <a:lnTo>
                  <a:pt x="103137" y="109261"/>
                </a:lnTo>
                <a:lnTo>
                  <a:pt x="102070" y="107795"/>
                </a:lnTo>
                <a:lnTo>
                  <a:pt x="99365" y="105099"/>
                </a:lnTo>
                <a:lnTo>
                  <a:pt x="96374" y="102841"/>
                </a:lnTo>
                <a:lnTo>
                  <a:pt x="93479" y="101346"/>
                </a:lnTo>
                <a:lnTo>
                  <a:pt x="90411" y="100365"/>
                </a:lnTo>
                <a:lnTo>
                  <a:pt x="87916" y="101518"/>
                </a:lnTo>
                <a:lnTo>
                  <a:pt x="86459" y="101251"/>
                </a:lnTo>
                <a:lnTo>
                  <a:pt x="86163" y="100470"/>
                </a:lnTo>
                <a:lnTo>
                  <a:pt x="89268" y="98917"/>
                </a:lnTo>
                <a:lnTo>
                  <a:pt x="93536" y="95945"/>
                </a:lnTo>
                <a:lnTo>
                  <a:pt x="96536" y="94964"/>
                </a:lnTo>
                <a:lnTo>
                  <a:pt x="97993" y="94840"/>
                </a:lnTo>
                <a:lnTo>
                  <a:pt x="100755" y="97450"/>
                </a:lnTo>
                <a:close/>
                <a:moveTo>
                  <a:pt x="134417" y="102565"/>
                </a:moveTo>
                <a:lnTo>
                  <a:pt x="131598" y="103394"/>
                </a:lnTo>
                <a:lnTo>
                  <a:pt x="130845" y="103261"/>
                </a:lnTo>
                <a:lnTo>
                  <a:pt x="131474" y="102213"/>
                </a:lnTo>
                <a:lnTo>
                  <a:pt x="131522" y="101775"/>
                </a:lnTo>
                <a:lnTo>
                  <a:pt x="128702" y="99851"/>
                </a:lnTo>
                <a:lnTo>
                  <a:pt x="129035" y="97355"/>
                </a:lnTo>
                <a:lnTo>
                  <a:pt x="129369" y="96717"/>
                </a:lnTo>
                <a:lnTo>
                  <a:pt x="131464" y="98022"/>
                </a:lnTo>
                <a:lnTo>
                  <a:pt x="131922" y="100194"/>
                </a:lnTo>
                <a:lnTo>
                  <a:pt x="134417" y="102565"/>
                </a:lnTo>
                <a:close/>
                <a:moveTo>
                  <a:pt x="27813" y="109404"/>
                </a:moveTo>
                <a:lnTo>
                  <a:pt x="26775" y="109671"/>
                </a:lnTo>
                <a:lnTo>
                  <a:pt x="25880" y="109490"/>
                </a:lnTo>
                <a:lnTo>
                  <a:pt x="25070" y="109642"/>
                </a:lnTo>
                <a:lnTo>
                  <a:pt x="24279" y="110290"/>
                </a:lnTo>
                <a:lnTo>
                  <a:pt x="24365" y="107595"/>
                </a:lnTo>
                <a:lnTo>
                  <a:pt x="25289" y="104232"/>
                </a:lnTo>
                <a:lnTo>
                  <a:pt x="26413" y="102270"/>
                </a:lnTo>
                <a:lnTo>
                  <a:pt x="28004" y="101356"/>
                </a:lnTo>
                <a:lnTo>
                  <a:pt x="28680" y="102899"/>
                </a:lnTo>
                <a:lnTo>
                  <a:pt x="28556" y="108385"/>
                </a:lnTo>
                <a:lnTo>
                  <a:pt x="27813" y="109404"/>
                </a:lnTo>
                <a:close/>
                <a:moveTo>
                  <a:pt x="172355" y="122672"/>
                </a:moveTo>
                <a:lnTo>
                  <a:pt x="169802" y="124587"/>
                </a:lnTo>
                <a:lnTo>
                  <a:pt x="166954" y="121815"/>
                </a:lnTo>
                <a:lnTo>
                  <a:pt x="166488" y="120920"/>
                </a:lnTo>
                <a:lnTo>
                  <a:pt x="168583" y="119796"/>
                </a:lnTo>
                <a:lnTo>
                  <a:pt x="169622" y="118072"/>
                </a:lnTo>
                <a:lnTo>
                  <a:pt x="168783" y="115948"/>
                </a:lnTo>
                <a:lnTo>
                  <a:pt x="165878" y="112805"/>
                </a:lnTo>
                <a:lnTo>
                  <a:pt x="165735" y="110576"/>
                </a:lnTo>
                <a:lnTo>
                  <a:pt x="170183" y="109633"/>
                </a:lnTo>
                <a:lnTo>
                  <a:pt x="172803" y="111576"/>
                </a:lnTo>
                <a:lnTo>
                  <a:pt x="174136" y="111709"/>
                </a:lnTo>
                <a:lnTo>
                  <a:pt x="173622" y="113567"/>
                </a:lnTo>
                <a:lnTo>
                  <a:pt x="173850" y="114167"/>
                </a:lnTo>
                <a:lnTo>
                  <a:pt x="174050" y="119787"/>
                </a:lnTo>
                <a:lnTo>
                  <a:pt x="172812" y="120577"/>
                </a:lnTo>
                <a:lnTo>
                  <a:pt x="172612" y="122120"/>
                </a:lnTo>
                <a:lnTo>
                  <a:pt x="172355" y="122672"/>
                </a:lnTo>
                <a:close/>
                <a:moveTo>
                  <a:pt x="29728" y="118901"/>
                </a:moveTo>
                <a:lnTo>
                  <a:pt x="28403" y="119272"/>
                </a:lnTo>
                <a:lnTo>
                  <a:pt x="26727" y="116024"/>
                </a:lnTo>
                <a:lnTo>
                  <a:pt x="26118" y="113776"/>
                </a:lnTo>
                <a:lnTo>
                  <a:pt x="26823" y="113652"/>
                </a:lnTo>
                <a:lnTo>
                  <a:pt x="27490" y="113910"/>
                </a:lnTo>
                <a:lnTo>
                  <a:pt x="28194" y="114757"/>
                </a:lnTo>
                <a:lnTo>
                  <a:pt x="28194" y="115624"/>
                </a:lnTo>
                <a:lnTo>
                  <a:pt x="28480" y="116557"/>
                </a:lnTo>
                <a:lnTo>
                  <a:pt x="29213" y="117672"/>
                </a:lnTo>
                <a:lnTo>
                  <a:pt x="29728" y="118901"/>
                </a:lnTo>
                <a:close/>
                <a:moveTo>
                  <a:pt x="25822" y="117072"/>
                </a:moveTo>
                <a:lnTo>
                  <a:pt x="26156" y="120996"/>
                </a:lnTo>
                <a:lnTo>
                  <a:pt x="28042" y="121729"/>
                </a:lnTo>
                <a:lnTo>
                  <a:pt x="30547" y="125254"/>
                </a:lnTo>
                <a:lnTo>
                  <a:pt x="30337" y="127054"/>
                </a:lnTo>
                <a:lnTo>
                  <a:pt x="29813" y="127673"/>
                </a:lnTo>
                <a:lnTo>
                  <a:pt x="25661" y="126006"/>
                </a:lnTo>
                <a:lnTo>
                  <a:pt x="24670" y="126759"/>
                </a:lnTo>
                <a:lnTo>
                  <a:pt x="23460" y="126454"/>
                </a:lnTo>
                <a:lnTo>
                  <a:pt x="22708" y="124501"/>
                </a:lnTo>
                <a:lnTo>
                  <a:pt x="22793" y="123816"/>
                </a:lnTo>
                <a:lnTo>
                  <a:pt x="22117" y="122644"/>
                </a:lnTo>
                <a:lnTo>
                  <a:pt x="21546" y="122120"/>
                </a:lnTo>
                <a:lnTo>
                  <a:pt x="19917" y="123673"/>
                </a:lnTo>
                <a:lnTo>
                  <a:pt x="18888" y="123958"/>
                </a:lnTo>
                <a:lnTo>
                  <a:pt x="18888" y="122539"/>
                </a:lnTo>
                <a:lnTo>
                  <a:pt x="20403" y="118634"/>
                </a:lnTo>
                <a:lnTo>
                  <a:pt x="21107" y="117977"/>
                </a:lnTo>
                <a:lnTo>
                  <a:pt x="22346" y="119262"/>
                </a:lnTo>
                <a:lnTo>
                  <a:pt x="23365" y="118786"/>
                </a:lnTo>
                <a:lnTo>
                  <a:pt x="24136" y="116672"/>
                </a:lnTo>
                <a:lnTo>
                  <a:pt x="24184" y="114567"/>
                </a:lnTo>
                <a:lnTo>
                  <a:pt x="24537" y="113948"/>
                </a:lnTo>
                <a:lnTo>
                  <a:pt x="25822" y="117072"/>
                </a:lnTo>
                <a:close/>
                <a:moveTo>
                  <a:pt x="104375" y="132560"/>
                </a:moveTo>
                <a:lnTo>
                  <a:pt x="103318" y="133388"/>
                </a:lnTo>
                <a:lnTo>
                  <a:pt x="102127" y="133350"/>
                </a:lnTo>
                <a:lnTo>
                  <a:pt x="101279" y="133045"/>
                </a:lnTo>
                <a:lnTo>
                  <a:pt x="100861" y="132379"/>
                </a:lnTo>
                <a:lnTo>
                  <a:pt x="101385" y="132064"/>
                </a:lnTo>
                <a:lnTo>
                  <a:pt x="102004" y="130721"/>
                </a:lnTo>
                <a:lnTo>
                  <a:pt x="102575" y="130359"/>
                </a:lnTo>
                <a:lnTo>
                  <a:pt x="103423" y="130531"/>
                </a:lnTo>
                <a:lnTo>
                  <a:pt x="103947" y="131074"/>
                </a:lnTo>
                <a:lnTo>
                  <a:pt x="104375" y="132560"/>
                </a:lnTo>
                <a:close/>
                <a:moveTo>
                  <a:pt x="142885" y="138160"/>
                </a:moveTo>
                <a:lnTo>
                  <a:pt x="142094" y="140418"/>
                </a:lnTo>
                <a:lnTo>
                  <a:pt x="140008" y="137789"/>
                </a:lnTo>
                <a:lnTo>
                  <a:pt x="137722" y="135989"/>
                </a:lnTo>
                <a:lnTo>
                  <a:pt x="136865" y="134408"/>
                </a:lnTo>
                <a:lnTo>
                  <a:pt x="135474" y="133455"/>
                </a:lnTo>
                <a:lnTo>
                  <a:pt x="135094" y="131331"/>
                </a:lnTo>
                <a:lnTo>
                  <a:pt x="136779" y="130464"/>
                </a:lnTo>
                <a:lnTo>
                  <a:pt x="137503" y="130378"/>
                </a:lnTo>
                <a:lnTo>
                  <a:pt x="139237" y="132960"/>
                </a:lnTo>
                <a:lnTo>
                  <a:pt x="141942" y="133255"/>
                </a:lnTo>
                <a:lnTo>
                  <a:pt x="141732" y="134846"/>
                </a:lnTo>
                <a:lnTo>
                  <a:pt x="142590" y="136893"/>
                </a:lnTo>
                <a:lnTo>
                  <a:pt x="142885" y="138160"/>
                </a:lnTo>
                <a:close/>
                <a:moveTo>
                  <a:pt x="33204" y="136627"/>
                </a:moveTo>
                <a:lnTo>
                  <a:pt x="36024" y="139903"/>
                </a:lnTo>
                <a:lnTo>
                  <a:pt x="33747" y="139094"/>
                </a:lnTo>
                <a:lnTo>
                  <a:pt x="31328" y="141361"/>
                </a:lnTo>
                <a:lnTo>
                  <a:pt x="28261" y="138713"/>
                </a:lnTo>
                <a:lnTo>
                  <a:pt x="26423" y="136027"/>
                </a:lnTo>
                <a:lnTo>
                  <a:pt x="26013" y="134950"/>
                </a:lnTo>
                <a:lnTo>
                  <a:pt x="27937" y="132436"/>
                </a:lnTo>
                <a:lnTo>
                  <a:pt x="29728" y="135017"/>
                </a:lnTo>
                <a:lnTo>
                  <a:pt x="31899" y="135427"/>
                </a:lnTo>
                <a:lnTo>
                  <a:pt x="33204" y="136627"/>
                </a:lnTo>
                <a:close/>
                <a:moveTo>
                  <a:pt x="191881" y="136417"/>
                </a:moveTo>
                <a:lnTo>
                  <a:pt x="195168" y="137531"/>
                </a:lnTo>
                <a:lnTo>
                  <a:pt x="196082" y="137408"/>
                </a:lnTo>
                <a:lnTo>
                  <a:pt x="197634" y="137808"/>
                </a:lnTo>
                <a:lnTo>
                  <a:pt x="198044" y="139846"/>
                </a:lnTo>
                <a:lnTo>
                  <a:pt x="195987" y="140141"/>
                </a:lnTo>
                <a:lnTo>
                  <a:pt x="192424" y="142018"/>
                </a:lnTo>
                <a:lnTo>
                  <a:pt x="190910" y="141608"/>
                </a:lnTo>
                <a:lnTo>
                  <a:pt x="189100" y="139980"/>
                </a:lnTo>
                <a:lnTo>
                  <a:pt x="186224" y="139808"/>
                </a:lnTo>
                <a:lnTo>
                  <a:pt x="185376" y="139360"/>
                </a:lnTo>
                <a:lnTo>
                  <a:pt x="186919" y="137436"/>
                </a:lnTo>
                <a:lnTo>
                  <a:pt x="189719" y="136465"/>
                </a:lnTo>
                <a:lnTo>
                  <a:pt x="191881" y="136417"/>
                </a:lnTo>
                <a:close/>
                <a:moveTo>
                  <a:pt x="125892" y="144304"/>
                </a:moveTo>
                <a:lnTo>
                  <a:pt x="124102" y="145933"/>
                </a:lnTo>
                <a:lnTo>
                  <a:pt x="123797" y="143485"/>
                </a:lnTo>
                <a:lnTo>
                  <a:pt x="124949" y="140903"/>
                </a:lnTo>
                <a:lnTo>
                  <a:pt x="126521" y="140741"/>
                </a:lnTo>
                <a:lnTo>
                  <a:pt x="127102" y="141875"/>
                </a:lnTo>
                <a:lnTo>
                  <a:pt x="125892" y="144304"/>
                </a:lnTo>
                <a:close/>
                <a:moveTo>
                  <a:pt x="149952" y="143542"/>
                </a:moveTo>
                <a:lnTo>
                  <a:pt x="148962" y="145713"/>
                </a:lnTo>
                <a:lnTo>
                  <a:pt x="147295" y="145380"/>
                </a:lnTo>
                <a:lnTo>
                  <a:pt x="144504" y="143047"/>
                </a:lnTo>
                <a:lnTo>
                  <a:pt x="143552" y="141989"/>
                </a:lnTo>
                <a:lnTo>
                  <a:pt x="143028" y="140951"/>
                </a:lnTo>
                <a:lnTo>
                  <a:pt x="144171" y="140827"/>
                </a:lnTo>
                <a:lnTo>
                  <a:pt x="145571" y="141932"/>
                </a:lnTo>
                <a:lnTo>
                  <a:pt x="149143" y="142513"/>
                </a:lnTo>
                <a:lnTo>
                  <a:pt x="149952" y="143542"/>
                </a:lnTo>
                <a:close/>
                <a:moveTo>
                  <a:pt x="170622" y="145904"/>
                </a:moveTo>
                <a:lnTo>
                  <a:pt x="169374" y="146037"/>
                </a:lnTo>
                <a:lnTo>
                  <a:pt x="169755" y="144694"/>
                </a:lnTo>
                <a:lnTo>
                  <a:pt x="172145" y="142361"/>
                </a:lnTo>
                <a:lnTo>
                  <a:pt x="175499" y="142247"/>
                </a:lnTo>
                <a:lnTo>
                  <a:pt x="178546" y="141075"/>
                </a:lnTo>
                <a:lnTo>
                  <a:pt x="179232" y="141037"/>
                </a:lnTo>
                <a:lnTo>
                  <a:pt x="177775" y="142875"/>
                </a:lnTo>
                <a:lnTo>
                  <a:pt x="175317" y="144590"/>
                </a:lnTo>
                <a:lnTo>
                  <a:pt x="170622" y="145904"/>
                </a:lnTo>
                <a:close/>
                <a:moveTo>
                  <a:pt x="153877" y="149600"/>
                </a:moveTo>
                <a:lnTo>
                  <a:pt x="151315" y="149809"/>
                </a:lnTo>
                <a:lnTo>
                  <a:pt x="151467" y="147247"/>
                </a:lnTo>
                <a:lnTo>
                  <a:pt x="152419" y="146580"/>
                </a:lnTo>
                <a:lnTo>
                  <a:pt x="155486" y="147857"/>
                </a:lnTo>
                <a:lnTo>
                  <a:pt x="155334" y="148657"/>
                </a:lnTo>
                <a:lnTo>
                  <a:pt x="153877" y="149600"/>
                </a:lnTo>
                <a:close/>
                <a:moveTo>
                  <a:pt x="141590" y="147104"/>
                </a:moveTo>
                <a:lnTo>
                  <a:pt x="141456" y="150581"/>
                </a:lnTo>
                <a:lnTo>
                  <a:pt x="140751" y="150552"/>
                </a:lnTo>
                <a:lnTo>
                  <a:pt x="140341" y="150019"/>
                </a:lnTo>
                <a:lnTo>
                  <a:pt x="140322" y="148685"/>
                </a:lnTo>
                <a:lnTo>
                  <a:pt x="140627" y="146590"/>
                </a:lnTo>
                <a:lnTo>
                  <a:pt x="141590" y="147104"/>
                </a:lnTo>
                <a:close/>
                <a:moveTo>
                  <a:pt x="128026" y="152105"/>
                </a:moveTo>
                <a:lnTo>
                  <a:pt x="126502" y="153124"/>
                </a:lnTo>
                <a:lnTo>
                  <a:pt x="127007" y="150800"/>
                </a:lnTo>
                <a:lnTo>
                  <a:pt x="126254" y="149590"/>
                </a:lnTo>
                <a:lnTo>
                  <a:pt x="126921" y="148562"/>
                </a:lnTo>
                <a:lnTo>
                  <a:pt x="127902" y="147733"/>
                </a:lnTo>
                <a:lnTo>
                  <a:pt x="128359" y="148590"/>
                </a:lnTo>
                <a:lnTo>
                  <a:pt x="129236" y="149981"/>
                </a:lnTo>
                <a:lnTo>
                  <a:pt x="128026" y="152105"/>
                </a:lnTo>
                <a:close/>
                <a:moveTo>
                  <a:pt x="130369" y="159439"/>
                </a:moveTo>
                <a:lnTo>
                  <a:pt x="129378" y="159944"/>
                </a:lnTo>
                <a:lnTo>
                  <a:pt x="127731" y="159210"/>
                </a:lnTo>
                <a:lnTo>
                  <a:pt x="128169" y="157382"/>
                </a:lnTo>
                <a:lnTo>
                  <a:pt x="129312" y="156601"/>
                </a:lnTo>
                <a:lnTo>
                  <a:pt x="130521" y="157201"/>
                </a:lnTo>
                <a:lnTo>
                  <a:pt x="130702" y="158029"/>
                </a:lnTo>
                <a:lnTo>
                  <a:pt x="130369" y="159439"/>
                </a:lnTo>
                <a:close/>
                <a:moveTo>
                  <a:pt x="157705" y="164697"/>
                </a:moveTo>
                <a:lnTo>
                  <a:pt x="155324" y="165954"/>
                </a:lnTo>
                <a:lnTo>
                  <a:pt x="153696" y="164135"/>
                </a:lnTo>
                <a:lnTo>
                  <a:pt x="152791" y="161268"/>
                </a:lnTo>
                <a:lnTo>
                  <a:pt x="157153" y="157058"/>
                </a:lnTo>
                <a:lnTo>
                  <a:pt x="158201" y="157439"/>
                </a:lnTo>
                <a:lnTo>
                  <a:pt x="158830" y="158525"/>
                </a:lnTo>
                <a:lnTo>
                  <a:pt x="158735" y="162306"/>
                </a:lnTo>
                <a:lnTo>
                  <a:pt x="157705" y="164697"/>
                </a:lnTo>
                <a:close/>
                <a:moveTo>
                  <a:pt x="150572" y="161335"/>
                </a:moveTo>
                <a:lnTo>
                  <a:pt x="148447" y="163906"/>
                </a:lnTo>
                <a:lnTo>
                  <a:pt x="146676" y="163630"/>
                </a:lnTo>
                <a:lnTo>
                  <a:pt x="145933" y="162449"/>
                </a:lnTo>
                <a:lnTo>
                  <a:pt x="147028" y="160030"/>
                </a:lnTo>
                <a:lnTo>
                  <a:pt x="149400" y="158658"/>
                </a:lnTo>
                <a:lnTo>
                  <a:pt x="150476" y="159020"/>
                </a:lnTo>
                <a:lnTo>
                  <a:pt x="150372" y="160811"/>
                </a:lnTo>
                <a:lnTo>
                  <a:pt x="150572" y="161335"/>
                </a:lnTo>
                <a:close/>
                <a:moveTo>
                  <a:pt x="197101" y="164973"/>
                </a:moveTo>
                <a:lnTo>
                  <a:pt x="194434" y="165430"/>
                </a:lnTo>
                <a:lnTo>
                  <a:pt x="194910" y="162782"/>
                </a:lnTo>
                <a:lnTo>
                  <a:pt x="193606" y="160696"/>
                </a:lnTo>
                <a:lnTo>
                  <a:pt x="195682" y="161868"/>
                </a:lnTo>
                <a:lnTo>
                  <a:pt x="197006" y="163278"/>
                </a:lnTo>
                <a:lnTo>
                  <a:pt x="197654" y="163544"/>
                </a:lnTo>
                <a:lnTo>
                  <a:pt x="197501" y="164392"/>
                </a:lnTo>
                <a:lnTo>
                  <a:pt x="197101" y="164973"/>
                </a:lnTo>
                <a:close/>
                <a:moveTo>
                  <a:pt x="135655" y="166230"/>
                </a:moveTo>
                <a:lnTo>
                  <a:pt x="135170" y="166373"/>
                </a:lnTo>
                <a:lnTo>
                  <a:pt x="134464" y="164973"/>
                </a:lnTo>
                <a:lnTo>
                  <a:pt x="134322" y="163668"/>
                </a:lnTo>
                <a:lnTo>
                  <a:pt x="134598" y="162897"/>
                </a:lnTo>
                <a:lnTo>
                  <a:pt x="135522" y="162821"/>
                </a:lnTo>
                <a:lnTo>
                  <a:pt x="136779" y="165306"/>
                </a:lnTo>
                <a:lnTo>
                  <a:pt x="135655" y="166230"/>
                </a:lnTo>
                <a:close/>
                <a:moveTo>
                  <a:pt x="166078" y="170583"/>
                </a:moveTo>
                <a:lnTo>
                  <a:pt x="163716" y="170860"/>
                </a:lnTo>
                <a:lnTo>
                  <a:pt x="162963" y="170612"/>
                </a:lnTo>
                <a:lnTo>
                  <a:pt x="164402" y="170041"/>
                </a:lnTo>
                <a:lnTo>
                  <a:pt x="165402" y="169431"/>
                </a:lnTo>
                <a:lnTo>
                  <a:pt x="165888" y="168697"/>
                </a:lnTo>
                <a:lnTo>
                  <a:pt x="168279" y="167402"/>
                </a:lnTo>
                <a:lnTo>
                  <a:pt x="169850" y="165706"/>
                </a:lnTo>
                <a:lnTo>
                  <a:pt x="171555" y="166859"/>
                </a:lnTo>
                <a:lnTo>
                  <a:pt x="169422" y="167630"/>
                </a:lnTo>
                <a:lnTo>
                  <a:pt x="166078" y="170583"/>
                </a:lnTo>
                <a:close/>
                <a:moveTo>
                  <a:pt x="195225" y="172688"/>
                </a:moveTo>
                <a:lnTo>
                  <a:pt x="194396" y="172726"/>
                </a:lnTo>
                <a:lnTo>
                  <a:pt x="195386" y="171126"/>
                </a:lnTo>
                <a:lnTo>
                  <a:pt x="198206" y="168926"/>
                </a:lnTo>
                <a:lnTo>
                  <a:pt x="202311" y="166983"/>
                </a:lnTo>
                <a:lnTo>
                  <a:pt x="203673" y="166773"/>
                </a:lnTo>
                <a:lnTo>
                  <a:pt x="205988" y="167973"/>
                </a:lnTo>
                <a:lnTo>
                  <a:pt x="201740" y="169964"/>
                </a:lnTo>
                <a:lnTo>
                  <a:pt x="200606" y="171012"/>
                </a:lnTo>
                <a:lnTo>
                  <a:pt x="197472" y="171240"/>
                </a:lnTo>
                <a:lnTo>
                  <a:pt x="195225" y="172688"/>
                </a:lnTo>
                <a:close/>
                <a:moveTo>
                  <a:pt x="153314" y="174450"/>
                </a:moveTo>
                <a:lnTo>
                  <a:pt x="152848" y="174974"/>
                </a:lnTo>
                <a:lnTo>
                  <a:pt x="150829" y="172879"/>
                </a:lnTo>
                <a:lnTo>
                  <a:pt x="150057" y="171660"/>
                </a:lnTo>
                <a:lnTo>
                  <a:pt x="151019" y="170640"/>
                </a:lnTo>
                <a:lnTo>
                  <a:pt x="153991" y="173022"/>
                </a:lnTo>
                <a:lnTo>
                  <a:pt x="153314" y="174450"/>
                </a:lnTo>
                <a:close/>
                <a:moveTo>
                  <a:pt x="130702" y="171469"/>
                </a:moveTo>
                <a:lnTo>
                  <a:pt x="130750" y="173422"/>
                </a:lnTo>
                <a:lnTo>
                  <a:pt x="130559" y="174117"/>
                </a:lnTo>
                <a:lnTo>
                  <a:pt x="125092" y="175060"/>
                </a:lnTo>
                <a:lnTo>
                  <a:pt x="125597" y="172822"/>
                </a:lnTo>
                <a:lnTo>
                  <a:pt x="125930" y="172117"/>
                </a:lnTo>
                <a:lnTo>
                  <a:pt x="127740" y="173155"/>
                </a:lnTo>
                <a:lnTo>
                  <a:pt x="128407" y="172622"/>
                </a:lnTo>
                <a:lnTo>
                  <a:pt x="128674" y="172012"/>
                </a:lnTo>
                <a:lnTo>
                  <a:pt x="130702" y="171469"/>
                </a:lnTo>
                <a:close/>
                <a:moveTo>
                  <a:pt x="219570" y="178432"/>
                </a:moveTo>
                <a:lnTo>
                  <a:pt x="218990" y="178956"/>
                </a:lnTo>
                <a:lnTo>
                  <a:pt x="217647" y="177441"/>
                </a:lnTo>
                <a:lnTo>
                  <a:pt x="217580" y="176651"/>
                </a:lnTo>
                <a:lnTo>
                  <a:pt x="218951" y="175746"/>
                </a:lnTo>
                <a:lnTo>
                  <a:pt x="219637" y="175536"/>
                </a:lnTo>
                <a:lnTo>
                  <a:pt x="219837" y="176156"/>
                </a:lnTo>
                <a:lnTo>
                  <a:pt x="219818" y="177479"/>
                </a:lnTo>
                <a:lnTo>
                  <a:pt x="219570" y="178432"/>
                </a:lnTo>
                <a:close/>
                <a:moveTo>
                  <a:pt x="182156" y="177394"/>
                </a:moveTo>
                <a:lnTo>
                  <a:pt x="180042" y="178184"/>
                </a:lnTo>
                <a:lnTo>
                  <a:pt x="178699" y="179851"/>
                </a:lnTo>
                <a:lnTo>
                  <a:pt x="177061" y="178670"/>
                </a:lnTo>
                <a:lnTo>
                  <a:pt x="177061" y="177070"/>
                </a:lnTo>
                <a:lnTo>
                  <a:pt x="178851" y="177565"/>
                </a:lnTo>
                <a:lnTo>
                  <a:pt x="180108" y="176660"/>
                </a:lnTo>
                <a:lnTo>
                  <a:pt x="179727" y="175641"/>
                </a:lnTo>
                <a:lnTo>
                  <a:pt x="181099" y="176117"/>
                </a:lnTo>
                <a:lnTo>
                  <a:pt x="182156" y="177394"/>
                </a:lnTo>
                <a:close/>
                <a:moveTo>
                  <a:pt x="156010" y="183775"/>
                </a:moveTo>
                <a:lnTo>
                  <a:pt x="154772" y="185519"/>
                </a:lnTo>
                <a:lnTo>
                  <a:pt x="153019" y="184899"/>
                </a:lnTo>
                <a:lnTo>
                  <a:pt x="153734" y="184242"/>
                </a:lnTo>
                <a:lnTo>
                  <a:pt x="154153" y="183385"/>
                </a:lnTo>
                <a:lnTo>
                  <a:pt x="154200" y="182147"/>
                </a:lnTo>
                <a:lnTo>
                  <a:pt x="153724" y="181385"/>
                </a:lnTo>
                <a:lnTo>
                  <a:pt x="154048" y="181108"/>
                </a:lnTo>
                <a:lnTo>
                  <a:pt x="155610" y="182385"/>
                </a:lnTo>
                <a:lnTo>
                  <a:pt x="156010" y="183775"/>
                </a:lnTo>
                <a:close/>
                <a:moveTo>
                  <a:pt x="219104" y="199044"/>
                </a:moveTo>
                <a:lnTo>
                  <a:pt x="217180" y="199739"/>
                </a:lnTo>
                <a:lnTo>
                  <a:pt x="216513" y="199654"/>
                </a:lnTo>
                <a:lnTo>
                  <a:pt x="215713" y="198130"/>
                </a:lnTo>
                <a:lnTo>
                  <a:pt x="216827" y="194453"/>
                </a:lnTo>
                <a:lnTo>
                  <a:pt x="215798" y="192081"/>
                </a:lnTo>
                <a:lnTo>
                  <a:pt x="215732" y="191081"/>
                </a:lnTo>
                <a:lnTo>
                  <a:pt x="217294" y="189690"/>
                </a:lnTo>
                <a:lnTo>
                  <a:pt x="218380" y="187605"/>
                </a:lnTo>
                <a:lnTo>
                  <a:pt x="221028" y="185347"/>
                </a:lnTo>
                <a:lnTo>
                  <a:pt x="227895" y="182671"/>
                </a:lnTo>
                <a:lnTo>
                  <a:pt x="229505" y="182423"/>
                </a:lnTo>
                <a:lnTo>
                  <a:pt x="229458" y="184518"/>
                </a:lnTo>
                <a:lnTo>
                  <a:pt x="227162" y="189814"/>
                </a:lnTo>
                <a:lnTo>
                  <a:pt x="225123" y="192462"/>
                </a:lnTo>
                <a:lnTo>
                  <a:pt x="225666" y="194577"/>
                </a:lnTo>
                <a:lnTo>
                  <a:pt x="222399" y="195167"/>
                </a:lnTo>
                <a:lnTo>
                  <a:pt x="219104" y="199044"/>
                </a:lnTo>
                <a:close/>
                <a:moveTo>
                  <a:pt x="91088" y="190472"/>
                </a:moveTo>
                <a:lnTo>
                  <a:pt x="90774" y="191900"/>
                </a:lnTo>
                <a:lnTo>
                  <a:pt x="88021" y="190919"/>
                </a:lnTo>
                <a:lnTo>
                  <a:pt x="87259" y="189443"/>
                </a:lnTo>
                <a:lnTo>
                  <a:pt x="87116" y="186166"/>
                </a:lnTo>
                <a:lnTo>
                  <a:pt x="87840" y="184566"/>
                </a:lnTo>
                <a:lnTo>
                  <a:pt x="88316" y="184061"/>
                </a:lnTo>
                <a:lnTo>
                  <a:pt x="89583" y="185909"/>
                </a:lnTo>
                <a:lnTo>
                  <a:pt x="92240" y="188605"/>
                </a:lnTo>
                <a:lnTo>
                  <a:pt x="91088" y="190472"/>
                </a:lnTo>
                <a:close/>
                <a:moveTo>
                  <a:pt x="201282" y="214256"/>
                </a:moveTo>
                <a:lnTo>
                  <a:pt x="200263" y="216094"/>
                </a:lnTo>
                <a:lnTo>
                  <a:pt x="199225" y="214541"/>
                </a:lnTo>
                <a:lnTo>
                  <a:pt x="199673" y="212750"/>
                </a:lnTo>
                <a:lnTo>
                  <a:pt x="198473" y="209921"/>
                </a:lnTo>
                <a:lnTo>
                  <a:pt x="200749" y="205712"/>
                </a:lnTo>
                <a:lnTo>
                  <a:pt x="200797" y="203664"/>
                </a:lnTo>
                <a:lnTo>
                  <a:pt x="202540" y="202616"/>
                </a:lnTo>
                <a:lnTo>
                  <a:pt x="202112" y="206093"/>
                </a:lnTo>
                <a:lnTo>
                  <a:pt x="200778" y="208874"/>
                </a:lnTo>
                <a:lnTo>
                  <a:pt x="202159" y="211188"/>
                </a:lnTo>
                <a:lnTo>
                  <a:pt x="202816" y="213817"/>
                </a:lnTo>
                <a:lnTo>
                  <a:pt x="201282" y="214256"/>
                </a:lnTo>
                <a:close/>
                <a:moveTo>
                  <a:pt x="112433" y="211960"/>
                </a:moveTo>
                <a:lnTo>
                  <a:pt x="114262" y="212198"/>
                </a:lnTo>
                <a:lnTo>
                  <a:pt x="116739" y="212160"/>
                </a:lnTo>
                <a:lnTo>
                  <a:pt x="117300" y="211960"/>
                </a:lnTo>
                <a:lnTo>
                  <a:pt x="118882" y="210045"/>
                </a:lnTo>
                <a:lnTo>
                  <a:pt x="120825" y="210007"/>
                </a:lnTo>
                <a:lnTo>
                  <a:pt x="121673" y="211893"/>
                </a:lnTo>
                <a:lnTo>
                  <a:pt x="119701" y="212760"/>
                </a:lnTo>
                <a:lnTo>
                  <a:pt x="119301" y="213255"/>
                </a:lnTo>
                <a:lnTo>
                  <a:pt x="119682" y="213655"/>
                </a:lnTo>
                <a:lnTo>
                  <a:pt x="121158" y="214446"/>
                </a:lnTo>
                <a:lnTo>
                  <a:pt x="123216" y="214151"/>
                </a:lnTo>
                <a:lnTo>
                  <a:pt x="123273" y="215637"/>
                </a:lnTo>
                <a:lnTo>
                  <a:pt x="123730" y="216846"/>
                </a:lnTo>
                <a:lnTo>
                  <a:pt x="124739" y="217570"/>
                </a:lnTo>
                <a:lnTo>
                  <a:pt x="125845" y="217713"/>
                </a:lnTo>
                <a:lnTo>
                  <a:pt x="128274" y="217504"/>
                </a:lnTo>
                <a:lnTo>
                  <a:pt x="130664" y="217027"/>
                </a:lnTo>
                <a:lnTo>
                  <a:pt x="133131" y="216075"/>
                </a:lnTo>
                <a:lnTo>
                  <a:pt x="135655" y="215589"/>
                </a:lnTo>
                <a:lnTo>
                  <a:pt x="143190" y="216075"/>
                </a:lnTo>
                <a:lnTo>
                  <a:pt x="145895" y="218132"/>
                </a:lnTo>
                <a:lnTo>
                  <a:pt x="151048" y="218380"/>
                </a:lnTo>
                <a:lnTo>
                  <a:pt x="155829" y="219466"/>
                </a:lnTo>
                <a:lnTo>
                  <a:pt x="158344" y="218751"/>
                </a:lnTo>
                <a:lnTo>
                  <a:pt x="162639" y="218084"/>
                </a:lnTo>
                <a:lnTo>
                  <a:pt x="163326" y="218808"/>
                </a:lnTo>
                <a:lnTo>
                  <a:pt x="162773" y="223447"/>
                </a:lnTo>
                <a:lnTo>
                  <a:pt x="163039" y="224800"/>
                </a:lnTo>
                <a:lnTo>
                  <a:pt x="164278" y="225447"/>
                </a:lnTo>
                <a:lnTo>
                  <a:pt x="165497" y="225133"/>
                </a:lnTo>
                <a:lnTo>
                  <a:pt x="167002" y="223609"/>
                </a:lnTo>
                <a:lnTo>
                  <a:pt x="170602" y="222437"/>
                </a:lnTo>
                <a:lnTo>
                  <a:pt x="174336" y="222437"/>
                </a:lnTo>
                <a:lnTo>
                  <a:pt x="177489" y="219351"/>
                </a:lnTo>
                <a:lnTo>
                  <a:pt x="178413" y="219170"/>
                </a:lnTo>
                <a:lnTo>
                  <a:pt x="177832" y="220685"/>
                </a:lnTo>
                <a:lnTo>
                  <a:pt x="177355" y="224247"/>
                </a:lnTo>
                <a:lnTo>
                  <a:pt x="176689" y="226333"/>
                </a:lnTo>
                <a:lnTo>
                  <a:pt x="176384" y="227972"/>
                </a:lnTo>
                <a:lnTo>
                  <a:pt x="174279" y="228819"/>
                </a:lnTo>
                <a:lnTo>
                  <a:pt x="171108" y="228962"/>
                </a:lnTo>
                <a:lnTo>
                  <a:pt x="165307" y="228600"/>
                </a:lnTo>
                <a:lnTo>
                  <a:pt x="159458" y="229181"/>
                </a:lnTo>
                <a:lnTo>
                  <a:pt x="148628" y="230743"/>
                </a:lnTo>
                <a:lnTo>
                  <a:pt x="137779" y="231543"/>
                </a:lnTo>
                <a:lnTo>
                  <a:pt x="136322" y="231019"/>
                </a:lnTo>
                <a:lnTo>
                  <a:pt x="136293" y="228953"/>
                </a:lnTo>
                <a:lnTo>
                  <a:pt x="136065" y="227524"/>
                </a:lnTo>
                <a:lnTo>
                  <a:pt x="135360" y="226524"/>
                </a:lnTo>
                <a:lnTo>
                  <a:pt x="132007" y="225666"/>
                </a:lnTo>
                <a:lnTo>
                  <a:pt x="128807" y="224200"/>
                </a:lnTo>
                <a:lnTo>
                  <a:pt x="116263" y="222199"/>
                </a:lnTo>
                <a:lnTo>
                  <a:pt x="113300" y="221409"/>
                </a:lnTo>
                <a:lnTo>
                  <a:pt x="108500" y="221818"/>
                </a:lnTo>
                <a:lnTo>
                  <a:pt x="106738" y="221761"/>
                </a:lnTo>
                <a:lnTo>
                  <a:pt x="105528" y="221047"/>
                </a:lnTo>
                <a:lnTo>
                  <a:pt x="104690" y="219808"/>
                </a:lnTo>
                <a:lnTo>
                  <a:pt x="104309" y="215875"/>
                </a:lnTo>
                <a:lnTo>
                  <a:pt x="104909" y="211979"/>
                </a:lnTo>
                <a:lnTo>
                  <a:pt x="105947" y="210950"/>
                </a:lnTo>
                <a:lnTo>
                  <a:pt x="106423" y="212122"/>
                </a:lnTo>
                <a:lnTo>
                  <a:pt x="107652" y="212665"/>
                </a:lnTo>
                <a:lnTo>
                  <a:pt x="108795" y="211484"/>
                </a:lnTo>
                <a:lnTo>
                  <a:pt x="108785" y="209693"/>
                </a:lnTo>
                <a:lnTo>
                  <a:pt x="109366" y="208036"/>
                </a:lnTo>
                <a:lnTo>
                  <a:pt x="110271" y="208731"/>
                </a:lnTo>
                <a:lnTo>
                  <a:pt x="110871" y="211284"/>
                </a:lnTo>
                <a:lnTo>
                  <a:pt x="112433" y="211960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6" name="Forme libre : forme 25">
            <a:extLst>
              <a:ext uri="{FF2B5EF4-FFF2-40B4-BE49-F238E27FC236}">
                <a16:creationId xmlns:a16="http://schemas.microsoft.com/office/drawing/2014/main" id="{B8F450DD-7863-16CE-A829-3E6CECA7950E}"/>
              </a:ext>
            </a:extLst>
          </p:cNvPr>
          <p:cNvSpPr/>
          <p:nvPr/>
        </p:nvSpPr>
        <p:spPr>
          <a:xfrm>
            <a:off x="5992745" y="3738107"/>
            <a:ext cx="205235" cy="199868"/>
          </a:xfrm>
          <a:custGeom>
            <a:avLst/>
            <a:gdLst>
              <a:gd name="connsiteX0" fmla="*/ 80239 w 157353"/>
              <a:gd name="connsiteY0" fmla="*/ 1305 h 153238"/>
              <a:gd name="connsiteX1" fmla="*/ 81677 w 157353"/>
              <a:gd name="connsiteY1" fmla="*/ 1886 h 153238"/>
              <a:gd name="connsiteX2" fmla="*/ 86439 w 157353"/>
              <a:gd name="connsiteY2" fmla="*/ 4534 h 153238"/>
              <a:gd name="connsiteX3" fmla="*/ 89735 w 157353"/>
              <a:gd name="connsiteY3" fmla="*/ 7515 h 153238"/>
              <a:gd name="connsiteX4" fmla="*/ 91564 w 157353"/>
              <a:gd name="connsiteY4" fmla="*/ 10820 h 153238"/>
              <a:gd name="connsiteX5" fmla="*/ 94040 w 157353"/>
              <a:gd name="connsiteY5" fmla="*/ 13373 h 153238"/>
              <a:gd name="connsiteX6" fmla="*/ 97164 w 157353"/>
              <a:gd name="connsiteY6" fmla="*/ 15183 h 153238"/>
              <a:gd name="connsiteX7" fmla="*/ 99641 w 157353"/>
              <a:gd name="connsiteY7" fmla="*/ 17631 h 153238"/>
              <a:gd name="connsiteX8" fmla="*/ 101470 w 157353"/>
              <a:gd name="connsiteY8" fmla="*/ 20717 h 153238"/>
              <a:gd name="connsiteX9" fmla="*/ 104032 w 157353"/>
              <a:gd name="connsiteY9" fmla="*/ 22450 h 153238"/>
              <a:gd name="connsiteX10" fmla="*/ 107318 w 157353"/>
              <a:gd name="connsiteY10" fmla="*/ 22822 h 153238"/>
              <a:gd name="connsiteX11" fmla="*/ 109394 w 157353"/>
              <a:gd name="connsiteY11" fmla="*/ 23879 h 153238"/>
              <a:gd name="connsiteX12" fmla="*/ 110271 w 157353"/>
              <a:gd name="connsiteY12" fmla="*/ 25622 h 153238"/>
              <a:gd name="connsiteX13" fmla="*/ 112062 w 157353"/>
              <a:gd name="connsiteY13" fmla="*/ 27194 h 153238"/>
              <a:gd name="connsiteX14" fmla="*/ 114758 w 157353"/>
              <a:gd name="connsiteY14" fmla="*/ 28603 h 153238"/>
              <a:gd name="connsiteX15" fmla="*/ 118939 w 157353"/>
              <a:gd name="connsiteY15" fmla="*/ 29375 h 153238"/>
              <a:gd name="connsiteX16" fmla="*/ 126959 w 157353"/>
              <a:gd name="connsiteY16" fmla="*/ 29566 h 153238"/>
              <a:gd name="connsiteX17" fmla="*/ 127673 w 157353"/>
              <a:gd name="connsiteY17" fmla="*/ 29604 h 153238"/>
              <a:gd name="connsiteX18" fmla="*/ 129483 w 157353"/>
              <a:gd name="connsiteY18" fmla="*/ 30042 h 153238"/>
              <a:gd name="connsiteX19" fmla="*/ 131597 w 157353"/>
              <a:gd name="connsiteY19" fmla="*/ 29489 h 153238"/>
              <a:gd name="connsiteX20" fmla="*/ 134179 w 157353"/>
              <a:gd name="connsiteY20" fmla="*/ 28394 h 153238"/>
              <a:gd name="connsiteX21" fmla="*/ 135007 w 157353"/>
              <a:gd name="connsiteY21" fmla="*/ 27737 h 153238"/>
              <a:gd name="connsiteX22" fmla="*/ 137713 w 157353"/>
              <a:gd name="connsiteY22" fmla="*/ 24136 h 153238"/>
              <a:gd name="connsiteX23" fmla="*/ 139208 w 157353"/>
              <a:gd name="connsiteY23" fmla="*/ 24451 h 153238"/>
              <a:gd name="connsiteX24" fmla="*/ 142180 w 157353"/>
              <a:gd name="connsiteY24" fmla="*/ 24012 h 153238"/>
              <a:gd name="connsiteX25" fmla="*/ 143980 w 157353"/>
              <a:gd name="connsiteY25" fmla="*/ 23212 h 153238"/>
              <a:gd name="connsiteX26" fmla="*/ 144113 w 157353"/>
              <a:gd name="connsiteY26" fmla="*/ 23212 h 153238"/>
              <a:gd name="connsiteX27" fmla="*/ 143999 w 157353"/>
              <a:gd name="connsiteY27" fmla="*/ 24136 h 153238"/>
              <a:gd name="connsiteX28" fmla="*/ 143799 w 157353"/>
              <a:gd name="connsiteY28" fmla="*/ 25746 h 153238"/>
              <a:gd name="connsiteX29" fmla="*/ 142342 w 157353"/>
              <a:gd name="connsiteY29" fmla="*/ 26879 h 153238"/>
              <a:gd name="connsiteX30" fmla="*/ 143818 w 157353"/>
              <a:gd name="connsiteY30" fmla="*/ 29499 h 153238"/>
              <a:gd name="connsiteX31" fmla="*/ 145228 w 157353"/>
              <a:gd name="connsiteY31" fmla="*/ 33747 h 153238"/>
              <a:gd name="connsiteX32" fmla="*/ 144437 w 157353"/>
              <a:gd name="connsiteY32" fmla="*/ 35843 h 153238"/>
              <a:gd name="connsiteX33" fmla="*/ 145399 w 157353"/>
              <a:gd name="connsiteY33" fmla="*/ 37471 h 153238"/>
              <a:gd name="connsiteX34" fmla="*/ 148104 w 157353"/>
              <a:gd name="connsiteY34" fmla="*/ 38643 h 153238"/>
              <a:gd name="connsiteX35" fmla="*/ 148352 w 157353"/>
              <a:gd name="connsiteY35" fmla="*/ 39110 h 153238"/>
              <a:gd name="connsiteX36" fmla="*/ 147524 w 157353"/>
              <a:gd name="connsiteY36" fmla="*/ 39595 h 153238"/>
              <a:gd name="connsiteX37" fmla="*/ 146838 w 157353"/>
              <a:gd name="connsiteY37" fmla="*/ 40977 h 153238"/>
              <a:gd name="connsiteX38" fmla="*/ 146761 w 157353"/>
              <a:gd name="connsiteY38" fmla="*/ 43491 h 153238"/>
              <a:gd name="connsiteX39" fmla="*/ 149123 w 157353"/>
              <a:gd name="connsiteY39" fmla="*/ 45872 h 153238"/>
              <a:gd name="connsiteX40" fmla="*/ 153924 w 157353"/>
              <a:gd name="connsiteY40" fmla="*/ 48101 h 153238"/>
              <a:gd name="connsiteX41" fmla="*/ 155457 w 157353"/>
              <a:gd name="connsiteY41" fmla="*/ 48473 h 153238"/>
              <a:gd name="connsiteX42" fmla="*/ 156048 w 157353"/>
              <a:gd name="connsiteY42" fmla="*/ 49330 h 153238"/>
              <a:gd name="connsiteX43" fmla="*/ 156848 w 157353"/>
              <a:gd name="connsiteY43" fmla="*/ 49892 h 153238"/>
              <a:gd name="connsiteX44" fmla="*/ 157325 w 157353"/>
              <a:gd name="connsiteY44" fmla="*/ 50578 h 153238"/>
              <a:gd name="connsiteX45" fmla="*/ 157353 w 157353"/>
              <a:gd name="connsiteY45" fmla="*/ 51463 h 153238"/>
              <a:gd name="connsiteX46" fmla="*/ 157001 w 157353"/>
              <a:gd name="connsiteY46" fmla="*/ 52073 h 153238"/>
              <a:gd name="connsiteX47" fmla="*/ 154724 w 157353"/>
              <a:gd name="connsiteY47" fmla="*/ 52283 h 153238"/>
              <a:gd name="connsiteX48" fmla="*/ 152133 w 157353"/>
              <a:gd name="connsiteY48" fmla="*/ 52264 h 153238"/>
              <a:gd name="connsiteX49" fmla="*/ 150286 w 157353"/>
              <a:gd name="connsiteY49" fmla="*/ 51187 h 153238"/>
              <a:gd name="connsiteX50" fmla="*/ 150114 w 157353"/>
              <a:gd name="connsiteY50" fmla="*/ 51978 h 153238"/>
              <a:gd name="connsiteX51" fmla="*/ 150086 w 157353"/>
              <a:gd name="connsiteY51" fmla="*/ 52873 h 153238"/>
              <a:gd name="connsiteX52" fmla="*/ 148295 w 157353"/>
              <a:gd name="connsiteY52" fmla="*/ 53416 h 153238"/>
              <a:gd name="connsiteX53" fmla="*/ 149286 w 157353"/>
              <a:gd name="connsiteY53" fmla="*/ 59579 h 153238"/>
              <a:gd name="connsiteX54" fmla="*/ 148885 w 157353"/>
              <a:gd name="connsiteY54" fmla="*/ 61350 h 153238"/>
              <a:gd name="connsiteX55" fmla="*/ 148228 w 157353"/>
              <a:gd name="connsiteY55" fmla="*/ 61951 h 153238"/>
              <a:gd name="connsiteX56" fmla="*/ 147618 w 157353"/>
              <a:gd name="connsiteY56" fmla="*/ 61703 h 153238"/>
              <a:gd name="connsiteX57" fmla="*/ 146866 w 157353"/>
              <a:gd name="connsiteY57" fmla="*/ 61636 h 153238"/>
              <a:gd name="connsiteX58" fmla="*/ 146495 w 157353"/>
              <a:gd name="connsiteY58" fmla="*/ 62217 h 153238"/>
              <a:gd name="connsiteX59" fmla="*/ 146809 w 157353"/>
              <a:gd name="connsiteY59" fmla="*/ 63532 h 153238"/>
              <a:gd name="connsiteX60" fmla="*/ 145047 w 157353"/>
              <a:gd name="connsiteY60" fmla="*/ 63684 h 153238"/>
              <a:gd name="connsiteX61" fmla="*/ 142247 w 157353"/>
              <a:gd name="connsiteY61" fmla="*/ 63008 h 153238"/>
              <a:gd name="connsiteX62" fmla="*/ 140961 w 157353"/>
              <a:gd name="connsiteY62" fmla="*/ 61817 h 153238"/>
              <a:gd name="connsiteX63" fmla="*/ 140741 w 157353"/>
              <a:gd name="connsiteY63" fmla="*/ 60608 h 153238"/>
              <a:gd name="connsiteX64" fmla="*/ 140722 w 157353"/>
              <a:gd name="connsiteY64" fmla="*/ 59474 h 153238"/>
              <a:gd name="connsiteX65" fmla="*/ 139827 w 157353"/>
              <a:gd name="connsiteY65" fmla="*/ 57617 h 153238"/>
              <a:gd name="connsiteX66" fmla="*/ 137598 w 157353"/>
              <a:gd name="connsiteY66" fmla="*/ 55693 h 153238"/>
              <a:gd name="connsiteX67" fmla="*/ 132941 w 157353"/>
              <a:gd name="connsiteY67" fmla="*/ 55378 h 153238"/>
              <a:gd name="connsiteX68" fmla="*/ 131216 w 157353"/>
              <a:gd name="connsiteY68" fmla="*/ 54769 h 153238"/>
              <a:gd name="connsiteX69" fmla="*/ 129435 w 157353"/>
              <a:gd name="connsiteY69" fmla="*/ 54073 h 153238"/>
              <a:gd name="connsiteX70" fmla="*/ 127492 w 157353"/>
              <a:gd name="connsiteY70" fmla="*/ 53549 h 153238"/>
              <a:gd name="connsiteX71" fmla="*/ 125702 w 157353"/>
              <a:gd name="connsiteY71" fmla="*/ 53597 h 153238"/>
              <a:gd name="connsiteX72" fmla="*/ 123540 w 157353"/>
              <a:gd name="connsiteY72" fmla="*/ 54112 h 153238"/>
              <a:gd name="connsiteX73" fmla="*/ 119768 w 157353"/>
              <a:gd name="connsiteY73" fmla="*/ 53264 h 153238"/>
              <a:gd name="connsiteX74" fmla="*/ 118491 w 157353"/>
              <a:gd name="connsiteY74" fmla="*/ 54397 h 153238"/>
              <a:gd name="connsiteX75" fmla="*/ 116510 w 157353"/>
              <a:gd name="connsiteY75" fmla="*/ 55702 h 153238"/>
              <a:gd name="connsiteX76" fmla="*/ 114862 w 157353"/>
              <a:gd name="connsiteY76" fmla="*/ 55674 h 153238"/>
              <a:gd name="connsiteX77" fmla="*/ 111586 w 157353"/>
              <a:gd name="connsiteY77" fmla="*/ 52645 h 153238"/>
              <a:gd name="connsiteX78" fmla="*/ 110604 w 157353"/>
              <a:gd name="connsiteY78" fmla="*/ 52454 h 153238"/>
              <a:gd name="connsiteX79" fmla="*/ 107738 w 157353"/>
              <a:gd name="connsiteY79" fmla="*/ 53997 h 153238"/>
              <a:gd name="connsiteX80" fmla="*/ 106566 w 157353"/>
              <a:gd name="connsiteY80" fmla="*/ 54083 h 153238"/>
              <a:gd name="connsiteX81" fmla="*/ 105670 w 157353"/>
              <a:gd name="connsiteY81" fmla="*/ 53597 h 153238"/>
              <a:gd name="connsiteX82" fmla="*/ 101794 w 157353"/>
              <a:gd name="connsiteY82" fmla="*/ 52435 h 153238"/>
              <a:gd name="connsiteX83" fmla="*/ 100041 w 157353"/>
              <a:gd name="connsiteY83" fmla="*/ 52188 h 153238"/>
              <a:gd name="connsiteX84" fmla="*/ 98755 w 157353"/>
              <a:gd name="connsiteY84" fmla="*/ 52740 h 153238"/>
              <a:gd name="connsiteX85" fmla="*/ 96479 w 157353"/>
              <a:gd name="connsiteY85" fmla="*/ 52149 h 153238"/>
              <a:gd name="connsiteX86" fmla="*/ 90954 w 157353"/>
              <a:gd name="connsiteY86" fmla="*/ 48177 h 153238"/>
              <a:gd name="connsiteX87" fmla="*/ 87535 w 157353"/>
              <a:gd name="connsiteY87" fmla="*/ 51197 h 153238"/>
              <a:gd name="connsiteX88" fmla="*/ 80582 w 157353"/>
              <a:gd name="connsiteY88" fmla="*/ 50444 h 153238"/>
              <a:gd name="connsiteX89" fmla="*/ 78514 w 157353"/>
              <a:gd name="connsiteY89" fmla="*/ 52511 h 153238"/>
              <a:gd name="connsiteX90" fmla="*/ 76152 w 157353"/>
              <a:gd name="connsiteY90" fmla="*/ 56426 h 153238"/>
              <a:gd name="connsiteX91" fmla="*/ 74238 w 157353"/>
              <a:gd name="connsiteY91" fmla="*/ 58293 h 153238"/>
              <a:gd name="connsiteX92" fmla="*/ 72571 w 157353"/>
              <a:gd name="connsiteY92" fmla="*/ 57626 h 153238"/>
              <a:gd name="connsiteX93" fmla="*/ 70599 w 157353"/>
              <a:gd name="connsiteY93" fmla="*/ 55902 h 153238"/>
              <a:gd name="connsiteX94" fmla="*/ 67151 w 157353"/>
              <a:gd name="connsiteY94" fmla="*/ 51473 h 153238"/>
              <a:gd name="connsiteX95" fmla="*/ 65408 w 157353"/>
              <a:gd name="connsiteY95" fmla="*/ 50673 h 153238"/>
              <a:gd name="connsiteX96" fmla="*/ 63408 w 157353"/>
              <a:gd name="connsiteY96" fmla="*/ 50482 h 153238"/>
              <a:gd name="connsiteX97" fmla="*/ 61665 w 157353"/>
              <a:gd name="connsiteY97" fmla="*/ 50978 h 153238"/>
              <a:gd name="connsiteX98" fmla="*/ 60732 w 157353"/>
              <a:gd name="connsiteY98" fmla="*/ 51873 h 153238"/>
              <a:gd name="connsiteX99" fmla="*/ 60017 w 157353"/>
              <a:gd name="connsiteY99" fmla="*/ 58341 h 153238"/>
              <a:gd name="connsiteX100" fmla="*/ 59388 w 157353"/>
              <a:gd name="connsiteY100" fmla="*/ 64027 h 153238"/>
              <a:gd name="connsiteX101" fmla="*/ 59350 w 157353"/>
              <a:gd name="connsiteY101" fmla="*/ 67427 h 153238"/>
              <a:gd name="connsiteX102" fmla="*/ 63179 w 157353"/>
              <a:gd name="connsiteY102" fmla="*/ 70571 h 153238"/>
              <a:gd name="connsiteX103" fmla="*/ 67704 w 157353"/>
              <a:gd name="connsiteY103" fmla="*/ 75971 h 153238"/>
              <a:gd name="connsiteX104" fmla="*/ 69152 w 157353"/>
              <a:gd name="connsiteY104" fmla="*/ 76590 h 153238"/>
              <a:gd name="connsiteX105" fmla="*/ 69875 w 157353"/>
              <a:gd name="connsiteY105" fmla="*/ 78352 h 153238"/>
              <a:gd name="connsiteX106" fmla="*/ 70933 w 157353"/>
              <a:gd name="connsiteY106" fmla="*/ 82896 h 153238"/>
              <a:gd name="connsiteX107" fmla="*/ 72124 w 157353"/>
              <a:gd name="connsiteY107" fmla="*/ 87992 h 153238"/>
              <a:gd name="connsiteX108" fmla="*/ 74419 w 157353"/>
              <a:gd name="connsiteY108" fmla="*/ 91364 h 153238"/>
              <a:gd name="connsiteX109" fmla="*/ 76486 w 157353"/>
              <a:gd name="connsiteY109" fmla="*/ 93764 h 153238"/>
              <a:gd name="connsiteX110" fmla="*/ 79010 w 157353"/>
              <a:gd name="connsiteY110" fmla="*/ 95878 h 153238"/>
              <a:gd name="connsiteX111" fmla="*/ 82182 w 157353"/>
              <a:gd name="connsiteY111" fmla="*/ 99184 h 153238"/>
              <a:gd name="connsiteX112" fmla="*/ 84773 w 157353"/>
              <a:gd name="connsiteY112" fmla="*/ 102813 h 153238"/>
              <a:gd name="connsiteX113" fmla="*/ 85458 w 157353"/>
              <a:gd name="connsiteY113" fmla="*/ 104146 h 153238"/>
              <a:gd name="connsiteX114" fmla="*/ 90497 w 157353"/>
              <a:gd name="connsiteY114" fmla="*/ 108928 h 153238"/>
              <a:gd name="connsiteX115" fmla="*/ 95384 w 157353"/>
              <a:gd name="connsiteY115" fmla="*/ 113795 h 153238"/>
              <a:gd name="connsiteX116" fmla="*/ 99746 w 157353"/>
              <a:gd name="connsiteY116" fmla="*/ 115500 h 153238"/>
              <a:gd name="connsiteX117" fmla="*/ 100432 w 157353"/>
              <a:gd name="connsiteY117" fmla="*/ 116396 h 153238"/>
              <a:gd name="connsiteX118" fmla="*/ 100470 w 157353"/>
              <a:gd name="connsiteY118" fmla="*/ 120129 h 153238"/>
              <a:gd name="connsiteX119" fmla="*/ 100946 w 157353"/>
              <a:gd name="connsiteY119" fmla="*/ 121530 h 153238"/>
              <a:gd name="connsiteX120" fmla="*/ 103861 w 157353"/>
              <a:gd name="connsiteY120" fmla="*/ 125435 h 153238"/>
              <a:gd name="connsiteX121" fmla="*/ 109814 w 157353"/>
              <a:gd name="connsiteY121" fmla="*/ 131140 h 153238"/>
              <a:gd name="connsiteX122" fmla="*/ 110500 w 157353"/>
              <a:gd name="connsiteY122" fmla="*/ 132455 h 153238"/>
              <a:gd name="connsiteX123" fmla="*/ 110700 w 157353"/>
              <a:gd name="connsiteY123" fmla="*/ 133426 h 153238"/>
              <a:gd name="connsiteX124" fmla="*/ 110319 w 157353"/>
              <a:gd name="connsiteY124" fmla="*/ 134169 h 153238"/>
              <a:gd name="connsiteX125" fmla="*/ 108757 w 157353"/>
              <a:gd name="connsiteY125" fmla="*/ 134950 h 153238"/>
              <a:gd name="connsiteX126" fmla="*/ 107480 w 157353"/>
              <a:gd name="connsiteY126" fmla="*/ 134083 h 153238"/>
              <a:gd name="connsiteX127" fmla="*/ 101937 w 157353"/>
              <a:gd name="connsiteY127" fmla="*/ 128521 h 153238"/>
              <a:gd name="connsiteX128" fmla="*/ 96574 w 157353"/>
              <a:gd name="connsiteY128" fmla="*/ 125006 h 153238"/>
              <a:gd name="connsiteX129" fmla="*/ 90526 w 157353"/>
              <a:gd name="connsiteY129" fmla="*/ 118376 h 153238"/>
              <a:gd name="connsiteX130" fmla="*/ 82429 w 157353"/>
              <a:gd name="connsiteY130" fmla="*/ 115748 h 153238"/>
              <a:gd name="connsiteX131" fmla="*/ 76914 w 157353"/>
              <a:gd name="connsiteY131" fmla="*/ 112833 h 153238"/>
              <a:gd name="connsiteX132" fmla="*/ 73571 w 157353"/>
              <a:gd name="connsiteY132" fmla="*/ 113271 h 153238"/>
              <a:gd name="connsiteX133" fmla="*/ 69885 w 157353"/>
              <a:gd name="connsiteY133" fmla="*/ 114186 h 153238"/>
              <a:gd name="connsiteX134" fmla="*/ 67609 w 157353"/>
              <a:gd name="connsiteY134" fmla="*/ 114214 h 153238"/>
              <a:gd name="connsiteX135" fmla="*/ 65990 w 157353"/>
              <a:gd name="connsiteY135" fmla="*/ 113690 h 153238"/>
              <a:gd name="connsiteX136" fmla="*/ 64846 w 157353"/>
              <a:gd name="connsiteY136" fmla="*/ 111881 h 153238"/>
              <a:gd name="connsiteX137" fmla="*/ 65018 w 157353"/>
              <a:gd name="connsiteY137" fmla="*/ 110480 h 153238"/>
              <a:gd name="connsiteX138" fmla="*/ 64818 w 157353"/>
              <a:gd name="connsiteY138" fmla="*/ 108661 h 153238"/>
              <a:gd name="connsiteX139" fmla="*/ 61589 w 157353"/>
              <a:gd name="connsiteY139" fmla="*/ 105737 h 153238"/>
              <a:gd name="connsiteX140" fmla="*/ 57178 w 157353"/>
              <a:gd name="connsiteY140" fmla="*/ 102956 h 153238"/>
              <a:gd name="connsiteX141" fmla="*/ 53007 w 157353"/>
              <a:gd name="connsiteY141" fmla="*/ 99355 h 153238"/>
              <a:gd name="connsiteX142" fmla="*/ 44625 w 157353"/>
              <a:gd name="connsiteY142" fmla="*/ 89602 h 153238"/>
              <a:gd name="connsiteX143" fmla="*/ 42939 w 157353"/>
              <a:gd name="connsiteY143" fmla="*/ 86449 h 153238"/>
              <a:gd name="connsiteX144" fmla="*/ 44587 w 157353"/>
              <a:gd name="connsiteY144" fmla="*/ 85849 h 153238"/>
              <a:gd name="connsiteX145" fmla="*/ 45834 w 157353"/>
              <a:gd name="connsiteY145" fmla="*/ 85906 h 153238"/>
              <a:gd name="connsiteX146" fmla="*/ 47244 w 157353"/>
              <a:gd name="connsiteY146" fmla="*/ 85258 h 153238"/>
              <a:gd name="connsiteX147" fmla="*/ 49530 w 157353"/>
              <a:gd name="connsiteY147" fmla="*/ 85249 h 153238"/>
              <a:gd name="connsiteX148" fmla="*/ 52235 w 157353"/>
              <a:gd name="connsiteY148" fmla="*/ 85887 h 153238"/>
              <a:gd name="connsiteX149" fmla="*/ 49845 w 157353"/>
              <a:gd name="connsiteY149" fmla="*/ 83791 h 153238"/>
              <a:gd name="connsiteX150" fmla="*/ 46863 w 157353"/>
              <a:gd name="connsiteY150" fmla="*/ 81734 h 153238"/>
              <a:gd name="connsiteX151" fmla="*/ 39148 w 157353"/>
              <a:gd name="connsiteY151" fmla="*/ 73543 h 153238"/>
              <a:gd name="connsiteX152" fmla="*/ 36843 w 157353"/>
              <a:gd name="connsiteY152" fmla="*/ 69656 h 153238"/>
              <a:gd name="connsiteX153" fmla="*/ 36576 w 157353"/>
              <a:gd name="connsiteY153" fmla="*/ 65465 h 153238"/>
              <a:gd name="connsiteX154" fmla="*/ 37148 w 157353"/>
              <a:gd name="connsiteY154" fmla="*/ 59712 h 153238"/>
              <a:gd name="connsiteX155" fmla="*/ 35757 w 157353"/>
              <a:gd name="connsiteY155" fmla="*/ 55578 h 153238"/>
              <a:gd name="connsiteX156" fmla="*/ 29804 w 157353"/>
              <a:gd name="connsiteY156" fmla="*/ 50216 h 153238"/>
              <a:gd name="connsiteX157" fmla="*/ 27623 w 157353"/>
              <a:gd name="connsiteY157" fmla="*/ 47387 h 153238"/>
              <a:gd name="connsiteX158" fmla="*/ 23232 w 157353"/>
              <a:gd name="connsiteY158" fmla="*/ 45701 h 153238"/>
              <a:gd name="connsiteX159" fmla="*/ 21260 w 157353"/>
              <a:gd name="connsiteY159" fmla="*/ 45863 h 153238"/>
              <a:gd name="connsiteX160" fmla="*/ 20079 w 157353"/>
              <a:gd name="connsiteY160" fmla="*/ 47958 h 153238"/>
              <a:gd name="connsiteX161" fmla="*/ 19222 w 157353"/>
              <a:gd name="connsiteY161" fmla="*/ 52606 h 153238"/>
              <a:gd name="connsiteX162" fmla="*/ 15326 w 157353"/>
              <a:gd name="connsiteY162" fmla="*/ 58721 h 153238"/>
              <a:gd name="connsiteX163" fmla="*/ 14031 w 157353"/>
              <a:gd name="connsiteY163" fmla="*/ 61370 h 153238"/>
              <a:gd name="connsiteX164" fmla="*/ 11992 w 157353"/>
              <a:gd name="connsiteY164" fmla="*/ 64808 h 153238"/>
              <a:gd name="connsiteX165" fmla="*/ 10220 w 157353"/>
              <a:gd name="connsiteY165" fmla="*/ 65046 h 153238"/>
              <a:gd name="connsiteX166" fmla="*/ 9182 w 157353"/>
              <a:gd name="connsiteY166" fmla="*/ 64741 h 153238"/>
              <a:gd name="connsiteX167" fmla="*/ 6020 w 157353"/>
              <a:gd name="connsiteY167" fmla="*/ 58950 h 153238"/>
              <a:gd name="connsiteX168" fmla="*/ 3000 w 157353"/>
              <a:gd name="connsiteY168" fmla="*/ 54550 h 153238"/>
              <a:gd name="connsiteX169" fmla="*/ 2581 w 157353"/>
              <a:gd name="connsiteY169" fmla="*/ 52464 h 153238"/>
              <a:gd name="connsiteX170" fmla="*/ 2305 w 157353"/>
              <a:gd name="connsiteY170" fmla="*/ 49892 h 153238"/>
              <a:gd name="connsiteX171" fmla="*/ 0 w 157353"/>
              <a:gd name="connsiteY171" fmla="*/ 40396 h 153238"/>
              <a:gd name="connsiteX172" fmla="*/ 1619 w 157353"/>
              <a:gd name="connsiteY172" fmla="*/ 39062 h 153238"/>
              <a:gd name="connsiteX173" fmla="*/ 2620 w 157353"/>
              <a:gd name="connsiteY173" fmla="*/ 40586 h 153238"/>
              <a:gd name="connsiteX174" fmla="*/ 9659 w 157353"/>
              <a:gd name="connsiteY174" fmla="*/ 42424 h 153238"/>
              <a:gd name="connsiteX175" fmla="*/ 11182 w 157353"/>
              <a:gd name="connsiteY175" fmla="*/ 41615 h 153238"/>
              <a:gd name="connsiteX176" fmla="*/ 12106 w 157353"/>
              <a:gd name="connsiteY176" fmla="*/ 40367 h 153238"/>
              <a:gd name="connsiteX177" fmla="*/ 12106 w 157353"/>
              <a:gd name="connsiteY177" fmla="*/ 39576 h 153238"/>
              <a:gd name="connsiteX178" fmla="*/ 12706 w 157353"/>
              <a:gd name="connsiteY178" fmla="*/ 39348 h 153238"/>
              <a:gd name="connsiteX179" fmla="*/ 15183 w 157353"/>
              <a:gd name="connsiteY179" fmla="*/ 40548 h 153238"/>
              <a:gd name="connsiteX180" fmla="*/ 17202 w 157353"/>
              <a:gd name="connsiteY180" fmla="*/ 40272 h 153238"/>
              <a:gd name="connsiteX181" fmla="*/ 20460 w 157353"/>
              <a:gd name="connsiteY181" fmla="*/ 40214 h 153238"/>
              <a:gd name="connsiteX182" fmla="*/ 22784 w 157353"/>
              <a:gd name="connsiteY182" fmla="*/ 40414 h 153238"/>
              <a:gd name="connsiteX183" fmla="*/ 24327 w 157353"/>
              <a:gd name="connsiteY183" fmla="*/ 39491 h 153238"/>
              <a:gd name="connsiteX184" fmla="*/ 26404 w 157353"/>
              <a:gd name="connsiteY184" fmla="*/ 36090 h 153238"/>
              <a:gd name="connsiteX185" fmla="*/ 27175 w 157353"/>
              <a:gd name="connsiteY185" fmla="*/ 34185 h 153238"/>
              <a:gd name="connsiteX186" fmla="*/ 28108 w 157353"/>
              <a:gd name="connsiteY186" fmla="*/ 33728 h 153238"/>
              <a:gd name="connsiteX187" fmla="*/ 28718 w 157353"/>
              <a:gd name="connsiteY187" fmla="*/ 33957 h 153238"/>
              <a:gd name="connsiteX188" fmla="*/ 29166 w 157353"/>
              <a:gd name="connsiteY188" fmla="*/ 35528 h 153238"/>
              <a:gd name="connsiteX189" fmla="*/ 30261 w 157353"/>
              <a:gd name="connsiteY189" fmla="*/ 36995 h 153238"/>
              <a:gd name="connsiteX190" fmla="*/ 32509 w 157353"/>
              <a:gd name="connsiteY190" fmla="*/ 39386 h 153238"/>
              <a:gd name="connsiteX191" fmla="*/ 34100 w 157353"/>
              <a:gd name="connsiteY191" fmla="*/ 40538 h 153238"/>
              <a:gd name="connsiteX192" fmla="*/ 35538 w 157353"/>
              <a:gd name="connsiteY192" fmla="*/ 40948 h 153238"/>
              <a:gd name="connsiteX193" fmla="*/ 36948 w 157353"/>
              <a:gd name="connsiteY193" fmla="*/ 39986 h 153238"/>
              <a:gd name="connsiteX194" fmla="*/ 38405 w 157353"/>
              <a:gd name="connsiteY194" fmla="*/ 39710 h 153238"/>
              <a:gd name="connsiteX195" fmla="*/ 42577 w 157353"/>
              <a:gd name="connsiteY195" fmla="*/ 41577 h 153238"/>
              <a:gd name="connsiteX196" fmla="*/ 46101 w 157353"/>
              <a:gd name="connsiteY196" fmla="*/ 41929 h 153238"/>
              <a:gd name="connsiteX197" fmla="*/ 48702 w 157353"/>
              <a:gd name="connsiteY197" fmla="*/ 40957 h 153238"/>
              <a:gd name="connsiteX198" fmla="*/ 48359 w 157353"/>
              <a:gd name="connsiteY198" fmla="*/ 39614 h 153238"/>
              <a:gd name="connsiteX199" fmla="*/ 47406 w 157353"/>
              <a:gd name="connsiteY199" fmla="*/ 38119 h 153238"/>
              <a:gd name="connsiteX200" fmla="*/ 47206 w 157353"/>
              <a:gd name="connsiteY200" fmla="*/ 36671 h 153238"/>
              <a:gd name="connsiteX201" fmla="*/ 47377 w 157353"/>
              <a:gd name="connsiteY201" fmla="*/ 35414 h 153238"/>
              <a:gd name="connsiteX202" fmla="*/ 49168 w 157353"/>
              <a:gd name="connsiteY202" fmla="*/ 34166 h 153238"/>
              <a:gd name="connsiteX203" fmla="*/ 49082 w 157353"/>
              <a:gd name="connsiteY203" fmla="*/ 33614 h 153238"/>
              <a:gd name="connsiteX204" fmla="*/ 46920 w 157353"/>
              <a:gd name="connsiteY204" fmla="*/ 31413 h 153238"/>
              <a:gd name="connsiteX205" fmla="*/ 47025 w 157353"/>
              <a:gd name="connsiteY205" fmla="*/ 30842 h 153238"/>
              <a:gd name="connsiteX206" fmla="*/ 51759 w 157353"/>
              <a:gd name="connsiteY206" fmla="*/ 28356 h 153238"/>
              <a:gd name="connsiteX207" fmla="*/ 56322 w 157353"/>
              <a:gd name="connsiteY207" fmla="*/ 26965 h 153238"/>
              <a:gd name="connsiteX208" fmla="*/ 57055 w 157353"/>
              <a:gd name="connsiteY208" fmla="*/ 25889 h 153238"/>
              <a:gd name="connsiteX209" fmla="*/ 57474 w 157353"/>
              <a:gd name="connsiteY209" fmla="*/ 24270 h 153238"/>
              <a:gd name="connsiteX210" fmla="*/ 57674 w 157353"/>
              <a:gd name="connsiteY210" fmla="*/ 21231 h 153238"/>
              <a:gd name="connsiteX211" fmla="*/ 57426 w 157353"/>
              <a:gd name="connsiteY211" fmla="*/ 18745 h 153238"/>
              <a:gd name="connsiteX212" fmla="*/ 55579 w 157353"/>
              <a:gd name="connsiteY212" fmla="*/ 16411 h 153238"/>
              <a:gd name="connsiteX213" fmla="*/ 55464 w 157353"/>
              <a:gd name="connsiteY213" fmla="*/ 15230 h 153238"/>
              <a:gd name="connsiteX214" fmla="*/ 55902 w 157353"/>
              <a:gd name="connsiteY214" fmla="*/ 14002 h 153238"/>
              <a:gd name="connsiteX215" fmla="*/ 56626 w 157353"/>
              <a:gd name="connsiteY215" fmla="*/ 12887 h 153238"/>
              <a:gd name="connsiteX216" fmla="*/ 58455 w 157353"/>
              <a:gd name="connsiteY216" fmla="*/ 12411 h 153238"/>
              <a:gd name="connsiteX217" fmla="*/ 60598 w 157353"/>
              <a:gd name="connsiteY217" fmla="*/ 11611 h 153238"/>
              <a:gd name="connsiteX218" fmla="*/ 62294 w 157353"/>
              <a:gd name="connsiteY218" fmla="*/ 10687 h 153238"/>
              <a:gd name="connsiteX219" fmla="*/ 64580 w 157353"/>
              <a:gd name="connsiteY219" fmla="*/ 9925 h 153238"/>
              <a:gd name="connsiteX220" fmla="*/ 66380 w 157353"/>
              <a:gd name="connsiteY220" fmla="*/ 8858 h 153238"/>
              <a:gd name="connsiteX221" fmla="*/ 68142 w 157353"/>
              <a:gd name="connsiteY221" fmla="*/ 6315 h 153238"/>
              <a:gd name="connsiteX222" fmla="*/ 69209 w 157353"/>
              <a:gd name="connsiteY222" fmla="*/ 5896 h 153238"/>
              <a:gd name="connsiteX223" fmla="*/ 72437 w 157353"/>
              <a:gd name="connsiteY223" fmla="*/ 6258 h 153238"/>
              <a:gd name="connsiteX224" fmla="*/ 73133 w 157353"/>
              <a:gd name="connsiteY224" fmla="*/ 5629 h 153238"/>
              <a:gd name="connsiteX225" fmla="*/ 72685 w 157353"/>
              <a:gd name="connsiteY225" fmla="*/ 1972 h 153238"/>
              <a:gd name="connsiteX226" fmla="*/ 73266 w 157353"/>
              <a:gd name="connsiteY226" fmla="*/ 1038 h 153238"/>
              <a:gd name="connsiteX227" fmla="*/ 74409 w 157353"/>
              <a:gd name="connsiteY227" fmla="*/ 514 h 153238"/>
              <a:gd name="connsiteX228" fmla="*/ 74943 w 157353"/>
              <a:gd name="connsiteY228" fmla="*/ 0 h 153238"/>
              <a:gd name="connsiteX229" fmla="*/ 77791 w 157353"/>
              <a:gd name="connsiteY229" fmla="*/ 400 h 153238"/>
              <a:gd name="connsiteX230" fmla="*/ 80239 w 157353"/>
              <a:gd name="connsiteY230" fmla="*/ 1305 h 153238"/>
              <a:gd name="connsiteX231" fmla="*/ 34643 w 157353"/>
              <a:gd name="connsiteY231" fmla="*/ 59446 h 153238"/>
              <a:gd name="connsiteX232" fmla="*/ 31347 w 157353"/>
              <a:gd name="connsiteY232" fmla="*/ 60255 h 153238"/>
              <a:gd name="connsiteX233" fmla="*/ 29776 w 157353"/>
              <a:gd name="connsiteY233" fmla="*/ 58807 h 153238"/>
              <a:gd name="connsiteX234" fmla="*/ 29366 w 157353"/>
              <a:gd name="connsiteY234" fmla="*/ 57617 h 153238"/>
              <a:gd name="connsiteX235" fmla="*/ 26651 w 157353"/>
              <a:gd name="connsiteY235" fmla="*/ 57236 h 153238"/>
              <a:gd name="connsiteX236" fmla="*/ 25013 w 157353"/>
              <a:gd name="connsiteY236" fmla="*/ 55588 h 153238"/>
              <a:gd name="connsiteX237" fmla="*/ 24679 w 157353"/>
              <a:gd name="connsiteY237" fmla="*/ 54855 h 153238"/>
              <a:gd name="connsiteX238" fmla="*/ 27004 w 157353"/>
              <a:gd name="connsiteY238" fmla="*/ 53035 h 153238"/>
              <a:gd name="connsiteX239" fmla="*/ 28242 w 157353"/>
              <a:gd name="connsiteY239" fmla="*/ 50092 h 153238"/>
              <a:gd name="connsiteX240" fmla="*/ 29813 w 157353"/>
              <a:gd name="connsiteY240" fmla="*/ 51864 h 153238"/>
              <a:gd name="connsiteX241" fmla="*/ 31718 w 157353"/>
              <a:gd name="connsiteY241" fmla="*/ 55188 h 153238"/>
              <a:gd name="connsiteX242" fmla="*/ 32738 w 157353"/>
              <a:gd name="connsiteY242" fmla="*/ 56112 h 153238"/>
              <a:gd name="connsiteX243" fmla="*/ 34643 w 157353"/>
              <a:gd name="connsiteY243" fmla="*/ 59446 h 153238"/>
              <a:gd name="connsiteX244" fmla="*/ 26022 w 157353"/>
              <a:gd name="connsiteY244" fmla="*/ 71352 h 153238"/>
              <a:gd name="connsiteX245" fmla="*/ 25813 w 157353"/>
              <a:gd name="connsiteY245" fmla="*/ 72800 h 153238"/>
              <a:gd name="connsiteX246" fmla="*/ 24194 w 157353"/>
              <a:gd name="connsiteY246" fmla="*/ 70961 h 153238"/>
              <a:gd name="connsiteX247" fmla="*/ 23374 w 157353"/>
              <a:gd name="connsiteY247" fmla="*/ 67666 h 153238"/>
              <a:gd name="connsiteX248" fmla="*/ 21327 w 157353"/>
              <a:gd name="connsiteY248" fmla="*/ 62322 h 153238"/>
              <a:gd name="connsiteX249" fmla="*/ 21060 w 157353"/>
              <a:gd name="connsiteY249" fmla="*/ 60817 h 153238"/>
              <a:gd name="connsiteX250" fmla="*/ 22117 w 157353"/>
              <a:gd name="connsiteY250" fmla="*/ 59331 h 153238"/>
              <a:gd name="connsiteX251" fmla="*/ 22060 w 157353"/>
              <a:gd name="connsiteY251" fmla="*/ 57817 h 153238"/>
              <a:gd name="connsiteX252" fmla="*/ 20612 w 157353"/>
              <a:gd name="connsiteY252" fmla="*/ 53111 h 153238"/>
              <a:gd name="connsiteX253" fmla="*/ 21822 w 157353"/>
              <a:gd name="connsiteY253" fmla="*/ 52340 h 153238"/>
              <a:gd name="connsiteX254" fmla="*/ 22546 w 157353"/>
              <a:gd name="connsiteY254" fmla="*/ 52244 h 153238"/>
              <a:gd name="connsiteX255" fmla="*/ 22841 w 157353"/>
              <a:gd name="connsiteY255" fmla="*/ 55512 h 153238"/>
              <a:gd name="connsiteX256" fmla="*/ 23498 w 157353"/>
              <a:gd name="connsiteY256" fmla="*/ 57388 h 153238"/>
              <a:gd name="connsiteX257" fmla="*/ 25470 w 157353"/>
              <a:gd name="connsiteY257" fmla="*/ 59693 h 153238"/>
              <a:gd name="connsiteX258" fmla="*/ 25070 w 157353"/>
              <a:gd name="connsiteY258" fmla="*/ 63494 h 153238"/>
              <a:gd name="connsiteX259" fmla="*/ 25470 w 157353"/>
              <a:gd name="connsiteY259" fmla="*/ 68894 h 153238"/>
              <a:gd name="connsiteX260" fmla="*/ 25870 w 157353"/>
              <a:gd name="connsiteY260" fmla="*/ 70094 h 153238"/>
              <a:gd name="connsiteX261" fmla="*/ 26022 w 157353"/>
              <a:gd name="connsiteY261" fmla="*/ 71352 h 153238"/>
              <a:gd name="connsiteX262" fmla="*/ 35204 w 157353"/>
              <a:gd name="connsiteY262" fmla="*/ 67646 h 153238"/>
              <a:gd name="connsiteX263" fmla="*/ 35881 w 157353"/>
              <a:gd name="connsiteY263" fmla="*/ 69304 h 153238"/>
              <a:gd name="connsiteX264" fmla="*/ 33366 w 157353"/>
              <a:gd name="connsiteY264" fmla="*/ 67808 h 153238"/>
              <a:gd name="connsiteX265" fmla="*/ 31109 w 157353"/>
              <a:gd name="connsiteY265" fmla="*/ 67237 h 153238"/>
              <a:gd name="connsiteX266" fmla="*/ 30632 w 157353"/>
              <a:gd name="connsiteY266" fmla="*/ 66113 h 153238"/>
              <a:gd name="connsiteX267" fmla="*/ 30956 w 157353"/>
              <a:gd name="connsiteY267" fmla="*/ 65189 h 153238"/>
              <a:gd name="connsiteX268" fmla="*/ 31442 w 157353"/>
              <a:gd name="connsiteY268" fmla="*/ 64294 h 153238"/>
              <a:gd name="connsiteX269" fmla="*/ 33147 w 157353"/>
              <a:gd name="connsiteY269" fmla="*/ 64418 h 153238"/>
              <a:gd name="connsiteX270" fmla="*/ 33404 w 157353"/>
              <a:gd name="connsiteY270" fmla="*/ 65294 h 153238"/>
              <a:gd name="connsiteX271" fmla="*/ 35204 w 157353"/>
              <a:gd name="connsiteY271" fmla="*/ 67646 h 153238"/>
              <a:gd name="connsiteX272" fmla="*/ 44748 w 157353"/>
              <a:gd name="connsiteY272" fmla="*/ 83468 h 153238"/>
              <a:gd name="connsiteX273" fmla="*/ 44063 w 157353"/>
              <a:gd name="connsiteY273" fmla="*/ 84458 h 153238"/>
              <a:gd name="connsiteX274" fmla="*/ 42329 w 157353"/>
              <a:gd name="connsiteY274" fmla="*/ 82639 h 153238"/>
              <a:gd name="connsiteX275" fmla="*/ 40739 w 157353"/>
              <a:gd name="connsiteY275" fmla="*/ 81343 h 153238"/>
              <a:gd name="connsiteX276" fmla="*/ 39605 w 157353"/>
              <a:gd name="connsiteY276" fmla="*/ 79800 h 153238"/>
              <a:gd name="connsiteX277" fmla="*/ 37376 w 157353"/>
              <a:gd name="connsiteY277" fmla="*/ 77876 h 153238"/>
              <a:gd name="connsiteX278" fmla="*/ 36624 w 157353"/>
              <a:gd name="connsiteY278" fmla="*/ 75676 h 153238"/>
              <a:gd name="connsiteX279" fmla="*/ 33300 w 157353"/>
              <a:gd name="connsiteY279" fmla="*/ 71180 h 153238"/>
              <a:gd name="connsiteX280" fmla="*/ 32804 w 157353"/>
              <a:gd name="connsiteY280" fmla="*/ 69961 h 153238"/>
              <a:gd name="connsiteX281" fmla="*/ 34461 w 157353"/>
              <a:gd name="connsiteY281" fmla="*/ 71780 h 153238"/>
              <a:gd name="connsiteX282" fmla="*/ 35843 w 157353"/>
              <a:gd name="connsiteY282" fmla="*/ 72923 h 153238"/>
              <a:gd name="connsiteX283" fmla="*/ 36986 w 157353"/>
              <a:gd name="connsiteY283" fmla="*/ 73200 h 153238"/>
              <a:gd name="connsiteX284" fmla="*/ 39881 w 157353"/>
              <a:gd name="connsiteY284" fmla="*/ 76067 h 153238"/>
              <a:gd name="connsiteX285" fmla="*/ 42729 w 157353"/>
              <a:gd name="connsiteY285" fmla="*/ 79743 h 153238"/>
              <a:gd name="connsiteX286" fmla="*/ 46120 w 157353"/>
              <a:gd name="connsiteY286" fmla="*/ 82934 h 153238"/>
              <a:gd name="connsiteX287" fmla="*/ 45415 w 157353"/>
              <a:gd name="connsiteY287" fmla="*/ 83029 h 153238"/>
              <a:gd name="connsiteX288" fmla="*/ 44748 w 157353"/>
              <a:gd name="connsiteY288" fmla="*/ 83468 h 153238"/>
              <a:gd name="connsiteX289" fmla="*/ 44758 w 157353"/>
              <a:gd name="connsiteY289" fmla="*/ 98812 h 153238"/>
              <a:gd name="connsiteX290" fmla="*/ 45139 w 157353"/>
              <a:gd name="connsiteY290" fmla="*/ 99355 h 153238"/>
              <a:gd name="connsiteX291" fmla="*/ 45101 w 157353"/>
              <a:gd name="connsiteY291" fmla="*/ 99727 h 153238"/>
              <a:gd name="connsiteX292" fmla="*/ 43710 w 157353"/>
              <a:gd name="connsiteY292" fmla="*/ 99203 h 153238"/>
              <a:gd name="connsiteX293" fmla="*/ 43339 w 157353"/>
              <a:gd name="connsiteY293" fmla="*/ 99374 h 153238"/>
              <a:gd name="connsiteX294" fmla="*/ 36795 w 157353"/>
              <a:gd name="connsiteY294" fmla="*/ 91287 h 153238"/>
              <a:gd name="connsiteX295" fmla="*/ 36090 w 157353"/>
              <a:gd name="connsiteY295" fmla="*/ 89706 h 153238"/>
              <a:gd name="connsiteX296" fmla="*/ 38434 w 157353"/>
              <a:gd name="connsiteY296" fmla="*/ 91592 h 153238"/>
              <a:gd name="connsiteX297" fmla="*/ 44758 w 157353"/>
              <a:gd name="connsiteY297" fmla="*/ 98812 h 153238"/>
              <a:gd name="connsiteX298" fmla="*/ 45882 w 157353"/>
              <a:gd name="connsiteY298" fmla="*/ 93631 h 153238"/>
              <a:gd name="connsiteX299" fmla="*/ 46301 w 157353"/>
              <a:gd name="connsiteY299" fmla="*/ 94935 h 153238"/>
              <a:gd name="connsiteX300" fmla="*/ 42967 w 157353"/>
              <a:gd name="connsiteY300" fmla="*/ 92478 h 153238"/>
              <a:gd name="connsiteX301" fmla="*/ 41700 w 157353"/>
              <a:gd name="connsiteY301" fmla="*/ 90830 h 153238"/>
              <a:gd name="connsiteX302" fmla="*/ 41472 w 157353"/>
              <a:gd name="connsiteY302" fmla="*/ 90088 h 153238"/>
              <a:gd name="connsiteX303" fmla="*/ 45882 w 157353"/>
              <a:gd name="connsiteY303" fmla="*/ 93631 h 153238"/>
              <a:gd name="connsiteX304" fmla="*/ 49635 w 157353"/>
              <a:gd name="connsiteY304" fmla="*/ 96907 h 153238"/>
              <a:gd name="connsiteX305" fmla="*/ 51397 w 157353"/>
              <a:gd name="connsiteY305" fmla="*/ 99660 h 153238"/>
              <a:gd name="connsiteX306" fmla="*/ 49711 w 157353"/>
              <a:gd name="connsiteY306" fmla="*/ 99088 h 153238"/>
              <a:gd name="connsiteX307" fmla="*/ 47959 w 157353"/>
              <a:gd name="connsiteY307" fmla="*/ 97393 h 153238"/>
              <a:gd name="connsiteX308" fmla="*/ 46930 w 157353"/>
              <a:gd name="connsiteY308" fmla="*/ 95545 h 153238"/>
              <a:gd name="connsiteX309" fmla="*/ 49635 w 157353"/>
              <a:gd name="connsiteY309" fmla="*/ 96907 h 153238"/>
              <a:gd name="connsiteX310" fmla="*/ 87430 w 157353"/>
              <a:gd name="connsiteY310" fmla="*/ 122777 h 153238"/>
              <a:gd name="connsiteX311" fmla="*/ 83211 w 157353"/>
              <a:gd name="connsiteY311" fmla="*/ 122872 h 153238"/>
              <a:gd name="connsiteX312" fmla="*/ 79543 w 157353"/>
              <a:gd name="connsiteY312" fmla="*/ 122206 h 153238"/>
              <a:gd name="connsiteX313" fmla="*/ 77753 w 157353"/>
              <a:gd name="connsiteY313" fmla="*/ 121072 h 153238"/>
              <a:gd name="connsiteX314" fmla="*/ 77886 w 157353"/>
              <a:gd name="connsiteY314" fmla="*/ 120110 h 153238"/>
              <a:gd name="connsiteX315" fmla="*/ 78438 w 157353"/>
              <a:gd name="connsiteY315" fmla="*/ 118510 h 153238"/>
              <a:gd name="connsiteX316" fmla="*/ 82525 w 157353"/>
              <a:gd name="connsiteY316" fmla="*/ 118701 h 153238"/>
              <a:gd name="connsiteX317" fmla="*/ 88745 w 157353"/>
              <a:gd name="connsiteY317" fmla="*/ 119834 h 153238"/>
              <a:gd name="connsiteX318" fmla="*/ 90268 w 157353"/>
              <a:gd name="connsiteY318" fmla="*/ 121158 h 153238"/>
              <a:gd name="connsiteX319" fmla="*/ 89792 w 157353"/>
              <a:gd name="connsiteY319" fmla="*/ 121768 h 153238"/>
              <a:gd name="connsiteX320" fmla="*/ 87430 w 157353"/>
              <a:gd name="connsiteY320" fmla="*/ 122777 h 153238"/>
              <a:gd name="connsiteX321" fmla="*/ 98355 w 157353"/>
              <a:gd name="connsiteY321" fmla="*/ 128073 h 153238"/>
              <a:gd name="connsiteX322" fmla="*/ 96488 w 157353"/>
              <a:gd name="connsiteY322" fmla="*/ 128454 h 153238"/>
              <a:gd name="connsiteX323" fmla="*/ 84591 w 157353"/>
              <a:gd name="connsiteY323" fmla="*/ 128168 h 153238"/>
              <a:gd name="connsiteX324" fmla="*/ 81134 w 157353"/>
              <a:gd name="connsiteY324" fmla="*/ 127406 h 153238"/>
              <a:gd name="connsiteX325" fmla="*/ 77286 w 157353"/>
              <a:gd name="connsiteY325" fmla="*/ 125454 h 153238"/>
              <a:gd name="connsiteX326" fmla="*/ 76505 w 157353"/>
              <a:gd name="connsiteY326" fmla="*/ 124854 h 153238"/>
              <a:gd name="connsiteX327" fmla="*/ 80372 w 157353"/>
              <a:gd name="connsiteY327" fmla="*/ 124282 h 153238"/>
              <a:gd name="connsiteX328" fmla="*/ 83972 w 157353"/>
              <a:gd name="connsiteY328" fmla="*/ 124854 h 153238"/>
              <a:gd name="connsiteX329" fmla="*/ 85077 w 157353"/>
              <a:gd name="connsiteY329" fmla="*/ 126273 h 153238"/>
              <a:gd name="connsiteX330" fmla="*/ 94802 w 157353"/>
              <a:gd name="connsiteY330" fmla="*/ 127406 h 153238"/>
              <a:gd name="connsiteX331" fmla="*/ 98355 w 157353"/>
              <a:gd name="connsiteY331" fmla="*/ 128073 h 153238"/>
              <a:gd name="connsiteX332" fmla="*/ 111014 w 157353"/>
              <a:gd name="connsiteY332" fmla="*/ 136407 h 153238"/>
              <a:gd name="connsiteX333" fmla="*/ 112957 w 157353"/>
              <a:gd name="connsiteY333" fmla="*/ 135741 h 153238"/>
              <a:gd name="connsiteX334" fmla="*/ 114605 w 157353"/>
              <a:gd name="connsiteY334" fmla="*/ 136227 h 153238"/>
              <a:gd name="connsiteX335" fmla="*/ 115653 w 157353"/>
              <a:gd name="connsiteY335" fmla="*/ 138303 h 153238"/>
              <a:gd name="connsiteX336" fmla="*/ 117720 w 157353"/>
              <a:gd name="connsiteY336" fmla="*/ 139675 h 153238"/>
              <a:gd name="connsiteX337" fmla="*/ 121082 w 157353"/>
              <a:gd name="connsiteY337" fmla="*/ 142075 h 153238"/>
              <a:gd name="connsiteX338" fmla="*/ 123206 w 157353"/>
              <a:gd name="connsiteY338" fmla="*/ 143913 h 153238"/>
              <a:gd name="connsiteX339" fmla="*/ 128016 w 157353"/>
              <a:gd name="connsiteY339" fmla="*/ 147209 h 153238"/>
              <a:gd name="connsiteX340" fmla="*/ 129159 w 157353"/>
              <a:gd name="connsiteY340" fmla="*/ 147666 h 153238"/>
              <a:gd name="connsiteX341" fmla="*/ 131559 w 157353"/>
              <a:gd name="connsiteY341" fmla="*/ 148647 h 153238"/>
              <a:gd name="connsiteX342" fmla="*/ 131607 w 157353"/>
              <a:gd name="connsiteY342" fmla="*/ 149981 h 153238"/>
              <a:gd name="connsiteX343" fmla="*/ 132636 w 157353"/>
              <a:gd name="connsiteY343" fmla="*/ 151495 h 153238"/>
              <a:gd name="connsiteX344" fmla="*/ 133721 w 157353"/>
              <a:gd name="connsiteY344" fmla="*/ 153238 h 153238"/>
              <a:gd name="connsiteX345" fmla="*/ 128787 w 157353"/>
              <a:gd name="connsiteY345" fmla="*/ 149809 h 153238"/>
              <a:gd name="connsiteX346" fmla="*/ 124187 w 157353"/>
              <a:gd name="connsiteY346" fmla="*/ 145970 h 153238"/>
              <a:gd name="connsiteX347" fmla="*/ 115186 w 157353"/>
              <a:gd name="connsiteY347" fmla="*/ 140046 h 153238"/>
              <a:gd name="connsiteX348" fmla="*/ 108804 w 157353"/>
              <a:gd name="connsiteY348" fmla="*/ 138608 h 153238"/>
              <a:gd name="connsiteX349" fmla="*/ 100069 w 157353"/>
              <a:gd name="connsiteY349" fmla="*/ 133836 h 153238"/>
              <a:gd name="connsiteX350" fmla="*/ 94383 w 157353"/>
              <a:gd name="connsiteY350" fmla="*/ 132140 h 153238"/>
              <a:gd name="connsiteX351" fmla="*/ 96555 w 157353"/>
              <a:gd name="connsiteY351" fmla="*/ 131750 h 153238"/>
              <a:gd name="connsiteX352" fmla="*/ 99050 w 157353"/>
              <a:gd name="connsiteY352" fmla="*/ 131740 h 153238"/>
              <a:gd name="connsiteX353" fmla="*/ 112519 w 157353"/>
              <a:gd name="connsiteY353" fmla="*/ 138113 h 153238"/>
              <a:gd name="connsiteX354" fmla="*/ 111014 w 157353"/>
              <a:gd name="connsiteY354" fmla="*/ 136407 h 153238"/>
              <a:gd name="connsiteX355" fmla="*/ 83839 w 157353"/>
              <a:gd name="connsiteY355" fmla="*/ 132788 h 153238"/>
              <a:gd name="connsiteX356" fmla="*/ 88782 w 157353"/>
              <a:gd name="connsiteY356" fmla="*/ 133807 h 153238"/>
              <a:gd name="connsiteX357" fmla="*/ 92402 w 157353"/>
              <a:gd name="connsiteY357" fmla="*/ 133340 h 153238"/>
              <a:gd name="connsiteX358" fmla="*/ 95678 w 157353"/>
              <a:gd name="connsiteY358" fmla="*/ 133969 h 153238"/>
              <a:gd name="connsiteX359" fmla="*/ 97717 w 157353"/>
              <a:gd name="connsiteY359" fmla="*/ 135122 h 153238"/>
              <a:gd name="connsiteX360" fmla="*/ 98203 w 157353"/>
              <a:gd name="connsiteY360" fmla="*/ 135693 h 153238"/>
              <a:gd name="connsiteX361" fmla="*/ 95565 w 157353"/>
              <a:gd name="connsiteY361" fmla="*/ 135769 h 153238"/>
              <a:gd name="connsiteX362" fmla="*/ 92573 w 157353"/>
              <a:gd name="connsiteY362" fmla="*/ 135303 h 153238"/>
              <a:gd name="connsiteX363" fmla="*/ 89183 w 157353"/>
              <a:gd name="connsiteY363" fmla="*/ 136474 h 153238"/>
              <a:gd name="connsiteX364" fmla="*/ 86192 w 157353"/>
              <a:gd name="connsiteY364" fmla="*/ 135855 h 153238"/>
              <a:gd name="connsiteX365" fmla="*/ 85058 w 157353"/>
              <a:gd name="connsiteY365" fmla="*/ 135084 h 153238"/>
              <a:gd name="connsiteX366" fmla="*/ 84258 w 157353"/>
              <a:gd name="connsiteY366" fmla="*/ 134131 h 153238"/>
              <a:gd name="connsiteX367" fmla="*/ 83839 w 157353"/>
              <a:gd name="connsiteY367" fmla="*/ 132788 h 153238"/>
              <a:gd name="connsiteX368" fmla="*/ 109424 w 157353"/>
              <a:gd name="connsiteY368" fmla="*/ 141056 h 153238"/>
              <a:gd name="connsiteX369" fmla="*/ 113072 w 157353"/>
              <a:gd name="connsiteY369" fmla="*/ 143542 h 153238"/>
              <a:gd name="connsiteX370" fmla="*/ 102375 w 157353"/>
              <a:gd name="connsiteY370" fmla="*/ 140275 h 153238"/>
              <a:gd name="connsiteX371" fmla="*/ 103584 w 157353"/>
              <a:gd name="connsiteY371" fmla="*/ 139979 h 153238"/>
              <a:gd name="connsiteX372" fmla="*/ 104718 w 157353"/>
              <a:gd name="connsiteY372" fmla="*/ 139913 h 153238"/>
              <a:gd name="connsiteX373" fmla="*/ 109424 w 157353"/>
              <a:gd name="connsiteY373" fmla="*/ 141056 h 15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</a:cxnLst>
            <a:rect l="l" t="t" r="r" b="b"/>
            <a:pathLst>
              <a:path w="157353" h="153238">
                <a:moveTo>
                  <a:pt x="80239" y="1305"/>
                </a:moveTo>
                <a:lnTo>
                  <a:pt x="81677" y="1886"/>
                </a:lnTo>
                <a:lnTo>
                  <a:pt x="86439" y="4534"/>
                </a:lnTo>
                <a:lnTo>
                  <a:pt x="89735" y="7515"/>
                </a:lnTo>
                <a:lnTo>
                  <a:pt x="91564" y="10820"/>
                </a:lnTo>
                <a:lnTo>
                  <a:pt x="94040" y="13373"/>
                </a:lnTo>
                <a:lnTo>
                  <a:pt x="97164" y="15183"/>
                </a:lnTo>
                <a:lnTo>
                  <a:pt x="99641" y="17631"/>
                </a:lnTo>
                <a:lnTo>
                  <a:pt x="101470" y="20717"/>
                </a:lnTo>
                <a:lnTo>
                  <a:pt x="104032" y="22450"/>
                </a:lnTo>
                <a:lnTo>
                  <a:pt x="107318" y="22822"/>
                </a:lnTo>
                <a:lnTo>
                  <a:pt x="109394" y="23879"/>
                </a:lnTo>
                <a:lnTo>
                  <a:pt x="110271" y="25622"/>
                </a:lnTo>
                <a:lnTo>
                  <a:pt x="112062" y="27194"/>
                </a:lnTo>
                <a:lnTo>
                  <a:pt x="114758" y="28603"/>
                </a:lnTo>
                <a:lnTo>
                  <a:pt x="118939" y="29375"/>
                </a:lnTo>
                <a:lnTo>
                  <a:pt x="126959" y="29566"/>
                </a:lnTo>
                <a:lnTo>
                  <a:pt x="127673" y="29604"/>
                </a:lnTo>
                <a:lnTo>
                  <a:pt x="129483" y="30042"/>
                </a:lnTo>
                <a:lnTo>
                  <a:pt x="131597" y="29489"/>
                </a:lnTo>
                <a:lnTo>
                  <a:pt x="134179" y="28394"/>
                </a:lnTo>
                <a:lnTo>
                  <a:pt x="135007" y="27737"/>
                </a:lnTo>
                <a:lnTo>
                  <a:pt x="137713" y="24136"/>
                </a:lnTo>
                <a:lnTo>
                  <a:pt x="139208" y="24451"/>
                </a:lnTo>
                <a:lnTo>
                  <a:pt x="142180" y="24012"/>
                </a:lnTo>
                <a:lnTo>
                  <a:pt x="143980" y="23212"/>
                </a:lnTo>
                <a:lnTo>
                  <a:pt x="144113" y="23212"/>
                </a:lnTo>
                <a:lnTo>
                  <a:pt x="143999" y="24136"/>
                </a:lnTo>
                <a:lnTo>
                  <a:pt x="143799" y="25746"/>
                </a:lnTo>
                <a:lnTo>
                  <a:pt x="142342" y="26879"/>
                </a:lnTo>
                <a:lnTo>
                  <a:pt x="143818" y="29499"/>
                </a:lnTo>
                <a:lnTo>
                  <a:pt x="145228" y="33747"/>
                </a:lnTo>
                <a:lnTo>
                  <a:pt x="144437" y="35843"/>
                </a:lnTo>
                <a:lnTo>
                  <a:pt x="145399" y="37471"/>
                </a:lnTo>
                <a:lnTo>
                  <a:pt x="148104" y="38643"/>
                </a:lnTo>
                <a:lnTo>
                  <a:pt x="148352" y="39110"/>
                </a:lnTo>
                <a:lnTo>
                  <a:pt x="147524" y="39595"/>
                </a:lnTo>
                <a:lnTo>
                  <a:pt x="146838" y="40977"/>
                </a:lnTo>
                <a:lnTo>
                  <a:pt x="146761" y="43491"/>
                </a:lnTo>
                <a:lnTo>
                  <a:pt x="149123" y="45872"/>
                </a:lnTo>
                <a:lnTo>
                  <a:pt x="153924" y="48101"/>
                </a:lnTo>
                <a:lnTo>
                  <a:pt x="155457" y="48473"/>
                </a:lnTo>
                <a:lnTo>
                  <a:pt x="156048" y="49330"/>
                </a:lnTo>
                <a:lnTo>
                  <a:pt x="156848" y="49892"/>
                </a:lnTo>
                <a:lnTo>
                  <a:pt x="157325" y="50578"/>
                </a:lnTo>
                <a:lnTo>
                  <a:pt x="157353" y="51463"/>
                </a:lnTo>
                <a:lnTo>
                  <a:pt x="157001" y="52073"/>
                </a:lnTo>
                <a:lnTo>
                  <a:pt x="154724" y="52283"/>
                </a:lnTo>
                <a:lnTo>
                  <a:pt x="152133" y="52264"/>
                </a:lnTo>
                <a:lnTo>
                  <a:pt x="150286" y="51187"/>
                </a:lnTo>
                <a:lnTo>
                  <a:pt x="150114" y="51978"/>
                </a:lnTo>
                <a:lnTo>
                  <a:pt x="150086" y="52873"/>
                </a:lnTo>
                <a:lnTo>
                  <a:pt x="148295" y="53416"/>
                </a:lnTo>
                <a:lnTo>
                  <a:pt x="149286" y="59579"/>
                </a:lnTo>
                <a:lnTo>
                  <a:pt x="148885" y="61350"/>
                </a:lnTo>
                <a:lnTo>
                  <a:pt x="148228" y="61951"/>
                </a:lnTo>
                <a:lnTo>
                  <a:pt x="147618" y="61703"/>
                </a:lnTo>
                <a:lnTo>
                  <a:pt x="146866" y="61636"/>
                </a:lnTo>
                <a:lnTo>
                  <a:pt x="146495" y="62217"/>
                </a:lnTo>
                <a:lnTo>
                  <a:pt x="146809" y="63532"/>
                </a:lnTo>
                <a:lnTo>
                  <a:pt x="145047" y="63684"/>
                </a:lnTo>
                <a:lnTo>
                  <a:pt x="142247" y="63008"/>
                </a:lnTo>
                <a:lnTo>
                  <a:pt x="140961" y="61817"/>
                </a:lnTo>
                <a:lnTo>
                  <a:pt x="140741" y="60608"/>
                </a:lnTo>
                <a:lnTo>
                  <a:pt x="140722" y="59474"/>
                </a:lnTo>
                <a:lnTo>
                  <a:pt x="139827" y="57617"/>
                </a:lnTo>
                <a:lnTo>
                  <a:pt x="137598" y="55693"/>
                </a:lnTo>
                <a:lnTo>
                  <a:pt x="132941" y="55378"/>
                </a:lnTo>
                <a:lnTo>
                  <a:pt x="131216" y="54769"/>
                </a:lnTo>
                <a:lnTo>
                  <a:pt x="129435" y="54073"/>
                </a:lnTo>
                <a:lnTo>
                  <a:pt x="127492" y="53549"/>
                </a:lnTo>
                <a:lnTo>
                  <a:pt x="125702" y="53597"/>
                </a:lnTo>
                <a:lnTo>
                  <a:pt x="123540" y="54112"/>
                </a:lnTo>
                <a:lnTo>
                  <a:pt x="119768" y="53264"/>
                </a:lnTo>
                <a:lnTo>
                  <a:pt x="118491" y="54397"/>
                </a:lnTo>
                <a:lnTo>
                  <a:pt x="116510" y="55702"/>
                </a:lnTo>
                <a:lnTo>
                  <a:pt x="114862" y="55674"/>
                </a:lnTo>
                <a:lnTo>
                  <a:pt x="111586" y="52645"/>
                </a:lnTo>
                <a:lnTo>
                  <a:pt x="110604" y="52454"/>
                </a:lnTo>
                <a:lnTo>
                  <a:pt x="107738" y="53997"/>
                </a:lnTo>
                <a:lnTo>
                  <a:pt x="106566" y="54083"/>
                </a:lnTo>
                <a:lnTo>
                  <a:pt x="105670" y="53597"/>
                </a:lnTo>
                <a:lnTo>
                  <a:pt x="101794" y="52435"/>
                </a:lnTo>
                <a:lnTo>
                  <a:pt x="100041" y="52188"/>
                </a:lnTo>
                <a:lnTo>
                  <a:pt x="98755" y="52740"/>
                </a:lnTo>
                <a:lnTo>
                  <a:pt x="96479" y="52149"/>
                </a:lnTo>
                <a:lnTo>
                  <a:pt x="90954" y="48177"/>
                </a:lnTo>
                <a:lnTo>
                  <a:pt x="87535" y="51197"/>
                </a:lnTo>
                <a:lnTo>
                  <a:pt x="80582" y="50444"/>
                </a:lnTo>
                <a:lnTo>
                  <a:pt x="78514" y="52511"/>
                </a:lnTo>
                <a:lnTo>
                  <a:pt x="76152" y="56426"/>
                </a:lnTo>
                <a:lnTo>
                  <a:pt x="74238" y="58293"/>
                </a:lnTo>
                <a:lnTo>
                  <a:pt x="72571" y="57626"/>
                </a:lnTo>
                <a:lnTo>
                  <a:pt x="70599" y="55902"/>
                </a:lnTo>
                <a:lnTo>
                  <a:pt x="67151" y="51473"/>
                </a:lnTo>
                <a:lnTo>
                  <a:pt x="65408" y="50673"/>
                </a:lnTo>
                <a:lnTo>
                  <a:pt x="63408" y="50482"/>
                </a:lnTo>
                <a:lnTo>
                  <a:pt x="61665" y="50978"/>
                </a:lnTo>
                <a:lnTo>
                  <a:pt x="60732" y="51873"/>
                </a:lnTo>
                <a:lnTo>
                  <a:pt x="60017" y="58341"/>
                </a:lnTo>
                <a:lnTo>
                  <a:pt x="59388" y="64027"/>
                </a:lnTo>
                <a:lnTo>
                  <a:pt x="59350" y="67427"/>
                </a:lnTo>
                <a:lnTo>
                  <a:pt x="63179" y="70571"/>
                </a:lnTo>
                <a:lnTo>
                  <a:pt x="67704" y="75971"/>
                </a:lnTo>
                <a:lnTo>
                  <a:pt x="69152" y="76590"/>
                </a:lnTo>
                <a:lnTo>
                  <a:pt x="69875" y="78352"/>
                </a:lnTo>
                <a:lnTo>
                  <a:pt x="70933" y="82896"/>
                </a:lnTo>
                <a:lnTo>
                  <a:pt x="72124" y="87992"/>
                </a:lnTo>
                <a:lnTo>
                  <a:pt x="74419" y="91364"/>
                </a:lnTo>
                <a:lnTo>
                  <a:pt x="76486" y="93764"/>
                </a:lnTo>
                <a:lnTo>
                  <a:pt x="79010" y="95878"/>
                </a:lnTo>
                <a:lnTo>
                  <a:pt x="82182" y="99184"/>
                </a:lnTo>
                <a:lnTo>
                  <a:pt x="84773" y="102813"/>
                </a:lnTo>
                <a:lnTo>
                  <a:pt x="85458" y="104146"/>
                </a:lnTo>
                <a:lnTo>
                  <a:pt x="90497" y="108928"/>
                </a:lnTo>
                <a:lnTo>
                  <a:pt x="95384" y="113795"/>
                </a:lnTo>
                <a:lnTo>
                  <a:pt x="99746" y="115500"/>
                </a:lnTo>
                <a:lnTo>
                  <a:pt x="100432" y="116396"/>
                </a:lnTo>
                <a:lnTo>
                  <a:pt x="100470" y="120129"/>
                </a:lnTo>
                <a:lnTo>
                  <a:pt x="100946" y="121530"/>
                </a:lnTo>
                <a:lnTo>
                  <a:pt x="103861" y="125435"/>
                </a:lnTo>
                <a:lnTo>
                  <a:pt x="109814" y="131140"/>
                </a:lnTo>
                <a:lnTo>
                  <a:pt x="110500" y="132455"/>
                </a:lnTo>
                <a:lnTo>
                  <a:pt x="110700" y="133426"/>
                </a:lnTo>
                <a:lnTo>
                  <a:pt x="110319" y="134169"/>
                </a:lnTo>
                <a:lnTo>
                  <a:pt x="108757" y="134950"/>
                </a:lnTo>
                <a:lnTo>
                  <a:pt x="107480" y="134083"/>
                </a:lnTo>
                <a:lnTo>
                  <a:pt x="101937" y="128521"/>
                </a:lnTo>
                <a:lnTo>
                  <a:pt x="96574" y="125006"/>
                </a:lnTo>
                <a:lnTo>
                  <a:pt x="90526" y="118376"/>
                </a:lnTo>
                <a:lnTo>
                  <a:pt x="82429" y="115748"/>
                </a:lnTo>
                <a:lnTo>
                  <a:pt x="76914" y="112833"/>
                </a:lnTo>
                <a:lnTo>
                  <a:pt x="73571" y="113271"/>
                </a:lnTo>
                <a:lnTo>
                  <a:pt x="69885" y="114186"/>
                </a:lnTo>
                <a:lnTo>
                  <a:pt x="67609" y="114214"/>
                </a:lnTo>
                <a:lnTo>
                  <a:pt x="65990" y="113690"/>
                </a:lnTo>
                <a:lnTo>
                  <a:pt x="64846" y="111881"/>
                </a:lnTo>
                <a:lnTo>
                  <a:pt x="65018" y="110480"/>
                </a:lnTo>
                <a:lnTo>
                  <a:pt x="64818" y="108661"/>
                </a:lnTo>
                <a:lnTo>
                  <a:pt x="61589" y="105737"/>
                </a:lnTo>
                <a:lnTo>
                  <a:pt x="57178" y="102956"/>
                </a:lnTo>
                <a:lnTo>
                  <a:pt x="53007" y="99355"/>
                </a:lnTo>
                <a:lnTo>
                  <a:pt x="44625" y="89602"/>
                </a:lnTo>
                <a:lnTo>
                  <a:pt x="42939" y="86449"/>
                </a:lnTo>
                <a:lnTo>
                  <a:pt x="44587" y="85849"/>
                </a:lnTo>
                <a:lnTo>
                  <a:pt x="45834" y="85906"/>
                </a:lnTo>
                <a:lnTo>
                  <a:pt x="47244" y="85258"/>
                </a:lnTo>
                <a:lnTo>
                  <a:pt x="49530" y="85249"/>
                </a:lnTo>
                <a:lnTo>
                  <a:pt x="52235" y="85887"/>
                </a:lnTo>
                <a:lnTo>
                  <a:pt x="49845" y="83791"/>
                </a:lnTo>
                <a:lnTo>
                  <a:pt x="46863" y="81734"/>
                </a:lnTo>
                <a:lnTo>
                  <a:pt x="39148" y="73543"/>
                </a:lnTo>
                <a:lnTo>
                  <a:pt x="36843" y="69656"/>
                </a:lnTo>
                <a:lnTo>
                  <a:pt x="36576" y="65465"/>
                </a:lnTo>
                <a:lnTo>
                  <a:pt x="37148" y="59712"/>
                </a:lnTo>
                <a:lnTo>
                  <a:pt x="35757" y="55578"/>
                </a:lnTo>
                <a:lnTo>
                  <a:pt x="29804" y="50216"/>
                </a:lnTo>
                <a:lnTo>
                  <a:pt x="27623" y="47387"/>
                </a:lnTo>
                <a:lnTo>
                  <a:pt x="23232" y="45701"/>
                </a:lnTo>
                <a:lnTo>
                  <a:pt x="21260" y="45863"/>
                </a:lnTo>
                <a:lnTo>
                  <a:pt x="20079" y="47958"/>
                </a:lnTo>
                <a:lnTo>
                  <a:pt x="19222" y="52606"/>
                </a:lnTo>
                <a:lnTo>
                  <a:pt x="15326" y="58721"/>
                </a:lnTo>
                <a:lnTo>
                  <a:pt x="14031" y="61370"/>
                </a:lnTo>
                <a:lnTo>
                  <a:pt x="11992" y="64808"/>
                </a:lnTo>
                <a:lnTo>
                  <a:pt x="10220" y="65046"/>
                </a:lnTo>
                <a:lnTo>
                  <a:pt x="9182" y="64741"/>
                </a:lnTo>
                <a:lnTo>
                  <a:pt x="6020" y="58950"/>
                </a:lnTo>
                <a:lnTo>
                  <a:pt x="3000" y="54550"/>
                </a:lnTo>
                <a:lnTo>
                  <a:pt x="2581" y="52464"/>
                </a:lnTo>
                <a:lnTo>
                  <a:pt x="2305" y="49892"/>
                </a:lnTo>
                <a:lnTo>
                  <a:pt x="0" y="40396"/>
                </a:lnTo>
                <a:lnTo>
                  <a:pt x="1619" y="39062"/>
                </a:lnTo>
                <a:lnTo>
                  <a:pt x="2620" y="40586"/>
                </a:lnTo>
                <a:lnTo>
                  <a:pt x="9659" y="42424"/>
                </a:lnTo>
                <a:lnTo>
                  <a:pt x="11182" y="41615"/>
                </a:lnTo>
                <a:lnTo>
                  <a:pt x="12106" y="40367"/>
                </a:lnTo>
                <a:lnTo>
                  <a:pt x="12106" y="39576"/>
                </a:lnTo>
                <a:lnTo>
                  <a:pt x="12706" y="39348"/>
                </a:lnTo>
                <a:lnTo>
                  <a:pt x="15183" y="40548"/>
                </a:lnTo>
                <a:lnTo>
                  <a:pt x="17202" y="40272"/>
                </a:lnTo>
                <a:lnTo>
                  <a:pt x="20460" y="40214"/>
                </a:lnTo>
                <a:lnTo>
                  <a:pt x="22784" y="40414"/>
                </a:lnTo>
                <a:lnTo>
                  <a:pt x="24327" y="39491"/>
                </a:lnTo>
                <a:lnTo>
                  <a:pt x="26404" y="36090"/>
                </a:lnTo>
                <a:lnTo>
                  <a:pt x="27175" y="34185"/>
                </a:lnTo>
                <a:lnTo>
                  <a:pt x="28108" y="33728"/>
                </a:lnTo>
                <a:lnTo>
                  <a:pt x="28718" y="33957"/>
                </a:lnTo>
                <a:lnTo>
                  <a:pt x="29166" y="35528"/>
                </a:lnTo>
                <a:lnTo>
                  <a:pt x="30261" y="36995"/>
                </a:lnTo>
                <a:lnTo>
                  <a:pt x="32509" y="39386"/>
                </a:lnTo>
                <a:lnTo>
                  <a:pt x="34100" y="40538"/>
                </a:lnTo>
                <a:lnTo>
                  <a:pt x="35538" y="40948"/>
                </a:lnTo>
                <a:lnTo>
                  <a:pt x="36948" y="39986"/>
                </a:lnTo>
                <a:lnTo>
                  <a:pt x="38405" y="39710"/>
                </a:lnTo>
                <a:lnTo>
                  <a:pt x="42577" y="41577"/>
                </a:lnTo>
                <a:lnTo>
                  <a:pt x="46101" y="41929"/>
                </a:lnTo>
                <a:lnTo>
                  <a:pt x="48702" y="40957"/>
                </a:lnTo>
                <a:lnTo>
                  <a:pt x="48359" y="39614"/>
                </a:lnTo>
                <a:lnTo>
                  <a:pt x="47406" y="38119"/>
                </a:lnTo>
                <a:lnTo>
                  <a:pt x="47206" y="36671"/>
                </a:lnTo>
                <a:lnTo>
                  <a:pt x="47377" y="35414"/>
                </a:lnTo>
                <a:lnTo>
                  <a:pt x="49168" y="34166"/>
                </a:lnTo>
                <a:lnTo>
                  <a:pt x="49082" y="33614"/>
                </a:lnTo>
                <a:lnTo>
                  <a:pt x="46920" y="31413"/>
                </a:lnTo>
                <a:lnTo>
                  <a:pt x="47025" y="30842"/>
                </a:lnTo>
                <a:lnTo>
                  <a:pt x="51759" y="28356"/>
                </a:lnTo>
                <a:lnTo>
                  <a:pt x="56322" y="26965"/>
                </a:lnTo>
                <a:lnTo>
                  <a:pt x="57055" y="25889"/>
                </a:lnTo>
                <a:lnTo>
                  <a:pt x="57474" y="24270"/>
                </a:lnTo>
                <a:lnTo>
                  <a:pt x="57674" y="21231"/>
                </a:lnTo>
                <a:lnTo>
                  <a:pt x="57426" y="18745"/>
                </a:lnTo>
                <a:lnTo>
                  <a:pt x="55579" y="16411"/>
                </a:lnTo>
                <a:lnTo>
                  <a:pt x="55464" y="15230"/>
                </a:lnTo>
                <a:lnTo>
                  <a:pt x="55902" y="14002"/>
                </a:lnTo>
                <a:lnTo>
                  <a:pt x="56626" y="12887"/>
                </a:lnTo>
                <a:lnTo>
                  <a:pt x="58455" y="12411"/>
                </a:lnTo>
                <a:lnTo>
                  <a:pt x="60598" y="11611"/>
                </a:lnTo>
                <a:lnTo>
                  <a:pt x="62294" y="10687"/>
                </a:lnTo>
                <a:lnTo>
                  <a:pt x="64580" y="9925"/>
                </a:lnTo>
                <a:lnTo>
                  <a:pt x="66380" y="8858"/>
                </a:lnTo>
                <a:lnTo>
                  <a:pt x="68142" y="6315"/>
                </a:lnTo>
                <a:lnTo>
                  <a:pt x="69209" y="5896"/>
                </a:lnTo>
                <a:lnTo>
                  <a:pt x="72437" y="6258"/>
                </a:lnTo>
                <a:lnTo>
                  <a:pt x="73133" y="5629"/>
                </a:lnTo>
                <a:lnTo>
                  <a:pt x="72685" y="1972"/>
                </a:lnTo>
                <a:lnTo>
                  <a:pt x="73266" y="1038"/>
                </a:lnTo>
                <a:lnTo>
                  <a:pt x="74409" y="514"/>
                </a:lnTo>
                <a:lnTo>
                  <a:pt x="74943" y="0"/>
                </a:lnTo>
                <a:lnTo>
                  <a:pt x="77791" y="400"/>
                </a:lnTo>
                <a:lnTo>
                  <a:pt x="80239" y="1305"/>
                </a:lnTo>
                <a:close/>
                <a:moveTo>
                  <a:pt x="34643" y="59446"/>
                </a:moveTo>
                <a:lnTo>
                  <a:pt x="31347" y="60255"/>
                </a:lnTo>
                <a:lnTo>
                  <a:pt x="29776" y="58807"/>
                </a:lnTo>
                <a:lnTo>
                  <a:pt x="29366" y="57617"/>
                </a:lnTo>
                <a:lnTo>
                  <a:pt x="26651" y="57236"/>
                </a:lnTo>
                <a:lnTo>
                  <a:pt x="25013" y="55588"/>
                </a:lnTo>
                <a:lnTo>
                  <a:pt x="24679" y="54855"/>
                </a:lnTo>
                <a:lnTo>
                  <a:pt x="27004" y="53035"/>
                </a:lnTo>
                <a:lnTo>
                  <a:pt x="28242" y="50092"/>
                </a:lnTo>
                <a:lnTo>
                  <a:pt x="29813" y="51864"/>
                </a:lnTo>
                <a:lnTo>
                  <a:pt x="31718" y="55188"/>
                </a:lnTo>
                <a:lnTo>
                  <a:pt x="32738" y="56112"/>
                </a:lnTo>
                <a:lnTo>
                  <a:pt x="34643" y="59446"/>
                </a:lnTo>
                <a:close/>
                <a:moveTo>
                  <a:pt x="26022" y="71352"/>
                </a:moveTo>
                <a:lnTo>
                  <a:pt x="25813" y="72800"/>
                </a:lnTo>
                <a:lnTo>
                  <a:pt x="24194" y="70961"/>
                </a:lnTo>
                <a:lnTo>
                  <a:pt x="23374" y="67666"/>
                </a:lnTo>
                <a:lnTo>
                  <a:pt x="21327" y="62322"/>
                </a:lnTo>
                <a:lnTo>
                  <a:pt x="21060" y="60817"/>
                </a:lnTo>
                <a:lnTo>
                  <a:pt x="22117" y="59331"/>
                </a:lnTo>
                <a:lnTo>
                  <a:pt x="22060" y="57817"/>
                </a:lnTo>
                <a:lnTo>
                  <a:pt x="20612" y="53111"/>
                </a:lnTo>
                <a:lnTo>
                  <a:pt x="21822" y="52340"/>
                </a:lnTo>
                <a:lnTo>
                  <a:pt x="22546" y="52244"/>
                </a:lnTo>
                <a:lnTo>
                  <a:pt x="22841" y="55512"/>
                </a:lnTo>
                <a:lnTo>
                  <a:pt x="23498" y="57388"/>
                </a:lnTo>
                <a:lnTo>
                  <a:pt x="25470" y="59693"/>
                </a:lnTo>
                <a:lnTo>
                  <a:pt x="25070" y="63494"/>
                </a:lnTo>
                <a:lnTo>
                  <a:pt x="25470" y="68894"/>
                </a:lnTo>
                <a:lnTo>
                  <a:pt x="25870" y="70094"/>
                </a:lnTo>
                <a:lnTo>
                  <a:pt x="26022" y="71352"/>
                </a:lnTo>
                <a:close/>
                <a:moveTo>
                  <a:pt x="35204" y="67646"/>
                </a:moveTo>
                <a:lnTo>
                  <a:pt x="35881" y="69304"/>
                </a:lnTo>
                <a:lnTo>
                  <a:pt x="33366" y="67808"/>
                </a:lnTo>
                <a:lnTo>
                  <a:pt x="31109" y="67237"/>
                </a:lnTo>
                <a:lnTo>
                  <a:pt x="30632" y="66113"/>
                </a:lnTo>
                <a:lnTo>
                  <a:pt x="30956" y="65189"/>
                </a:lnTo>
                <a:lnTo>
                  <a:pt x="31442" y="64294"/>
                </a:lnTo>
                <a:lnTo>
                  <a:pt x="33147" y="64418"/>
                </a:lnTo>
                <a:lnTo>
                  <a:pt x="33404" y="65294"/>
                </a:lnTo>
                <a:lnTo>
                  <a:pt x="35204" y="67646"/>
                </a:lnTo>
                <a:close/>
                <a:moveTo>
                  <a:pt x="44748" y="83468"/>
                </a:moveTo>
                <a:lnTo>
                  <a:pt x="44063" y="84458"/>
                </a:lnTo>
                <a:lnTo>
                  <a:pt x="42329" y="82639"/>
                </a:lnTo>
                <a:lnTo>
                  <a:pt x="40739" y="81343"/>
                </a:lnTo>
                <a:lnTo>
                  <a:pt x="39605" y="79800"/>
                </a:lnTo>
                <a:lnTo>
                  <a:pt x="37376" y="77876"/>
                </a:lnTo>
                <a:lnTo>
                  <a:pt x="36624" y="75676"/>
                </a:lnTo>
                <a:lnTo>
                  <a:pt x="33300" y="71180"/>
                </a:lnTo>
                <a:lnTo>
                  <a:pt x="32804" y="69961"/>
                </a:lnTo>
                <a:lnTo>
                  <a:pt x="34461" y="71780"/>
                </a:lnTo>
                <a:lnTo>
                  <a:pt x="35843" y="72923"/>
                </a:lnTo>
                <a:lnTo>
                  <a:pt x="36986" y="73200"/>
                </a:lnTo>
                <a:lnTo>
                  <a:pt x="39881" y="76067"/>
                </a:lnTo>
                <a:lnTo>
                  <a:pt x="42729" y="79743"/>
                </a:lnTo>
                <a:lnTo>
                  <a:pt x="46120" y="82934"/>
                </a:lnTo>
                <a:lnTo>
                  <a:pt x="45415" y="83029"/>
                </a:lnTo>
                <a:lnTo>
                  <a:pt x="44748" y="83468"/>
                </a:lnTo>
                <a:close/>
                <a:moveTo>
                  <a:pt x="44758" y="98812"/>
                </a:moveTo>
                <a:lnTo>
                  <a:pt x="45139" y="99355"/>
                </a:lnTo>
                <a:lnTo>
                  <a:pt x="45101" y="99727"/>
                </a:lnTo>
                <a:lnTo>
                  <a:pt x="43710" y="99203"/>
                </a:lnTo>
                <a:lnTo>
                  <a:pt x="43339" y="99374"/>
                </a:lnTo>
                <a:lnTo>
                  <a:pt x="36795" y="91287"/>
                </a:lnTo>
                <a:lnTo>
                  <a:pt x="36090" y="89706"/>
                </a:lnTo>
                <a:lnTo>
                  <a:pt x="38434" y="91592"/>
                </a:lnTo>
                <a:lnTo>
                  <a:pt x="44758" y="98812"/>
                </a:lnTo>
                <a:close/>
                <a:moveTo>
                  <a:pt x="45882" y="93631"/>
                </a:moveTo>
                <a:lnTo>
                  <a:pt x="46301" y="94935"/>
                </a:lnTo>
                <a:lnTo>
                  <a:pt x="42967" y="92478"/>
                </a:lnTo>
                <a:lnTo>
                  <a:pt x="41700" y="90830"/>
                </a:lnTo>
                <a:lnTo>
                  <a:pt x="41472" y="90088"/>
                </a:lnTo>
                <a:lnTo>
                  <a:pt x="45882" y="93631"/>
                </a:lnTo>
                <a:close/>
                <a:moveTo>
                  <a:pt x="49635" y="96907"/>
                </a:moveTo>
                <a:lnTo>
                  <a:pt x="51397" y="99660"/>
                </a:lnTo>
                <a:lnTo>
                  <a:pt x="49711" y="99088"/>
                </a:lnTo>
                <a:lnTo>
                  <a:pt x="47959" y="97393"/>
                </a:lnTo>
                <a:lnTo>
                  <a:pt x="46930" y="95545"/>
                </a:lnTo>
                <a:lnTo>
                  <a:pt x="49635" y="96907"/>
                </a:lnTo>
                <a:close/>
                <a:moveTo>
                  <a:pt x="87430" y="122777"/>
                </a:moveTo>
                <a:lnTo>
                  <a:pt x="83211" y="122872"/>
                </a:lnTo>
                <a:lnTo>
                  <a:pt x="79543" y="122206"/>
                </a:lnTo>
                <a:lnTo>
                  <a:pt x="77753" y="121072"/>
                </a:lnTo>
                <a:lnTo>
                  <a:pt x="77886" y="120110"/>
                </a:lnTo>
                <a:lnTo>
                  <a:pt x="78438" y="118510"/>
                </a:lnTo>
                <a:lnTo>
                  <a:pt x="82525" y="118701"/>
                </a:lnTo>
                <a:lnTo>
                  <a:pt x="88745" y="119834"/>
                </a:lnTo>
                <a:lnTo>
                  <a:pt x="90268" y="121158"/>
                </a:lnTo>
                <a:lnTo>
                  <a:pt x="89792" y="121768"/>
                </a:lnTo>
                <a:lnTo>
                  <a:pt x="87430" y="122777"/>
                </a:lnTo>
                <a:close/>
                <a:moveTo>
                  <a:pt x="98355" y="128073"/>
                </a:moveTo>
                <a:lnTo>
                  <a:pt x="96488" y="128454"/>
                </a:lnTo>
                <a:lnTo>
                  <a:pt x="84591" y="128168"/>
                </a:lnTo>
                <a:lnTo>
                  <a:pt x="81134" y="127406"/>
                </a:lnTo>
                <a:lnTo>
                  <a:pt x="77286" y="125454"/>
                </a:lnTo>
                <a:lnTo>
                  <a:pt x="76505" y="124854"/>
                </a:lnTo>
                <a:lnTo>
                  <a:pt x="80372" y="124282"/>
                </a:lnTo>
                <a:lnTo>
                  <a:pt x="83972" y="124854"/>
                </a:lnTo>
                <a:lnTo>
                  <a:pt x="85077" y="126273"/>
                </a:lnTo>
                <a:lnTo>
                  <a:pt x="94802" y="127406"/>
                </a:lnTo>
                <a:lnTo>
                  <a:pt x="98355" y="128073"/>
                </a:lnTo>
                <a:close/>
                <a:moveTo>
                  <a:pt x="111014" y="136407"/>
                </a:moveTo>
                <a:lnTo>
                  <a:pt x="112957" y="135741"/>
                </a:lnTo>
                <a:lnTo>
                  <a:pt x="114605" y="136227"/>
                </a:lnTo>
                <a:lnTo>
                  <a:pt x="115653" y="138303"/>
                </a:lnTo>
                <a:lnTo>
                  <a:pt x="117720" y="139675"/>
                </a:lnTo>
                <a:lnTo>
                  <a:pt x="121082" y="142075"/>
                </a:lnTo>
                <a:lnTo>
                  <a:pt x="123206" y="143913"/>
                </a:lnTo>
                <a:lnTo>
                  <a:pt x="128016" y="147209"/>
                </a:lnTo>
                <a:lnTo>
                  <a:pt x="129159" y="147666"/>
                </a:lnTo>
                <a:lnTo>
                  <a:pt x="131559" y="148647"/>
                </a:lnTo>
                <a:lnTo>
                  <a:pt x="131607" y="149981"/>
                </a:lnTo>
                <a:lnTo>
                  <a:pt x="132636" y="151495"/>
                </a:lnTo>
                <a:lnTo>
                  <a:pt x="133721" y="153238"/>
                </a:lnTo>
                <a:lnTo>
                  <a:pt x="128787" y="149809"/>
                </a:lnTo>
                <a:lnTo>
                  <a:pt x="124187" y="145970"/>
                </a:lnTo>
                <a:lnTo>
                  <a:pt x="115186" y="140046"/>
                </a:lnTo>
                <a:lnTo>
                  <a:pt x="108804" y="138608"/>
                </a:lnTo>
                <a:lnTo>
                  <a:pt x="100069" y="133836"/>
                </a:lnTo>
                <a:lnTo>
                  <a:pt x="94383" y="132140"/>
                </a:lnTo>
                <a:lnTo>
                  <a:pt x="96555" y="131750"/>
                </a:lnTo>
                <a:lnTo>
                  <a:pt x="99050" y="131740"/>
                </a:lnTo>
                <a:lnTo>
                  <a:pt x="112519" y="138113"/>
                </a:lnTo>
                <a:lnTo>
                  <a:pt x="111014" y="136407"/>
                </a:lnTo>
                <a:close/>
                <a:moveTo>
                  <a:pt x="83839" y="132788"/>
                </a:moveTo>
                <a:lnTo>
                  <a:pt x="88782" y="133807"/>
                </a:lnTo>
                <a:lnTo>
                  <a:pt x="92402" y="133340"/>
                </a:lnTo>
                <a:lnTo>
                  <a:pt x="95678" y="133969"/>
                </a:lnTo>
                <a:lnTo>
                  <a:pt x="97717" y="135122"/>
                </a:lnTo>
                <a:lnTo>
                  <a:pt x="98203" y="135693"/>
                </a:lnTo>
                <a:lnTo>
                  <a:pt x="95565" y="135769"/>
                </a:lnTo>
                <a:lnTo>
                  <a:pt x="92573" y="135303"/>
                </a:lnTo>
                <a:lnTo>
                  <a:pt x="89183" y="136474"/>
                </a:lnTo>
                <a:lnTo>
                  <a:pt x="86192" y="135855"/>
                </a:lnTo>
                <a:lnTo>
                  <a:pt x="85058" y="135084"/>
                </a:lnTo>
                <a:lnTo>
                  <a:pt x="84258" y="134131"/>
                </a:lnTo>
                <a:lnTo>
                  <a:pt x="83839" y="132788"/>
                </a:lnTo>
                <a:close/>
                <a:moveTo>
                  <a:pt x="109424" y="141056"/>
                </a:moveTo>
                <a:lnTo>
                  <a:pt x="113072" y="143542"/>
                </a:lnTo>
                <a:lnTo>
                  <a:pt x="102375" y="140275"/>
                </a:lnTo>
                <a:lnTo>
                  <a:pt x="103584" y="139979"/>
                </a:lnTo>
                <a:lnTo>
                  <a:pt x="104718" y="139913"/>
                </a:lnTo>
                <a:lnTo>
                  <a:pt x="109424" y="141056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7" name="Forme libre : forme 26">
            <a:extLst>
              <a:ext uri="{FF2B5EF4-FFF2-40B4-BE49-F238E27FC236}">
                <a16:creationId xmlns:a16="http://schemas.microsoft.com/office/drawing/2014/main" id="{5B1A940D-E11E-1FCF-F772-898A8DD4153C}"/>
              </a:ext>
            </a:extLst>
          </p:cNvPr>
          <p:cNvSpPr/>
          <p:nvPr/>
        </p:nvSpPr>
        <p:spPr>
          <a:xfrm>
            <a:off x="6082641" y="3634085"/>
            <a:ext cx="236516" cy="143179"/>
          </a:xfrm>
          <a:custGeom>
            <a:avLst/>
            <a:gdLst>
              <a:gd name="connsiteX0" fmla="*/ 161439 w 181336"/>
              <a:gd name="connsiteY0" fmla="*/ 5953 h 109775"/>
              <a:gd name="connsiteX1" fmla="*/ 163982 w 181336"/>
              <a:gd name="connsiteY1" fmla="*/ 5629 h 109775"/>
              <a:gd name="connsiteX2" fmla="*/ 164087 w 181336"/>
              <a:gd name="connsiteY2" fmla="*/ 5677 h 109775"/>
              <a:gd name="connsiteX3" fmla="*/ 164687 w 181336"/>
              <a:gd name="connsiteY3" fmla="*/ 5867 h 109775"/>
              <a:gd name="connsiteX4" fmla="*/ 165116 w 181336"/>
              <a:gd name="connsiteY4" fmla="*/ 7734 h 109775"/>
              <a:gd name="connsiteX5" fmla="*/ 165182 w 181336"/>
              <a:gd name="connsiteY5" fmla="*/ 7858 h 109775"/>
              <a:gd name="connsiteX6" fmla="*/ 165802 w 181336"/>
              <a:gd name="connsiteY6" fmla="*/ 9087 h 109775"/>
              <a:gd name="connsiteX7" fmla="*/ 166373 w 181336"/>
              <a:gd name="connsiteY7" fmla="*/ 10716 h 109775"/>
              <a:gd name="connsiteX8" fmla="*/ 167268 w 181336"/>
              <a:gd name="connsiteY8" fmla="*/ 11944 h 109775"/>
              <a:gd name="connsiteX9" fmla="*/ 169240 w 181336"/>
              <a:gd name="connsiteY9" fmla="*/ 12449 h 109775"/>
              <a:gd name="connsiteX10" fmla="*/ 171812 w 181336"/>
              <a:gd name="connsiteY10" fmla="*/ 13964 h 109775"/>
              <a:gd name="connsiteX11" fmla="*/ 173479 w 181336"/>
              <a:gd name="connsiteY11" fmla="*/ 16821 h 109775"/>
              <a:gd name="connsiteX12" fmla="*/ 175984 w 181336"/>
              <a:gd name="connsiteY12" fmla="*/ 18002 h 109775"/>
              <a:gd name="connsiteX13" fmla="*/ 176165 w 181336"/>
              <a:gd name="connsiteY13" fmla="*/ 18031 h 109775"/>
              <a:gd name="connsiteX14" fmla="*/ 176660 w 181336"/>
              <a:gd name="connsiteY14" fmla="*/ 17897 h 109775"/>
              <a:gd name="connsiteX15" fmla="*/ 178470 w 181336"/>
              <a:gd name="connsiteY15" fmla="*/ 17793 h 109775"/>
              <a:gd name="connsiteX16" fmla="*/ 178822 w 181336"/>
              <a:gd name="connsiteY16" fmla="*/ 18364 h 109775"/>
              <a:gd name="connsiteX17" fmla="*/ 180261 w 181336"/>
              <a:gd name="connsiteY17" fmla="*/ 19764 h 109775"/>
              <a:gd name="connsiteX18" fmla="*/ 180823 w 181336"/>
              <a:gd name="connsiteY18" fmla="*/ 20984 h 109775"/>
              <a:gd name="connsiteX19" fmla="*/ 180537 w 181336"/>
              <a:gd name="connsiteY19" fmla="*/ 22279 h 109775"/>
              <a:gd name="connsiteX20" fmla="*/ 180794 w 181336"/>
              <a:gd name="connsiteY20" fmla="*/ 23746 h 109775"/>
              <a:gd name="connsiteX21" fmla="*/ 181337 w 181336"/>
              <a:gd name="connsiteY21" fmla="*/ 24260 h 109775"/>
              <a:gd name="connsiteX22" fmla="*/ 180680 w 181336"/>
              <a:gd name="connsiteY22" fmla="*/ 25241 h 109775"/>
              <a:gd name="connsiteX23" fmla="*/ 176003 w 181336"/>
              <a:gd name="connsiteY23" fmla="*/ 30156 h 109775"/>
              <a:gd name="connsiteX24" fmla="*/ 174164 w 181336"/>
              <a:gd name="connsiteY24" fmla="*/ 31452 h 109775"/>
              <a:gd name="connsiteX25" fmla="*/ 172955 w 181336"/>
              <a:gd name="connsiteY25" fmla="*/ 31718 h 109775"/>
              <a:gd name="connsiteX26" fmla="*/ 171040 w 181336"/>
              <a:gd name="connsiteY26" fmla="*/ 31204 h 109775"/>
              <a:gd name="connsiteX27" fmla="*/ 169069 w 181336"/>
              <a:gd name="connsiteY27" fmla="*/ 31595 h 109775"/>
              <a:gd name="connsiteX28" fmla="*/ 167307 w 181336"/>
              <a:gd name="connsiteY28" fmla="*/ 32642 h 109775"/>
              <a:gd name="connsiteX29" fmla="*/ 165678 w 181336"/>
              <a:gd name="connsiteY29" fmla="*/ 32976 h 109775"/>
              <a:gd name="connsiteX30" fmla="*/ 164449 w 181336"/>
              <a:gd name="connsiteY30" fmla="*/ 34223 h 109775"/>
              <a:gd name="connsiteX31" fmla="*/ 162858 w 181336"/>
              <a:gd name="connsiteY31" fmla="*/ 36890 h 109775"/>
              <a:gd name="connsiteX32" fmla="*/ 160896 w 181336"/>
              <a:gd name="connsiteY32" fmla="*/ 39138 h 109775"/>
              <a:gd name="connsiteX33" fmla="*/ 158925 w 181336"/>
              <a:gd name="connsiteY33" fmla="*/ 40539 h 109775"/>
              <a:gd name="connsiteX34" fmla="*/ 157896 w 181336"/>
              <a:gd name="connsiteY34" fmla="*/ 41786 h 109775"/>
              <a:gd name="connsiteX35" fmla="*/ 157782 w 181336"/>
              <a:gd name="connsiteY35" fmla="*/ 46092 h 109775"/>
              <a:gd name="connsiteX36" fmla="*/ 156686 w 181336"/>
              <a:gd name="connsiteY36" fmla="*/ 47330 h 109775"/>
              <a:gd name="connsiteX37" fmla="*/ 155219 w 181336"/>
              <a:gd name="connsiteY37" fmla="*/ 48578 h 109775"/>
              <a:gd name="connsiteX38" fmla="*/ 154410 w 181336"/>
              <a:gd name="connsiteY38" fmla="*/ 49673 h 109775"/>
              <a:gd name="connsiteX39" fmla="*/ 152172 w 181336"/>
              <a:gd name="connsiteY39" fmla="*/ 56207 h 109775"/>
              <a:gd name="connsiteX40" fmla="*/ 150476 w 181336"/>
              <a:gd name="connsiteY40" fmla="*/ 58293 h 109775"/>
              <a:gd name="connsiteX41" fmla="*/ 148857 w 181336"/>
              <a:gd name="connsiteY41" fmla="*/ 59893 h 109775"/>
              <a:gd name="connsiteX42" fmla="*/ 148590 w 181336"/>
              <a:gd name="connsiteY42" fmla="*/ 61351 h 109775"/>
              <a:gd name="connsiteX43" fmla="*/ 148618 w 181336"/>
              <a:gd name="connsiteY43" fmla="*/ 63027 h 109775"/>
              <a:gd name="connsiteX44" fmla="*/ 146790 w 181336"/>
              <a:gd name="connsiteY44" fmla="*/ 66361 h 109775"/>
              <a:gd name="connsiteX45" fmla="*/ 144389 w 181336"/>
              <a:gd name="connsiteY45" fmla="*/ 69809 h 109775"/>
              <a:gd name="connsiteX46" fmla="*/ 143932 w 181336"/>
              <a:gd name="connsiteY46" fmla="*/ 71228 h 109775"/>
              <a:gd name="connsiteX47" fmla="*/ 144466 w 181336"/>
              <a:gd name="connsiteY47" fmla="*/ 73133 h 109775"/>
              <a:gd name="connsiteX48" fmla="*/ 142161 w 181336"/>
              <a:gd name="connsiteY48" fmla="*/ 75324 h 109775"/>
              <a:gd name="connsiteX49" fmla="*/ 140837 w 181336"/>
              <a:gd name="connsiteY49" fmla="*/ 76381 h 109775"/>
              <a:gd name="connsiteX50" fmla="*/ 139732 w 181336"/>
              <a:gd name="connsiteY50" fmla="*/ 76876 h 109775"/>
              <a:gd name="connsiteX51" fmla="*/ 139046 w 181336"/>
              <a:gd name="connsiteY51" fmla="*/ 78248 h 109775"/>
              <a:gd name="connsiteX52" fmla="*/ 137922 w 181336"/>
              <a:gd name="connsiteY52" fmla="*/ 81591 h 109775"/>
              <a:gd name="connsiteX53" fmla="*/ 138217 w 181336"/>
              <a:gd name="connsiteY53" fmla="*/ 83077 h 109775"/>
              <a:gd name="connsiteX54" fmla="*/ 138246 w 181336"/>
              <a:gd name="connsiteY54" fmla="*/ 84449 h 109775"/>
              <a:gd name="connsiteX55" fmla="*/ 136303 w 181336"/>
              <a:gd name="connsiteY55" fmla="*/ 85249 h 109775"/>
              <a:gd name="connsiteX56" fmla="*/ 135731 w 181336"/>
              <a:gd name="connsiteY56" fmla="*/ 86754 h 109775"/>
              <a:gd name="connsiteX57" fmla="*/ 135236 w 181336"/>
              <a:gd name="connsiteY57" fmla="*/ 88621 h 109775"/>
              <a:gd name="connsiteX58" fmla="*/ 134426 w 181336"/>
              <a:gd name="connsiteY58" fmla="*/ 89459 h 109775"/>
              <a:gd name="connsiteX59" fmla="*/ 132245 w 181336"/>
              <a:gd name="connsiteY59" fmla="*/ 91012 h 109775"/>
              <a:gd name="connsiteX60" fmla="*/ 126816 w 181336"/>
              <a:gd name="connsiteY60" fmla="*/ 90335 h 109775"/>
              <a:gd name="connsiteX61" fmla="*/ 124768 w 181336"/>
              <a:gd name="connsiteY61" fmla="*/ 90859 h 109775"/>
              <a:gd name="connsiteX62" fmla="*/ 124158 w 181336"/>
              <a:gd name="connsiteY62" fmla="*/ 91964 h 109775"/>
              <a:gd name="connsiteX63" fmla="*/ 124034 w 181336"/>
              <a:gd name="connsiteY63" fmla="*/ 92850 h 109775"/>
              <a:gd name="connsiteX64" fmla="*/ 123349 w 181336"/>
              <a:gd name="connsiteY64" fmla="*/ 93688 h 109775"/>
              <a:gd name="connsiteX65" fmla="*/ 122120 w 181336"/>
              <a:gd name="connsiteY65" fmla="*/ 94726 h 109775"/>
              <a:gd name="connsiteX66" fmla="*/ 120853 w 181336"/>
              <a:gd name="connsiteY66" fmla="*/ 95193 h 109775"/>
              <a:gd name="connsiteX67" fmla="*/ 118024 w 181336"/>
              <a:gd name="connsiteY67" fmla="*/ 93907 h 109775"/>
              <a:gd name="connsiteX68" fmla="*/ 111957 w 181336"/>
              <a:gd name="connsiteY68" fmla="*/ 95222 h 109775"/>
              <a:gd name="connsiteX69" fmla="*/ 110909 w 181336"/>
              <a:gd name="connsiteY69" fmla="*/ 96155 h 109775"/>
              <a:gd name="connsiteX70" fmla="*/ 110061 w 181336"/>
              <a:gd name="connsiteY70" fmla="*/ 95479 h 109775"/>
              <a:gd name="connsiteX71" fmla="*/ 108756 w 181336"/>
              <a:gd name="connsiteY71" fmla="*/ 94879 h 109775"/>
              <a:gd name="connsiteX72" fmla="*/ 102689 w 181336"/>
              <a:gd name="connsiteY72" fmla="*/ 94117 h 109775"/>
              <a:gd name="connsiteX73" fmla="*/ 100289 w 181336"/>
              <a:gd name="connsiteY73" fmla="*/ 94717 h 109775"/>
              <a:gd name="connsiteX74" fmla="*/ 97079 w 181336"/>
              <a:gd name="connsiteY74" fmla="*/ 94488 h 109775"/>
              <a:gd name="connsiteX75" fmla="*/ 94116 w 181336"/>
              <a:gd name="connsiteY75" fmla="*/ 93821 h 109775"/>
              <a:gd name="connsiteX76" fmla="*/ 91897 w 181336"/>
              <a:gd name="connsiteY76" fmla="*/ 94364 h 109775"/>
              <a:gd name="connsiteX77" fmla="*/ 89945 w 181336"/>
              <a:gd name="connsiteY77" fmla="*/ 96974 h 109775"/>
              <a:gd name="connsiteX78" fmla="*/ 88973 w 181336"/>
              <a:gd name="connsiteY78" fmla="*/ 97850 h 109775"/>
              <a:gd name="connsiteX79" fmla="*/ 88211 w 181336"/>
              <a:gd name="connsiteY79" fmla="*/ 98412 h 109775"/>
              <a:gd name="connsiteX80" fmla="*/ 86544 w 181336"/>
              <a:gd name="connsiteY80" fmla="*/ 99231 h 109775"/>
              <a:gd name="connsiteX81" fmla="*/ 85144 w 181336"/>
              <a:gd name="connsiteY81" fmla="*/ 100212 h 109775"/>
              <a:gd name="connsiteX82" fmla="*/ 83286 w 181336"/>
              <a:gd name="connsiteY82" fmla="*/ 100917 h 109775"/>
              <a:gd name="connsiteX83" fmla="*/ 81619 w 181336"/>
              <a:gd name="connsiteY83" fmla="*/ 100822 h 109775"/>
              <a:gd name="connsiteX84" fmla="*/ 80048 w 181336"/>
              <a:gd name="connsiteY84" fmla="*/ 99698 h 109775"/>
              <a:gd name="connsiteX85" fmla="*/ 79486 w 181336"/>
              <a:gd name="connsiteY85" fmla="*/ 99956 h 109775"/>
              <a:gd name="connsiteX86" fmla="*/ 78991 w 181336"/>
              <a:gd name="connsiteY86" fmla="*/ 100994 h 109775"/>
              <a:gd name="connsiteX87" fmla="*/ 78134 w 181336"/>
              <a:gd name="connsiteY87" fmla="*/ 101870 h 109775"/>
              <a:gd name="connsiteX88" fmla="*/ 75781 w 181336"/>
              <a:gd name="connsiteY88" fmla="*/ 102956 h 109775"/>
              <a:gd name="connsiteX89" fmla="*/ 75181 w 181336"/>
              <a:gd name="connsiteY89" fmla="*/ 102937 h 109775"/>
              <a:gd name="connsiteX90" fmla="*/ 75047 w 181336"/>
              <a:gd name="connsiteY90" fmla="*/ 102937 h 109775"/>
              <a:gd name="connsiteX91" fmla="*/ 73247 w 181336"/>
              <a:gd name="connsiteY91" fmla="*/ 103737 h 109775"/>
              <a:gd name="connsiteX92" fmla="*/ 70275 w 181336"/>
              <a:gd name="connsiteY92" fmla="*/ 104185 h 109775"/>
              <a:gd name="connsiteX93" fmla="*/ 68780 w 181336"/>
              <a:gd name="connsiteY93" fmla="*/ 103870 h 109775"/>
              <a:gd name="connsiteX94" fmla="*/ 66075 w 181336"/>
              <a:gd name="connsiteY94" fmla="*/ 107471 h 109775"/>
              <a:gd name="connsiteX95" fmla="*/ 65246 w 181336"/>
              <a:gd name="connsiteY95" fmla="*/ 108128 h 109775"/>
              <a:gd name="connsiteX96" fmla="*/ 62665 w 181336"/>
              <a:gd name="connsiteY96" fmla="*/ 109223 h 109775"/>
              <a:gd name="connsiteX97" fmla="*/ 60560 w 181336"/>
              <a:gd name="connsiteY97" fmla="*/ 109776 h 109775"/>
              <a:gd name="connsiteX98" fmla="*/ 58750 w 181336"/>
              <a:gd name="connsiteY98" fmla="*/ 109338 h 109775"/>
              <a:gd name="connsiteX99" fmla="*/ 58035 w 181336"/>
              <a:gd name="connsiteY99" fmla="*/ 109299 h 109775"/>
              <a:gd name="connsiteX100" fmla="*/ 50016 w 181336"/>
              <a:gd name="connsiteY100" fmla="*/ 109119 h 109775"/>
              <a:gd name="connsiteX101" fmla="*/ 45825 w 181336"/>
              <a:gd name="connsiteY101" fmla="*/ 108347 h 109775"/>
              <a:gd name="connsiteX102" fmla="*/ 43139 w 181336"/>
              <a:gd name="connsiteY102" fmla="*/ 106937 h 109775"/>
              <a:gd name="connsiteX103" fmla="*/ 41348 w 181336"/>
              <a:gd name="connsiteY103" fmla="*/ 105366 h 109775"/>
              <a:gd name="connsiteX104" fmla="*/ 40471 w 181336"/>
              <a:gd name="connsiteY104" fmla="*/ 103622 h 109775"/>
              <a:gd name="connsiteX105" fmla="*/ 38395 w 181336"/>
              <a:gd name="connsiteY105" fmla="*/ 102575 h 109775"/>
              <a:gd name="connsiteX106" fmla="*/ 35109 w 181336"/>
              <a:gd name="connsiteY106" fmla="*/ 102203 h 109775"/>
              <a:gd name="connsiteX107" fmla="*/ 32556 w 181336"/>
              <a:gd name="connsiteY107" fmla="*/ 100470 h 109775"/>
              <a:gd name="connsiteX108" fmla="*/ 30718 w 181336"/>
              <a:gd name="connsiteY108" fmla="*/ 97384 h 109775"/>
              <a:gd name="connsiteX109" fmla="*/ 28251 w 181336"/>
              <a:gd name="connsiteY109" fmla="*/ 94936 h 109775"/>
              <a:gd name="connsiteX110" fmla="*/ 25117 w 181336"/>
              <a:gd name="connsiteY110" fmla="*/ 93126 h 109775"/>
              <a:gd name="connsiteX111" fmla="*/ 22641 w 181336"/>
              <a:gd name="connsiteY111" fmla="*/ 90573 h 109775"/>
              <a:gd name="connsiteX112" fmla="*/ 20812 w 181336"/>
              <a:gd name="connsiteY112" fmla="*/ 87268 h 109775"/>
              <a:gd name="connsiteX113" fmla="*/ 17516 w 181336"/>
              <a:gd name="connsiteY113" fmla="*/ 84287 h 109775"/>
              <a:gd name="connsiteX114" fmla="*/ 12754 w 181336"/>
              <a:gd name="connsiteY114" fmla="*/ 81639 h 109775"/>
              <a:gd name="connsiteX115" fmla="*/ 11316 w 181336"/>
              <a:gd name="connsiteY115" fmla="*/ 81058 h 109775"/>
              <a:gd name="connsiteX116" fmla="*/ 11030 w 181336"/>
              <a:gd name="connsiteY116" fmla="*/ 80201 h 109775"/>
              <a:gd name="connsiteX117" fmla="*/ 8706 w 181336"/>
              <a:gd name="connsiteY117" fmla="*/ 76905 h 109775"/>
              <a:gd name="connsiteX118" fmla="*/ 7705 w 181336"/>
              <a:gd name="connsiteY118" fmla="*/ 75686 h 109775"/>
              <a:gd name="connsiteX119" fmla="*/ 7801 w 181336"/>
              <a:gd name="connsiteY119" fmla="*/ 74048 h 109775"/>
              <a:gd name="connsiteX120" fmla="*/ 7334 w 181336"/>
              <a:gd name="connsiteY120" fmla="*/ 73114 h 109775"/>
              <a:gd name="connsiteX121" fmla="*/ 6486 w 181336"/>
              <a:gd name="connsiteY121" fmla="*/ 72466 h 109775"/>
              <a:gd name="connsiteX122" fmla="*/ 6029 w 181336"/>
              <a:gd name="connsiteY122" fmla="*/ 70095 h 109775"/>
              <a:gd name="connsiteX123" fmla="*/ 5762 w 181336"/>
              <a:gd name="connsiteY123" fmla="*/ 68323 h 109775"/>
              <a:gd name="connsiteX124" fmla="*/ 5096 w 181336"/>
              <a:gd name="connsiteY124" fmla="*/ 67180 h 109775"/>
              <a:gd name="connsiteX125" fmla="*/ 0 w 181336"/>
              <a:gd name="connsiteY125" fmla="*/ 66942 h 109775"/>
              <a:gd name="connsiteX126" fmla="*/ 4267 w 181336"/>
              <a:gd name="connsiteY126" fmla="*/ 62713 h 109775"/>
              <a:gd name="connsiteX127" fmla="*/ 6391 w 181336"/>
              <a:gd name="connsiteY127" fmla="*/ 61532 h 109775"/>
              <a:gd name="connsiteX128" fmla="*/ 8849 w 181336"/>
              <a:gd name="connsiteY128" fmla="*/ 61732 h 109775"/>
              <a:gd name="connsiteX129" fmla="*/ 9639 w 181336"/>
              <a:gd name="connsiteY129" fmla="*/ 61351 h 109775"/>
              <a:gd name="connsiteX130" fmla="*/ 9849 w 181336"/>
              <a:gd name="connsiteY130" fmla="*/ 60731 h 109775"/>
              <a:gd name="connsiteX131" fmla="*/ 10268 w 181336"/>
              <a:gd name="connsiteY131" fmla="*/ 59350 h 109775"/>
              <a:gd name="connsiteX132" fmla="*/ 10477 w 181336"/>
              <a:gd name="connsiteY132" fmla="*/ 58046 h 109775"/>
              <a:gd name="connsiteX133" fmla="*/ 10687 w 181336"/>
              <a:gd name="connsiteY133" fmla="*/ 56807 h 109775"/>
              <a:gd name="connsiteX134" fmla="*/ 10420 w 181336"/>
              <a:gd name="connsiteY134" fmla="*/ 56121 h 109775"/>
              <a:gd name="connsiteX135" fmla="*/ 9230 w 181336"/>
              <a:gd name="connsiteY135" fmla="*/ 55902 h 109775"/>
              <a:gd name="connsiteX136" fmla="*/ 8658 w 181336"/>
              <a:gd name="connsiteY136" fmla="*/ 52864 h 109775"/>
              <a:gd name="connsiteX137" fmla="*/ 9267 w 181336"/>
              <a:gd name="connsiteY137" fmla="*/ 51711 h 109775"/>
              <a:gd name="connsiteX138" fmla="*/ 9877 w 181336"/>
              <a:gd name="connsiteY138" fmla="*/ 50911 h 109775"/>
              <a:gd name="connsiteX139" fmla="*/ 9125 w 181336"/>
              <a:gd name="connsiteY139" fmla="*/ 47206 h 109775"/>
              <a:gd name="connsiteX140" fmla="*/ 9353 w 181336"/>
              <a:gd name="connsiteY140" fmla="*/ 45939 h 109775"/>
              <a:gd name="connsiteX141" fmla="*/ 11277 w 181336"/>
              <a:gd name="connsiteY141" fmla="*/ 45739 h 109775"/>
              <a:gd name="connsiteX142" fmla="*/ 12868 w 181336"/>
              <a:gd name="connsiteY142" fmla="*/ 44949 h 109775"/>
              <a:gd name="connsiteX143" fmla="*/ 14173 w 181336"/>
              <a:gd name="connsiteY143" fmla="*/ 44053 h 109775"/>
              <a:gd name="connsiteX144" fmla="*/ 14535 w 181336"/>
              <a:gd name="connsiteY144" fmla="*/ 42901 h 109775"/>
              <a:gd name="connsiteX145" fmla="*/ 15602 w 181336"/>
              <a:gd name="connsiteY145" fmla="*/ 40557 h 109775"/>
              <a:gd name="connsiteX146" fmla="*/ 14621 w 181336"/>
              <a:gd name="connsiteY146" fmla="*/ 37681 h 109775"/>
              <a:gd name="connsiteX147" fmla="*/ 9067 w 181336"/>
              <a:gd name="connsiteY147" fmla="*/ 35805 h 109775"/>
              <a:gd name="connsiteX148" fmla="*/ 8782 w 181336"/>
              <a:gd name="connsiteY148" fmla="*/ 35090 h 109775"/>
              <a:gd name="connsiteX149" fmla="*/ 10068 w 181336"/>
              <a:gd name="connsiteY149" fmla="*/ 34271 h 109775"/>
              <a:gd name="connsiteX150" fmla="*/ 11449 w 181336"/>
              <a:gd name="connsiteY150" fmla="*/ 33109 h 109775"/>
              <a:gd name="connsiteX151" fmla="*/ 12249 w 181336"/>
              <a:gd name="connsiteY151" fmla="*/ 32195 h 109775"/>
              <a:gd name="connsiteX152" fmla="*/ 13316 w 181336"/>
              <a:gd name="connsiteY152" fmla="*/ 32071 h 109775"/>
              <a:gd name="connsiteX153" fmla="*/ 14821 w 181336"/>
              <a:gd name="connsiteY153" fmla="*/ 32538 h 109775"/>
              <a:gd name="connsiteX154" fmla="*/ 17507 w 181336"/>
              <a:gd name="connsiteY154" fmla="*/ 34623 h 109775"/>
              <a:gd name="connsiteX155" fmla="*/ 18526 w 181336"/>
              <a:gd name="connsiteY155" fmla="*/ 34928 h 109775"/>
              <a:gd name="connsiteX156" fmla="*/ 19517 w 181336"/>
              <a:gd name="connsiteY156" fmla="*/ 34319 h 109775"/>
              <a:gd name="connsiteX157" fmla="*/ 20574 w 181336"/>
              <a:gd name="connsiteY157" fmla="*/ 34185 h 109775"/>
              <a:gd name="connsiteX158" fmla="*/ 23536 w 181336"/>
              <a:gd name="connsiteY158" fmla="*/ 34262 h 109775"/>
              <a:gd name="connsiteX159" fmla="*/ 26032 w 181336"/>
              <a:gd name="connsiteY159" fmla="*/ 33776 h 109775"/>
              <a:gd name="connsiteX160" fmla="*/ 25470 w 181336"/>
              <a:gd name="connsiteY160" fmla="*/ 31557 h 109775"/>
              <a:gd name="connsiteX161" fmla="*/ 25479 w 181336"/>
              <a:gd name="connsiteY161" fmla="*/ 29937 h 109775"/>
              <a:gd name="connsiteX162" fmla="*/ 25051 w 181336"/>
              <a:gd name="connsiteY162" fmla="*/ 28642 h 109775"/>
              <a:gd name="connsiteX163" fmla="*/ 25317 w 181336"/>
              <a:gd name="connsiteY163" fmla="*/ 27222 h 109775"/>
              <a:gd name="connsiteX164" fmla="*/ 26327 w 181336"/>
              <a:gd name="connsiteY164" fmla="*/ 26108 h 109775"/>
              <a:gd name="connsiteX165" fmla="*/ 26632 w 181336"/>
              <a:gd name="connsiteY165" fmla="*/ 23613 h 109775"/>
              <a:gd name="connsiteX166" fmla="*/ 28184 w 181336"/>
              <a:gd name="connsiteY166" fmla="*/ 21927 h 109775"/>
              <a:gd name="connsiteX167" fmla="*/ 28918 w 181336"/>
              <a:gd name="connsiteY167" fmla="*/ 21679 h 109775"/>
              <a:gd name="connsiteX168" fmla="*/ 31661 w 181336"/>
              <a:gd name="connsiteY168" fmla="*/ 21993 h 109775"/>
              <a:gd name="connsiteX169" fmla="*/ 32308 w 181336"/>
              <a:gd name="connsiteY169" fmla="*/ 22431 h 109775"/>
              <a:gd name="connsiteX170" fmla="*/ 32728 w 181336"/>
              <a:gd name="connsiteY170" fmla="*/ 22527 h 109775"/>
              <a:gd name="connsiteX171" fmla="*/ 37099 w 181336"/>
              <a:gd name="connsiteY171" fmla="*/ 26632 h 109775"/>
              <a:gd name="connsiteX172" fmla="*/ 41234 w 181336"/>
              <a:gd name="connsiteY172" fmla="*/ 29718 h 109775"/>
              <a:gd name="connsiteX173" fmla="*/ 44615 w 181336"/>
              <a:gd name="connsiteY173" fmla="*/ 31299 h 109775"/>
              <a:gd name="connsiteX174" fmla="*/ 49587 w 181336"/>
              <a:gd name="connsiteY174" fmla="*/ 31423 h 109775"/>
              <a:gd name="connsiteX175" fmla="*/ 54873 w 181336"/>
              <a:gd name="connsiteY175" fmla="*/ 31566 h 109775"/>
              <a:gd name="connsiteX176" fmla="*/ 63712 w 181336"/>
              <a:gd name="connsiteY176" fmla="*/ 31023 h 109775"/>
              <a:gd name="connsiteX177" fmla="*/ 70342 w 181336"/>
              <a:gd name="connsiteY177" fmla="*/ 30623 h 109775"/>
              <a:gd name="connsiteX178" fmla="*/ 70780 w 181336"/>
              <a:gd name="connsiteY178" fmla="*/ 29851 h 109775"/>
              <a:gd name="connsiteX179" fmla="*/ 71781 w 181336"/>
              <a:gd name="connsiteY179" fmla="*/ 28013 h 109775"/>
              <a:gd name="connsiteX180" fmla="*/ 70980 w 181336"/>
              <a:gd name="connsiteY180" fmla="*/ 26432 h 109775"/>
              <a:gd name="connsiteX181" fmla="*/ 71028 w 181336"/>
              <a:gd name="connsiteY181" fmla="*/ 24575 h 109775"/>
              <a:gd name="connsiteX182" fmla="*/ 72142 w 181336"/>
              <a:gd name="connsiteY182" fmla="*/ 22155 h 109775"/>
              <a:gd name="connsiteX183" fmla="*/ 75419 w 181336"/>
              <a:gd name="connsiteY183" fmla="*/ 20136 h 109775"/>
              <a:gd name="connsiteX184" fmla="*/ 84801 w 181336"/>
              <a:gd name="connsiteY184" fmla="*/ 19250 h 109775"/>
              <a:gd name="connsiteX185" fmla="*/ 90192 w 181336"/>
              <a:gd name="connsiteY185" fmla="*/ 17745 h 109775"/>
              <a:gd name="connsiteX186" fmla="*/ 91011 w 181336"/>
              <a:gd name="connsiteY186" fmla="*/ 15697 h 109775"/>
              <a:gd name="connsiteX187" fmla="*/ 92793 w 181336"/>
              <a:gd name="connsiteY187" fmla="*/ 13668 h 109775"/>
              <a:gd name="connsiteX188" fmla="*/ 94431 w 181336"/>
              <a:gd name="connsiteY188" fmla="*/ 13259 h 109775"/>
              <a:gd name="connsiteX189" fmla="*/ 96669 w 181336"/>
              <a:gd name="connsiteY189" fmla="*/ 14192 h 109775"/>
              <a:gd name="connsiteX190" fmla="*/ 99365 w 181336"/>
              <a:gd name="connsiteY190" fmla="*/ 15973 h 109775"/>
              <a:gd name="connsiteX191" fmla="*/ 101736 w 181336"/>
              <a:gd name="connsiteY191" fmla="*/ 16926 h 109775"/>
              <a:gd name="connsiteX192" fmla="*/ 103118 w 181336"/>
              <a:gd name="connsiteY192" fmla="*/ 16316 h 109775"/>
              <a:gd name="connsiteX193" fmla="*/ 107880 w 181336"/>
              <a:gd name="connsiteY193" fmla="*/ 13306 h 109775"/>
              <a:gd name="connsiteX194" fmla="*/ 113366 w 181336"/>
              <a:gd name="connsiteY194" fmla="*/ 10354 h 109775"/>
              <a:gd name="connsiteX195" fmla="*/ 117138 w 181336"/>
              <a:gd name="connsiteY195" fmla="*/ 2353 h 109775"/>
              <a:gd name="connsiteX196" fmla="*/ 117548 w 181336"/>
              <a:gd name="connsiteY196" fmla="*/ 1067 h 109775"/>
              <a:gd name="connsiteX197" fmla="*/ 121634 w 181336"/>
              <a:gd name="connsiteY197" fmla="*/ 153 h 109775"/>
              <a:gd name="connsiteX198" fmla="*/ 127606 w 181336"/>
              <a:gd name="connsiteY198" fmla="*/ 315 h 109775"/>
              <a:gd name="connsiteX199" fmla="*/ 130673 w 181336"/>
              <a:gd name="connsiteY199" fmla="*/ 1362 h 109775"/>
              <a:gd name="connsiteX200" fmla="*/ 132979 w 181336"/>
              <a:gd name="connsiteY200" fmla="*/ 1915 h 109775"/>
              <a:gd name="connsiteX201" fmla="*/ 136427 w 181336"/>
              <a:gd name="connsiteY201" fmla="*/ 1724 h 109775"/>
              <a:gd name="connsiteX202" fmla="*/ 141398 w 181336"/>
              <a:gd name="connsiteY202" fmla="*/ 0 h 109775"/>
              <a:gd name="connsiteX203" fmla="*/ 143237 w 181336"/>
              <a:gd name="connsiteY203" fmla="*/ 48 h 109775"/>
              <a:gd name="connsiteX204" fmla="*/ 144666 w 181336"/>
              <a:gd name="connsiteY204" fmla="*/ 1267 h 109775"/>
              <a:gd name="connsiteX205" fmla="*/ 146228 w 181336"/>
              <a:gd name="connsiteY205" fmla="*/ 2324 h 109775"/>
              <a:gd name="connsiteX206" fmla="*/ 147285 w 181336"/>
              <a:gd name="connsiteY206" fmla="*/ 3610 h 109775"/>
              <a:gd name="connsiteX207" fmla="*/ 148085 w 181336"/>
              <a:gd name="connsiteY207" fmla="*/ 5429 h 109775"/>
              <a:gd name="connsiteX208" fmla="*/ 148514 w 181336"/>
              <a:gd name="connsiteY208" fmla="*/ 6106 h 109775"/>
              <a:gd name="connsiteX209" fmla="*/ 149209 w 181336"/>
              <a:gd name="connsiteY209" fmla="*/ 7039 h 109775"/>
              <a:gd name="connsiteX210" fmla="*/ 150466 w 181336"/>
              <a:gd name="connsiteY210" fmla="*/ 8315 h 109775"/>
              <a:gd name="connsiteX211" fmla="*/ 151676 w 181336"/>
              <a:gd name="connsiteY211" fmla="*/ 8649 h 109775"/>
              <a:gd name="connsiteX212" fmla="*/ 160887 w 181336"/>
              <a:gd name="connsiteY212" fmla="*/ 6430 h 109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181336" h="109775">
                <a:moveTo>
                  <a:pt x="161439" y="5953"/>
                </a:moveTo>
                <a:lnTo>
                  <a:pt x="163982" y="5629"/>
                </a:lnTo>
                <a:lnTo>
                  <a:pt x="164087" y="5677"/>
                </a:lnTo>
                <a:lnTo>
                  <a:pt x="164687" y="5867"/>
                </a:lnTo>
                <a:lnTo>
                  <a:pt x="165116" y="7734"/>
                </a:lnTo>
                <a:lnTo>
                  <a:pt x="165182" y="7858"/>
                </a:lnTo>
                <a:lnTo>
                  <a:pt x="165802" y="9087"/>
                </a:lnTo>
                <a:lnTo>
                  <a:pt x="166373" y="10716"/>
                </a:lnTo>
                <a:lnTo>
                  <a:pt x="167268" y="11944"/>
                </a:lnTo>
                <a:lnTo>
                  <a:pt x="169240" y="12449"/>
                </a:lnTo>
                <a:lnTo>
                  <a:pt x="171812" y="13964"/>
                </a:lnTo>
                <a:lnTo>
                  <a:pt x="173479" y="16821"/>
                </a:lnTo>
                <a:lnTo>
                  <a:pt x="175984" y="18002"/>
                </a:lnTo>
                <a:lnTo>
                  <a:pt x="176165" y="18031"/>
                </a:lnTo>
                <a:lnTo>
                  <a:pt x="176660" y="17897"/>
                </a:lnTo>
                <a:lnTo>
                  <a:pt x="178470" y="17793"/>
                </a:lnTo>
                <a:lnTo>
                  <a:pt x="178822" y="18364"/>
                </a:lnTo>
                <a:lnTo>
                  <a:pt x="180261" y="19764"/>
                </a:lnTo>
                <a:lnTo>
                  <a:pt x="180823" y="20984"/>
                </a:lnTo>
                <a:lnTo>
                  <a:pt x="180537" y="22279"/>
                </a:lnTo>
                <a:lnTo>
                  <a:pt x="180794" y="23746"/>
                </a:lnTo>
                <a:lnTo>
                  <a:pt x="181337" y="24260"/>
                </a:lnTo>
                <a:lnTo>
                  <a:pt x="180680" y="25241"/>
                </a:lnTo>
                <a:lnTo>
                  <a:pt x="176003" y="30156"/>
                </a:lnTo>
                <a:lnTo>
                  <a:pt x="174164" y="31452"/>
                </a:lnTo>
                <a:lnTo>
                  <a:pt x="172955" y="31718"/>
                </a:lnTo>
                <a:lnTo>
                  <a:pt x="171040" y="31204"/>
                </a:lnTo>
                <a:lnTo>
                  <a:pt x="169069" y="31595"/>
                </a:lnTo>
                <a:lnTo>
                  <a:pt x="167307" y="32642"/>
                </a:lnTo>
                <a:lnTo>
                  <a:pt x="165678" y="32976"/>
                </a:lnTo>
                <a:lnTo>
                  <a:pt x="164449" y="34223"/>
                </a:lnTo>
                <a:lnTo>
                  <a:pt x="162858" y="36890"/>
                </a:lnTo>
                <a:lnTo>
                  <a:pt x="160896" y="39138"/>
                </a:lnTo>
                <a:lnTo>
                  <a:pt x="158925" y="40539"/>
                </a:lnTo>
                <a:lnTo>
                  <a:pt x="157896" y="41786"/>
                </a:lnTo>
                <a:lnTo>
                  <a:pt x="157782" y="46092"/>
                </a:lnTo>
                <a:lnTo>
                  <a:pt x="156686" y="47330"/>
                </a:lnTo>
                <a:lnTo>
                  <a:pt x="155219" y="48578"/>
                </a:lnTo>
                <a:lnTo>
                  <a:pt x="154410" y="49673"/>
                </a:lnTo>
                <a:lnTo>
                  <a:pt x="152172" y="56207"/>
                </a:lnTo>
                <a:lnTo>
                  <a:pt x="150476" y="58293"/>
                </a:lnTo>
                <a:lnTo>
                  <a:pt x="148857" y="59893"/>
                </a:lnTo>
                <a:lnTo>
                  <a:pt x="148590" y="61351"/>
                </a:lnTo>
                <a:lnTo>
                  <a:pt x="148618" y="63027"/>
                </a:lnTo>
                <a:lnTo>
                  <a:pt x="146790" y="66361"/>
                </a:lnTo>
                <a:lnTo>
                  <a:pt x="144389" y="69809"/>
                </a:lnTo>
                <a:lnTo>
                  <a:pt x="143932" y="71228"/>
                </a:lnTo>
                <a:lnTo>
                  <a:pt x="144466" y="73133"/>
                </a:lnTo>
                <a:lnTo>
                  <a:pt x="142161" y="75324"/>
                </a:lnTo>
                <a:lnTo>
                  <a:pt x="140837" y="76381"/>
                </a:lnTo>
                <a:lnTo>
                  <a:pt x="139732" y="76876"/>
                </a:lnTo>
                <a:lnTo>
                  <a:pt x="139046" y="78248"/>
                </a:lnTo>
                <a:lnTo>
                  <a:pt x="137922" y="81591"/>
                </a:lnTo>
                <a:lnTo>
                  <a:pt x="138217" y="83077"/>
                </a:lnTo>
                <a:lnTo>
                  <a:pt x="138246" y="84449"/>
                </a:lnTo>
                <a:lnTo>
                  <a:pt x="136303" y="85249"/>
                </a:lnTo>
                <a:lnTo>
                  <a:pt x="135731" y="86754"/>
                </a:lnTo>
                <a:lnTo>
                  <a:pt x="135236" y="88621"/>
                </a:lnTo>
                <a:lnTo>
                  <a:pt x="134426" y="89459"/>
                </a:lnTo>
                <a:lnTo>
                  <a:pt x="132245" y="91012"/>
                </a:lnTo>
                <a:lnTo>
                  <a:pt x="126816" y="90335"/>
                </a:lnTo>
                <a:lnTo>
                  <a:pt x="124768" y="90859"/>
                </a:lnTo>
                <a:lnTo>
                  <a:pt x="124158" y="91964"/>
                </a:lnTo>
                <a:lnTo>
                  <a:pt x="124034" y="92850"/>
                </a:lnTo>
                <a:lnTo>
                  <a:pt x="123349" y="93688"/>
                </a:lnTo>
                <a:lnTo>
                  <a:pt x="122120" y="94726"/>
                </a:lnTo>
                <a:lnTo>
                  <a:pt x="120853" y="95193"/>
                </a:lnTo>
                <a:lnTo>
                  <a:pt x="118024" y="93907"/>
                </a:lnTo>
                <a:lnTo>
                  <a:pt x="111957" y="95222"/>
                </a:lnTo>
                <a:lnTo>
                  <a:pt x="110909" y="96155"/>
                </a:lnTo>
                <a:lnTo>
                  <a:pt x="110061" y="95479"/>
                </a:lnTo>
                <a:lnTo>
                  <a:pt x="108756" y="94879"/>
                </a:lnTo>
                <a:lnTo>
                  <a:pt x="102689" y="94117"/>
                </a:lnTo>
                <a:lnTo>
                  <a:pt x="100289" y="94717"/>
                </a:lnTo>
                <a:lnTo>
                  <a:pt x="97079" y="94488"/>
                </a:lnTo>
                <a:lnTo>
                  <a:pt x="94116" y="93821"/>
                </a:lnTo>
                <a:lnTo>
                  <a:pt x="91897" y="94364"/>
                </a:lnTo>
                <a:lnTo>
                  <a:pt x="89945" y="96974"/>
                </a:lnTo>
                <a:lnTo>
                  <a:pt x="88973" y="97850"/>
                </a:lnTo>
                <a:lnTo>
                  <a:pt x="88211" y="98412"/>
                </a:lnTo>
                <a:lnTo>
                  <a:pt x="86544" y="99231"/>
                </a:lnTo>
                <a:lnTo>
                  <a:pt x="85144" y="100212"/>
                </a:lnTo>
                <a:lnTo>
                  <a:pt x="83286" y="100917"/>
                </a:lnTo>
                <a:lnTo>
                  <a:pt x="81619" y="100822"/>
                </a:lnTo>
                <a:lnTo>
                  <a:pt x="80048" y="99698"/>
                </a:lnTo>
                <a:lnTo>
                  <a:pt x="79486" y="99956"/>
                </a:lnTo>
                <a:lnTo>
                  <a:pt x="78991" y="100994"/>
                </a:lnTo>
                <a:lnTo>
                  <a:pt x="78134" y="101870"/>
                </a:lnTo>
                <a:lnTo>
                  <a:pt x="75781" y="102956"/>
                </a:lnTo>
                <a:lnTo>
                  <a:pt x="75181" y="102937"/>
                </a:lnTo>
                <a:lnTo>
                  <a:pt x="75047" y="102937"/>
                </a:lnTo>
                <a:lnTo>
                  <a:pt x="73247" y="103737"/>
                </a:lnTo>
                <a:lnTo>
                  <a:pt x="70275" y="104185"/>
                </a:lnTo>
                <a:lnTo>
                  <a:pt x="68780" y="103870"/>
                </a:lnTo>
                <a:lnTo>
                  <a:pt x="66075" y="107471"/>
                </a:lnTo>
                <a:lnTo>
                  <a:pt x="65246" y="108128"/>
                </a:lnTo>
                <a:lnTo>
                  <a:pt x="62665" y="109223"/>
                </a:lnTo>
                <a:lnTo>
                  <a:pt x="60560" y="109776"/>
                </a:lnTo>
                <a:lnTo>
                  <a:pt x="58750" y="109338"/>
                </a:lnTo>
                <a:lnTo>
                  <a:pt x="58035" y="109299"/>
                </a:lnTo>
                <a:lnTo>
                  <a:pt x="50016" y="109119"/>
                </a:lnTo>
                <a:lnTo>
                  <a:pt x="45825" y="108347"/>
                </a:lnTo>
                <a:lnTo>
                  <a:pt x="43139" y="106937"/>
                </a:lnTo>
                <a:lnTo>
                  <a:pt x="41348" y="105366"/>
                </a:lnTo>
                <a:lnTo>
                  <a:pt x="40471" y="103622"/>
                </a:lnTo>
                <a:lnTo>
                  <a:pt x="38395" y="102575"/>
                </a:lnTo>
                <a:lnTo>
                  <a:pt x="35109" y="102203"/>
                </a:lnTo>
                <a:lnTo>
                  <a:pt x="32556" y="100470"/>
                </a:lnTo>
                <a:lnTo>
                  <a:pt x="30718" y="97384"/>
                </a:lnTo>
                <a:lnTo>
                  <a:pt x="28251" y="94936"/>
                </a:lnTo>
                <a:lnTo>
                  <a:pt x="25117" y="93126"/>
                </a:lnTo>
                <a:lnTo>
                  <a:pt x="22641" y="90573"/>
                </a:lnTo>
                <a:lnTo>
                  <a:pt x="20812" y="87268"/>
                </a:lnTo>
                <a:lnTo>
                  <a:pt x="17516" y="84287"/>
                </a:lnTo>
                <a:lnTo>
                  <a:pt x="12754" y="81639"/>
                </a:lnTo>
                <a:lnTo>
                  <a:pt x="11316" y="81058"/>
                </a:lnTo>
                <a:lnTo>
                  <a:pt x="11030" y="80201"/>
                </a:lnTo>
                <a:lnTo>
                  <a:pt x="8706" y="76905"/>
                </a:lnTo>
                <a:lnTo>
                  <a:pt x="7705" y="75686"/>
                </a:lnTo>
                <a:lnTo>
                  <a:pt x="7801" y="74048"/>
                </a:lnTo>
                <a:lnTo>
                  <a:pt x="7334" y="73114"/>
                </a:lnTo>
                <a:lnTo>
                  <a:pt x="6486" y="72466"/>
                </a:lnTo>
                <a:lnTo>
                  <a:pt x="6029" y="70095"/>
                </a:lnTo>
                <a:lnTo>
                  <a:pt x="5762" y="68323"/>
                </a:lnTo>
                <a:lnTo>
                  <a:pt x="5096" y="67180"/>
                </a:lnTo>
                <a:lnTo>
                  <a:pt x="0" y="66942"/>
                </a:lnTo>
                <a:lnTo>
                  <a:pt x="4267" y="62713"/>
                </a:lnTo>
                <a:lnTo>
                  <a:pt x="6391" y="61532"/>
                </a:lnTo>
                <a:lnTo>
                  <a:pt x="8849" y="61732"/>
                </a:lnTo>
                <a:lnTo>
                  <a:pt x="9639" y="61351"/>
                </a:lnTo>
                <a:lnTo>
                  <a:pt x="9849" y="60731"/>
                </a:lnTo>
                <a:lnTo>
                  <a:pt x="10268" y="59350"/>
                </a:lnTo>
                <a:lnTo>
                  <a:pt x="10477" y="58046"/>
                </a:lnTo>
                <a:lnTo>
                  <a:pt x="10687" y="56807"/>
                </a:lnTo>
                <a:lnTo>
                  <a:pt x="10420" y="56121"/>
                </a:lnTo>
                <a:lnTo>
                  <a:pt x="9230" y="55902"/>
                </a:lnTo>
                <a:lnTo>
                  <a:pt x="8658" y="52864"/>
                </a:lnTo>
                <a:lnTo>
                  <a:pt x="9267" y="51711"/>
                </a:lnTo>
                <a:lnTo>
                  <a:pt x="9877" y="50911"/>
                </a:lnTo>
                <a:lnTo>
                  <a:pt x="9125" y="47206"/>
                </a:lnTo>
                <a:lnTo>
                  <a:pt x="9353" y="45939"/>
                </a:lnTo>
                <a:lnTo>
                  <a:pt x="11277" y="45739"/>
                </a:lnTo>
                <a:lnTo>
                  <a:pt x="12868" y="44949"/>
                </a:lnTo>
                <a:lnTo>
                  <a:pt x="14173" y="44053"/>
                </a:lnTo>
                <a:lnTo>
                  <a:pt x="14535" y="42901"/>
                </a:lnTo>
                <a:lnTo>
                  <a:pt x="15602" y="40557"/>
                </a:lnTo>
                <a:lnTo>
                  <a:pt x="14621" y="37681"/>
                </a:lnTo>
                <a:lnTo>
                  <a:pt x="9067" y="35805"/>
                </a:lnTo>
                <a:lnTo>
                  <a:pt x="8782" y="35090"/>
                </a:lnTo>
                <a:lnTo>
                  <a:pt x="10068" y="34271"/>
                </a:lnTo>
                <a:lnTo>
                  <a:pt x="11449" y="33109"/>
                </a:lnTo>
                <a:lnTo>
                  <a:pt x="12249" y="32195"/>
                </a:lnTo>
                <a:lnTo>
                  <a:pt x="13316" y="32071"/>
                </a:lnTo>
                <a:lnTo>
                  <a:pt x="14821" y="32538"/>
                </a:lnTo>
                <a:lnTo>
                  <a:pt x="17507" y="34623"/>
                </a:lnTo>
                <a:lnTo>
                  <a:pt x="18526" y="34928"/>
                </a:lnTo>
                <a:lnTo>
                  <a:pt x="19517" y="34319"/>
                </a:lnTo>
                <a:lnTo>
                  <a:pt x="20574" y="34185"/>
                </a:lnTo>
                <a:lnTo>
                  <a:pt x="23536" y="34262"/>
                </a:lnTo>
                <a:lnTo>
                  <a:pt x="26032" y="33776"/>
                </a:lnTo>
                <a:lnTo>
                  <a:pt x="25470" y="31557"/>
                </a:lnTo>
                <a:lnTo>
                  <a:pt x="25479" y="29937"/>
                </a:lnTo>
                <a:lnTo>
                  <a:pt x="25051" y="28642"/>
                </a:lnTo>
                <a:lnTo>
                  <a:pt x="25317" y="27222"/>
                </a:lnTo>
                <a:lnTo>
                  <a:pt x="26327" y="26108"/>
                </a:lnTo>
                <a:lnTo>
                  <a:pt x="26632" y="23613"/>
                </a:lnTo>
                <a:lnTo>
                  <a:pt x="28184" y="21927"/>
                </a:lnTo>
                <a:lnTo>
                  <a:pt x="28918" y="21679"/>
                </a:lnTo>
                <a:lnTo>
                  <a:pt x="31661" y="21993"/>
                </a:lnTo>
                <a:lnTo>
                  <a:pt x="32308" y="22431"/>
                </a:lnTo>
                <a:lnTo>
                  <a:pt x="32728" y="22527"/>
                </a:lnTo>
                <a:lnTo>
                  <a:pt x="37099" y="26632"/>
                </a:lnTo>
                <a:lnTo>
                  <a:pt x="41234" y="29718"/>
                </a:lnTo>
                <a:lnTo>
                  <a:pt x="44615" y="31299"/>
                </a:lnTo>
                <a:lnTo>
                  <a:pt x="49587" y="31423"/>
                </a:lnTo>
                <a:lnTo>
                  <a:pt x="54873" y="31566"/>
                </a:lnTo>
                <a:lnTo>
                  <a:pt x="63712" y="31023"/>
                </a:lnTo>
                <a:lnTo>
                  <a:pt x="70342" y="30623"/>
                </a:lnTo>
                <a:lnTo>
                  <a:pt x="70780" y="29851"/>
                </a:lnTo>
                <a:lnTo>
                  <a:pt x="71781" y="28013"/>
                </a:lnTo>
                <a:lnTo>
                  <a:pt x="70980" y="26432"/>
                </a:lnTo>
                <a:lnTo>
                  <a:pt x="71028" y="24575"/>
                </a:lnTo>
                <a:lnTo>
                  <a:pt x="72142" y="22155"/>
                </a:lnTo>
                <a:lnTo>
                  <a:pt x="75419" y="20136"/>
                </a:lnTo>
                <a:lnTo>
                  <a:pt x="84801" y="19250"/>
                </a:lnTo>
                <a:lnTo>
                  <a:pt x="90192" y="17745"/>
                </a:lnTo>
                <a:lnTo>
                  <a:pt x="91011" y="15697"/>
                </a:lnTo>
                <a:lnTo>
                  <a:pt x="92793" y="13668"/>
                </a:lnTo>
                <a:lnTo>
                  <a:pt x="94431" y="13259"/>
                </a:lnTo>
                <a:lnTo>
                  <a:pt x="96669" y="14192"/>
                </a:lnTo>
                <a:lnTo>
                  <a:pt x="99365" y="15973"/>
                </a:lnTo>
                <a:lnTo>
                  <a:pt x="101736" y="16926"/>
                </a:lnTo>
                <a:lnTo>
                  <a:pt x="103118" y="16316"/>
                </a:lnTo>
                <a:lnTo>
                  <a:pt x="107880" y="13306"/>
                </a:lnTo>
                <a:lnTo>
                  <a:pt x="113366" y="10354"/>
                </a:lnTo>
                <a:lnTo>
                  <a:pt x="117138" y="2353"/>
                </a:lnTo>
                <a:lnTo>
                  <a:pt x="117548" y="1067"/>
                </a:lnTo>
                <a:lnTo>
                  <a:pt x="121634" y="153"/>
                </a:lnTo>
                <a:lnTo>
                  <a:pt x="127606" y="315"/>
                </a:lnTo>
                <a:lnTo>
                  <a:pt x="130673" y="1362"/>
                </a:lnTo>
                <a:lnTo>
                  <a:pt x="132979" y="1915"/>
                </a:lnTo>
                <a:lnTo>
                  <a:pt x="136427" y="1724"/>
                </a:lnTo>
                <a:lnTo>
                  <a:pt x="141398" y="0"/>
                </a:lnTo>
                <a:lnTo>
                  <a:pt x="143237" y="48"/>
                </a:lnTo>
                <a:lnTo>
                  <a:pt x="144666" y="1267"/>
                </a:lnTo>
                <a:lnTo>
                  <a:pt x="146228" y="2324"/>
                </a:lnTo>
                <a:lnTo>
                  <a:pt x="147285" y="3610"/>
                </a:lnTo>
                <a:lnTo>
                  <a:pt x="148085" y="5429"/>
                </a:lnTo>
                <a:lnTo>
                  <a:pt x="148514" y="6106"/>
                </a:lnTo>
                <a:lnTo>
                  <a:pt x="149209" y="7039"/>
                </a:lnTo>
                <a:lnTo>
                  <a:pt x="150466" y="8315"/>
                </a:lnTo>
                <a:lnTo>
                  <a:pt x="151676" y="8649"/>
                </a:lnTo>
                <a:lnTo>
                  <a:pt x="160887" y="6430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8" name="Forme libre : forme 27">
            <a:extLst>
              <a:ext uri="{FF2B5EF4-FFF2-40B4-BE49-F238E27FC236}">
                <a16:creationId xmlns:a16="http://schemas.microsoft.com/office/drawing/2014/main" id="{1E437D6B-0190-BD50-6D14-080E7901C6AC}"/>
              </a:ext>
            </a:extLst>
          </p:cNvPr>
          <p:cNvSpPr/>
          <p:nvPr/>
        </p:nvSpPr>
        <p:spPr>
          <a:xfrm>
            <a:off x="5159320" y="3248636"/>
            <a:ext cx="152099" cy="227398"/>
          </a:xfrm>
          <a:custGeom>
            <a:avLst/>
            <a:gdLst>
              <a:gd name="connsiteX0" fmla="*/ 84744 w 116614"/>
              <a:gd name="connsiteY0" fmla="*/ 12811 h 174345"/>
              <a:gd name="connsiteX1" fmla="*/ 80515 w 116614"/>
              <a:gd name="connsiteY1" fmla="*/ 15802 h 174345"/>
              <a:gd name="connsiteX2" fmla="*/ 79858 w 116614"/>
              <a:gd name="connsiteY2" fmla="*/ 16936 h 174345"/>
              <a:gd name="connsiteX3" fmla="*/ 78667 w 116614"/>
              <a:gd name="connsiteY3" fmla="*/ 21498 h 174345"/>
              <a:gd name="connsiteX4" fmla="*/ 78524 w 116614"/>
              <a:gd name="connsiteY4" fmla="*/ 22793 h 174345"/>
              <a:gd name="connsiteX5" fmla="*/ 77162 w 116614"/>
              <a:gd name="connsiteY5" fmla="*/ 25184 h 174345"/>
              <a:gd name="connsiteX6" fmla="*/ 75876 w 116614"/>
              <a:gd name="connsiteY6" fmla="*/ 27842 h 174345"/>
              <a:gd name="connsiteX7" fmla="*/ 74381 w 116614"/>
              <a:gd name="connsiteY7" fmla="*/ 28870 h 174345"/>
              <a:gd name="connsiteX8" fmla="*/ 72152 w 116614"/>
              <a:gd name="connsiteY8" fmla="*/ 29689 h 174345"/>
              <a:gd name="connsiteX9" fmla="*/ 70885 w 116614"/>
              <a:gd name="connsiteY9" fmla="*/ 30499 h 174345"/>
              <a:gd name="connsiteX10" fmla="*/ 69285 w 116614"/>
              <a:gd name="connsiteY10" fmla="*/ 30089 h 174345"/>
              <a:gd name="connsiteX11" fmla="*/ 67266 w 116614"/>
              <a:gd name="connsiteY11" fmla="*/ 30156 h 174345"/>
              <a:gd name="connsiteX12" fmla="*/ 66256 w 116614"/>
              <a:gd name="connsiteY12" fmla="*/ 31061 h 174345"/>
              <a:gd name="connsiteX13" fmla="*/ 66304 w 116614"/>
              <a:gd name="connsiteY13" fmla="*/ 31756 h 174345"/>
              <a:gd name="connsiteX14" fmla="*/ 66903 w 116614"/>
              <a:gd name="connsiteY14" fmla="*/ 32547 h 174345"/>
              <a:gd name="connsiteX15" fmla="*/ 68675 w 116614"/>
              <a:gd name="connsiteY15" fmla="*/ 33766 h 174345"/>
              <a:gd name="connsiteX16" fmla="*/ 70647 w 116614"/>
              <a:gd name="connsiteY16" fmla="*/ 34862 h 174345"/>
              <a:gd name="connsiteX17" fmla="*/ 70428 w 116614"/>
              <a:gd name="connsiteY17" fmla="*/ 35824 h 174345"/>
              <a:gd name="connsiteX18" fmla="*/ 69370 w 116614"/>
              <a:gd name="connsiteY18" fmla="*/ 36909 h 174345"/>
              <a:gd name="connsiteX19" fmla="*/ 62674 w 116614"/>
              <a:gd name="connsiteY19" fmla="*/ 39614 h 174345"/>
              <a:gd name="connsiteX20" fmla="*/ 60684 w 116614"/>
              <a:gd name="connsiteY20" fmla="*/ 41243 h 174345"/>
              <a:gd name="connsiteX21" fmla="*/ 59988 w 116614"/>
              <a:gd name="connsiteY21" fmla="*/ 42320 h 174345"/>
              <a:gd name="connsiteX22" fmla="*/ 60703 w 116614"/>
              <a:gd name="connsiteY22" fmla="*/ 44120 h 174345"/>
              <a:gd name="connsiteX23" fmla="*/ 66046 w 116614"/>
              <a:gd name="connsiteY23" fmla="*/ 49502 h 174345"/>
              <a:gd name="connsiteX24" fmla="*/ 66951 w 116614"/>
              <a:gd name="connsiteY24" fmla="*/ 50092 h 174345"/>
              <a:gd name="connsiteX25" fmla="*/ 67742 w 116614"/>
              <a:gd name="connsiteY25" fmla="*/ 53226 h 174345"/>
              <a:gd name="connsiteX26" fmla="*/ 72457 w 116614"/>
              <a:gd name="connsiteY26" fmla="*/ 54531 h 174345"/>
              <a:gd name="connsiteX27" fmla="*/ 74390 w 116614"/>
              <a:gd name="connsiteY27" fmla="*/ 56483 h 174345"/>
              <a:gd name="connsiteX28" fmla="*/ 76048 w 116614"/>
              <a:gd name="connsiteY28" fmla="*/ 56950 h 174345"/>
              <a:gd name="connsiteX29" fmla="*/ 79658 w 116614"/>
              <a:gd name="connsiteY29" fmla="*/ 56779 h 174345"/>
              <a:gd name="connsiteX30" fmla="*/ 81106 w 116614"/>
              <a:gd name="connsiteY30" fmla="*/ 57512 h 174345"/>
              <a:gd name="connsiteX31" fmla="*/ 81925 w 116614"/>
              <a:gd name="connsiteY31" fmla="*/ 56950 h 174345"/>
              <a:gd name="connsiteX32" fmla="*/ 82401 w 116614"/>
              <a:gd name="connsiteY32" fmla="*/ 55921 h 174345"/>
              <a:gd name="connsiteX33" fmla="*/ 85439 w 116614"/>
              <a:gd name="connsiteY33" fmla="*/ 53273 h 174345"/>
              <a:gd name="connsiteX34" fmla="*/ 86439 w 116614"/>
              <a:gd name="connsiteY34" fmla="*/ 52111 h 174345"/>
              <a:gd name="connsiteX35" fmla="*/ 85839 w 116614"/>
              <a:gd name="connsiteY35" fmla="*/ 50502 h 174345"/>
              <a:gd name="connsiteX36" fmla="*/ 85192 w 116614"/>
              <a:gd name="connsiteY36" fmla="*/ 49273 h 174345"/>
              <a:gd name="connsiteX37" fmla="*/ 87039 w 116614"/>
              <a:gd name="connsiteY37" fmla="*/ 46825 h 174345"/>
              <a:gd name="connsiteX38" fmla="*/ 89278 w 116614"/>
              <a:gd name="connsiteY38" fmla="*/ 44406 h 174345"/>
              <a:gd name="connsiteX39" fmla="*/ 90402 w 116614"/>
              <a:gd name="connsiteY39" fmla="*/ 44482 h 174345"/>
              <a:gd name="connsiteX40" fmla="*/ 92316 w 116614"/>
              <a:gd name="connsiteY40" fmla="*/ 45968 h 174345"/>
              <a:gd name="connsiteX41" fmla="*/ 93897 w 116614"/>
              <a:gd name="connsiteY41" fmla="*/ 48035 h 174345"/>
              <a:gd name="connsiteX42" fmla="*/ 94107 w 116614"/>
              <a:gd name="connsiteY42" fmla="*/ 49635 h 174345"/>
              <a:gd name="connsiteX43" fmla="*/ 94402 w 116614"/>
              <a:gd name="connsiteY43" fmla="*/ 50797 h 174345"/>
              <a:gd name="connsiteX44" fmla="*/ 95898 w 116614"/>
              <a:gd name="connsiteY44" fmla="*/ 53273 h 174345"/>
              <a:gd name="connsiteX45" fmla="*/ 96860 w 116614"/>
              <a:gd name="connsiteY45" fmla="*/ 54131 h 174345"/>
              <a:gd name="connsiteX46" fmla="*/ 99451 w 116614"/>
              <a:gd name="connsiteY46" fmla="*/ 54626 h 174345"/>
              <a:gd name="connsiteX47" fmla="*/ 100060 w 116614"/>
              <a:gd name="connsiteY47" fmla="*/ 55597 h 174345"/>
              <a:gd name="connsiteX48" fmla="*/ 99593 w 116614"/>
              <a:gd name="connsiteY48" fmla="*/ 59179 h 174345"/>
              <a:gd name="connsiteX49" fmla="*/ 99984 w 116614"/>
              <a:gd name="connsiteY49" fmla="*/ 60370 h 174345"/>
              <a:gd name="connsiteX50" fmla="*/ 102699 w 116614"/>
              <a:gd name="connsiteY50" fmla="*/ 60427 h 174345"/>
              <a:gd name="connsiteX51" fmla="*/ 105585 w 116614"/>
              <a:gd name="connsiteY51" fmla="*/ 60141 h 174345"/>
              <a:gd name="connsiteX52" fmla="*/ 106594 w 116614"/>
              <a:gd name="connsiteY52" fmla="*/ 60274 h 174345"/>
              <a:gd name="connsiteX53" fmla="*/ 107632 w 116614"/>
              <a:gd name="connsiteY53" fmla="*/ 59522 h 174345"/>
              <a:gd name="connsiteX54" fmla="*/ 109233 w 116614"/>
              <a:gd name="connsiteY54" fmla="*/ 58712 h 174345"/>
              <a:gd name="connsiteX55" fmla="*/ 111528 w 116614"/>
              <a:gd name="connsiteY55" fmla="*/ 58989 h 174345"/>
              <a:gd name="connsiteX56" fmla="*/ 112652 w 116614"/>
              <a:gd name="connsiteY56" fmla="*/ 60589 h 174345"/>
              <a:gd name="connsiteX57" fmla="*/ 113157 w 116614"/>
              <a:gd name="connsiteY57" fmla="*/ 62236 h 174345"/>
              <a:gd name="connsiteX58" fmla="*/ 111185 w 116614"/>
              <a:gd name="connsiteY58" fmla="*/ 62855 h 174345"/>
              <a:gd name="connsiteX59" fmla="*/ 109128 w 116614"/>
              <a:gd name="connsiteY59" fmla="*/ 62522 h 174345"/>
              <a:gd name="connsiteX60" fmla="*/ 108128 w 116614"/>
              <a:gd name="connsiteY60" fmla="*/ 63598 h 174345"/>
              <a:gd name="connsiteX61" fmla="*/ 108061 w 116614"/>
              <a:gd name="connsiteY61" fmla="*/ 65675 h 174345"/>
              <a:gd name="connsiteX62" fmla="*/ 108756 w 116614"/>
              <a:gd name="connsiteY62" fmla="*/ 68352 h 174345"/>
              <a:gd name="connsiteX63" fmla="*/ 110137 w 116614"/>
              <a:gd name="connsiteY63" fmla="*/ 70247 h 174345"/>
              <a:gd name="connsiteX64" fmla="*/ 111233 w 116614"/>
              <a:gd name="connsiteY64" fmla="*/ 74514 h 174345"/>
              <a:gd name="connsiteX65" fmla="*/ 112147 w 116614"/>
              <a:gd name="connsiteY65" fmla="*/ 79238 h 174345"/>
              <a:gd name="connsiteX66" fmla="*/ 113557 w 116614"/>
              <a:gd name="connsiteY66" fmla="*/ 82087 h 174345"/>
              <a:gd name="connsiteX67" fmla="*/ 113852 w 116614"/>
              <a:gd name="connsiteY67" fmla="*/ 85611 h 174345"/>
              <a:gd name="connsiteX68" fmla="*/ 113643 w 116614"/>
              <a:gd name="connsiteY68" fmla="*/ 87344 h 174345"/>
              <a:gd name="connsiteX69" fmla="*/ 113900 w 116614"/>
              <a:gd name="connsiteY69" fmla="*/ 90459 h 174345"/>
              <a:gd name="connsiteX70" fmla="*/ 113300 w 116614"/>
              <a:gd name="connsiteY70" fmla="*/ 91554 h 174345"/>
              <a:gd name="connsiteX71" fmla="*/ 113747 w 116614"/>
              <a:gd name="connsiteY71" fmla="*/ 94469 h 174345"/>
              <a:gd name="connsiteX72" fmla="*/ 115414 w 116614"/>
              <a:gd name="connsiteY72" fmla="*/ 100479 h 174345"/>
              <a:gd name="connsiteX73" fmla="*/ 116148 w 116614"/>
              <a:gd name="connsiteY73" fmla="*/ 103823 h 174345"/>
              <a:gd name="connsiteX74" fmla="*/ 116615 w 116614"/>
              <a:gd name="connsiteY74" fmla="*/ 111100 h 174345"/>
              <a:gd name="connsiteX75" fmla="*/ 115433 w 116614"/>
              <a:gd name="connsiteY75" fmla="*/ 113814 h 174345"/>
              <a:gd name="connsiteX76" fmla="*/ 113852 w 116614"/>
              <a:gd name="connsiteY76" fmla="*/ 116396 h 174345"/>
              <a:gd name="connsiteX77" fmla="*/ 112814 w 116614"/>
              <a:gd name="connsiteY77" fmla="*/ 119444 h 174345"/>
              <a:gd name="connsiteX78" fmla="*/ 112023 w 116614"/>
              <a:gd name="connsiteY78" fmla="*/ 122730 h 174345"/>
              <a:gd name="connsiteX79" fmla="*/ 111538 w 116614"/>
              <a:gd name="connsiteY79" fmla="*/ 128016 h 174345"/>
              <a:gd name="connsiteX80" fmla="*/ 108109 w 116614"/>
              <a:gd name="connsiteY80" fmla="*/ 134188 h 174345"/>
              <a:gd name="connsiteX81" fmla="*/ 106651 w 116614"/>
              <a:gd name="connsiteY81" fmla="*/ 135722 h 174345"/>
              <a:gd name="connsiteX82" fmla="*/ 104956 w 116614"/>
              <a:gd name="connsiteY82" fmla="*/ 136665 h 174345"/>
              <a:gd name="connsiteX83" fmla="*/ 108652 w 116614"/>
              <a:gd name="connsiteY83" fmla="*/ 140970 h 174345"/>
              <a:gd name="connsiteX84" fmla="*/ 105632 w 116614"/>
              <a:gd name="connsiteY84" fmla="*/ 142885 h 174345"/>
              <a:gd name="connsiteX85" fmla="*/ 102346 w 116614"/>
              <a:gd name="connsiteY85" fmla="*/ 143485 h 174345"/>
              <a:gd name="connsiteX86" fmla="*/ 98708 w 116614"/>
              <a:gd name="connsiteY86" fmla="*/ 142408 h 174345"/>
              <a:gd name="connsiteX87" fmla="*/ 96441 w 116614"/>
              <a:gd name="connsiteY87" fmla="*/ 142542 h 174345"/>
              <a:gd name="connsiteX88" fmla="*/ 94364 w 116614"/>
              <a:gd name="connsiteY88" fmla="*/ 143933 h 174345"/>
              <a:gd name="connsiteX89" fmla="*/ 93554 w 116614"/>
              <a:gd name="connsiteY89" fmla="*/ 144771 h 174345"/>
              <a:gd name="connsiteX90" fmla="*/ 92897 w 116614"/>
              <a:gd name="connsiteY90" fmla="*/ 144371 h 174345"/>
              <a:gd name="connsiteX91" fmla="*/ 91535 w 116614"/>
              <a:gd name="connsiteY91" fmla="*/ 140846 h 174345"/>
              <a:gd name="connsiteX92" fmla="*/ 90535 w 116614"/>
              <a:gd name="connsiteY92" fmla="*/ 144485 h 174345"/>
              <a:gd name="connsiteX93" fmla="*/ 88440 w 116614"/>
              <a:gd name="connsiteY93" fmla="*/ 145647 h 174345"/>
              <a:gd name="connsiteX94" fmla="*/ 84849 w 116614"/>
              <a:gd name="connsiteY94" fmla="*/ 145399 h 174345"/>
              <a:gd name="connsiteX95" fmla="*/ 78848 w 116614"/>
              <a:gd name="connsiteY95" fmla="*/ 146371 h 174345"/>
              <a:gd name="connsiteX96" fmla="*/ 76533 w 116614"/>
              <a:gd name="connsiteY96" fmla="*/ 147399 h 174345"/>
              <a:gd name="connsiteX97" fmla="*/ 75571 w 116614"/>
              <a:gd name="connsiteY97" fmla="*/ 149019 h 174345"/>
              <a:gd name="connsiteX98" fmla="*/ 74857 w 116614"/>
              <a:gd name="connsiteY98" fmla="*/ 150886 h 174345"/>
              <a:gd name="connsiteX99" fmla="*/ 73914 w 116614"/>
              <a:gd name="connsiteY99" fmla="*/ 151981 h 174345"/>
              <a:gd name="connsiteX100" fmla="*/ 72857 w 116614"/>
              <a:gd name="connsiteY100" fmla="*/ 152562 h 174345"/>
              <a:gd name="connsiteX101" fmla="*/ 68218 w 116614"/>
              <a:gd name="connsiteY101" fmla="*/ 153934 h 174345"/>
              <a:gd name="connsiteX102" fmla="*/ 67304 w 116614"/>
              <a:gd name="connsiteY102" fmla="*/ 154486 h 174345"/>
              <a:gd name="connsiteX103" fmla="*/ 65151 w 116614"/>
              <a:gd name="connsiteY103" fmla="*/ 157486 h 174345"/>
              <a:gd name="connsiteX104" fmla="*/ 62341 w 116614"/>
              <a:gd name="connsiteY104" fmla="*/ 159220 h 174345"/>
              <a:gd name="connsiteX105" fmla="*/ 60007 w 116614"/>
              <a:gd name="connsiteY105" fmla="*/ 159744 h 174345"/>
              <a:gd name="connsiteX106" fmla="*/ 57941 w 116614"/>
              <a:gd name="connsiteY106" fmla="*/ 158001 h 174345"/>
              <a:gd name="connsiteX107" fmla="*/ 57093 w 116614"/>
              <a:gd name="connsiteY107" fmla="*/ 156953 h 174345"/>
              <a:gd name="connsiteX108" fmla="*/ 56131 w 116614"/>
              <a:gd name="connsiteY108" fmla="*/ 156420 h 174345"/>
              <a:gd name="connsiteX109" fmla="*/ 52949 w 116614"/>
              <a:gd name="connsiteY109" fmla="*/ 156505 h 174345"/>
              <a:gd name="connsiteX110" fmla="*/ 53950 w 116614"/>
              <a:gd name="connsiteY110" fmla="*/ 157048 h 174345"/>
              <a:gd name="connsiteX111" fmla="*/ 54597 w 116614"/>
              <a:gd name="connsiteY111" fmla="*/ 158277 h 174345"/>
              <a:gd name="connsiteX112" fmla="*/ 54912 w 116614"/>
              <a:gd name="connsiteY112" fmla="*/ 160639 h 174345"/>
              <a:gd name="connsiteX113" fmla="*/ 54550 w 116614"/>
              <a:gd name="connsiteY113" fmla="*/ 162954 h 174345"/>
              <a:gd name="connsiteX114" fmla="*/ 52978 w 116614"/>
              <a:gd name="connsiteY114" fmla="*/ 164125 h 174345"/>
              <a:gd name="connsiteX115" fmla="*/ 51111 w 116614"/>
              <a:gd name="connsiteY115" fmla="*/ 164344 h 174345"/>
              <a:gd name="connsiteX116" fmla="*/ 48158 w 116614"/>
              <a:gd name="connsiteY116" fmla="*/ 166735 h 174345"/>
              <a:gd name="connsiteX117" fmla="*/ 44253 w 116614"/>
              <a:gd name="connsiteY117" fmla="*/ 167383 h 174345"/>
              <a:gd name="connsiteX118" fmla="*/ 42139 w 116614"/>
              <a:gd name="connsiteY118" fmla="*/ 169583 h 174345"/>
              <a:gd name="connsiteX119" fmla="*/ 29223 w 116614"/>
              <a:gd name="connsiteY119" fmla="*/ 173298 h 174345"/>
              <a:gd name="connsiteX120" fmla="*/ 28489 w 116614"/>
              <a:gd name="connsiteY120" fmla="*/ 173336 h 174345"/>
              <a:gd name="connsiteX121" fmla="*/ 26708 w 116614"/>
              <a:gd name="connsiteY121" fmla="*/ 172393 h 174345"/>
              <a:gd name="connsiteX122" fmla="*/ 24775 w 116614"/>
              <a:gd name="connsiteY122" fmla="*/ 171974 h 174345"/>
              <a:gd name="connsiteX123" fmla="*/ 22850 w 116614"/>
              <a:gd name="connsiteY123" fmla="*/ 172269 h 174345"/>
              <a:gd name="connsiteX124" fmla="*/ 17440 w 116614"/>
              <a:gd name="connsiteY124" fmla="*/ 174346 h 174345"/>
              <a:gd name="connsiteX125" fmla="*/ 14821 w 116614"/>
              <a:gd name="connsiteY125" fmla="*/ 173936 h 174345"/>
              <a:gd name="connsiteX126" fmla="*/ 18164 w 116614"/>
              <a:gd name="connsiteY126" fmla="*/ 168774 h 174345"/>
              <a:gd name="connsiteX127" fmla="*/ 22650 w 116614"/>
              <a:gd name="connsiteY127" fmla="*/ 166164 h 174345"/>
              <a:gd name="connsiteX128" fmla="*/ 23117 w 116614"/>
              <a:gd name="connsiteY128" fmla="*/ 165450 h 174345"/>
              <a:gd name="connsiteX129" fmla="*/ 21650 w 116614"/>
              <a:gd name="connsiteY129" fmla="*/ 165097 h 174345"/>
              <a:gd name="connsiteX130" fmla="*/ 13116 w 116614"/>
              <a:gd name="connsiteY130" fmla="*/ 166907 h 174345"/>
              <a:gd name="connsiteX131" fmla="*/ 10154 w 116614"/>
              <a:gd name="connsiteY131" fmla="*/ 168450 h 174345"/>
              <a:gd name="connsiteX132" fmla="*/ 7191 w 116614"/>
              <a:gd name="connsiteY132" fmla="*/ 168898 h 174345"/>
              <a:gd name="connsiteX133" fmla="*/ 8563 w 116614"/>
              <a:gd name="connsiteY133" fmla="*/ 166535 h 174345"/>
              <a:gd name="connsiteX134" fmla="*/ 12382 w 116614"/>
              <a:gd name="connsiteY134" fmla="*/ 163306 h 174345"/>
              <a:gd name="connsiteX135" fmla="*/ 14431 w 116614"/>
              <a:gd name="connsiteY135" fmla="*/ 161782 h 174345"/>
              <a:gd name="connsiteX136" fmla="*/ 15678 w 116614"/>
              <a:gd name="connsiteY136" fmla="*/ 161173 h 174345"/>
              <a:gd name="connsiteX137" fmla="*/ 17107 w 116614"/>
              <a:gd name="connsiteY137" fmla="*/ 159268 h 174345"/>
              <a:gd name="connsiteX138" fmla="*/ 21136 w 116614"/>
              <a:gd name="connsiteY138" fmla="*/ 157106 h 174345"/>
              <a:gd name="connsiteX139" fmla="*/ 8163 w 116614"/>
              <a:gd name="connsiteY139" fmla="*/ 161563 h 174345"/>
              <a:gd name="connsiteX140" fmla="*/ 4753 w 116614"/>
              <a:gd name="connsiteY140" fmla="*/ 161020 h 174345"/>
              <a:gd name="connsiteX141" fmla="*/ 3953 w 116614"/>
              <a:gd name="connsiteY141" fmla="*/ 159782 h 174345"/>
              <a:gd name="connsiteX142" fmla="*/ 1305 w 116614"/>
              <a:gd name="connsiteY142" fmla="*/ 160372 h 174345"/>
              <a:gd name="connsiteX143" fmla="*/ 295 w 116614"/>
              <a:gd name="connsiteY143" fmla="*/ 157353 h 174345"/>
              <a:gd name="connsiteX144" fmla="*/ 4229 w 116614"/>
              <a:gd name="connsiteY144" fmla="*/ 152791 h 174345"/>
              <a:gd name="connsiteX145" fmla="*/ 6525 w 116614"/>
              <a:gd name="connsiteY145" fmla="*/ 150819 h 174345"/>
              <a:gd name="connsiteX146" fmla="*/ 9249 w 116614"/>
              <a:gd name="connsiteY146" fmla="*/ 149752 h 174345"/>
              <a:gd name="connsiteX147" fmla="*/ 11868 w 116614"/>
              <a:gd name="connsiteY147" fmla="*/ 148219 h 174345"/>
              <a:gd name="connsiteX148" fmla="*/ 12840 w 116614"/>
              <a:gd name="connsiteY148" fmla="*/ 146352 h 174345"/>
              <a:gd name="connsiteX149" fmla="*/ 11611 w 116614"/>
              <a:gd name="connsiteY149" fmla="*/ 145752 h 174345"/>
              <a:gd name="connsiteX150" fmla="*/ 3762 w 116614"/>
              <a:gd name="connsiteY150" fmla="*/ 146228 h 174345"/>
              <a:gd name="connsiteX151" fmla="*/ 0 w 116614"/>
              <a:gd name="connsiteY151" fmla="*/ 145828 h 174345"/>
              <a:gd name="connsiteX152" fmla="*/ 200 w 116614"/>
              <a:gd name="connsiteY152" fmla="*/ 144342 h 174345"/>
              <a:gd name="connsiteX153" fmla="*/ 895 w 116614"/>
              <a:gd name="connsiteY153" fmla="*/ 142694 h 174345"/>
              <a:gd name="connsiteX154" fmla="*/ 4791 w 116614"/>
              <a:gd name="connsiteY154" fmla="*/ 139875 h 174345"/>
              <a:gd name="connsiteX155" fmla="*/ 6906 w 116614"/>
              <a:gd name="connsiteY155" fmla="*/ 139427 h 174345"/>
              <a:gd name="connsiteX156" fmla="*/ 8782 w 116614"/>
              <a:gd name="connsiteY156" fmla="*/ 139694 h 174345"/>
              <a:gd name="connsiteX157" fmla="*/ 10611 w 116614"/>
              <a:gd name="connsiteY157" fmla="*/ 140418 h 174345"/>
              <a:gd name="connsiteX158" fmla="*/ 12106 w 116614"/>
              <a:gd name="connsiteY158" fmla="*/ 141361 h 174345"/>
              <a:gd name="connsiteX159" fmla="*/ 16526 w 116614"/>
              <a:gd name="connsiteY159" fmla="*/ 140818 h 174345"/>
              <a:gd name="connsiteX160" fmla="*/ 14678 w 116614"/>
              <a:gd name="connsiteY160" fmla="*/ 139017 h 174345"/>
              <a:gd name="connsiteX161" fmla="*/ 14354 w 116614"/>
              <a:gd name="connsiteY161" fmla="*/ 135350 h 174345"/>
              <a:gd name="connsiteX162" fmla="*/ 12945 w 116614"/>
              <a:gd name="connsiteY162" fmla="*/ 134122 h 174345"/>
              <a:gd name="connsiteX163" fmla="*/ 14745 w 116614"/>
              <a:gd name="connsiteY163" fmla="*/ 132417 h 174345"/>
              <a:gd name="connsiteX164" fmla="*/ 16812 w 116614"/>
              <a:gd name="connsiteY164" fmla="*/ 131388 h 174345"/>
              <a:gd name="connsiteX165" fmla="*/ 20260 w 116614"/>
              <a:gd name="connsiteY165" fmla="*/ 127854 h 174345"/>
              <a:gd name="connsiteX166" fmla="*/ 21489 w 116614"/>
              <a:gd name="connsiteY166" fmla="*/ 127311 h 174345"/>
              <a:gd name="connsiteX167" fmla="*/ 28308 w 116614"/>
              <a:gd name="connsiteY167" fmla="*/ 126454 h 174345"/>
              <a:gd name="connsiteX168" fmla="*/ 35661 w 116614"/>
              <a:gd name="connsiteY168" fmla="*/ 124597 h 174345"/>
              <a:gd name="connsiteX169" fmla="*/ 42948 w 116614"/>
              <a:gd name="connsiteY169" fmla="*/ 122025 h 174345"/>
              <a:gd name="connsiteX170" fmla="*/ 39205 w 116614"/>
              <a:gd name="connsiteY170" fmla="*/ 120587 h 174345"/>
              <a:gd name="connsiteX171" fmla="*/ 37414 w 116614"/>
              <a:gd name="connsiteY171" fmla="*/ 118682 h 174345"/>
              <a:gd name="connsiteX172" fmla="*/ 34538 w 116614"/>
              <a:gd name="connsiteY172" fmla="*/ 122520 h 174345"/>
              <a:gd name="connsiteX173" fmla="*/ 32461 w 116614"/>
              <a:gd name="connsiteY173" fmla="*/ 123987 h 174345"/>
              <a:gd name="connsiteX174" fmla="*/ 26613 w 116614"/>
              <a:gd name="connsiteY174" fmla="*/ 124778 h 174345"/>
              <a:gd name="connsiteX175" fmla="*/ 24765 w 116614"/>
              <a:gd name="connsiteY175" fmla="*/ 124349 h 174345"/>
              <a:gd name="connsiteX176" fmla="*/ 22155 w 116614"/>
              <a:gd name="connsiteY176" fmla="*/ 123158 h 174345"/>
              <a:gd name="connsiteX177" fmla="*/ 21346 w 116614"/>
              <a:gd name="connsiteY177" fmla="*/ 123606 h 174345"/>
              <a:gd name="connsiteX178" fmla="*/ 20593 w 116614"/>
              <a:gd name="connsiteY178" fmla="*/ 124520 h 174345"/>
              <a:gd name="connsiteX179" fmla="*/ 16716 w 116614"/>
              <a:gd name="connsiteY179" fmla="*/ 126397 h 174345"/>
              <a:gd name="connsiteX180" fmla="*/ 12649 w 116614"/>
              <a:gd name="connsiteY180" fmla="*/ 126845 h 174345"/>
              <a:gd name="connsiteX181" fmla="*/ 17383 w 116614"/>
              <a:gd name="connsiteY181" fmla="*/ 123397 h 174345"/>
              <a:gd name="connsiteX182" fmla="*/ 23393 w 116614"/>
              <a:gd name="connsiteY182" fmla="*/ 117538 h 174345"/>
              <a:gd name="connsiteX183" fmla="*/ 24727 w 116614"/>
              <a:gd name="connsiteY183" fmla="*/ 115691 h 174345"/>
              <a:gd name="connsiteX184" fmla="*/ 26632 w 116614"/>
              <a:gd name="connsiteY184" fmla="*/ 112462 h 174345"/>
              <a:gd name="connsiteX185" fmla="*/ 26041 w 116614"/>
              <a:gd name="connsiteY185" fmla="*/ 111023 h 174345"/>
              <a:gd name="connsiteX186" fmla="*/ 24803 w 116614"/>
              <a:gd name="connsiteY186" fmla="*/ 110204 h 174345"/>
              <a:gd name="connsiteX187" fmla="*/ 29156 w 116614"/>
              <a:gd name="connsiteY187" fmla="*/ 103537 h 174345"/>
              <a:gd name="connsiteX188" fmla="*/ 30690 w 116614"/>
              <a:gd name="connsiteY188" fmla="*/ 102327 h 174345"/>
              <a:gd name="connsiteX189" fmla="*/ 33471 w 116614"/>
              <a:gd name="connsiteY189" fmla="*/ 102127 h 174345"/>
              <a:gd name="connsiteX190" fmla="*/ 35519 w 116614"/>
              <a:gd name="connsiteY190" fmla="*/ 101070 h 174345"/>
              <a:gd name="connsiteX191" fmla="*/ 36424 w 116614"/>
              <a:gd name="connsiteY191" fmla="*/ 101070 h 174345"/>
              <a:gd name="connsiteX192" fmla="*/ 37233 w 116614"/>
              <a:gd name="connsiteY192" fmla="*/ 100670 h 174345"/>
              <a:gd name="connsiteX193" fmla="*/ 39024 w 116614"/>
              <a:gd name="connsiteY193" fmla="*/ 98670 h 174345"/>
              <a:gd name="connsiteX194" fmla="*/ 36262 w 116614"/>
              <a:gd name="connsiteY194" fmla="*/ 97393 h 174345"/>
              <a:gd name="connsiteX195" fmla="*/ 33404 w 116614"/>
              <a:gd name="connsiteY195" fmla="*/ 96736 h 174345"/>
              <a:gd name="connsiteX196" fmla="*/ 24574 w 116614"/>
              <a:gd name="connsiteY196" fmla="*/ 97431 h 174345"/>
              <a:gd name="connsiteX197" fmla="*/ 23413 w 116614"/>
              <a:gd name="connsiteY197" fmla="*/ 97279 h 174345"/>
              <a:gd name="connsiteX198" fmla="*/ 22317 w 116614"/>
              <a:gd name="connsiteY198" fmla="*/ 96660 h 174345"/>
              <a:gd name="connsiteX199" fmla="*/ 21603 w 116614"/>
              <a:gd name="connsiteY199" fmla="*/ 95774 h 174345"/>
              <a:gd name="connsiteX200" fmla="*/ 21069 w 116614"/>
              <a:gd name="connsiteY200" fmla="*/ 93497 h 174345"/>
              <a:gd name="connsiteX201" fmla="*/ 20422 w 116614"/>
              <a:gd name="connsiteY201" fmla="*/ 92983 h 174345"/>
              <a:gd name="connsiteX202" fmla="*/ 18431 w 116614"/>
              <a:gd name="connsiteY202" fmla="*/ 92983 h 174345"/>
              <a:gd name="connsiteX203" fmla="*/ 16459 w 116614"/>
              <a:gd name="connsiteY203" fmla="*/ 93679 h 174345"/>
              <a:gd name="connsiteX204" fmla="*/ 15088 w 116614"/>
              <a:gd name="connsiteY204" fmla="*/ 93612 h 174345"/>
              <a:gd name="connsiteX205" fmla="*/ 13745 w 116614"/>
              <a:gd name="connsiteY205" fmla="*/ 92612 h 174345"/>
              <a:gd name="connsiteX206" fmla="*/ 15897 w 116614"/>
              <a:gd name="connsiteY206" fmla="*/ 90278 h 174345"/>
              <a:gd name="connsiteX207" fmla="*/ 13125 w 116614"/>
              <a:gd name="connsiteY207" fmla="*/ 89726 h 174345"/>
              <a:gd name="connsiteX208" fmla="*/ 10325 w 116614"/>
              <a:gd name="connsiteY208" fmla="*/ 90183 h 174345"/>
              <a:gd name="connsiteX209" fmla="*/ 7991 w 116614"/>
              <a:gd name="connsiteY209" fmla="*/ 89468 h 174345"/>
              <a:gd name="connsiteX210" fmla="*/ 7925 w 116614"/>
              <a:gd name="connsiteY210" fmla="*/ 88002 h 174345"/>
              <a:gd name="connsiteX211" fmla="*/ 8982 w 116614"/>
              <a:gd name="connsiteY211" fmla="*/ 86535 h 174345"/>
              <a:gd name="connsiteX212" fmla="*/ 7591 w 116614"/>
              <a:gd name="connsiteY212" fmla="*/ 85144 h 174345"/>
              <a:gd name="connsiteX213" fmla="*/ 7306 w 116614"/>
              <a:gd name="connsiteY213" fmla="*/ 83382 h 174345"/>
              <a:gd name="connsiteX214" fmla="*/ 8782 w 116614"/>
              <a:gd name="connsiteY214" fmla="*/ 82515 h 174345"/>
              <a:gd name="connsiteX215" fmla="*/ 10392 w 116614"/>
              <a:gd name="connsiteY215" fmla="*/ 82801 h 174345"/>
              <a:gd name="connsiteX216" fmla="*/ 13678 w 116614"/>
              <a:gd name="connsiteY216" fmla="*/ 81496 h 174345"/>
              <a:gd name="connsiteX217" fmla="*/ 17897 w 116614"/>
              <a:gd name="connsiteY217" fmla="*/ 80867 h 174345"/>
              <a:gd name="connsiteX218" fmla="*/ 14278 w 116614"/>
              <a:gd name="connsiteY218" fmla="*/ 79581 h 174345"/>
              <a:gd name="connsiteX219" fmla="*/ 12840 w 116614"/>
              <a:gd name="connsiteY219" fmla="*/ 78477 h 174345"/>
              <a:gd name="connsiteX220" fmla="*/ 12773 w 116614"/>
              <a:gd name="connsiteY220" fmla="*/ 76791 h 174345"/>
              <a:gd name="connsiteX221" fmla="*/ 13059 w 116614"/>
              <a:gd name="connsiteY221" fmla="*/ 75343 h 174345"/>
              <a:gd name="connsiteX222" fmla="*/ 17240 w 116614"/>
              <a:gd name="connsiteY222" fmla="*/ 72895 h 174345"/>
              <a:gd name="connsiteX223" fmla="*/ 21698 w 116614"/>
              <a:gd name="connsiteY223" fmla="*/ 71819 h 174345"/>
              <a:gd name="connsiteX224" fmla="*/ 21365 w 116614"/>
              <a:gd name="connsiteY224" fmla="*/ 70209 h 174345"/>
              <a:gd name="connsiteX225" fmla="*/ 21679 w 116614"/>
              <a:gd name="connsiteY225" fmla="*/ 68456 h 174345"/>
              <a:gd name="connsiteX226" fmla="*/ 17174 w 116614"/>
              <a:gd name="connsiteY226" fmla="*/ 67951 h 174345"/>
              <a:gd name="connsiteX227" fmla="*/ 12725 w 116614"/>
              <a:gd name="connsiteY227" fmla="*/ 69180 h 174345"/>
              <a:gd name="connsiteX228" fmla="*/ 13202 w 116614"/>
              <a:gd name="connsiteY228" fmla="*/ 65837 h 174345"/>
              <a:gd name="connsiteX229" fmla="*/ 14268 w 116614"/>
              <a:gd name="connsiteY229" fmla="*/ 62808 h 174345"/>
              <a:gd name="connsiteX230" fmla="*/ 14478 w 116614"/>
              <a:gd name="connsiteY230" fmla="*/ 60817 h 174345"/>
              <a:gd name="connsiteX231" fmla="*/ 14268 w 116614"/>
              <a:gd name="connsiteY231" fmla="*/ 58674 h 174345"/>
              <a:gd name="connsiteX232" fmla="*/ 12182 w 116614"/>
              <a:gd name="connsiteY232" fmla="*/ 59589 h 174345"/>
              <a:gd name="connsiteX233" fmla="*/ 11944 w 116614"/>
              <a:gd name="connsiteY233" fmla="*/ 56569 h 174345"/>
              <a:gd name="connsiteX234" fmla="*/ 11049 w 116614"/>
              <a:gd name="connsiteY234" fmla="*/ 54502 h 174345"/>
              <a:gd name="connsiteX235" fmla="*/ 7953 w 116614"/>
              <a:gd name="connsiteY235" fmla="*/ 55931 h 174345"/>
              <a:gd name="connsiteX236" fmla="*/ 8029 w 116614"/>
              <a:gd name="connsiteY236" fmla="*/ 53188 h 174345"/>
              <a:gd name="connsiteX237" fmla="*/ 8925 w 116614"/>
              <a:gd name="connsiteY237" fmla="*/ 51273 h 174345"/>
              <a:gd name="connsiteX238" fmla="*/ 10535 w 116614"/>
              <a:gd name="connsiteY238" fmla="*/ 50445 h 174345"/>
              <a:gd name="connsiteX239" fmla="*/ 12135 w 116614"/>
              <a:gd name="connsiteY239" fmla="*/ 50806 h 174345"/>
              <a:gd name="connsiteX240" fmla="*/ 15116 w 116614"/>
              <a:gd name="connsiteY240" fmla="*/ 50778 h 174345"/>
              <a:gd name="connsiteX241" fmla="*/ 17993 w 116614"/>
              <a:gd name="connsiteY241" fmla="*/ 49330 h 174345"/>
              <a:gd name="connsiteX242" fmla="*/ 22136 w 116614"/>
              <a:gd name="connsiteY242" fmla="*/ 48959 h 174345"/>
              <a:gd name="connsiteX243" fmla="*/ 28727 w 116614"/>
              <a:gd name="connsiteY243" fmla="*/ 49406 h 174345"/>
              <a:gd name="connsiteX244" fmla="*/ 33261 w 116614"/>
              <a:gd name="connsiteY244" fmla="*/ 53473 h 174345"/>
              <a:gd name="connsiteX245" fmla="*/ 34433 w 116614"/>
              <a:gd name="connsiteY245" fmla="*/ 52750 h 174345"/>
              <a:gd name="connsiteX246" fmla="*/ 36243 w 116614"/>
              <a:gd name="connsiteY246" fmla="*/ 50178 h 174345"/>
              <a:gd name="connsiteX247" fmla="*/ 37090 w 116614"/>
              <a:gd name="connsiteY247" fmla="*/ 49892 h 174345"/>
              <a:gd name="connsiteX248" fmla="*/ 43929 w 116614"/>
              <a:gd name="connsiteY248" fmla="*/ 51016 h 174345"/>
              <a:gd name="connsiteX249" fmla="*/ 48168 w 116614"/>
              <a:gd name="connsiteY249" fmla="*/ 52492 h 174345"/>
              <a:gd name="connsiteX250" fmla="*/ 49301 w 116614"/>
              <a:gd name="connsiteY250" fmla="*/ 52035 h 174345"/>
              <a:gd name="connsiteX251" fmla="*/ 48692 w 116614"/>
              <a:gd name="connsiteY251" fmla="*/ 49187 h 174345"/>
              <a:gd name="connsiteX252" fmla="*/ 47235 w 116614"/>
              <a:gd name="connsiteY252" fmla="*/ 47206 h 174345"/>
              <a:gd name="connsiteX253" fmla="*/ 49063 w 116614"/>
              <a:gd name="connsiteY253" fmla="*/ 44615 h 174345"/>
              <a:gd name="connsiteX254" fmla="*/ 51292 w 116614"/>
              <a:gd name="connsiteY254" fmla="*/ 42853 h 174345"/>
              <a:gd name="connsiteX255" fmla="*/ 52787 w 116614"/>
              <a:gd name="connsiteY255" fmla="*/ 41977 h 174345"/>
              <a:gd name="connsiteX256" fmla="*/ 56226 w 116614"/>
              <a:gd name="connsiteY256" fmla="*/ 40882 h 174345"/>
              <a:gd name="connsiteX257" fmla="*/ 57731 w 116614"/>
              <a:gd name="connsiteY257" fmla="*/ 39853 h 174345"/>
              <a:gd name="connsiteX258" fmla="*/ 58731 w 116614"/>
              <a:gd name="connsiteY258" fmla="*/ 36500 h 174345"/>
              <a:gd name="connsiteX259" fmla="*/ 60322 w 116614"/>
              <a:gd name="connsiteY259" fmla="*/ 33709 h 174345"/>
              <a:gd name="connsiteX260" fmla="*/ 51683 w 116614"/>
              <a:gd name="connsiteY260" fmla="*/ 35157 h 174345"/>
              <a:gd name="connsiteX261" fmla="*/ 43462 w 116614"/>
              <a:gd name="connsiteY261" fmla="*/ 31842 h 174345"/>
              <a:gd name="connsiteX262" fmla="*/ 44768 w 116614"/>
              <a:gd name="connsiteY262" fmla="*/ 29499 h 174345"/>
              <a:gd name="connsiteX263" fmla="*/ 46501 w 116614"/>
              <a:gd name="connsiteY263" fmla="*/ 28165 h 174345"/>
              <a:gd name="connsiteX264" fmla="*/ 49492 w 116614"/>
              <a:gd name="connsiteY264" fmla="*/ 27146 h 174345"/>
              <a:gd name="connsiteX265" fmla="*/ 49778 w 116614"/>
              <a:gd name="connsiteY265" fmla="*/ 25918 h 174345"/>
              <a:gd name="connsiteX266" fmla="*/ 51292 w 116614"/>
              <a:gd name="connsiteY266" fmla="*/ 24898 h 174345"/>
              <a:gd name="connsiteX267" fmla="*/ 53797 w 116614"/>
              <a:gd name="connsiteY267" fmla="*/ 22212 h 174345"/>
              <a:gd name="connsiteX268" fmla="*/ 52873 w 116614"/>
              <a:gd name="connsiteY268" fmla="*/ 18698 h 174345"/>
              <a:gd name="connsiteX269" fmla="*/ 53369 w 116614"/>
              <a:gd name="connsiteY269" fmla="*/ 16126 h 174345"/>
              <a:gd name="connsiteX270" fmla="*/ 55169 w 116614"/>
              <a:gd name="connsiteY270" fmla="*/ 14449 h 174345"/>
              <a:gd name="connsiteX271" fmla="*/ 55731 w 116614"/>
              <a:gd name="connsiteY271" fmla="*/ 12040 h 174345"/>
              <a:gd name="connsiteX272" fmla="*/ 56531 w 116614"/>
              <a:gd name="connsiteY272" fmla="*/ 10258 h 174345"/>
              <a:gd name="connsiteX273" fmla="*/ 60188 w 116614"/>
              <a:gd name="connsiteY273" fmla="*/ 9620 h 174345"/>
              <a:gd name="connsiteX274" fmla="*/ 63703 w 116614"/>
              <a:gd name="connsiteY274" fmla="*/ 7972 h 174345"/>
              <a:gd name="connsiteX275" fmla="*/ 64970 w 116614"/>
              <a:gd name="connsiteY275" fmla="*/ 8134 h 174345"/>
              <a:gd name="connsiteX276" fmla="*/ 69132 w 116614"/>
              <a:gd name="connsiteY276" fmla="*/ 7753 h 174345"/>
              <a:gd name="connsiteX277" fmla="*/ 70533 w 116614"/>
              <a:gd name="connsiteY277" fmla="*/ 8420 h 174345"/>
              <a:gd name="connsiteX278" fmla="*/ 70209 w 116614"/>
              <a:gd name="connsiteY278" fmla="*/ 5496 h 174345"/>
              <a:gd name="connsiteX279" fmla="*/ 72762 w 116614"/>
              <a:gd name="connsiteY279" fmla="*/ 5115 h 174345"/>
              <a:gd name="connsiteX280" fmla="*/ 73752 w 116614"/>
              <a:gd name="connsiteY280" fmla="*/ 5696 h 174345"/>
              <a:gd name="connsiteX281" fmla="*/ 74190 w 116614"/>
              <a:gd name="connsiteY281" fmla="*/ 7772 h 174345"/>
              <a:gd name="connsiteX282" fmla="*/ 75352 w 116614"/>
              <a:gd name="connsiteY282" fmla="*/ 9097 h 174345"/>
              <a:gd name="connsiteX283" fmla="*/ 75714 w 116614"/>
              <a:gd name="connsiteY283" fmla="*/ 11392 h 174345"/>
              <a:gd name="connsiteX284" fmla="*/ 74933 w 116614"/>
              <a:gd name="connsiteY284" fmla="*/ 13164 h 174345"/>
              <a:gd name="connsiteX285" fmla="*/ 73628 w 116614"/>
              <a:gd name="connsiteY285" fmla="*/ 14526 h 174345"/>
              <a:gd name="connsiteX286" fmla="*/ 74819 w 116614"/>
              <a:gd name="connsiteY286" fmla="*/ 15916 h 174345"/>
              <a:gd name="connsiteX287" fmla="*/ 72980 w 116614"/>
              <a:gd name="connsiteY287" fmla="*/ 18440 h 174345"/>
              <a:gd name="connsiteX288" fmla="*/ 74962 w 116614"/>
              <a:gd name="connsiteY288" fmla="*/ 17364 h 174345"/>
              <a:gd name="connsiteX289" fmla="*/ 77791 w 116614"/>
              <a:gd name="connsiteY289" fmla="*/ 14897 h 174345"/>
              <a:gd name="connsiteX290" fmla="*/ 77638 w 116614"/>
              <a:gd name="connsiteY290" fmla="*/ 12887 h 174345"/>
              <a:gd name="connsiteX291" fmla="*/ 77162 w 116614"/>
              <a:gd name="connsiteY291" fmla="*/ 10344 h 174345"/>
              <a:gd name="connsiteX292" fmla="*/ 76372 w 116614"/>
              <a:gd name="connsiteY292" fmla="*/ 8049 h 174345"/>
              <a:gd name="connsiteX293" fmla="*/ 76733 w 116614"/>
              <a:gd name="connsiteY293" fmla="*/ 5515 h 174345"/>
              <a:gd name="connsiteX294" fmla="*/ 78324 w 116614"/>
              <a:gd name="connsiteY294" fmla="*/ 3934 h 174345"/>
              <a:gd name="connsiteX295" fmla="*/ 82505 w 116614"/>
              <a:gd name="connsiteY295" fmla="*/ 3134 h 174345"/>
              <a:gd name="connsiteX296" fmla="*/ 80791 w 116614"/>
              <a:gd name="connsiteY296" fmla="*/ 257 h 174345"/>
              <a:gd name="connsiteX297" fmla="*/ 82315 w 116614"/>
              <a:gd name="connsiteY297" fmla="*/ 0 h 174345"/>
              <a:gd name="connsiteX298" fmla="*/ 83972 w 116614"/>
              <a:gd name="connsiteY298" fmla="*/ 600 h 174345"/>
              <a:gd name="connsiteX299" fmla="*/ 86411 w 116614"/>
              <a:gd name="connsiteY299" fmla="*/ 2838 h 174345"/>
              <a:gd name="connsiteX300" fmla="*/ 88954 w 116614"/>
              <a:gd name="connsiteY300" fmla="*/ 4601 h 174345"/>
              <a:gd name="connsiteX301" fmla="*/ 91583 w 116614"/>
              <a:gd name="connsiteY301" fmla="*/ 5991 h 174345"/>
              <a:gd name="connsiteX302" fmla="*/ 89049 w 116614"/>
              <a:gd name="connsiteY302" fmla="*/ 8773 h 174345"/>
              <a:gd name="connsiteX303" fmla="*/ 85935 w 116614"/>
              <a:gd name="connsiteY303" fmla="*/ 10706 h 174345"/>
              <a:gd name="connsiteX304" fmla="*/ 84744 w 116614"/>
              <a:gd name="connsiteY304" fmla="*/ 12811 h 174345"/>
              <a:gd name="connsiteX305" fmla="*/ 11782 w 116614"/>
              <a:gd name="connsiteY305" fmla="*/ 66961 h 174345"/>
              <a:gd name="connsiteX306" fmla="*/ 11668 w 116614"/>
              <a:gd name="connsiteY306" fmla="*/ 68256 h 174345"/>
              <a:gd name="connsiteX307" fmla="*/ 9687 w 116614"/>
              <a:gd name="connsiteY307" fmla="*/ 66628 h 174345"/>
              <a:gd name="connsiteX308" fmla="*/ 8725 w 116614"/>
              <a:gd name="connsiteY308" fmla="*/ 64846 h 174345"/>
              <a:gd name="connsiteX309" fmla="*/ 3296 w 116614"/>
              <a:gd name="connsiteY309" fmla="*/ 64037 h 174345"/>
              <a:gd name="connsiteX310" fmla="*/ 5553 w 116614"/>
              <a:gd name="connsiteY310" fmla="*/ 62256 h 174345"/>
              <a:gd name="connsiteX311" fmla="*/ 6658 w 116614"/>
              <a:gd name="connsiteY311" fmla="*/ 62779 h 174345"/>
              <a:gd name="connsiteX312" fmla="*/ 10496 w 116614"/>
              <a:gd name="connsiteY312" fmla="*/ 62855 h 174345"/>
              <a:gd name="connsiteX313" fmla="*/ 11573 w 116614"/>
              <a:gd name="connsiteY313" fmla="*/ 63598 h 174345"/>
              <a:gd name="connsiteX314" fmla="*/ 11782 w 116614"/>
              <a:gd name="connsiteY314" fmla="*/ 66961 h 174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</a:cxnLst>
            <a:rect l="l" t="t" r="r" b="b"/>
            <a:pathLst>
              <a:path w="116614" h="174345">
                <a:moveTo>
                  <a:pt x="84744" y="12811"/>
                </a:moveTo>
                <a:lnTo>
                  <a:pt x="80515" y="15802"/>
                </a:lnTo>
                <a:lnTo>
                  <a:pt x="79858" y="16936"/>
                </a:lnTo>
                <a:lnTo>
                  <a:pt x="78667" y="21498"/>
                </a:lnTo>
                <a:lnTo>
                  <a:pt x="78524" y="22793"/>
                </a:lnTo>
                <a:lnTo>
                  <a:pt x="77162" y="25184"/>
                </a:lnTo>
                <a:lnTo>
                  <a:pt x="75876" y="27842"/>
                </a:lnTo>
                <a:lnTo>
                  <a:pt x="74381" y="28870"/>
                </a:lnTo>
                <a:lnTo>
                  <a:pt x="72152" y="29689"/>
                </a:lnTo>
                <a:lnTo>
                  <a:pt x="70885" y="30499"/>
                </a:lnTo>
                <a:lnTo>
                  <a:pt x="69285" y="30089"/>
                </a:lnTo>
                <a:lnTo>
                  <a:pt x="67266" y="30156"/>
                </a:lnTo>
                <a:lnTo>
                  <a:pt x="66256" y="31061"/>
                </a:lnTo>
                <a:lnTo>
                  <a:pt x="66304" y="31756"/>
                </a:lnTo>
                <a:lnTo>
                  <a:pt x="66903" y="32547"/>
                </a:lnTo>
                <a:lnTo>
                  <a:pt x="68675" y="33766"/>
                </a:lnTo>
                <a:lnTo>
                  <a:pt x="70647" y="34862"/>
                </a:lnTo>
                <a:lnTo>
                  <a:pt x="70428" y="35824"/>
                </a:lnTo>
                <a:lnTo>
                  <a:pt x="69370" y="36909"/>
                </a:lnTo>
                <a:lnTo>
                  <a:pt x="62674" y="39614"/>
                </a:lnTo>
                <a:lnTo>
                  <a:pt x="60684" y="41243"/>
                </a:lnTo>
                <a:lnTo>
                  <a:pt x="59988" y="42320"/>
                </a:lnTo>
                <a:lnTo>
                  <a:pt x="60703" y="44120"/>
                </a:lnTo>
                <a:lnTo>
                  <a:pt x="66046" y="49502"/>
                </a:lnTo>
                <a:lnTo>
                  <a:pt x="66951" y="50092"/>
                </a:lnTo>
                <a:lnTo>
                  <a:pt x="67742" y="53226"/>
                </a:lnTo>
                <a:lnTo>
                  <a:pt x="72457" y="54531"/>
                </a:lnTo>
                <a:lnTo>
                  <a:pt x="74390" y="56483"/>
                </a:lnTo>
                <a:lnTo>
                  <a:pt x="76048" y="56950"/>
                </a:lnTo>
                <a:lnTo>
                  <a:pt x="79658" y="56779"/>
                </a:lnTo>
                <a:lnTo>
                  <a:pt x="81106" y="57512"/>
                </a:lnTo>
                <a:lnTo>
                  <a:pt x="81925" y="56950"/>
                </a:lnTo>
                <a:lnTo>
                  <a:pt x="82401" y="55921"/>
                </a:lnTo>
                <a:lnTo>
                  <a:pt x="85439" y="53273"/>
                </a:lnTo>
                <a:lnTo>
                  <a:pt x="86439" y="52111"/>
                </a:lnTo>
                <a:lnTo>
                  <a:pt x="85839" y="50502"/>
                </a:lnTo>
                <a:lnTo>
                  <a:pt x="85192" y="49273"/>
                </a:lnTo>
                <a:lnTo>
                  <a:pt x="87039" y="46825"/>
                </a:lnTo>
                <a:lnTo>
                  <a:pt x="89278" y="44406"/>
                </a:lnTo>
                <a:lnTo>
                  <a:pt x="90402" y="44482"/>
                </a:lnTo>
                <a:lnTo>
                  <a:pt x="92316" y="45968"/>
                </a:lnTo>
                <a:lnTo>
                  <a:pt x="93897" y="48035"/>
                </a:lnTo>
                <a:lnTo>
                  <a:pt x="94107" y="49635"/>
                </a:lnTo>
                <a:lnTo>
                  <a:pt x="94402" y="50797"/>
                </a:lnTo>
                <a:lnTo>
                  <a:pt x="95898" y="53273"/>
                </a:lnTo>
                <a:lnTo>
                  <a:pt x="96860" y="54131"/>
                </a:lnTo>
                <a:lnTo>
                  <a:pt x="99451" y="54626"/>
                </a:lnTo>
                <a:lnTo>
                  <a:pt x="100060" y="55597"/>
                </a:lnTo>
                <a:lnTo>
                  <a:pt x="99593" y="59179"/>
                </a:lnTo>
                <a:lnTo>
                  <a:pt x="99984" y="60370"/>
                </a:lnTo>
                <a:lnTo>
                  <a:pt x="102699" y="60427"/>
                </a:lnTo>
                <a:lnTo>
                  <a:pt x="105585" y="60141"/>
                </a:lnTo>
                <a:lnTo>
                  <a:pt x="106594" y="60274"/>
                </a:lnTo>
                <a:lnTo>
                  <a:pt x="107632" y="59522"/>
                </a:lnTo>
                <a:lnTo>
                  <a:pt x="109233" y="58712"/>
                </a:lnTo>
                <a:lnTo>
                  <a:pt x="111528" y="58989"/>
                </a:lnTo>
                <a:lnTo>
                  <a:pt x="112652" y="60589"/>
                </a:lnTo>
                <a:lnTo>
                  <a:pt x="113157" y="62236"/>
                </a:lnTo>
                <a:lnTo>
                  <a:pt x="111185" y="62855"/>
                </a:lnTo>
                <a:lnTo>
                  <a:pt x="109128" y="62522"/>
                </a:lnTo>
                <a:lnTo>
                  <a:pt x="108128" y="63598"/>
                </a:lnTo>
                <a:lnTo>
                  <a:pt x="108061" y="65675"/>
                </a:lnTo>
                <a:lnTo>
                  <a:pt x="108756" y="68352"/>
                </a:lnTo>
                <a:lnTo>
                  <a:pt x="110137" y="70247"/>
                </a:lnTo>
                <a:lnTo>
                  <a:pt x="111233" y="74514"/>
                </a:lnTo>
                <a:lnTo>
                  <a:pt x="112147" y="79238"/>
                </a:lnTo>
                <a:lnTo>
                  <a:pt x="113557" y="82087"/>
                </a:lnTo>
                <a:lnTo>
                  <a:pt x="113852" y="85611"/>
                </a:lnTo>
                <a:lnTo>
                  <a:pt x="113643" y="87344"/>
                </a:lnTo>
                <a:lnTo>
                  <a:pt x="113900" y="90459"/>
                </a:lnTo>
                <a:lnTo>
                  <a:pt x="113300" y="91554"/>
                </a:lnTo>
                <a:lnTo>
                  <a:pt x="113747" y="94469"/>
                </a:lnTo>
                <a:lnTo>
                  <a:pt x="115414" y="100479"/>
                </a:lnTo>
                <a:lnTo>
                  <a:pt x="116148" y="103823"/>
                </a:lnTo>
                <a:lnTo>
                  <a:pt x="116615" y="111100"/>
                </a:lnTo>
                <a:lnTo>
                  <a:pt x="115433" y="113814"/>
                </a:lnTo>
                <a:lnTo>
                  <a:pt x="113852" y="116396"/>
                </a:lnTo>
                <a:lnTo>
                  <a:pt x="112814" y="119444"/>
                </a:lnTo>
                <a:lnTo>
                  <a:pt x="112023" y="122730"/>
                </a:lnTo>
                <a:lnTo>
                  <a:pt x="111538" y="128016"/>
                </a:lnTo>
                <a:lnTo>
                  <a:pt x="108109" y="134188"/>
                </a:lnTo>
                <a:lnTo>
                  <a:pt x="106651" y="135722"/>
                </a:lnTo>
                <a:lnTo>
                  <a:pt x="104956" y="136665"/>
                </a:lnTo>
                <a:lnTo>
                  <a:pt x="108652" y="140970"/>
                </a:lnTo>
                <a:lnTo>
                  <a:pt x="105632" y="142885"/>
                </a:lnTo>
                <a:lnTo>
                  <a:pt x="102346" y="143485"/>
                </a:lnTo>
                <a:lnTo>
                  <a:pt x="98708" y="142408"/>
                </a:lnTo>
                <a:lnTo>
                  <a:pt x="96441" y="142542"/>
                </a:lnTo>
                <a:lnTo>
                  <a:pt x="94364" y="143933"/>
                </a:lnTo>
                <a:lnTo>
                  <a:pt x="93554" y="144771"/>
                </a:lnTo>
                <a:lnTo>
                  <a:pt x="92897" y="144371"/>
                </a:lnTo>
                <a:lnTo>
                  <a:pt x="91535" y="140846"/>
                </a:lnTo>
                <a:lnTo>
                  <a:pt x="90535" y="144485"/>
                </a:lnTo>
                <a:lnTo>
                  <a:pt x="88440" y="145647"/>
                </a:lnTo>
                <a:lnTo>
                  <a:pt x="84849" y="145399"/>
                </a:lnTo>
                <a:lnTo>
                  <a:pt x="78848" y="146371"/>
                </a:lnTo>
                <a:lnTo>
                  <a:pt x="76533" y="147399"/>
                </a:lnTo>
                <a:lnTo>
                  <a:pt x="75571" y="149019"/>
                </a:lnTo>
                <a:lnTo>
                  <a:pt x="74857" y="150886"/>
                </a:lnTo>
                <a:lnTo>
                  <a:pt x="73914" y="151981"/>
                </a:lnTo>
                <a:lnTo>
                  <a:pt x="72857" y="152562"/>
                </a:lnTo>
                <a:lnTo>
                  <a:pt x="68218" y="153934"/>
                </a:lnTo>
                <a:lnTo>
                  <a:pt x="67304" y="154486"/>
                </a:lnTo>
                <a:lnTo>
                  <a:pt x="65151" y="157486"/>
                </a:lnTo>
                <a:lnTo>
                  <a:pt x="62341" y="159220"/>
                </a:lnTo>
                <a:lnTo>
                  <a:pt x="60007" y="159744"/>
                </a:lnTo>
                <a:lnTo>
                  <a:pt x="57941" y="158001"/>
                </a:lnTo>
                <a:lnTo>
                  <a:pt x="57093" y="156953"/>
                </a:lnTo>
                <a:lnTo>
                  <a:pt x="56131" y="156420"/>
                </a:lnTo>
                <a:lnTo>
                  <a:pt x="52949" y="156505"/>
                </a:lnTo>
                <a:lnTo>
                  <a:pt x="53950" y="157048"/>
                </a:lnTo>
                <a:lnTo>
                  <a:pt x="54597" y="158277"/>
                </a:lnTo>
                <a:lnTo>
                  <a:pt x="54912" y="160639"/>
                </a:lnTo>
                <a:lnTo>
                  <a:pt x="54550" y="162954"/>
                </a:lnTo>
                <a:lnTo>
                  <a:pt x="52978" y="164125"/>
                </a:lnTo>
                <a:lnTo>
                  <a:pt x="51111" y="164344"/>
                </a:lnTo>
                <a:lnTo>
                  <a:pt x="48158" y="166735"/>
                </a:lnTo>
                <a:lnTo>
                  <a:pt x="44253" y="167383"/>
                </a:lnTo>
                <a:lnTo>
                  <a:pt x="42139" y="169583"/>
                </a:lnTo>
                <a:lnTo>
                  <a:pt x="29223" y="173298"/>
                </a:lnTo>
                <a:lnTo>
                  <a:pt x="28489" y="173336"/>
                </a:lnTo>
                <a:lnTo>
                  <a:pt x="26708" y="172393"/>
                </a:lnTo>
                <a:lnTo>
                  <a:pt x="24775" y="171974"/>
                </a:lnTo>
                <a:lnTo>
                  <a:pt x="22850" y="172269"/>
                </a:lnTo>
                <a:lnTo>
                  <a:pt x="17440" y="174346"/>
                </a:lnTo>
                <a:lnTo>
                  <a:pt x="14821" y="173936"/>
                </a:lnTo>
                <a:lnTo>
                  <a:pt x="18164" y="168774"/>
                </a:lnTo>
                <a:lnTo>
                  <a:pt x="22650" y="166164"/>
                </a:lnTo>
                <a:lnTo>
                  <a:pt x="23117" y="165450"/>
                </a:lnTo>
                <a:lnTo>
                  <a:pt x="21650" y="165097"/>
                </a:lnTo>
                <a:lnTo>
                  <a:pt x="13116" y="166907"/>
                </a:lnTo>
                <a:lnTo>
                  <a:pt x="10154" y="168450"/>
                </a:lnTo>
                <a:lnTo>
                  <a:pt x="7191" y="168898"/>
                </a:lnTo>
                <a:lnTo>
                  <a:pt x="8563" y="166535"/>
                </a:lnTo>
                <a:lnTo>
                  <a:pt x="12382" y="163306"/>
                </a:lnTo>
                <a:lnTo>
                  <a:pt x="14431" y="161782"/>
                </a:lnTo>
                <a:lnTo>
                  <a:pt x="15678" y="161173"/>
                </a:lnTo>
                <a:lnTo>
                  <a:pt x="17107" y="159268"/>
                </a:lnTo>
                <a:lnTo>
                  <a:pt x="21136" y="157106"/>
                </a:lnTo>
                <a:lnTo>
                  <a:pt x="8163" y="161563"/>
                </a:lnTo>
                <a:lnTo>
                  <a:pt x="4753" y="161020"/>
                </a:lnTo>
                <a:lnTo>
                  <a:pt x="3953" y="159782"/>
                </a:lnTo>
                <a:lnTo>
                  <a:pt x="1305" y="160372"/>
                </a:lnTo>
                <a:lnTo>
                  <a:pt x="295" y="157353"/>
                </a:lnTo>
                <a:lnTo>
                  <a:pt x="4229" y="152791"/>
                </a:lnTo>
                <a:lnTo>
                  <a:pt x="6525" y="150819"/>
                </a:lnTo>
                <a:lnTo>
                  <a:pt x="9249" y="149752"/>
                </a:lnTo>
                <a:lnTo>
                  <a:pt x="11868" y="148219"/>
                </a:lnTo>
                <a:lnTo>
                  <a:pt x="12840" y="146352"/>
                </a:lnTo>
                <a:lnTo>
                  <a:pt x="11611" y="145752"/>
                </a:lnTo>
                <a:lnTo>
                  <a:pt x="3762" y="146228"/>
                </a:lnTo>
                <a:lnTo>
                  <a:pt x="0" y="145828"/>
                </a:lnTo>
                <a:lnTo>
                  <a:pt x="200" y="144342"/>
                </a:lnTo>
                <a:lnTo>
                  <a:pt x="895" y="142694"/>
                </a:lnTo>
                <a:lnTo>
                  <a:pt x="4791" y="139875"/>
                </a:lnTo>
                <a:lnTo>
                  <a:pt x="6906" y="139427"/>
                </a:lnTo>
                <a:lnTo>
                  <a:pt x="8782" y="139694"/>
                </a:lnTo>
                <a:lnTo>
                  <a:pt x="10611" y="140418"/>
                </a:lnTo>
                <a:lnTo>
                  <a:pt x="12106" y="141361"/>
                </a:lnTo>
                <a:lnTo>
                  <a:pt x="16526" y="140818"/>
                </a:lnTo>
                <a:lnTo>
                  <a:pt x="14678" y="139017"/>
                </a:lnTo>
                <a:lnTo>
                  <a:pt x="14354" y="135350"/>
                </a:lnTo>
                <a:lnTo>
                  <a:pt x="12945" y="134122"/>
                </a:lnTo>
                <a:lnTo>
                  <a:pt x="14745" y="132417"/>
                </a:lnTo>
                <a:lnTo>
                  <a:pt x="16812" y="131388"/>
                </a:lnTo>
                <a:lnTo>
                  <a:pt x="20260" y="127854"/>
                </a:lnTo>
                <a:lnTo>
                  <a:pt x="21489" y="127311"/>
                </a:lnTo>
                <a:lnTo>
                  <a:pt x="28308" y="126454"/>
                </a:lnTo>
                <a:lnTo>
                  <a:pt x="35661" y="124597"/>
                </a:lnTo>
                <a:lnTo>
                  <a:pt x="42948" y="122025"/>
                </a:lnTo>
                <a:lnTo>
                  <a:pt x="39205" y="120587"/>
                </a:lnTo>
                <a:lnTo>
                  <a:pt x="37414" y="118682"/>
                </a:lnTo>
                <a:lnTo>
                  <a:pt x="34538" y="122520"/>
                </a:lnTo>
                <a:lnTo>
                  <a:pt x="32461" y="123987"/>
                </a:lnTo>
                <a:lnTo>
                  <a:pt x="26613" y="124778"/>
                </a:lnTo>
                <a:lnTo>
                  <a:pt x="24765" y="124349"/>
                </a:lnTo>
                <a:lnTo>
                  <a:pt x="22155" y="123158"/>
                </a:lnTo>
                <a:lnTo>
                  <a:pt x="21346" y="123606"/>
                </a:lnTo>
                <a:lnTo>
                  <a:pt x="20593" y="124520"/>
                </a:lnTo>
                <a:lnTo>
                  <a:pt x="16716" y="126397"/>
                </a:lnTo>
                <a:lnTo>
                  <a:pt x="12649" y="126845"/>
                </a:lnTo>
                <a:lnTo>
                  <a:pt x="17383" y="123397"/>
                </a:lnTo>
                <a:lnTo>
                  <a:pt x="23393" y="117538"/>
                </a:lnTo>
                <a:lnTo>
                  <a:pt x="24727" y="115691"/>
                </a:lnTo>
                <a:lnTo>
                  <a:pt x="26632" y="112462"/>
                </a:lnTo>
                <a:lnTo>
                  <a:pt x="26041" y="111023"/>
                </a:lnTo>
                <a:lnTo>
                  <a:pt x="24803" y="110204"/>
                </a:lnTo>
                <a:lnTo>
                  <a:pt x="29156" y="103537"/>
                </a:lnTo>
                <a:lnTo>
                  <a:pt x="30690" y="102327"/>
                </a:lnTo>
                <a:lnTo>
                  <a:pt x="33471" y="102127"/>
                </a:lnTo>
                <a:lnTo>
                  <a:pt x="35519" y="101070"/>
                </a:lnTo>
                <a:lnTo>
                  <a:pt x="36424" y="101070"/>
                </a:lnTo>
                <a:lnTo>
                  <a:pt x="37233" y="100670"/>
                </a:lnTo>
                <a:lnTo>
                  <a:pt x="39024" y="98670"/>
                </a:lnTo>
                <a:lnTo>
                  <a:pt x="36262" y="97393"/>
                </a:lnTo>
                <a:lnTo>
                  <a:pt x="33404" y="96736"/>
                </a:lnTo>
                <a:lnTo>
                  <a:pt x="24574" y="97431"/>
                </a:lnTo>
                <a:lnTo>
                  <a:pt x="23413" y="97279"/>
                </a:lnTo>
                <a:lnTo>
                  <a:pt x="22317" y="96660"/>
                </a:lnTo>
                <a:lnTo>
                  <a:pt x="21603" y="95774"/>
                </a:lnTo>
                <a:lnTo>
                  <a:pt x="21069" y="93497"/>
                </a:lnTo>
                <a:lnTo>
                  <a:pt x="20422" y="92983"/>
                </a:lnTo>
                <a:lnTo>
                  <a:pt x="18431" y="92983"/>
                </a:lnTo>
                <a:lnTo>
                  <a:pt x="16459" y="93679"/>
                </a:lnTo>
                <a:lnTo>
                  <a:pt x="15088" y="93612"/>
                </a:lnTo>
                <a:lnTo>
                  <a:pt x="13745" y="92612"/>
                </a:lnTo>
                <a:lnTo>
                  <a:pt x="15897" y="90278"/>
                </a:lnTo>
                <a:lnTo>
                  <a:pt x="13125" y="89726"/>
                </a:lnTo>
                <a:lnTo>
                  <a:pt x="10325" y="90183"/>
                </a:lnTo>
                <a:lnTo>
                  <a:pt x="7991" y="89468"/>
                </a:lnTo>
                <a:lnTo>
                  <a:pt x="7925" y="88002"/>
                </a:lnTo>
                <a:lnTo>
                  <a:pt x="8982" y="86535"/>
                </a:lnTo>
                <a:lnTo>
                  <a:pt x="7591" y="85144"/>
                </a:lnTo>
                <a:lnTo>
                  <a:pt x="7306" y="83382"/>
                </a:lnTo>
                <a:lnTo>
                  <a:pt x="8782" y="82515"/>
                </a:lnTo>
                <a:lnTo>
                  <a:pt x="10392" y="82801"/>
                </a:lnTo>
                <a:lnTo>
                  <a:pt x="13678" y="81496"/>
                </a:lnTo>
                <a:lnTo>
                  <a:pt x="17897" y="80867"/>
                </a:lnTo>
                <a:lnTo>
                  <a:pt x="14278" y="79581"/>
                </a:lnTo>
                <a:lnTo>
                  <a:pt x="12840" y="78477"/>
                </a:lnTo>
                <a:lnTo>
                  <a:pt x="12773" y="76791"/>
                </a:lnTo>
                <a:lnTo>
                  <a:pt x="13059" y="75343"/>
                </a:lnTo>
                <a:lnTo>
                  <a:pt x="17240" y="72895"/>
                </a:lnTo>
                <a:lnTo>
                  <a:pt x="21698" y="71819"/>
                </a:lnTo>
                <a:lnTo>
                  <a:pt x="21365" y="70209"/>
                </a:lnTo>
                <a:lnTo>
                  <a:pt x="21679" y="68456"/>
                </a:lnTo>
                <a:lnTo>
                  <a:pt x="17174" y="67951"/>
                </a:lnTo>
                <a:lnTo>
                  <a:pt x="12725" y="69180"/>
                </a:lnTo>
                <a:lnTo>
                  <a:pt x="13202" y="65837"/>
                </a:lnTo>
                <a:lnTo>
                  <a:pt x="14268" y="62808"/>
                </a:lnTo>
                <a:lnTo>
                  <a:pt x="14478" y="60817"/>
                </a:lnTo>
                <a:lnTo>
                  <a:pt x="14268" y="58674"/>
                </a:lnTo>
                <a:lnTo>
                  <a:pt x="12182" y="59589"/>
                </a:lnTo>
                <a:lnTo>
                  <a:pt x="11944" y="56569"/>
                </a:lnTo>
                <a:lnTo>
                  <a:pt x="11049" y="54502"/>
                </a:lnTo>
                <a:lnTo>
                  <a:pt x="7953" y="55931"/>
                </a:lnTo>
                <a:lnTo>
                  <a:pt x="8029" y="53188"/>
                </a:lnTo>
                <a:lnTo>
                  <a:pt x="8925" y="51273"/>
                </a:lnTo>
                <a:lnTo>
                  <a:pt x="10535" y="50445"/>
                </a:lnTo>
                <a:lnTo>
                  <a:pt x="12135" y="50806"/>
                </a:lnTo>
                <a:lnTo>
                  <a:pt x="15116" y="50778"/>
                </a:lnTo>
                <a:lnTo>
                  <a:pt x="17993" y="49330"/>
                </a:lnTo>
                <a:lnTo>
                  <a:pt x="22136" y="48959"/>
                </a:lnTo>
                <a:lnTo>
                  <a:pt x="28727" y="49406"/>
                </a:lnTo>
                <a:lnTo>
                  <a:pt x="33261" y="53473"/>
                </a:lnTo>
                <a:lnTo>
                  <a:pt x="34433" y="52750"/>
                </a:lnTo>
                <a:lnTo>
                  <a:pt x="36243" y="50178"/>
                </a:lnTo>
                <a:lnTo>
                  <a:pt x="37090" y="49892"/>
                </a:lnTo>
                <a:lnTo>
                  <a:pt x="43929" y="51016"/>
                </a:lnTo>
                <a:lnTo>
                  <a:pt x="48168" y="52492"/>
                </a:lnTo>
                <a:lnTo>
                  <a:pt x="49301" y="52035"/>
                </a:lnTo>
                <a:lnTo>
                  <a:pt x="48692" y="49187"/>
                </a:lnTo>
                <a:lnTo>
                  <a:pt x="47235" y="47206"/>
                </a:lnTo>
                <a:lnTo>
                  <a:pt x="49063" y="44615"/>
                </a:lnTo>
                <a:lnTo>
                  <a:pt x="51292" y="42853"/>
                </a:lnTo>
                <a:lnTo>
                  <a:pt x="52787" y="41977"/>
                </a:lnTo>
                <a:lnTo>
                  <a:pt x="56226" y="40882"/>
                </a:lnTo>
                <a:lnTo>
                  <a:pt x="57731" y="39853"/>
                </a:lnTo>
                <a:lnTo>
                  <a:pt x="58731" y="36500"/>
                </a:lnTo>
                <a:lnTo>
                  <a:pt x="60322" y="33709"/>
                </a:lnTo>
                <a:lnTo>
                  <a:pt x="51683" y="35157"/>
                </a:lnTo>
                <a:lnTo>
                  <a:pt x="43462" y="31842"/>
                </a:lnTo>
                <a:lnTo>
                  <a:pt x="44768" y="29499"/>
                </a:lnTo>
                <a:lnTo>
                  <a:pt x="46501" y="28165"/>
                </a:lnTo>
                <a:lnTo>
                  <a:pt x="49492" y="27146"/>
                </a:lnTo>
                <a:lnTo>
                  <a:pt x="49778" y="25918"/>
                </a:lnTo>
                <a:lnTo>
                  <a:pt x="51292" y="24898"/>
                </a:lnTo>
                <a:lnTo>
                  <a:pt x="53797" y="22212"/>
                </a:lnTo>
                <a:lnTo>
                  <a:pt x="52873" y="18698"/>
                </a:lnTo>
                <a:lnTo>
                  <a:pt x="53369" y="16126"/>
                </a:lnTo>
                <a:lnTo>
                  <a:pt x="55169" y="14449"/>
                </a:lnTo>
                <a:lnTo>
                  <a:pt x="55731" y="12040"/>
                </a:lnTo>
                <a:lnTo>
                  <a:pt x="56531" y="10258"/>
                </a:lnTo>
                <a:lnTo>
                  <a:pt x="60188" y="9620"/>
                </a:lnTo>
                <a:lnTo>
                  <a:pt x="63703" y="7972"/>
                </a:lnTo>
                <a:lnTo>
                  <a:pt x="64970" y="8134"/>
                </a:lnTo>
                <a:lnTo>
                  <a:pt x="69132" y="7753"/>
                </a:lnTo>
                <a:lnTo>
                  <a:pt x="70533" y="8420"/>
                </a:lnTo>
                <a:lnTo>
                  <a:pt x="70209" y="5496"/>
                </a:lnTo>
                <a:lnTo>
                  <a:pt x="72762" y="5115"/>
                </a:lnTo>
                <a:lnTo>
                  <a:pt x="73752" y="5696"/>
                </a:lnTo>
                <a:lnTo>
                  <a:pt x="74190" y="7772"/>
                </a:lnTo>
                <a:lnTo>
                  <a:pt x="75352" y="9097"/>
                </a:lnTo>
                <a:lnTo>
                  <a:pt x="75714" y="11392"/>
                </a:lnTo>
                <a:lnTo>
                  <a:pt x="74933" y="13164"/>
                </a:lnTo>
                <a:lnTo>
                  <a:pt x="73628" y="14526"/>
                </a:lnTo>
                <a:lnTo>
                  <a:pt x="74819" y="15916"/>
                </a:lnTo>
                <a:lnTo>
                  <a:pt x="72980" y="18440"/>
                </a:lnTo>
                <a:lnTo>
                  <a:pt x="74962" y="17364"/>
                </a:lnTo>
                <a:lnTo>
                  <a:pt x="77791" y="14897"/>
                </a:lnTo>
                <a:lnTo>
                  <a:pt x="77638" y="12887"/>
                </a:lnTo>
                <a:lnTo>
                  <a:pt x="77162" y="10344"/>
                </a:lnTo>
                <a:lnTo>
                  <a:pt x="76372" y="8049"/>
                </a:lnTo>
                <a:lnTo>
                  <a:pt x="76733" y="5515"/>
                </a:lnTo>
                <a:lnTo>
                  <a:pt x="78324" y="3934"/>
                </a:lnTo>
                <a:lnTo>
                  <a:pt x="82505" y="3134"/>
                </a:lnTo>
                <a:lnTo>
                  <a:pt x="80791" y="257"/>
                </a:lnTo>
                <a:lnTo>
                  <a:pt x="82315" y="0"/>
                </a:lnTo>
                <a:lnTo>
                  <a:pt x="83972" y="600"/>
                </a:lnTo>
                <a:lnTo>
                  <a:pt x="86411" y="2838"/>
                </a:lnTo>
                <a:lnTo>
                  <a:pt x="88954" y="4601"/>
                </a:lnTo>
                <a:lnTo>
                  <a:pt x="91583" y="5991"/>
                </a:lnTo>
                <a:lnTo>
                  <a:pt x="89049" y="8773"/>
                </a:lnTo>
                <a:lnTo>
                  <a:pt x="85935" y="10706"/>
                </a:lnTo>
                <a:lnTo>
                  <a:pt x="84744" y="12811"/>
                </a:lnTo>
                <a:close/>
                <a:moveTo>
                  <a:pt x="11782" y="66961"/>
                </a:moveTo>
                <a:lnTo>
                  <a:pt x="11668" y="68256"/>
                </a:lnTo>
                <a:lnTo>
                  <a:pt x="9687" y="66628"/>
                </a:lnTo>
                <a:lnTo>
                  <a:pt x="8725" y="64846"/>
                </a:lnTo>
                <a:lnTo>
                  <a:pt x="3296" y="64037"/>
                </a:lnTo>
                <a:lnTo>
                  <a:pt x="5553" y="62256"/>
                </a:lnTo>
                <a:lnTo>
                  <a:pt x="6658" y="62779"/>
                </a:lnTo>
                <a:lnTo>
                  <a:pt x="10496" y="62855"/>
                </a:lnTo>
                <a:lnTo>
                  <a:pt x="11573" y="63598"/>
                </a:lnTo>
                <a:lnTo>
                  <a:pt x="11782" y="66961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9" name="Forme libre : forme 28">
            <a:extLst>
              <a:ext uri="{FF2B5EF4-FFF2-40B4-BE49-F238E27FC236}">
                <a16:creationId xmlns:a16="http://schemas.microsoft.com/office/drawing/2014/main" id="{49813BFC-59CA-B198-1D84-8AD93225C770}"/>
              </a:ext>
            </a:extLst>
          </p:cNvPr>
          <p:cNvSpPr/>
          <p:nvPr/>
        </p:nvSpPr>
        <p:spPr>
          <a:xfrm>
            <a:off x="5354702" y="3306629"/>
            <a:ext cx="15590" cy="20735"/>
          </a:xfrm>
          <a:custGeom>
            <a:avLst/>
            <a:gdLst>
              <a:gd name="connsiteX0" fmla="*/ 9973 w 11953"/>
              <a:gd name="connsiteY0" fmla="*/ 10135 h 15897"/>
              <a:gd name="connsiteX1" fmla="*/ 4572 w 11953"/>
              <a:gd name="connsiteY1" fmla="*/ 15897 h 15897"/>
              <a:gd name="connsiteX2" fmla="*/ 2381 w 11953"/>
              <a:gd name="connsiteY2" fmla="*/ 14869 h 15897"/>
              <a:gd name="connsiteX3" fmla="*/ 515 w 11953"/>
              <a:gd name="connsiteY3" fmla="*/ 15412 h 15897"/>
              <a:gd name="connsiteX4" fmla="*/ 0 w 11953"/>
              <a:gd name="connsiteY4" fmla="*/ 15250 h 15897"/>
              <a:gd name="connsiteX5" fmla="*/ 1057 w 11953"/>
              <a:gd name="connsiteY5" fmla="*/ 13164 h 15897"/>
              <a:gd name="connsiteX6" fmla="*/ 2315 w 11953"/>
              <a:gd name="connsiteY6" fmla="*/ 8334 h 15897"/>
              <a:gd name="connsiteX7" fmla="*/ 4553 w 11953"/>
              <a:gd name="connsiteY7" fmla="*/ 6420 h 15897"/>
              <a:gd name="connsiteX8" fmla="*/ 7391 w 11953"/>
              <a:gd name="connsiteY8" fmla="*/ 1391 h 15897"/>
              <a:gd name="connsiteX9" fmla="*/ 9640 w 11953"/>
              <a:gd name="connsiteY9" fmla="*/ 0 h 15897"/>
              <a:gd name="connsiteX10" fmla="*/ 10411 w 11953"/>
              <a:gd name="connsiteY10" fmla="*/ 191 h 15897"/>
              <a:gd name="connsiteX11" fmla="*/ 10906 w 11953"/>
              <a:gd name="connsiteY11" fmla="*/ 667 h 15897"/>
              <a:gd name="connsiteX12" fmla="*/ 11954 w 11953"/>
              <a:gd name="connsiteY12" fmla="*/ 6315 h 15897"/>
              <a:gd name="connsiteX13" fmla="*/ 10506 w 11953"/>
              <a:gd name="connsiteY13" fmla="*/ 8306 h 15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953" h="15897">
                <a:moveTo>
                  <a:pt x="9973" y="10135"/>
                </a:moveTo>
                <a:lnTo>
                  <a:pt x="4572" y="15897"/>
                </a:lnTo>
                <a:lnTo>
                  <a:pt x="2381" y="14869"/>
                </a:lnTo>
                <a:lnTo>
                  <a:pt x="515" y="15412"/>
                </a:lnTo>
                <a:lnTo>
                  <a:pt x="0" y="15250"/>
                </a:lnTo>
                <a:lnTo>
                  <a:pt x="1057" y="13164"/>
                </a:lnTo>
                <a:lnTo>
                  <a:pt x="2315" y="8334"/>
                </a:lnTo>
                <a:lnTo>
                  <a:pt x="4553" y="6420"/>
                </a:lnTo>
                <a:lnTo>
                  <a:pt x="7391" y="1391"/>
                </a:lnTo>
                <a:lnTo>
                  <a:pt x="9640" y="0"/>
                </a:lnTo>
                <a:lnTo>
                  <a:pt x="10411" y="191"/>
                </a:lnTo>
                <a:lnTo>
                  <a:pt x="10906" y="667"/>
                </a:lnTo>
                <a:lnTo>
                  <a:pt x="11954" y="6315"/>
                </a:lnTo>
                <a:lnTo>
                  <a:pt x="10506" y="8306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1" name="Forme libre : forme 30">
            <a:extLst>
              <a:ext uri="{FF2B5EF4-FFF2-40B4-BE49-F238E27FC236}">
                <a16:creationId xmlns:a16="http://schemas.microsoft.com/office/drawing/2014/main" id="{F9AF9178-6A81-3575-2667-736B168984B9}"/>
              </a:ext>
            </a:extLst>
          </p:cNvPr>
          <p:cNvSpPr/>
          <p:nvPr/>
        </p:nvSpPr>
        <p:spPr>
          <a:xfrm>
            <a:off x="5752664" y="3710416"/>
            <a:ext cx="413439" cy="486524"/>
          </a:xfrm>
          <a:custGeom>
            <a:avLst/>
            <a:gdLst>
              <a:gd name="connsiteX0" fmla="*/ 189024 w 316982"/>
              <a:gd name="connsiteY0" fmla="*/ 21745 h 373017"/>
              <a:gd name="connsiteX1" fmla="*/ 188481 w 316982"/>
              <a:gd name="connsiteY1" fmla="*/ 23965 h 373017"/>
              <a:gd name="connsiteX2" fmla="*/ 187347 w 316982"/>
              <a:gd name="connsiteY2" fmla="*/ 24517 h 373017"/>
              <a:gd name="connsiteX3" fmla="*/ 185366 w 316982"/>
              <a:gd name="connsiteY3" fmla="*/ 25813 h 373017"/>
              <a:gd name="connsiteX4" fmla="*/ 183099 w 316982"/>
              <a:gd name="connsiteY4" fmla="*/ 27584 h 373017"/>
              <a:gd name="connsiteX5" fmla="*/ 180985 w 316982"/>
              <a:gd name="connsiteY5" fmla="*/ 29575 h 373017"/>
              <a:gd name="connsiteX6" fmla="*/ 180413 w 316982"/>
              <a:gd name="connsiteY6" fmla="*/ 31737 h 373017"/>
              <a:gd name="connsiteX7" fmla="*/ 180994 w 316982"/>
              <a:gd name="connsiteY7" fmla="*/ 33147 h 373017"/>
              <a:gd name="connsiteX8" fmla="*/ 181565 w 316982"/>
              <a:gd name="connsiteY8" fmla="*/ 33633 h 373017"/>
              <a:gd name="connsiteX9" fmla="*/ 182337 w 316982"/>
              <a:gd name="connsiteY9" fmla="*/ 33204 h 373017"/>
              <a:gd name="connsiteX10" fmla="*/ 183461 w 316982"/>
              <a:gd name="connsiteY10" fmla="*/ 33471 h 373017"/>
              <a:gd name="connsiteX11" fmla="*/ 184870 w 316982"/>
              <a:gd name="connsiteY11" fmla="*/ 34242 h 373017"/>
              <a:gd name="connsiteX12" fmla="*/ 187223 w 316982"/>
              <a:gd name="connsiteY12" fmla="*/ 34995 h 373017"/>
              <a:gd name="connsiteX13" fmla="*/ 187290 w 316982"/>
              <a:gd name="connsiteY13" fmla="*/ 35738 h 373017"/>
              <a:gd name="connsiteX14" fmla="*/ 186795 w 316982"/>
              <a:gd name="connsiteY14" fmla="*/ 36690 h 373017"/>
              <a:gd name="connsiteX15" fmla="*/ 184966 w 316982"/>
              <a:gd name="connsiteY15" fmla="*/ 38376 h 373017"/>
              <a:gd name="connsiteX16" fmla="*/ 183318 w 316982"/>
              <a:gd name="connsiteY16" fmla="*/ 40281 h 373017"/>
              <a:gd name="connsiteX17" fmla="*/ 183156 w 316982"/>
              <a:gd name="connsiteY17" fmla="*/ 41443 h 373017"/>
              <a:gd name="connsiteX18" fmla="*/ 183356 w 316982"/>
              <a:gd name="connsiteY18" fmla="*/ 42291 h 373017"/>
              <a:gd name="connsiteX19" fmla="*/ 183927 w 316982"/>
              <a:gd name="connsiteY19" fmla="*/ 42805 h 373017"/>
              <a:gd name="connsiteX20" fmla="*/ 186366 w 316982"/>
              <a:gd name="connsiteY20" fmla="*/ 42577 h 373017"/>
              <a:gd name="connsiteX21" fmla="*/ 186728 w 316982"/>
              <a:gd name="connsiteY21" fmla="*/ 43272 h 373017"/>
              <a:gd name="connsiteX22" fmla="*/ 185537 w 316982"/>
              <a:gd name="connsiteY22" fmla="*/ 48158 h 373017"/>
              <a:gd name="connsiteX23" fmla="*/ 185909 w 316982"/>
              <a:gd name="connsiteY23" fmla="*/ 48987 h 373017"/>
              <a:gd name="connsiteX24" fmla="*/ 188052 w 316982"/>
              <a:gd name="connsiteY24" fmla="*/ 49768 h 373017"/>
              <a:gd name="connsiteX25" fmla="*/ 189614 w 316982"/>
              <a:gd name="connsiteY25" fmla="*/ 50940 h 373017"/>
              <a:gd name="connsiteX26" fmla="*/ 192539 w 316982"/>
              <a:gd name="connsiteY26" fmla="*/ 54026 h 373017"/>
              <a:gd name="connsiteX27" fmla="*/ 193700 w 316982"/>
              <a:gd name="connsiteY27" fmla="*/ 56521 h 373017"/>
              <a:gd name="connsiteX28" fmla="*/ 192900 w 316982"/>
              <a:gd name="connsiteY28" fmla="*/ 57360 h 373017"/>
              <a:gd name="connsiteX29" fmla="*/ 191062 w 316982"/>
              <a:gd name="connsiteY29" fmla="*/ 57769 h 373017"/>
              <a:gd name="connsiteX30" fmla="*/ 189567 w 316982"/>
              <a:gd name="connsiteY30" fmla="*/ 57560 h 373017"/>
              <a:gd name="connsiteX31" fmla="*/ 191262 w 316982"/>
              <a:gd name="connsiteY31" fmla="*/ 56055 h 373017"/>
              <a:gd name="connsiteX32" fmla="*/ 187119 w 316982"/>
              <a:gd name="connsiteY32" fmla="*/ 50568 h 373017"/>
              <a:gd name="connsiteX33" fmla="*/ 185242 w 316982"/>
              <a:gd name="connsiteY33" fmla="*/ 50578 h 373017"/>
              <a:gd name="connsiteX34" fmla="*/ 182756 w 316982"/>
              <a:gd name="connsiteY34" fmla="*/ 52902 h 373017"/>
              <a:gd name="connsiteX35" fmla="*/ 175841 w 316982"/>
              <a:gd name="connsiteY35" fmla="*/ 50549 h 373017"/>
              <a:gd name="connsiteX36" fmla="*/ 174517 w 316982"/>
              <a:gd name="connsiteY36" fmla="*/ 51502 h 373017"/>
              <a:gd name="connsiteX37" fmla="*/ 173536 w 316982"/>
              <a:gd name="connsiteY37" fmla="*/ 53359 h 373017"/>
              <a:gd name="connsiteX38" fmla="*/ 171136 w 316982"/>
              <a:gd name="connsiteY38" fmla="*/ 55664 h 373017"/>
              <a:gd name="connsiteX39" fmla="*/ 167735 w 316982"/>
              <a:gd name="connsiteY39" fmla="*/ 56674 h 373017"/>
              <a:gd name="connsiteX40" fmla="*/ 163944 w 316982"/>
              <a:gd name="connsiteY40" fmla="*/ 59207 h 373017"/>
              <a:gd name="connsiteX41" fmla="*/ 159953 w 316982"/>
              <a:gd name="connsiteY41" fmla="*/ 60998 h 373017"/>
              <a:gd name="connsiteX42" fmla="*/ 156905 w 316982"/>
              <a:gd name="connsiteY42" fmla="*/ 62351 h 373017"/>
              <a:gd name="connsiteX43" fmla="*/ 155153 w 316982"/>
              <a:gd name="connsiteY43" fmla="*/ 62112 h 373017"/>
              <a:gd name="connsiteX44" fmla="*/ 157934 w 316982"/>
              <a:gd name="connsiteY44" fmla="*/ 59188 h 373017"/>
              <a:gd name="connsiteX45" fmla="*/ 156753 w 316982"/>
              <a:gd name="connsiteY45" fmla="*/ 59131 h 373017"/>
              <a:gd name="connsiteX46" fmla="*/ 153057 w 316982"/>
              <a:gd name="connsiteY46" fmla="*/ 61198 h 373017"/>
              <a:gd name="connsiteX47" fmla="*/ 150933 w 316982"/>
              <a:gd name="connsiteY47" fmla="*/ 62941 h 373017"/>
              <a:gd name="connsiteX48" fmla="*/ 150247 w 316982"/>
              <a:gd name="connsiteY48" fmla="*/ 65875 h 373017"/>
              <a:gd name="connsiteX49" fmla="*/ 149628 w 316982"/>
              <a:gd name="connsiteY49" fmla="*/ 70695 h 373017"/>
              <a:gd name="connsiteX50" fmla="*/ 151247 w 316982"/>
              <a:gd name="connsiteY50" fmla="*/ 71971 h 373017"/>
              <a:gd name="connsiteX51" fmla="*/ 154086 w 316982"/>
              <a:gd name="connsiteY51" fmla="*/ 78314 h 373017"/>
              <a:gd name="connsiteX52" fmla="*/ 157581 w 316982"/>
              <a:gd name="connsiteY52" fmla="*/ 81020 h 373017"/>
              <a:gd name="connsiteX53" fmla="*/ 156905 w 316982"/>
              <a:gd name="connsiteY53" fmla="*/ 83601 h 373017"/>
              <a:gd name="connsiteX54" fmla="*/ 155981 w 316982"/>
              <a:gd name="connsiteY54" fmla="*/ 85639 h 373017"/>
              <a:gd name="connsiteX55" fmla="*/ 153867 w 316982"/>
              <a:gd name="connsiteY55" fmla="*/ 87401 h 373017"/>
              <a:gd name="connsiteX56" fmla="*/ 152114 w 316982"/>
              <a:gd name="connsiteY56" fmla="*/ 86096 h 373017"/>
              <a:gd name="connsiteX57" fmla="*/ 151038 w 316982"/>
              <a:gd name="connsiteY57" fmla="*/ 86125 h 373017"/>
              <a:gd name="connsiteX58" fmla="*/ 150228 w 316982"/>
              <a:gd name="connsiteY58" fmla="*/ 90249 h 373017"/>
              <a:gd name="connsiteX59" fmla="*/ 151743 w 316982"/>
              <a:gd name="connsiteY59" fmla="*/ 101213 h 373017"/>
              <a:gd name="connsiteX60" fmla="*/ 154181 w 316982"/>
              <a:gd name="connsiteY60" fmla="*/ 108871 h 373017"/>
              <a:gd name="connsiteX61" fmla="*/ 156600 w 316982"/>
              <a:gd name="connsiteY61" fmla="*/ 112204 h 373017"/>
              <a:gd name="connsiteX62" fmla="*/ 162058 w 316982"/>
              <a:gd name="connsiteY62" fmla="*/ 117377 h 373017"/>
              <a:gd name="connsiteX63" fmla="*/ 167830 w 316982"/>
              <a:gd name="connsiteY63" fmla="*/ 120101 h 373017"/>
              <a:gd name="connsiteX64" fmla="*/ 178213 w 316982"/>
              <a:gd name="connsiteY64" fmla="*/ 128778 h 373017"/>
              <a:gd name="connsiteX65" fmla="*/ 183909 w 316982"/>
              <a:gd name="connsiteY65" fmla="*/ 131521 h 373017"/>
              <a:gd name="connsiteX66" fmla="*/ 185404 w 316982"/>
              <a:gd name="connsiteY66" fmla="*/ 133007 h 373017"/>
              <a:gd name="connsiteX67" fmla="*/ 188852 w 316982"/>
              <a:gd name="connsiteY67" fmla="*/ 139665 h 373017"/>
              <a:gd name="connsiteX68" fmla="*/ 191833 w 316982"/>
              <a:gd name="connsiteY68" fmla="*/ 147333 h 373017"/>
              <a:gd name="connsiteX69" fmla="*/ 195044 w 316982"/>
              <a:gd name="connsiteY69" fmla="*/ 159315 h 373017"/>
              <a:gd name="connsiteX70" fmla="*/ 197330 w 316982"/>
              <a:gd name="connsiteY70" fmla="*/ 165192 h 373017"/>
              <a:gd name="connsiteX71" fmla="*/ 201940 w 316982"/>
              <a:gd name="connsiteY71" fmla="*/ 171821 h 373017"/>
              <a:gd name="connsiteX72" fmla="*/ 211503 w 316982"/>
              <a:gd name="connsiteY72" fmla="*/ 181270 h 373017"/>
              <a:gd name="connsiteX73" fmla="*/ 220199 w 316982"/>
              <a:gd name="connsiteY73" fmla="*/ 188157 h 373017"/>
              <a:gd name="connsiteX74" fmla="*/ 228295 w 316982"/>
              <a:gd name="connsiteY74" fmla="*/ 192405 h 373017"/>
              <a:gd name="connsiteX75" fmla="*/ 234610 w 316982"/>
              <a:gd name="connsiteY75" fmla="*/ 193148 h 373017"/>
              <a:gd name="connsiteX76" fmla="*/ 249555 w 316982"/>
              <a:gd name="connsiteY76" fmla="*/ 192214 h 373017"/>
              <a:gd name="connsiteX77" fmla="*/ 252155 w 316982"/>
              <a:gd name="connsiteY77" fmla="*/ 192614 h 373017"/>
              <a:gd name="connsiteX78" fmla="*/ 254917 w 316982"/>
              <a:gd name="connsiteY78" fmla="*/ 193758 h 373017"/>
              <a:gd name="connsiteX79" fmla="*/ 255575 w 316982"/>
              <a:gd name="connsiteY79" fmla="*/ 196701 h 373017"/>
              <a:gd name="connsiteX80" fmla="*/ 254565 w 316982"/>
              <a:gd name="connsiteY80" fmla="*/ 198682 h 373017"/>
              <a:gd name="connsiteX81" fmla="*/ 251422 w 316982"/>
              <a:gd name="connsiteY81" fmla="*/ 200739 h 373017"/>
              <a:gd name="connsiteX82" fmla="*/ 248221 w 316982"/>
              <a:gd name="connsiteY82" fmla="*/ 203587 h 373017"/>
              <a:gd name="connsiteX83" fmla="*/ 247869 w 316982"/>
              <a:gd name="connsiteY83" fmla="*/ 207464 h 373017"/>
              <a:gd name="connsiteX84" fmla="*/ 250860 w 316982"/>
              <a:gd name="connsiteY84" fmla="*/ 210188 h 373017"/>
              <a:gd name="connsiteX85" fmla="*/ 265281 w 316982"/>
              <a:gd name="connsiteY85" fmla="*/ 217399 h 373017"/>
              <a:gd name="connsiteX86" fmla="*/ 280026 w 316982"/>
              <a:gd name="connsiteY86" fmla="*/ 223409 h 373017"/>
              <a:gd name="connsiteX87" fmla="*/ 284617 w 316982"/>
              <a:gd name="connsiteY87" fmla="*/ 226466 h 373017"/>
              <a:gd name="connsiteX88" fmla="*/ 289941 w 316982"/>
              <a:gd name="connsiteY88" fmla="*/ 231219 h 373017"/>
              <a:gd name="connsiteX89" fmla="*/ 302790 w 316982"/>
              <a:gd name="connsiteY89" fmla="*/ 237734 h 373017"/>
              <a:gd name="connsiteX90" fmla="*/ 304962 w 316982"/>
              <a:gd name="connsiteY90" fmla="*/ 240897 h 373017"/>
              <a:gd name="connsiteX91" fmla="*/ 312772 w 316982"/>
              <a:gd name="connsiteY91" fmla="*/ 247688 h 373017"/>
              <a:gd name="connsiteX92" fmla="*/ 316306 w 316982"/>
              <a:gd name="connsiteY92" fmla="*/ 252917 h 373017"/>
              <a:gd name="connsiteX93" fmla="*/ 316982 w 316982"/>
              <a:gd name="connsiteY93" fmla="*/ 256965 h 373017"/>
              <a:gd name="connsiteX94" fmla="*/ 315297 w 316982"/>
              <a:gd name="connsiteY94" fmla="*/ 261071 h 373017"/>
              <a:gd name="connsiteX95" fmla="*/ 314515 w 316982"/>
              <a:gd name="connsiteY95" fmla="*/ 263957 h 373017"/>
              <a:gd name="connsiteX96" fmla="*/ 313192 w 316982"/>
              <a:gd name="connsiteY96" fmla="*/ 266805 h 373017"/>
              <a:gd name="connsiteX97" fmla="*/ 309867 w 316982"/>
              <a:gd name="connsiteY97" fmla="*/ 265729 h 373017"/>
              <a:gd name="connsiteX98" fmla="*/ 306086 w 316982"/>
              <a:gd name="connsiteY98" fmla="*/ 262795 h 373017"/>
              <a:gd name="connsiteX99" fmla="*/ 300390 w 316982"/>
              <a:gd name="connsiteY99" fmla="*/ 250850 h 373017"/>
              <a:gd name="connsiteX100" fmla="*/ 289998 w 316982"/>
              <a:gd name="connsiteY100" fmla="*/ 249641 h 373017"/>
              <a:gd name="connsiteX101" fmla="*/ 287846 w 316982"/>
              <a:gd name="connsiteY101" fmla="*/ 248755 h 373017"/>
              <a:gd name="connsiteX102" fmla="*/ 284150 w 316982"/>
              <a:gd name="connsiteY102" fmla="*/ 246697 h 373017"/>
              <a:gd name="connsiteX103" fmla="*/ 283931 w 316982"/>
              <a:gd name="connsiteY103" fmla="*/ 245335 h 373017"/>
              <a:gd name="connsiteX104" fmla="*/ 283016 w 316982"/>
              <a:gd name="connsiteY104" fmla="*/ 243640 h 373017"/>
              <a:gd name="connsiteX105" fmla="*/ 282073 w 316982"/>
              <a:gd name="connsiteY105" fmla="*/ 243068 h 373017"/>
              <a:gd name="connsiteX106" fmla="*/ 278101 w 316982"/>
              <a:gd name="connsiteY106" fmla="*/ 242688 h 373017"/>
              <a:gd name="connsiteX107" fmla="*/ 275349 w 316982"/>
              <a:gd name="connsiteY107" fmla="*/ 244630 h 373017"/>
              <a:gd name="connsiteX108" fmla="*/ 272110 w 316982"/>
              <a:gd name="connsiteY108" fmla="*/ 249231 h 373017"/>
              <a:gd name="connsiteX109" fmla="*/ 268433 w 316982"/>
              <a:gd name="connsiteY109" fmla="*/ 255832 h 373017"/>
              <a:gd name="connsiteX110" fmla="*/ 264700 w 316982"/>
              <a:gd name="connsiteY110" fmla="*/ 265481 h 373017"/>
              <a:gd name="connsiteX111" fmla="*/ 264490 w 316982"/>
              <a:gd name="connsiteY111" fmla="*/ 269367 h 373017"/>
              <a:gd name="connsiteX112" fmla="*/ 266519 w 316982"/>
              <a:gd name="connsiteY112" fmla="*/ 273129 h 373017"/>
              <a:gd name="connsiteX113" fmla="*/ 272577 w 316982"/>
              <a:gd name="connsiteY113" fmla="*/ 275225 h 373017"/>
              <a:gd name="connsiteX114" fmla="*/ 277254 w 316982"/>
              <a:gd name="connsiteY114" fmla="*/ 278568 h 373017"/>
              <a:gd name="connsiteX115" fmla="*/ 280340 w 316982"/>
              <a:gd name="connsiteY115" fmla="*/ 282054 h 373017"/>
              <a:gd name="connsiteX116" fmla="*/ 280559 w 316982"/>
              <a:gd name="connsiteY116" fmla="*/ 290446 h 373017"/>
              <a:gd name="connsiteX117" fmla="*/ 281940 w 316982"/>
              <a:gd name="connsiteY117" fmla="*/ 295199 h 373017"/>
              <a:gd name="connsiteX118" fmla="*/ 279911 w 316982"/>
              <a:gd name="connsiteY118" fmla="*/ 297894 h 373017"/>
              <a:gd name="connsiteX119" fmla="*/ 275977 w 316982"/>
              <a:gd name="connsiteY119" fmla="*/ 297199 h 373017"/>
              <a:gd name="connsiteX120" fmla="*/ 270738 w 316982"/>
              <a:gd name="connsiteY120" fmla="*/ 298913 h 373017"/>
              <a:gd name="connsiteX121" fmla="*/ 267024 w 316982"/>
              <a:gd name="connsiteY121" fmla="*/ 301981 h 373017"/>
              <a:gd name="connsiteX122" fmla="*/ 265481 w 316982"/>
              <a:gd name="connsiteY122" fmla="*/ 304895 h 373017"/>
              <a:gd name="connsiteX123" fmla="*/ 265881 w 316982"/>
              <a:gd name="connsiteY123" fmla="*/ 312439 h 373017"/>
              <a:gd name="connsiteX124" fmla="*/ 265119 w 316982"/>
              <a:gd name="connsiteY124" fmla="*/ 315306 h 373017"/>
              <a:gd name="connsiteX125" fmla="*/ 258080 w 316982"/>
              <a:gd name="connsiteY125" fmla="*/ 320716 h 373017"/>
              <a:gd name="connsiteX126" fmla="*/ 254384 w 316982"/>
              <a:gd name="connsiteY126" fmla="*/ 326241 h 373017"/>
              <a:gd name="connsiteX127" fmla="*/ 253460 w 316982"/>
              <a:gd name="connsiteY127" fmla="*/ 328527 h 373017"/>
              <a:gd name="connsiteX128" fmla="*/ 252051 w 316982"/>
              <a:gd name="connsiteY128" fmla="*/ 331118 h 373017"/>
              <a:gd name="connsiteX129" fmla="*/ 243163 w 316982"/>
              <a:gd name="connsiteY129" fmla="*/ 331213 h 373017"/>
              <a:gd name="connsiteX130" fmla="*/ 241059 w 316982"/>
              <a:gd name="connsiteY130" fmla="*/ 328003 h 373017"/>
              <a:gd name="connsiteX131" fmla="*/ 240983 w 316982"/>
              <a:gd name="connsiteY131" fmla="*/ 323231 h 373017"/>
              <a:gd name="connsiteX132" fmla="*/ 242506 w 316982"/>
              <a:gd name="connsiteY132" fmla="*/ 320288 h 373017"/>
              <a:gd name="connsiteX133" fmla="*/ 245774 w 316982"/>
              <a:gd name="connsiteY133" fmla="*/ 318906 h 373017"/>
              <a:gd name="connsiteX134" fmla="*/ 247974 w 316982"/>
              <a:gd name="connsiteY134" fmla="*/ 312772 h 373017"/>
              <a:gd name="connsiteX135" fmla="*/ 247278 w 316982"/>
              <a:gd name="connsiteY135" fmla="*/ 308334 h 373017"/>
              <a:gd name="connsiteX136" fmla="*/ 248564 w 316982"/>
              <a:gd name="connsiteY136" fmla="*/ 306362 h 373017"/>
              <a:gd name="connsiteX137" fmla="*/ 249774 w 316982"/>
              <a:gd name="connsiteY137" fmla="*/ 304972 h 373017"/>
              <a:gd name="connsiteX138" fmla="*/ 252260 w 316982"/>
              <a:gd name="connsiteY138" fmla="*/ 304152 h 373017"/>
              <a:gd name="connsiteX139" fmla="*/ 255775 w 316982"/>
              <a:gd name="connsiteY139" fmla="*/ 303371 h 373017"/>
              <a:gd name="connsiteX140" fmla="*/ 256127 w 316982"/>
              <a:gd name="connsiteY140" fmla="*/ 297151 h 373017"/>
              <a:gd name="connsiteX141" fmla="*/ 253384 w 316982"/>
              <a:gd name="connsiteY141" fmla="*/ 294322 h 373017"/>
              <a:gd name="connsiteX142" fmla="*/ 252422 w 316982"/>
              <a:gd name="connsiteY142" fmla="*/ 290351 h 373017"/>
              <a:gd name="connsiteX143" fmla="*/ 251145 w 316982"/>
              <a:gd name="connsiteY143" fmla="*/ 282997 h 373017"/>
              <a:gd name="connsiteX144" fmla="*/ 246621 w 316982"/>
              <a:gd name="connsiteY144" fmla="*/ 273577 h 373017"/>
              <a:gd name="connsiteX145" fmla="*/ 244202 w 316982"/>
              <a:gd name="connsiteY145" fmla="*/ 265147 h 373017"/>
              <a:gd name="connsiteX146" fmla="*/ 242306 w 316982"/>
              <a:gd name="connsiteY146" fmla="*/ 260975 h 373017"/>
              <a:gd name="connsiteX147" fmla="*/ 239430 w 316982"/>
              <a:gd name="connsiteY147" fmla="*/ 258794 h 373017"/>
              <a:gd name="connsiteX148" fmla="*/ 234239 w 316982"/>
              <a:gd name="connsiteY148" fmla="*/ 258823 h 373017"/>
              <a:gd name="connsiteX149" fmla="*/ 231658 w 316982"/>
              <a:gd name="connsiteY149" fmla="*/ 258204 h 373017"/>
              <a:gd name="connsiteX150" fmla="*/ 222475 w 316982"/>
              <a:gd name="connsiteY150" fmla="*/ 252317 h 373017"/>
              <a:gd name="connsiteX151" fmla="*/ 221837 w 316982"/>
              <a:gd name="connsiteY151" fmla="*/ 251422 h 373017"/>
              <a:gd name="connsiteX152" fmla="*/ 221894 w 316982"/>
              <a:gd name="connsiteY152" fmla="*/ 249850 h 373017"/>
              <a:gd name="connsiteX153" fmla="*/ 223418 w 316982"/>
              <a:gd name="connsiteY153" fmla="*/ 247479 h 373017"/>
              <a:gd name="connsiteX154" fmla="*/ 222390 w 316982"/>
              <a:gd name="connsiteY154" fmla="*/ 244269 h 373017"/>
              <a:gd name="connsiteX155" fmla="*/ 221304 w 316982"/>
              <a:gd name="connsiteY155" fmla="*/ 241230 h 373017"/>
              <a:gd name="connsiteX156" fmla="*/ 219504 w 316982"/>
              <a:gd name="connsiteY156" fmla="*/ 238639 h 373017"/>
              <a:gd name="connsiteX157" fmla="*/ 217532 w 316982"/>
              <a:gd name="connsiteY157" fmla="*/ 237287 h 373017"/>
              <a:gd name="connsiteX158" fmla="*/ 213398 w 316982"/>
              <a:gd name="connsiteY158" fmla="*/ 238115 h 373017"/>
              <a:gd name="connsiteX159" fmla="*/ 211950 w 316982"/>
              <a:gd name="connsiteY159" fmla="*/ 238754 h 373017"/>
              <a:gd name="connsiteX160" fmla="*/ 209340 w 316982"/>
              <a:gd name="connsiteY160" fmla="*/ 238535 h 373017"/>
              <a:gd name="connsiteX161" fmla="*/ 207292 w 316982"/>
              <a:gd name="connsiteY161" fmla="*/ 239687 h 373017"/>
              <a:gd name="connsiteX162" fmla="*/ 206149 w 316982"/>
              <a:gd name="connsiteY162" fmla="*/ 239725 h 373017"/>
              <a:gd name="connsiteX163" fmla="*/ 209369 w 316982"/>
              <a:gd name="connsiteY163" fmla="*/ 235163 h 373017"/>
              <a:gd name="connsiteX164" fmla="*/ 208502 w 316982"/>
              <a:gd name="connsiteY164" fmla="*/ 234086 h 373017"/>
              <a:gd name="connsiteX165" fmla="*/ 205321 w 316982"/>
              <a:gd name="connsiteY165" fmla="*/ 232210 h 373017"/>
              <a:gd name="connsiteX166" fmla="*/ 200997 w 316982"/>
              <a:gd name="connsiteY166" fmla="*/ 231924 h 373017"/>
              <a:gd name="connsiteX167" fmla="*/ 199796 w 316982"/>
              <a:gd name="connsiteY167" fmla="*/ 231696 h 373017"/>
              <a:gd name="connsiteX168" fmla="*/ 199092 w 316982"/>
              <a:gd name="connsiteY168" fmla="*/ 232867 h 373017"/>
              <a:gd name="connsiteX169" fmla="*/ 198253 w 316982"/>
              <a:gd name="connsiteY169" fmla="*/ 232229 h 373017"/>
              <a:gd name="connsiteX170" fmla="*/ 198339 w 316982"/>
              <a:gd name="connsiteY170" fmla="*/ 230191 h 373017"/>
              <a:gd name="connsiteX171" fmla="*/ 193319 w 316982"/>
              <a:gd name="connsiteY171" fmla="*/ 221028 h 373017"/>
              <a:gd name="connsiteX172" fmla="*/ 189947 w 316982"/>
              <a:gd name="connsiteY172" fmla="*/ 217284 h 373017"/>
              <a:gd name="connsiteX173" fmla="*/ 188242 w 316982"/>
              <a:gd name="connsiteY173" fmla="*/ 216618 h 373017"/>
              <a:gd name="connsiteX174" fmla="*/ 185166 w 316982"/>
              <a:gd name="connsiteY174" fmla="*/ 217408 h 373017"/>
              <a:gd name="connsiteX175" fmla="*/ 180013 w 316982"/>
              <a:gd name="connsiteY175" fmla="*/ 215770 h 373017"/>
              <a:gd name="connsiteX176" fmla="*/ 176937 w 316982"/>
              <a:gd name="connsiteY176" fmla="*/ 215408 h 373017"/>
              <a:gd name="connsiteX177" fmla="*/ 175241 w 316982"/>
              <a:gd name="connsiteY177" fmla="*/ 215808 h 373017"/>
              <a:gd name="connsiteX178" fmla="*/ 172707 w 316982"/>
              <a:gd name="connsiteY178" fmla="*/ 216998 h 373017"/>
              <a:gd name="connsiteX179" fmla="*/ 171431 w 316982"/>
              <a:gd name="connsiteY179" fmla="*/ 216208 h 373017"/>
              <a:gd name="connsiteX180" fmla="*/ 170983 w 316982"/>
              <a:gd name="connsiteY180" fmla="*/ 214979 h 373017"/>
              <a:gd name="connsiteX181" fmla="*/ 166306 w 316982"/>
              <a:gd name="connsiteY181" fmla="*/ 211160 h 373017"/>
              <a:gd name="connsiteX182" fmla="*/ 160468 w 316982"/>
              <a:gd name="connsiteY182" fmla="*/ 208997 h 373017"/>
              <a:gd name="connsiteX183" fmla="*/ 149104 w 316982"/>
              <a:gd name="connsiteY183" fmla="*/ 196777 h 373017"/>
              <a:gd name="connsiteX184" fmla="*/ 145618 w 316982"/>
              <a:gd name="connsiteY184" fmla="*/ 192196 h 373017"/>
              <a:gd name="connsiteX185" fmla="*/ 138446 w 316982"/>
              <a:gd name="connsiteY185" fmla="*/ 187138 h 373017"/>
              <a:gd name="connsiteX186" fmla="*/ 133912 w 316982"/>
              <a:gd name="connsiteY186" fmla="*/ 179746 h 373017"/>
              <a:gd name="connsiteX187" fmla="*/ 130197 w 316982"/>
              <a:gd name="connsiteY187" fmla="*/ 177032 h 373017"/>
              <a:gd name="connsiteX188" fmla="*/ 124796 w 316982"/>
              <a:gd name="connsiteY188" fmla="*/ 174850 h 373017"/>
              <a:gd name="connsiteX189" fmla="*/ 123549 w 316982"/>
              <a:gd name="connsiteY189" fmla="*/ 175127 h 373017"/>
              <a:gd name="connsiteX190" fmla="*/ 121929 w 316982"/>
              <a:gd name="connsiteY190" fmla="*/ 175946 h 373017"/>
              <a:gd name="connsiteX191" fmla="*/ 120653 w 316982"/>
              <a:gd name="connsiteY191" fmla="*/ 176060 h 373017"/>
              <a:gd name="connsiteX192" fmla="*/ 119644 w 316982"/>
              <a:gd name="connsiteY192" fmla="*/ 175098 h 373017"/>
              <a:gd name="connsiteX193" fmla="*/ 120672 w 316982"/>
              <a:gd name="connsiteY193" fmla="*/ 174107 h 373017"/>
              <a:gd name="connsiteX194" fmla="*/ 121825 w 316982"/>
              <a:gd name="connsiteY194" fmla="*/ 173660 h 373017"/>
              <a:gd name="connsiteX195" fmla="*/ 121377 w 316982"/>
              <a:gd name="connsiteY195" fmla="*/ 170821 h 373017"/>
              <a:gd name="connsiteX196" fmla="*/ 115224 w 316982"/>
              <a:gd name="connsiteY196" fmla="*/ 163449 h 373017"/>
              <a:gd name="connsiteX197" fmla="*/ 111623 w 316982"/>
              <a:gd name="connsiteY197" fmla="*/ 161068 h 373017"/>
              <a:gd name="connsiteX198" fmla="*/ 110604 w 316982"/>
              <a:gd name="connsiteY198" fmla="*/ 159601 h 373017"/>
              <a:gd name="connsiteX199" fmla="*/ 109852 w 316982"/>
              <a:gd name="connsiteY199" fmla="*/ 157591 h 373017"/>
              <a:gd name="connsiteX200" fmla="*/ 109080 w 316982"/>
              <a:gd name="connsiteY200" fmla="*/ 156267 h 373017"/>
              <a:gd name="connsiteX201" fmla="*/ 107375 w 316982"/>
              <a:gd name="connsiteY201" fmla="*/ 155505 h 373017"/>
              <a:gd name="connsiteX202" fmla="*/ 105918 w 316982"/>
              <a:gd name="connsiteY202" fmla="*/ 155638 h 373017"/>
              <a:gd name="connsiteX203" fmla="*/ 103908 w 316982"/>
              <a:gd name="connsiteY203" fmla="*/ 155134 h 373017"/>
              <a:gd name="connsiteX204" fmla="*/ 103975 w 316982"/>
              <a:gd name="connsiteY204" fmla="*/ 151571 h 373017"/>
              <a:gd name="connsiteX205" fmla="*/ 104375 w 316982"/>
              <a:gd name="connsiteY205" fmla="*/ 148838 h 373017"/>
              <a:gd name="connsiteX206" fmla="*/ 104070 w 316982"/>
              <a:gd name="connsiteY206" fmla="*/ 146513 h 373017"/>
              <a:gd name="connsiteX207" fmla="*/ 102108 w 316982"/>
              <a:gd name="connsiteY207" fmla="*/ 140389 h 373017"/>
              <a:gd name="connsiteX208" fmla="*/ 98717 w 316982"/>
              <a:gd name="connsiteY208" fmla="*/ 135188 h 373017"/>
              <a:gd name="connsiteX209" fmla="*/ 96717 w 316982"/>
              <a:gd name="connsiteY209" fmla="*/ 122701 h 373017"/>
              <a:gd name="connsiteX210" fmla="*/ 95174 w 316982"/>
              <a:gd name="connsiteY210" fmla="*/ 119167 h 373017"/>
              <a:gd name="connsiteX211" fmla="*/ 91421 w 316982"/>
              <a:gd name="connsiteY211" fmla="*/ 116491 h 373017"/>
              <a:gd name="connsiteX212" fmla="*/ 82953 w 316982"/>
              <a:gd name="connsiteY212" fmla="*/ 113481 h 373017"/>
              <a:gd name="connsiteX213" fmla="*/ 71152 w 316982"/>
              <a:gd name="connsiteY213" fmla="*/ 105375 h 373017"/>
              <a:gd name="connsiteX214" fmla="*/ 68656 w 316982"/>
              <a:gd name="connsiteY214" fmla="*/ 105232 h 373017"/>
              <a:gd name="connsiteX215" fmla="*/ 61560 w 316982"/>
              <a:gd name="connsiteY215" fmla="*/ 102070 h 373017"/>
              <a:gd name="connsiteX216" fmla="*/ 57159 w 316982"/>
              <a:gd name="connsiteY216" fmla="*/ 101527 h 373017"/>
              <a:gd name="connsiteX217" fmla="*/ 51445 w 316982"/>
              <a:gd name="connsiteY217" fmla="*/ 104365 h 373017"/>
              <a:gd name="connsiteX218" fmla="*/ 44501 w 316982"/>
              <a:gd name="connsiteY218" fmla="*/ 112157 h 373017"/>
              <a:gd name="connsiteX219" fmla="*/ 38871 w 316982"/>
              <a:gd name="connsiteY219" fmla="*/ 120225 h 373017"/>
              <a:gd name="connsiteX220" fmla="*/ 36824 w 316982"/>
              <a:gd name="connsiteY220" fmla="*/ 121787 h 373017"/>
              <a:gd name="connsiteX221" fmla="*/ 29556 w 316982"/>
              <a:gd name="connsiteY221" fmla="*/ 124530 h 373017"/>
              <a:gd name="connsiteX222" fmla="*/ 23136 w 316982"/>
              <a:gd name="connsiteY222" fmla="*/ 125835 h 373017"/>
              <a:gd name="connsiteX223" fmla="*/ 23070 w 316982"/>
              <a:gd name="connsiteY223" fmla="*/ 123777 h 373017"/>
              <a:gd name="connsiteX224" fmla="*/ 22841 w 316982"/>
              <a:gd name="connsiteY224" fmla="*/ 122225 h 373017"/>
              <a:gd name="connsiteX225" fmla="*/ 23927 w 316982"/>
              <a:gd name="connsiteY225" fmla="*/ 120520 h 373017"/>
              <a:gd name="connsiteX226" fmla="*/ 25717 w 316982"/>
              <a:gd name="connsiteY226" fmla="*/ 118510 h 373017"/>
              <a:gd name="connsiteX227" fmla="*/ 27365 w 316982"/>
              <a:gd name="connsiteY227" fmla="*/ 115976 h 373017"/>
              <a:gd name="connsiteX228" fmla="*/ 28051 w 316982"/>
              <a:gd name="connsiteY228" fmla="*/ 114148 h 373017"/>
              <a:gd name="connsiteX229" fmla="*/ 27727 w 316982"/>
              <a:gd name="connsiteY229" fmla="*/ 112928 h 373017"/>
              <a:gd name="connsiteX230" fmla="*/ 26984 w 316982"/>
              <a:gd name="connsiteY230" fmla="*/ 111119 h 373017"/>
              <a:gd name="connsiteX231" fmla="*/ 25975 w 316982"/>
              <a:gd name="connsiteY231" fmla="*/ 110985 h 373017"/>
              <a:gd name="connsiteX232" fmla="*/ 19860 w 316982"/>
              <a:gd name="connsiteY232" fmla="*/ 112509 h 373017"/>
              <a:gd name="connsiteX233" fmla="*/ 18459 w 316982"/>
              <a:gd name="connsiteY233" fmla="*/ 112119 h 373017"/>
              <a:gd name="connsiteX234" fmla="*/ 13935 w 316982"/>
              <a:gd name="connsiteY234" fmla="*/ 109747 h 373017"/>
              <a:gd name="connsiteX235" fmla="*/ 9068 w 316982"/>
              <a:gd name="connsiteY235" fmla="*/ 106832 h 373017"/>
              <a:gd name="connsiteX236" fmla="*/ 7277 w 316982"/>
              <a:gd name="connsiteY236" fmla="*/ 104756 h 373017"/>
              <a:gd name="connsiteX237" fmla="*/ 6601 w 316982"/>
              <a:gd name="connsiteY237" fmla="*/ 102660 h 373017"/>
              <a:gd name="connsiteX238" fmla="*/ 7106 w 316982"/>
              <a:gd name="connsiteY238" fmla="*/ 101308 h 373017"/>
              <a:gd name="connsiteX239" fmla="*/ 6705 w 316982"/>
              <a:gd name="connsiteY239" fmla="*/ 99993 h 373017"/>
              <a:gd name="connsiteX240" fmla="*/ 5753 w 316982"/>
              <a:gd name="connsiteY240" fmla="*/ 98222 h 373017"/>
              <a:gd name="connsiteX241" fmla="*/ 6610 w 316982"/>
              <a:gd name="connsiteY241" fmla="*/ 96212 h 373017"/>
              <a:gd name="connsiteX242" fmla="*/ 8125 w 316982"/>
              <a:gd name="connsiteY242" fmla="*/ 93707 h 373017"/>
              <a:gd name="connsiteX243" fmla="*/ 8887 w 316982"/>
              <a:gd name="connsiteY243" fmla="*/ 92002 h 373017"/>
              <a:gd name="connsiteX244" fmla="*/ 10163 w 316982"/>
              <a:gd name="connsiteY244" fmla="*/ 91564 h 373017"/>
              <a:gd name="connsiteX245" fmla="*/ 10773 w 316982"/>
              <a:gd name="connsiteY245" fmla="*/ 90526 h 373017"/>
              <a:gd name="connsiteX246" fmla="*/ 9753 w 316982"/>
              <a:gd name="connsiteY246" fmla="*/ 86373 h 373017"/>
              <a:gd name="connsiteX247" fmla="*/ 9220 w 316982"/>
              <a:gd name="connsiteY247" fmla="*/ 85706 h 373017"/>
              <a:gd name="connsiteX248" fmla="*/ 8344 w 316982"/>
              <a:gd name="connsiteY248" fmla="*/ 85192 h 373017"/>
              <a:gd name="connsiteX249" fmla="*/ 6991 w 316982"/>
              <a:gd name="connsiteY249" fmla="*/ 85134 h 373017"/>
              <a:gd name="connsiteX250" fmla="*/ 4629 w 316982"/>
              <a:gd name="connsiteY250" fmla="*/ 84277 h 373017"/>
              <a:gd name="connsiteX251" fmla="*/ 2953 w 316982"/>
              <a:gd name="connsiteY251" fmla="*/ 82839 h 373017"/>
              <a:gd name="connsiteX252" fmla="*/ 2591 w 316982"/>
              <a:gd name="connsiteY252" fmla="*/ 80896 h 373017"/>
              <a:gd name="connsiteX253" fmla="*/ 1705 w 316982"/>
              <a:gd name="connsiteY253" fmla="*/ 79029 h 373017"/>
              <a:gd name="connsiteX254" fmla="*/ 190 w 316982"/>
              <a:gd name="connsiteY254" fmla="*/ 77314 h 373017"/>
              <a:gd name="connsiteX255" fmla="*/ 0 w 316982"/>
              <a:gd name="connsiteY255" fmla="*/ 75438 h 373017"/>
              <a:gd name="connsiteX256" fmla="*/ 1724 w 316982"/>
              <a:gd name="connsiteY256" fmla="*/ 74447 h 373017"/>
              <a:gd name="connsiteX257" fmla="*/ 4076 w 316982"/>
              <a:gd name="connsiteY257" fmla="*/ 74409 h 373017"/>
              <a:gd name="connsiteX258" fmla="*/ 5734 w 316982"/>
              <a:gd name="connsiteY258" fmla="*/ 74781 h 373017"/>
              <a:gd name="connsiteX259" fmla="*/ 9449 w 316982"/>
              <a:gd name="connsiteY259" fmla="*/ 71761 h 373017"/>
              <a:gd name="connsiteX260" fmla="*/ 10820 w 316982"/>
              <a:gd name="connsiteY260" fmla="*/ 71495 h 373017"/>
              <a:gd name="connsiteX261" fmla="*/ 12049 w 316982"/>
              <a:gd name="connsiteY261" fmla="*/ 70847 h 373017"/>
              <a:gd name="connsiteX262" fmla="*/ 13078 w 316982"/>
              <a:gd name="connsiteY262" fmla="*/ 66713 h 373017"/>
              <a:gd name="connsiteX263" fmla="*/ 13868 w 316982"/>
              <a:gd name="connsiteY263" fmla="*/ 65475 h 373017"/>
              <a:gd name="connsiteX264" fmla="*/ 14059 w 316982"/>
              <a:gd name="connsiteY264" fmla="*/ 64751 h 373017"/>
              <a:gd name="connsiteX265" fmla="*/ 13325 w 316982"/>
              <a:gd name="connsiteY265" fmla="*/ 63884 h 373017"/>
              <a:gd name="connsiteX266" fmla="*/ 10325 w 316982"/>
              <a:gd name="connsiteY266" fmla="*/ 60970 h 373017"/>
              <a:gd name="connsiteX267" fmla="*/ 8954 w 316982"/>
              <a:gd name="connsiteY267" fmla="*/ 57921 h 373017"/>
              <a:gd name="connsiteX268" fmla="*/ 6791 w 316982"/>
              <a:gd name="connsiteY268" fmla="*/ 54502 h 373017"/>
              <a:gd name="connsiteX269" fmla="*/ 4781 w 316982"/>
              <a:gd name="connsiteY269" fmla="*/ 52987 h 373017"/>
              <a:gd name="connsiteX270" fmla="*/ 4372 w 316982"/>
              <a:gd name="connsiteY270" fmla="*/ 51806 h 373017"/>
              <a:gd name="connsiteX271" fmla="*/ 4324 w 316982"/>
              <a:gd name="connsiteY271" fmla="*/ 50311 h 373017"/>
              <a:gd name="connsiteX272" fmla="*/ 4734 w 316982"/>
              <a:gd name="connsiteY272" fmla="*/ 48987 h 373017"/>
              <a:gd name="connsiteX273" fmla="*/ 8372 w 316982"/>
              <a:gd name="connsiteY273" fmla="*/ 46930 h 373017"/>
              <a:gd name="connsiteX274" fmla="*/ 10525 w 316982"/>
              <a:gd name="connsiteY274" fmla="*/ 44739 h 373017"/>
              <a:gd name="connsiteX275" fmla="*/ 11449 w 316982"/>
              <a:gd name="connsiteY275" fmla="*/ 45577 h 373017"/>
              <a:gd name="connsiteX276" fmla="*/ 13411 w 316982"/>
              <a:gd name="connsiteY276" fmla="*/ 46472 h 373017"/>
              <a:gd name="connsiteX277" fmla="*/ 18735 w 316982"/>
              <a:gd name="connsiteY277" fmla="*/ 45253 h 373017"/>
              <a:gd name="connsiteX278" fmla="*/ 22041 w 316982"/>
              <a:gd name="connsiteY278" fmla="*/ 44025 h 373017"/>
              <a:gd name="connsiteX279" fmla="*/ 24365 w 316982"/>
              <a:gd name="connsiteY279" fmla="*/ 42729 h 373017"/>
              <a:gd name="connsiteX280" fmla="*/ 25803 w 316982"/>
              <a:gd name="connsiteY280" fmla="*/ 42958 h 373017"/>
              <a:gd name="connsiteX281" fmla="*/ 31023 w 316982"/>
              <a:gd name="connsiteY281" fmla="*/ 44891 h 373017"/>
              <a:gd name="connsiteX282" fmla="*/ 32747 w 316982"/>
              <a:gd name="connsiteY282" fmla="*/ 43910 h 373017"/>
              <a:gd name="connsiteX283" fmla="*/ 36509 w 316982"/>
              <a:gd name="connsiteY283" fmla="*/ 41291 h 373017"/>
              <a:gd name="connsiteX284" fmla="*/ 37071 w 316982"/>
              <a:gd name="connsiteY284" fmla="*/ 39910 h 373017"/>
              <a:gd name="connsiteX285" fmla="*/ 40043 w 316982"/>
              <a:gd name="connsiteY285" fmla="*/ 35719 h 373017"/>
              <a:gd name="connsiteX286" fmla="*/ 40100 w 316982"/>
              <a:gd name="connsiteY286" fmla="*/ 34700 h 373017"/>
              <a:gd name="connsiteX287" fmla="*/ 38881 w 316982"/>
              <a:gd name="connsiteY287" fmla="*/ 32061 h 373017"/>
              <a:gd name="connsiteX288" fmla="*/ 39262 w 316982"/>
              <a:gd name="connsiteY288" fmla="*/ 31480 h 373017"/>
              <a:gd name="connsiteX289" fmla="*/ 42901 w 316982"/>
              <a:gd name="connsiteY289" fmla="*/ 28775 h 373017"/>
              <a:gd name="connsiteX290" fmla="*/ 44682 w 316982"/>
              <a:gd name="connsiteY290" fmla="*/ 26375 h 373017"/>
              <a:gd name="connsiteX291" fmla="*/ 46615 w 316982"/>
              <a:gd name="connsiteY291" fmla="*/ 24765 h 373017"/>
              <a:gd name="connsiteX292" fmla="*/ 48006 w 316982"/>
              <a:gd name="connsiteY292" fmla="*/ 24727 h 373017"/>
              <a:gd name="connsiteX293" fmla="*/ 48387 w 316982"/>
              <a:gd name="connsiteY293" fmla="*/ 25279 h 373017"/>
              <a:gd name="connsiteX294" fmla="*/ 48549 w 316982"/>
              <a:gd name="connsiteY294" fmla="*/ 26403 h 373017"/>
              <a:gd name="connsiteX295" fmla="*/ 48425 w 316982"/>
              <a:gd name="connsiteY295" fmla="*/ 31032 h 373017"/>
              <a:gd name="connsiteX296" fmla="*/ 48958 w 316982"/>
              <a:gd name="connsiteY296" fmla="*/ 32452 h 373017"/>
              <a:gd name="connsiteX297" fmla="*/ 51816 w 316982"/>
              <a:gd name="connsiteY297" fmla="*/ 35766 h 373017"/>
              <a:gd name="connsiteX298" fmla="*/ 53854 w 316982"/>
              <a:gd name="connsiteY298" fmla="*/ 37652 h 373017"/>
              <a:gd name="connsiteX299" fmla="*/ 58588 w 316982"/>
              <a:gd name="connsiteY299" fmla="*/ 38948 h 373017"/>
              <a:gd name="connsiteX300" fmla="*/ 58807 w 316982"/>
              <a:gd name="connsiteY300" fmla="*/ 39567 h 373017"/>
              <a:gd name="connsiteX301" fmla="*/ 57502 w 316982"/>
              <a:gd name="connsiteY301" fmla="*/ 42053 h 373017"/>
              <a:gd name="connsiteX302" fmla="*/ 60369 w 316982"/>
              <a:gd name="connsiteY302" fmla="*/ 45025 h 373017"/>
              <a:gd name="connsiteX303" fmla="*/ 60884 w 316982"/>
              <a:gd name="connsiteY303" fmla="*/ 47196 h 373017"/>
              <a:gd name="connsiteX304" fmla="*/ 62208 w 316982"/>
              <a:gd name="connsiteY304" fmla="*/ 48416 h 373017"/>
              <a:gd name="connsiteX305" fmla="*/ 64075 w 316982"/>
              <a:gd name="connsiteY305" fmla="*/ 47815 h 373017"/>
              <a:gd name="connsiteX306" fmla="*/ 64684 w 316982"/>
              <a:gd name="connsiteY306" fmla="*/ 46663 h 373017"/>
              <a:gd name="connsiteX307" fmla="*/ 63951 w 316982"/>
              <a:gd name="connsiteY307" fmla="*/ 44653 h 373017"/>
              <a:gd name="connsiteX308" fmla="*/ 63408 w 316982"/>
              <a:gd name="connsiteY308" fmla="*/ 42548 h 373017"/>
              <a:gd name="connsiteX309" fmla="*/ 63513 w 316982"/>
              <a:gd name="connsiteY309" fmla="*/ 41329 h 373017"/>
              <a:gd name="connsiteX310" fmla="*/ 64027 w 316982"/>
              <a:gd name="connsiteY310" fmla="*/ 39929 h 373017"/>
              <a:gd name="connsiteX311" fmla="*/ 65332 w 316982"/>
              <a:gd name="connsiteY311" fmla="*/ 37967 h 373017"/>
              <a:gd name="connsiteX312" fmla="*/ 68875 w 316982"/>
              <a:gd name="connsiteY312" fmla="*/ 33471 h 373017"/>
              <a:gd name="connsiteX313" fmla="*/ 70152 w 316982"/>
              <a:gd name="connsiteY313" fmla="*/ 30871 h 373017"/>
              <a:gd name="connsiteX314" fmla="*/ 70380 w 316982"/>
              <a:gd name="connsiteY314" fmla="*/ 26841 h 373017"/>
              <a:gd name="connsiteX315" fmla="*/ 70390 w 316982"/>
              <a:gd name="connsiteY315" fmla="*/ 23603 h 373017"/>
              <a:gd name="connsiteX316" fmla="*/ 71571 w 316982"/>
              <a:gd name="connsiteY316" fmla="*/ 22812 h 373017"/>
              <a:gd name="connsiteX317" fmla="*/ 74114 w 316982"/>
              <a:gd name="connsiteY317" fmla="*/ 23393 h 373017"/>
              <a:gd name="connsiteX318" fmla="*/ 74876 w 316982"/>
              <a:gd name="connsiteY318" fmla="*/ 23327 h 373017"/>
              <a:gd name="connsiteX319" fmla="*/ 75219 w 316982"/>
              <a:gd name="connsiteY319" fmla="*/ 25317 h 373017"/>
              <a:gd name="connsiteX320" fmla="*/ 76305 w 316982"/>
              <a:gd name="connsiteY320" fmla="*/ 28489 h 373017"/>
              <a:gd name="connsiteX321" fmla="*/ 77581 w 316982"/>
              <a:gd name="connsiteY321" fmla="*/ 30128 h 373017"/>
              <a:gd name="connsiteX322" fmla="*/ 78943 w 316982"/>
              <a:gd name="connsiteY322" fmla="*/ 30518 h 373017"/>
              <a:gd name="connsiteX323" fmla="*/ 80543 w 316982"/>
              <a:gd name="connsiteY323" fmla="*/ 30527 h 373017"/>
              <a:gd name="connsiteX324" fmla="*/ 84506 w 316982"/>
              <a:gd name="connsiteY324" fmla="*/ 28594 h 373017"/>
              <a:gd name="connsiteX325" fmla="*/ 87087 w 316982"/>
              <a:gd name="connsiteY325" fmla="*/ 27756 h 373017"/>
              <a:gd name="connsiteX326" fmla="*/ 88554 w 316982"/>
              <a:gd name="connsiteY326" fmla="*/ 27984 h 373017"/>
              <a:gd name="connsiteX327" fmla="*/ 89421 w 316982"/>
              <a:gd name="connsiteY327" fmla="*/ 29299 h 373017"/>
              <a:gd name="connsiteX328" fmla="*/ 91269 w 316982"/>
              <a:gd name="connsiteY328" fmla="*/ 32756 h 373017"/>
              <a:gd name="connsiteX329" fmla="*/ 92326 w 316982"/>
              <a:gd name="connsiteY329" fmla="*/ 33147 h 373017"/>
              <a:gd name="connsiteX330" fmla="*/ 93602 w 316982"/>
              <a:gd name="connsiteY330" fmla="*/ 32747 h 373017"/>
              <a:gd name="connsiteX331" fmla="*/ 94050 w 316982"/>
              <a:gd name="connsiteY331" fmla="*/ 32156 h 373017"/>
              <a:gd name="connsiteX332" fmla="*/ 93640 w 316982"/>
              <a:gd name="connsiteY332" fmla="*/ 30823 h 373017"/>
              <a:gd name="connsiteX333" fmla="*/ 93097 w 316982"/>
              <a:gd name="connsiteY333" fmla="*/ 27937 h 373017"/>
              <a:gd name="connsiteX334" fmla="*/ 92354 w 316982"/>
              <a:gd name="connsiteY334" fmla="*/ 25698 h 373017"/>
              <a:gd name="connsiteX335" fmla="*/ 91383 w 316982"/>
              <a:gd name="connsiteY335" fmla="*/ 24651 h 373017"/>
              <a:gd name="connsiteX336" fmla="*/ 91183 w 316982"/>
              <a:gd name="connsiteY336" fmla="*/ 23289 h 373017"/>
              <a:gd name="connsiteX337" fmla="*/ 91792 w 316982"/>
              <a:gd name="connsiteY337" fmla="*/ 20831 h 373017"/>
              <a:gd name="connsiteX338" fmla="*/ 92488 w 316982"/>
              <a:gd name="connsiteY338" fmla="*/ 18774 h 373017"/>
              <a:gd name="connsiteX339" fmla="*/ 93840 w 316982"/>
              <a:gd name="connsiteY339" fmla="*/ 18212 h 373017"/>
              <a:gd name="connsiteX340" fmla="*/ 95393 w 316982"/>
              <a:gd name="connsiteY340" fmla="*/ 17955 h 373017"/>
              <a:gd name="connsiteX341" fmla="*/ 97441 w 316982"/>
              <a:gd name="connsiteY341" fmla="*/ 20136 h 373017"/>
              <a:gd name="connsiteX342" fmla="*/ 99869 w 316982"/>
              <a:gd name="connsiteY342" fmla="*/ 20822 h 373017"/>
              <a:gd name="connsiteX343" fmla="*/ 101679 w 316982"/>
              <a:gd name="connsiteY343" fmla="*/ 20707 h 373017"/>
              <a:gd name="connsiteX344" fmla="*/ 101993 w 316982"/>
              <a:gd name="connsiteY344" fmla="*/ 19440 h 373017"/>
              <a:gd name="connsiteX345" fmla="*/ 101879 w 316982"/>
              <a:gd name="connsiteY345" fmla="*/ 18050 h 373017"/>
              <a:gd name="connsiteX346" fmla="*/ 100803 w 316982"/>
              <a:gd name="connsiteY346" fmla="*/ 16259 h 373017"/>
              <a:gd name="connsiteX347" fmla="*/ 101012 w 316982"/>
              <a:gd name="connsiteY347" fmla="*/ 13545 h 373017"/>
              <a:gd name="connsiteX348" fmla="*/ 102260 w 316982"/>
              <a:gd name="connsiteY348" fmla="*/ 8477 h 373017"/>
              <a:gd name="connsiteX349" fmla="*/ 102975 w 316982"/>
              <a:gd name="connsiteY349" fmla="*/ 8868 h 373017"/>
              <a:gd name="connsiteX350" fmla="*/ 105661 w 316982"/>
              <a:gd name="connsiteY350" fmla="*/ 8915 h 373017"/>
              <a:gd name="connsiteX351" fmla="*/ 108585 w 316982"/>
              <a:gd name="connsiteY351" fmla="*/ 9201 h 373017"/>
              <a:gd name="connsiteX352" fmla="*/ 110471 w 316982"/>
              <a:gd name="connsiteY352" fmla="*/ 11268 h 373017"/>
              <a:gd name="connsiteX353" fmla="*/ 112319 w 316982"/>
              <a:gd name="connsiteY353" fmla="*/ 11973 h 373017"/>
              <a:gd name="connsiteX354" fmla="*/ 114948 w 316982"/>
              <a:gd name="connsiteY354" fmla="*/ 12192 h 373017"/>
              <a:gd name="connsiteX355" fmla="*/ 116710 w 316982"/>
              <a:gd name="connsiteY355" fmla="*/ 11906 h 373017"/>
              <a:gd name="connsiteX356" fmla="*/ 117567 w 316982"/>
              <a:gd name="connsiteY356" fmla="*/ 11125 h 373017"/>
              <a:gd name="connsiteX357" fmla="*/ 118586 w 316982"/>
              <a:gd name="connsiteY357" fmla="*/ 8706 h 373017"/>
              <a:gd name="connsiteX358" fmla="*/ 120472 w 316982"/>
              <a:gd name="connsiteY358" fmla="*/ 5705 h 373017"/>
              <a:gd name="connsiteX359" fmla="*/ 123425 w 316982"/>
              <a:gd name="connsiteY359" fmla="*/ 4163 h 373017"/>
              <a:gd name="connsiteX360" fmla="*/ 128473 w 316982"/>
              <a:gd name="connsiteY360" fmla="*/ 3877 h 373017"/>
              <a:gd name="connsiteX361" fmla="*/ 130997 w 316982"/>
              <a:gd name="connsiteY361" fmla="*/ 3315 h 373017"/>
              <a:gd name="connsiteX362" fmla="*/ 133617 w 316982"/>
              <a:gd name="connsiteY362" fmla="*/ 3343 h 373017"/>
              <a:gd name="connsiteX363" fmla="*/ 135588 w 316982"/>
              <a:gd name="connsiteY363" fmla="*/ 3810 h 373017"/>
              <a:gd name="connsiteX364" fmla="*/ 137627 w 316982"/>
              <a:gd name="connsiteY364" fmla="*/ 3753 h 373017"/>
              <a:gd name="connsiteX365" fmla="*/ 142808 w 316982"/>
              <a:gd name="connsiteY365" fmla="*/ 1657 h 373017"/>
              <a:gd name="connsiteX366" fmla="*/ 148152 w 316982"/>
              <a:gd name="connsiteY366" fmla="*/ 0 h 373017"/>
              <a:gd name="connsiteX367" fmla="*/ 148895 w 316982"/>
              <a:gd name="connsiteY367" fmla="*/ 276 h 373017"/>
              <a:gd name="connsiteX368" fmla="*/ 149009 w 316982"/>
              <a:gd name="connsiteY368" fmla="*/ 829 h 373017"/>
              <a:gd name="connsiteX369" fmla="*/ 148047 w 316982"/>
              <a:gd name="connsiteY369" fmla="*/ 2105 h 373017"/>
              <a:gd name="connsiteX370" fmla="*/ 147113 w 316982"/>
              <a:gd name="connsiteY370" fmla="*/ 3800 h 373017"/>
              <a:gd name="connsiteX371" fmla="*/ 147742 w 316982"/>
              <a:gd name="connsiteY371" fmla="*/ 5734 h 373017"/>
              <a:gd name="connsiteX372" fmla="*/ 150781 w 316982"/>
              <a:gd name="connsiteY372" fmla="*/ 9611 h 373017"/>
              <a:gd name="connsiteX373" fmla="*/ 152438 w 316982"/>
              <a:gd name="connsiteY373" fmla="*/ 12573 h 373017"/>
              <a:gd name="connsiteX374" fmla="*/ 154000 w 316982"/>
              <a:gd name="connsiteY374" fmla="*/ 14792 h 373017"/>
              <a:gd name="connsiteX375" fmla="*/ 156429 w 316982"/>
              <a:gd name="connsiteY375" fmla="*/ 15964 h 373017"/>
              <a:gd name="connsiteX376" fmla="*/ 159620 w 316982"/>
              <a:gd name="connsiteY376" fmla="*/ 16678 h 373017"/>
              <a:gd name="connsiteX377" fmla="*/ 162325 w 316982"/>
              <a:gd name="connsiteY377" fmla="*/ 16935 h 373017"/>
              <a:gd name="connsiteX378" fmla="*/ 165154 w 316982"/>
              <a:gd name="connsiteY378" fmla="*/ 17774 h 373017"/>
              <a:gd name="connsiteX379" fmla="*/ 174860 w 316982"/>
              <a:gd name="connsiteY379" fmla="*/ 19841 h 373017"/>
              <a:gd name="connsiteX380" fmla="*/ 179746 w 316982"/>
              <a:gd name="connsiteY380" fmla="*/ 20412 h 373017"/>
              <a:gd name="connsiteX381" fmla="*/ 183451 w 316982"/>
              <a:gd name="connsiteY381" fmla="*/ 20498 h 373017"/>
              <a:gd name="connsiteX382" fmla="*/ 189024 w 316982"/>
              <a:gd name="connsiteY382" fmla="*/ 21745 h 373017"/>
              <a:gd name="connsiteX383" fmla="*/ 156553 w 316982"/>
              <a:gd name="connsiteY383" fmla="*/ 120815 h 373017"/>
              <a:gd name="connsiteX384" fmla="*/ 157343 w 316982"/>
              <a:gd name="connsiteY384" fmla="*/ 118910 h 373017"/>
              <a:gd name="connsiteX385" fmla="*/ 157048 w 316982"/>
              <a:gd name="connsiteY385" fmla="*/ 117548 h 373017"/>
              <a:gd name="connsiteX386" fmla="*/ 155372 w 316982"/>
              <a:gd name="connsiteY386" fmla="*/ 117824 h 373017"/>
              <a:gd name="connsiteX387" fmla="*/ 154191 w 316982"/>
              <a:gd name="connsiteY387" fmla="*/ 119596 h 373017"/>
              <a:gd name="connsiteX388" fmla="*/ 154981 w 316982"/>
              <a:gd name="connsiteY388" fmla="*/ 121091 h 373017"/>
              <a:gd name="connsiteX389" fmla="*/ 156553 w 316982"/>
              <a:gd name="connsiteY389" fmla="*/ 120815 h 373017"/>
              <a:gd name="connsiteX390" fmla="*/ 155324 w 316982"/>
              <a:gd name="connsiteY390" fmla="*/ 193662 h 373017"/>
              <a:gd name="connsiteX391" fmla="*/ 155305 w 316982"/>
              <a:gd name="connsiteY391" fmla="*/ 193377 h 373017"/>
              <a:gd name="connsiteX392" fmla="*/ 155105 w 316982"/>
              <a:gd name="connsiteY392" fmla="*/ 193405 h 373017"/>
              <a:gd name="connsiteX393" fmla="*/ 155019 w 316982"/>
              <a:gd name="connsiteY393" fmla="*/ 193577 h 373017"/>
              <a:gd name="connsiteX394" fmla="*/ 155105 w 316982"/>
              <a:gd name="connsiteY394" fmla="*/ 193691 h 373017"/>
              <a:gd name="connsiteX395" fmla="*/ 155324 w 316982"/>
              <a:gd name="connsiteY395" fmla="*/ 193662 h 373017"/>
              <a:gd name="connsiteX396" fmla="*/ 100689 w 316982"/>
              <a:gd name="connsiteY396" fmla="*/ 159048 h 373017"/>
              <a:gd name="connsiteX397" fmla="*/ 101575 w 316982"/>
              <a:gd name="connsiteY397" fmla="*/ 160458 h 373017"/>
              <a:gd name="connsiteX398" fmla="*/ 101679 w 316982"/>
              <a:gd name="connsiteY398" fmla="*/ 161277 h 373017"/>
              <a:gd name="connsiteX399" fmla="*/ 101079 w 316982"/>
              <a:gd name="connsiteY399" fmla="*/ 162211 h 373017"/>
              <a:gd name="connsiteX400" fmla="*/ 101327 w 316982"/>
              <a:gd name="connsiteY400" fmla="*/ 164306 h 373017"/>
              <a:gd name="connsiteX401" fmla="*/ 99088 w 316982"/>
              <a:gd name="connsiteY401" fmla="*/ 162563 h 373017"/>
              <a:gd name="connsiteX402" fmla="*/ 95707 w 316982"/>
              <a:gd name="connsiteY402" fmla="*/ 163439 h 373017"/>
              <a:gd name="connsiteX403" fmla="*/ 93631 w 316982"/>
              <a:gd name="connsiteY403" fmla="*/ 163249 h 373017"/>
              <a:gd name="connsiteX404" fmla="*/ 93059 w 316982"/>
              <a:gd name="connsiteY404" fmla="*/ 161687 h 373017"/>
              <a:gd name="connsiteX405" fmla="*/ 93535 w 316982"/>
              <a:gd name="connsiteY405" fmla="*/ 160772 h 373017"/>
              <a:gd name="connsiteX406" fmla="*/ 96755 w 316982"/>
              <a:gd name="connsiteY406" fmla="*/ 160572 h 373017"/>
              <a:gd name="connsiteX407" fmla="*/ 97755 w 316982"/>
              <a:gd name="connsiteY407" fmla="*/ 160125 h 373017"/>
              <a:gd name="connsiteX408" fmla="*/ 99717 w 316982"/>
              <a:gd name="connsiteY408" fmla="*/ 160334 h 373017"/>
              <a:gd name="connsiteX409" fmla="*/ 100689 w 316982"/>
              <a:gd name="connsiteY409" fmla="*/ 159048 h 373017"/>
              <a:gd name="connsiteX410" fmla="*/ 80276 w 316982"/>
              <a:gd name="connsiteY410" fmla="*/ 229733 h 373017"/>
              <a:gd name="connsiteX411" fmla="*/ 81620 w 316982"/>
              <a:gd name="connsiteY411" fmla="*/ 231981 h 373017"/>
              <a:gd name="connsiteX412" fmla="*/ 84620 w 316982"/>
              <a:gd name="connsiteY412" fmla="*/ 241182 h 373017"/>
              <a:gd name="connsiteX413" fmla="*/ 84906 w 316982"/>
              <a:gd name="connsiteY413" fmla="*/ 243164 h 373017"/>
              <a:gd name="connsiteX414" fmla="*/ 84306 w 316982"/>
              <a:gd name="connsiteY414" fmla="*/ 245193 h 373017"/>
              <a:gd name="connsiteX415" fmla="*/ 83544 w 316982"/>
              <a:gd name="connsiteY415" fmla="*/ 246631 h 373017"/>
              <a:gd name="connsiteX416" fmla="*/ 80562 w 316982"/>
              <a:gd name="connsiteY416" fmla="*/ 251241 h 373017"/>
              <a:gd name="connsiteX417" fmla="*/ 81001 w 316982"/>
              <a:gd name="connsiteY417" fmla="*/ 255041 h 373017"/>
              <a:gd name="connsiteX418" fmla="*/ 82105 w 316982"/>
              <a:gd name="connsiteY418" fmla="*/ 257394 h 373017"/>
              <a:gd name="connsiteX419" fmla="*/ 82267 w 316982"/>
              <a:gd name="connsiteY419" fmla="*/ 259994 h 373017"/>
              <a:gd name="connsiteX420" fmla="*/ 81715 w 316982"/>
              <a:gd name="connsiteY420" fmla="*/ 263214 h 373017"/>
              <a:gd name="connsiteX421" fmla="*/ 79867 w 316982"/>
              <a:gd name="connsiteY421" fmla="*/ 282921 h 373017"/>
              <a:gd name="connsiteX422" fmla="*/ 78972 w 316982"/>
              <a:gd name="connsiteY422" fmla="*/ 286398 h 373017"/>
              <a:gd name="connsiteX423" fmla="*/ 78410 w 316982"/>
              <a:gd name="connsiteY423" fmla="*/ 289398 h 373017"/>
              <a:gd name="connsiteX424" fmla="*/ 76372 w 316982"/>
              <a:gd name="connsiteY424" fmla="*/ 290313 h 373017"/>
              <a:gd name="connsiteX425" fmla="*/ 73743 w 316982"/>
              <a:gd name="connsiteY425" fmla="*/ 289350 h 373017"/>
              <a:gd name="connsiteX426" fmla="*/ 70428 w 316982"/>
              <a:gd name="connsiteY426" fmla="*/ 287655 h 373017"/>
              <a:gd name="connsiteX427" fmla="*/ 68894 w 316982"/>
              <a:gd name="connsiteY427" fmla="*/ 287760 h 373017"/>
              <a:gd name="connsiteX428" fmla="*/ 67351 w 316982"/>
              <a:gd name="connsiteY428" fmla="*/ 288341 h 373017"/>
              <a:gd name="connsiteX429" fmla="*/ 66084 w 316982"/>
              <a:gd name="connsiteY429" fmla="*/ 287846 h 373017"/>
              <a:gd name="connsiteX430" fmla="*/ 64875 w 316982"/>
              <a:gd name="connsiteY430" fmla="*/ 286883 h 373017"/>
              <a:gd name="connsiteX431" fmla="*/ 63970 w 316982"/>
              <a:gd name="connsiteY431" fmla="*/ 293608 h 373017"/>
              <a:gd name="connsiteX432" fmla="*/ 62474 w 316982"/>
              <a:gd name="connsiteY432" fmla="*/ 296332 h 373017"/>
              <a:gd name="connsiteX433" fmla="*/ 60198 w 316982"/>
              <a:gd name="connsiteY433" fmla="*/ 298075 h 373017"/>
              <a:gd name="connsiteX434" fmla="*/ 58055 w 316982"/>
              <a:gd name="connsiteY434" fmla="*/ 298180 h 373017"/>
              <a:gd name="connsiteX435" fmla="*/ 55845 w 316982"/>
              <a:gd name="connsiteY435" fmla="*/ 297599 h 373017"/>
              <a:gd name="connsiteX436" fmla="*/ 53978 w 316982"/>
              <a:gd name="connsiteY436" fmla="*/ 297599 h 373017"/>
              <a:gd name="connsiteX437" fmla="*/ 52559 w 316982"/>
              <a:gd name="connsiteY437" fmla="*/ 296313 h 373017"/>
              <a:gd name="connsiteX438" fmla="*/ 51435 w 316982"/>
              <a:gd name="connsiteY438" fmla="*/ 294046 h 373017"/>
              <a:gd name="connsiteX439" fmla="*/ 49644 w 316982"/>
              <a:gd name="connsiteY439" fmla="*/ 291294 h 373017"/>
              <a:gd name="connsiteX440" fmla="*/ 47825 w 316982"/>
              <a:gd name="connsiteY440" fmla="*/ 288026 h 373017"/>
              <a:gd name="connsiteX441" fmla="*/ 47625 w 316982"/>
              <a:gd name="connsiteY441" fmla="*/ 285064 h 373017"/>
              <a:gd name="connsiteX442" fmla="*/ 47310 w 316982"/>
              <a:gd name="connsiteY442" fmla="*/ 278521 h 373017"/>
              <a:gd name="connsiteX443" fmla="*/ 47835 w 316982"/>
              <a:gd name="connsiteY443" fmla="*/ 277092 h 373017"/>
              <a:gd name="connsiteX444" fmla="*/ 48596 w 316982"/>
              <a:gd name="connsiteY444" fmla="*/ 275720 h 373017"/>
              <a:gd name="connsiteX445" fmla="*/ 48968 w 316982"/>
              <a:gd name="connsiteY445" fmla="*/ 272787 h 373017"/>
              <a:gd name="connsiteX446" fmla="*/ 48711 w 316982"/>
              <a:gd name="connsiteY446" fmla="*/ 270224 h 373017"/>
              <a:gd name="connsiteX447" fmla="*/ 49244 w 316982"/>
              <a:gd name="connsiteY447" fmla="*/ 269310 h 373017"/>
              <a:gd name="connsiteX448" fmla="*/ 50302 w 316982"/>
              <a:gd name="connsiteY448" fmla="*/ 270224 h 373017"/>
              <a:gd name="connsiteX449" fmla="*/ 51092 w 316982"/>
              <a:gd name="connsiteY449" fmla="*/ 269881 h 373017"/>
              <a:gd name="connsiteX450" fmla="*/ 51044 w 316982"/>
              <a:gd name="connsiteY450" fmla="*/ 268557 h 373017"/>
              <a:gd name="connsiteX451" fmla="*/ 51283 w 316982"/>
              <a:gd name="connsiteY451" fmla="*/ 266147 h 373017"/>
              <a:gd name="connsiteX452" fmla="*/ 49892 w 316982"/>
              <a:gd name="connsiteY452" fmla="*/ 264128 h 373017"/>
              <a:gd name="connsiteX453" fmla="*/ 47539 w 316982"/>
              <a:gd name="connsiteY453" fmla="*/ 263442 h 373017"/>
              <a:gd name="connsiteX454" fmla="*/ 47310 w 316982"/>
              <a:gd name="connsiteY454" fmla="*/ 261328 h 373017"/>
              <a:gd name="connsiteX455" fmla="*/ 47558 w 316982"/>
              <a:gd name="connsiteY455" fmla="*/ 259261 h 373017"/>
              <a:gd name="connsiteX456" fmla="*/ 48796 w 316982"/>
              <a:gd name="connsiteY456" fmla="*/ 257870 h 373017"/>
              <a:gd name="connsiteX457" fmla="*/ 49216 w 316982"/>
              <a:gd name="connsiteY457" fmla="*/ 256022 h 373017"/>
              <a:gd name="connsiteX458" fmla="*/ 49225 w 316982"/>
              <a:gd name="connsiteY458" fmla="*/ 250374 h 373017"/>
              <a:gd name="connsiteX459" fmla="*/ 47568 w 316982"/>
              <a:gd name="connsiteY459" fmla="*/ 248288 h 373017"/>
              <a:gd name="connsiteX460" fmla="*/ 46930 w 316982"/>
              <a:gd name="connsiteY460" fmla="*/ 245126 h 373017"/>
              <a:gd name="connsiteX461" fmla="*/ 46072 w 316982"/>
              <a:gd name="connsiteY461" fmla="*/ 243107 h 373017"/>
              <a:gd name="connsiteX462" fmla="*/ 44529 w 316982"/>
              <a:gd name="connsiteY462" fmla="*/ 241068 h 373017"/>
              <a:gd name="connsiteX463" fmla="*/ 42777 w 316982"/>
              <a:gd name="connsiteY463" fmla="*/ 239411 h 373017"/>
              <a:gd name="connsiteX464" fmla="*/ 41700 w 316982"/>
              <a:gd name="connsiteY464" fmla="*/ 237811 h 373017"/>
              <a:gd name="connsiteX465" fmla="*/ 41462 w 316982"/>
              <a:gd name="connsiteY465" fmla="*/ 233620 h 373017"/>
              <a:gd name="connsiteX466" fmla="*/ 42072 w 316982"/>
              <a:gd name="connsiteY466" fmla="*/ 230114 h 373017"/>
              <a:gd name="connsiteX467" fmla="*/ 42624 w 316982"/>
              <a:gd name="connsiteY467" fmla="*/ 228610 h 373017"/>
              <a:gd name="connsiteX468" fmla="*/ 43186 w 316982"/>
              <a:gd name="connsiteY468" fmla="*/ 228828 h 373017"/>
              <a:gd name="connsiteX469" fmla="*/ 44920 w 316982"/>
              <a:gd name="connsiteY469" fmla="*/ 230572 h 373017"/>
              <a:gd name="connsiteX470" fmla="*/ 46339 w 316982"/>
              <a:gd name="connsiteY470" fmla="*/ 230962 h 373017"/>
              <a:gd name="connsiteX471" fmla="*/ 49149 w 316982"/>
              <a:gd name="connsiteY471" fmla="*/ 231381 h 373017"/>
              <a:gd name="connsiteX472" fmla="*/ 51911 w 316982"/>
              <a:gd name="connsiteY472" fmla="*/ 230819 h 373017"/>
              <a:gd name="connsiteX473" fmla="*/ 55302 w 316982"/>
              <a:gd name="connsiteY473" fmla="*/ 229229 h 373017"/>
              <a:gd name="connsiteX474" fmla="*/ 58569 w 316982"/>
              <a:gd name="connsiteY474" fmla="*/ 227304 h 373017"/>
              <a:gd name="connsiteX475" fmla="*/ 63303 w 316982"/>
              <a:gd name="connsiteY475" fmla="*/ 221637 h 373017"/>
              <a:gd name="connsiteX476" fmla="*/ 66218 w 316982"/>
              <a:gd name="connsiteY476" fmla="*/ 220485 h 373017"/>
              <a:gd name="connsiteX477" fmla="*/ 67713 w 316982"/>
              <a:gd name="connsiteY477" fmla="*/ 218989 h 373017"/>
              <a:gd name="connsiteX478" fmla="*/ 68228 w 316982"/>
              <a:gd name="connsiteY478" fmla="*/ 216970 h 373017"/>
              <a:gd name="connsiteX479" fmla="*/ 69466 w 316982"/>
              <a:gd name="connsiteY479" fmla="*/ 216446 h 373017"/>
              <a:gd name="connsiteX480" fmla="*/ 70923 w 316982"/>
              <a:gd name="connsiteY480" fmla="*/ 218408 h 373017"/>
              <a:gd name="connsiteX481" fmla="*/ 72733 w 316982"/>
              <a:gd name="connsiteY481" fmla="*/ 218618 h 373017"/>
              <a:gd name="connsiteX482" fmla="*/ 75524 w 316982"/>
              <a:gd name="connsiteY482" fmla="*/ 220237 h 373017"/>
              <a:gd name="connsiteX483" fmla="*/ 76724 w 316982"/>
              <a:gd name="connsiteY483" fmla="*/ 221780 h 373017"/>
              <a:gd name="connsiteX484" fmla="*/ 77753 w 316982"/>
              <a:gd name="connsiteY484" fmla="*/ 223638 h 373017"/>
              <a:gd name="connsiteX485" fmla="*/ 78743 w 316982"/>
              <a:gd name="connsiteY485" fmla="*/ 224457 h 373017"/>
              <a:gd name="connsiteX486" fmla="*/ 79800 w 316982"/>
              <a:gd name="connsiteY486" fmla="*/ 224923 h 373017"/>
              <a:gd name="connsiteX487" fmla="*/ 79953 w 316982"/>
              <a:gd name="connsiteY487" fmla="*/ 225362 h 373017"/>
              <a:gd name="connsiteX488" fmla="*/ 79115 w 316982"/>
              <a:gd name="connsiteY488" fmla="*/ 225800 h 373017"/>
              <a:gd name="connsiteX489" fmla="*/ 78153 w 316982"/>
              <a:gd name="connsiteY489" fmla="*/ 227924 h 373017"/>
              <a:gd name="connsiteX490" fmla="*/ 78695 w 316982"/>
              <a:gd name="connsiteY490" fmla="*/ 228533 h 373017"/>
              <a:gd name="connsiteX491" fmla="*/ 80276 w 316982"/>
              <a:gd name="connsiteY491" fmla="*/ 229733 h 373017"/>
              <a:gd name="connsiteX492" fmla="*/ 44301 w 316982"/>
              <a:gd name="connsiteY492" fmla="*/ 224171 h 373017"/>
              <a:gd name="connsiteX493" fmla="*/ 43415 w 316982"/>
              <a:gd name="connsiteY493" fmla="*/ 225781 h 373017"/>
              <a:gd name="connsiteX494" fmla="*/ 42158 w 316982"/>
              <a:gd name="connsiteY494" fmla="*/ 225666 h 373017"/>
              <a:gd name="connsiteX495" fmla="*/ 42653 w 316982"/>
              <a:gd name="connsiteY495" fmla="*/ 224476 h 373017"/>
              <a:gd name="connsiteX496" fmla="*/ 43815 w 316982"/>
              <a:gd name="connsiteY496" fmla="*/ 222085 h 373017"/>
              <a:gd name="connsiteX497" fmla="*/ 45225 w 316982"/>
              <a:gd name="connsiteY497" fmla="*/ 221285 h 373017"/>
              <a:gd name="connsiteX498" fmla="*/ 45853 w 316982"/>
              <a:gd name="connsiteY498" fmla="*/ 221999 h 373017"/>
              <a:gd name="connsiteX499" fmla="*/ 45186 w 316982"/>
              <a:gd name="connsiteY499" fmla="*/ 223371 h 373017"/>
              <a:gd name="connsiteX500" fmla="*/ 44301 w 316982"/>
              <a:gd name="connsiteY500" fmla="*/ 224171 h 373017"/>
              <a:gd name="connsiteX501" fmla="*/ 195396 w 316982"/>
              <a:gd name="connsiteY501" fmla="*/ 235944 h 373017"/>
              <a:gd name="connsiteX502" fmla="*/ 194205 w 316982"/>
              <a:gd name="connsiteY502" fmla="*/ 236249 h 373017"/>
              <a:gd name="connsiteX503" fmla="*/ 193510 w 316982"/>
              <a:gd name="connsiteY503" fmla="*/ 235830 h 373017"/>
              <a:gd name="connsiteX504" fmla="*/ 193129 w 316982"/>
              <a:gd name="connsiteY504" fmla="*/ 235296 h 373017"/>
              <a:gd name="connsiteX505" fmla="*/ 193595 w 316982"/>
              <a:gd name="connsiteY505" fmla="*/ 233972 h 373017"/>
              <a:gd name="connsiteX506" fmla="*/ 196024 w 316982"/>
              <a:gd name="connsiteY506" fmla="*/ 234763 h 373017"/>
              <a:gd name="connsiteX507" fmla="*/ 195996 w 316982"/>
              <a:gd name="connsiteY507" fmla="*/ 235506 h 373017"/>
              <a:gd name="connsiteX508" fmla="*/ 195396 w 316982"/>
              <a:gd name="connsiteY508" fmla="*/ 235944 h 373017"/>
              <a:gd name="connsiteX509" fmla="*/ 49463 w 316982"/>
              <a:gd name="connsiteY509" fmla="*/ 292789 h 373017"/>
              <a:gd name="connsiteX510" fmla="*/ 47920 w 316982"/>
              <a:gd name="connsiteY510" fmla="*/ 296180 h 373017"/>
              <a:gd name="connsiteX511" fmla="*/ 46311 w 316982"/>
              <a:gd name="connsiteY511" fmla="*/ 293779 h 373017"/>
              <a:gd name="connsiteX512" fmla="*/ 46244 w 316982"/>
              <a:gd name="connsiteY512" fmla="*/ 291722 h 373017"/>
              <a:gd name="connsiteX513" fmla="*/ 46463 w 316982"/>
              <a:gd name="connsiteY513" fmla="*/ 291132 h 373017"/>
              <a:gd name="connsiteX514" fmla="*/ 48444 w 316982"/>
              <a:gd name="connsiteY514" fmla="*/ 291998 h 373017"/>
              <a:gd name="connsiteX515" fmla="*/ 49463 w 316982"/>
              <a:gd name="connsiteY515" fmla="*/ 292789 h 373017"/>
              <a:gd name="connsiteX516" fmla="*/ 239192 w 316982"/>
              <a:gd name="connsiteY516" fmla="*/ 321669 h 373017"/>
              <a:gd name="connsiteX517" fmla="*/ 237382 w 316982"/>
              <a:gd name="connsiteY517" fmla="*/ 325517 h 373017"/>
              <a:gd name="connsiteX518" fmla="*/ 236496 w 316982"/>
              <a:gd name="connsiteY518" fmla="*/ 326993 h 373017"/>
              <a:gd name="connsiteX519" fmla="*/ 230048 w 316982"/>
              <a:gd name="connsiteY519" fmla="*/ 336375 h 373017"/>
              <a:gd name="connsiteX520" fmla="*/ 229305 w 316982"/>
              <a:gd name="connsiteY520" fmla="*/ 338537 h 373017"/>
              <a:gd name="connsiteX521" fmla="*/ 228847 w 316982"/>
              <a:gd name="connsiteY521" fmla="*/ 340890 h 373017"/>
              <a:gd name="connsiteX522" fmla="*/ 228181 w 316982"/>
              <a:gd name="connsiteY522" fmla="*/ 342948 h 373017"/>
              <a:gd name="connsiteX523" fmla="*/ 227285 w 316982"/>
              <a:gd name="connsiteY523" fmla="*/ 344881 h 373017"/>
              <a:gd name="connsiteX524" fmla="*/ 226438 w 316982"/>
              <a:gd name="connsiteY524" fmla="*/ 347339 h 373017"/>
              <a:gd name="connsiteX525" fmla="*/ 226600 w 316982"/>
              <a:gd name="connsiteY525" fmla="*/ 350120 h 373017"/>
              <a:gd name="connsiteX526" fmla="*/ 226904 w 316982"/>
              <a:gd name="connsiteY526" fmla="*/ 351482 h 373017"/>
              <a:gd name="connsiteX527" fmla="*/ 227685 w 316982"/>
              <a:gd name="connsiteY527" fmla="*/ 352377 h 373017"/>
              <a:gd name="connsiteX528" fmla="*/ 228962 w 316982"/>
              <a:gd name="connsiteY528" fmla="*/ 353216 h 373017"/>
              <a:gd name="connsiteX529" fmla="*/ 229943 w 316982"/>
              <a:gd name="connsiteY529" fmla="*/ 354511 h 373017"/>
              <a:gd name="connsiteX530" fmla="*/ 228438 w 316982"/>
              <a:gd name="connsiteY530" fmla="*/ 355683 h 373017"/>
              <a:gd name="connsiteX531" fmla="*/ 230086 w 316982"/>
              <a:gd name="connsiteY531" fmla="*/ 358035 h 373017"/>
              <a:gd name="connsiteX532" fmla="*/ 231495 w 316982"/>
              <a:gd name="connsiteY532" fmla="*/ 359426 h 373017"/>
              <a:gd name="connsiteX533" fmla="*/ 231686 w 316982"/>
              <a:gd name="connsiteY533" fmla="*/ 360817 h 373017"/>
              <a:gd name="connsiteX534" fmla="*/ 231658 w 316982"/>
              <a:gd name="connsiteY534" fmla="*/ 362207 h 373017"/>
              <a:gd name="connsiteX535" fmla="*/ 228733 w 316982"/>
              <a:gd name="connsiteY535" fmla="*/ 364817 h 373017"/>
              <a:gd name="connsiteX536" fmla="*/ 227590 w 316982"/>
              <a:gd name="connsiteY536" fmla="*/ 366255 h 373017"/>
              <a:gd name="connsiteX537" fmla="*/ 226885 w 316982"/>
              <a:gd name="connsiteY537" fmla="*/ 367998 h 373017"/>
              <a:gd name="connsiteX538" fmla="*/ 226581 w 316982"/>
              <a:gd name="connsiteY538" fmla="*/ 369789 h 373017"/>
              <a:gd name="connsiteX539" fmla="*/ 226895 w 316982"/>
              <a:gd name="connsiteY539" fmla="*/ 371408 h 373017"/>
              <a:gd name="connsiteX540" fmla="*/ 226800 w 316982"/>
              <a:gd name="connsiteY540" fmla="*/ 373018 h 373017"/>
              <a:gd name="connsiteX541" fmla="*/ 223856 w 316982"/>
              <a:gd name="connsiteY541" fmla="*/ 372818 h 373017"/>
              <a:gd name="connsiteX542" fmla="*/ 220847 w 316982"/>
              <a:gd name="connsiteY542" fmla="*/ 371827 h 373017"/>
              <a:gd name="connsiteX543" fmla="*/ 217808 w 316982"/>
              <a:gd name="connsiteY543" fmla="*/ 372256 h 373017"/>
              <a:gd name="connsiteX544" fmla="*/ 213484 w 316982"/>
              <a:gd name="connsiteY544" fmla="*/ 370389 h 373017"/>
              <a:gd name="connsiteX545" fmla="*/ 211912 w 316982"/>
              <a:gd name="connsiteY545" fmla="*/ 370056 h 373017"/>
              <a:gd name="connsiteX546" fmla="*/ 210483 w 316982"/>
              <a:gd name="connsiteY546" fmla="*/ 369322 h 373017"/>
              <a:gd name="connsiteX547" fmla="*/ 206892 w 316982"/>
              <a:gd name="connsiteY547" fmla="*/ 363531 h 373017"/>
              <a:gd name="connsiteX548" fmla="*/ 203997 w 316982"/>
              <a:gd name="connsiteY548" fmla="*/ 361083 h 373017"/>
              <a:gd name="connsiteX549" fmla="*/ 200892 w 316982"/>
              <a:gd name="connsiteY549" fmla="*/ 359169 h 373017"/>
              <a:gd name="connsiteX550" fmla="*/ 197720 w 316982"/>
              <a:gd name="connsiteY550" fmla="*/ 359054 h 373017"/>
              <a:gd name="connsiteX551" fmla="*/ 194548 w 316982"/>
              <a:gd name="connsiteY551" fmla="*/ 359273 h 373017"/>
              <a:gd name="connsiteX552" fmla="*/ 191748 w 316982"/>
              <a:gd name="connsiteY552" fmla="*/ 358092 h 373017"/>
              <a:gd name="connsiteX553" fmla="*/ 186042 w 316982"/>
              <a:gd name="connsiteY553" fmla="*/ 354139 h 373017"/>
              <a:gd name="connsiteX554" fmla="*/ 179994 w 316982"/>
              <a:gd name="connsiteY554" fmla="*/ 350968 h 373017"/>
              <a:gd name="connsiteX555" fmla="*/ 177432 w 316982"/>
              <a:gd name="connsiteY555" fmla="*/ 348910 h 373017"/>
              <a:gd name="connsiteX556" fmla="*/ 176260 w 316982"/>
              <a:gd name="connsiteY556" fmla="*/ 347520 h 373017"/>
              <a:gd name="connsiteX557" fmla="*/ 174888 w 316982"/>
              <a:gd name="connsiteY557" fmla="*/ 346596 h 373017"/>
              <a:gd name="connsiteX558" fmla="*/ 171431 w 316982"/>
              <a:gd name="connsiteY558" fmla="*/ 345681 h 373017"/>
              <a:gd name="connsiteX559" fmla="*/ 168316 w 316982"/>
              <a:gd name="connsiteY559" fmla="*/ 343529 h 373017"/>
              <a:gd name="connsiteX560" fmla="*/ 166906 w 316982"/>
              <a:gd name="connsiteY560" fmla="*/ 343376 h 373017"/>
              <a:gd name="connsiteX561" fmla="*/ 163868 w 316982"/>
              <a:gd name="connsiteY561" fmla="*/ 343633 h 373017"/>
              <a:gd name="connsiteX562" fmla="*/ 162306 w 316982"/>
              <a:gd name="connsiteY562" fmla="*/ 343481 h 373017"/>
              <a:gd name="connsiteX563" fmla="*/ 160734 w 316982"/>
              <a:gd name="connsiteY563" fmla="*/ 342719 h 373017"/>
              <a:gd name="connsiteX564" fmla="*/ 157705 w 316982"/>
              <a:gd name="connsiteY564" fmla="*/ 340195 h 373017"/>
              <a:gd name="connsiteX565" fmla="*/ 155762 w 316982"/>
              <a:gd name="connsiteY565" fmla="*/ 336690 h 373017"/>
              <a:gd name="connsiteX566" fmla="*/ 155257 w 316982"/>
              <a:gd name="connsiteY566" fmla="*/ 335137 h 373017"/>
              <a:gd name="connsiteX567" fmla="*/ 156629 w 316982"/>
              <a:gd name="connsiteY567" fmla="*/ 331127 h 373017"/>
              <a:gd name="connsiteX568" fmla="*/ 158258 w 316982"/>
              <a:gd name="connsiteY568" fmla="*/ 327270 h 373017"/>
              <a:gd name="connsiteX569" fmla="*/ 159696 w 316982"/>
              <a:gd name="connsiteY569" fmla="*/ 326193 h 373017"/>
              <a:gd name="connsiteX570" fmla="*/ 161372 w 316982"/>
              <a:gd name="connsiteY570" fmla="*/ 325412 h 373017"/>
              <a:gd name="connsiteX571" fmla="*/ 162382 w 316982"/>
              <a:gd name="connsiteY571" fmla="*/ 324269 h 373017"/>
              <a:gd name="connsiteX572" fmla="*/ 163239 w 316982"/>
              <a:gd name="connsiteY572" fmla="*/ 322869 h 373017"/>
              <a:gd name="connsiteX573" fmla="*/ 166354 w 316982"/>
              <a:gd name="connsiteY573" fmla="*/ 326907 h 373017"/>
              <a:gd name="connsiteX574" fmla="*/ 167745 w 316982"/>
              <a:gd name="connsiteY574" fmla="*/ 327889 h 373017"/>
              <a:gd name="connsiteX575" fmla="*/ 169155 w 316982"/>
              <a:gd name="connsiteY575" fmla="*/ 327670 h 373017"/>
              <a:gd name="connsiteX576" fmla="*/ 171650 w 316982"/>
              <a:gd name="connsiteY576" fmla="*/ 326222 h 373017"/>
              <a:gd name="connsiteX577" fmla="*/ 171860 w 316982"/>
              <a:gd name="connsiteY577" fmla="*/ 324631 h 373017"/>
              <a:gd name="connsiteX578" fmla="*/ 174622 w 316982"/>
              <a:gd name="connsiteY578" fmla="*/ 322621 h 373017"/>
              <a:gd name="connsiteX579" fmla="*/ 178127 w 316982"/>
              <a:gd name="connsiteY579" fmla="*/ 322583 h 373017"/>
              <a:gd name="connsiteX580" fmla="*/ 179746 w 316982"/>
              <a:gd name="connsiteY580" fmla="*/ 322955 h 373017"/>
              <a:gd name="connsiteX581" fmla="*/ 180594 w 316982"/>
              <a:gd name="connsiteY581" fmla="*/ 324774 h 373017"/>
              <a:gd name="connsiteX582" fmla="*/ 181928 w 316982"/>
              <a:gd name="connsiteY582" fmla="*/ 325336 h 373017"/>
              <a:gd name="connsiteX583" fmla="*/ 183470 w 316982"/>
              <a:gd name="connsiteY583" fmla="*/ 325574 h 373017"/>
              <a:gd name="connsiteX584" fmla="*/ 188557 w 316982"/>
              <a:gd name="connsiteY584" fmla="*/ 329032 h 373017"/>
              <a:gd name="connsiteX585" fmla="*/ 189986 w 316982"/>
              <a:gd name="connsiteY585" fmla="*/ 329594 h 373017"/>
              <a:gd name="connsiteX586" fmla="*/ 191424 w 316982"/>
              <a:gd name="connsiteY586" fmla="*/ 329689 h 373017"/>
              <a:gd name="connsiteX587" fmla="*/ 195377 w 316982"/>
              <a:gd name="connsiteY587" fmla="*/ 328241 h 373017"/>
              <a:gd name="connsiteX588" fmla="*/ 198406 w 316982"/>
              <a:gd name="connsiteY588" fmla="*/ 327688 h 373017"/>
              <a:gd name="connsiteX589" fmla="*/ 204759 w 316982"/>
              <a:gd name="connsiteY589" fmla="*/ 328489 h 373017"/>
              <a:gd name="connsiteX590" fmla="*/ 208188 w 316982"/>
              <a:gd name="connsiteY590" fmla="*/ 327622 h 373017"/>
              <a:gd name="connsiteX591" fmla="*/ 210588 w 316982"/>
              <a:gd name="connsiteY591" fmla="*/ 327517 h 373017"/>
              <a:gd name="connsiteX592" fmla="*/ 214084 w 316982"/>
              <a:gd name="connsiteY592" fmla="*/ 326184 h 373017"/>
              <a:gd name="connsiteX593" fmla="*/ 216770 w 316982"/>
              <a:gd name="connsiteY593" fmla="*/ 323964 h 373017"/>
              <a:gd name="connsiteX594" fmla="*/ 218170 w 316982"/>
              <a:gd name="connsiteY594" fmla="*/ 323412 h 373017"/>
              <a:gd name="connsiteX595" fmla="*/ 219675 w 316982"/>
              <a:gd name="connsiteY595" fmla="*/ 323250 h 373017"/>
              <a:gd name="connsiteX596" fmla="*/ 223313 w 316982"/>
              <a:gd name="connsiteY596" fmla="*/ 323393 h 373017"/>
              <a:gd name="connsiteX597" fmla="*/ 226971 w 316982"/>
              <a:gd name="connsiteY597" fmla="*/ 323898 h 373017"/>
              <a:gd name="connsiteX598" fmla="*/ 228505 w 316982"/>
              <a:gd name="connsiteY598" fmla="*/ 323374 h 373017"/>
              <a:gd name="connsiteX599" fmla="*/ 229790 w 316982"/>
              <a:gd name="connsiteY599" fmla="*/ 321916 h 373017"/>
              <a:gd name="connsiteX600" fmla="*/ 231276 w 316982"/>
              <a:gd name="connsiteY600" fmla="*/ 321259 h 373017"/>
              <a:gd name="connsiteX601" fmla="*/ 232905 w 316982"/>
              <a:gd name="connsiteY601" fmla="*/ 321697 h 373017"/>
              <a:gd name="connsiteX602" fmla="*/ 237125 w 316982"/>
              <a:gd name="connsiteY602" fmla="*/ 319202 h 373017"/>
              <a:gd name="connsiteX603" fmla="*/ 238992 w 316982"/>
              <a:gd name="connsiteY603" fmla="*/ 319030 h 373017"/>
              <a:gd name="connsiteX604" fmla="*/ 240764 w 316982"/>
              <a:gd name="connsiteY604" fmla="*/ 319992 h 373017"/>
              <a:gd name="connsiteX605" fmla="*/ 239192 w 316982"/>
              <a:gd name="connsiteY605" fmla="*/ 321669 h 373017"/>
              <a:gd name="connsiteX606" fmla="*/ 144951 w 316982"/>
              <a:gd name="connsiteY606" fmla="*/ 370761 h 373017"/>
              <a:gd name="connsiteX607" fmla="*/ 143665 w 316982"/>
              <a:gd name="connsiteY607" fmla="*/ 371132 h 373017"/>
              <a:gd name="connsiteX608" fmla="*/ 141989 w 316982"/>
              <a:gd name="connsiteY608" fmla="*/ 369989 h 373017"/>
              <a:gd name="connsiteX609" fmla="*/ 141875 w 316982"/>
              <a:gd name="connsiteY609" fmla="*/ 368389 h 373017"/>
              <a:gd name="connsiteX610" fmla="*/ 142180 w 316982"/>
              <a:gd name="connsiteY610" fmla="*/ 367913 h 373017"/>
              <a:gd name="connsiteX611" fmla="*/ 144218 w 316982"/>
              <a:gd name="connsiteY611" fmla="*/ 368646 h 373017"/>
              <a:gd name="connsiteX612" fmla="*/ 144856 w 316982"/>
              <a:gd name="connsiteY612" fmla="*/ 370132 h 373017"/>
              <a:gd name="connsiteX613" fmla="*/ 144951 w 316982"/>
              <a:gd name="connsiteY613" fmla="*/ 370761 h 373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</a:cxnLst>
            <a:rect l="l" t="t" r="r" b="b"/>
            <a:pathLst>
              <a:path w="316982" h="373017">
                <a:moveTo>
                  <a:pt x="189024" y="21745"/>
                </a:moveTo>
                <a:lnTo>
                  <a:pt x="188481" y="23965"/>
                </a:lnTo>
                <a:lnTo>
                  <a:pt x="187347" y="24517"/>
                </a:lnTo>
                <a:lnTo>
                  <a:pt x="185366" y="25813"/>
                </a:lnTo>
                <a:lnTo>
                  <a:pt x="183099" y="27584"/>
                </a:lnTo>
                <a:lnTo>
                  <a:pt x="180985" y="29575"/>
                </a:lnTo>
                <a:lnTo>
                  <a:pt x="180413" y="31737"/>
                </a:lnTo>
                <a:lnTo>
                  <a:pt x="180994" y="33147"/>
                </a:lnTo>
                <a:lnTo>
                  <a:pt x="181565" y="33633"/>
                </a:lnTo>
                <a:lnTo>
                  <a:pt x="182337" y="33204"/>
                </a:lnTo>
                <a:lnTo>
                  <a:pt x="183461" y="33471"/>
                </a:lnTo>
                <a:lnTo>
                  <a:pt x="184870" y="34242"/>
                </a:lnTo>
                <a:lnTo>
                  <a:pt x="187223" y="34995"/>
                </a:lnTo>
                <a:lnTo>
                  <a:pt x="187290" y="35738"/>
                </a:lnTo>
                <a:lnTo>
                  <a:pt x="186795" y="36690"/>
                </a:lnTo>
                <a:lnTo>
                  <a:pt x="184966" y="38376"/>
                </a:lnTo>
                <a:lnTo>
                  <a:pt x="183318" y="40281"/>
                </a:lnTo>
                <a:lnTo>
                  <a:pt x="183156" y="41443"/>
                </a:lnTo>
                <a:lnTo>
                  <a:pt x="183356" y="42291"/>
                </a:lnTo>
                <a:lnTo>
                  <a:pt x="183927" y="42805"/>
                </a:lnTo>
                <a:lnTo>
                  <a:pt x="186366" y="42577"/>
                </a:lnTo>
                <a:lnTo>
                  <a:pt x="186728" y="43272"/>
                </a:lnTo>
                <a:lnTo>
                  <a:pt x="185537" y="48158"/>
                </a:lnTo>
                <a:lnTo>
                  <a:pt x="185909" y="48987"/>
                </a:lnTo>
                <a:lnTo>
                  <a:pt x="188052" y="49768"/>
                </a:lnTo>
                <a:lnTo>
                  <a:pt x="189614" y="50940"/>
                </a:lnTo>
                <a:lnTo>
                  <a:pt x="192539" y="54026"/>
                </a:lnTo>
                <a:lnTo>
                  <a:pt x="193700" y="56521"/>
                </a:lnTo>
                <a:lnTo>
                  <a:pt x="192900" y="57360"/>
                </a:lnTo>
                <a:lnTo>
                  <a:pt x="191062" y="57769"/>
                </a:lnTo>
                <a:lnTo>
                  <a:pt x="189567" y="57560"/>
                </a:lnTo>
                <a:lnTo>
                  <a:pt x="191262" y="56055"/>
                </a:lnTo>
                <a:lnTo>
                  <a:pt x="187119" y="50568"/>
                </a:lnTo>
                <a:lnTo>
                  <a:pt x="185242" y="50578"/>
                </a:lnTo>
                <a:lnTo>
                  <a:pt x="182756" y="52902"/>
                </a:lnTo>
                <a:lnTo>
                  <a:pt x="175841" y="50549"/>
                </a:lnTo>
                <a:lnTo>
                  <a:pt x="174517" y="51502"/>
                </a:lnTo>
                <a:lnTo>
                  <a:pt x="173536" y="53359"/>
                </a:lnTo>
                <a:lnTo>
                  <a:pt x="171136" y="55664"/>
                </a:lnTo>
                <a:lnTo>
                  <a:pt x="167735" y="56674"/>
                </a:lnTo>
                <a:lnTo>
                  <a:pt x="163944" y="59207"/>
                </a:lnTo>
                <a:lnTo>
                  <a:pt x="159953" y="60998"/>
                </a:lnTo>
                <a:lnTo>
                  <a:pt x="156905" y="62351"/>
                </a:lnTo>
                <a:lnTo>
                  <a:pt x="155153" y="62112"/>
                </a:lnTo>
                <a:lnTo>
                  <a:pt x="157934" y="59188"/>
                </a:lnTo>
                <a:lnTo>
                  <a:pt x="156753" y="59131"/>
                </a:lnTo>
                <a:lnTo>
                  <a:pt x="153057" y="61198"/>
                </a:lnTo>
                <a:lnTo>
                  <a:pt x="150933" y="62941"/>
                </a:lnTo>
                <a:lnTo>
                  <a:pt x="150247" y="65875"/>
                </a:lnTo>
                <a:lnTo>
                  <a:pt x="149628" y="70695"/>
                </a:lnTo>
                <a:lnTo>
                  <a:pt x="151247" y="71971"/>
                </a:lnTo>
                <a:lnTo>
                  <a:pt x="154086" y="78314"/>
                </a:lnTo>
                <a:lnTo>
                  <a:pt x="157581" y="81020"/>
                </a:lnTo>
                <a:lnTo>
                  <a:pt x="156905" y="83601"/>
                </a:lnTo>
                <a:lnTo>
                  <a:pt x="155981" y="85639"/>
                </a:lnTo>
                <a:lnTo>
                  <a:pt x="153867" y="87401"/>
                </a:lnTo>
                <a:lnTo>
                  <a:pt x="152114" y="86096"/>
                </a:lnTo>
                <a:lnTo>
                  <a:pt x="151038" y="86125"/>
                </a:lnTo>
                <a:lnTo>
                  <a:pt x="150228" y="90249"/>
                </a:lnTo>
                <a:lnTo>
                  <a:pt x="151743" y="101213"/>
                </a:lnTo>
                <a:lnTo>
                  <a:pt x="154181" y="108871"/>
                </a:lnTo>
                <a:lnTo>
                  <a:pt x="156600" y="112204"/>
                </a:lnTo>
                <a:lnTo>
                  <a:pt x="162058" y="117377"/>
                </a:lnTo>
                <a:lnTo>
                  <a:pt x="167830" y="120101"/>
                </a:lnTo>
                <a:lnTo>
                  <a:pt x="178213" y="128778"/>
                </a:lnTo>
                <a:lnTo>
                  <a:pt x="183909" y="131521"/>
                </a:lnTo>
                <a:lnTo>
                  <a:pt x="185404" y="133007"/>
                </a:lnTo>
                <a:lnTo>
                  <a:pt x="188852" y="139665"/>
                </a:lnTo>
                <a:lnTo>
                  <a:pt x="191833" y="147333"/>
                </a:lnTo>
                <a:lnTo>
                  <a:pt x="195044" y="159315"/>
                </a:lnTo>
                <a:lnTo>
                  <a:pt x="197330" y="165192"/>
                </a:lnTo>
                <a:lnTo>
                  <a:pt x="201940" y="171821"/>
                </a:lnTo>
                <a:lnTo>
                  <a:pt x="211503" y="181270"/>
                </a:lnTo>
                <a:lnTo>
                  <a:pt x="220199" y="188157"/>
                </a:lnTo>
                <a:lnTo>
                  <a:pt x="228295" y="192405"/>
                </a:lnTo>
                <a:lnTo>
                  <a:pt x="234610" y="193148"/>
                </a:lnTo>
                <a:lnTo>
                  <a:pt x="249555" y="192214"/>
                </a:lnTo>
                <a:lnTo>
                  <a:pt x="252155" y="192614"/>
                </a:lnTo>
                <a:lnTo>
                  <a:pt x="254917" y="193758"/>
                </a:lnTo>
                <a:lnTo>
                  <a:pt x="255575" y="196701"/>
                </a:lnTo>
                <a:lnTo>
                  <a:pt x="254565" y="198682"/>
                </a:lnTo>
                <a:lnTo>
                  <a:pt x="251422" y="200739"/>
                </a:lnTo>
                <a:lnTo>
                  <a:pt x="248221" y="203587"/>
                </a:lnTo>
                <a:lnTo>
                  <a:pt x="247869" y="207464"/>
                </a:lnTo>
                <a:lnTo>
                  <a:pt x="250860" y="210188"/>
                </a:lnTo>
                <a:lnTo>
                  <a:pt x="265281" y="217399"/>
                </a:lnTo>
                <a:lnTo>
                  <a:pt x="280026" y="223409"/>
                </a:lnTo>
                <a:lnTo>
                  <a:pt x="284617" y="226466"/>
                </a:lnTo>
                <a:lnTo>
                  <a:pt x="289941" y="231219"/>
                </a:lnTo>
                <a:lnTo>
                  <a:pt x="302790" y="237734"/>
                </a:lnTo>
                <a:lnTo>
                  <a:pt x="304962" y="240897"/>
                </a:lnTo>
                <a:lnTo>
                  <a:pt x="312772" y="247688"/>
                </a:lnTo>
                <a:lnTo>
                  <a:pt x="316306" y="252917"/>
                </a:lnTo>
                <a:lnTo>
                  <a:pt x="316982" y="256965"/>
                </a:lnTo>
                <a:lnTo>
                  <a:pt x="315297" y="261071"/>
                </a:lnTo>
                <a:lnTo>
                  <a:pt x="314515" y="263957"/>
                </a:lnTo>
                <a:lnTo>
                  <a:pt x="313192" y="266805"/>
                </a:lnTo>
                <a:lnTo>
                  <a:pt x="309867" y="265729"/>
                </a:lnTo>
                <a:lnTo>
                  <a:pt x="306086" y="262795"/>
                </a:lnTo>
                <a:lnTo>
                  <a:pt x="300390" y="250850"/>
                </a:lnTo>
                <a:lnTo>
                  <a:pt x="289998" y="249641"/>
                </a:lnTo>
                <a:lnTo>
                  <a:pt x="287846" y="248755"/>
                </a:lnTo>
                <a:lnTo>
                  <a:pt x="284150" y="246697"/>
                </a:lnTo>
                <a:lnTo>
                  <a:pt x="283931" y="245335"/>
                </a:lnTo>
                <a:lnTo>
                  <a:pt x="283016" y="243640"/>
                </a:lnTo>
                <a:lnTo>
                  <a:pt x="282073" y="243068"/>
                </a:lnTo>
                <a:lnTo>
                  <a:pt x="278101" y="242688"/>
                </a:lnTo>
                <a:lnTo>
                  <a:pt x="275349" y="244630"/>
                </a:lnTo>
                <a:lnTo>
                  <a:pt x="272110" y="249231"/>
                </a:lnTo>
                <a:lnTo>
                  <a:pt x="268433" y="255832"/>
                </a:lnTo>
                <a:lnTo>
                  <a:pt x="264700" y="265481"/>
                </a:lnTo>
                <a:lnTo>
                  <a:pt x="264490" y="269367"/>
                </a:lnTo>
                <a:lnTo>
                  <a:pt x="266519" y="273129"/>
                </a:lnTo>
                <a:lnTo>
                  <a:pt x="272577" y="275225"/>
                </a:lnTo>
                <a:lnTo>
                  <a:pt x="277254" y="278568"/>
                </a:lnTo>
                <a:lnTo>
                  <a:pt x="280340" y="282054"/>
                </a:lnTo>
                <a:lnTo>
                  <a:pt x="280559" y="290446"/>
                </a:lnTo>
                <a:lnTo>
                  <a:pt x="281940" y="295199"/>
                </a:lnTo>
                <a:lnTo>
                  <a:pt x="279911" y="297894"/>
                </a:lnTo>
                <a:lnTo>
                  <a:pt x="275977" y="297199"/>
                </a:lnTo>
                <a:lnTo>
                  <a:pt x="270738" y="298913"/>
                </a:lnTo>
                <a:lnTo>
                  <a:pt x="267024" y="301981"/>
                </a:lnTo>
                <a:lnTo>
                  <a:pt x="265481" y="304895"/>
                </a:lnTo>
                <a:lnTo>
                  <a:pt x="265881" y="312439"/>
                </a:lnTo>
                <a:lnTo>
                  <a:pt x="265119" y="315306"/>
                </a:lnTo>
                <a:lnTo>
                  <a:pt x="258080" y="320716"/>
                </a:lnTo>
                <a:lnTo>
                  <a:pt x="254384" y="326241"/>
                </a:lnTo>
                <a:lnTo>
                  <a:pt x="253460" y="328527"/>
                </a:lnTo>
                <a:lnTo>
                  <a:pt x="252051" y="331118"/>
                </a:lnTo>
                <a:lnTo>
                  <a:pt x="243163" y="331213"/>
                </a:lnTo>
                <a:lnTo>
                  <a:pt x="241059" y="328003"/>
                </a:lnTo>
                <a:lnTo>
                  <a:pt x="240983" y="323231"/>
                </a:lnTo>
                <a:lnTo>
                  <a:pt x="242506" y="320288"/>
                </a:lnTo>
                <a:lnTo>
                  <a:pt x="245774" y="318906"/>
                </a:lnTo>
                <a:lnTo>
                  <a:pt x="247974" y="312772"/>
                </a:lnTo>
                <a:lnTo>
                  <a:pt x="247278" y="308334"/>
                </a:lnTo>
                <a:lnTo>
                  <a:pt x="248564" y="306362"/>
                </a:lnTo>
                <a:lnTo>
                  <a:pt x="249774" y="304972"/>
                </a:lnTo>
                <a:lnTo>
                  <a:pt x="252260" y="304152"/>
                </a:lnTo>
                <a:lnTo>
                  <a:pt x="255775" y="303371"/>
                </a:lnTo>
                <a:lnTo>
                  <a:pt x="256127" y="297151"/>
                </a:lnTo>
                <a:lnTo>
                  <a:pt x="253384" y="294322"/>
                </a:lnTo>
                <a:lnTo>
                  <a:pt x="252422" y="290351"/>
                </a:lnTo>
                <a:lnTo>
                  <a:pt x="251145" y="282997"/>
                </a:lnTo>
                <a:lnTo>
                  <a:pt x="246621" y="273577"/>
                </a:lnTo>
                <a:lnTo>
                  <a:pt x="244202" y="265147"/>
                </a:lnTo>
                <a:lnTo>
                  <a:pt x="242306" y="260975"/>
                </a:lnTo>
                <a:lnTo>
                  <a:pt x="239430" y="258794"/>
                </a:lnTo>
                <a:lnTo>
                  <a:pt x="234239" y="258823"/>
                </a:lnTo>
                <a:lnTo>
                  <a:pt x="231658" y="258204"/>
                </a:lnTo>
                <a:lnTo>
                  <a:pt x="222475" y="252317"/>
                </a:lnTo>
                <a:lnTo>
                  <a:pt x="221837" y="251422"/>
                </a:lnTo>
                <a:lnTo>
                  <a:pt x="221894" y="249850"/>
                </a:lnTo>
                <a:lnTo>
                  <a:pt x="223418" y="247479"/>
                </a:lnTo>
                <a:lnTo>
                  <a:pt x="222390" y="244269"/>
                </a:lnTo>
                <a:lnTo>
                  <a:pt x="221304" y="241230"/>
                </a:lnTo>
                <a:lnTo>
                  <a:pt x="219504" y="238639"/>
                </a:lnTo>
                <a:lnTo>
                  <a:pt x="217532" y="237287"/>
                </a:lnTo>
                <a:lnTo>
                  <a:pt x="213398" y="238115"/>
                </a:lnTo>
                <a:lnTo>
                  <a:pt x="211950" y="238754"/>
                </a:lnTo>
                <a:lnTo>
                  <a:pt x="209340" y="238535"/>
                </a:lnTo>
                <a:lnTo>
                  <a:pt x="207292" y="239687"/>
                </a:lnTo>
                <a:lnTo>
                  <a:pt x="206149" y="239725"/>
                </a:lnTo>
                <a:lnTo>
                  <a:pt x="209369" y="235163"/>
                </a:lnTo>
                <a:lnTo>
                  <a:pt x="208502" y="234086"/>
                </a:lnTo>
                <a:lnTo>
                  <a:pt x="205321" y="232210"/>
                </a:lnTo>
                <a:lnTo>
                  <a:pt x="200997" y="231924"/>
                </a:lnTo>
                <a:lnTo>
                  <a:pt x="199796" y="231696"/>
                </a:lnTo>
                <a:lnTo>
                  <a:pt x="199092" y="232867"/>
                </a:lnTo>
                <a:lnTo>
                  <a:pt x="198253" y="232229"/>
                </a:lnTo>
                <a:lnTo>
                  <a:pt x="198339" y="230191"/>
                </a:lnTo>
                <a:lnTo>
                  <a:pt x="193319" y="221028"/>
                </a:lnTo>
                <a:lnTo>
                  <a:pt x="189947" y="217284"/>
                </a:lnTo>
                <a:lnTo>
                  <a:pt x="188242" y="216618"/>
                </a:lnTo>
                <a:lnTo>
                  <a:pt x="185166" y="217408"/>
                </a:lnTo>
                <a:lnTo>
                  <a:pt x="180013" y="215770"/>
                </a:lnTo>
                <a:lnTo>
                  <a:pt x="176937" y="215408"/>
                </a:lnTo>
                <a:lnTo>
                  <a:pt x="175241" y="215808"/>
                </a:lnTo>
                <a:lnTo>
                  <a:pt x="172707" y="216998"/>
                </a:lnTo>
                <a:lnTo>
                  <a:pt x="171431" y="216208"/>
                </a:lnTo>
                <a:lnTo>
                  <a:pt x="170983" y="214979"/>
                </a:lnTo>
                <a:lnTo>
                  <a:pt x="166306" y="211160"/>
                </a:lnTo>
                <a:lnTo>
                  <a:pt x="160468" y="208997"/>
                </a:lnTo>
                <a:lnTo>
                  <a:pt x="149104" y="196777"/>
                </a:lnTo>
                <a:lnTo>
                  <a:pt x="145618" y="192196"/>
                </a:lnTo>
                <a:lnTo>
                  <a:pt x="138446" y="187138"/>
                </a:lnTo>
                <a:lnTo>
                  <a:pt x="133912" y="179746"/>
                </a:lnTo>
                <a:lnTo>
                  <a:pt x="130197" y="177032"/>
                </a:lnTo>
                <a:lnTo>
                  <a:pt x="124796" y="174850"/>
                </a:lnTo>
                <a:lnTo>
                  <a:pt x="123549" y="175127"/>
                </a:lnTo>
                <a:lnTo>
                  <a:pt x="121929" y="175946"/>
                </a:lnTo>
                <a:lnTo>
                  <a:pt x="120653" y="176060"/>
                </a:lnTo>
                <a:lnTo>
                  <a:pt x="119644" y="175098"/>
                </a:lnTo>
                <a:lnTo>
                  <a:pt x="120672" y="174107"/>
                </a:lnTo>
                <a:lnTo>
                  <a:pt x="121825" y="173660"/>
                </a:lnTo>
                <a:lnTo>
                  <a:pt x="121377" y="170821"/>
                </a:lnTo>
                <a:lnTo>
                  <a:pt x="115224" y="163449"/>
                </a:lnTo>
                <a:lnTo>
                  <a:pt x="111623" y="161068"/>
                </a:lnTo>
                <a:lnTo>
                  <a:pt x="110604" y="159601"/>
                </a:lnTo>
                <a:lnTo>
                  <a:pt x="109852" y="157591"/>
                </a:lnTo>
                <a:lnTo>
                  <a:pt x="109080" y="156267"/>
                </a:lnTo>
                <a:lnTo>
                  <a:pt x="107375" y="155505"/>
                </a:lnTo>
                <a:lnTo>
                  <a:pt x="105918" y="155638"/>
                </a:lnTo>
                <a:lnTo>
                  <a:pt x="103908" y="155134"/>
                </a:lnTo>
                <a:lnTo>
                  <a:pt x="103975" y="151571"/>
                </a:lnTo>
                <a:lnTo>
                  <a:pt x="104375" y="148838"/>
                </a:lnTo>
                <a:lnTo>
                  <a:pt x="104070" y="146513"/>
                </a:lnTo>
                <a:lnTo>
                  <a:pt x="102108" y="140389"/>
                </a:lnTo>
                <a:lnTo>
                  <a:pt x="98717" y="135188"/>
                </a:lnTo>
                <a:lnTo>
                  <a:pt x="96717" y="122701"/>
                </a:lnTo>
                <a:lnTo>
                  <a:pt x="95174" y="119167"/>
                </a:lnTo>
                <a:lnTo>
                  <a:pt x="91421" y="116491"/>
                </a:lnTo>
                <a:lnTo>
                  <a:pt x="82953" y="113481"/>
                </a:lnTo>
                <a:lnTo>
                  <a:pt x="71152" y="105375"/>
                </a:lnTo>
                <a:lnTo>
                  <a:pt x="68656" y="105232"/>
                </a:lnTo>
                <a:lnTo>
                  <a:pt x="61560" y="102070"/>
                </a:lnTo>
                <a:lnTo>
                  <a:pt x="57159" y="101527"/>
                </a:lnTo>
                <a:lnTo>
                  <a:pt x="51445" y="104365"/>
                </a:lnTo>
                <a:lnTo>
                  <a:pt x="44501" y="112157"/>
                </a:lnTo>
                <a:lnTo>
                  <a:pt x="38871" y="120225"/>
                </a:lnTo>
                <a:lnTo>
                  <a:pt x="36824" y="121787"/>
                </a:lnTo>
                <a:lnTo>
                  <a:pt x="29556" y="124530"/>
                </a:lnTo>
                <a:lnTo>
                  <a:pt x="23136" y="125835"/>
                </a:lnTo>
                <a:lnTo>
                  <a:pt x="23070" y="123777"/>
                </a:lnTo>
                <a:lnTo>
                  <a:pt x="22841" y="122225"/>
                </a:lnTo>
                <a:lnTo>
                  <a:pt x="23927" y="120520"/>
                </a:lnTo>
                <a:lnTo>
                  <a:pt x="25717" y="118510"/>
                </a:lnTo>
                <a:lnTo>
                  <a:pt x="27365" y="115976"/>
                </a:lnTo>
                <a:lnTo>
                  <a:pt x="28051" y="114148"/>
                </a:lnTo>
                <a:lnTo>
                  <a:pt x="27727" y="112928"/>
                </a:lnTo>
                <a:lnTo>
                  <a:pt x="26984" y="111119"/>
                </a:lnTo>
                <a:lnTo>
                  <a:pt x="25975" y="110985"/>
                </a:lnTo>
                <a:lnTo>
                  <a:pt x="19860" y="112509"/>
                </a:lnTo>
                <a:lnTo>
                  <a:pt x="18459" y="112119"/>
                </a:lnTo>
                <a:lnTo>
                  <a:pt x="13935" y="109747"/>
                </a:lnTo>
                <a:lnTo>
                  <a:pt x="9068" y="106832"/>
                </a:lnTo>
                <a:lnTo>
                  <a:pt x="7277" y="104756"/>
                </a:lnTo>
                <a:lnTo>
                  <a:pt x="6601" y="102660"/>
                </a:lnTo>
                <a:lnTo>
                  <a:pt x="7106" y="101308"/>
                </a:lnTo>
                <a:lnTo>
                  <a:pt x="6705" y="99993"/>
                </a:lnTo>
                <a:lnTo>
                  <a:pt x="5753" y="98222"/>
                </a:lnTo>
                <a:lnTo>
                  <a:pt x="6610" y="96212"/>
                </a:lnTo>
                <a:lnTo>
                  <a:pt x="8125" y="93707"/>
                </a:lnTo>
                <a:lnTo>
                  <a:pt x="8887" y="92002"/>
                </a:lnTo>
                <a:lnTo>
                  <a:pt x="10163" y="91564"/>
                </a:lnTo>
                <a:lnTo>
                  <a:pt x="10773" y="90526"/>
                </a:lnTo>
                <a:lnTo>
                  <a:pt x="9753" y="86373"/>
                </a:lnTo>
                <a:lnTo>
                  <a:pt x="9220" y="85706"/>
                </a:lnTo>
                <a:lnTo>
                  <a:pt x="8344" y="85192"/>
                </a:lnTo>
                <a:lnTo>
                  <a:pt x="6991" y="85134"/>
                </a:lnTo>
                <a:lnTo>
                  <a:pt x="4629" y="84277"/>
                </a:lnTo>
                <a:lnTo>
                  <a:pt x="2953" y="82839"/>
                </a:lnTo>
                <a:lnTo>
                  <a:pt x="2591" y="80896"/>
                </a:lnTo>
                <a:lnTo>
                  <a:pt x="1705" y="79029"/>
                </a:lnTo>
                <a:lnTo>
                  <a:pt x="190" y="77314"/>
                </a:lnTo>
                <a:lnTo>
                  <a:pt x="0" y="75438"/>
                </a:lnTo>
                <a:lnTo>
                  <a:pt x="1724" y="74447"/>
                </a:lnTo>
                <a:lnTo>
                  <a:pt x="4076" y="74409"/>
                </a:lnTo>
                <a:lnTo>
                  <a:pt x="5734" y="74781"/>
                </a:lnTo>
                <a:lnTo>
                  <a:pt x="9449" y="71761"/>
                </a:lnTo>
                <a:lnTo>
                  <a:pt x="10820" y="71495"/>
                </a:lnTo>
                <a:lnTo>
                  <a:pt x="12049" y="70847"/>
                </a:lnTo>
                <a:lnTo>
                  <a:pt x="13078" y="66713"/>
                </a:lnTo>
                <a:lnTo>
                  <a:pt x="13868" y="65475"/>
                </a:lnTo>
                <a:lnTo>
                  <a:pt x="14059" y="64751"/>
                </a:lnTo>
                <a:lnTo>
                  <a:pt x="13325" y="63884"/>
                </a:lnTo>
                <a:lnTo>
                  <a:pt x="10325" y="60970"/>
                </a:lnTo>
                <a:lnTo>
                  <a:pt x="8954" y="57921"/>
                </a:lnTo>
                <a:lnTo>
                  <a:pt x="6791" y="54502"/>
                </a:lnTo>
                <a:lnTo>
                  <a:pt x="4781" y="52987"/>
                </a:lnTo>
                <a:lnTo>
                  <a:pt x="4372" y="51806"/>
                </a:lnTo>
                <a:lnTo>
                  <a:pt x="4324" y="50311"/>
                </a:lnTo>
                <a:lnTo>
                  <a:pt x="4734" y="48987"/>
                </a:lnTo>
                <a:lnTo>
                  <a:pt x="8372" y="46930"/>
                </a:lnTo>
                <a:lnTo>
                  <a:pt x="10525" y="44739"/>
                </a:lnTo>
                <a:lnTo>
                  <a:pt x="11449" y="45577"/>
                </a:lnTo>
                <a:lnTo>
                  <a:pt x="13411" y="46472"/>
                </a:lnTo>
                <a:lnTo>
                  <a:pt x="18735" y="45253"/>
                </a:lnTo>
                <a:lnTo>
                  <a:pt x="22041" y="44025"/>
                </a:lnTo>
                <a:lnTo>
                  <a:pt x="24365" y="42729"/>
                </a:lnTo>
                <a:lnTo>
                  <a:pt x="25803" y="42958"/>
                </a:lnTo>
                <a:lnTo>
                  <a:pt x="31023" y="44891"/>
                </a:lnTo>
                <a:lnTo>
                  <a:pt x="32747" y="43910"/>
                </a:lnTo>
                <a:lnTo>
                  <a:pt x="36509" y="41291"/>
                </a:lnTo>
                <a:lnTo>
                  <a:pt x="37071" y="39910"/>
                </a:lnTo>
                <a:lnTo>
                  <a:pt x="40043" y="35719"/>
                </a:lnTo>
                <a:lnTo>
                  <a:pt x="40100" y="34700"/>
                </a:lnTo>
                <a:lnTo>
                  <a:pt x="38881" y="32061"/>
                </a:lnTo>
                <a:lnTo>
                  <a:pt x="39262" y="31480"/>
                </a:lnTo>
                <a:lnTo>
                  <a:pt x="42901" y="28775"/>
                </a:lnTo>
                <a:lnTo>
                  <a:pt x="44682" y="26375"/>
                </a:lnTo>
                <a:lnTo>
                  <a:pt x="46615" y="24765"/>
                </a:lnTo>
                <a:lnTo>
                  <a:pt x="48006" y="24727"/>
                </a:lnTo>
                <a:lnTo>
                  <a:pt x="48387" y="25279"/>
                </a:lnTo>
                <a:lnTo>
                  <a:pt x="48549" y="26403"/>
                </a:lnTo>
                <a:lnTo>
                  <a:pt x="48425" y="31032"/>
                </a:lnTo>
                <a:lnTo>
                  <a:pt x="48958" y="32452"/>
                </a:lnTo>
                <a:lnTo>
                  <a:pt x="51816" y="35766"/>
                </a:lnTo>
                <a:lnTo>
                  <a:pt x="53854" y="37652"/>
                </a:lnTo>
                <a:lnTo>
                  <a:pt x="58588" y="38948"/>
                </a:lnTo>
                <a:lnTo>
                  <a:pt x="58807" y="39567"/>
                </a:lnTo>
                <a:lnTo>
                  <a:pt x="57502" y="42053"/>
                </a:lnTo>
                <a:lnTo>
                  <a:pt x="60369" y="45025"/>
                </a:lnTo>
                <a:lnTo>
                  <a:pt x="60884" y="47196"/>
                </a:lnTo>
                <a:lnTo>
                  <a:pt x="62208" y="48416"/>
                </a:lnTo>
                <a:lnTo>
                  <a:pt x="64075" y="47815"/>
                </a:lnTo>
                <a:lnTo>
                  <a:pt x="64684" y="46663"/>
                </a:lnTo>
                <a:lnTo>
                  <a:pt x="63951" y="44653"/>
                </a:lnTo>
                <a:lnTo>
                  <a:pt x="63408" y="42548"/>
                </a:lnTo>
                <a:lnTo>
                  <a:pt x="63513" y="41329"/>
                </a:lnTo>
                <a:lnTo>
                  <a:pt x="64027" y="39929"/>
                </a:lnTo>
                <a:lnTo>
                  <a:pt x="65332" y="37967"/>
                </a:lnTo>
                <a:lnTo>
                  <a:pt x="68875" y="33471"/>
                </a:lnTo>
                <a:lnTo>
                  <a:pt x="70152" y="30871"/>
                </a:lnTo>
                <a:lnTo>
                  <a:pt x="70380" y="26841"/>
                </a:lnTo>
                <a:lnTo>
                  <a:pt x="70390" y="23603"/>
                </a:lnTo>
                <a:lnTo>
                  <a:pt x="71571" y="22812"/>
                </a:lnTo>
                <a:lnTo>
                  <a:pt x="74114" y="23393"/>
                </a:lnTo>
                <a:lnTo>
                  <a:pt x="74876" y="23327"/>
                </a:lnTo>
                <a:lnTo>
                  <a:pt x="75219" y="25317"/>
                </a:lnTo>
                <a:lnTo>
                  <a:pt x="76305" y="28489"/>
                </a:lnTo>
                <a:lnTo>
                  <a:pt x="77581" y="30128"/>
                </a:lnTo>
                <a:lnTo>
                  <a:pt x="78943" y="30518"/>
                </a:lnTo>
                <a:lnTo>
                  <a:pt x="80543" y="30527"/>
                </a:lnTo>
                <a:lnTo>
                  <a:pt x="84506" y="28594"/>
                </a:lnTo>
                <a:lnTo>
                  <a:pt x="87087" y="27756"/>
                </a:lnTo>
                <a:lnTo>
                  <a:pt x="88554" y="27984"/>
                </a:lnTo>
                <a:lnTo>
                  <a:pt x="89421" y="29299"/>
                </a:lnTo>
                <a:lnTo>
                  <a:pt x="91269" y="32756"/>
                </a:lnTo>
                <a:lnTo>
                  <a:pt x="92326" y="33147"/>
                </a:lnTo>
                <a:lnTo>
                  <a:pt x="93602" y="32747"/>
                </a:lnTo>
                <a:lnTo>
                  <a:pt x="94050" y="32156"/>
                </a:lnTo>
                <a:lnTo>
                  <a:pt x="93640" y="30823"/>
                </a:lnTo>
                <a:lnTo>
                  <a:pt x="93097" y="27937"/>
                </a:lnTo>
                <a:lnTo>
                  <a:pt x="92354" y="25698"/>
                </a:lnTo>
                <a:lnTo>
                  <a:pt x="91383" y="24651"/>
                </a:lnTo>
                <a:lnTo>
                  <a:pt x="91183" y="23289"/>
                </a:lnTo>
                <a:lnTo>
                  <a:pt x="91792" y="20831"/>
                </a:lnTo>
                <a:lnTo>
                  <a:pt x="92488" y="18774"/>
                </a:lnTo>
                <a:lnTo>
                  <a:pt x="93840" y="18212"/>
                </a:lnTo>
                <a:lnTo>
                  <a:pt x="95393" y="17955"/>
                </a:lnTo>
                <a:lnTo>
                  <a:pt x="97441" y="20136"/>
                </a:lnTo>
                <a:lnTo>
                  <a:pt x="99869" y="20822"/>
                </a:lnTo>
                <a:lnTo>
                  <a:pt x="101679" y="20707"/>
                </a:lnTo>
                <a:lnTo>
                  <a:pt x="101993" y="19440"/>
                </a:lnTo>
                <a:lnTo>
                  <a:pt x="101879" y="18050"/>
                </a:lnTo>
                <a:lnTo>
                  <a:pt x="100803" y="16259"/>
                </a:lnTo>
                <a:lnTo>
                  <a:pt x="101012" y="13545"/>
                </a:lnTo>
                <a:lnTo>
                  <a:pt x="102260" y="8477"/>
                </a:lnTo>
                <a:lnTo>
                  <a:pt x="102975" y="8868"/>
                </a:lnTo>
                <a:lnTo>
                  <a:pt x="105661" y="8915"/>
                </a:lnTo>
                <a:lnTo>
                  <a:pt x="108585" y="9201"/>
                </a:lnTo>
                <a:lnTo>
                  <a:pt x="110471" y="11268"/>
                </a:lnTo>
                <a:lnTo>
                  <a:pt x="112319" y="11973"/>
                </a:lnTo>
                <a:lnTo>
                  <a:pt x="114948" y="12192"/>
                </a:lnTo>
                <a:lnTo>
                  <a:pt x="116710" y="11906"/>
                </a:lnTo>
                <a:lnTo>
                  <a:pt x="117567" y="11125"/>
                </a:lnTo>
                <a:lnTo>
                  <a:pt x="118586" y="8706"/>
                </a:lnTo>
                <a:lnTo>
                  <a:pt x="120472" y="5705"/>
                </a:lnTo>
                <a:lnTo>
                  <a:pt x="123425" y="4163"/>
                </a:lnTo>
                <a:lnTo>
                  <a:pt x="128473" y="3877"/>
                </a:lnTo>
                <a:lnTo>
                  <a:pt x="130997" y="3315"/>
                </a:lnTo>
                <a:lnTo>
                  <a:pt x="133617" y="3343"/>
                </a:lnTo>
                <a:lnTo>
                  <a:pt x="135588" y="3810"/>
                </a:lnTo>
                <a:lnTo>
                  <a:pt x="137627" y="3753"/>
                </a:lnTo>
                <a:lnTo>
                  <a:pt x="142808" y="1657"/>
                </a:lnTo>
                <a:lnTo>
                  <a:pt x="148152" y="0"/>
                </a:lnTo>
                <a:lnTo>
                  <a:pt x="148895" y="276"/>
                </a:lnTo>
                <a:lnTo>
                  <a:pt x="149009" y="829"/>
                </a:lnTo>
                <a:lnTo>
                  <a:pt x="148047" y="2105"/>
                </a:lnTo>
                <a:lnTo>
                  <a:pt x="147113" y="3800"/>
                </a:lnTo>
                <a:lnTo>
                  <a:pt x="147742" y="5734"/>
                </a:lnTo>
                <a:lnTo>
                  <a:pt x="150781" y="9611"/>
                </a:lnTo>
                <a:lnTo>
                  <a:pt x="152438" y="12573"/>
                </a:lnTo>
                <a:lnTo>
                  <a:pt x="154000" y="14792"/>
                </a:lnTo>
                <a:lnTo>
                  <a:pt x="156429" y="15964"/>
                </a:lnTo>
                <a:lnTo>
                  <a:pt x="159620" y="16678"/>
                </a:lnTo>
                <a:lnTo>
                  <a:pt x="162325" y="16935"/>
                </a:lnTo>
                <a:lnTo>
                  <a:pt x="165154" y="17774"/>
                </a:lnTo>
                <a:lnTo>
                  <a:pt x="174860" y="19841"/>
                </a:lnTo>
                <a:lnTo>
                  <a:pt x="179746" y="20412"/>
                </a:lnTo>
                <a:lnTo>
                  <a:pt x="183451" y="20498"/>
                </a:lnTo>
                <a:lnTo>
                  <a:pt x="189024" y="21745"/>
                </a:lnTo>
                <a:close/>
                <a:moveTo>
                  <a:pt x="156553" y="120815"/>
                </a:moveTo>
                <a:lnTo>
                  <a:pt x="157343" y="118910"/>
                </a:lnTo>
                <a:lnTo>
                  <a:pt x="157048" y="117548"/>
                </a:lnTo>
                <a:lnTo>
                  <a:pt x="155372" y="117824"/>
                </a:lnTo>
                <a:lnTo>
                  <a:pt x="154191" y="119596"/>
                </a:lnTo>
                <a:lnTo>
                  <a:pt x="154981" y="121091"/>
                </a:lnTo>
                <a:lnTo>
                  <a:pt x="156553" y="120815"/>
                </a:lnTo>
                <a:close/>
                <a:moveTo>
                  <a:pt x="155324" y="193662"/>
                </a:moveTo>
                <a:lnTo>
                  <a:pt x="155305" y="193377"/>
                </a:lnTo>
                <a:lnTo>
                  <a:pt x="155105" y="193405"/>
                </a:lnTo>
                <a:lnTo>
                  <a:pt x="155019" y="193577"/>
                </a:lnTo>
                <a:lnTo>
                  <a:pt x="155105" y="193691"/>
                </a:lnTo>
                <a:lnTo>
                  <a:pt x="155324" y="193662"/>
                </a:lnTo>
                <a:close/>
                <a:moveTo>
                  <a:pt x="100689" y="159048"/>
                </a:moveTo>
                <a:lnTo>
                  <a:pt x="101575" y="160458"/>
                </a:lnTo>
                <a:lnTo>
                  <a:pt x="101679" y="161277"/>
                </a:lnTo>
                <a:lnTo>
                  <a:pt x="101079" y="162211"/>
                </a:lnTo>
                <a:lnTo>
                  <a:pt x="101327" y="164306"/>
                </a:lnTo>
                <a:lnTo>
                  <a:pt x="99088" y="162563"/>
                </a:lnTo>
                <a:lnTo>
                  <a:pt x="95707" y="163439"/>
                </a:lnTo>
                <a:lnTo>
                  <a:pt x="93631" y="163249"/>
                </a:lnTo>
                <a:lnTo>
                  <a:pt x="93059" y="161687"/>
                </a:lnTo>
                <a:lnTo>
                  <a:pt x="93535" y="160772"/>
                </a:lnTo>
                <a:lnTo>
                  <a:pt x="96755" y="160572"/>
                </a:lnTo>
                <a:lnTo>
                  <a:pt x="97755" y="160125"/>
                </a:lnTo>
                <a:lnTo>
                  <a:pt x="99717" y="160334"/>
                </a:lnTo>
                <a:lnTo>
                  <a:pt x="100689" y="159048"/>
                </a:lnTo>
                <a:close/>
                <a:moveTo>
                  <a:pt x="80276" y="229733"/>
                </a:moveTo>
                <a:lnTo>
                  <a:pt x="81620" y="231981"/>
                </a:lnTo>
                <a:lnTo>
                  <a:pt x="84620" y="241182"/>
                </a:lnTo>
                <a:lnTo>
                  <a:pt x="84906" y="243164"/>
                </a:lnTo>
                <a:lnTo>
                  <a:pt x="84306" y="245193"/>
                </a:lnTo>
                <a:lnTo>
                  <a:pt x="83544" y="246631"/>
                </a:lnTo>
                <a:lnTo>
                  <a:pt x="80562" y="251241"/>
                </a:lnTo>
                <a:lnTo>
                  <a:pt x="81001" y="255041"/>
                </a:lnTo>
                <a:lnTo>
                  <a:pt x="82105" y="257394"/>
                </a:lnTo>
                <a:lnTo>
                  <a:pt x="82267" y="259994"/>
                </a:lnTo>
                <a:lnTo>
                  <a:pt x="81715" y="263214"/>
                </a:lnTo>
                <a:lnTo>
                  <a:pt x="79867" y="282921"/>
                </a:lnTo>
                <a:lnTo>
                  <a:pt x="78972" y="286398"/>
                </a:lnTo>
                <a:lnTo>
                  <a:pt x="78410" y="289398"/>
                </a:lnTo>
                <a:lnTo>
                  <a:pt x="76372" y="290313"/>
                </a:lnTo>
                <a:lnTo>
                  <a:pt x="73743" y="289350"/>
                </a:lnTo>
                <a:lnTo>
                  <a:pt x="70428" y="287655"/>
                </a:lnTo>
                <a:lnTo>
                  <a:pt x="68894" y="287760"/>
                </a:lnTo>
                <a:lnTo>
                  <a:pt x="67351" y="288341"/>
                </a:lnTo>
                <a:lnTo>
                  <a:pt x="66084" y="287846"/>
                </a:lnTo>
                <a:lnTo>
                  <a:pt x="64875" y="286883"/>
                </a:lnTo>
                <a:lnTo>
                  <a:pt x="63970" y="293608"/>
                </a:lnTo>
                <a:lnTo>
                  <a:pt x="62474" y="296332"/>
                </a:lnTo>
                <a:lnTo>
                  <a:pt x="60198" y="298075"/>
                </a:lnTo>
                <a:lnTo>
                  <a:pt x="58055" y="298180"/>
                </a:lnTo>
                <a:lnTo>
                  <a:pt x="55845" y="297599"/>
                </a:lnTo>
                <a:lnTo>
                  <a:pt x="53978" y="297599"/>
                </a:lnTo>
                <a:lnTo>
                  <a:pt x="52559" y="296313"/>
                </a:lnTo>
                <a:lnTo>
                  <a:pt x="51435" y="294046"/>
                </a:lnTo>
                <a:lnTo>
                  <a:pt x="49644" y="291294"/>
                </a:lnTo>
                <a:lnTo>
                  <a:pt x="47825" y="288026"/>
                </a:lnTo>
                <a:lnTo>
                  <a:pt x="47625" y="285064"/>
                </a:lnTo>
                <a:lnTo>
                  <a:pt x="47310" y="278521"/>
                </a:lnTo>
                <a:lnTo>
                  <a:pt x="47835" y="277092"/>
                </a:lnTo>
                <a:lnTo>
                  <a:pt x="48596" y="275720"/>
                </a:lnTo>
                <a:lnTo>
                  <a:pt x="48968" y="272787"/>
                </a:lnTo>
                <a:lnTo>
                  <a:pt x="48711" y="270224"/>
                </a:lnTo>
                <a:lnTo>
                  <a:pt x="49244" y="269310"/>
                </a:lnTo>
                <a:lnTo>
                  <a:pt x="50302" y="270224"/>
                </a:lnTo>
                <a:lnTo>
                  <a:pt x="51092" y="269881"/>
                </a:lnTo>
                <a:lnTo>
                  <a:pt x="51044" y="268557"/>
                </a:lnTo>
                <a:lnTo>
                  <a:pt x="51283" y="266147"/>
                </a:lnTo>
                <a:lnTo>
                  <a:pt x="49892" y="264128"/>
                </a:lnTo>
                <a:lnTo>
                  <a:pt x="47539" y="263442"/>
                </a:lnTo>
                <a:lnTo>
                  <a:pt x="47310" y="261328"/>
                </a:lnTo>
                <a:lnTo>
                  <a:pt x="47558" y="259261"/>
                </a:lnTo>
                <a:lnTo>
                  <a:pt x="48796" y="257870"/>
                </a:lnTo>
                <a:lnTo>
                  <a:pt x="49216" y="256022"/>
                </a:lnTo>
                <a:lnTo>
                  <a:pt x="49225" y="250374"/>
                </a:lnTo>
                <a:lnTo>
                  <a:pt x="47568" y="248288"/>
                </a:lnTo>
                <a:lnTo>
                  <a:pt x="46930" y="245126"/>
                </a:lnTo>
                <a:lnTo>
                  <a:pt x="46072" y="243107"/>
                </a:lnTo>
                <a:lnTo>
                  <a:pt x="44529" y="241068"/>
                </a:lnTo>
                <a:lnTo>
                  <a:pt x="42777" y="239411"/>
                </a:lnTo>
                <a:lnTo>
                  <a:pt x="41700" y="237811"/>
                </a:lnTo>
                <a:lnTo>
                  <a:pt x="41462" y="233620"/>
                </a:lnTo>
                <a:lnTo>
                  <a:pt x="42072" y="230114"/>
                </a:lnTo>
                <a:lnTo>
                  <a:pt x="42624" y="228610"/>
                </a:lnTo>
                <a:lnTo>
                  <a:pt x="43186" y="228828"/>
                </a:lnTo>
                <a:lnTo>
                  <a:pt x="44920" y="230572"/>
                </a:lnTo>
                <a:lnTo>
                  <a:pt x="46339" y="230962"/>
                </a:lnTo>
                <a:lnTo>
                  <a:pt x="49149" y="231381"/>
                </a:lnTo>
                <a:lnTo>
                  <a:pt x="51911" y="230819"/>
                </a:lnTo>
                <a:lnTo>
                  <a:pt x="55302" y="229229"/>
                </a:lnTo>
                <a:lnTo>
                  <a:pt x="58569" y="227304"/>
                </a:lnTo>
                <a:lnTo>
                  <a:pt x="63303" y="221637"/>
                </a:lnTo>
                <a:lnTo>
                  <a:pt x="66218" y="220485"/>
                </a:lnTo>
                <a:lnTo>
                  <a:pt x="67713" y="218989"/>
                </a:lnTo>
                <a:lnTo>
                  <a:pt x="68228" y="216970"/>
                </a:lnTo>
                <a:lnTo>
                  <a:pt x="69466" y="216446"/>
                </a:lnTo>
                <a:lnTo>
                  <a:pt x="70923" y="218408"/>
                </a:lnTo>
                <a:lnTo>
                  <a:pt x="72733" y="218618"/>
                </a:lnTo>
                <a:lnTo>
                  <a:pt x="75524" y="220237"/>
                </a:lnTo>
                <a:lnTo>
                  <a:pt x="76724" y="221780"/>
                </a:lnTo>
                <a:lnTo>
                  <a:pt x="77753" y="223638"/>
                </a:lnTo>
                <a:lnTo>
                  <a:pt x="78743" y="224457"/>
                </a:lnTo>
                <a:lnTo>
                  <a:pt x="79800" y="224923"/>
                </a:lnTo>
                <a:lnTo>
                  <a:pt x="79953" y="225362"/>
                </a:lnTo>
                <a:lnTo>
                  <a:pt x="79115" y="225800"/>
                </a:lnTo>
                <a:lnTo>
                  <a:pt x="78153" y="227924"/>
                </a:lnTo>
                <a:lnTo>
                  <a:pt x="78695" y="228533"/>
                </a:lnTo>
                <a:lnTo>
                  <a:pt x="80276" y="229733"/>
                </a:lnTo>
                <a:close/>
                <a:moveTo>
                  <a:pt x="44301" y="224171"/>
                </a:moveTo>
                <a:lnTo>
                  <a:pt x="43415" y="225781"/>
                </a:lnTo>
                <a:lnTo>
                  <a:pt x="42158" y="225666"/>
                </a:lnTo>
                <a:lnTo>
                  <a:pt x="42653" y="224476"/>
                </a:lnTo>
                <a:lnTo>
                  <a:pt x="43815" y="222085"/>
                </a:lnTo>
                <a:lnTo>
                  <a:pt x="45225" y="221285"/>
                </a:lnTo>
                <a:lnTo>
                  <a:pt x="45853" y="221999"/>
                </a:lnTo>
                <a:lnTo>
                  <a:pt x="45186" y="223371"/>
                </a:lnTo>
                <a:lnTo>
                  <a:pt x="44301" y="224171"/>
                </a:lnTo>
                <a:close/>
                <a:moveTo>
                  <a:pt x="195396" y="235944"/>
                </a:moveTo>
                <a:lnTo>
                  <a:pt x="194205" y="236249"/>
                </a:lnTo>
                <a:lnTo>
                  <a:pt x="193510" y="235830"/>
                </a:lnTo>
                <a:lnTo>
                  <a:pt x="193129" y="235296"/>
                </a:lnTo>
                <a:lnTo>
                  <a:pt x="193595" y="233972"/>
                </a:lnTo>
                <a:lnTo>
                  <a:pt x="196024" y="234763"/>
                </a:lnTo>
                <a:lnTo>
                  <a:pt x="195996" y="235506"/>
                </a:lnTo>
                <a:lnTo>
                  <a:pt x="195396" y="235944"/>
                </a:lnTo>
                <a:close/>
                <a:moveTo>
                  <a:pt x="49463" y="292789"/>
                </a:moveTo>
                <a:lnTo>
                  <a:pt x="47920" y="296180"/>
                </a:lnTo>
                <a:lnTo>
                  <a:pt x="46311" y="293779"/>
                </a:lnTo>
                <a:lnTo>
                  <a:pt x="46244" y="291722"/>
                </a:lnTo>
                <a:lnTo>
                  <a:pt x="46463" y="291132"/>
                </a:lnTo>
                <a:lnTo>
                  <a:pt x="48444" y="291998"/>
                </a:lnTo>
                <a:lnTo>
                  <a:pt x="49463" y="292789"/>
                </a:lnTo>
                <a:close/>
                <a:moveTo>
                  <a:pt x="239192" y="321669"/>
                </a:moveTo>
                <a:lnTo>
                  <a:pt x="237382" y="325517"/>
                </a:lnTo>
                <a:lnTo>
                  <a:pt x="236496" y="326993"/>
                </a:lnTo>
                <a:lnTo>
                  <a:pt x="230048" y="336375"/>
                </a:lnTo>
                <a:lnTo>
                  <a:pt x="229305" y="338537"/>
                </a:lnTo>
                <a:lnTo>
                  <a:pt x="228847" y="340890"/>
                </a:lnTo>
                <a:lnTo>
                  <a:pt x="228181" y="342948"/>
                </a:lnTo>
                <a:lnTo>
                  <a:pt x="227285" y="344881"/>
                </a:lnTo>
                <a:lnTo>
                  <a:pt x="226438" y="347339"/>
                </a:lnTo>
                <a:lnTo>
                  <a:pt x="226600" y="350120"/>
                </a:lnTo>
                <a:lnTo>
                  <a:pt x="226904" y="351482"/>
                </a:lnTo>
                <a:lnTo>
                  <a:pt x="227685" y="352377"/>
                </a:lnTo>
                <a:lnTo>
                  <a:pt x="228962" y="353216"/>
                </a:lnTo>
                <a:lnTo>
                  <a:pt x="229943" y="354511"/>
                </a:lnTo>
                <a:lnTo>
                  <a:pt x="228438" y="355683"/>
                </a:lnTo>
                <a:lnTo>
                  <a:pt x="230086" y="358035"/>
                </a:lnTo>
                <a:lnTo>
                  <a:pt x="231495" y="359426"/>
                </a:lnTo>
                <a:lnTo>
                  <a:pt x="231686" y="360817"/>
                </a:lnTo>
                <a:lnTo>
                  <a:pt x="231658" y="362207"/>
                </a:lnTo>
                <a:lnTo>
                  <a:pt x="228733" y="364817"/>
                </a:lnTo>
                <a:lnTo>
                  <a:pt x="227590" y="366255"/>
                </a:lnTo>
                <a:lnTo>
                  <a:pt x="226885" y="367998"/>
                </a:lnTo>
                <a:lnTo>
                  <a:pt x="226581" y="369789"/>
                </a:lnTo>
                <a:lnTo>
                  <a:pt x="226895" y="371408"/>
                </a:lnTo>
                <a:lnTo>
                  <a:pt x="226800" y="373018"/>
                </a:lnTo>
                <a:lnTo>
                  <a:pt x="223856" y="372818"/>
                </a:lnTo>
                <a:lnTo>
                  <a:pt x="220847" y="371827"/>
                </a:lnTo>
                <a:lnTo>
                  <a:pt x="217808" y="372256"/>
                </a:lnTo>
                <a:lnTo>
                  <a:pt x="213484" y="370389"/>
                </a:lnTo>
                <a:lnTo>
                  <a:pt x="211912" y="370056"/>
                </a:lnTo>
                <a:lnTo>
                  <a:pt x="210483" y="369322"/>
                </a:lnTo>
                <a:lnTo>
                  <a:pt x="206892" y="363531"/>
                </a:lnTo>
                <a:lnTo>
                  <a:pt x="203997" y="361083"/>
                </a:lnTo>
                <a:lnTo>
                  <a:pt x="200892" y="359169"/>
                </a:lnTo>
                <a:lnTo>
                  <a:pt x="197720" y="359054"/>
                </a:lnTo>
                <a:lnTo>
                  <a:pt x="194548" y="359273"/>
                </a:lnTo>
                <a:lnTo>
                  <a:pt x="191748" y="358092"/>
                </a:lnTo>
                <a:lnTo>
                  <a:pt x="186042" y="354139"/>
                </a:lnTo>
                <a:lnTo>
                  <a:pt x="179994" y="350968"/>
                </a:lnTo>
                <a:lnTo>
                  <a:pt x="177432" y="348910"/>
                </a:lnTo>
                <a:lnTo>
                  <a:pt x="176260" y="347520"/>
                </a:lnTo>
                <a:lnTo>
                  <a:pt x="174888" y="346596"/>
                </a:lnTo>
                <a:lnTo>
                  <a:pt x="171431" y="345681"/>
                </a:lnTo>
                <a:lnTo>
                  <a:pt x="168316" y="343529"/>
                </a:lnTo>
                <a:lnTo>
                  <a:pt x="166906" y="343376"/>
                </a:lnTo>
                <a:lnTo>
                  <a:pt x="163868" y="343633"/>
                </a:lnTo>
                <a:lnTo>
                  <a:pt x="162306" y="343481"/>
                </a:lnTo>
                <a:lnTo>
                  <a:pt x="160734" y="342719"/>
                </a:lnTo>
                <a:lnTo>
                  <a:pt x="157705" y="340195"/>
                </a:lnTo>
                <a:lnTo>
                  <a:pt x="155762" y="336690"/>
                </a:lnTo>
                <a:lnTo>
                  <a:pt x="155257" y="335137"/>
                </a:lnTo>
                <a:lnTo>
                  <a:pt x="156629" y="331127"/>
                </a:lnTo>
                <a:lnTo>
                  <a:pt x="158258" y="327270"/>
                </a:lnTo>
                <a:lnTo>
                  <a:pt x="159696" y="326193"/>
                </a:lnTo>
                <a:lnTo>
                  <a:pt x="161372" y="325412"/>
                </a:lnTo>
                <a:lnTo>
                  <a:pt x="162382" y="324269"/>
                </a:lnTo>
                <a:lnTo>
                  <a:pt x="163239" y="322869"/>
                </a:lnTo>
                <a:lnTo>
                  <a:pt x="166354" y="326907"/>
                </a:lnTo>
                <a:lnTo>
                  <a:pt x="167745" y="327889"/>
                </a:lnTo>
                <a:lnTo>
                  <a:pt x="169155" y="327670"/>
                </a:lnTo>
                <a:lnTo>
                  <a:pt x="171650" y="326222"/>
                </a:lnTo>
                <a:lnTo>
                  <a:pt x="171860" y="324631"/>
                </a:lnTo>
                <a:lnTo>
                  <a:pt x="174622" y="322621"/>
                </a:lnTo>
                <a:lnTo>
                  <a:pt x="178127" y="322583"/>
                </a:lnTo>
                <a:lnTo>
                  <a:pt x="179746" y="322955"/>
                </a:lnTo>
                <a:lnTo>
                  <a:pt x="180594" y="324774"/>
                </a:lnTo>
                <a:lnTo>
                  <a:pt x="181928" y="325336"/>
                </a:lnTo>
                <a:lnTo>
                  <a:pt x="183470" y="325574"/>
                </a:lnTo>
                <a:lnTo>
                  <a:pt x="188557" y="329032"/>
                </a:lnTo>
                <a:lnTo>
                  <a:pt x="189986" y="329594"/>
                </a:lnTo>
                <a:lnTo>
                  <a:pt x="191424" y="329689"/>
                </a:lnTo>
                <a:lnTo>
                  <a:pt x="195377" y="328241"/>
                </a:lnTo>
                <a:lnTo>
                  <a:pt x="198406" y="327688"/>
                </a:lnTo>
                <a:lnTo>
                  <a:pt x="204759" y="328489"/>
                </a:lnTo>
                <a:lnTo>
                  <a:pt x="208188" y="327622"/>
                </a:lnTo>
                <a:lnTo>
                  <a:pt x="210588" y="327517"/>
                </a:lnTo>
                <a:lnTo>
                  <a:pt x="214084" y="326184"/>
                </a:lnTo>
                <a:lnTo>
                  <a:pt x="216770" y="323964"/>
                </a:lnTo>
                <a:lnTo>
                  <a:pt x="218170" y="323412"/>
                </a:lnTo>
                <a:lnTo>
                  <a:pt x="219675" y="323250"/>
                </a:lnTo>
                <a:lnTo>
                  <a:pt x="223313" y="323393"/>
                </a:lnTo>
                <a:lnTo>
                  <a:pt x="226971" y="323898"/>
                </a:lnTo>
                <a:lnTo>
                  <a:pt x="228505" y="323374"/>
                </a:lnTo>
                <a:lnTo>
                  <a:pt x="229790" y="321916"/>
                </a:lnTo>
                <a:lnTo>
                  <a:pt x="231276" y="321259"/>
                </a:lnTo>
                <a:lnTo>
                  <a:pt x="232905" y="321697"/>
                </a:lnTo>
                <a:lnTo>
                  <a:pt x="237125" y="319202"/>
                </a:lnTo>
                <a:lnTo>
                  <a:pt x="238992" y="319030"/>
                </a:lnTo>
                <a:lnTo>
                  <a:pt x="240764" y="319992"/>
                </a:lnTo>
                <a:lnTo>
                  <a:pt x="239192" y="321669"/>
                </a:lnTo>
                <a:close/>
                <a:moveTo>
                  <a:pt x="144951" y="370761"/>
                </a:moveTo>
                <a:lnTo>
                  <a:pt x="143665" y="371132"/>
                </a:lnTo>
                <a:lnTo>
                  <a:pt x="141989" y="369989"/>
                </a:lnTo>
                <a:lnTo>
                  <a:pt x="141875" y="368389"/>
                </a:lnTo>
                <a:lnTo>
                  <a:pt x="142180" y="367913"/>
                </a:lnTo>
                <a:lnTo>
                  <a:pt x="144218" y="368646"/>
                </a:lnTo>
                <a:lnTo>
                  <a:pt x="144856" y="370132"/>
                </a:lnTo>
                <a:lnTo>
                  <a:pt x="144951" y="370761"/>
                </a:ln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2" name="Forme libre : forme 31">
            <a:extLst>
              <a:ext uri="{FF2B5EF4-FFF2-40B4-BE49-F238E27FC236}">
                <a16:creationId xmlns:a16="http://schemas.microsoft.com/office/drawing/2014/main" id="{7F1FEC07-1993-4758-54B8-DAC8FACFB119}"/>
              </a:ext>
            </a:extLst>
          </p:cNvPr>
          <p:cNvSpPr/>
          <p:nvPr/>
        </p:nvSpPr>
        <p:spPr>
          <a:xfrm>
            <a:off x="5443593" y="3596368"/>
            <a:ext cx="7875" cy="5143"/>
          </a:xfrm>
          <a:custGeom>
            <a:avLst/>
            <a:gdLst>
              <a:gd name="connsiteX0" fmla="*/ 5801 w 6038"/>
              <a:gd name="connsiteY0" fmla="*/ 1438 h 3943"/>
              <a:gd name="connsiteX1" fmla="*/ 6039 w 6038"/>
              <a:gd name="connsiteY1" fmla="*/ 3496 h 3943"/>
              <a:gd name="connsiteX2" fmla="*/ 4867 w 6038"/>
              <a:gd name="connsiteY2" fmla="*/ 3943 h 3943"/>
              <a:gd name="connsiteX3" fmla="*/ 3867 w 6038"/>
              <a:gd name="connsiteY3" fmla="*/ 3229 h 3943"/>
              <a:gd name="connsiteX4" fmla="*/ 1877 w 6038"/>
              <a:gd name="connsiteY4" fmla="*/ 3229 h 3943"/>
              <a:gd name="connsiteX5" fmla="*/ 0 w 6038"/>
              <a:gd name="connsiteY5" fmla="*/ 3677 h 3943"/>
              <a:gd name="connsiteX6" fmla="*/ 410 w 6038"/>
              <a:gd name="connsiteY6" fmla="*/ 0 h 3943"/>
              <a:gd name="connsiteX7" fmla="*/ 4105 w 6038"/>
              <a:gd name="connsiteY7" fmla="*/ 448 h 3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38" h="3943">
                <a:moveTo>
                  <a:pt x="5801" y="1438"/>
                </a:moveTo>
                <a:lnTo>
                  <a:pt x="6039" y="3496"/>
                </a:lnTo>
                <a:lnTo>
                  <a:pt x="4867" y="3943"/>
                </a:lnTo>
                <a:lnTo>
                  <a:pt x="3867" y="3229"/>
                </a:lnTo>
                <a:lnTo>
                  <a:pt x="1877" y="3229"/>
                </a:lnTo>
                <a:lnTo>
                  <a:pt x="0" y="3677"/>
                </a:lnTo>
                <a:lnTo>
                  <a:pt x="410" y="0"/>
                </a:lnTo>
                <a:lnTo>
                  <a:pt x="4105" y="448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3" name="Forme libre : forme 32">
            <a:extLst>
              <a:ext uri="{FF2B5EF4-FFF2-40B4-BE49-F238E27FC236}">
                <a16:creationId xmlns:a16="http://schemas.microsoft.com/office/drawing/2014/main" id="{2F7D14C0-14B2-5AA3-5820-6921CF037E43}"/>
              </a:ext>
            </a:extLst>
          </p:cNvPr>
          <p:cNvSpPr/>
          <p:nvPr/>
        </p:nvSpPr>
        <p:spPr>
          <a:xfrm>
            <a:off x="6219895" y="3898705"/>
            <a:ext cx="60092" cy="66377"/>
          </a:xfrm>
          <a:custGeom>
            <a:avLst/>
            <a:gdLst>
              <a:gd name="connsiteX0" fmla="*/ 40977 w 46072"/>
              <a:gd name="connsiteY0" fmla="*/ 36766 h 50891"/>
              <a:gd name="connsiteX1" fmla="*/ 40939 w 46072"/>
              <a:gd name="connsiteY1" fmla="*/ 36766 h 50891"/>
              <a:gd name="connsiteX2" fmla="*/ 36357 w 46072"/>
              <a:gd name="connsiteY2" fmla="*/ 37767 h 50891"/>
              <a:gd name="connsiteX3" fmla="*/ 34814 w 46072"/>
              <a:gd name="connsiteY3" fmla="*/ 38938 h 50891"/>
              <a:gd name="connsiteX4" fmla="*/ 33900 w 46072"/>
              <a:gd name="connsiteY4" fmla="*/ 40995 h 50891"/>
              <a:gd name="connsiteX5" fmla="*/ 33604 w 46072"/>
              <a:gd name="connsiteY5" fmla="*/ 42053 h 50891"/>
              <a:gd name="connsiteX6" fmla="*/ 32795 w 46072"/>
              <a:gd name="connsiteY6" fmla="*/ 42091 h 50891"/>
              <a:gd name="connsiteX7" fmla="*/ 31452 w 46072"/>
              <a:gd name="connsiteY7" fmla="*/ 41034 h 50891"/>
              <a:gd name="connsiteX8" fmla="*/ 29756 w 46072"/>
              <a:gd name="connsiteY8" fmla="*/ 39376 h 50891"/>
              <a:gd name="connsiteX9" fmla="*/ 27537 w 46072"/>
              <a:gd name="connsiteY9" fmla="*/ 39510 h 50891"/>
              <a:gd name="connsiteX10" fmla="*/ 20012 w 46072"/>
              <a:gd name="connsiteY10" fmla="*/ 43110 h 50891"/>
              <a:gd name="connsiteX11" fmla="*/ 19269 w 46072"/>
              <a:gd name="connsiteY11" fmla="*/ 44996 h 50891"/>
              <a:gd name="connsiteX12" fmla="*/ 19108 w 46072"/>
              <a:gd name="connsiteY12" fmla="*/ 49082 h 50891"/>
              <a:gd name="connsiteX13" fmla="*/ 18593 w 46072"/>
              <a:gd name="connsiteY13" fmla="*/ 50187 h 50891"/>
              <a:gd name="connsiteX14" fmla="*/ 17783 w 46072"/>
              <a:gd name="connsiteY14" fmla="*/ 50892 h 50891"/>
              <a:gd name="connsiteX15" fmla="*/ 14678 w 46072"/>
              <a:gd name="connsiteY15" fmla="*/ 50444 h 50891"/>
              <a:gd name="connsiteX16" fmla="*/ 14345 w 46072"/>
              <a:gd name="connsiteY16" fmla="*/ 50178 h 50891"/>
              <a:gd name="connsiteX17" fmla="*/ 14754 w 46072"/>
              <a:gd name="connsiteY17" fmla="*/ 48616 h 50891"/>
              <a:gd name="connsiteX18" fmla="*/ 14592 w 46072"/>
              <a:gd name="connsiteY18" fmla="*/ 45186 h 50891"/>
              <a:gd name="connsiteX19" fmla="*/ 13183 w 46072"/>
              <a:gd name="connsiteY19" fmla="*/ 39500 h 50891"/>
              <a:gd name="connsiteX20" fmla="*/ 12192 w 46072"/>
              <a:gd name="connsiteY20" fmla="*/ 37643 h 50891"/>
              <a:gd name="connsiteX21" fmla="*/ 10125 w 46072"/>
              <a:gd name="connsiteY21" fmla="*/ 35785 h 50891"/>
              <a:gd name="connsiteX22" fmla="*/ 8525 w 46072"/>
              <a:gd name="connsiteY22" fmla="*/ 34566 h 50891"/>
              <a:gd name="connsiteX23" fmla="*/ 5639 w 46072"/>
              <a:gd name="connsiteY23" fmla="*/ 33480 h 50891"/>
              <a:gd name="connsiteX24" fmla="*/ 4182 w 46072"/>
              <a:gd name="connsiteY24" fmla="*/ 30337 h 50891"/>
              <a:gd name="connsiteX25" fmla="*/ 1981 w 46072"/>
              <a:gd name="connsiteY25" fmla="*/ 26775 h 50891"/>
              <a:gd name="connsiteX26" fmla="*/ 924 w 46072"/>
              <a:gd name="connsiteY26" fmla="*/ 25956 h 50891"/>
              <a:gd name="connsiteX27" fmla="*/ 1095 w 46072"/>
              <a:gd name="connsiteY27" fmla="*/ 25603 h 50891"/>
              <a:gd name="connsiteX28" fmla="*/ 1600 w 46072"/>
              <a:gd name="connsiteY28" fmla="*/ 22908 h 50891"/>
              <a:gd name="connsiteX29" fmla="*/ 971 w 46072"/>
              <a:gd name="connsiteY29" fmla="*/ 20946 h 50891"/>
              <a:gd name="connsiteX30" fmla="*/ 0 w 46072"/>
              <a:gd name="connsiteY30" fmla="*/ 19269 h 50891"/>
              <a:gd name="connsiteX31" fmla="*/ 658 w 46072"/>
              <a:gd name="connsiteY31" fmla="*/ 18250 h 50891"/>
              <a:gd name="connsiteX32" fmla="*/ 2686 w 46072"/>
              <a:gd name="connsiteY32" fmla="*/ 18259 h 50891"/>
              <a:gd name="connsiteX33" fmla="*/ 4363 w 46072"/>
              <a:gd name="connsiteY33" fmla="*/ 18450 h 50891"/>
              <a:gd name="connsiteX34" fmla="*/ 4962 w 46072"/>
              <a:gd name="connsiteY34" fmla="*/ 16840 h 50891"/>
              <a:gd name="connsiteX35" fmla="*/ 8420 w 46072"/>
              <a:gd name="connsiteY35" fmla="*/ 15792 h 50891"/>
              <a:gd name="connsiteX36" fmla="*/ 11745 w 46072"/>
              <a:gd name="connsiteY36" fmla="*/ 14697 h 50891"/>
              <a:gd name="connsiteX37" fmla="*/ 12230 w 46072"/>
              <a:gd name="connsiteY37" fmla="*/ 13935 h 50891"/>
              <a:gd name="connsiteX38" fmla="*/ 11468 w 46072"/>
              <a:gd name="connsiteY38" fmla="*/ 12278 h 50891"/>
              <a:gd name="connsiteX39" fmla="*/ 11916 w 46072"/>
              <a:gd name="connsiteY39" fmla="*/ 11239 h 50891"/>
              <a:gd name="connsiteX40" fmla="*/ 15897 w 46072"/>
              <a:gd name="connsiteY40" fmla="*/ 8287 h 50891"/>
              <a:gd name="connsiteX41" fmla="*/ 16545 w 46072"/>
              <a:gd name="connsiteY41" fmla="*/ 6944 h 50891"/>
              <a:gd name="connsiteX42" fmla="*/ 16793 w 46072"/>
              <a:gd name="connsiteY42" fmla="*/ 5896 h 50891"/>
              <a:gd name="connsiteX43" fmla="*/ 16259 w 46072"/>
              <a:gd name="connsiteY43" fmla="*/ 4772 h 50891"/>
              <a:gd name="connsiteX44" fmla="*/ 15507 w 46072"/>
              <a:gd name="connsiteY44" fmla="*/ 3029 h 50891"/>
              <a:gd name="connsiteX45" fmla="*/ 15869 w 46072"/>
              <a:gd name="connsiteY45" fmla="*/ 2286 h 50891"/>
              <a:gd name="connsiteX46" fmla="*/ 17936 w 46072"/>
              <a:gd name="connsiteY46" fmla="*/ 1276 h 50891"/>
              <a:gd name="connsiteX47" fmla="*/ 19621 w 46072"/>
              <a:gd name="connsiteY47" fmla="*/ 95 h 50891"/>
              <a:gd name="connsiteX48" fmla="*/ 20612 w 46072"/>
              <a:gd name="connsiteY48" fmla="*/ 0 h 50891"/>
              <a:gd name="connsiteX49" fmla="*/ 21231 w 46072"/>
              <a:gd name="connsiteY49" fmla="*/ 848 h 50891"/>
              <a:gd name="connsiteX50" fmla="*/ 21231 w 46072"/>
              <a:gd name="connsiteY50" fmla="*/ 1724 h 50891"/>
              <a:gd name="connsiteX51" fmla="*/ 21784 w 46072"/>
              <a:gd name="connsiteY51" fmla="*/ 3200 h 50891"/>
              <a:gd name="connsiteX52" fmla="*/ 23022 w 46072"/>
              <a:gd name="connsiteY52" fmla="*/ 4000 h 50891"/>
              <a:gd name="connsiteX53" fmla="*/ 25079 w 46072"/>
              <a:gd name="connsiteY53" fmla="*/ 5305 h 50891"/>
              <a:gd name="connsiteX54" fmla="*/ 27470 w 46072"/>
              <a:gd name="connsiteY54" fmla="*/ 6191 h 50891"/>
              <a:gd name="connsiteX55" fmla="*/ 29337 w 46072"/>
              <a:gd name="connsiteY55" fmla="*/ 7963 h 50891"/>
              <a:gd name="connsiteX56" fmla="*/ 31899 w 46072"/>
              <a:gd name="connsiteY56" fmla="*/ 11125 h 50891"/>
              <a:gd name="connsiteX57" fmla="*/ 32281 w 46072"/>
              <a:gd name="connsiteY57" fmla="*/ 12687 h 50891"/>
              <a:gd name="connsiteX58" fmla="*/ 34586 w 46072"/>
              <a:gd name="connsiteY58" fmla="*/ 14088 h 50891"/>
              <a:gd name="connsiteX59" fmla="*/ 36719 w 46072"/>
              <a:gd name="connsiteY59" fmla="*/ 15659 h 50891"/>
              <a:gd name="connsiteX60" fmla="*/ 36386 w 46072"/>
              <a:gd name="connsiteY60" fmla="*/ 18564 h 50891"/>
              <a:gd name="connsiteX61" fmla="*/ 43653 w 46072"/>
              <a:gd name="connsiteY61" fmla="*/ 21098 h 50891"/>
              <a:gd name="connsiteX62" fmla="*/ 45291 w 46072"/>
              <a:gd name="connsiteY62" fmla="*/ 21079 h 50891"/>
              <a:gd name="connsiteX63" fmla="*/ 46073 w 46072"/>
              <a:gd name="connsiteY63" fmla="*/ 21526 h 50891"/>
              <a:gd name="connsiteX64" fmla="*/ 46054 w 46072"/>
              <a:gd name="connsiteY64" fmla="*/ 22184 h 50891"/>
              <a:gd name="connsiteX65" fmla="*/ 45482 w 46072"/>
              <a:gd name="connsiteY65" fmla="*/ 24212 h 50891"/>
              <a:gd name="connsiteX66" fmla="*/ 42491 w 46072"/>
              <a:gd name="connsiteY66" fmla="*/ 30442 h 50891"/>
              <a:gd name="connsiteX67" fmla="*/ 42253 w 46072"/>
              <a:gd name="connsiteY67" fmla="*/ 31728 h 50891"/>
              <a:gd name="connsiteX68" fmla="*/ 40110 w 46072"/>
              <a:gd name="connsiteY68" fmla="*/ 33080 h 50891"/>
              <a:gd name="connsiteX69" fmla="*/ 39814 w 46072"/>
              <a:gd name="connsiteY69" fmla="*/ 33861 h 50891"/>
              <a:gd name="connsiteX70" fmla="*/ 40424 w 46072"/>
              <a:gd name="connsiteY70" fmla="*/ 35566 h 50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46072" h="50891">
                <a:moveTo>
                  <a:pt x="40977" y="36766"/>
                </a:moveTo>
                <a:lnTo>
                  <a:pt x="40939" y="36766"/>
                </a:lnTo>
                <a:lnTo>
                  <a:pt x="36357" y="37767"/>
                </a:lnTo>
                <a:lnTo>
                  <a:pt x="34814" y="38938"/>
                </a:lnTo>
                <a:lnTo>
                  <a:pt x="33900" y="40995"/>
                </a:lnTo>
                <a:lnTo>
                  <a:pt x="33604" y="42053"/>
                </a:lnTo>
                <a:lnTo>
                  <a:pt x="32795" y="42091"/>
                </a:lnTo>
                <a:lnTo>
                  <a:pt x="31452" y="41034"/>
                </a:lnTo>
                <a:lnTo>
                  <a:pt x="29756" y="39376"/>
                </a:lnTo>
                <a:lnTo>
                  <a:pt x="27537" y="39510"/>
                </a:lnTo>
                <a:lnTo>
                  <a:pt x="20012" y="43110"/>
                </a:lnTo>
                <a:lnTo>
                  <a:pt x="19269" y="44996"/>
                </a:lnTo>
                <a:lnTo>
                  <a:pt x="19108" y="49082"/>
                </a:lnTo>
                <a:lnTo>
                  <a:pt x="18593" y="50187"/>
                </a:lnTo>
                <a:lnTo>
                  <a:pt x="17783" y="50892"/>
                </a:lnTo>
                <a:lnTo>
                  <a:pt x="14678" y="50444"/>
                </a:lnTo>
                <a:lnTo>
                  <a:pt x="14345" y="50178"/>
                </a:lnTo>
                <a:lnTo>
                  <a:pt x="14754" y="48616"/>
                </a:lnTo>
                <a:lnTo>
                  <a:pt x="14592" y="45186"/>
                </a:lnTo>
                <a:lnTo>
                  <a:pt x="13183" y="39500"/>
                </a:lnTo>
                <a:lnTo>
                  <a:pt x="12192" y="37643"/>
                </a:lnTo>
                <a:lnTo>
                  <a:pt x="10125" y="35785"/>
                </a:lnTo>
                <a:lnTo>
                  <a:pt x="8525" y="34566"/>
                </a:lnTo>
                <a:lnTo>
                  <a:pt x="5639" y="33480"/>
                </a:lnTo>
                <a:lnTo>
                  <a:pt x="4182" y="30337"/>
                </a:lnTo>
                <a:lnTo>
                  <a:pt x="1981" y="26775"/>
                </a:lnTo>
                <a:lnTo>
                  <a:pt x="924" y="25956"/>
                </a:lnTo>
                <a:lnTo>
                  <a:pt x="1095" y="25603"/>
                </a:lnTo>
                <a:lnTo>
                  <a:pt x="1600" y="22908"/>
                </a:lnTo>
                <a:lnTo>
                  <a:pt x="971" y="20946"/>
                </a:lnTo>
                <a:lnTo>
                  <a:pt x="0" y="19269"/>
                </a:lnTo>
                <a:lnTo>
                  <a:pt x="658" y="18250"/>
                </a:lnTo>
                <a:lnTo>
                  <a:pt x="2686" y="18259"/>
                </a:lnTo>
                <a:lnTo>
                  <a:pt x="4363" y="18450"/>
                </a:lnTo>
                <a:lnTo>
                  <a:pt x="4962" y="16840"/>
                </a:lnTo>
                <a:lnTo>
                  <a:pt x="8420" y="15792"/>
                </a:lnTo>
                <a:lnTo>
                  <a:pt x="11745" y="14697"/>
                </a:lnTo>
                <a:lnTo>
                  <a:pt x="12230" y="13935"/>
                </a:lnTo>
                <a:lnTo>
                  <a:pt x="11468" y="12278"/>
                </a:lnTo>
                <a:lnTo>
                  <a:pt x="11916" y="11239"/>
                </a:lnTo>
                <a:lnTo>
                  <a:pt x="15897" y="8287"/>
                </a:lnTo>
                <a:lnTo>
                  <a:pt x="16545" y="6944"/>
                </a:lnTo>
                <a:lnTo>
                  <a:pt x="16793" y="5896"/>
                </a:lnTo>
                <a:lnTo>
                  <a:pt x="16259" y="4772"/>
                </a:lnTo>
                <a:lnTo>
                  <a:pt x="15507" y="3029"/>
                </a:lnTo>
                <a:lnTo>
                  <a:pt x="15869" y="2286"/>
                </a:lnTo>
                <a:lnTo>
                  <a:pt x="17936" y="1276"/>
                </a:lnTo>
                <a:lnTo>
                  <a:pt x="19621" y="95"/>
                </a:lnTo>
                <a:lnTo>
                  <a:pt x="20612" y="0"/>
                </a:lnTo>
                <a:lnTo>
                  <a:pt x="21231" y="848"/>
                </a:lnTo>
                <a:lnTo>
                  <a:pt x="21231" y="1724"/>
                </a:lnTo>
                <a:lnTo>
                  <a:pt x="21784" y="3200"/>
                </a:lnTo>
                <a:lnTo>
                  <a:pt x="23022" y="4000"/>
                </a:lnTo>
                <a:lnTo>
                  <a:pt x="25079" y="5305"/>
                </a:lnTo>
                <a:lnTo>
                  <a:pt x="27470" y="6191"/>
                </a:lnTo>
                <a:lnTo>
                  <a:pt x="29337" y="7963"/>
                </a:lnTo>
                <a:lnTo>
                  <a:pt x="31899" y="11125"/>
                </a:lnTo>
                <a:lnTo>
                  <a:pt x="32281" y="12687"/>
                </a:lnTo>
                <a:lnTo>
                  <a:pt x="34586" y="14088"/>
                </a:lnTo>
                <a:lnTo>
                  <a:pt x="36719" y="15659"/>
                </a:lnTo>
                <a:lnTo>
                  <a:pt x="36386" y="18564"/>
                </a:lnTo>
                <a:lnTo>
                  <a:pt x="43653" y="21098"/>
                </a:lnTo>
                <a:lnTo>
                  <a:pt x="45291" y="21079"/>
                </a:lnTo>
                <a:lnTo>
                  <a:pt x="46073" y="21526"/>
                </a:lnTo>
                <a:lnTo>
                  <a:pt x="46054" y="22184"/>
                </a:lnTo>
                <a:lnTo>
                  <a:pt x="45482" y="24212"/>
                </a:lnTo>
                <a:lnTo>
                  <a:pt x="42491" y="30442"/>
                </a:lnTo>
                <a:lnTo>
                  <a:pt x="42253" y="31728"/>
                </a:lnTo>
                <a:lnTo>
                  <a:pt x="40110" y="33080"/>
                </a:lnTo>
                <a:lnTo>
                  <a:pt x="39814" y="33861"/>
                </a:lnTo>
                <a:lnTo>
                  <a:pt x="40424" y="35566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4" name="Forme libre : forme 33">
            <a:extLst>
              <a:ext uri="{FF2B5EF4-FFF2-40B4-BE49-F238E27FC236}">
                <a16:creationId xmlns:a16="http://schemas.microsoft.com/office/drawing/2014/main" id="{1CCE078D-32F6-4E6B-6BB9-2545DC28221C}"/>
              </a:ext>
            </a:extLst>
          </p:cNvPr>
          <p:cNvSpPr/>
          <p:nvPr/>
        </p:nvSpPr>
        <p:spPr>
          <a:xfrm>
            <a:off x="5852063" y="3700612"/>
            <a:ext cx="4558" cy="10906"/>
          </a:xfrm>
          <a:custGeom>
            <a:avLst/>
            <a:gdLst>
              <a:gd name="connsiteX0" fmla="*/ 2686 w 3495"/>
              <a:gd name="connsiteY0" fmla="*/ 8363 h 8362"/>
              <a:gd name="connsiteX1" fmla="*/ 610 w 3495"/>
              <a:gd name="connsiteY1" fmla="*/ 8153 h 8362"/>
              <a:gd name="connsiteX2" fmla="*/ 219 w 3495"/>
              <a:gd name="connsiteY2" fmla="*/ 8172 h 8362"/>
              <a:gd name="connsiteX3" fmla="*/ 0 w 3495"/>
              <a:gd name="connsiteY3" fmla="*/ 6791 h 8362"/>
              <a:gd name="connsiteX4" fmla="*/ 124 w 3495"/>
              <a:gd name="connsiteY4" fmla="*/ 3848 h 8362"/>
              <a:gd name="connsiteX5" fmla="*/ 1276 w 3495"/>
              <a:gd name="connsiteY5" fmla="*/ 0 h 8362"/>
              <a:gd name="connsiteX6" fmla="*/ 1524 w 3495"/>
              <a:gd name="connsiteY6" fmla="*/ 629 h 8362"/>
              <a:gd name="connsiteX7" fmla="*/ 1667 w 3495"/>
              <a:gd name="connsiteY7" fmla="*/ 1438 h 8362"/>
              <a:gd name="connsiteX8" fmla="*/ 1905 w 3495"/>
              <a:gd name="connsiteY8" fmla="*/ 2295 h 8362"/>
              <a:gd name="connsiteX9" fmla="*/ 2039 w 3495"/>
              <a:gd name="connsiteY9" fmla="*/ 3343 h 8362"/>
              <a:gd name="connsiteX10" fmla="*/ 2467 w 3495"/>
              <a:gd name="connsiteY10" fmla="*/ 4419 h 8362"/>
              <a:gd name="connsiteX11" fmla="*/ 3248 w 3495"/>
              <a:gd name="connsiteY11" fmla="*/ 5439 h 8362"/>
              <a:gd name="connsiteX12" fmla="*/ 3496 w 3495"/>
              <a:gd name="connsiteY12" fmla="*/ 6410 h 8362"/>
              <a:gd name="connsiteX13" fmla="*/ 3105 w 3495"/>
              <a:gd name="connsiteY13" fmla="*/ 7639 h 8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495" h="8362">
                <a:moveTo>
                  <a:pt x="2686" y="8363"/>
                </a:moveTo>
                <a:lnTo>
                  <a:pt x="610" y="8153"/>
                </a:lnTo>
                <a:lnTo>
                  <a:pt x="219" y="8172"/>
                </a:lnTo>
                <a:lnTo>
                  <a:pt x="0" y="6791"/>
                </a:lnTo>
                <a:lnTo>
                  <a:pt x="124" y="3848"/>
                </a:lnTo>
                <a:lnTo>
                  <a:pt x="1276" y="0"/>
                </a:lnTo>
                <a:lnTo>
                  <a:pt x="1524" y="629"/>
                </a:lnTo>
                <a:lnTo>
                  <a:pt x="1667" y="1438"/>
                </a:lnTo>
                <a:lnTo>
                  <a:pt x="1905" y="2295"/>
                </a:lnTo>
                <a:lnTo>
                  <a:pt x="2039" y="3343"/>
                </a:lnTo>
                <a:lnTo>
                  <a:pt x="2467" y="4419"/>
                </a:lnTo>
                <a:lnTo>
                  <a:pt x="3248" y="5439"/>
                </a:lnTo>
                <a:lnTo>
                  <a:pt x="3496" y="6410"/>
                </a:lnTo>
                <a:lnTo>
                  <a:pt x="3105" y="7639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5" name="Forme libre : forme 34">
            <a:extLst>
              <a:ext uri="{FF2B5EF4-FFF2-40B4-BE49-F238E27FC236}">
                <a16:creationId xmlns:a16="http://schemas.microsoft.com/office/drawing/2014/main" id="{F7D53625-30DA-D7E9-C42B-6F898A076B01}"/>
              </a:ext>
            </a:extLst>
          </p:cNvPr>
          <p:cNvSpPr/>
          <p:nvPr/>
        </p:nvSpPr>
        <p:spPr>
          <a:xfrm>
            <a:off x="6250232" y="3183799"/>
            <a:ext cx="204874" cy="153367"/>
          </a:xfrm>
          <a:custGeom>
            <a:avLst/>
            <a:gdLst>
              <a:gd name="connsiteX0" fmla="*/ 152209 w 157076"/>
              <a:gd name="connsiteY0" fmla="*/ 35500 h 117586"/>
              <a:gd name="connsiteX1" fmla="*/ 152143 w 157076"/>
              <a:gd name="connsiteY1" fmla="*/ 37624 h 117586"/>
              <a:gd name="connsiteX2" fmla="*/ 151495 w 157076"/>
              <a:gd name="connsiteY2" fmla="*/ 41215 h 117586"/>
              <a:gd name="connsiteX3" fmla="*/ 150228 w 157076"/>
              <a:gd name="connsiteY3" fmla="*/ 45844 h 117586"/>
              <a:gd name="connsiteX4" fmla="*/ 148904 w 157076"/>
              <a:gd name="connsiteY4" fmla="*/ 49425 h 117586"/>
              <a:gd name="connsiteX5" fmla="*/ 148580 w 157076"/>
              <a:gd name="connsiteY5" fmla="*/ 50806 h 117586"/>
              <a:gd name="connsiteX6" fmla="*/ 149580 w 157076"/>
              <a:gd name="connsiteY6" fmla="*/ 51959 h 117586"/>
              <a:gd name="connsiteX7" fmla="*/ 154553 w 157076"/>
              <a:gd name="connsiteY7" fmla="*/ 52502 h 117586"/>
              <a:gd name="connsiteX8" fmla="*/ 156667 w 157076"/>
              <a:gd name="connsiteY8" fmla="*/ 53112 h 117586"/>
              <a:gd name="connsiteX9" fmla="*/ 157076 w 157076"/>
              <a:gd name="connsiteY9" fmla="*/ 54064 h 117586"/>
              <a:gd name="connsiteX10" fmla="*/ 155972 w 157076"/>
              <a:gd name="connsiteY10" fmla="*/ 55293 h 117586"/>
              <a:gd name="connsiteX11" fmla="*/ 154381 w 157076"/>
              <a:gd name="connsiteY11" fmla="*/ 56312 h 117586"/>
              <a:gd name="connsiteX12" fmla="*/ 153676 w 157076"/>
              <a:gd name="connsiteY12" fmla="*/ 57283 h 117586"/>
              <a:gd name="connsiteX13" fmla="*/ 152409 w 157076"/>
              <a:gd name="connsiteY13" fmla="*/ 60741 h 117586"/>
              <a:gd name="connsiteX14" fmla="*/ 144142 w 157076"/>
              <a:gd name="connsiteY14" fmla="*/ 60303 h 117586"/>
              <a:gd name="connsiteX15" fmla="*/ 143047 w 157076"/>
              <a:gd name="connsiteY15" fmla="*/ 61008 h 117586"/>
              <a:gd name="connsiteX16" fmla="*/ 142523 w 157076"/>
              <a:gd name="connsiteY16" fmla="*/ 62608 h 117586"/>
              <a:gd name="connsiteX17" fmla="*/ 142113 w 157076"/>
              <a:gd name="connsiteY17" fmla="*/ 64456 h 117586"/>
              <a:gd name="connsiteX18" fmla="*/ 141027 w 157076"/>
              <a:gd name="connsiteY18" fmla="*/ 66647 h 117586"/>
              <a:gd name="connsiteX19" fmla="*/ 138836 w 157076"/>
              <a:gd name="connsiteY19" fmla="*/ 68551 h 117586"/>
              <a:gd name="connsiteX20" fmla="*/ 135398 w 157076"/>
              <a:gd name="connsiteY20" fmla="*/ 69256 h 117586"/>
              <a:gd name="connsiteX21" fmla="*/ 132588 w 157076"/>
              <a:gd name="connsiteY21" fmla="*/ 70552 h 117586"/>
              <a:gd name="connsiteX22" fmla="*/ 130493 w 157076"/>
              <a:gd name="connsiteY22" fmla="*/ 74533 h 117586"/>
              <a:gd name="connsiteX23" fmla="*/ 128931 w 157076"/>
              <a:gd name="connsiteY23" fmla="*/ 79867 h 117586"/>
              <a:gd name="connsiteX24" fmla="*/ 128968 w 157076"/>
              <a:gd name="connsiteY24" fmla="*/ 83639 h 117586"/>
              <a:gd name="connsiteX25" fmla="*/ 129168 w 157076"/>
              <a:gd name="connsiteY25" fmla="*/ 85744 h 117586"/>
              <a:gd name="connsiteX26" fmla="*/ 128987 w 157076"/>
              <a:gd name="connsiteY26" fmla="*/ 86944 h 117586"/>
              <a:gd name="connsiteX27" fmla="*/ 127930 w 157076"/>
              <a:gd name="connsiteY27" fmla="*/ 88249 h 117586"/>
              <a:gd name="connsiteX28" fmla="*/ 126197 w 157076"/>
              <a:gd name="connsiteY28" fmla="*/ 91707 h 117586"/>
              <a:gd name="connsiteX29" fmla="*/ 124787 w 157076"/>
              <a:gd name="connsiteY29" fmla="*/ 95526 h 117586"/>
              <a:gd name="connsiteX30" fmla="*/ 124244 w 157076"/>
              <a:gd name="connsiteY30" fmla="*/ 97593 h 117586"/>
              <a:gd name="connsiteX31" fmla="*/ 124511 w 157076"/>
              <a:gd name="connsiteY31" fmla="*/ 98565 h 117586"/>
              <a:gd name="connsiteX32" fmla="*/ 126102 w 157076"/>
              <a:gd name="connsiteY32" fmla="*/ 98593 h 117586"/>
              <a:gd name="connsiteX33" fmla="*/ 128397 w 157076"/>
              <a:gd name="connsiteY33" fmla="*/ 99374 h 117586"/>
              <a:gd name="connsiteX34" fmla="*/ 129616 w 157076"/>
              <a:gd name="connsiteY34" fmla="*/ 100898 h 117586"/>
              <a:gd name="connsiteX35" fmla="*/ 130064 w 157076"/>
              <a:gd name="connsiteY35" fmla="*/ 102661 h 117586"/>
              <a:gd name="connsiteX36" fmla="*/ 130064 w 157076"/>
              <a:gd name="connsiteY36" fmla="*/ 104547 h 117586"/>
              <a:gd name="connsiteX37" fmla="*/ 129635 w 157076"/>
              <a:gd name="connsiteY37" fmla="*/ 105585 h 117586"/>
              <a:gd name="connsiteX38" fmla="*/ 127797 w 157076"/>
              <a:gd name="connsiteY38" fmla="*/ 106337 h 117586"/>
              <a:gd name="connsiteX39" fmla="*/ 124920 w 157076"/>
              <a:gd name="connsiteY39" fmla="*/ 106366 h 117586"/>
              <a:gd name="connsiteX40" fmla="*/ 123244 w 157076"/>
              <a:gd name="connsiteY40" fmla="*/ 105470 h 117586"/>
              <a:gd name="connsiteX41" fmla="*/ 122901 w 157076"/>
              <a:gd name="connsiteY41" fmla="*/ 104756 h 117586"/>
              <a:gd name="connsiteX42" fmla="*/ 123701 w 157076"/>
              <a:gd name="connsiteY42" fmla="*/ 102937 h 117586"/>
              <a:gd name="connsiteX43" fmla="*/ 123120 w 157076"/>
              <a:gd name="connsiteY43" fmla="*/ 100660 h 117586"/>
              <a:gd name="connsiteX44" fmla="*/ 121930 w 157076"/>
              <a:gd name="connsiteY44" fmla="*/ 99393 h 117586"/>
              <a:gd name="connsiteX45" fmla="*/ 119510 w 157076"/>
              <a:gd name="connsiteY45" fmla="*/ 101289 h 117586"/>
              <a:gd name="connsiteX46" fmla="*/ 117186 w 157076"/>
              <a:gd name="connsiteY46" fmla="*/ 101289 h 117586"/>
              <a:gd name="connsiteX47" fmla="*/ 114405 w 157076"/>
              <a:gd name="connsiteY47" fmla="*/ 102984 h 117586"/>
              <a:gd name="connsiteX48" fmla="*/ 112586 w 157076"/>
              <a:gd name="connsiteY48" fmla="*/ 105689 h 117586"/>
              <a:gd name="connsiteX49" fmla="*/ 110843 w 157076"/>
              <a:gd name="connsiteY49" fmla="*/ 106680 h 117586"/>
              <a:gd name="connsiteX50" fmla="*/ 106118 w 157076"/>
              <a:gd name="connsiteY50" fmla="*/ 106128 h 117586"/>
              <a:gd name="connsiteX51" fmla="*/ 104947 w 157076"/>
              <a:gd name="connsiteY51" fmla="*/ 107318 h 117586"/>
              <a:gd name="connsiteX52" fmla="*/ 103965 w 157076"/>
              <a:gd name="connsiteY52" fmla="*/ 112805 h 117586"/>
              <a:gd name="connsiteX53" fmla="*/ 103404 w 157076"/>
              <a:gd name="connsiteY53" fmla="*/ 113872 h 117586"/>
              <a:gd name="connsiteX54" fmla="*/ 99460 w 157076"/>
              <a:gd name="connsiteY54" fmla="*/ 113643 h 117586"/>
              <a:gd name="connsiteX55" fmla="*/ 95659 w 157076"/>
              <a:gd name="connsiteY55" fmla="*/ 115824 h 117586"/>
              <a:gd name="connsiteX56" fmla="*/ 91364 w 157076"/>
              <a:gd name="connsiteY56" fmla="*/ 117586 h 117586"/>
              <a:gd name="connsiteX57" fmla="*/ 89192 w 157076"/>
              <a:gd name="connsiteY57" fmla="*/ 116367 h 117586"/>
              <a:gd name="connsiteX58" fmla="*/ 87982 w 157076"/>
              <a:gd name="connsiteY58" fmla="*/ 114986 h 117586"/>
              <a:gd name="connsiteX59" fmla="*/ 85639 w 157076"/>
              <a:gd name="connsiteY59" fmla="*/ 115233 h 117586"/>
              <a:gd name="connsiteX60" fmla="*/ 83087 w 157076"/>
              <a:gd name="connsiteY60" fmla="*/ 115843 h 117586"/>
              <a:gd name="connsiteX61" fmla="*/ 81372 w 157076"/>
              <a:gd name="connsiteY61" fmla="*/ 115510 h 117586"/>
              <a:gd name="connsiteX62" fmla="*/ 79448 w 157076"/>
              <a:gd name="connsiteY62" fmla="*/ 115662 h 117586"/>
              <a:gd name="connsiteX63" fmla="*/ 75733 w 157076"/>
              <a:gd name="connsiteY63" fmla="*/ 116719 h 117586"/>
              <a:gd name="connsiteX64" fmla="*/ 71066 w 157076"/>
              <a:gd name="connsiteY64" fmla="*/ 116377 h 117586"/>
              <a:gd name="connsiteX65" fmla="*/ 69075 w 157076"/>
              <a:gd name="connsiteY65" fmla="*/ 115472 h 117586"/>
              <a:gd name="connsiteX66" fmla="*/ 68885 w 157076"/>
              <a:gd name="connsiteY66" fmla="*/ 114605 h 117586"/>
              <a:gd name="connsiteX67" fmla="*/ 69028 w 157076"/>
              <a:gd name="connsiteY67" fmla="*/ 112471 h 117586"/>
              <a:gd name="connsiteX68" fmla="*/ 68980 w 157076"/>
              <a:gd name="connsiteY68" fmla="*/ 109156 h 117586"/>
              <a:gd name="connsiteX69" fmla="*/ 68237 w 157076"/>
              <a:gd name="connsiteY69" fmla="*/ 106223 h 117586"/>
              <a:gd name="connsiteX70" fmla="*/ 65999 w 157076"/>
              <a:gd name="connsiteY70" fmla="*/ 103632 h 117586"/>
              <a:gd name="connsiteX71" fmla="*/ 63655 w 157076"/>
              <a:gd name="connsiteY71" fmla="*/ 101813 h 117586"/>
              <a:gd name="connsiteX72" fmla="*/ 60665 w 157076"/>
              <a:gd name="connsiteY72" fmla="*/ 99936 h 117586"/>
              <a:gd name="connsiteX73" fmla="*/ 58455 w 157076"/>
              <a:gd name="connsiteY73" fmla="*/ 99117 h 117586"/>
              <a:gd name="connsiteX74" fmla="*/ 57245 w 157076"/>
              <a:gd name="connsiteY74" fmla="*/ 98908 h 117586"/>
              <a:gd name="connsiteX75" fmla="*/ 56969 w 157076"/>
              <a:gd name="connsiteY75" fmla="*/ 97822 h 117586"/>
              <a:gd name="connsiteX76" fmla="*/ 56531 w 157076"/>
              <a:gd name="connsiteY76" fmla="*/ 96879 h 117586"/>
              <a:gd name="connsiteX77" fmla="*/ 55493 w 157076"/>
              <a:gd name="connsiteY77" fmla="*/ 96060 h 117586"/>
              <a:gd name="connsiteX78" fmla="*/ 53283 w 157076"/>
              <a:gd name="connsiteY78" fmla="*/ 94955 h 117586"/>
              <a:gd name="connsiteX79" fmla="*/ 51406 w 157076"/>
              <a:gd name="connsiteY79" fmla="*/ 94717 h 117586"/>
              <a:gd name="connsiteX80" fmla="*/ 49873 w 157076"/>
              <a:gd name="connsiteY80" fmla="*/ 96498 h 117586"/>
              <a:gd name="connsiteX81" fmla="*/ 48749 w 157076"/>
              <a:gd name="connsiteY81" fmla="*/ 94269 h 117586"/>
              <a:gd name="connsiteX82" fmla="*/ 47558 w 157076"/>
              <a:gd name="connsiteY82" fmla="*/ 90259 h 117586"/>
              <a:gd name="connsiteX83" fmla="*/ 47682 w 157076"/>
              <a:gd name="connsiteY83" fmla="*/ 87049 h 117586"/>
              <a:gd name="connsiteX84" fmla="*/ 48359 w 157076"/>
              <a:gd name="connsiteY84" fmla="*/ 83839 h 117586"/>
              <a:gd name="connsiteX85" fmla="*/ 51606 w 157076"/>
              <a:gd name="connsiteY85" fmla="*/ 74324 h 117586"/>
              <a:gd name="connsiteX86" fmla="*/ 51435 w 157076"/>
              <a:gd name="connsiteY86" fmla="*/ 72800 h 117586"/>
              <a:gd name="connsiteX87" fmla="*/ 49073 w 157076"/>
              <a:gd name="connsiteY87" fmla="*/ 70133 h 117586"/>
              <a:gd name="connsiteX88" fmla="*/ 46158 w 157076"/>
              <a:gd name="connsiteY88" fmla="*/ 68189 h 117586"/>
              <a:gd name="connsiteX89" fmla="*/ 44548 w 157076"/>
              <a:gd name="connsiteY89" fmla="*/ 64075 h 117586"/>
              <a:gd name="connsiteX90" fmla="*/ 38643 w 157076"/>
              <a:gd name="connsiteY90" fmla="*/ 63837 h 117586"/>
              <a:gd name="connsiteX91" fmla="*/ 33071 w 157076"/>
              <a:gd name="connsiteY91" fmla="*/ 64065 h 117586"/>
              <a:gd name="connsiteX92" fmla="*/ 31318 w 157076"/>
              <a:gd name="connsiteY92" fmla="*/ 63865 h 117586"/>
              <a:gd name="connsiteX93" fmla="*/ 26013 w 157076"/>
              <a:gd name="connsiteY93" fmla="*/ 62141 h 117586"/>
              <a:gd name="connsiteX94" fmla="*/ 20898 w 157076"/>
              <a:gd name="connsiteY94" fmla="*/ 59360 h 117586"/>
              <a:gd name="connsiteX95" fmla="*/ 17479 w 157076"/>
              <a:gd name="connsiteY95" fmla="*/ 57731 h 117586"/>
              <a:gd name="connsiteX96" fmla="*/ 14602 w 157076"/>
              <a:gd name="connsiteY96" fmla="*/ 55902 h 117586"/>
              <a:gd name="connsiteX97" fmla="*/ 13049 w 157076"/>
              <a:gd name="connsiteY97" fmla="*/ 53978 h 117586"/>
              <a:gd name="connsiteX98" fmla="*/ 10601 w 157076"/>
              <a:gd name="connsiteY98" fmla="*/ 54493 h 117586"/>
              <a:gd name="connsiteX99" fmla="*/ 8944 w 157076"/>
              <a:gd name="connsiteY99" fmla="*/ 54512 h 117586"/>
              <a:gd name="connsiteX100" fmla="*/ 8963 w 157076"/>
              <a:gd name="connsiteY100" fmla="*/ 54178 h 117586"/>
              <a:gd name="connsiteX101" fmla="*/ 8020 w 157076"/>
              <a:gd name="connsiteY101" fmla="*/ 50778 h 117586"/>
              <a:gd name="connsiteX102" fmla="*/ 9010 w 157076"/>
              <a:gd name="connsiteY102" fmla="*/ 45558 h 117586"/>
              <a:gd name="connsiteX103" fmla="*/ 7220 w 157076"/>
              <a:gd name="connsiteY103" fmla="*/ 37881 h 117586"/>
              <a:gd name="connsiteX104" fmla="*/ 4296 w 157076"/>
              <a:gd name="connsiteY104" fmla="*/ 28613 h 117586"/>
              <a:gd name="connsiteX105" fmla="*/ 4086 w 157076"/>
              <a:gd name="connsiteY105" fmla="*/ 18640 h 117586"/>
              <a:gd name="connsiteX106" fmla="*/ 3877 w 157076"/>
              <a:gd name="connsiteY106" fmla="*/ 16393 h 117586"/>
              <a:gd name="connsiteX107" fmla="*/ 11059 w 157076"/>
              <a:gd name="connsiteY107" fmla="*/ 10735 h 117586"/>
              <a:gd name="connsiteX108" fmla="*/ 20117 w 157076"/>
              <a:gd name="connsiteY108" fmla="*/ 4667 h 117586"/>
              <a:gd name="connsiteX109" fmla="*/ 22174 w 157076"/>
              <a:gd name="connsiteY109" fmla="*/ 4115 h 117586"/>
              <a:gd name="connsiteX110" fmla="*/ 30518 w 157076"/>
              <a:gd name="connsiteY110" fmla="*/ 515 h 117586"/>
              <a:gd name="connsiteX111" fmla="*/ 31632 w 157076"/>
              <a:gd name="connsiteY111" fmla="*/ 229 h 117586"/>
              <a:gd name="connsiteX112" fmla="*/ 39157 w 157076"/>
              <a:gd name="connsiteY112" fmla="*/ 895 h 117586"/>
              <a:gd name="connsiteX113" fmla="*/ 45063 w 157076"/>
              <a:gd name="connsiteY113" fmla="*/ 1753 h 117586"/>
              <a:gd name="connsiteX114" fmla="*/ 50044 w 157076"/>
              <a:gd name="connsiteY114" fmla="*/ 1648 h 117586"/>
              <a:gd name="connsiteX115" fmla="*/ 52778 w 157076"/>
              <a:gd name="connsiteY115" fmla="*/ 724 h 117586"/>
              <a:gd name="connsiteX116" fmla="*/ 55255 w 157076"/>
              <a:gd name="connsiteY116" fmla="*/ 1496 h 117586"/>
              <a:gd name="connsiteX117" fmla="*/ 57245 w 157076"/>
              <a:gd name="connsiteY117" fmla="*/ 4210 h 117586"/>
              <a:gd name="connsiteX118" fmla="*/ 59303 w 157076"/>
              <a:gd name="connsiteY118" fmla="*/ 3886 h 117586"/>
              <a:gd name="connsiteX119" fmla="*/ 61332 w 157076"/>
              <a:gd name="connsiteY119" fmla="*/ 2134 h 117586"/>
              <a:gd name="connsiteX120" fmla="*/ 72476 w 157076"/>
              <a:gd name="connsiteY120" fmla="*/ 3734 h 117586"/>
              <a:gd name="connsiteX121" fmla="*/ 74990 w 157076"/>
              <a:gd name="connsiteY121" fmla="*/ 3696 h 117586"/>
              <a:gd name="connsiteX122" fmla="*/ 77819 w 157076"/>
              <a:gd name="connsiteY122" fmla="*/ 3953 h 117586"/>
              <a:gd name="connsiteX123" fmla="*/ 83039 w 157076"/>
              <a:gd name="connsiteY123" fmla="*/ 5582 h 117586"/>
              <a:gd name="connsiteX124" fmla="*/ 86049 w 157076"/>
              <a:gd name="connsiteY124" fmla="*/ 7077 h 117586"/>
              <a:gd name="connsiteX125" fmla="*/ 92659 w 157076"/>
              <a:gd name="connsiteY125" fmla="*/ 6172 h 117586"/>
              <a:gd name="connsiteX126" fmla="*/ 95488 w 157076"/>
              <a:gd name="connsiteY126" fmla="*/ 6125 h 117586"/>
              <a:gd name="connsiteX127" fmla="*/ 96964 w 157076"/>
              <a:gd name="connsiteY127" fmla="*/ 5534 h 117586"/>
              <a:gd name="connsiteX128" fmla="*/ 101527 w 157076"/>
              <a:gd name="connsiteY128" fmla="*/ 1438 h 117586"/>
              <a:gd name="connsiteX129" fmla="*/ 103498 w 157076"/>
              <a:gd name="connsiteY129" fmla="*/ 733 h 117586"/>
              <a:gd name="connsiteX130" fmla="*/ 105308 w 157076"/>
              <a:gd name="connsiteY130" fmla="*/ 0 h 117586"/>
              <a:gd name="connsiteX131" fmla="*/ 106966 w 157076"/>
              <a:gd name="connsiteY131" fmla="*/ 619 h 117586"/>
              <a:gd name="connsiteX132" fmla="*/ 108052 w 157076"/>
              <a:gd name="connsiteY132" fmla="*/ 4115 h 117586"/>
              <a:gd name="connsiteX133" fmla="*/ 111423 w 157076"/>
              <a:gd name="connsiteY133" fmla="*/ 10125 h 117586"/>
              <a:gd name="connsiteX134" fmla="*/ 115091 w 157076"/>
              <a:gd name="connsiteY134" fmla="*/ 11182 h 117586"/>
              <a:gd name="connsiteX135" fmla="*/ 125216 w 157076"/>
              <a:gd name="connsiteY135" fmla="*/ 13488 h 117586"/>
              <a:gd name="connsiteX136" fmla="*/ 127282 w 157076"/>
              <a:gd name="connsiteY136" fmla="*/ 14697 h 117586"/>
              <a:gd name="connsiteX137" fmla="*/ 132979 w 157076"/>
              <a:gd name="connsiteY137" fmla="*/ 19974 h 117586"/>
              <a:gd name="connsiteX138" fmla="*/ 136398 w 157076"/>
              <a:gd name="connsiteY138" fmla="*/ 22555 h 117586"/>
              <a:gd name="connsiteX139" fmla="*/ 138569 w 157076"/>
              <a:gd name="connsiteY139" fmla="*/ 24613 h 117586"/>
              <a:gd name="connsiteX140" fmla="*/ 141884 w 157076"/>
              <a:gd name="connsiteY140" fmla="*/ 28642 h 117586"/>
              <a:gd name="connsiteX141" fmla="*/ 143799 w 157076"/>
              <a:gd name="connsiteY141" fmla="*/ 31566 h 117586"/>
              <a:gd name="connsiteX142" fmla="*/ 146999 w 157076"/>
              <a:gd name="connsiteY142" fmla="*/ 33776 h 117586"/>
              <a:gd name="connsiteX143" fmla="*/ 150790 w 157076"/>
              <a:gd name="connsiteY143" fmla="*/ 35262 h 117586"/>
              <a:gd name="connsiteX144" fmla="*/ 152209 w 157076"/>
              <a:gd name="connsiteY144" fmla="*/ 35500 h 117586"/>
              <a:gd name="connsiteX145" fmla="*/ 1553 w 157076"/>
              <a:gd name="connsiteY145" fmla="*/ 53788 h 117586"/>
              <a:gd name="connsiteX146" fmla="*/ 0 w 157076"/>
              <a:gd name="connsiteY146" fmla="*/ 53426 h 117586"/>
              <a:gd name="connsiteX147" fmla="*/ 3057 w 157076"/>
              <a:gd name="connsiteY147" fmla="*/ 48016 h 117586"/>
              <a:gd name="connsiteX148" fmla="*/ 4229 w 157076"/>
              <a:gd name="connsiteY148" fmla="*/ 44491 h 117586"/>
              <a:gd name="connsiteX149" fmla="*/ 5039 w 157076"/>
              <a:gd name="connsiteY149" fmla="*/ 39481 h 117586"/>
              <a:gd name="connsiteX150" fmla="*/ 5753 w 157076"/>
              <a:gd name="connsiteY150" fmla="*/ 37900 h 117586"/>
              <a:gd name="connsiteX151" fmla="*/ 5772 w 157076"/>
              <a:gd name="connsiteY151" fmla="*/ 40177 h 117586"/>
              <a:gd name="connsiteX152" fmla="*/ 5458 w 157076"/>
              <a:gd name="connsiteY152" fmla="*/ 43967 h 117586"/>
              <a:gd name="connsiteX153" fmla="*/ 3524 w 157076"/>
              <a:gd name="connsiteY153" fmla="*/ 50416 h 117586"/>
              <a:gd name="connsiteX154" fmla="*/ 1553 w 157076"/>
              <a:gd name="connsiteY154" fmla="*/ 53788 h 117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157076" h="117586">
                <a:moveTo>
                  <a:pt x="152209" y="35500"/>
                </a:moveTo>
                <a:lnTo>
                  <a:pt x="152143" y="37624"/>
                </a:lnTo>
                <a:lnTo>
                  <a:pt x="151495" y="41215"/>
                </a:lnTo>
                <a:lnTo>
                  <a:pt x="150228" y="45844"/>
                </a:lnTo>
                <a:lnTo>
                  <a:pt x="148904" y="49425"/>
                </a:lnTo>
                <a:lnTo>
                  <a:pt x="148580" y="50806"/>
                </a:lnTo>
                <a:lnTo>
                  <a:pt x="149580" y="51959"/>
                </a:lnTo>
                <a:lnTo>
                  <a:pt x="154553" y="52502"/>
                </a:lnTo>
                <a:lnTo>
                  <a:pt x="156667" y="53112"/>
                </a:lnTo>
                <a:lnTo>
                  <a:pt x="157076" y="54064"/>
                </a:lnTo>
                <a:lnTo>
                  <a:pt x="155972" y="55293"/>
                </a:lnTo>
                <a:lnTo>
                  <a:pt x="154381" y="56312"/>
                </a:lnTo>
                <a:lnTo>
                  <a:pt x="153676" y="57283"/>
                </a:lnTo>
                <a:lnTo>
                  <a:pt x="152409" y="60741"/>
                </a:lnTo>
                <a:lnTo>
                  <a:pt x="144142" y="60303"/>
                </a:lnTo>
                <a:lnTo>
                  <a:pt x="143047" y="61008"/>
                </a:lnTo>
                <a:lnTo>
                  <a:pt x="142523" y="62608"/>
                </a:lnTo>
                <a:lnTo>
                  <a:pt x="142113" y="64456"/>
                </a:lnTo>
                <a:lnTo>
                  <a:pt x="141027" y="66647"/>
                </a:lnTo>
                <a:lnTo>
                  <a:pt x="138836" y="68551"/>
                </a:lnTo>
                <a:lnTo>
                  <a:pt x="135398" y="69256"/>
                </a:lnTo>
                <a:lnTo>
                  <a:pt x="132588" y="70552"/>
                </a:lnTo>
                <a:lnTo>
                  <a:pt x="130493" y="74533"/>
                </a:lnTo>
                <a:lnTo>
                  <a:pt x="128931" y="79867"/>
                </a:lnTo>
                <a:lnTo>
                  <a:pt x="128968" y="83639"/>
                </a:lnTo>
                <a:lnTo>
                  <a:pt x="129168" y="85744"/>
                </a:lnTo>
                <a:lnTo>
                  <a:pt x="128987" y="86944"/>
                </a:lnTo>
                <a:lnTo>
                  <a:pt x="127930" y="88249"/>
                </a:lnTo>
                <a:lnTo>
                  <a:pt x="126197" y="91707"/>
                </a:lnTo>
                <a:lnTo>
                  <a:pt x="124787" y="95526"/>
                </a:lnTo>
                <a:lnTo>
                  <a:pt x="124244" y="97593"/>
                </a:lnTo>
                <a:lnTo>
                  <a:pt x="124511" y="98565"/>
                </a:lnTo>
                <a:lnTo>
                  <a:pt x="126102" y="98593"/>
                </a:lnTo>
                <a:lnTo>
                  <a:pt x="128397" y="99374"/>
                </a:lnTo>
                <a:lnTo>
                  <a:pt x="129616" y="100898"/>
                </a:lnTo>
                <a:lnTo>
                  <a:pt x="130064" y="102661"/>
                </a:lnTo>
                <a:lnTo>
                  <a:pt x="130064" y="104547"/>
                </a:lnTo>
                <a:lnTo>
                  <a:pt x="129635" y="105585"/>
                </a:lnTo>
                <a:lnTo>
                  <a:pt x="127797" y="106337"/>
                </a:lnTo>
                <a:lnTo>
                  <a:pt x="124920" y="106366"/>
                </a:lnTo>
                <a:lnTo>
                  <a:pt x="123244" y="105470"/>
                </a:lnTo>
                <a:lnTo>
                  <a:pt x="122901" y="104756"/>
                </a:lnTo>
                <a:lnTo>
                  <a:pt x="123701" y="102937"/>
                </a:lnTo>
                <a:lnTo>
                  <a:pt x="123120" y="100660"/>
                </a:lnTo>
                <a:lnTo>
                  <a:pt x="121930" y="99393"/>
                </a:lnTo>
                <a:lnTo>
                  <a:pt x="119510" y="101289"/>
                </a:lnTo>
                <a:lnTo>
                  <a:pt x="117186" y="101289"/>
                </a:lnTo>
                <a:lnTo>
                  <a:pt x="114405" y="102984"/>
                </a:lnTo>
                <a:lnTo>
                  <a:pt x="112586" y="105689"/>
                </a:lnTo>
                <a:lnTo>
                  <a:pt x="110843" y="106680"/>
                </a:lnTo>
                <a:lnTo>
                  <a:pt x="106118" y="106128"/>
                </a:lnTo>
                <a:lnTo>
                  <a:pt x="104947" y="107318"/>
                </a:lnTo>
                <a:lnTo>
                  <a:pt x="103965" y="112805"/>
                </a:lnTo>
                <a:lnTo>
                  <a:pt x="103404" y="113872"/>
                </a:lnTo>
                <a:lnTo>
                  <a:pt x="99460" y="113643"/>
                </a:lnTo>
                <a:lnTo>
                  <a:pt x="95659" y="115824"/>
                </a:lnTo>
                <a:lnTo>
                  <a:pt x="91364" y="117586"/>
                </a:lnTo>
                <a:lnTo>
                  <a:pt x="89192" y="116367"/>
                </a:lnTo>
                <a:lnTo>
                  <a:pt x="87982" y="114986"/>
                </a:lnTo>
                <a:lnTo>
                  <a:pt x="85639" y="115233"/>
                </a:lnTo>
                <a:lnTo>
                  <a:pt x="83087" y="115843"/>
                </a:lnTo>
                <a:lnTo>
                  <a:pt x="81372" y="115510"/>
                </a:lnTo>
                <a:lnTo>
                  <a:pt x="79448" y="115662"/>
                </a:lnTo>
                <a:lnTo>
                  <a:pt x="75733" y="116719"/>
                </a:lnTo>
                <a:lnTo>
                  <a:pt x="71066" y="116377"/>
                </a:lnTo>
                <a:lnTo>
                  <a:pt x="69075" y="115472"/>
                </a:lnTo>
                <a:lnTo>
                  <a:pt x="68885" y="114605"/>
                </a:lnTo>
                <a:lnTo>
                  <a:pt x="69028" y="112471"/>
                </a:lnTo>
                <a:lnTo>
                  <a:pt x="68980" y="109156"/>
                </a:lnTo>
                <a:lnTo>
                  <a:pt x="68237" y="106223"/>
                </a:lnTo>
                <a:lnTo>
                  <a:pt x="65999" y="103632"/>
                </a:lnTo>
                <a:lnTo>
                  <a:pt x="63655" y="101813"/>
                </a:lnTo>
                <a:lnTo>
                  <a:pt x="60665" y="99936"/>
                </a:lnTo>
                <a:lnTo>
                  <a:pt x="58455" y="99117"/>
                </a:lnTo>
                <a:lnTo>
                  <a:pt x="57245" y="98908"/>
                </a:lnTo>
                <a:lnTo>
                  <a:pt x="56969" y="97822"/>
                </a:lnTo>
                <a:lnTo>
                  <a:pt x="56531" y="96879"/>
                </a:lnTo>
                <a:lnTo>
                  <a:pt x="55493" y="96060"/>
                </a:lnTo>
                <a:lnTo>
                  <a:pt x="53283" y="94955"/>
                </a:lnTo>
                <a:lnTo>
                  <a:pt x="51406" y="94717"/>
                </a:lnTo>
                <a:lnTo>
                  <a:pt x="49873" y="96498"/>
                </a:lnTo>
                <a:lnTo>
                  <a:pt x="48749" y="94269"/>
                </a:lnTo>
                <a:lnTo>
                  <a:pt x="47558" y="90259"/>
                </a:lnTo>
                <a:lnTo>
                  <a:pt x="47682" y="87049"/>
                </a:lnTo>
                <a:lnTo>
                  <a:pt x="48359" y="83839"/>
                </a:lnTo>
                <a:lnTo>
                  <a:pt x="51606" y="74324"/>
                </a:lnTo>
                <a:lnTo>
                  <a:pt x="51435" y="72800"/>
                </a:lnTo>
                <a:lnTo>
                  <a:pt x="49073" y="70133"/>
                </a:lnTo>
                <a:lnTo>
                  <a:pt x="46158" y="68189"/>
                </a:lnTo>
                <a:lnTo>
                  <a:pt x="44548" y="64075"/>
                </a:lnTo>
                <a:lnTo>
                  <a:pt x="38643" y="63837"/>
                </a:lnTo>
                <a:lnTo>
                  <a:pt x="33071" y="64065"/>
                </a:lnTo>
                <a:lnTo>
                  <a:pt x="31318" y="63865"/>
                </a:lnTo>
                <a:lnTo>
                  <a:pt x="26013" y="62141"/>
                </a:lnTo>
                <a:lnTo>
                  <a:pt x="20898" y="59360"/>
                </a:lnTo>
                <a:lnTo>
                  <a:pt x="17479" y="57731"/>
                </a:lnTo>
                <a:lnTo>
                  <a:pt x="14602" y="55902"/>
                </a:lnTo>
                <a:lnTo>
                  <a:pt x="13049" y="53978"/>
                </a:lnTo>
                <a:lnTo>
                  <a:pt x="10601" y="54493"/>
                </a:lnTo>
                <a:lnTo>
                  <a:pt x="8944" y="54512"/>
                </a:lnTo>
                <a:lnTo>
                  <a:pt x="8963" y="54178"/>
                </a:lnTo>
                <a:lnTo>
                  <a:pt x="8020" y="50778"/>
                </a:lnTo>
                <a:lnTo>
                  <a:pt x="9010" y="45558"/>
                </a:lnTo>
                <a:lnTo>
                  <a:pt x="7220" y="37881"/>
                </a:lnTo>
                <a:lnTo>
                  <a:pt x="4296" y="28613"/>
                </a:lnTo>
                <a:lnTo>
                  <a:pt x="4086" y="18640"/>
                </a:lnTo>
                <a:lnTo>
                  <a:pt x="3877" y="16393"/>
                </a:lnTo>
                <a:lnTo>
                  <a:pt x="11059" y="10735"/>
                </a:lnTo>
                <a:lnTo>
                  <a:pt x="20117" y="4667"/>
                </a:lnTo>
                <a:lnTo>
                  <a:pt x="22174" y="4115"/>
                </a:lnTo>
                <a:lnTo>
                  <a:pt x="30518" y="515"/>
                </a:lnTo>
                <a:lnTo>
                  <a:pt x="31632" y="229"/>
                </a:lnTo>
                <a:lnTo>
                  <a:pt x="39157" y="895"/>
                </a:lnTo>
                <a:lnTo>
                  <a:pt x="45063" y="1753"/>
                </a:lnTo>
                <a:lnTo>
                  <a:pt x="50044" y="1648"/>
                </a:lnTo>
                <a:lnTo>
                  <a:pt x="52778" y="724"/>
                </a:lnTo>
                <a:lnTo>
                  <a:pt x="55255" y="1496"/>
                </a:lnTo>
                <a:lnTo>
                  <a:pt x="57245" y="4210"/>
                </a:lnTo>
                <a:lnTo>
                  <a:pt x="59303" y="3886"/>
                </a:lnTo>
                <a:lnTo>
                  <a:pt x="61332" y="2134"/>
                </a:lnTo>
                <a:lnTo>
                  <a:pt x="72476" y="3734"/>
                </a:lnTo>
                <a:lnTo>
                  <a:pt x="74990" y="3696"/>
                </a:lnTo>
                <a:lnTo>
                  <a:pt x="77819" y="3953"/>
                </a:lnTo>
                <a:lnTo>
                  <a:pt x="83039" y="5582"/>
                </a:lnTo>
                <a:lnTo>
                  <a:pt x="86049" y="7077"/>
                </a:lnTo>
                <a:lnTo>
                  <a:pt x="92659" y="6172"/>
                </a:lnTo>
                <a:lnTo>
                  <a:pt x="95488" y="6125"/>
                </a:lnTo>
                <a:lnTo>
                  <a:pt x="96964" y="5534"/>
                </a:lnTo>
                <a:lnTo>
                  <a:pt x="101527" y="1438"/>
                </a:lnTo>
                <a:lnTo>
                  <a:pt x="103498" y="733"/>
                </a:lnTo>
                <a:lnTo>
                  <a:pt x="105308" y="0"/>
                </a:lnTo>
                <a:lnTo>
                  <a:pt x="106966" y="619"/>
                </a:lnTo>
                <a:lnTo>
                  <a:pt x="108052" y="4115"/>
                </a:lnTo>
                <a:lnTo>
                  <a:pt x="111423" y="10125"/>
                </a:lnTo>
                <a:lnTo>
                  <a:pt x="115091" y="11182"/>
                </a:lnTo>
                <a:lnTo>
                  <a:pt x="125216" y="13488"/>
                </a:lnTo>
                <a:lnTo>
                  <a:pt x="127282" y="14697"/>
                </a:lnTo>
                <a:lnTo>
                  <a:pt x="132979" y="19974"/>
                </a:lnTo>
                <a:lnTo>
                  <a:pt x="136398" y="22555"/>
                </a:lnTo>
                <a:lnTo>
                  <a:pt x="138569" y="24613"/>
                </a:lnTo>
                <a:lnTo>
                  <a:pt x="141884" y="28642"/>
                </a:lnTo>
                <a:lnTo>
                  <a:pt x="143799" y="31566"/>
                </a:lnTo>
                <a:lnTo>
                  <a:pt x="146999" y="33776"/>
                </a:lnTo>
                <a:lnTo>
                  <a:pt x="150790" y="35262"/>
                </a:lnTo>
                <a:lnTo>
                  <a:pt x="152209" y="35500"/>
                </a:lnTo>
                <a:close/>
                <a:moveTo>
                  <a:pt x="1553" y="53788"/>
                </a:moveTo>
                <a:lnTo>
                  <a:pt x="0" y="53426"/>
                </a:lnTo>
                <a:lnTo>
                  <a:pt x="3057" y="48016"/>
                </a:lnTo>
                <a:lnTo>
                  <a:pt x="4229" y="44491"/>
                </a:lnTo>
                <a:lnTo>
                  <a:pt x="5039" y="39481"/>
                </a:lnTo>
                <a:lnTo>
                  <a:pt x="5753" y="37900"/>
                </a:lnTo>
                <a:lnTo>
                  <a:pt x="5772" y="40177"/>
                </a:lnTo>
                <a:lnTo>
                  <a:pt x="5458" y="43967"/>
                </a:lnTo>
                <a:lnTo>
                  <a:pt x="3524" y="50416"/>
                </a:lnTo>
                <a:lnTo>
                  <a:pt x="1553" y="53788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6" name="Forme libre : forme 35">
            <a:extLst>
              <a:ext uri="{FF2B5EF4-FFF2-40B4-BE49-F238E27FC236}">
                <a16:creationId xmlns:a16="http://schemas.microsoft.com/office/drawing/2014/main" id="{25178E52-EA94-18C2-07D5-5DAF6A01C223}"/>
              </a:ext>
            </a:extLst>
          </p:cNvPr>
          <p:cNvSpPr/>
          <p:nvPr/>
        </p:nvSpPr>
        <p:spPr>
          <a:xfrm>
            <a:off x="5721157" y="3547929"/>
            <a:ext cx="26797" cy="38885"/>
          </a:xfrm>
          <a:custGeom>
            <a:avLst/>
            <a:gdLst>
              <a:gd name="connsiteX0" fmla="*/ 10458 w 20545"/>
              <a:gd name="connsiteY0" fmla="*/ 1924 h 29813"/>
              <a:gd name="connsiteX1" fmla="*/ 10249 w 20545"/>
              <a:gd name="connsiteY1" fmla="*/ 3038 h 29813"/>
              <a:gd name="connsiteX2" fmla="*/ 10287 w 20545"/>
              <a:gd name="connsiteY2" fmla="*/ 5525 h 29813"/>
              <a:gd name="connsiteX3" fmla="*/ 11039 w 20545"/>
              <a:gd name="connsiteY3" fmla="*/ 8011 h 29813"/>
              <a:gd name="connsiteX4" fmla="*/ 12830 w 20545"/>
              <a:gd name="connsiteY4" fmla="*/ 10468 h 29813"/>
              <a:gd name="connsiteX5" fmla="*/ 14192 w 20545"/>
              <a:gd name="connsiteY5" fmla="*/ 12240 h 29813"/>
              <a:gd name="connsiteX6" fmla="*/ 16031 w 20545"/>
              <a:gd name="connsiteY6" fmla="*/ 13659 h 29813"/>
              <a:gd name="connsiteX7" fmla="*/ 19136 w 20545"/>
              <a:gd name="connsiteY7" fmla="*/ 15002 h 29813"/>
              <a:gd name="connsiteX8" fmla="*/ 20374 w 20545"/>
              <a:gd name="connsiteY8" fmla="*/ 15288 h 29813"/>
              <a:gd name="connsiteX9" fmla="*/ 20546 w 20545"/>
              <a:gd name="connsiteY9" fmla="*/ 17107 h 29813"/>
              <a:gd name="connsiteX10" fmla="*/ 20307 w 20545"/>
              <a:gd name="connsiteY10" fmla="*/ 19031 h 29813"/>
              <a:gd name="connsiteX11" fmla="*/ 19231 w 20545"/>
              <a:gd name="connsiteY11" fmla="*/ 20088 h 29813"/>
              <a:gd name="connsiteX12" fmla="*/ 18221 w 20545"/>
              <a:gd name="connsiteY12" fmla="*/ 21622 h 29813"/>
              <a:gd name="connsiteX13" fmla="*/ 17459 w 20545"/>
              <a:gd name="connsiteY13" fmla="*/ 23479 h 29813"/>
              <a:gd name="connsiteX14" fmla="*/ 16669 w 20545"/>
              <a:gd name="connsiteY14" fmla="*/ 27051 h 29813"/>
              <a:gd name="connsiteX15" fmla="*/ 16555 w 20545"/>
              <a:gd name="connsiteY15" fmla="*/ 29518 h 29813"/>
              <a:gd name="connsiteX16" fmla="*/ 14764 w 20545"/>
              <a:gd name="connsiteY16" fmla="*/ 28499 h 29813"/>
              <a:gd name="connsiteX17" fmla="*/ 13821 w 20545"/>
              <a:gd name="connsiteY17" fmla="*/ 27804 h 29813"/>
              <a:gd name="connsiteX18" fmla="*/ 12182 w 20545"/>
              <a:gd name="connsiteY18" fmla="*/ 27613 h 29813"/>
              <a:gd name="connsiteX19" fmla="*/ 10554 w 20545"/>
              <a:gd name="connsiteY19" fmla="*/ 28185 h 29813"/>
              <a:gd name="connsiteX20" fmla="*/ 9335 w 20545"/>
              <a:gd name="connsiteY20" fmla="*/ 29432 h 29813"/>
              <a:gd name="connsiteX21" fmla="*/ 7649 w 20545"/>
              <a:gd name="connsiteY21" fmla="*/ 29813 h 29813"/>
              <a:gd name="connsiteX22" fmla="*/ 6267 w 20545"/>
              <a:gd name="connsiteY22" fmla="*/ 29432 h 29813"/>
              <a:gd name="connsiteX23" fmla="*/ 5448 w 20545"/>
              <a:gd name="connsiteY23" fmla="*/ 28499 h 29813"/>
              <a:gd name="connsiteX24" fmla="*/ 4715 w 20545"/>
              <a:gd name="connsiteY24" fmla="*/ 27994 h 29813"/>
              <a:gd name="connsiteX25" fmla="*/ 2629 w 20545"/>
              <a:gd name="connsiteY25" fmla="*/ 27365 h 29813"/>
              <a:gd name="connsiteX26" fmla="*/ 1724 w 20545"/>
              <a:gd name="connsiteY26" fmla="*/ 26003 h 29813"/>
              <a:gd name="connsiteX27" fmla="*/ 2419 w 20545"/>
              <a:gd name="connsiteY27" fmla="*/ 25365 h 29813"/>
              <a:gd name="connsiteX28" fmla="*/ 3010 w 20545"/>
              <a:gd name="connsiteY28" fmla="*/ 24355 h 29813"/>
              <a:gd name="connsiteX29" fmla="*/ 3515 w 20545"/>
              <a:gd name="connsiteY29" fmla="*/ 22936 h 29813"/>
              <a:gd name="connsiteX30" fmla="*/ 4153 w 20545"/>
              <a:gd name="connsiteY30" fmla="*/ 21631 h 29813"/>
              <a:gd name="connsiteX31" fmla="*/ 2105 w 20545"/>
              <a:gd name="connsiteY31" fmla="*/ 18021 h 29813"/>
              <a:gd name="connsiteX32" fmla="*/ 1676 w 20545"/>
              <a:gd name="connsiteY32" fmla="*/ 16916 h 29813"/>
              <a:gd name="connsiteX33" fmla="*/ 0 w 20545"/>
              <a:gd name="connsiteY33" fmla="*/ 14888 h 29813"/>
              <a:gd name="connsiteX34" fmla="*/ 19 w 20545"/>
              <a:gd name="connsiteY34" fmla="*/ 13849 h 29813"/>
              <a:gd name="connsiteX35" fmla="*/ 419 w 20545"/>
              <a:gd name="connsiteY35" fmla="*/ 12868 h 29813"/>
              <a:gd name="connsiteX36" fmla="*/ 267 w 20545"/>
              <a:gd name="connsiteY36" fmla="*/ 12097 h 29813"/>
              <a:gd name="connsiteX37" fmla="*/ 505 w 20545"/>
              <a:gd name="connsiteY37" fmla="*/ 10278 h 29813"/>
              <a:gd name="connsiteX38" fmla="*/ 1686 w 20545"/>
              <a:gd name="connsiteY38" fmla="*/ 8554 h 29813"/>
              <a:gd name="connsiteX39" fmla="*/ 2467 w 20545"/>
              <a:gd name="connsiteY39" fmla="*/ 6420 h 29813"/>
              <a:gd name="connsiteX40" fmla="*/ 3791 w 20545"/>
              <a:gd name="connsiteY40" fmla="*/ 3505 h 29813"/>
              <a:gd name="connsiteX41" fmla="*/ 6715 w 20545"/>
              <a:gd name="connsiteY41" fmla="*/ 0 h 29813"/>
              <a:gd name="connsiteX42" fmla="*/ 8811 w 20545"/>
              <a:gd name="connsiteY42" fmla="*/ 543 h 29813"/>
              <a:gd name="connsiteX43" fmla="*/ 9735 w 20545"/>
              <a:gd name="connsiteY43" fmla="*/ 524 h 29813"/>
              <a:gd name="connsiteX44" fmla="*/ 10287 w 20545"/>
              <a:gd name="connsiteY44" fmla="*/ 1810 h 29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0545" h="29813">
                <a:moveTo>
                  <a:pt x="10458" y="1924"/>
                </a:moveTo>
                <a:lnTo>
                  <a:pt x="10249" y="3038"/>
                </a:lnTo>
                <a:lnTo>
                  <a:pt x="10287" y="5525"/>
                </a:lnTo>
                <a:lnTo>
                  <a:pt x="11039" y="8011"/>
                </a:lnTo>
                <a:lnTo>
                  <a:pt x="12830" y="10468"/>
                </a:lnTo>
                <a:lnTo>
                  <a:pt x="14192" y="12240"/>
                </a:lnTo>
                <a:lnTo>
                  <a:pt x="16031" y="13659"/>
                </a:lnTo>
                <a:lnTo>
                  <a:pt x="19136" y="15002"/>
                </a:lnTo>
                <a:lnTo>
                  <a:pt x="20374" y="15288"/>
                </a:lnTo>
                <a:lnTo>
                  <a:pt x="20546" y="17107"/>
                </a:lnTo>
                <a:lnTo>
                  <a:pt x="20307" y="19031"/>
                </a:lnTo>
                <a:lnTo>
                  <a:pt x="19231" y="20088"/>
                </a:lnTo>
                <a:lnTo>
                  <a:pt x="18221" y="21622"/>
                </a:lnTo>
                <a:lnTo>
                  <a:pt x="17459" y="23479"/>
                </a:lnTo>
                <a:lnTo>
                  <a:pt x="16669" y="27051"/>
                </a:lnTo>
                <a:lnTo>
                  <a:pt x="16555" y="29518"/>
                </a:lnTo>
                <a:lnTo>
                  <a:pt x="14764" y="28499"/>
                </a:lnTo>
                <a:lnTo>
                  <a:pt x="13821" y="27804"/>
                </a:lnTo>
                <a:lnTo>
                  <a:pt x="12182" y="27613"/>
                </a:lnTo>
                <a:lnTo>
                  <a:pt x="10554" y="28185"/>
                </a:lnTo>
                <a:lnTo>
                  <a:pt x="9335" y="29432"/>
                </a:lnTo>
                <a:lnTo>
                  <a:pt x="7649" y="29813"/>
                </a:lnTo>
                <a:lnTo>
                  <a:pt x="6267" y="29432"/>
                </a:lnTo>
                <a:lnTo>
                  <a:pt x="5448" y="28499"/>
                </a:lnTo>
                <a:lnTo>
                  <a:pt x="4715" y="27994"/>
                </a:lnTo>
                <a:lnTo>
                  <a:pt x="2629" y="27365"/>
                </a:lnTo>
                <a:lnTo>
                  <a:pt x="1724" y="26003"/>
                </a:lnTo>
                <a:lnTo>
                  <a:pt x="2419" y="25365"/>
                </a:lnTo>
                <a:lnTo>
                  <a:pt x="3010" y="24355"/>
                </a:lnTo>
                <a:lnTo>
                  <a:pt x="3515" y="22936"/>
                </a:lnTo>
                <a:lnTo>
                  <a:pt x="4153" y="21631"/>
                </a:lnTo>
                <a:lnTo>
                  <a:pt x="2105" y="18021"/>
                </a:lnTo>
                <a:lnTo>
                  <a:pt x="1676" y="16916"/>
                </a:lnTo>
                <a:lnTo>
                  <a:pt x="0" y="14888"/>
                </a:lnTo>
                <a:lnTo>
                  <a:pt x="19" y="13849"/>
                </a:lnTo>
                <a:lnTo>
                  <a:pt x="419" y="12868"/>
                </a:lnTo>
                <a:lnTo>
                  <a:pt x="267" y="12097"/>
                </a:lnTo>
                <a:lnTo>
                  <a:pt x="505" y="10278"/>
                </a:lnTo>
                <a:lnTo>
                  <a:pt x="1686" y="8554"/>
                </a:lnTo>
                <a:lnTo>
                  <a:pt x="2467" y="6420"/>
                </a:lnTo>
                <a:lnTo>
                  <a:pt x="3791" y="3505"/>
                </a:lnTo>
                <a:lnTo>
                  <a:pt x="6715" y="0"/>
                </a:lnTo>
                <a:lnTo>
                  <a:pt x="8811" y="543"/>
                </a:lnTo>
                <a:lnTo>
                  <a:pt x="9735" y="524"/>
                </a:lnTo>
                <a:lnTo>
                  <a:pt x="10287" y="1810"/>
                </a:lnTo>
                <a:close/>
              </a:path>
            </a:pathLst>
          </a:custGeom>
          <a:gradFill>
            <a:gsLst>
              <a:gs pos="58000">
                <a:schemeClr val="accent1"/>
              </a:gs>
              <a:gs pos="16000">
                <a:srgbClr val="8B1D82"/>
              </a:gs>
              <a:gs pos="0">
                <a:srgbClr val="4D1D82"/>
              </a:gs>
              <a:gs pos="100000">
                <a:srgbClr val="F07D00"/>
              </a:gs>
            </a:gsLst>
            <a:lin ang="18900000" scaled="0"/>
          </a:gra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7" name="Forme libre : forme 36">
            <a:extLst>
              <a:ext uri="{FF2B5EF4-FFF2-40B4-BE49-F238E27FC236}">
                <a16:creationId xmlns:a16="http://schemas.microsoft.com/office/drawing/2014/main" id="{737EDD8F-9422-7509-327A-536D3A908224}"/>
              </a:ext>
            </a:extLst>
          </p:cNvPr>
          <p:cNvSpPr/>
          <p:nvPr/>
        </p:nvSpPr>
        <p:spPr>
          <a:xfrm>
            <a:off x="6254258" y="3077516"/>
            <a:ext cx="250581" cy="152583"/>
          </a:xfrm>
          <a:custGeom>
            <a:avLst/>
            <a:gdLst>
              <a:gd name="connsiteX0" fmla="*/ 169393 w 192119"/>
              <a:gd name="connsiteY0" fmla="*/ 26803 h 116985"/>
              <a:gd name="connsiteX1" fmla="*/ 172546 w 192119"/>
              <a:gd name="connsiteY1" fmla="*/ 27003 h 116985"/>
              <a:gd name="connsiteX2" fmla="*/ 173650 w 192119"/>
              <a:gd name="connsiteY2" fmla="*/ 27794 h 116985"/>
              <a:gd name="connsiteX3" fmla="*/ 174393 w 192119"/>
              <a:gd name="connsiteY3" fmla="*/ 31680 h 116985"/>
              <a:gd name="connsiteX4" fmla="*/ 177975 w 192119"/>
              <a:gd name="connsiteY4" fmla="*/ 34738 h 116985"/>
              <a:gd name="connsiteX5" fmla="*/ 181290 w 192119"/>
              <a:gd name="connsiteY5" fmla="*/ 37262 h 116985"/>
              <a:gd name="connsiteX6" fmla="*/ 182137 w 192119"/>
              <a:gd name="connsiteY6" fmla="*/ 38433 h 116985"/>
              <a:gd name="connsiteX7" fmla="*/ 182395 w 192119"/>
              <a:gd name="connsiteY7" fmla="*/ 40681 h 116985"/>
              <a:gd name="connsiteX8" fmla="*/ 182185 w 192119"/>
              <a:gd name="connsiteY8" fmla="*/ 43310 h 116985"/>
              <a:gd name="connsiteX9" fmla="*/ 181766 w 192119"/>
              <a:gd name="connsiteY9" fmla="*/ 44663 h 116985"/>
              <a:gd name="connsiteX10" fmla="*/ 180375 w 192119"/>
              <a:gd name="connsiteY10" fmla="*/ 46225 h 116985"/>
              <a:gd name="connsiteX11" fmla="*/ 179165 w 192119"/>
              <a:gd name="connsiteY11" fmla="*/ 50178 h 116985"/>
              <a:gd name="connsiteX12" fmla="*/ 178994 w 192119"/>
              <a:gd name="connsiteY12" fmla="*/ 53930 h 116985"/>
              <a:gd name="connsiteX13" fmla="*/ 177089 w 192119"/>
              <a:gd name="connsiteY13" fmla="*/ 60408 h 116985"/>
              <a:gd name="connsiteX14" fmla="*/ 177518 w 192119"/>
              <a:gd name="connsiteY14" fmla="*/ 60522 h 116985"/>
              <a:gd name="connsiteX15" fmla="*/ 181537 w 192119"/>
              <a:gd name="connsiteY15" fmla="*/ 59360 h 116985"/>
              <a:gd name="connsiteX16" fmla="*/ 182671 w 192119"/>
              <a:gd name="connsiteY16" fmla="*/ 60027 h 116985"/>
              <a:gd name="connsiteX17" fmla="*/ 183556 w 192119"/>
              <a:gd name="connsiteY17" fmla="*/ 61446 h 116985"/>
              <a:gd name="connsiteX18" fmla="*/ 183842 w 192119"/>
              <a:gd name="connsiteY18" fmla="*/ 65494 h 116985"/>
              <a:gd name="connsiteX19" fmla="*/ 185157 w 192119"/>
              <a:gd name="connsiteY19" fmla="*/ 67313 h 116985"/>
              <a:gd name="connsiteX20" fmla="*/ 186500 w 192119"/>
              <a:gd name="connsiteY20" fmla="*/ 70152 h 116985"/>
              <a:gd name="connsiteX21" fmla="*/ 186919 w 192119"/>
              <a:gd name="connsiteY21" fmla="*/ 72352 h 116985"/>
              <a:gd name="connsiteX22" fmla="*/ 189481 w 192119"/>
              <a:gd name="connsiteY22" fmla="*/ 74971 h 116985"/>
              <a:gd name="connsiteX23" fmla="*/ 189681 w 192119"/>
              <a:gd name="connsiteY23" fmla="*/ 76676 h 116985"/>
              <a:gd name="connsiteX24" fmla="*/ 191243 w 192119"/>
              <a:gd name="connsiteY24" fmla="*/ 82648 h 116985"/>
              <a:gd name="connsiteX25" fmla="*/ 191843 w 192119"/>
              <a:gd name="connsiteY25" fmla="*/ 86077 h 116985"/>
              <a:gd name="connsiteX26" fmla="*/ 192120 w 192119"/>
              <a:gd name="connsiteY26" fmla="*/ 88735 h 116985"/>
              <a:gd name="connsiteX27" fmla="*/ 191358 w 192119"/>
              <a:gd name="connsiteY27" fmla="*/ 92097 h 116985"/>
              <a:gd name="connsiteX28" fmla="*/ 190672 w 192119"/>
              <a:gd name="connsiteY28" fmla="*/ 94364 h 116985"/>
              <a:gd name="connsiteX29" fmla="*/ 189872 w 192119"/>
              <a:gd name="connsiteY29" fmla="*/ 94221 h 116985"/>
              <a:gd name="connsiteX30" fmla="*/ 187576 w 192119"/>
              <a:gd name="connsiteY30" fmla="*/ 94821 h 116985"/>
              <a:gd name="connsiteX31" fmla="*/ 183947 w 192119"/>
              <a:gd name="connsiteY31" fmla="*/ 97555 h 116985"/>
              <a:gd name="connsiteX32" fmla="*/ 178546 w 192119"/>
              <a:gd name="connsiteY32" fmla="*/ 103984 h 116985"/>
              <a:gd name="connsiteX33" fmla="*/ 177155 w 192119"/>
              <a:gd name="connsiteY33" fmla="*/ 105404 h 116985"/>
              <a:gd name="connsiteX34" fmla="*/ 175746 w 192119"/>
              <a:gd name="connsiteY34" fmla="*/ 110271 h 116985"/>
              <a:gd name="connsiteX35" fmla="*/ 175403 w 192119"/>
              <a:gd name="connsiteY35" fmla="*/ 110766 h 116985"/>
              <a:gd name="connsiteX36" fmla="*/ 172260 w 192119"/>
              <a:gd name="connsiteY36" fmla="*/ 110547 h 116985"/>
              <a:gd name="connsiteX37" fmla="*/ 171402 w 192119"/>
              <a:gd name="connsiteY37" fmla="*/ 110433 h 116985"/>
              <a:gd name="connsiteX38" fmla="*/ 168260 w 192119"/>
              <a:gd name="connsiteY38" fmla="*/ 110528 h 116985"/>
              <a:gd name="connsiteX39" fmla="*/ 161392 w 192119"/>
              <a:gd name="connsiteY39" fmla="*/ 109261 h 116985"/>
              <a:gd name="connsiteX40" fmla="*/ 158735 w 192119"/>
              <a:gd name="connsiteY40" fmla="*/ 110099 h 116985"/>
              <a:gd name="connsiteX41" fmla="*/ 155248 w 192119"/>
              <a:gd name="connsiteY41" fmla="*/ 115014 h 116985"/>
              <a:gd name="connsiteX42" fmla="*/ 153886 w 192119"/>
              <a:gd name="connsiteY42" fmla="*/ 115738 h 116985"/>
              <a:gd name="connsiteX43" fmla="*/ 149838 w 192119"/>
              <a:gd name="connsiteY43" fmla="*/ 116414 h 116985"/>
              <a:gd name="connsiteX44" fmla="*/ 149123 w 192119"/>
              <a:gd name="connsiteY44" fmla="*/ 116986 h 116985"/>
              <a:gd name="connsiteX45" fmla="*/ 147771 w 192119"/>
              <a:gd name="connsiteY45" fmla="*/ 116757 h 116985"/>
              <a:gd name="connsiteX46" fmla="*/ 143980 w 192119"/>
              <a:gd name="connsiteY46" fmla="*/ 115271 h 116985"/>
              <a:gd name="connsiteX47" fmla="*/ 140780 w 192119"/>
              <a:gd name="connsiteY47" fmla="*/ 113062 h 116985"/>
              <a:gd name="connsiteX48" fmla="*/ 138855 w 192119"/>
              <a:gd name="connsiteY48" fmla="*/ 110137 h 116985"/>
              <a:gd name="connsiteX49" fmla="*/ 135541 w 192119"/>
              <a:gd name="connsiteY49" fmla="*/ 106108 h 116985"/>
              <a:gd name="connsiteX50" fmla="*/ 133369 w 192119"/>
              <a:gd name="connsiteY50" fmla="*/ 104051 h 116985"/>
              <a:gd name="connsiteX51" fmla="*/ 129950 w 192119"/>
              <a:gd name="connsiteY51" fmla="*/ 101470 h 116985"/>
              <a:gd name="connsiteX52" fmla="*/ 124254 w 192119"/>
              <a:gd name="connsiteY52" fmla="*/ 96183 h 116985"/>
              <a:gd name="connsiteX53" fmla="*/ 122187 w 192119"/>
              <a:gd name="connsiteY53" fmla="*/ 94974 h 116985"/>
              <a:gd name="connsiteX54" fmla="*/ 112052 w 192119"/>
              <a:gd name="connsiteY54" fmla="*/ 92669 h 116985"/>
              <a:gd name="connsiteX55" fmla="*/ 108395 w 192119"/>
              <a:gd name="connsiteY55" fmla="*/ 91612 h 116985"/>
              <a:gd name="connsiteX56" fmla="*/ 105023 w 192119"/>
              <a:gd name="connsiteY56" fmla="*/ 85601 h 116985"/>
              <a:gd name="connsiteX57" fmla="*/ 103937 w 192119"/>
              <a:gd name="connsiteY57" fmla="*/ 82096 h 116985"/>
              <a:gd name="connsiteX58" fmla="*/ 102280 w 192119"/>
              <a:gd name="connsiteY58" fmla="*/ 81477 h 116985"/>
              <a:gd name="connsiteX59" fmla="*/ 100460 w 192119"/>
              <a:gd name="connsiteY59" fmla="*/ 82210 h 116985"/>
              <a:gd name="connsiteX60" fmla="*/ 98498 w 192119"/>
              <a:gd name="connsiteY60" fmla="*/ 82915 h 116985"/>
              <a:gd name="connsiteX61" fmla="*/ 93936 w 192119"/>
              <a:gd name="connsiteY61" fmla="*/ 87011 h 116985"/>
              <a:gd name="connsiteX62" fmla="*/ 92459 w 192119"/>
              <a:gd name="connsiteY62" fmla="*/ 87592 h 116985"/>
              <a:gd name="connsiteX63" fmla="*/ 89631 w 192119"/>
              <a:gd name="connsiteY63" fmla="*/ 87639 h 116985"/>
              <a:gd name="connsiteX64" fmla="*/ 83020 w 192119"/>
              <a:gd name="connsiteY64" fmla="*/ 88544 h 116985"/>
              <a:gd name="connsiteX65" fmla="*/ 80010 w 192119"/>
              <a:gd name="connsiteY65" fmla="*/ 87049 h 116985"/>
              <a:gd name="connsiteX66" fmla="*/ 74791 w 192119"/>
              <a:gd name="connsiteY66" fmla="*/ 85420 h 116985"/>
              <a:gd name="connsiteX67" fmla="*/ 71952 w 192119"/>
              <a:gd name="connsiteY67" fmla="*/ 85163 h 116985"/>
              <a:gd name="connsiteX68" fmla="*/ 69438 w 192119"/>
              <a:gd name="connsiteY68" fmla="*/ 85201 h 116985"/>
              <a:gd name="connsiteX69" fmla="*/ 58293 w 192119"/>
              <a:gd name="connsiteY69" fmla="*/ 83601 h 116985"/>
              <a:gd name="connsiteX70" fmla="*/ 56265 w 192119"/>
              <a:gd name="connsiteY70" fmla="*/ 85354 h 116985"/>
              <a:gd name="connsiteX71" fmla="*/ 54207 w 192119"/>
              <a:gd name="connsiteY71" fmla="*/ 85668 h 116985"/>
              <a:gd name="connsiteX72" fmla="*/ 52216 w 192119"/>
              <a:gd name="connsiteY72" fmla="*/ 82953 h 116985"/>
              <a:gd name="connsiteX73" fmla="*/ 49730 w 192119"/>
              <a:gd name="connsiteY73" fmla="*/ 82182 h 116985"/>
              <a:gd name="connsiteX74" fmla="*/ 46997 w 192119"/>
              <a:gd name="connsiteY74" fmla="*/ 83106 h 116985"/>
              <a:gd name="connsiteX75" fmla="*/ 42015 w 192119"/>
              <a:gd name="connsiteY75" fmla="*/ 83210 h 116985"/>
              <a:gd name="connsiteX76" fmla="*/ 36109 w 192119"/>
              <a:gd name="connsiteY76" fmla="*/ 82353 h 116985"/>
              <a:gd name="connsiteX77" fmla="*/ 28594 w 192119"/>
              <a:gd name="connsiteY77" fmla="*/ 81686 h 116985"/>
              <a:gd name="connsiteX78" fmla="*/ 27480 w 192119"/>
              <a:gd name="connsiteY78" fmla="*/ 81972 h 116985"/>
              <a:gd name="connsiteX79" fmla="*/ 19126 w 192119"/>
              <a:gd name="connsiteY79" fmla="*/ 85582 h 116985"/>
              <a:gd name="connsiteX80" fmla="*/ 17069 w 192119"/>
              <a:gd name="connsiteY80" fmla="*/ 86125 h 116985"/>
              <a:gd name="connsiteX81" fmla="*/ 8011 w 192119"/>
              <a:gd name="connsiteY81" fmla="*/ 92192 h 116985"/>
              <a:gd name="connsiteX82" fmla="*/ 829 w 192119"/>
              <a:gd name="connsiteY82" fmla="*/ 97850 h 116985"/>
              <a:gd name="connsiteX83" fmla="*/ 0 w 192119"/>
              <a:gd name="connsiteY83" fmla="*/ 88802 h 116985"/>
              <a:gd name="connsiteX84" fmla="*/ 438 w 192119"/>
              <a:gd name="connsiteY84" fmla="*/ 70571 h 116985"/>
              <a:gd name="connsiteX85" fmla="*/ 1505 w 192119"/>
              <a:gd name="connsiteY85" fmla="*/ 61474 h 116985"/>
              <a:gd name="connsiteX86" fmla="*/ 6477 w 192119"/>
              <a:gd name="connsiteY86" fmla="*/ 56150 h 116985"/>
              <a:gd name="connsiteX87" fmla="*/ 8973 w 192119"/>
              <a:gd name="connsiteY87" fmla="*/ 51997 h 116985"/>
              <a:gd name="connsiteX88" fmla="*/ 10420 w 192119"/>
              <a:gd name="connsiteY88" fmla="*/ 46434 h 116985"/>
              <a:gd name="connsiteX89" fmla="*/ 10859 w 192119"/>
              <a:gd name="connsiteY89" fmla="*/ 41272 h 116985"/>
              <a:gd name="connsiteX90" fmla="*/ 11868 w 192119"/>
              <a:gd name="connsiteY90" fmla="*/ 36995 h 116985"/>
              <a:gd name="connsiteX91" fmla="*/ 19079 w 192119"/>
              <a:gd name="connsiteY91" fmla="*/ 24670 h 116985"/>
              <a:gd name="connsiteX92" fmla="*/ 24785 w 192119"/>
              <a:gd name="connsiteY92" fmla="*/ 23336 h 116985"/>
              <a:gd name="connsiteX93" fmla="*/ 32518 w 192119"/>
              <a:gd name="connsiteY93" fmla="*/ 19898 h 116985"/>
              <a:gd name="connsiteX94" fmla="*/ 41158 w 192119"/>
              <a:gd name="connsiteY94" fmla="*/ 17031 h 116985"/>
              <a:gd name="connsiteX95" fmla="*/ 42825 w 192119"/>
              <a:gd name="connsiteY95" fmla="*/ 20679 h 116985"/>
              <a:gd name="connsiteX96" fmla="*/ 43672 w 192119"/>
              <a:gd name="connsiteY96" fmla="*/ 23460 h 116985"/>
              <a:gd name="connsiteX97" fmla="*/ 54073 w 192119"/>
              <a:gd name="connsiteY97" fmla="*/ 33547 h 116985"/>
              <a:gd name="connsiteX98" fmla="*/ 56722 w 192119"/>
              <a:gd name="connsiteY98" fmla="*/ 36928 h 116985"/>
              <a:gd name="connsiteX99" fmla="*/ 60741 w 192119"/>
              <a:gd name="connsiteY99" fmla="*/ 48454 h 116985"/>
              <a:gd name="connsiteX100" fmla="*/ 70381 w 192119"/>
              <a:gd name="connsiteY100" fmla="*/ 54283 h 116985"/>
              <a:gd name="connsiteX101" fmla="*/ 77953 w 192119"/>
              <a:gd name="connsiteY101" fmla="*/ 52445 h 116985"/>
              <a:gd name="connsiteX102" fmla="*/ 81249 w 192119"/>
              <a:gd name="connsiteY102" fmla="*/ 49616 h 116985"/>
              <a:gd name="connsiteX103" fmla="*/ 87316 w 192119"/>
              <a:gd name="connsiteY103" fmla="*/ 44396 h 116985"/>
              <a:gd name="connsiteX104" fmla="*/ 90021 w 192119"/>
              <a:gd name="connsiteY104" fmla="*/ 40567 h 116985"/>
              <a:gd name="connsiteX105" fmla="*/ 90574 w 192119"/>
              <a:gd name="connsiteY105" fmla="*/ 36871 h 116985"/>
              <a:gd name="connsiteX106" fmla="*/ 89497 w 192119"/>
              <a:gd name="connsiteY106" fmla="*/ 20964 h 116985"/>
              <a:gd name="connsiteX107" fmla="*/ 87859 w 192119"/>
              <a:gd name="connsiteY107" fmla="*/ 14030 h 116985"/>
              <a:gd name="connsiteX108" fmla="*/ 88411 w 192119"/>
              <a:gd name="connsiteY108" fmla="*/ 9706 h 116985"/>
              <a:gd name="connsiteX109" fmla="*/ 89478 w 192119"/>
              <a:gd name="connsiteY109" fmla="*/ 9925 h 116985"/>
              <a:gd name="connsiteX110" fmla="*/ 92060 w 192119"/>
              <a:gd name="connsiteY110" fmla="*/ 7829 h 116985"/>
              <a:gd name="connsiteX111" fmla="*/ 100527 w 192119"/>
              <a:gd name="connsiteY111" fmla="*/ 3943 h 116985"/>
              <a:gd name="connsiteX112" fmla="*/ 102222 w 192119"/>
              <a:gd name="connsiteY112" fmla="*/ 3762 h 116985"/>
              <a:gd name="connsiteX113" fmla="*/ 104156 w 192119"/>
              <a:gd name="connsiteY113" fmla="*/ 2972 h 116985"/>
              <a:gd name="connsiteX114" fmla="*/ 109490 w 192119"/>
              <a:gd name="connsiteY114" fmla="*/ 0 h 116985"/>
              <a:gd name="connsiteX115" fmla="*/ 111214 w 192119"/>
              <a:gd name="connsiteY115" fmla="*/ 1581 h 116985"/>
              <a:gd name="connsiteX116" fmla="*/ 112643 w 192119"/>
              <a:gd name="connsiteY116" fmla="*/ 3372 h 116985"/>
              <a:gd name="connsiteX117" fmla="*/ 113424 w 192119"/>
              <a:gd name="connsiteY117" fmla="*/ 3391 h 116985"/>
              <a:gd name="connsiteX118" fmla="*/ 113815 w 192119"/>
              <a:gd name="connsiteY118" fmla="*/ 2724 h 116985"/>
              <a:gd name="connsiteX119" fmla="*/ 113710 w 192119"/>
              <a:gd name="connsiteY119" fmla="*/ 1572 h 116985"/>
              <a:gd name="connsiteX120" fmla="*/ 114081 w 192119"/>
              <a:gd name="connsiteY120" fmla="*/ 753 h 116985"/>
              <a:gd name="connsiteX121" fmla="*/ 115614 w 192119"/>
              <a:gd name="connsiteY121" fmla="*/ 1210 h 116985"/>
              <a:gd name="connsiteX122" fmla="*/ 121797 w 192119"/>
              <a:gd name="connsiteY122" fmla="*/ 6077 h 116985"/>
              <a:gd name="connsiteX123" fmla="*/ 124168 w 192119"/>
              <a:gd name="connsiteY123" fmla="*/ 7220 h 116985"/>
              <a:gd name="connsiteX124" fmla="*/ 125797 w 192119"/>
              <a:gd name="connsiteY124" fmla="*/ 7534 h 116985"/>
              <a:gd name="connsiteX125" fmla="*/ 127740 w 192119"/>
              <a:gd name="connsiteY125" fmla="*/ 9811 h 116985"/>
              <a:gd name="connsiteX126" fmla="*/ 133017 w 192119"/>
              <a:gd name="connsiteY126" fmla="*/ 11325 h 116985"/>
              <a:gd name="connsiteX127" fmla="*/ 133665 w 192119"/>
              <a:gd name="connsiteY127" fmla="*/ 12497 h 116985"/>
              <a:gd name="connsiteX128" fmla="*/ 134064 w 192119"/>
              <a:gd name="connsiteY128" fmla="*/ 13964 h 116985"/>
              <a:gd name="connsiteX129" fmla="*/ 139008 w 192119"/>
              <a:gd name="connsiteY129" fmla="*/ 20098 h 116985"/>
              <a:gd name="connsiteX130" fmla="*/ 141227 w 192119"/>
              <a:gd name="connsiteY130" fmla="*/ 23174 h 116985"/>
              <a:gd name="connsiteX131" fmla="*/ 145609 w 192119"/>
              <a:gd name="connsiteY131" fmla="*/ 25994 h 116985"/>
              <a:gd name="connsiteX132" fmla="*/ 147495 w 192119"/>
              <a:gd name="connsiteY132" fmla="*/ 26661 h 116985"/>
              <a:gd name="connsiteX133" fmla="*/ 155172 w 192119"/>
              <a:gd name="connsiteY133" fmla="*/ 23784 h 116985"/>
              <a:gd name="connsiteX134" fmla="*/ 157306 w 192119"/>
              <a:gd name="connsiteY134" fmla="*/ 22793 h 116985"/>
              <a:gd name="connsiteX135" fmla="*/ 159078 w 192119"/>
              <a:gd name="connsiteY135" fmla="*/ 22774 h 116985"/>
              <a:gd name="connsiteX136" fmla="*/ 160877 w 192119"/>
              <a:gd name="connsiteY136" fmla="*/ 24289 h 116985"/>
              <a:gd name="connsiteX137" fmla="*/ 164992 w 192119"/>
              <a:gd name="connsiteY137" fmla="*/ 26298 h 116985"/>
              <a:gd name="connsiteX138" fmla="*/ 168716 w 192119"/>
              <a:gd name="connsiteY138" fmla="*/ 26937 h 116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192119" h="116985">
                <a:moveTo>
                  <a:pt x="169393" y="26803"/>
                </a:moveTo>
                <a:lnTo>
                  <a:pt x="172546" y="27003"/>
                </a:lnTo>
                <a:lnTo>
                  <a:pt x="173650" y="27794"/>
                </a:lnTo>
                <a:lnTo>
                  <a:pt x="174393" y="31680"/>
                </a:lnTo>
                <a:lnTo>
                  <a:pt x="177975" y="34738"/>
                </a:lnTo>
                <a:lnTo>
                  <a:pt x="181290" y="37262"/>
                </a:lnTo>
                <a:lnTo>
                  <a:pt x="182137" y="38433"/>
                </a:lnTo>
                <a:lnTo>
                  <a:pt x="182395" y="40681"/>
                </a:lnTo>
                <a:lnTo>
                  <a:pt x="182185" y="43310"/>
                </a:lnTo>
                <a:lnTo>
                  <a:pt x="181766" y="44663"/>
                </a:lnTo>
                <a:lnTo>
                  <a:pt x="180375" y="46225"/>
                </a:lnTo>
                <a:lnTo>
                  <a:pt x="179165" y="50178"/>
                </a:lnTo>
                <a:lnTo>
                  <a:pt x="178994" y="53930"/>
                </a:lnTo>
                <a:lnTo>
                  <a:pt x="177089" y="60408"/>
                </a:lnTo>
                <a:lnTo>
                  <a:pt x="177518" y="60522"/>
                </a:lnTo>
                <a:lnTo>
                  <a:pt x="181537" y="59360"/>
                </a:lnTo>
                <a:lnTo>
                  <a:pt x="182671" y="60027"/>
                </a:lnTo>
                <a:lnTo>
                  <a:pt x="183556" y="61446"/>
                </a:lnTo>
                <a:lnTo>
                  <a:pt x="183842" y="65494"/>
                </a:lnTo>
                <a:lnTo>
                  <a:pt x="185157" y="67313"/>
                </a:lnTo>
                <a:lnTo>
                  <a:pt x="186500" y="70152"/>
                </a:lnTo>
                <a:lnTo>
                  <a:pt x="186919" y="72352"/>
                </a:lnTo>
                <a:lnTo>
                  <a:pt x="189481" y="74971"/>
                </a:lnTo>
                <a:lnTo>
                  <a:pt x="189681" y="76676"/>
                </a:lnTo>
                <a:lnTo>
                  <a:pt x="191243" y="82648"/>
                </a:lnTo>
                <a:lnTo>
                  <a:pt x="191843" y="86077"/>
                </a:lnTo>
                <a:lnTo>
                  <a:pt x="192120" y="88735"/>
                </a:lnTo>
                <a:lnTo>
                  <a:pt x="191358" y="92097"/>
                </a:lnTo>
                <a:lnTo>
                  <a:pt x="190672" y="94364"/>
                </a:lnTo>
                <a:lnTo>
                  <a:pt x="189872" y="94221"/>
                </a:lnTo>
                <a:lnTo>
                  <a:pt x="187576" y="94821"/>
                </a:lnTo>
                <a:lnTo>
                  <a:pt x="183947" y="97555"/>
                </a:lnTo>
                <a:lnTo>
                  <a:pt x="178546" y="103984"/>
                </a:lnTo>
                <a:lnTo>
                  <a:pt x="177155" y="105404"/>
                </a:lnTo>
                <a:lnTo>
                  <a:pt x="175746" y="110271"/>
                </a:lnTo>
                <a:lnTo>
                  <a:pt x="175403" y="110766"/>
                </a:lnTo>
                <a:lnTo>
                  <a:pt x="172260" y="110547"/>
                </a:lnTo>
                <a:lnTo>
                  <a:pt x="171402" y="110433"/>
                </a:lnTo>
                <a:lnTo>
                  <a:pt x="168260" y="110528"/>
                </a:lnTo>
                <a:lnTo>
                  <a:pt x="161392" y="109261"/>
                </a:lnTo>
                <a:lnTo>
                  <a:pt x="158735" y="110099"/>
                </a:lnTo>
                <a:lnTo>
                  <a:pt x="155248" y="115014"/>
                </a:lnTo>
                <a:lnTo>
                  <a:pt x="153886" y="115738"/>
                </a:lnTo>
                <a:lnTo>
                  <a:pt x="149838" y="116414"/>
                </a:lnTo>
                <a:lnTo>
                  <a:pt x="149123" y="116986"/>
                </a:lnTo>
                <a:lnTo>
                  <a:pt x="147771" y="116757"/>
                </a:lnTo>
                <a:lnTo>
                  <a:pt x="143980" y="115271"/>
                </a:lnTo>
                <a:lnTo>
                  <a:pt x="140780" y="113062"/>
                </a:lnTo>
                <a:lnTo>
                  <a:pt x="138855" y="110137"/>
                </a:lnTo>
                <a:lnTo>
                  <a:pt x="135541" y="106108"/>
                </a:lnTo>
                <a:lnTo>
                  <a:pt x="133369" y="104051"/>
                </a:lnTo>
                <a:lnTo>
                  <a:pt x="129950" y="101470"/>
                </a:lnTo>
                <a:lnTo>
                  <a:pt x="124254" y="96183"/>
                </a:lnTo>
                <a:lnTo>
                  <a:pt x="122187" y="94974"/>
                </a:lnTo>
                <a:lnTo>
                  <a:pt x="112052" y="92669"/>
                </a:lnTo>
                <a:lnTo>
                  <a:pt x="108395" y="91612"/>
                </a:lnTo>
                <a:lnTo>
                  <a:pt x="105023" y="85601"/>
                </a:lnTo>
                <a:lnTo>
                  <a:pt x="103937" y="82096"/>
                </a:lnTo>
                <a:lnTo>
                  <a:pt x="102280" y="81477"/>
                </a:lnTo>
                <a:lnTo>
                  <a:pt x="100460" y="82210"/>
                </a:lnTo>
                <a:lnTo>
                  <a:pt x="98498" y="82915"/>
                </a:lnTo>
                <a:lnTo>
                  <a:pt x="93936" y="87011"/>
                </a:lnTo>
                <a:lnTo>
                  <a:pt x="92459" y="87592"/>
                </a:lnTo>
                <a:lnTo>
                  <a:pt x="89631" y="87639"/>
                </a:lnTo>
                <a:lnTo>
                  <a:pt x="83020" y="88544"/>
                </a:lnTo>
                <a:lnTo>
                  <a:pt x="80010" y="87049"/>
                </a:lnTo>
                <a:lnTo>
                  <a:pt x="74791" y="85420"/>
                </a:lnTo>
                <a:lnTo>
                  <a:pt x="71952" y="85163"/>
                </a:lnTo>
                <a:lnTo>
                  <a:pt x="69438" y="85201"/>
                </a:lnTo>
                <a:lnTo>
                  <a:pt x="58293" y="83601"/>
                </a:lnTo>
                <a:lnTo>
                  <a:pt x="56265" y="85354"/>
                </a:lnTo>
                <a:lnTo>
                  <a:pt x="54207" y="85668"/>
                </a:lnTo>
                <a:lnTo>
                  <a:pt x="52216" y="82953"/>
                </a:lnTo>
                <a:lnTo>
                  <a:pt x="49730" y="82182"/>
                </a:lnTo>
                <a:lnTo>
                  <a:pt x="46997" y="83106"/>
                </a:lnTo>
                <a:lnTo>
                  <a:pt x="42015" y="83210"/>
                </a:lnTo>
                <a:lnTo>
                  <a:pt x="36109" y="82353"/>
                </a:lnTo>
                <a:lnTo>
                  <a:pt x="28594" y="81686"/>
                </a:lnTo>
                <a:lnTo>
                  <a:pt x="27480" y="81972"/>
                </a:lnTo>
                <a:lnTo>
                  <a:pt x="19126" y="85582"/>
                </a:lnTo>
                <a:lnTo>
                  <a:pt x="17069" y="86125"/>
                </a:lnTo>
                <a:lnTo>
                  <a:pt x="8011" y="92192"/>
                </a:lnTo>
                <a:lnTo>
                  <a:pt x="829" y="97850"/>
                </a:lnTo>
                <a:lnTo>
                  <a:pt x="0" y="88802"/>
                </a:lnTo>
                <a:lnTo>
                  <a:pt x="438" y="70571"/>
                </a:lnTo>
                <a:lnTo>
                  <a:pt x="1505" y="61474"/>
                </a:lnTo>
                <a:lnTo>
                  <a:pt x="6477" y="56150"/>
                </a:lnTo>
                <a:lnTo>
                  <a:pt x="8973" y="51997"/>
                </a:lnTo>
                <a:lnTo>
                  <a:pt x="10420" y="46434"/>
                </a:lnTo>
                <a:lnTo>
                  <a:pt x="10859" y="41272"/>
                </a:lnTo>
                <a:lnTo>
                  <a:pt x="11868" y="36995"/>
                </a:lnTo>
                <a:lnTo>
                  <a:pt x="19079" y="24670"/>
                </a:lnTo>
                <a:lnTo>
                  <a:pt x="24785" y="23336"/>
                </a:lnTo>
                <a:lnTo>
                  <a:pt x="32518" y="19898"/>
                </a:lnTo>
                <a:lnTo>
                  <a:pt x="41158" y="17031"/>
                </a:lnTo>
                <a:lnTo>
                  <a:pt x="42825" y="20679"/>
                </a:lnTo>
                <a:lnTo>
                  <a:pt x="43672" y="23460"/>
                </a:lnTo>
                <a:lnTo>
                  <a:pt x="54073" y="33547"/>
                </a:lnTo>
                <a:lnTo>
                  <a:pt x="56722" y="36928"/>
                </a:lnTo>
                <a:lnTo>
                  <a:pt x="60741" y="48454"/>
                </a:lnTo>
                <a:lnTo>
                  <a:pt x="70381" y="54283"/>
                </a:lnTo>
                <a:lnTo>
                  <a:pt x="77953" y="52445"/>
                </a:lnTo>
                <a:lnTo>
                  <a:pt x="81249" y="49616"/>
                </a:lnTo>
                <a:lnTo>
                  <a:pt x="87316" y="44396"/>
                </a:lnTo>
                <a:lnTo>
                  <a:pt x="90021" y="40567"/>
                </a:lnTo>
                <a:lnTo>
                  <a:pt x="90574" y="36871"/>
                </a:lnTo>
                <a:lnTo>
                  <a:pt x="89497" y="20964"/>
                </a:lnTo>
                <a:lnTo>
                  <a:pt x="87859" y="14030"/>
                </a:lnTo>
                <a:lnTo>
                  <a:pt x="88411" y="9706"/>
                </a:lnTo>
                <a:lnTo>
                  <a:pt x="89478" y="9925"/>
                </a:lnTo>
                <a:lnTo>
                  <a:pt x="92060" y="7829"/>
                </a:lnTo>
                <a:lnTo>
                  <a:pt x="100527" y="3943"/>
                </a:lnTo>
                <a:lnTo>
                  <a:pt x="102222" y="3762"/>
                </a:lnTo>
                <a:lnTo>
                  <a:pt x="104156" y="2972"/>
                </a:lnTo>
                <a:lnTo>
                  <a:pt x="109490" y="0"/>
                </a:lnTo>
                <a:lnTo>
                  <a:pt x="111214" y="1581"/>
                </a:lnTo>
                <a:lnTo>
                  <a:pt x="112643" y="3372"/>
                </a:lnTo>
                <a:lnTo>
                  <a:pt x="113424" y="3391"/>
                </a:lnTo>
                <a:lnTo>
                  <a:pt x="113815" y="2724"/>
                </a:lnTo>
                <a:lnTo>
                  <a:pt x="113710" y="1572"/>
                </a:lnTo>
                <a:lnTo>
                  <a:pt x="114081" y="753"/>
                </a:lnTo>
                <a:lnTo>
                  <a:pt x="115614" y="1210"/>
                </a:lnTo>
                <a:lnTo>
                  <a:pt x="121797" y="6077"/>
                </a:lnTo>
                <a:lnTo>
                  <a:pt x="124168" y="7220"/>
                </a:lnTo>
                <a:lnTo>
                  <a:pt x="125797" y="7534"/>
                </a:lnTo>
                <a:lnTo>
                  <a:pt x="127740" y="9811"/>
                </a:lnTo>
                <a:lnTo>
                  <a:pt x="133017" y="11325"/>
                </a:lnTo>
                <a:lnTo>
                  <a:pt x="133665" y="12497"/>
                </a:lnTo>
                <a:lnTo>
                  <a:pt x="134064" y="13964"/>
                </a:lnTo>
                <a:lnTo>
                  <a:pt x="139008" y="20098"/>
                </a:lnTo>
                <a:lnTo>
                  <a:pt x="141227" y="23174"/>
                </a:lnTo>
                <a:lnTo>
                  <a:pt x="145609" y="25994"/>
                </a:lnTo>
                <a:lnTo>
                  <a:pt x="147495" y="26661"/>
                </a:lnTo>
                <a:lnTo>
                  <a:pt x="155172" y="23784"/>
                </a:lnTo>
                <a:lnTo>
                  <a:pt x="157306" y="22793"/>
                </a:lnTo>
                <a:lnTo>
                  <a:pt x="159078" y="22774"/>
                </a:lnTo>
                <a:lnTo>
                  <a:pt x="160877" y="24289"/>
                </a:lnTo>
                <a:lnTo>
                  <a:pt x="164992" y="26298"/>
                </a:lnTo>
                <a:lnTo>
                  <a:pt x="168716" y="26937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8" name="Forme libre : forme 37">
            <a:extLst>
              <a:ext uri="{FF2B5EF4-FFF2-40B4-BE49-F238E27FC236}">
                <a16:creationId xmlns:a16="http://schemas.microsoft.com/office/drawing/2014/main" id="{5112513B-E1AF-CD67-42EB-AFED1EA08BAF}"/>
              </a:ext>
            </a:extLst>
          </p:cNvPr>
          <p:cNvSpPr/>
          <p:nvPr/>
        </p:nvSpPr>
        <p:spPr>
          <a:xfrm>
            <a:off x="5778777" y="3874280"/>
            <a:ext cx="2123" cy="1887"/>
          </a:xfrm>
          <a:custGeom>
            <a:avLst/>
            <a:gdLst>
              <a:gd name="connsiteX0" fmla="*/ 1629 w 1628"/>
              <a:gd name="connsiteY0" fmla="*/ 752 h 1447"/>
              <a:gd name="connsiteX1" fmla="*/ 0 w 1628"/>
              <a:gd name="connsiteY1" fmla="*/ 1448 h 1447"/>
              <a:gd name="connsiteX2" fmla="*/ 67 w 1628"/>
              <a:gd name="connsiteY2" fmla="*/ 648 h 1447"/>
              <a:gd name="connsiteX3" fmla="*/ 467 w 1628"/>
              <a:gd name="connsiteY3" fmla="*/ 210 h 1447"/>
              <a:gd name="connsiteX4" fmla="*/ 981 w 1628"/>
              <a:gd name="connsiteY4" fmla="*/ 0 h 1447"/>
              <a:gd name="connsiteX5" fmla="*/ 1581 w 1628"/>
              <a:gd name="connsiteY5" fmla="*/ 352 h 1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8" h="1447">
                <a:moveTo>
                  <a:pt x="1629" y="752"/>
                </a:moveTo>
                <a:lnTo>
                  <a:pt x="0" y="1448"/>
                </a:lnTo>
                <a:lnTo>
                  <a:pt x="67" y="648"/>
                </a:lnTo>
                <a:lnTo>
                  <a:pt x="467" y="210"/>
                </a:lnTo>
                <a:lnTo>
                  <a:pt x="981" y="0"/>
                </a:lnTo>
                <a:lnTo>
                  <a:pt x="1581" y="352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9" name="Forme libre : forme 38">
            <a:extLst>
              <a:ext uri="{FF2B5EF4-FFF2-40B4-BE49-F238E27FC236}">
                <a16:creationId xmlns:a16="http://schemas.microsoft.com/office/drawing/2014/main" id="{5258372D-DD85-18B1-E5B8-C32168B8D669}"/>
              </a:ext>
            </a:extLst>
          </p:cNvPr>
          <p:cNvSpPr/>
          <p:nvPr/>
        </p:nvSpPr>
        <p:spPr>
          <a:xfrm>
            <a:off x="6449642" y="3638061"/>
            <a:ext cx="122457" cy="154235"/>
          </a:xfrm>
          <a:custGeom>
            <a:avLst/>
            <a:gdLst>
              <a:gd name="connsiteX0" fmla="*/ 42596 w 93887"/>
              <a:gd name="connsiteY0" fmla="*/ 118253 h 118252"/>
              <a:gd name="connsiteX1" fmla="*/ 41262 w 93887"/>
              <a:gd name="connsiteY1" fmla="*/ 115843 h 118252"/>
              <a:gd name="connsiteX2" fmla="*/ 39909 w 93887"/>
              <a:gd name="connsiteY2" fmla="*/ 113738 h 118252"/>
              <a:gd name="connsiteX3" fmla="*/ 38919 w 93887"/>
              <a:gd name="connsiteY3" fmla="*/ 112604 h 118252"/>
              <a:gd name="connsiteX4" fmla="*/ 39338 w 93887"/>
              <a:gd name="connsiteY4" fmla="*/ 112081 h 118252"/>
              <a:gd name="connsiteX5" fmla="*/ 40414 w 93887"/>
              <a:gd name="connsiteY5" fmla="*/ 111481 h 118252"/>
              <a:gd name="connsiteX6" fmla="*/ 41186 w 93887"/>
              <a:gd name="connsiteY6" fmla="*/ 110766 h 118252"/>
              <a:gd name="connsiteX7" fmla="*/ 41100 w 93887"/>
              <a:gd name="connsiteY7" fmla="*/ 108252 h 118252"/>
              <a:gd name="connsiteX8" fmla="*/ 40528 w 93887"/>
              <a:gd name="connsiteY8" fmla="*/ 105356 h 118252"/>
              <a:gd name="connsiteX9" fmla="*/ 40005 w 93887"/>
              <a:gd name="connsiteY9" fmla="*/ 103956 h 118252"/>
              <a:gd name="connsiteX10" fmla="*/ 39957 w 93887"/>
              <a:gd name="connsiteY10" fmla="*/ 101756 h 118252"/>
              <a:gd name="connsiteX11" fmla="*/ 39585 w 93887"/>
              <a:gd name="connsiteY11" fmla="*/ 98327 h 118252"/>
              <a:gd name="connsiteX12" fmla="*/ 40110 w 93887"/>
              <a:gd name="connsiteY12" fmla="*/ 91945 h 118252"/>
              <a:gd name="connsiteX13" fmla="*/ 42262 w 93887"/>
              <a:gd name="connsiteY13" fmla="*/ 83906 h 118252"/>
              <a:gd name="connsiteX14" fmla="*/ 43453 w 93887"/>
              <a:gd name="connsiteY14" fmla="*/ 79896 h 118252"/>
              <a:gd name="connsiteX15" fmla="*/ 42872 w 93887"/>
              <a:gd name="connsiteY15" fmla="*/ 77696 h 118252"/>
              <a:gd name="connsiteX16" fmla="*/ 43319 w 93887"/>
              <a:gd name="connsiteY16" fmla="*/ 72552 h 118252"/>
              <a:gd name="connsiteX17" fmla="*/ 42386 w 93887"/>
              <a:gd name="connsiteY17" fmla="*/ 70009 h 118252"/>
              <a:gd name="connsiteX18" fmla="*/ 40929 w 93887"/>
              <a:gd name="connsiteY18" fmla="*/ 66675 h 118252"/>
              <a:gd name="connsiteX19" fmla="*/ 38842 w 93887"/>
              <a:gd name="connsiteY19" fmla="*/ 59407 h 118252"/>
              <a:gd name="connsiteX20" fmla="*/ 36233 w 93887"/>
              <a:gd name="connsiteY20" fmla="*/ 56874 h 118252"/>
              <a:gd name="connsiteX21" fmla="*/ 33013 w 93887"/>
              <a:gd name="connsiteY21" fmla="*/ 54083 h 118252"/>
              <a:gd name="connsiteX22" fmla="*/ 31642 w 93887"/>
              <a:gd name="connsiteY22" fmla="*/ 51978 h 118252"/>
              <a:gd name="connsiteX23" fmla="*/ 30718 w 93887"/>
              <a:gd name="connsiteY23" fmla="*/ 49654 h 118252"/>
              <a:gd name="connsiteX24" fmla="*/ 28803 w 93887"/>
              <a:gd name="connsiteY24" fmla="*/ 47339 h 118252"/>
              <a:gd name="connsiteX25" fmla="*/ 26603 w 93887"/>
              <a:gd name="connsiteY25" fmla="*/ 45215 h 118252"/>
              <a:gd name="connsiteX26" fmla="*/ 23974 w 93887"/>
              <a:gd name="connsiteY26" fmla="*/ 39891 h 118252"/>
              <a:gd name="connsiteX27" fmla="*/ 22612 w 93887"/>
              <a:gd name="connsiteY27" fmla="*/ 37481 h 118252"/>
              <a:gd name="connsiteX28" fmla="*/ 22193 w 93887"/>
              <a:gd name="connsiteY28" fmla="*/ 36843 h 118252"/>
              <a:gd name="connsiteX29" fmla="*/ 19192 w 93887"/>
              <a:gd name="connsiteY29" fmla="*/ 33414 h 118252"/>
              <a:gd name="connsiteX30" fmla="*/ 17621 w 93887"/>
              <a:gd name="connsiteY30" fmla="*/ 30318 h 118252"/>
              <a:gd name="connsiteX31" fmla="*/ 16821 w 93887"/>
              <a:gd name="connsiteY31" fmla="*/ 27765 h 118252"/>
              <a:gd name="connsiteX32" fmla="*/ 16364 w 93887"/>
              <a:gd name="connsiteY32" fmla="*/ 25413 h 118252"/>
              <a:gd name="connsiteX33" fmla="*/ 14249 w 93887"/>
              <a:gd name="connsiteY33" fmla="*/ 20736 h 118252"/>
              <a:gd name="connsiteX34" fmla="*/ 12335 w 93887"/>
              <a:gd name="connsiteY34" fmla="*/ 17221 h 118252"/>
              <a:gd name="connsiteX35" fmla="*/ 10515 w 93887"/>
              <a:gd name="connsiteY35" fmla="*/ 14707 h 118252"/>
              <a:gd name="connsiteX36" fmla="*/ 9677 w 93887"/>
              <a:gd name="connsiteY36" fmla="*/ 12925 h 118252"/>
              <a:gd name="connsiteX37" fmla="*/ 7544 w 93887"/>
              <a:gd name="connsiteY37" fmla="*/ 10687 h 118252"/>
              <a:gd name="connsiteX38" fmla="*/ 4505 w 93887"/>
              <a:gd name="connsiteY38" fmla="*/ 8896 h 118252"/>
              <a:gd name="connsiteX39" fmla="*/ 2534 w 93887"/>
              <a:gd name="connsiteY39" fmla="*/ 8592 h 118252"/>
              <a:gd name="connsiteX40" fmla="*/ 0 w 93887"/>
              <a:gd name="connsiteY40" fmla="*/ 8734 h 118252"/>
              <a:gd name="connsiteX41" fmla="*/ 581 w 93887"/>
              <a:gd name="connsiteY41" fmla="*/ 7363 h 118252"/>
              <a:gd name="connsiteX42" fmla="*/ 6096 w 93887"/>
              <a:gd name="connsiteY42" fmla="*/ 3638 h 118252"/>
              <a:gd name="connsiteX43" fmla="*/ 7534 w 93887"/>
              <a:gd name="connsiteY43" fmla="*/ 4248 h 118252"/>
              <a:gd name="connsiteX44" fmla="*/ 10420 w 93887"/>
              <a:gd name="connsiteY44" fmla="*/ 4391 h 118252"/>
              <a:gd name="connsiteX45" fmla="*/ 16297 w 93887"/>
              <a:gd name="connsiteY45" fmla="*/ 4267 h 118252"/>
              <a:gd name="connsiteX46" fmla="*/ 19192 w 93887"/>
              <a:gd name="connsiteY46" fmla="*/ 1810 h 118252"/>
              <a:gd name="connsiteX47" fmla="*/ 20983 w 93887"/>
              <a:gd name="connsiteY47" fmla="*/ 2495 h 118252"/>
              <a:gd name="connsiteX48" fmla="*/ 22440 w 93887"/>
              <a:gd name="connsiteY48" fmla="*/ 1391 h 118252"/>
              <a:gd name="connsiteX49" fmla="*/ 24869 w 93887"/>
              <a:gd name="connsiteY49" fmla="*/ 0 h 118252"/>
              <a:gd name="connsiteX50" fmla="*/ 25222 w 93887"/>
              <a:gd name="connsiteY50" fmla="*/ 295 h 118252"/>
              <a:gd name="connsiteX51" fmla="*/ 25527 w 93887"/>
              <a:gd name="connsiteY51" fmla="*/ 515 h 118252"/>
              <a:gd name="connsiteX52" fmla="*/ 29280 w 93887"/>
              <a:gd name="connsiteY52" fmla="*/ 1133 h 118252"/>
              <a:gd name="connsiteX53" fmla="*/ 32109 w 93887"/>
              <a:gd name="connsiteY53" fmla="*/ 2467 h 118252"/>
              <a:gd name="connsiteX54" fmla="*/ 33994 w 93887"/>
              <a:gd name="connsiteY54" fmla="*/ 4515 h 118252"/>
              <a:gd name="connsiteX55" fmla="*/ 35947 w 93887"/>
              <a:gd name="connsiteY55" fmla="*/ 5782 h 118252"/>
              <a:gd name="connsiteX56" fmla="*/ 37947 w 93887"/>
              <a:gd name="connsiteY56" fmla="*/ 6277 h 118252"/>
              <a:gd name="connsiteX57" fmla="*/ 39062 w 93887"/>
              <a:gd name="connsiteY57" fmla="*/ 7306 h 118252"/>
              <a:gd name="connsiteX58" fmla="*/ 39281 w 93887"/>
              <a:gd name="connsiteY58" fmla="*/ 8849 h 118252"/>
              <a:gd name="connsiteX59" fmla="*/ 41167 w 93887"/>
              <a:gd name="connsiteY59" fmla="*/ 9611 h 118252"/>
              <a:gd name="connsiteX60" fmla="*/ 44701 w 93887"/>
              <a:gd name="connsiteY60" fmla="*/ 9592 h 118252"/>
              <a:gd name="connsiteX61" fmla="*/ 46196 w 93887"/>
              <a:gd name="connsiteY61" fmla="*/ 10611 h 118252"/>
              <a:gd name="connsiteX62" fmla="*/ 45662 w 93887"/>
              <a:gd name="connsiteY62" fmla="*/ 12678 h 118252"/>
              <a:gd name="connsiteX63" fmla="*/ 46025 w 93887"/>
              <a:gd name="connsiteY63" fmla="*/ 13354 h 118252"/>
              <a:gd name="connsiteX64" fmla="*/ 47282 w 93887"/>
              <a:gd name="connsiteY64" fmla="*/ 12649 h 118252"/>
              <a:gd name="connsiteX65" fmla="*/ 48234 w 93887"/>
              <a:gd name="connsiteY65" fmla="*/ 13259 h 118252"/>
              <a:gd name="connsiteX66" fmla="*/ 48730 w 93887"/>
              <a:gd name="connsiteY66" fmla="*/ 14783 h 118252"/>
              <a:gd name="connsiteX67" fmla="*/ 49301 w 93887"/>
              <a:gd name="connsiteY67" fmla="*/ 15507 h 118252"/>
              <a:gd name="connsiteX68" fmla="*/ 51102 w 93887"/>
              <a:gd name="connsiteY68" fmla="*/ 13116 h 118252"/>
              <a:gd name="connsiteX69" fmla="*/ 53006 w 93887"/>
              <a:gd name="connsiteY69" fmla="*/ 13354 h 118252"/>
              <a:gd name="connsiteX70" fmla="*/ 57607 w 93887"/>
              <a:gd name="connsiteY70" fmla="*/ 14345 h 118252"/>
              <a:gd name="connsiteX71" fmla="*/ 60064 w 93887"/>
              <a:gd name="connsiteY71" fmla="*/ 19288 h 118252"/>
              <a:gd name="connsiteX72" fmla="*/ 61598 w 93887"/>
              <a:gd name="connsiteY72" fmla="*/ 21060 h 118252"/>
              <a:gd name="connsiteX73" fmla="*/ 62941 w 93887"/>
              <a:gd name="connsiteY73" fmla="*/ 21784 h 118252"/>
              <a:gd name="connsiteX74" fmla="*/ 64636 w 93887"/>
              <a:gd name="connsiteY74" fmla="*/ 21012 h 118252"/>
              <a:gd name="connsiteX75" fmla="*/ 66141 w 93887"/>
              <a:gd name="connsiteY75" fmla="*/ 20098 h 118252"/>
              <a:gd name="connsiteX76" fmla="*/ 66999 w 93887"/>
              <a:gd name="connsiteY76" fmla="*/ 20526 h 118252"/>
              <a:gd name="connsiteX77" fmla="*/ 68866 w 93887"/>
              <a:gd name="connsiteY77" fmla="*/ 23794 h 118252"/>
              <a:gd name="connsiteX78" fmla="*/ 69294 w 93887"/>
              <a:gd name="connsiteY78" fmla="*/ 28061 h 118252"/>
              <a:gd name="connsiteX79" fmla="*/ 69285 w 93887"/>
              <a:gd name="connsiteY79" fmla="*/ 29775 h 118252"/>
              <a:gd name="connsiteX80" fmla="*/ 68627 w 93887"/>
              <a:gd name="connsiteY80" fmla="*/ 32671 h 118252"/>
              <a:gd name="connsiteX81" fmla="*/ 67684 w 93887"/>
              <a:gd name="connsiteY81" fmla="*/ 35738 h 118252"/>
              <a:gd name="connsiteX82" fmla="*/ 66941 w 93887"/>
              <a:gd name="connsiteY82" fmla="*/ 37738 h 118252"/>
              <a:gd name="connsiteX83" fmla="*/ 67256 w 93887"/>
              <a:gd name="connsiteY83" fmla="*/ 39338 h 118252"/>
              <a:gd name="connsiteX84" fmla="*/ 67923 w 93887"/>
              <a:gd name="connsiteY84" fmla="*/ 40681 h 118252"/>
              <a:gd name="connsiteX85" fmla="*/ 69009 w 93887"/>
              <a:gd name="connsiteY85" fmla="*/ 41120 h 118252"/>
              <a:gd name="connsiteX86" fmla="*/ 72571 w 93887"/>
              <a:gd name="connsiteY86" fmla="*/ 43825 h 118252"/>
              <a:gd name="connsiteX87" fmla="*/ 73904 w 93887"/>
              <a:gd name="connsiteY87" fmla="*/ 45711 h 118252"/>
              <a:gd name="connsiteX88" fmla="*/ 75838 w 93887"/>
              <a:gd name="connsiteY88" fmla="*/ 47101 h 118252"/>
              <a:gd name="connsiteX89" fmla="*/ 77305 w 93887"/>
              <a:gd name="connsiteY89" fmla="*/ 47177 h 118252"/>
              <a:gd name="connsiteX90" fmla="*/ 78067 w 93887"/>
              <a:gd name="connsiteY90" fmla="*/ 47949 h 118252"/>
              <a:gd name="connsiteX91" fmla="*/ 78334 w 93887"/>
              <a:gd name="connsiteY91" fmla="*/ 48901 h 118252"/>
              <a:gd name="connsiteX92" fmla="*/ 78133 w 93887"/>
              <a:gd name="connsiteY92" fmla="*/ 51302 h 118252"/>
              <a:gd name="connsiteX93" fmla="*/ 77314 w 93887"/>
              <a:gd name="connsiteY93" fmla="*/ 53550 h 118252"/>
              <a:gd name="connsiteX94" fmla="*/ 77419 w 93887"/>
              <a:gd name="connsiteY94" fmla="*/ 54998 h 118252"/>
              <a:gd name="connsiteX95" fmla="*/ 78714 w 93887"/>
              <a:gd name="connsiteY95" fmla="*/ 56712 h 118252"/>
              <a:gd name="connsiteX96" fmla="*/ 78857 w 93887"/>
              <a:gd name="connsiteY96" fmla="*/ 58693 h 118252"/>
              <a:gd name="connsiteX97" fmla="*/ 78943 w 93887"/>
              <a:gd name="connsiteY97" fmla="*/ 59969 h 118252"/>
              <a:gd name="connsiteX98" fmla="*/ 79629 w 93887"/>
              <a:gd name="connsiteY98" fmla="*/ 60951 h 118252"/>
              <a:gd name="connsiteX99" fmla="*/ 82896 w 93887"/>
              <a:gd name="connsiteY99" fmla="*/ 63132 h 118252"/>
              <a:gd name="connsiteX100" fmla="*/ 87116 w 93887"/>
              <a:gd name="connsiteY100" fmla="*/ 65237 h 118252"/>
              <a:gd name="connsiteX101" fmla="*/ 88192 w 93887"/>
              <a:gd name="connsiteY101" fmla="*/ 67046 h 118252"/>
              <a:gd name="connsiteX102" fmla="*/ 88849 w 93887"/>
              <a:gd name="connsiteY102" fmla="*/ 69332 h 118252"/>
              <a:gd name="connsiteX103" fmla="*/ 88639 w 93887"/>
              <a:gd name="connsiteY103" fmla="*/ 73171 h 118252"/>
              <a:gd name="connsiteX104" fmla="*/ 88363 w 93887"/>
              <a:gd name="connsiteY104" fmla="*/ 76505 h 118252"/>
              <a:gd name="connsiteX105" fmla="*/ 93888 w 93887"/>
              <a:gd name="connsiteY105" fmla="*/ 80982 h 118252"/>
              <a:gd name="connsiteX106" fmla="*/ 93259 w 93887"/>
              <a:gd name="connsiteY106" fmla="*/ 81820 h 118252"/>
              <a:gd name="connsiteX107" fmla="*/ 92402 w 93887"/>
              <a:gd name="connsiteY107" fmla="*/ 82734 h 118252"/>
              <a:gd name="connsiteX108" fmla="*/ 87125 w 93887"/>
              <a:gd name="connsiteY108" fmla="*/ 83410 h 118252"/>
              <a:gd name="connsiteX109" fmla="*/ 86049 w 93887"/>
              <a:gd name="connsiteY109" fmla="*/ 83782 h 118252"/>
              <a:gd name="connsiteX110" fmla="*/ 83753 w 93887"/>
              <a:gd name="connsiteY110" fmla="*/ 80420 h 118252"/>
              <a:gd name="connsiteX111" fmla="*/ 82543 w 93887"/>
              <a:gd name="connsiteY111" fmla="*/ 79991 h 118252"/>
              <a:gd name="connsiteX112" fmla="*/ 81419 w 93887"/>
              <a:gd name="connsiteY112" fmla="*/ 81229 h 118252"/>
              <a:gd name="connsiteX113" fmla="*/ 80086 w 93887"/>
              <a:gd name="connsiteY113" fmla="*/ 81915 h 118252"/>
              <a:gd name="connsiteX114" fmla="*/ 78495 w 93887"/>
              <a:gd name="connsiteY114" fmla="*/ 81572 h 118252"/>
              <a:gd name="connsiteX115" fmla="*/ 76781 w 93887"/>
              <a:gd name="connsiteY115" fmla="*/ 80534 h 118252"/>
              <a:gd name="connsiteX116" fmla="*/ 75914 w 93887"/>
              <a:gd name="connsiteY116" fmla="*/ 79800 h 118252"/>
              <a:gd name="connsiteX117" fmla="*/ 75219 w 93887"/>
              <a:gd name="connsiteY117" fmla="*/ 79715 h 118252"/>
              <a:gd name="connsiteX118" fmla="*/ 74152 w 93887"/>
              <a:gd name="connsiteY118" fmla="*/ 80448 h 118252"/>
              <a:gd name="connsiteX119" fmla="*/ 72733 w 93887"/>
              <a:gd name="connsiteY119" fmla="*/ 80134 h 118252"/>
              <a:gd name="connsiteX120" fmla="*/ 71799 w 93887"/>
              <a:gd name="connsiteY120" fmla="*/ 79305 h 118252"/>
              <a:gd name="connsiteX121" fmla="*/ 70456 w 93887"/>
              <a:gd name="connsiteY121" fmla="*/ 82163 h 118252"/>
              <a:gd name="connsiteX122" fmla="*/ 69637 w 93887"/>
              <a:gd name="connsiteY122" fmla="*/ 82763 h 118252"/>
              <a:gd name="connsiteX123" fmla="*/ 69123 w 93887"/>
              <a:gd name="connsiteY123" fmla="*/ 82677 h 118252"/>
              <a:gd name="connsiteX124" fmla="*/ 69018 w 93887"/>
              <a:gd name="connsiteY124" fmla="*/ 77819 h 118252"/>
              <a:gd name="connsiteX125" fmla="*/ 68627 w 93887"/>
              <a:gd name="connsiteY125" fmla="*/ 77086 h 118252"/>
              <a:gd name="connsiteX126" fmla="*/ 67560 w 93887"/>
              <a:gd name="connsiteY126" fmla="*/ 76962 h 118252"/>
              <a:gd name="connsiteX127" fmla="*/ 64989 w 93887"/>
              <a:gd name="connsiteY127" fmla="*/ 78124 h 118252"/>
              <a:gd name="connsiteX128" fmla="*/ 62541 w 93887"/>
              <a:gd name="connsiteY128" fmla="*/ 79620 h 118252"/>
              <a:gd name="connsiteX129" fmla="*/ 61712 w 93887"/>
              <a:gd name="connsiteY129" fmla="*/ 80944 h 118252"/>
              <a:gd name="connsiteX130" fmla="*/ 61798 w 93887"/>
              <a:gd name="connsiteY130" fmla="*/ 83334 h 118252"/>
              <a:gd name="connsiteX131" fmla="*/ 62150 w 93887"/>
              <a:gd name="connsiteY131" fmla="*/ 86182 h 118252"/>
              <a:gd name="connsiteX132" fmla="*/ 63817 w 93887"/>
              <a:gd name="connsiteY132" fmla="*/ 90497 h 118252"/>
              <a:gd name="connsiteX133" fmla="*/ 62903 w 93887"/>
              <a:gd name="connsiteY133" fmla="*/ 92373 h 118252"/>
              <a:gd name="connsiteX134" fmla="*/ 62255 w 93887"/>
              <a:gd name="connsiteY134" fmla="*/ 95364 h 118252"/>
              <a:gd name="connsiteX135" fmla="*/ 59636 w 93887"/>
              <a:gd name="connsiteY135" fmla="*/ 98098 h 118252"/>
              <a:gd name="connsiteX136" fmla="*/ 56664 w 93887"/>
              <a:gd name="connsiteY136" fmla="*/ 99689 h 118252"/>
              <a:gd name="connsiteX137" fmla="*/ 56416 w 93887"/>
              <a:gd name="connsiteY137" fmla="*/ 102946 h 118252"/>
              <a:gd name="connsiteX138" fmla="*/ 54769 w 93887"/>
              <a:gd name="connsiteY138" fmla="*/ 105166 h 118252"/>
              <a:gd name="connsiteX139" fmla="*/ 51949 w 93887"/>
              <a:gd name="connsiteY139" fmla="*/ 107385 h 118252"/>
              <a:gd name="connsiteX140" fmla="*/ 50063 w 93887"/>
              <a:gd name="connsiteY140" fmla="*/ 110061 h 118252"/>
              <a:gd name="connsiteX141" fmla="*/ 50539 w 93887"/>
              <a:gd name="connsiteY141" fmla="*/ 111881 h 118252"/>
              <a:gd name="connsiteX142" fmla="*/ 50654 w 93887"/>
              <a:gd name="connsiteY142" fmla="*/ 113614 h 118252"/>
              <a:gd name="connsiteX143" fmla="*/ 50330 w 93887"/>
              <a:gd name="connsiteY143" fmla="*/ 114786 h 118252"/>
              <a:gd name="connsiteX144" fmla="*/ 50263 w 93887"/>
              <a:gd name="connsiteY144" fmla="*/ 115691 h 118252"/>
              <a:gd name="connsiteX145" fmla="*/ 49520 w 93887"/>
              <a:gd name="connsiteY145" fmla="*/ 116091 h 118252"/>
              <a:gd name="connsiteX146" fmla="*/ 45215 w 93887"/>
              <a:gd name="connsiteY146" fmla="*/ 116424 h 118252"/>
              <a:gd name="connsiteX147" fmla="*/ 43996 w 93887"/>
              <a:gd name="connsiteY147" fmla="*/ 116986 h 118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93887" h="118252">
                <a:moveTo>
                  <a:pt x="42596" y="118253"/>
                </a:moveTo>
                <a:lnTo>
                  <a:pt x="41262" y="115843"/>
                </a:lnTo>
                <a:lnTo>
                  <a:pt x="39909" y="113738"/>
                </a:lnTo>
                <a:lnTo>
                  <a:pt x="38919" y="112604"/>
                </a:lnTo>
                <a:lnTo>
                  <a:pt x="39338" y="112081"/>
                </a:lnTo>
                <a:lnTo>
                  <a:pt x="40414" y="111481"/>
                </a:lnTo>
                <a:lnTo>
                  <a:pt x="41186" y="110766"/>
                </a:lnTo>
                <a:lnTo>
                  <a:pt x="41100" y="108252"/>
                </a:lnTo>
                <a:lnTo>
                  <a:pt x="40528" y="105356"/>
                </a:lnTo>
                <a:lnTo>
                  <a:pt x="40005" y="103956"/>
                </a:lnTo>
                <a:lnTo>
                  <a:pt x="39957" y="101756"/>
                </a:lnTo>
                <a:lnTo>
                  <a:pt x="39585" y="98327"/>
                </a:lnTo>
                <a:lnTo>
                  <a:pt x="40110" y="91945"/>
                </a:lnTo>
                <a:lnTo>
                  <a:pt x="42262" y="83906"/>
                </a:lnTo>
                <a:lnTo>
                  <a:pt x="43453" y="79896"/>
                </a:lnTo>
                <a:lnTo>
                  <a:pt x="42872" y="77696"/>
                </a:lnTo>
                <a:lnTo>
                  <a:pt x="43319" y="72552"/>
                </a:lnTo>
                <a:lnTo>
                  <a:pt x="42386" y="70009"/>
                </a:lnTo>
                <a:lnTo>
                  <a:pt x="40929" y="66675"/>
                </a:lnTo>
                <a:lnTo>
                  <a:pt x="38842" y="59407"/>
                </a:lnTo>
                <a:lnTo>
                  <a:pt x="36233" y="56874"/>
                </a:lnTo>
                <a:lnTo>
                  <a:pt x="33013" y="54083"/>
                </a:lnTo>
                <a:lnTo>
                  <a:pt x="31642" y="51978"/>
                </a:lnTo>
                <a:lnTo>
                  <a:pt x="30718" y="49654"/>
                </a:lnTo>
                <a:lnTo>
                  <a:pt x="28803" y="47339"/>
                </a:lnTo>
                <a:lnTo>
                  <a:pt x="26603" y="45215"/>
                </a:lnTo>
                <a:lnTo>
                  <a:pt x="23974" y="39891"/>
                </a:lnTo>
                <a:lnTo>
                  <a:pt x="22612" y="37481"/>
                </a:lnTo>
                <a:lnTo>
                  <a:pt x="22193" y="36843"/>
                </a:lnTo>
                <a:lnTo>
                  <a:pt x="19192" y="33414"/>
                </a:lnTo>
                <a:lnTo>
                  <a:pt x="17621" y="30318"/>
                </a:lnTo>
                <a:lnTo>
                  <a:pt x="16821" y="27765"/>
                </a:lnTo>
                <a:lnTo>
                  <a:pt x="16364" y="25413"/>
                </a:lnTo>
                <a:lnTo>
                  <a:pt x="14249" y="20736"/>
                </a:lnTo>
                <a:lnTo>
                  <a:pt x="12335" y="17221"/>
                </a:lnTo>
                <a:lnTo>
                  <a:pt x="10515" y="14707"/>
                </a:lnTo>
                <a:lnTo>
                  <a:pt x="9677" y="12925"/>
                </a:lnTo>
                <a:lnTo>
                  <a:pt x="7544" y="10687"/>
                </a:lnTo>
                <a:lnTo>
                  <a:pt x="4505" y="8896"/>
                </a:lnTo>
                <a:lnTo>
                  <a:pt x="2534" y="8592"/>
                </a:lnTo>
                <a:lnTo>
                  <a:pt x="0" y="8734"/>
                </a:lnTo>
                <a:lnTo>
                  <a:pt x="581" y="7363"/>
                </a:lnTo>
                <a:lnTo>
                  <a:pt x="6096" y="3638"/>
                </a:lnTo>
                <a:lnTo>
                  <a:pt x="7534" y="4248"/>
                </a:lnTo>
                <a:lnTo>
                  <a:pt x="10420" y="4391"/>
                </a:lnTo>
                <a:lnTo>
                  <a:pt x="16297" y="4267"/>
                </a:lnTo>
                <a:lnTo>
                  <a:pt x="19192" y="1810"/>
                </a:lnTo>
                <a:lnTo>
                  <a:pt x="20983" y="2495"/>
                </a:lnTo>
                <a:lnTo>
                  <a:pt x="22440" y="1391"/>
                </a:lnTo>
                <a:lnTo>
                  <a:pt x="24869" y="0"/>
                </a:lnTo>
                <a:lnTo>
                  <a:pt x="25222" y="295"/>
                </a:lnTo>
                <a:lnTo>
                  <a:pt x="25527" y="515"/>
                </a:lnTo>
                <a:lnTo>
                  <a:pt x="29280" y="1133"/>
                </a:lnTo>
                <a:lnTo>
                  <a:pt x="32109" y="2467"/>
                </a:lnTo>
                <a:lnTo>
                  <a:pt x="33994" y="4515"/>
                </a:lnTo>
                <a:lnTo>
                  <a:pt x="35947" y="5782"/>
                </a:lnTo>
                <a:lnTo>
                  <a:pt x="37947" y="6277"/>
                </a:lnTo>
                <a:lnTo>
                  <a:pt x="39062" y="7306"/>
                </a:lnTo>
                <a:lnTo>
                  <a:pt x="39281" y="8849"/>
                </a:lnTo>
                <a:lnTo>
                  <a:pt x="41167" y="9611"/>
                </a:lnTo>
                <a:lnTo>
                  <a:pt x="44701" y="9592"/>
                </a:lnTo>
                <a:lnTo>
                  <a:pt x="46196" y="10611"/>
                </a:lnTo>
                <a:lnTo>
                  <a:pt x="45662" y="12678"/>
                </a:lnTo>
                <a:lnTo>
                  <a:pt x="46025" y="13354"/>
                </a:lnTo>
                <a:lnTo>
                  <a:pt x="47282" y="12649"/>
                </a:lnTo>
                <a:lnTo>
                  <a:pt x="48234" y="13259"/>
                </a:lnTo>
                <a:lnTo>
                  <a:pt x="48730" y="14783"/>
                </a:lnTo>
                <a:lnTo>
                  <a:pt x="49301" y="15507"/>
                </a:lnTo>
                <a:lnTo>
                  <a:pt x="51102" y="13116"/>
                </a:lnTo>
                <a:lnTo>
                  <a:pt x="53006" y="13354"/>
                </a:lnTo>
                <a:lnTo>
                  <a:pt x="57607" y="14345"/>
                </a:lnTo>
                <a:lnTo>
                  <a:pt x="60064" y="19288"/>
                </a:lnTo>
                <a:lnTo>
                  <a:pt x="61598" y="21060"/>
                </a:lnTo>
                <a:lnTo>
                  <a:pt x="62941" y="21784"/>
                </a:lnTo>
                <a:lnTo>
                  <a:pt x="64636" y="21012"/>
                </a:lnTo>
                <a:lnTo>
                  <a:pt x="66141" y="20098"/>
                </a:lnTo>
                <a:lnTo>
                  <a:pt x="66999" y="20526"/>
                </a:lnTo>
                <a:lnTo>
                  <a:pt x="68866" y="23794"/>
                </a:lnTo>
                <a:lnTo>
                  <a:pt x="69294" y="28061"/>
                </a:lnTo>
                <a:lnTo>
                  <a:pt x="69285" y="29775"/>
                </a:lnTo>
                <a:lnTo>
                  <a:pt x="68627" y="32671"/>
                </a:lnTo>
                <a:lnTo>
                  <a:pt x="67684" y="35738"/>
                </a:lnTo>
                <a:lnTo>
                  <a:pt x="66941" y="37738"/>
                </a:lnTo>
                <a:lnTo>
                  <a:pt x="67256" y="39338"/>
                </a:lnTo>
                <a:lnTo>
                  <a:pt x="67923" y="40681"/>
                </a:lnTo>
                <a:lnTo>
                  <a:pt x="69009" y="41120"/>
                </a:lnTo>
                <a:lnTo>
                  <a:pt x="72571" y="43825"/>
                </a:lnTo>
                <a:lnTo>
                  <a:pt x="73904" y="45711"/>
                </a:lnTo>
                <a:lnTo>
                  <a:pt x="75838" y="47101"/>
                </a:lnTo>
                <a:lnTo>
                  <a:pt x="77305" y="47177"/>
                </a:lnTo>
                <a:lnTo>
                  <a:pt x="78067" y="47949"/>
                </a:lnTo>
                <a:lnTo>
                  <a:pt x="78334" y="48901"/>
                </a:lnTo>
                <a:lnTo>
                  <a:pt x="78133" y="51302"/>
                </a:lnTo>
                <a:lnTo>
                  <a:pt x="77314" y="53550"/>
                </a:lnTo>
                <a:lnTo>
                  <a:pt x="77419" y="54998"/>
                </a:lnTo>
                <a:lnTo>
                  <a:pt x="78714" y="56712"/>
                </a:lnTo>
                <a:lnTo>
                  <a:pt x="78857" y="58693"/>
                </a:lnTo>
                <a:lnTo>
                  <a:pt x="78943" y="59969"/>
                </a:lnTo>
                <a:lnTo>
                  <a:pt x="79629" y="60951"/>
                </a:lnTo>
                <a:lnTo>
                  <a:pt x="82896" y="63132"/>
                </a:lnTo>
                <a:lnTo>
                  <a:pt x="87116" y="65237"/>
                </a:lnTo>
                <a:lnTo>
                  <a:pt x="88192" y="67046"/>
                </a:lnTo>
                <a:lnTo>
                  <a:pt x="88849" y="69332"/>
                </a:lnTo>
                <a:lnTo>
                  <a:pt x="88639" y="73171"/>
                </a:lnTo>
                <a:lnTo>
                  <a:pt x="88363" y="76505"/>
                </a:lnTo>
                <a:lnTo>
                  <a:pt x="93888" y="80982"/>
                </a:lnTo>
                <a:lnTo>
                  <a:pt x="93259" y="81820"/>
                </a:lnTo>
                <a:lnTo>
                  <a:pt x="92402" y="82734"/>
                </a:lnTo>
                <a:lnTo>
                  <a:pt x="87125" y="83410"/>
                </a:lnTo>
                <a:lnTo>
                  <a:pt x="86049" y="83782"/>
                </a:lnTo>
                <a:lnTo>
                  <a:pt x="83753" y="80420"/>
                </a:lnTo>
                <a:lnTo>
                  <a:pt x="82543" y="79991"/>
                </a:lnTo>
                <a:lnTo>
                  <a:pt x="81419" y="81229"/>
                </a:lnTo>
                <a:lnTo>
                  <a:pt x="80086" y="81915"/>
                </a:lnTo>
                <a:lnTo>
                  <a:pt x="78495" y="81572"/>
                </a:lnTo>
                <a:lnTo>
                  <a:pt x="76781" y="80534"/>
                </a:lnTo>
                <a:lnTo>
                  <a:pt x="75914" y="79800"/>
                </a:lnTo>
                <a:lnTo>
                  <a:pt x="75219" y="79715"/>
                </a:lnTo>
                <a:lnTo>
                  <a:pt x="74152" y="80448"/>
                </a:lnTo>
                <a:lnTo>
                  <a:pt x="72733" y="80134"/>
                </a:lnTo>
                <a:lnTo>
                  <a:pt x="71799" y="79305"/>
                </a:lnTo>
                <a:lnTo>
                  <a:pt x="70456" y="82163"/>
                </a:lnTo>
                <a:lnTo>
                  <a:pt x="69637" y="82763"/>
                </a:lnTo>
                <a:lnTo>
                  <a:pt x="69123" y="82677"/>
                </a:lnTo>
                <a:lnTo>
                  <a:pt x="69018" y="77819"/>
                </a:lnTo>
                <a:lnTo>
                  <a:pt x="68627" y="77086"/>
                </a:lnTo>
                <a:lnTo>
                  <a:pt x="67560" y="76962"/>
                </a:lnTo>
                <a:lnTo>
                  <a:pt x="64989" y="78124"/>
                </a:lnTo>
                <a:lnTo>
                  <a:pt x="62541" y="79620"/>
                </a:lnTo>
                <a:lnTo>
                  <a:pt x="61712" y="80944"/>
                </a:lnTo>
                <a:lnTo>
                  <a:pt x="61798" y="83334"/>
                </a:lnTo>
                <a:lnTo>
                  <a:pt x="62150" y="86182"/>
                </a:lnTo>
                <a:lnTo>
                  <a:pt x="63817" y="90497"/>
                </a:lnTo>
                <a:lnTo>
                  <a:pt x="62903" y="92373"/>
                </a:lnTo>
                <a:lnTo>
                  <a:pt x="62255" y="95364"/>
                </a:lnTo>
                <a:lnTo>
                  <a:pt x="59636" y="98098"/>
                </a:lnTo>
                <a:lnTo>
                  <a:pt x="56664" y="99689"/>
                </a:lnTo>
                <a:lnTo>
                  <a:pt x="56416" y="102946"/>
                </a:lnTo>
                <a:lnTo>
                  <a:pt x="54769" y="105166"/>
                </a:lnTo>
                <a:lnTo>
                  <a:pt x="51949" y="107385"/>
                </a:lnTo>
                <a:lnTo>
                  <a:pt x="50063" y="110061"/>
                </a:lnTo>
                <a:lnTo>
                  <a:pt x="50539" y="111881"/>
                </a:lnTo>
                <a:lnTo>
                  <a:pt x="50654" y="113614"/>
                </a:lnTo>
                <a:lnTo>
                  <a:pt x="50330" y="114786"/>
                </a:lnTo>
                <a:lnTo>
                  <a:pt x="50263" y="115691"/>
                </a:lnTo>
                <a:lnTo>
                  <a:pt x="49520" y="116091"/>
                </a:lnTo>
                <a:lnTo>
                  <a:pt x="45215" y="116424"/>
                </a:lnTo>
                <a:lnTo>
                  <a:pt x="43996" y="116986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0" name="Forme libre : forme 39">
            <a:extLst>
              <a:ext uri="{FF2B5EF4-FFF2-40B4-BE49-F238E27FC236}">
                <a16:creationId xmlns:a16="http://schemas.microsoft.com/office/drawing/2014/main" id="{2A080C3B-D6E9-7BC0-8A99-7C869837A18F}"/>
              </a:ext>
            </a:extLst>
          </p:cNvPr>
          <p:cNvSpPr/>
          <p:nvPr/>
        </p:nvSpPr>
        <p:spPr>
          <a:xfrm>
            <a:off x="6164350" y="3885250"/>
            <a:ext cx="66639" cy="79124"/>
          </a:xfrm>
          <a:custGeom>
            <a:avLst/>
            <a:gdLst>
              <a:gd name="connsiteX0" fmla="*/ 20260 w 51092"/>
              <a:gd name="connsiteY0" fmla="*/ 343 h 60664"/>
              <a:gd name="connsiteX1" fmla="*/ 20193 w 51092"/>
              <a:gd name="connsiteY1" fmla="*/ 791 h 60664"/>
              <a:gd name="connsiteX2" fmla="*/ 20317 w 51092"/>
              <a:gd name="connsiteY2" fmla="*/ 2114 h 60664"/>
              <a:gd name="connsiteX3" fmla="*/ 20917 w 51092"/>
              <a:gd name="connsiteY3" fmla="*/ 3400 h 60664"/>
              <a:gd name="connsiteX4" fmla="*/ 23041 w 51092"/>
              <a:gd name="connsiteY4" fmla="*/ 4715 h 60664"/>
              <a:gd name="connsiteX5" fmla="*/ 26156 w 51092"/>
              <a:gd name="connsiteY5" fmla="*/ 7325 h 60664"/>
              <a:gd name="connsiteX6" fmla="*/ 29813 w 51092"/>
              <a:gd name="connsiteY6" fmla="*/ 12106 h 60664"/>
              <a:gd name="connsiteX7" fmla="*/ 31490 w 51092"/>
              <a:gd name="connsiteY7" fmla="*/ 13516 h 60664"/>
              <a:gd name="connsiteX8" fmla="*/ 33004 w 51092"/>
              <a:gd name="connsiteY8" fmla="*/ 13868 h 60664"/>
              <a:gd name="connsiteX9" fmla="*/ 35948 w 51092"/>
              <a:gd name="connsiteY9" fmla="*/ 15840 h 60664"/>
              <a:gd name="connsiteX10" fmla="*/ 38005 w 51092"/>
              <a:gd name="connsiteY10" fmla="*/ 16326 h 60664"/>
              <a:gd name="connsiteX11" fmla="*/ 40300 w 51092"/>
              <a:gd name="connsiteY11" fmla="*/ 16869 h 60664"/>
              <a:gd name="connsiteX12" fmla="*/ 46282 w 51092"/>
              <a:gd name="connsiteY12" fmla="*/ 20993 h 60664"/>
              <a:gd name="connsiteX13" fmla="*/ 48978 w 51092"/>
              <a:gd name="connsiteY13" fmla="*/ 22193 h 60664"/>
              <a:gd name="connsiteX14" fmla="*/ 50883 w 51092"/>
              <a:gd name="connsiteY14" fmla="*/ 23746 h 60664"/>
              <a:gd name="connsiteX15" fmla="*/ 51092 w 51092"/>
              <a:gd name="connsiteY15" fmla="*/ 25203 h 60664"/>
              <a:gd name="connsiteX16" fmla="*/ 51007 w 51092"/>
              <a:gd name="connsiteY16" fmla="*/ 26108 h 60664"/>
              <a:gd name="connsiteX17" fmla="*/ 47549 w 51092"/>
              <a:gd name="connsiteY17" fmla="*/ 27156 h 60664"/>
              <a:gd name="connsiteX18" fmla="*/ 46949 w 51092"/>
              <a:gd name="connsiteY18" fmla="*/ 28765 h 60664"/>
              <a:gd name="connsiteX19" fmla="*/ 45272 w 51092"/>
              <a:gd name="connsiteY19" fmla="*/ 28575 h 60664"/>
              <a:gd name="connsiteX20" fmla="*/ 43244 w 51092"/>
              <a:gd name="connsiteY20" fmla="*/ 28565 h 60664"/>
              <a:gd name="connsiteX21" fmla="*/ 42586 w 51092"/>
              <a:gd name="connsiteY21" fmla="*/ 29585 h 60664"/>
              <a:gd name="connsiteX22" fmla="*/ 43558 w 51092"/>
              <a:gd name="connsiteY22" fmla="*/ 31261 h 60664"/>
              <a:gd name="connsiteX23" fmla="*/ 44187 w 51092"/>
              <a:gd name="connsiteY23" fmla="*/ 33223 h 60664"/>
              <a:gd name="connsiteX24" fmla="*/ 43682 w 51092"/>
              <a:gd name="connsiteY24" fmla="*/ 35919 h 60664"/>
              <a:gd name="connsiteX25" fmla="*/ 43510 w 51092"/>
              <a:gd name="connsiteY25" fmla="*/ 36271 h 60664"/>
              <a:gd name="connsiteX26" fmla="*/ 43025 w 51092"/>
              <a:gd name="connsiteY26" fmla="*/ 36176 h 60664"/>
              <a:gd name="connsiteX27" fmla="*/ 40167 w 51092"/>
              <a:gd name="connsiteY27" fmla="*/ 37738 h 60664"/>
              <a:gd name="connsiteX28" fmla="*/ 38052 w 51092"/>
              <a:gd name="connsiteY28" fmla="*/ 38471 h 60664"/>
              <a:gd name="connsiteX29" fmla="*/ 36138 w 51092"/>
              <a:gd name="connsiteY29" fmla="*/ 38843 h 60664"/>
              <a:gd name="connsiteX30" fmla="*/ 35233 w 51092"/>
              <a:gd name="connsiteY30" fmla="*/ 38090 h 60664"/>
              <a:gd name="connsiteX31" fmla="*/ 34786 w 51092"/>
              <a:gd name="connsiteY31" fmla="*/ 37071 h 60664"/>
              <a:gd name="connsiteX32" fmla="*/ 34871 w 51092"/>
              <a:gd name="connsiteY32" fmla="*/ 34119 h 60664"/>
              <a:gd name="connsiteX33" fmla="*/ 34519 w 51092"/>
              <a:gd name="connsiteY33" fmla="*/ 33118 h 60664"/>
              <a:gd name="connsiteX34" fmla="*/ 33871 w 51092"/>
              <a:gd name="connsiteY34" fmla="*/ 32633 h 60664"/>
              <a:gd name="connsiteX35" fmla="*/ 32557 w 51092"/>
              <a:gd name="connsiteY35" fmla="*/ 33328 h 60664"/>
              <a:gd name="connsiteX36" fmla="*/ 31042 w 51092"/>
              <a:gd name="connsiteY36" fmla="*/ 35623 h 60664"/>
              <a:gd name="connsiteX37" fmla="*/ 29623 w 51092"/>
              <a:gd name="connsiteY37" fmla="*/ 38272 h 60664"/>
              <a:gd name="connsiteX38" fmla="*/ 27499 w 51092"/>
              <a:gd name="connsiteY38" fmla="*/ 41034 h 60664"/>
              <a:gd name="connsiteX39" fmla="*/ 25746 w 51092"/>
              <a:gd name="connsiteY39" fmla="*/ 43682 h 60664"/>
              <a:gd name="connsiteX40" fmla="*/ 23860 w 51092"/>
              <a:gd name="connsiteY40" fmla="*/ 47025 h 60664"/>
              <a:gd name="connsiteX41" fmla="*/ 22574 w 51092"/>
              <a:gd name="connsiteY41" fmla="*/ 49778 h 60664"/>
              <a:gd name="connsiteX42" fmla="*/ 23908 w 51092"/>
              <a:gd name="connsiteY42" fmla="*/ 51340 h 60664"/>
              <a:gd name="connsiteX43" fmla="*/ 24727 w 51092"/>
              <a:gd name="connsiteY43" fmla="*/ 53492 h 60664"/>
              <a:gd name="connsiteX44" fmla="*/ 24479 w 51092"/>
              <a:gd name="connsiteY44" fmla="*/ 55112 h 60664"/>
              <a:gd name="connsiteX45" fmla="*/ 24718 w 51092"/>
              <a:gd name="connsiteY45" fmla="*/ 56055 h 60664"/>
              <a:gd name="connsiteX46" fmla="*/ 24299 w 51092"/>
              <a:gd name="connsiteY46" fmla="*/ 58884 h 60664"/>
              <a:gd name="connsiteX47" fmla="*/ 24222 w 51092"/>
              <a:gd name="connsiteY47" fmla="*/ 60665 h 60664"/>
              <a:gd name="connsiteX48" fmla="*/ 20051 w 51092"/>
              <a:gd name="connsiteY48" fmla="*/ 57817 h 60664"/>
              <a:gd name="connsiteX49" fmla="*/ 18336 w 51092"/>
              <a:gd name="connsiteY49" fmla="*/ 53807 h 60664"/>
              <a:gd name="connsiteX50" fmla="*/ 12240 w 51092"/>
              <a:gd name="connsiteY50" fmla="*/ 47015 h 60664"/>
              <a:gd name="connsiteX51" fmla="*/ 5258 w 51092"/>
              <a:gd name="connsiteY51" fmla="*/ 42386 h 60664"/>
              <a:gd name="connsiteX52" fmla="*/ 4886 w 51092"/>
              <a:gd name="connsiteY52" fmla="*/ 41653 h 60664"/>
              <a:gd name="connsiteX53" fmla="*/ 5268 w 51092"/>
              <a:gd name="connsiteY53" fmla="*/ 40757 h 60664"/>
              <a:gd name="connsiteX54" fmla="*/ 5601 w 51092"/>
              <a:gd name="connsiteY54" fmla="*/ 40052 h 60664"/>
              <a:gd name="connsiteX55" fmla="*/ 4143 w 51092"/>
              <a:gd name="connsiteY55" fmla="*/ 39996 h 60664"/>
              <a:gd name="connsiteX56" fmla="*/ 3134 w 51092"/>
              <a:gd name="connsiteY56" fmla="*/ 40567 h 60664"/>
              <a:gd name="connsiteX57" fmla="*/ 2163 w 51092"/>
              <a:gd name="connsiteY57" fmla="*/ 40405 h 60664"/>
              <a:gd name="connsiteX58" fmla="*/ 1077 w 51092"/>
              <a:gd name="connsiteY58" fmla="*/ 38662 h 60664"/>
              <a:gd name="connsiteX59" fmla="*/ 48 w 51092"/>
              <a:gd name="connsiteY59" fmla="*/ 37157 h 60664"/>
              <a:gd name="connsiteX60" fmla="*/ 0 w 51092"/>
              <a:gd name="connsiteY60" fmla="*/ 35823 h 60664"/>
              <a:gd name="connsiteX61" fmla="*/ 467 w 51092"/>
              <a:gd name="connsiteY61" fmla="*/ 35652 h 60664"/>
              <a:gd name="connsiteX62" fmla="*/ 1162 w 51092"/>
              <a:gd name="connsiteY62" fmla="*/ 35119 h 60664"/>
              <a:gd name="connsiteX63" fmla="*/ 2639 w 51092"/>
              <a:gd name="connsiteY63" fmla="*/ 33642 h 60664"/>
              <a:gd name="connsiteX64" fmla="*/ 2934 w 51092"/>
              <a:gd name="connsiteY64" fmla="*/ 32861 h 60664"/>
              <a:gd name="connsiteX65" fmla="*/ 2858 w 51092"/>
              <a:gd name="connsiteY65" fmla="*/ 31680 h 60664"/>
              <a:gd name="connsiteX66" fmla="*/ 791 w 51092"/>
              <a:gd name="connsiteY66" fmla="*/ 27946 h 60664"/>
              <a:gd name="connsiteX67" fmla="*/ 495 w 51092"/>
              <a:gd name="connsiteY67" fmla="*/ 25517 h 60664"/>
              <a:gd name="connsiteX68" fmla="*/ 200 w 51092"/>
              <a:gd name="connsiteY68" fmla="*/ 20993 h 60664"/>
              <a:gd name="connsiteX69" fmla="*/ 638 w 51092"/>
              <a:gd name="connsiteY69" fmla="*/ 19926 h 60664"/>
              <a:gd name="connsiteX70" fmla="*/ 1391 w 51092"/>
              <a:gd name="connsiteY70" fmla="*/ 19402 h 60664"/>
              <a:gd name="connsiteX71" fmla="*/ 5001 w 51092"/>
              <a:gd name="connsiteY71" fmla="*/ 18840 h 60664"/>
              <a:gd name="connsiteX72" fmla="*/ 4953 w 51092"/>
              <a:gd name="connsiteY72" fmla="*/ 15307 h 60664"/>
              <a:gd name="connsiteX73" fmla="*/ 5172 w 51092"/>
              <a:gd name="connsiteY73" fmla="*/ 14240 h 60664"/>
              <a:gd name="connsiteX74" fmla="*/ 5896 w 51092"/>
              <a:gd name="connsiteY74" fmla="*/ 12773 h 60664"/>
              <a:gd name="connsiteX75" fmla="*/ 6353 w 51092"/>
              <a:gd name="connsiteY75" fmla="*/ 11430 h 60664"/>
              <a:gd name="connsiteX76" fmla="*/ 8363 w 51092"/>
              <a:gd name="connsiteY76" fmla="*/ 9497 h 60664"/>
              <a:gd name="connsiteX77" fmla="*/ 11087 w 51092"/>
              <a:gd name="connsiteY77" fmla="*/ 7201 h 60664"/>
              <a:gd name="connsiteX78" fmla="*/ 12278 w 51092"/>
              <a:gd name="connsiteY78" fmla="*/ 7125 h 60664"/>
              <a:gd name="connsiteX79" fmla="*/ 13316 w 51092"/>
              <a:gd name="connsiteY79" fmla="*/ 7449 h 60664"/>
              <a:gd name="connsiteX80" fmla="*/ 14497 w 51092"/>
              <a:gd name="connsiteY80" fmla="*/ 9430 h 60664"/>
              <a:gd name="connsiteX81" fmla="*/ 15783 w 51092"/>
              <a:gd name="connsiteY81" fmla="*/ 9173 h 60664"/>
              <a:gd name="connsiteX82" fmla="*/ 16050 w 51092"/>
              <a:gd name="connsiteY82" fmla="*/ 6791 h 60664"/>
              <a:gd name="connsiteX83" fmla="*/ 14364 w 51092"/>
              <a:gd name="connsiteY83" fmla="*/ 3677 h 60664"/>
              <a:gd name="connsiteX84" fmla="*/ 13468 w 51092"/>
              <a:gd name="connsiteY84" fmla="*/ 1686 h 60664"/>
              <a:gd name="connsiteX85" fmla="*/ 13745 w 51092"/>
              <a:gd name="connsiteY85" fmla="*/ 581 h 60664"/>
              <a:gd name="connsiteX86" fmla="*/ 14374 w 51092"/>
              <a:gd name="connsiteY86" fmla="*/ 0 h 60664"/>
              <a:gd name="connsiteX87" fmla="*/ 15831 w 51092"/>
              <a:gd name="connsiteY87" fmla="*/ 362 h 60664"/>
              <a:gd name="connsiteX88" fmla="*/ 17212 w 51092"/>
              <a:gd name="connsiteY88" fmla="*/ 914 h 60664"/>
              <a:gd name="connsiteX89" fmla="*/ 18079 w 51092"/>
              <a:gd name="connsiteY89" fmla="*/ 543 h 60664"/>
              <a:gd name="connsiteX90" fmla="*/ 19460 w 51092"/>
              <a:gd name="connsiteY90" fmla="*/ 257 h 60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51092" h="60664">
                <a:moveTo>
                  <a:pt x="20260" y="343"/>
                </a:moveTo>
                <a:lnTo>
                  <a:pt x="20193" y="791"/>
                </a:lnTo>
                <a:lnTo>
                  <a:pt x="20317" y="2114"/>
                </a:lnTo>
                <a:lnTo>
                  <a:pt x="20917" y="3400"/>
                </a:lnTo>
                <a:lnTo>
                  <a:pt x="23041" y="4715"/>
                </a:lnTo>
                <a:lnTo>
                  <a:pt x="26156" y="7325"/>
                </a:lnTo>
                <a:lnTo>
                  <a:pt x="29813" y="12106"/>
                </a:lnTo>
                <a:lnTo>
                  <a:pt x="31490" y="13516"/>
                </a:lnTo>
                <a:lnTo>
                  <a:pt x="33004" y="13868"/>
                </a:lnTo>
                <a:lnTo>
                  <a:pt x="35948" y="15840"/>
                </a:lnTo>
                <a:lnTo>
                  <a:pt x="38005" y="16326"/>
                </a:lnTo>
                <a:lnTo>
                  <a:pt x="40300" y="16869"/>
                </a:lnTo>
                <a:lnTo>
                  <a:pt x="46282" y="20993"/>
                </a:lnTo>
                <a:lnTo>
                  <a:pt x="48978" y="22193"/>
                </a:lnTo>
                <a:lnTo>
                  <a:pt x="50883" y="23746"/>
                </a:lnTo>
                <a:lnTo>
                  <a:pt x="51092" y="25203"/>
                </a:lnTo>
                <a:lnTo>
                  <a:pt x="51007" y="26108"/>
                </a:lnTo>
                <a:lnTo>
                  <a:pt x="47549" y="27156"/>
                </a:lnTo>
                <a:lnTo>
                  <a:pt x="46949" y="28765"/>
                </a:lnTo>
                <a:lnTo>
                  <a:pt x="45272" y="28575"/>
                </a:lnTo>
                <a:lnTo>
                  <a:pt x="43244" y="28565"/>
                </a:lnTo>
                <a:lnTo>
                  <a:pt x="42586" y="29585"/>
                </a:lnTo>
                <a:lnTo>
                  <a:pt x="43558" y="31261"/>
                </a:lnTo>
                <a:lnTo>
                  <a:pt x="44187" y="33223"/>
                </a:lnTo>
                <a:lnTo>
                  <a:pt x="43682" y="35919"/>
                </a:lnTo>
                <a:lnTo>
                  <a:pt x="43510" y="36271"/>
                </a:lnTo>
                <a:lnTo>
                  <a:pt x="43025" y="36176"/>
                </a:lnTo>
                <a:lnTo>
                  <a:pt x="40167" y="37738"/>
                </a:lnTo>
                <a:lnTo>
                  <a:pt x="38052" y="38471"/>
                </a:lnTo>
                <a:lnTo>
                  <a:pt x="36138" y="38843"/>
                </a:lnTo>
                <a:lnTo>
                  <a:pt x="35233" y="38090"/>
                </a:lnTo>
                <a:lnTo>
                  <a:pt x="34786" y="37071"/>
                </a:lnTo>
                <a:lnTo>
                  <a:pt x="34871" y="34119"/>
                </a:lnTo>
                <a:lnTo>
                  <a:pt x="34519" y="33118"/>
                </a:lnTo>
                <a:lnTo>
                  <a:pt x="33871" y="32633"/>
                </a:lnTo>
                <a:lnTo>
                  <a:pt x="32557" y="33328"/>
                </a:lnTo>
                <a:lnTo>
                  <a:pt x="31042" y="35623"/>
                </a:lnTo>
                <a:lnTo>
                  <a:pt x="29623" y="38272"/>
                </a:lnTo>
                <a:lnTo>
                  <a:pt x="27499" y="41034"/>
                </a:lnTo>
                <a:lnTo>
                  <a:pt x="25746" y="43682"/>
                </a:lnTo>
                <a:lnTo>
                  <a:pt x="23860" y="47025"/>
                </a:lnTo>
                <a:lnTo>
                  <a:pt x="22574" y="49778"/>
                </a:lnTo>
                <a:lnTo>
                  <a:pt x="23908" y="51340"/>
                </a:lnTo>
                <a:lnTo>
                  <a:pt x="24727" y="53492"/>
                </a:lnTo>
                <a:lnTo>
                  <a:pt x="24479" y="55112"/>
                </a:lnTo>
                <a:lnTo>
                  <a:pt x="24718" y="56055"/>
                </a:lnTo>
                <a:lnTo>
                  <a:pt x="24299" y="58884"/>
                </a:lnTo>
                <a:lnTo>
                  <a:pt x="24222" y="60665"/>
                </a:lnTo>
                <a:lnTo>
                  <a:pt x="20051" y="57817"/>
                </a:lnTo>
                <a:lnTo>
                  <a:pt x="18336" y="53807"/>
                </a:lnTo>
                <a:lnTo>
                  <a:pt x="12240" y="47015"/>
                </a:lnTo>
                <a:lnTo>
                  <a:pt x="5258" y="42386"/>
                </a:lnTo>
                <a:lnTo>
                  <a:pt x="4886" y="41653"/>
                </a:lnTo>
                <a:lnTo>
                  <a:pt x="5268" y="40757"/>
                </a:lnTo>
                <a:lnTo>
                  <a:pt x="5601" y="40052"/>
                </a:lnTo>
                <a:lnTo>
                  <a:pt x="4143" y="39996"/>
                </a:lnTo>
                <a:lnTo>
                  <a:pt x="3134" y="40567"/>
                </a:lnTo>
                <a:lnTo>
                  <a:pt x="2163" y="40405"/>
                </a:lnTo>
                <a:lnTo>
                  <a:pt x="1077" y="38662"/>
                </a:lnTo>
                <a:lnTo>
                  <a:pt x="48" y="37157"/>
                </a:lnTo>
                <a:lnTo>
                  <a:pt x="0" y="35823"/>
                </a:lnTo>
                <a:lnTo>
                  <a:pt x="467" y="35652"/>
                </a:lnTo>
                <a:lnTo>
                  <a:pt x="1162" y="35119"/>
                </a:lnTo>
                <a:lnTo>
                  <a:pt x="2639" y="33642"/>
                </a:lnTo>
                <a:lnTo>
                  <a:pt x="2934" y="32861"/>
                </a:lnTo>
                <a:lnTo>
                  <a:pt x="2858" y="31680"/>
                </a:lnTo>
                <a:lnTo>
                  <a:pt x="791" y="27946"/>
                </a:lnTo>
                <a:lnTo>
                  <a:pt x="495" y="25517"/>
                </a:lnTo>
                <a:lnTo>
                  <a:pt x="200" y="20993"/>
                </a:lnTo>
                <a:lnTo>
                  <a:pt x="638" y="19926"/>
                </a:lnTo>
                <a:lnTo>
                  <a:pt x="1391" y="19402"/>
                </a:lnTo>
                <a:lnTo>
                  <a:pt x="5001" y="18840"/>
                </a:lnTo>
                <a:lnTo>
                  <a:pt x="4953" y="15307"/>
                </a:lnTo>
                <a:lnTo>
                  <a:pt x="5172" y="14240"/>
                </a:lnTo>
                <a:lnTo>
                  <a:pt x="5896" y="12773"/>
                </a:lnTo>
                <a:lnTo>
                  <a:pt x="6353" y="11430"/>
                </a:lnTo>
                <a:lnTo>
                  <a:pt x="8363" y="9497"/>
                </a:lnTo>
                <a:lnTo>
                  <a:pt x="11087" y="7201"/>
                </a:lnTo>
                <a:lnTo>
                  <a:pt x="12278" y="7125"/>
                </a:lnTo>
                <a:lnTo>
                  <a:pt x="13316" y="7449"/>
                </a:lnTo>
                <a:lnTo>
                  <a:pt x="14497" y="9430"/>
                </a:lnTo>
                <a:lnTo>
                  <a:pt x="15783" y="9173"/>
                </a:lnTo>
                <a:lnTo>
                  <a:pt x="16050" y="6791"/>
                </a:lnTo>
                <a:lnTo>
                  <a:pt x="14364" y="3677"/>
                </a:lnTo>
                <a:lnTo>
                  <a:pt x="13468" y="1686"/>
                </a:lnTo>
                <a:lnTo>
                  <a:pt x="13745" y="581"/>
                </a:lnTo>
                <a:lnTo>
                  <a:pt x="14374" y="0"/>
                </a:lnTo>
                <a:lnTo>
                  <a:pt x="15831" y="362"/>
                </a:lnTo>
                <a:lnTo>
                  <a:pt x="17212" y="914"/>
                </a:lnTo>
                <a:lnTo>
                  <a:pt x="18079" y="543"/>
                </a:lnTo>
                <a:lnTo>
                  <a:pt x="19460" y="257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1" name="Forme libre : forme 40">
            <a:extLst>
              <a:ext uri="{FF2B5EF4-FFF2-40B4-BE49-F238E27FC236}">
                <a16:creationId xmlns:a16="http://schemas.microsoft.com/office/drawing/2014/main" id="{18904D40-F7EC-E922-CC63-3CF539F531DB}"/>
              </a:ext>
            </a:extLst>
          </p:cNvPr>
          <p:cNvSpPr/>
          <p:nvPr/>
        </p:nvSpPr>
        <p:spPr>
          <a:xfrm>
            <a:off x="6234506" y="3941466"/>
            <a:ext cx="89162" cy="70068"/>
          </a:xfrm>
          <a:custGeom>
            <a:avLst/>
            <a:gdLst>
              <a:gd name="connsiteX0" fmla="*/ 50673 w 68360"/>
              <a:gd name="connsiteY0" fmla="*/ 1591 h 53721"/>
              <a:gd name="connsiteX1" fmla="*/ 54797 w 68360"/>
              <a:gd name="connsiteY1" fmla="*/ 6944 h 53721"/>
              <a:gd name="connsiteX2" fmla="*/ 57055 w 68360"/>
              <a:gd name="connsiteY2" fmla="*/ 9115 h 53721"/>
              <a:gd name="connsiteX3" fmla="*/ 59712 w 68360"/>
              <a:gd name="connsiteY3" fmla="*/ 10754 h 53721"/>
              <a:gd name="connsiteX4" fmla="*/ 62751 w 68360"/>
              <a:gd name="connsiteY4" fmla="*/ 11954 h 53721"/>
              <a:gd name="connsiteX5" fmla="*/ 63846 w 68360"/>
              <a:gd name="connsiteY5" fmla="*/ 13097 h 53721"/>
              <a:gd name="connsiteX6" fmla="*/ 65780 w 68360"/>
              <a:gd name="connsiteY6" fmla="*/ 18764 h 53721"/>
              <a:gd name="connsiteX7" fmla="*/ 66703 w 68360"/>
              <a:gd name="connsiteY7" fmla="*/ 20917 h 53721"/>
              <a:gd name="connsiteX8" fmla="*/ 67989 w 68360"/>
              <a:gd name="connsiteY8" fmla="*/ 21555 h 53721"/>
              <a:gd name="connsiteX9" fmla="*/ 68303 w 68360"/>
              <a:gd name="connsiteY9" fmla="*/ 22174 h 53721"/>
              <a:gd name="connsiteX10" fmla="*/ 68361 w 68360"/>
              <a:gd name="connsiteY10" fmla="*/ 22993 h 53721"/>
              <a:gd name="connsiteX11" fmla="*/ 66913 w 68360"/>
              <a:gd name="connsiteY11" fmla="*/ 26965 h 53721"/>
              <a:gd name="connsiteX12" fmla="*/ 66323 w 68360"/>
              <a:gd name="connsiteY12" fmla="*/ 35833 h 53721"/>
              <a:gd name="connsiteX13" fmla="*/ 65961 w 68360"/>
              <a:gd name="connsiteY13" fmla="*/ 36538 h 53721"/>
              <a:gd name="connsiteX14" fmla="*/ 64446 w 68360"/>
              <a:gd name="connsiteY14" fmla="*/ 36500 h 53721"/>
              <a:gd name="connsiteX15" fmla="*/ 62427 w 68360"/>
              <a:gd name="connsiteY15" fmla="*/ 36690 h 53721"/>
              <a:gd name="connsiteX16" fmla="*/ 61665 w 68360"/>
              <a:gd name="connsiteY16" fmla="*/ 37376 h 53721"/>
              <a:gd name="connsiteX17" fmla="*/ 60855 w 68360"/>
              <a:gd name="connsiteY17" fmla="*/ 42129 h 53721"/>
              <a:gd name="connsiteX18" fmla="*/ 57607 w 68360"/>
              <a:gd name="connsiteY18" fmla="*/ 43482 h 53721"/>
              <a:gd name="connsiteX19" fmla="*/ 54664 w 68360"/>
              <a:gd name="connsiteY19" fmla="*/ 44244 h 53721"/>
              <a:gd name="connsiteX20" fmla="*/ 52188 w 68360"/>
              <a:gd name="connsiteY20" fmla="*/ 44072 h 53721"/>
              <a:gd name="connsiteX21" fmla="*/ 47825 w 68360"/>
              <a:gd name="connsiteY21" fmla="*/ 42948 h 53721"/>
              <a:gd name="connsiteX22" fmla="*/ 46406 w 68360"/>
              <a:gd name="connsiteY22" fmla="*/ 42824 h 53721"/>
              <a:gd name="connsiteX23" fmla="*/ 45186 w 68360"/>
              <a:gd name="connsiteY23" fmla="*/ 43463 h 53721"/>
              <a:gd name="connsiteX24" fmla="*/ 41291 w 68360"/>
              <a:gd name="connsiteY24" fmla="*/ 43805 h 53721"/>
              <a:gd name="connsiteX25" fmla="*/ 39586 w 68360"/>
              <a:gd name="connsiteY25" fmla="*/ 44634 h 53721"/>
              <a:gd name="connsiteX26" fmla="*/ 35576 w 68360"/>
              <a:gd name="connsiteY26" fmla="*/ 50178 h 53721"/>
              <a:gd name="connsiteX27" fmla="*/ 31518 w 68360"/>
              <a:gd name="connsiteY27" fmla="*/ 52092 h 53721"/>
              <a:gd name="connsiteX28" fmla="*/ 30127 w 68360"/>
              <a:gd name="connsiteY28" fmla="*/ 53054 h 53721"/>
              <a:gd name="connsiteX29" fmla="*/ 27032 w 68360"/>
              <a:gd name="connsiteY29" fmla="*/ 51835 h 53721"/>
              <a:gd name="connsiteX30" fmla="*/ 25546 w 68360"/>
              <a:gd name="connsiteY30" fmla="*/ 51702 h 53721"/>
              <a:gd name="connsiteX31" fmla="*/ 23393 w 68360"/>
              <a:gd name="connsiteY31" fmla="*/ 53112 h 53721"/>
              <a:gd name="connsiteX32" fmla="*/ 18688 w 68360"/>
              <a:gd name="connsiteY32" fmla="*/ 53254 h 53721"/>
              <a:gd name="connsiteX33" fmla="*/ 17421 w 68360"/>
              <a:gd name="connsiteY33" fmla="*/ 53502 h 53721"/>
              <a:gd name="connsiteX34" fmla="*/ 13792 w 68360"/>
              <a:gd name="connsiteY34" fmla="*/ 53721 h 53721"/>
              <a:gd name="connsiteX35" fmla="*/ 13640 w 68360"/>
              <a:gd name="connsiteY35" fmla="*/ 52959 h 53721"/>
              <a:gd name="connsiteX36" fmla="*/ 12963 w 68360"/>
              <a:gd name="connsiteY36" fmla="*/ 51845 h 53721"/>
              <a:gd name="connsiteX37" fmla="*/ 11268 w 68360"/>
              <a:gd name="connsiteY37" fmla="*/ 51321 h 53721"/>
              <a:gd name="connsiteX38" fmla="*/ 7811 w 68360"/>
              <a:gd name="connsiteY38" fmla="*/ 51768 h 53721"/>
              <a:gd name="connsiteX39" fmla="*/ 6972 w 68360"/>
              <a:gd name="connsiteY39" fmla="*/ 50959 h 53721"/>
              <a:gd name="connsiteX40" fmla="*/ 5543 w 68360"/>
              <a:gd name="connsiteY40" fmla="*/ 46254 h 53721"/>
              <a:gd name="connsiteX41" fmla="*/ 4439 w 68360"/>
              <a:gd name="connsiteY41" fmla="*/ 45501 h 53721"/>
              <a:gd name="connsiteX42" fmla="*/ 3191 w 68360"/>
              <a:gd name="connsiteY42" fmla="*/ 43920 h 53721"/>
              <a:gd name="connsiteX43" fmla="*/ 1086 w 68360"/>
              <a:gd name="connsiteY43" fmla="*/ 38795 h 53721"/>
              <a:gd name="connsiteX44" fmla="*/ 1028 w 68360"/>
              <a:gd name="connsiteY44" fmla="*/ 36547 h 53721"/>
              <a:gd name="connsiteX45" fmla="*/ 1171 w 68360"/>
              <a:gd name="connsiteY45" fmla="*/ 34576 h 53721"/>
              <a:gd name="connsiteX46" fmla="*/ 0 w 68360"/>
              <a:gd name="connsiteY46" fmla="*/ 29966 h 53721"/>
              <a:gd name="connsiteX47" fmla="*/ 724 w 68360"/>
              <a:gd name="connsiteY47" fmla="*/ 28794 h 53721"/>
              <a:gd name="connsiteX48" fmla="*/ 1810 w 68360"/>
              <a:gd name="connsiteY48" fmla="*/ 28061 h 53721"/>
              <a:gd name="connsiteX49" fmla="*/ 1819 w 68360"/>
              <a:gd name="connsiteY49" fmla="*/ 26194 h 53721"/>
              <a:gd name="connsiteX50" fmla="*/ 1514 w 68360"/>
              <a:gd name="connsiteY50" fmla="*/ 23365 h 53721"/>
              <a:gd name="connsiteX51" fmla="*/ 2800 w 68360"/>
              <a:gd name="connsiteY51" fmla="*/ 17802 h 53721"/>
              <a:gd name="connsiteX52" fmla="*/ 3143 w 68360"/>
              <a:gd name="connsiteY52" fmla="*/ 17393 h 53721"/>
              <a:gd name="connsiteX53" fmla="*/ 3477 w 68360"/>
              <a:gd name="connsiteY53" fmla="*/ 17659 h 53721"/>
              <a:gd name="connsiteX54" fmla="*/ 6582 w 68360"/>
              <a:gd name="connsiteY54" fmla="*/ 18107 h 53721"/>
              <a:gd name="connsiteX55" fmla="*/ 7391 w 68360"/>
              <a:gd name="connsiteY55" fmla="*/ 17402 h 53721"/>
              <a:gd name="connsiteX56" fmla="*/ 7906 w 68360"/>
              <a:gd name="connsiteY56" fmla="*/ 16297 h 53721"/>
              <a:gd name="connsiteX57" fmla="*/ 8068 w 68360"/>
              <a:gd name="connsiteY57" fmla="*/ 12211 h 53721"/>
              <a:gd name="connsiteX58" fmla="*/ 8811 w 68360"/>
              <a:gd name="connsiteY58" fmla="*/ 10325 h 53721"/>
              <a:gd name="connsiteX59" fmla="*/ 16335 w 68360"/>
              <a:gd name="connsiteY59" fmla="*/ 6725 h 53721"/>
              <a:gd name="connsiteX60" fmla="*/ 18555 w 68360"/>
              <a:gd name="connsiteY60" fmla="*/ 6591 h 53721"/>
              <a:gd name="connsiteX61" fmla="*/ 20250 w 68360"/>
              <a:gd name="connsiteY61" fmla="*/ 8249 h 53721"/>
              <a:gd name="connsiteX62" fmla="*/ 21593 w 68360"/>
              <a:gd name="connsiteY62" fmla="*/ 9306 h 53721"/>
              <a:gd name="connsiteX63" fmla="*/ 22403 w 68360"/>
              <a:gd name="connsiteY63" fmla="*/ 9268 h 53721"/>
              <a:gd name="connsiteX64" fmla="*/ 22698 w 68360"/>
              <a:gd name="connsiteY64" fmla="*/ 8211 h 53721"/>
              <a:gd name="connsiteX65" fmla="*/ 23613 w 68360"/>
              <a:gd name="connsiteY65" fmla="*/ 6153 h 53721"/>
              <a:gd name="connsiteX66" fmla="*/ 25155 w 68360"/>
              <a:gd name="connsiteY66" fmla="*/ 4982 h 53721"/>
              <a:gd name="connsiteX67" fmla="*/ 29737 w 68360"/>
              <a:gd name="connsiteY67" fmla="*/ 3981 h 53721"/>
              <a:gd name="connsiteX68" fmla="*/ 29775 w 68360"/>
              <a:gd name="connsiteY68" fmla="*/ 3981 h 53721"/>
              <a:gd name="connsiteX69" fmla="*/ 31270 w 68360"/>
              <a:gd name="connsiteY69" fmla="*/ 4181 h 53721"/>
              <a:gd name="connsiteX70" fmla="*/ 34500 w 68360"/>
              <a:gd name="connsiteY70" fmla="*/ 3258 h 53721"/>
              <a:gd name="connsiteX71" fmla="*/ 36519 w 68360"/>
              <a:gd name="connsiteY71" fmla="*/ 1981 h 53721"/>
              <a:gd name="connsiteX72" fmla="*/ 37548 w 68360"/>
              <a:gd name="connsiteY72" fmla="*/ 1791 h 53721"/>
              <a:gd name="connsiteX73" fmla="*/ 38909 w 68360"/>
              <a:gd name="connsiteY73" fmla="*/ 1305 h 53721"/>
              <a:gd name="connsiteX74" fmla="*/ 40872 w 68360"/>
              <a:gd name="connsiteY74" fmla="*/ 1372 h 53721"/>
              <a:gd name="connsiteX75" fmla="*/ 42863 w 68360"/>
              <a:gd name="connsiteY75" fmla="*/ 1924 h 53721"/>
              <a:gd name="connsiteX76" fmla="*/ 45396 w 68360"/>
              <a:gd name="connsiteY76" fmla="*/ 1191 h 53721"/>
              <a:gd name="connsiteX77" fmla="*/ 47882 w 68360"/>
              <a:gd name="connsiteY77" fmla="*/ 0 h 53721"/>
              <a:gd name="connsiteX78" fmla="*/ 48882 w 68360"/>
              <a:gd name="connsiteY78" fmla="*/ 305 h 53721"/>
              <a:gd name="connsiteX79" fmla="*/ 49959 w 68360"/>
              <a:gd name="connsiteY79" fmla="*/ 1314 h 53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68360" h="53721">
                <a:moveTo>
                  <a:pt x="50673" y="1591"/>
                </a:moveTo>
                <a:lnTo>
                  <a:pt x="54797" y="6944"/>
                </a:lnTo>
                <a:lnTo>
                  <a:pt x="57055" y="9115"/>
                </a:lnTo>
                <a:lnTo>
                  <a:pt x="59712" y="10754"/>
                </a:lnTo>
                <a:lnTo>
                  <a:pt x="62751" y="11954"/>
                </a:lnTo>
                <a:lnTo>
                  <a:pt x="63846" y="13097"/>
                </a:lnTo>
                <a:lnTo>
                  <a:pt x="65780" y="18764"/>
                </a:lnTo>
                <a:lnTo>
                  <a:pt x="66703" y="20917"/>
                </a:lnTo>
                <a:lnTo>
                  <a:pt x="67989" y="21555"/>
                </a:lnTo>
                <a:lnTo>
                  <a:pt x="68303" y="22174"/>
                </a:lnTo>
                <a:lnTo>
                  <a:pt x="68361" y="22993"/>
                </a:lnTo>
                <a:lnTo>
                  <a:pt x="66913" y="26965"/>
                </a:lnTo>
                <a:lnTo>
                  <a:pt x="66323" y="35833"/>
                </a:lnTo>
                <a:lnTo>
                  <a:pt x="65961" y="36538"/>
                </a:lnTo>
                <a:lnTo>
                  <a:pt x="64446" y="36500"/>
                </a:lnTo>
                <a:lnTo>
                  <a:pt x="62427" y="36690"/>
                </a:lnTo>
                <a:lnTo>
                  <a:pt x="61665" y="37376"/>
                </a:lnTo>
                <a:lnTo>
                  <a:pt x="60855" y="42129"/>
                </a:lnTo>
                <a:lnTo>
                  <a:pt x="57607" y="43482"/>
                </a:lnTo>
                <a:lnTo>
                  <a:pt x="54664" y="44244"/>
                </a:lnTo>
                <a:lnTo>
                  <a:pt x="52188" y="44072"/>
                </a:lnTo>
                <a:lnTo>
                  <a:pt x="47825" y="42948"/>
                </a:lnTo>
                <a:lnTo>
                  <a:pt x="46406" y="42824"/>
                </a:lnTo>
                <a:lnTo>
                  <a:pt x="45186" y="43463"/>
                </a:lnTo>
                <a:lnTo>
                  <a:pt x="41291" y="43805"/>
                </a:lnTo>
                <a:lnTo>
                  <a:pt x="39586" y="44634"/>
                </a:lnTo>
                <a:lnTo>
                  <a:pt x="35576" y="50178"/>
                </a:lnTo>
                <a:lnTo>
                  <a:pt x="31518" y="52092"/>
                </a:lnTo>
                <a:lnTo>
                  <a:pt x="30127" y="53054"/>
                </a:lnTo>
                <a:lnTo>
                  <a:pt x="27032" y="51835"/>
                </a:lnTo>
                <a:lnTo>
                  <a:pt x="25546" y="51702"/>
                </a:lnTo>
                <a:lnTo>
                  <a:pt x="23393" y="53112"/>
                </a:lnTo>
                <a:lnTo>
                  <a:pt x="18688" y="53254"/>
                </a:lnTo>
                <a:lnTo>
                  <a:pt x="17421" y="53502"/>
                </a:lnTo>
                <a:lnTo>
                  <a:pt x="13792" y="53721"/>
                </a:lnTo>
                <a:lnTo>
                  <a:pt x="13640" y="52959"/>
                </a:lnTo>
                <a:lnTo>
                  <a:pt x="12963" y="51845"/>
                </a:lnTo>
                <a:lnTo>
                  <a:pt x="11268" y="51321"/>
                </a:lnTo>
                <a:lnTo>
                  <a:pt x="7811" y="51768"/>
                </a:lnTo>
                <a:lnTo>
                  <a:pt x="6972" y="50959"/>
                </a:lnTo>
                <a:lnTo>
                  <a:pt x="5543" y="46254"/>
                </a:lnTo>
                <a:lnTo>
                  <a:pt x="4439" y="45501"/>
                </a:lnTo>
                <a:lnTo>
                  <a:pt x="3191" y="43920"/>
                </a:lnTo>
                <a:lnTo>
                  <a:pt x="1086" y="38795"/>
                </a:lnTo>
                <a:lnTo>
                  <a:pt x="1028" y="36547"/>
                </a:lnTo>
                <a:lnTo>
                  <a:pt x="1171" y="34576"/>
                </a:lnTo>
                <a:lnTo>
                  <a:pt x="0" y="29966"/>
                </a:lnTo>
                <a:lnTo>
                  <a:pt x="724" y="28794"/>
                </a:lnTo>
                <a:lnTo>
                  <a:pt x="1810" y="28061"/>
                </a:lnTo>
                <a:lnTo>
                  <a:pt x="1819" y="26194"/>
                </a:lnTo>
                <a:lnTo>
                  <a:pt x="1514" y="23365"/>
                </a:lnTo>
                <a:lnTo>
                  <a:pt x="2800" y="17802"/>
                </a:lnTo>
                <a:lnTo>
                  <a:pt x="3143" y="17393"/>
                </a:lnTo>
                <a:lnTo>
                  <a:pt x="3477" y="17659"/>
                </a:lnTo>
                <a:lnTo>
                  <a:pt x="6582" y="18107"/>
                </a:lnTo>
                <a:lnTo>
                  <a:pt x="7391" y="17402"/>
                </a:lnTo>
                <a:lnTo>
                  <a:pt x="7906" y="16297"/>
                </a:lnTo>
                <a:lnTo>
                  <a:pt x="8068" y="12211"/>
                </a:lnTo>
                <a:lnTo>
                  <a:pt x="8811" y="10325"/>
                </a:lnTo>
                <a:lnTo>
                  <a:pt x="16335" y="6725"/>
                </a:lnTo>
                <a:lnTo>
                  <a:pt x="18555" y="6591"/>
                </a:lnTo>
                <a:lnTo>
                  <a:pt x="20250" y="8249"/>
                </a:lnTo>
                <a:lnTo>
                  <a:pt x="21593" y="9306"/>
                </a:lnTo>
                <a:lnTo>
                  <a:pt x="22403" y="9268"/>
                </a:lnTo>
                <a:lnTo>
                  <a:pt x="22698" y="8211"/>
                </a:lnTo>
                <a:lnTo>
                  <a:pt x="23613" y="6153"/>
                </a:lnTo>
                <a:lnTo>
                  <a:pt x="25155" y="4982"/>
                </a:lnTo>
                <a:lnTo>
                  <a:pt x="29737" y="3981"/>
                </a:lnTo>
                <a:lnTo>
                  <a:pt x="29775" y="3981"/>
                </a:lnTo>
                <a:lnTo>
                  <a:pt x="31270" y="4181"/>
                </a:lnTo>
                <a:lnTo>
                  <a:pt x="34500" y="3258"/>
                </a:lnTo>
                <a:lnTo>
                  <a:pt x="36519" y="1981"/>
                </a:lnTo>
                <a:lnTo>
                  <a:pt x="37548" y="1791"/>
                </a:lnTo>
                <a:lnTo>
                  <a:pt x="38909" y="1305"/>
                </a:lnTo>
                <a:lnTo>
                  <a:pt x="40872" y="1372"/>
                </a:lnTo>
                <a:lnTo>
                  <a:pt x="42863" y="1924"/>
                </a:lnTo>
                <a:lnTo>
                  <a:pt x="45396" y="1191"/>
                </a:lnTo>
                <a:lnTo>
                  <a:pt x="47882" y="0"/>
                </a:lnTo>
                <a:lnTo>
                  <a:pt x="48882" y="305"/>
                </a:lnTo>
                <a:lnTo>
                  <a:pt x="49959" y="1314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2" name="Forme libre : forme 41">
            <a:extLst>
              <a:ext uri="{FF2B5EF4-FFF2-40B4-BE49-F238E27FC236}">
                <a16:creationId xmlns:a16="http://schemas.microsoft.com/office/drawing/2014/main" id="{45C340EB-7AB1-3C2F-3C4F-50350D2C8F44}"/>
              </a:ext>
            </a:extLst>
          </p:cNvPr>
          <p:cNvSpPr/>
          <p:nvPr/>
        </p:nvSpPr>
        <p:spPr>
          <a:xfrm>
            <a:off x="6015953" y="4223378"/>
            <a:ext cx="13454" cy="10969"/>
          </a:xfrm>
          <a:custGeom>
            <a:avLst/>
            <a:gdLst>
              <a:gd name="connsiteX0" fmla="*/ 3563 w 10315"/>
              <a:gd name="connsiteY0" fmla="*/ 1591 h 8410"/>
              <a:gd name="connsiteX1" fmla="*/ 1963 w 10315"/>
              <a:gd name="connsiteY1" fmla="*/ 2096 h 8410"/>
              <a:gd name="connsiteX2" fmla="*/ 371 w 10315"/>
              <a:gd name="connsiteY2" fmla="*/ 1105 h 8410"/>
              <a:gd name="connsiteX3" fmla="*/ 0 w 10315"/>
              <a:gd name="connsiteY3" fmla="*/ 505 h 8410"/>
              <a:gd name="connsiteX4" fmla="*/ 2210 w 10315"/>
              <a:gd name="connsiteY4" fmla="*/ 0 h 8410"/>
              <a:gd name="connsiteX5" fmla="*/ 3296 w 10315"/>
              <a:gd name="connsiteY5" fmla="*/ 448 h 8410"/>
              <a:gd name="connsiteX6" fmla="*/ 3753 w 10315"/>
              <a:gd name="connsiteY6" fmla="*/ 1305 h 8410"/>
              <a:gd name="connsiteX7" fmla="*/ 3563 w 10315"/>
              <a:gd name="connsiteY7" fmla="*/ 1591 h 8410"/>
              <a:gd name="connsiteX8" fmla="*/ 10316 w 10315"/>
              <a:gd name="connsiteY8" fmla="*/ 7344 h 8410"/>
              <a:gd name="connsiteX9" fmla="*/ 9420 w 10315"/>
              <a:gd name="connsiteY9" fmla="*/ 8411 h 8410"/>
              <a:gd name="connsiteX10" fmla="*/ 6849 w 10315"/>
              <a:gd name="connsiteY10" fmla="*/ 8363 h 8410"/>
              <a:gd name="connsiteX11" fmla="*/ 4601 w 10315"/>
              <a:gd name="connsiteY11" fmla="*/ 6696 h 8410"/>
              <a:gd name="connsiteX12" fmla="*/ 4582 w 10315"/>
              <a:gd name="connsiteY12" fmla="*/ 3210 h 8410"/>
              <a:gd name="connsiteX13" fmla="*/ 7173 w 10315"/>
              <a:gd name="connsiteY13" fmla="*/ 3896 h 8410"/>
              <a:gd name="connsiteX14" fmla="*/ 9544 w 10315"/>
              <a:gd name="connsiteY14" fmla="*/ 6229 h 8410"/>
              <a:gd name="connsiteX15" fmla="*/ 10316 w 10315"/>
              <a:gd name="connsiteY15" fmla="*/ 7344 h 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315" h="8410">
                <a:moveTo>
                  <a:pt x="3563" y="1591"/>
                </a:moveTo>
                <a:lnTo>
                  <a:pt x="1963" y="2096"/>
                </a:lnTo>
                <a:lnTo>
                  <a:pt x="371" y="1105"/>
                </a:lnTo>
                <a:lnTo>
                  <a:pt x="0" y="505"/>
                </a:lnTo>
                <a:lnTo>
                  <a:pt x="2210" y="0"/>
                </a:lnTo>
                <a:lnTo>
                  <a:pt x="3296" y="448"/>
                </a:lnTo>
                <a:lnTo>
                  <a:pt x="3753" y="1305"/>
                </a:lnTo>
                <a:lnTo>
                  <a:pt x="3563" y="1591"/>
                </a:lnTo>
                <a:close/>
                <a:moveTo>
                  <a:pt x="10316" y="7344"/>
                </a:moveTo>
                <a:lnTo>
                  <a:pt x="9420" y="8411"/>
                </a:lnTo>
                <a:lnTo>
                  <a:pt x="6849" y="8363"/>
                </a:lnTo>
                <a:lnTo>
                  <a:pt x="4601" y="6696"/>
                </a:lnTo>
                <a:lnTo>
                  <a:pt x="4582" y="3210"/>
                </a:lnTo>
                <a:lnTo>
                  <a:pt x="7173" y="3896"/>
                </a:lnTo>
                <a:lnTo>
                  <a:pt x="9544" y="6229"/>
                </a:lnTo>
                <a:lnTo>
                  <a:pt x="10316" y="7344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3" name="Forme libre : forme 42">
            <a:extLst>
              <a:ext uri="{FF2B5EF4-FFF2-40B4-BE49-F238E27FC236}">
                <a16:creationId xmlns:a16="http://schemas.microsoft.com/office/drawing/2014/main" id="{635528B3-3AF7-BC9D-D32E-4B090254F476}"/>
              </a:ext>
            </a:extLst>
          </p:cNvPr>
          <p:cNvSpPr/>
          <p:nvPr/>
        </p:nvSpPr>
        <p:spPr>
          <a:xfrm>
            <a:off x="5638379" y="3352907"/>
            <a:ext cx="134110" cy="163181"/>
          </a:xfrm>
          <a:custGeom>
            <a:avLst/>
            <a:gdLst>
              <a:gd name="connsiteX0" fmla="*/ 50302 w 102822"/>
              <a:gd name="connsiteY0" fmla="*/ 11106 h 125110"/>
              <a:gd name="connsiteX1" fmla="*/ 49168 w 102822"/>
              <a:gd name="connsiteY1" fmla="*/ 10487 h 125110"/>
              <a:gd name="connsiteX2" fmla="*/ 55178 w 102822"/>
              <a:gd name="connsiteY2" fmla="*/ 8706 h 125110"/>
              <a:gd name="connsiteX3" fmla="*/ 58979 w 102822"/>
              <a:gd name="connsiteY3" fmla="*/ 8163 h 125110"/>
              <a:gd name="connsiteX4" fmla="*/ 59655 w 102822"/>
              <a:gd name="connsiteY4" fmla="*/ 8401 h 125110"/>
              <a:gd name="connsiteX5" fmla="*/ 52787 w 102822"/>
              <a:gd name="connsiteY5" fmla="*/ 10744 h 125110"/>
              <a:gd name="connsiteX6" fmla="*/ 50302 w 102822"/>
              <a:gd name="connsiteY6" fmla="*/ 11106 h 125110"/>
              <a:gd name="connsiteX7" fmla="*/ 63646 w 102822"/>
              <a:gd name="connsiteY7" fmla="*/ 8211 h 125110"/>
              <a:gd name="connsiteX8" fmla="*/ 68923 w 102822"/>
              <a:gd name="connsiteY8" fmla="*/ 7477 h 125110"/>
              <a:gd name="connsiteX9" fmla="*/ 68894 w 102822"/>
              <a:gd name="connsiteY9" fmla="*/ 7201 h 125110"/>
              <a:gd name="connsiteX10" fmla="*/ 67504 w 102822"/>
              <a:gd name="connsiteY10" fmla="*/ 6753 h 125110"/>
              <a:gd name="connsiteX11" fmla="*/ 63008 w 102822"/>
              <a:gd name="connsiteY11" fmla="*/ 6830 h 125110"/>
              <a:gd name="connsiteX12" fmla="*/ 61569 w 102822"/>
              <a:gd name="connsiteY12" fmla="*/ 7144 h 125110"/>
              <a:gd name="connsiteX13" fmla="*/ 61865 w 102822"/>
              <a:gd name="connsiteY13" fmla="*/ 7668 h 125110"/>
              <a:gd name="connsiteX14" fmla="*/ 63646 w 102822"/>
              <a:gd name="connsiteY14" fmla="*/ 8211 h 125110"/>
              <a:gd name="connsiteX15" fmla="*/ 79724 w 102822"/>
              <a:gd name="connsiteY15" fmla="*/ 5153 h 125110"/>
              <a:gd name="connsiteX16" fmla="*/ 78591 w 102822"/>
              <a:gd name="connsiteY16" fmla="*/ 4962 h 125110"/>
              <a:gd name="connsiteX17" fmla="*/ 75295 w 102822"/>
              <a:gd name="connsiteY17" fmla="*/ 5915 h 125110"/>
              <a:gd name="connsiteX18" fmla="*/ 75066 w 102822"/>
              <a:gd name="connsiteY18" fmla="*/ 6353 h 125110"/>
              <a:gd name="connsiteX19" fmla="*/ 75981 w 102822"/>
              <a:gd name="connsiteY19" fmla="*/ 6677 h 125110"/>
              <a:gd name="connsiteX20" fmla="*/ 79724 w 102822"/>
              <a:gd name="connsiteY20" fmla="*/ 5153 h 125110"/>
              <a:gd name="connsiteX21" fmla="*/ 46987 w 102822"/>
              <a:gd name="connsiteY21" fmla="*/ 14221 h 125110"/>
              <a:gd name="connsiteX22" fmla="*/ 44806 w 102822"/>
              <a:gd name="connsiteY22" fmla="*/ 14126 h 125110"/>
              <a:gd name="connsiteX23" fmla="*/ 41624 w 102822"/>
              <a:gd name="connsiteY23" fmla="*/ 16974 h 125110"/>
              <a:gd name="connsiteX24" fmla="*/ 42043 w 102822"/>
              <a:gd name="connsiteY24" fmla="*/ 17497 h 125110"/>
              <a:gd name="connsiteX25" fmla="*/ 46987 w 102822"/>
              <a:gd name="connsiteY25" fmla="*/ 14221 h 125110"/>
              <a:gd name="connsiteX26" fmla="*/ 92221 w 102822"/>
              <a:gd name="connsiteY26" fmla="*/ 0 h 125110"/>
              <a:gd name="connsiteX27" fmla="*/ 90983 w 102822"/>
              <a:gd name="connsiteY27" fmla="*/ 0 h 125110"/>
              <a:gd name="connsiteX28" fmla="*/ 88687 w 102822"/>
              <a:gd name="connsiteY28" fmla="*/ 895 h 125110"/>
              <a:gd name="connsiteX29" fmla="*/ 87973 w 102822"/>
              <a:gd name="connsiteY29" fmla="*/ 2086 h 125110"/>
              <a:gd name="connsiteX30" fmla="*/ 90449 w 102822"/>
              <a:gd name="connsiteY30" fmla="*/ 1934 h 125110"/>
              <a:gd name="connsiteX31" fmla="*/ 92221 w 102822"/>
              <a:gd name="connsiteY31" fmla="*/ 0 h 125110"/>
              <a:gd name="connsiteX32" fmla="*/ 17650 w 102822"/>
              <a:gd name="connsiteY32" fmla="*/ 97717 h 125110"/>
              <a:gd name="connsiteX33" fmla="*/ 14240 w 102822"/>
              <a:gd name="connsiteY33" fmla="*/ 99489 h 125110"/>
              <a:gd name="connsiteX34" fmla="*/ 9782 w 102822"/>
              <a:gd name="connsiteY34" fmla="*/ 98870 h 125110"/>
              <a:gd name="connsiteX35" fmla="*/ 6391 w 102822"/>
              <a:gd name="connsiteY35" fmla="*/ 97574 h 125110"/>
              <a:gd name="connsiteX36" fmla="*/ 2019 w 102822"/>
              <a:gd name="connsiteY36" fmla="*/ 97822 h 125110"/>
              <a:gd name="connsiteX37" fmla="*/ 0 w 102822"/>
              <a:gd name="connsiteY37" fmla="*/ 98498 h 125110"/>
              <a:gd name="connsiteX38" fmla="*/ 800 w 102822"/>
              <a:gd name="connsiteY38" fmla="*/ 102194 h 125110"/>
              <a:gd name="connsiteX39" fmla="*/ 1410 w 102822"/>
              <a:gd name="connsiteY39" fmla="*/ 103365 h 125110"/>
              <a:gd name="connsiteX40" fmla="*/ 2200 w 102822"/>
              <a:gd name="connsiteY40" fmla="*/ 104127 h 125110"/>
              <a:gd name="connsiteX41" fmla="*/ 3248 w 102822"/>
              <a:gd name="connsiteY41" fmla="*/ 104280 h 125110"/>
              <a:gd name="connsiteX42" fmla="*/ 4458 w 102822"/>
              <a:gd name="connsiteY42" fmla="*/ 103365 h 125110"/>
              <a:gd name="connsiteX43" fmla="*/ 6144 w 102822"/>
              <a:gd name="connsiteY43" fmla="*/ 102403 h 125110"/>
              <a:gd name="connsiteX44" fmla="*/ 8858 w 102822"/>
              <a:gd name="connsiteY44" fmla="*/ 102851 h 125110"/>
              <a:gd name="connsiteX45" fmla="*/ 10830 w 102822"/>
              <a:gd name="connsiteY45" fmla="*/ 103737 h 125110"/>
              <a:gd name="connsiteX46" fmla="*/ 11535 w 102822"/>
              <a:gd name="connsiteY46" fmla="*/ 104661 h 125110"/>
              <a:gd name="connsiteX47" fmla="*/ 12840 w 102822"/>
              <a:gd name="connsiteY47" fmla="*/ 105537 h 125110"/>
              <a:gd name="connsiteX48" fmla="*/ 14745 w 102822"/>
              <a:gd name="connsiteY48" fmla="*/ 105747 h 125110"/>
              <a:gd name="connsiteX49" fmla="*/ 18431 w 102822"/>
              <a:gd name="connsiteY49" fmla="*/ 104070 h 125110"/>
              <a:gd name="connsiteX50" fmla="*/ 21974 w 102822"/>
              <a:gd name="connsiteY50" fmla="*/ 101508 h 125110"/>
              <a:gd name="connsiteX51" fmla="*/ 23012 w 102822"/>
              <a:gd name="connsiteY51" fmla="*/ 99727 h 125110"/>
              <a:gd name="connsiteX52" fmla="*/ 23403 w 102822"/>
              <a:gd name="connsiteY52" fmla="*/ 98117 h 125110"/>
              <a:gd name="connsiteX53" fmla="*/ 20336 w 102822"/>
              <a:gd name="connsiteY53" fmla="*/ 99222 h 125110"/>
              <a:gd name="connsiteX54" fmla="*/ 17650 w 102822"/>
              <a:gd name="connsiteY54" fmla="*/ 97717 h 125110"/>
              <a:gd name="connsiteX55" fmla="*/ 102822 w 102822"/>
              <a:gd name="connsiteY55" fmla="*/ 15373 h 125110"/>
              <a:gd name="connsiteX56" fmla="*/ 99098 w 102822"/>
              <a:gd name="connsiteY56" fmla="*/ 14564 h 125110"/>
              <a:gd name="connsiteX57" fmla="*/ 96698 w 102822"/>
              <a:gd name="connsiteY57" fmla="*/ 13373 h 125110"/>
              <a:gd name="connsiteX58" fmla="*/ 95202 w 102822"/>
              <a:gd name="connsiteY58" fmla="*/ 11221 h 125110"/>
              <a:gd name="connsiteX59" fmla="*/ 92631 w 102822"/>
              <a:gd name="connsiteY59" fmla="*/ 8277 h 125110"/>
              <a:gd name="connsiteX60" fmla="*/ 85877 w 102822"/>
              <a:gd name="connsiteY60" fmla="*/ 8582 h 125110"/>
              <a:gd name="connsiteX61" fmla="*/ 80258 w 102822"/>
              <a:gd name="connsiteY61" fmla="*/ 9430 h 125110"/>
              <a:gd name="connsiteX62" fmla="*/ 72476 w 102822"/>
              <a:gd name="connsiteY62" fmla="*/ 9792 h 125110"/>
              <a:gd name="connsiteX63" fmla="*/ 67437 w 102822"/>
              <a:gd name="connsiteY63" fmla="*/ 11221 h 125110"/>
              <a:gd name="connsiteX64" fmla="*/ 58312 w 102822"/>
              <a:gd name="connsiteY64" fmla="*/ 15983 h 125110"/>
              <a:gd name="connsiteX65" fmla="*/ 56016 w 102822"/>
              <a:gd name="connsiteY65" fmla="*/ 18412 h 125110"/>
              <a:gd name="connsiteX66" fmla="*/ 53673 w 102822"/>
              <a:gd name="connsiteY66" fmla="*/ 23641 h 125110"/>
              <a:gd name="connsiteX67" fmla="*/ 45729 w 102822"/>
              <a:gd name="connsiteY67" fmla="*/ 29661 h 125110"/>
              <a:gd name="connsiteX68" fmla="*/ 41100 w 102822"/>
              <a:gd name="connsiteY68" fmla="*/ 31975 h 125110"/>
              <a:gd name="connsiteX69" fmla="*/ 39796 w 102822"/>
              <a:gd name="connsiteY69" fmla="*/ 31090 h 125110"/>
              <a:gd name="connsiteX70" fmla="*/ 37919 w 102822"/>
              <a:gd name="connsiteY70" fmla="*/ 30509 h 125110"/>
              <a:gd name="connsiteX71" fmla="*/ 36424 w 102822"/>
              <a:gd name="connsiteY71" fmla="*/ 33566 h 125110"/>
              <a:gd name="connsiteX72" fmla="*/ 35500 w 102822"/>
              <a:gd name="connsiteY72" fmla="*/ 36319 h 125110"/>
              <a:gd name="connsiteX73" fmla="*/ 32395 w 102822"/>
              <a:gd name="connsiteY73" fmla="*/ 52445 h 125110"/>
              <a:gd name="connsiteX74" fmla="*/ 30280 w 102822"/>
              <a:gd name="connsiteY74" fmla="*/ 58274 h 125110"/>
              <a:gd name="connsiteX75" fmla="*/ 27432 w 102822"/>
              <a:gd name="connsiteY75" fmla="*/ 63170 h 125110"/>
              <a:gd name="connsiteX76" fmla="*/ 22955 w 102822"/>
              <a:gd name="connsiteY76" fmla="*/ 69152 h 125110"/>
              <a:gd name="connsiteX77" fmla="*/ 20898 w 102822"/>
              <a:gd name="connsiteY77" fmla="*/ 71190 h 125110"/>
              <a:gd name="connsiteX78" fmla="*/ 19640 w 102822"/>
              <a:gd name="connsiteY78" fmla="*/ 71961 h 125110"/>
              <a:gd name="connsiteX79" fmla="*/ 18069 w 102822"/>
              <a:gd name="connsiteY79" fmla="*/ 74838 h 125110"/>
              <a:gd name="connsiteX80" fmla="*/ 16811 w 102822"/>
              <a:gd name="connsiteY80" fmla="*/ 78286 h 125110"/>
              <a:gd name="connsiteX81" fmla="*/ 15954 w 102822"/>
              <a:gd name="connsiteY81" fmla="*/ 79896 h 125110"/>
              <a:gd name="connsiteX82" fmla="*/ 20974 w 102822"/>
              <a:gd name="connsiteY82" fmla="*/ 85820 h 125110"/>
              <a:gd name="connsiteX83" fmla="*/ 21603 w 102822"/>
              <a:gd name="connsiteY83" fmla="*/ 87516 h 125110"/>
              <a:gd name="connsiteX84" fmla="*/ 22260 w 102822"/>
              <a:gd name="connsiteY84" fmla="*/ 88506 h 125110"/>
              <a:gd name="connsiteX85" fmla="*/ 17507 w 102822"/>
              <a:gd name="connsiteY85" fmla="*/ 89125 h 125110"/>
              <a:gd name="connsiteX86" fmla="*/ 19526 w 102822"/>
              <a:gd name="connsiteY86" fmla="*/ 91040 h 125110"/>
              <a:gd name="connsiteX87" fmla="*/ 22069 w 102822"/>
              <a:gd name="connsiteY87" fmla="*/ 92412 h 125110"/>
              <a:gd name="connsiteX88" fmla="*/ 23774 w 102822"/>
              <a:gd name="connsiteY88" fmla="*/ 93069 h 125110"/>
              <a:gd name="connsiteX89" fmla="*/ 24708 w 102822"/>
              <a:gd name="connsiteY89" fmla="*/ 94450 h 125110"/>
              <a:gd name="connsiteX90" fmla="*/ 22879 w 102822"/>
              <a:gd name="connsiteY90" fmla="*/ 95088 h 125110"/>
              <a:gd name="connsiteX91" fmla="*/ 21155 w 102822"/>
              <a:gd name="connsiteY91" fmla="*/ 95126 h 125110"/>
              <a:gd name="connsiteX92" fmla="*/ 14335 w 102822"/>
              <a:gd name="connsiteY92" fmla="*/ 90049 h 125110"/>
              <a:gd name="connsiteX93" fmla="*/ 10544 w 102822"/>
              <a:gd name="connsiteY93" fmla="*/ 89116 h 125110"/>
              <a:gd name="connsiteX94" fmla="*/ 5324 w 102822"/>
              <a:gd name="connsiteY94" fmla="*/ 89411 h 125110"/>
              <a:gd name="connsiteX95" fmla="*/ 4010 w 102822"/>
              <a:gd name="connsiteY95" fmla="*/ 89945 h 125110"/>
              <a:gd name="connsiteX96" fmla="*/ 2657 w 102822"/>
              <a:gd name="connsiteY96" fmla="*/ 91488 h 125110"/>
              <a:gd name="connsiteX97" fmla="*/ 4572 w 102822"/>
              <a:gd name="connsiteY97" fmla="*/ 93831 h 125110"/>
              <a:gd name="connsiteX98" fmla="*/ 6344 w 102822"/>
              <a:gd name="connsiteY98" fmla="*/ 95212 h 125110"/>
              <a:gd name="connsiteX99" fmla="*/ 9192 w 102822"/>
              <a:gd name="connsiteY99" fmla="*/ 95393 h 125110"/>
              <a:gd name="connsiteX100" fmla="*/ 12620 w 102822"/>
              <a:gd name="connsiteY100" fmla="*/ 97126 h 125110"/>
              <a:gd name="connsiteX101" fmla="*/ 17554 w 102822"/>
              <a:gd name="connsiteY101" fmla="*/ 95679 h 125110"/>
              <a:gd name="connsiteX102" fmla="*/ 21098 w 102822"/>
              <a:gd name="connsiteY102" fmla="*/ 97460 h 125110"/>
              <a:gd name="connsiteX103" fmla="*/ 23431 w 102822"/>
              <a:gd name="connsiteY103" fmla="*/ 98098 h 125110"/>
              <a:gd name="connsiteX104" fmla="*/ 25527 w 102822"/>
              <a:gd name="connsiteY104" fmla="*/ 99165 h 125110"/>
              <a:gd name="connsiteX105" fmla="*/ 27375 w 102822"/>
              <a:gd name="connsiteY105" fmla="*/ 99393 h 125110"/>
              <a:gd name="connsiteX106" fmla="*/ 28184 w 102822"/>
              <a:gd name="connsiteY106" fmla="*/ 98917 h 125110"/>
              <a:gd name="connsiteX107" fmla="*/ 27670 w 102822"/>
              <a:gd name="connsiteY107" fmla="*/ 96336 h 125110"/>
              <a:gd name="connsiteX108" fmla="*/ 29175 w 102822"/>
              <a:gd name="connsiteY108" fmla="*/ 94955 h 125110"/>
              <a:gd name="connsiteX109" fmla="*/ 30842 w 102822"/>
              <a:gd name="connsiteY109" fmla="*/ 94317 h 125110"/>
              <a:gd name="connsiteX110" fmla="*/ 31594 w 102822"/>
              <a:gd name="connsiteY110" fmla="*/ 95441 h 125110"/>
              <a:gd name="connsiteX111" fmla="*/ 33128 w 102822"/>
              <a:gd name="connsiteY111" fmla="*/ 96584 h 125110"/>
              <a:gd name="connsiteX112" fmla="*/ 34328 w 102822"/>
              <a:gd name="connsiteY112" fmla="*/ 96593 h 125110"/>
              <a:gd name="connsiteX113" fmla="*/ 37585 w 102822"/>
              <a:gd name="connsiteY113" fmla="*/ 93621 h 125110"/>
              <a:gd name="connsiteX114" fmla="*/ 38348 w 102822"/>
              <a:gd name="connsiteY114" fmla="*/ 94212 h 125110"/>
              <a:gd name="connsiteX115" fmla="*/ 39053 w 102822"/>
              <a:gd name="connsiteY115" fmla="*/ 95269 h 125110"/>
              <a:gd name="connsiteX116" fmla="*/ 39205 w 102822"/>
              <a:gd name="connsiteY116" fmla="*/ 96117 h 125110"/>
              <a:gd name="connsiteX117" fmla="*/ 39329 w 102822"/>
              <a:gd name="connsiteY117" fmla="*/ 97012 h 125110"/>
              <a:gd name="connsiteX118" fmla="*/ 40062 w 102822"/>
              <a:gd name="connsiteY118" fmla="*/ 97384 h 125110"/>
              <a:gd name="connsiteX119" fmla="*/ 42624 w 102822"/>
              <a:gd name="connsiteY119" fmla="*/ 97193 h 125110"/>
              <a:gd name="connsiteX120" fmla="*/ 43929 w 102822"/>
              <a:gd name="connsiteY120" fmla="*/ 95583 h 125110"/>
              <a:gd name="connsiteX121" fmla="*/ 44948 w 102822"/>
              <a:gd name="connsiteY121" fmla="*/ 94574 h 125110"/>
              <a:gd name="connsiteX122" fmla="*/ 45711 w 102822"/>
              <a:gd name="connsiteY122" fmla="*/ 95260 h 125110"/>
              <a:gd name="connsiteX123" fmla="*/ 46082 w 102822"/>
              <a:gd name="connsiteY123" fmla="*/ 97241 h 125110"/>
              <a:gd name="connsiteX124" fmla="*/ 46787 w 102822"/>
              <a:gd name="connsiteY124" fmla="*/ 99822 h 125110"/>
              <a:gd name="connsiteX125" fmla="*/ 49844 w 102822"/>
              <a:gd name="connsiteY125" fmla="*/ 102699 h 125110"/>
              <a:gd name="connsiteX126" fmla="*/ 52426 w 102822"/>
              <a:gd name="connsiteY126" fmla="*/ 103518 h 125110"/>
              <a:gd name="connsiteX127" fmla="*/ 55597 w 102822"/>
              <a:gd name="connsiteY127" fmla="*/ 102956 h 125110"/>
              <a:gd name="connsiteX128" fmla="*/ 56855 w 102822"/>
              <a:gd name="connsiteY128" fmla="*/ 102441 h 125110"/>
              <a:gd name="connsiteX129" fmla="*/ 57702 w 102822"/>
              <a:gd name="connsiteY129" fmla="*/ 102870 h 125110"/>
              <a:gd name="connsiteX130" fmla="*/ 58550 w 102822"/>
              <a:gd name="connsiteY130" fmla="*/ 104394 h 125110"/>
              <a:gd name="connsiteX131" fmla="*/ 60379 w 102822"/>
              <a:gd name="connsiteY131" fmla="*/ 106137 h 125110"/>
              <a:gd name="connsiteX132" fmla="*/ 64218 w 102822"/>
              <a:gd name="connsiteY132" fmla="*/ 107366 h 125110"/>
              <a:gd name="connsiteX133" fmla="*/ 65399 w 102822"/>
              <a:gd name="connsiteY133" fmla="*/ 108061 h 125110"/>
              <a:gd name="connsiteX134" fmla="*/ 66218 w 102822"/>
              <a:gd name="connsiteY134" fmla="*/ 109233 h 125110"/>
              <a:gd name="connsiteX135" fmla="*/ 65980 w 102822"/>
              <a:gd name="connsiteY135" fmla="*/ 110900 h 125110"/>
              <a:gd name="connsiteX136" fmla="*/ 64151 w 102822"/>
              <a:gd name="connsiteY136" fmla="*/ 115043 h 125110"/>
              <a:gd name="connsiteX137" fmla="*/ 63913 w 102822"/>
              <a:gd name="connsiteY137" fmla="*/ 116262 h 125110"/>
              <a:gd name="connsiteX138" fmla="*/ 64160 w 102822"/>
              <a:gd name="connsiteY138" fmla="*/ 116672 h 125110"/>
              <a:gd name="connsiteX139" fmla="*/ 63798 w 102822"/>
              <a:gd name="connsiteY139" fmla="*/ 117434 h 125110"/>
              <a:gd name="connsiteX140" fmla="*/ 61417 w 102822"/>
              <a:gd name="connsiteY140" fmla="*/ 120205 h 125110"/>
              <a:gd name="connsiteX141" fmla="*/ 61208 w 102822"/>
              <a:gd name="connsiteY141" fmla="*/ 121187 h 125110"/>
              <a:gd name="connsiteX142" fmla="*/ 61998 w 102822"/>
              <a:gd name="connsiteY142" fmla="*/ 122777 h 125110"/>
              <a:gd name="connsiteX143" fmla="*/ 62655 w 102822"/>
              <a:gd name="connsiteY143" fmla="*/ 124092 h 125110"/>
              <a:gd name="connsiteX144" fmla="*/ 62655 w 102822"/>
              <a:gd name="connsiteY144" fmla="*/ 124092 h 125110"/>
              <a:gd name="connsiteX145" fmla="*/ 64084 w 102822"/>
              <a:gd name="connsiteY145" fmla="*/ 124730 h 125110"/>
              <a:gd name="connsiteX146" fmla="*/ 65427 w 102822"/>
              <a:gd name="connsiteY146" fmla="*/ 124939 h 125110"/>
              <a:gd name="connsiteX147" fmla="*/ 67970 w 102822"/>
              <a:gd name="connsiteY147" fmla="*/ 125025 h 125110"/>
              <a:gd name="connsiteX148" fmla="*/ 70685 w 102822"/>
              <a:gd name="connsiteY148" fmla="*/ 125111 h 125110"/>
              <a:gd name="connsiteX149" fmla="*/ 72142 w 102822"/>
              <a:gd name="connsiteY149" fmla="*/ 118586 h 125110"/>
              <a:gd name="connsiteX150" fmla="*/ 71028 w 102822"/>
              <a:gd name="connsiteY150" fmla="*/ 116681 h 125110"/>
              <a:gd name="connsiteX151" fmla="*/ 69647 w 102822"/>
              <a:gd name="connsiteY151" fmla="*/ 115710 h 125110"/>
              <a:gd name="connsiteX152" fmla="*/ 68037 w 102822"/>
              <a:gd name="connsiteY152" fmla="*/ 115233 h 125110"/>
              <a:gd name="connsiteX153" fmla="*/ 67294 w 102822"/>
              <a:gd name="connsiteY153" fmla="*/ 114328 h 125110"/>
              <a:gd name="connsiteX154" fmla="*/ 67037 w 102822"/>
              <a:gd name="connsiteY154" fmla="*/ 113290 h 125110"/>
              <a:gd name="connsiteX155" fmla="*/ 67323 w 102822"/>
              <a:gd name="connsiteY155" fmla="*/ 112652 h 125110"/>
              <a:gd name="connsiteX156" fmla="*/ 69218 w 102822"/>
              <a:gd name="connsiteY156" fmla="*/ 112843 h 125110"/>
              <a:gd name="connsiteX157" fmla="*/ 69809 w 102822"/>
              <a:gd name="connsiteY157" fmla="*/ 112166 h 125110"/>
              <a:gd name="connsiteX158" fmla="*/ 74324 w 102822"/>
              <a:gd name="connsiteY158" fmla="*/ 108318 h 125110"/>
              <a:gd name="connsiteX159" fmla="*/ 74514 w 102822"/>
              <a:gd name="connsiteY159" fmla="*/ 107575 h 125110"/>
              <a:gd name="connsiteX160" fmla="*/ 73885 w 102822"/>
              <a:gd name="connsiteY160" fmla="*/ 107156 h 125110"/>
              <a:gd name="connsiteX161" fmla="*/ 73066 w 102822"/>
              <a:gd name="connsiteY161" fmla="*/ 106937 h 125110"/>
              <a:gd name="connsiteX162" fmla="*/ 72857 w 102822"/>
              <a:gd name="connsiteY162" fmla="*/ 106128 h 125110"/>
              <a:gd name="connsiteX163" fmla="*/ 72885 w 102822"/>
              <a:gd name="connsiteY163" fmla="*/ 105061 h 125110"/>
              <a:gd name="connsiteX164" fmla="*/ 75295 w 102822"/>
              <a:gd name="connsiteY164" fmla="*/ 99489 h 125110"/>
              <a:gd name="connsiteX165" fmla="*/ 76010 w 102822"/>
              <a:gd name="connsiteY165" fmla="*/ 97107 h 125110"/>
              <a:gd name="connsiteX166" fmla="*/ 76172 w 102822"/>
              <a:gd name="connsiteY166" fmla="*/ 95422 h 125110"/>
              <a:gd name="connsiteX167" fmla="*/ 76019 w 102822"/>
              <a:gd name="connsiteY167" fmla="*/ 93755 h 125110"/>
              <a:gd name="connsiteX168" fmla="*/ 74628 w 102822"/>
              <a:gd name="connsiteY168" fmla="*/ 91135 h 125110"/>
              <a:gd name="connsiteX169" fmla="*/ 73285 w 102822"/>
              <a:gd name="connsiteY169" fmla="*/ 89040 h 125110"/>
              <a:gd name="connsiteX170" fmla="*/ 73238 w 102822"/>
              <a:gd name="connsiteY170" fmla="*/ 87373 h 125110"/>
              <a:gd name="connsiteX171" fmla="*/ 72257 w 102822"/>
              <a:gd name="connsiteY171" fmla="*/ 86496 h 125110"/>
              <a:gd name="connsiteX172" fmla="*/ 69475 w 102822"/>
              <a:gd name="connsiteY172" fmla="*/ 82010 h 125110"/>
              <a:gd name="connsiteX173" fmla="*/ 69475 w 102822"/>
              <a:gd name="connsiteY173" fmla="*/ 80277 h 125110"/>
              <a:gd name="connsiteX174" fmla="*/ 71047 w 102822"/>
              <a:gd name="connsiteY174" fmla="*/ 78924 h 125110"/>
              <a:gd name="connsiteX175" fmla="*/ 73247 w 102822"/>
              <a:gd name="connsiteY175" fmla="*/ 78067 h 125110"/>
              <a:gd name="connsiteX176" fmla="*/ 73981 w 102822"/>
              <a:gd name="connsiteY176" fmla="*/ 77353 h 125110"/>
              <a:gd name="connsiteX177" fmla="*/ 75295 w 102822"/>
              <a:gd name="connsiteY177" fmla="*/ 76905 h 125110"/>
              <a:gd name="connsiteX178" fmla="*/ 78791 w 102822"/>
              <a:gd name="connsiteY178" fmla="*/ 78200 h 125110"/>
              <a:gd name="connsiteX179" fmla="*/ 80353 w 102822"/>
              <a:gd name="connsiteY179" fmla="*/ 79324 h 125110"/>
              <a:gd name="connsiteX180" fmla="*/ 80791 w 102822"/>
              <a:gd name="connsiteY180" fmla="*/ 79096 h 125110"/>
              <a:gd name="connsiteX181" fmla="*/ 82201 w 102822"/>
              <a:gd name="connsiteY181" fmla="*/ 77876 h 125110"/>
              <a:gd name="connsiteX182" fmla="*/ 84677 w 102822"/>
              <a:gd name="connsiteY182" fmla="*/ 78067 h 125110"/>
              <a:gd name="connsiteX183" fmla="*/ 90668 w 102822"/>
              <a:gd name="connsiteY183" fmla="*/ 75610 h 125110"/>
              <a:gd name="connsiteX184" fmla="*/ 91564 w 102822"/>
              <a:gd name="connsiteY184" fmla="*/ 74428 h 125110"/>
              <a:gd name="connsiteX185" fmla="*/ 92230 w 102822"/>
              <a:gd name="connsiteY185" fmla="*/ 73171 h 125110"/>
              <a:gd name="connsiteX186" fmla="*/ 92288 w 102822"/>
              <a:gd name="connsiteY186" fmla="*/ 72619 h 125110"/>
              <a:gd name="connsiteX187" fmla="*/ 89964 w 102822"/>
              <a:gd name="connsiteY187" fmla="*/ 70190 h 125110"/>
              <a:gd name="connsiteX188" fmla="*/ 89897 w 102822"/>
              <a:gd name="connsiteY188" fmla="*/ 69294 h 125110"/>
              <a:gd name="connsiteX189" fmla="*/ 90202 w 102822"/>
              <a:gd name="connsiteY189" fmla="*/ 68285 h 125110"/>
              <a:gd name="connsiteX190" fmla="*/ 90859 w 102822"/>
              <a:gd name="connsiteY190" fmla="*/ 67485 h 125110"/>
              <a:gd name="connsiteX191" fmla="*/ 92230 w 102822"/>
              <a:gd name="connsiteY191" fmla="*/ 66942 h 125110"/>
              <a:gd name="connsiteX192" fmla="*/ 93688 w 102822"/>
              <a:gd name="connsiteY192" fmla="*/ 65875 h 125110"/>
              <a:gd name="connsiteX193" fmla="*/ 96955 w 102822"/>
              <a:gd name="connsiteY193" fmla="*/ 62846 h 125110"/>
              <a:gd name="connsiteX194" fmla="*/ 98088 w 102822"/>
              <a:gd name="connsiteY194" fmla="*/ 60217 h 125110"/>
              <a:gd name="connsiteX195" fmla="*/ 98441 w 102822"/>
              <a:gd name="connsiteY195" fmla="*/ 57360 h 125110"/>
              <a:gd name="connsiteX196" fmla="*/ 98508 w 102822"/>
              <a:gd name="connsiteY196" fmla="*/ 55226 h 125110"/>
              <a:gd name="connsiteX197" fmla="*/ 97612 w 102822"/>
              <a:gd name="connsiteY197" fmla="*/ 53530 h 125110"/>
              <a:gd name="connsiteX198" fmla="*/ 96707 w 102822"/>
              <a:gd name="connsiteY198" fmla="*/ 52435 h 125110"/>
              <a:gd name="connsiteX199" fmla="*/ 95478 w 102822"/>
              <a:gd name="connsiteY199" fmla="*/ 52607 h 125110"/>
              <a:gd name="connsiteX200" fmla="*/ 93088 w 102822"/>
              <a:gd name="connsiteY200" fmla="*/ 52521 h 125110"/>
              <a:gd name="connsiteX201" fmla="*/ 90849 w 102822"/>
              <a:gd name="connsiteY201" fmla="*/ 51568 h 125110"/>
              <a:gd name="connsiteX202" fmla="*/ 89621 w 102822"/>
              <a:gd name="connsiteY202" fmla="*/ 50025 h 125110"/>
              <a:gd name="connsiteX203" fmla="*/ 89316 w 102822"/>
              <a:gd name="connsiteY203" fmla="*/ 48673 h 125110"/>
              <a:gd name="connsiteX204" fmla="*/ 89878 w 102822"/>
              <a:gd name="connsiteY204" fmla="*/ 47816 h 125110"/>
              <a:gd name="connsiteX205" fmla="*/ 90049 w 102822"/>
              <a:gd name="connsiteY205" fmla="*/ 46768 h 125110"/>
              <a:gd name="connsiteX206" fmla="*/ 89687 w 102822"/>
              <a:gd name="connsiteY206" fmla="*/ 45711 h 125110"/>
              <a:gd name="connsiteX207" fmla="*/ 89830 w 102822"/>
              <a:gd name="connsiteY207" fmla="*/ 44825 h 125110"/>
              <a:gd name="connsiteX208" fmla="*/ 90840 w 102822"/>
              <a:gd name="connsiteY208" fmla="*/ 44110 h 125110"/>
              <a:gd name="connsiteX209" fmla="*/ 97917 w 102822"/>
              <a:gd name="connsiteY209" fmla="*/ 44129 h 125110"/>
              <a:gd name="connsiteX210" fmla="*/ 98450 w 102822"/>
              <a:gd name="connsiteY210" fmla="*/ 43348 h 125110"/>
              <a:gd name="connsiteX211" fmla="*/ 98927 w 102822"/>
              <a:gd name="connsiteY211" fmla="*/ 39234 h 125110"/>
              <a:gd name="connsiteX212" fmla="*/ 100698 w 102822"/>
              <a:gd name="connsiteY212" fmla="*/ 32956 h 125110"/>
              <a:gd name="connsiteX213" fmla="*/ 102365 w 102822"/>
              <a:gd name="connsiteY213" fmla="*/ 29451 h 125110"/>
              <a:gd name="connsiteX214" fmla="*/ 102641 w 102822"/>
              <a:gd name="connsiteY214" fmla="*/ 27975 h 125110"/>
              <a:gd name="connsiteX215" fmla="*/ 102613 w 102822"/>
              <a:gd name="connsiteY215" fmla="*/ 19641 h 125110"/>
              <a:gd name="connsiteX216" fmla="*/ 102822 w 102822"/>
              <a:gd name="connsiteY216" fmla="*/ 15373 h 125110"/>
              <a:gd name="connsiteX217" fmla="*/ 10182 w 102822"/>
              <a:gd name="connsiteY217" fmla="*/ 85611 h 125110"/>
              <a:gd name="connsiteX218" fmla="*/ 12516 w 102822"/>
              <a:gd name="connsiteY218" fmla="*/ 84934 h 125110"/>
              <a:gd name="connsiteX219" fmla="*/ 16050 w 102822"/>
              <a:gd name="connsiteY219" fmla="*/ 87811 h 125110"/>
              <a:gd name="connsiteX220" fmla="*/ 19364 w 102822"/>
              <a:gd name="connsiteY220" fmla="*/ 86878 h 125110"/>
              <a:gd name="connsiteX221" fmla="*/ 19164 w 102822"/>
              <a:gd name="connsiteY221" fmla="*/ 86078 h 125110"/>
              <a:gd name="connsiteX222" fmla="*/ 18602 w 102822"/>
              <a:gd name="connsiteY222" fmla="*/ 85325 h 125110"/>
              <a:gd name="connsiteX223" fmla="*/ 15992 w 102822"/>
              <a:gd name="connsiteY223" fmla="*/ 82972 h 125110"/>
              <a:gd name="connsiteX224" fmla="*/ 11716 w 102822"/>
              <a:gd name="connsiteY224" fmla="*/ 82677 h 125110"/>
              <a:gd name="connsiteX225" fmla="*/ 9296 w 102822"/>
              <a:gd name="connsiteY225" fmla="*/ 83401 h 125110"/>
              <a:gd name="connsiteX226" fmla="*/ 9306 w 102822"/>
              <a:gd name="connsiteY226" fmla="*/ 84249 h 125110"/>
              <a:gd name="connsiteX227" fmla="*/ 10182 w 102822"/>
              <a:gd name="connsiteY227" fmla="*/ 85611 h 125110"/>
              <a:gd name="connsiteX228" fmla="*/ 38395 w 102822"/>
              <a:gd name="connsiteY228" fmla="*/ 27927 h 125110"/>
              <a:gd name="connsiteX229" fmla="*/ 41043 w 102822"/>
              <a:gd name="connsiteY229" fmla="*/ 24784 h 125110"/>
              <a:gd name="connsiteX230" fmla="*/ 41043 w 102822"/>
              <a:gd name="connsiteY230" fmla="*/ 19783 h 125110"/>
              <a:gd name="connsiteX231" fmla="*/ 37129 w 102822"/>
              <a:gd name="connsiteY231" fmla="*/ 23870 h 125110"/>
              <a:gd name="connsiteX232" fmla="*/ 36309 w 102822"/>
              <a:gd name="connsiteY232" fmla="*/ 26327 h 125110"/>
              <a:gd name="connsiteX233" fmla="*/ 36776 w 102822"/>
              <a:gd name="connsiteY233" fmla="*/ 27061 h 125110"/>
              <a:gd name="connsiteX234" fmla="*/ 38395 w 102822"/>
              <a:gd name="connsiteY234" fmla="*/ 27927 h 125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</a:cxnLst>
            <a:rect l="l" t="t" r="r" b="b"/>
            <a:pathLst>
              <a:path w="102822" h="125110">
                <a:moveTo>
                  <a:pt x="50302" y="11106"/>
                </a:moveTo>
                <a:lnTo>
                  <a:pt x="49168" y="10487"/>
                </a:lnTo>
                <a:lnTo>
                  <a:pt x="55178" y="8706"/>
                </a:lnTo>
                <a:lnTo>
                  <a:pt x="58979" y="8163"/>
                </a:lnTo>
                <a:lnTo>
                  <a:pt x="59655" y="8401"/>
                </a:lnTo>
                <a:lnTo>
                  <a:pt x="52787" y="10744"/>
                </a:lnTo>
                <a:lnTo>
                  <a:pt x="50302" y="11106"/>
                </a:lnTo>
                <a:close/>
                <a:moveTo>
                  <a:pt x="63646" y="8211"/>
                </a:moveTo>
                <a:lnTo>
                  <a:pt x="68923" y="7477"/>
                </a:lnTo>
                <a:lnTo>
                  <a:pt x="68894" y="7201"/>
                </a:lnTo>
                <a:lnTo>
                  <a:pt x="67504" y="6753"/>
                </a:lnTo>
                <a:lnTo>
                  <a:pt x="63008" y="6830"/>
                </a:lnTo>
                <a:lnTo>
                  <a:pt x="61569" y="7144"/>
                </a:lnTo>
                <a:lnTo>
                  <a:pt x="61865" y="7668"/>
                </a:lnTo>
                <a:lnTo>
                  <a:pt x="63646" y="8211"/>
                </a:lnTo>
                <a:close/>
                <a:moveTo>
                  <a:pt x="79724" y="5153"/>
                </a:moveTo>
                <a:lnTo>
                  <a:pt x="78591" y="4962"/>
                </a:lnTo>
                <a:lnTo>
                  <a:pt x="75295" y="5915"/>
                </a:lnTo>
                <a:lnTo>
                  <a:pt x="75066" y="6353"/>
                </a:lnTo>
                <a:lnTo>
                  <a:pt x="75981" y="6677"/>
                </a:lnTo>
                <a:lnTo>
                  <a:pt x="79724" y="5153"/>
                </a:lnTo>
                <a:close/>
                <a:moveTo>
                  <a:pt x="46987" y="14221"/>
                </a:moveTo>
                <a:lnTo>
                  <a:pt x="44806" y="14126"/>
                </a:lnTo>
                <a:lnTo>
                  <a:pt x="41624" y="16974"/>
                </a:lnTo>
                <a:lnTo>
                  <a:pt x="42043" y="17497"/>
                </a:lnTo>
                <a:lnTo>
                  <a:pt x="46987" y="14221"/>
                </a:lnTo>
                <a:close/>
                <a:moveTo>
                  <a:pt x="92221" y="0"/>
                </a:moveTo>
                <a:lnTo>
                  <a:pt x="90983" y="0"/>
                </a:lnTo>
                <a:lnTo>
                  <a:pt x="88687" y="895"/>
                </a:lnTo>
                <a:lnTo>
                  <a:pt x="87973" y="2086"/>
                </a:lnTo>
                <a:lnTo>
                  <a:pt x="90449" y="1934"/>
                </a:lnTo>
                <a:lnTo>
                  <a:pt x="92221" y="0"/>
                </a:lnTo>
                <a:close/>
                <a:moveTo>
                  <a:pt x="17650" y="97717"/>
                </a:moveTo>
                <a:lnTo>
                  <a:pt x="14240" y="99489"/>
                </a:lnTo>
                <a:lnTo>
                  <a:pt x="9782" y="98870"/>
                </a:lnTo>
                <a:lnTo>
                  <a:pt x="6391" y="97574"/>
                </a:lnTo>
                <a:lnTo>
                  <a:pt x="2019" y="97822"/>
                </a:lnTo>
                <a:lnTo>
                  <a:pt x="0" y="98498"/>
                </a:lnTo>
                <a:lnTo>
                  <a:pt x="800" y="102194"/>
                </a:lnTo>
                <a:lnTo>
                  <a:pt x="1410" y="103365"/>
                </a:lnTo>
                <a:lnTo>
                  <a:pt x="2200" y="104127"/>
                </a:lnTo>
                <a:lnTo>
                  <a:pt x="3248" y="104280"/>
                </a:lnTo>
                <a:lnTo>
                  <a:pt x="4458" y="103365"/>
                </a:lnTo>
                <a:lnTo>
                  <a:pt x="6144" y="102403"/>
                </a:lnTo>
                <a:lnTo>
                  <a:pt x="8858" y="102851"/>
                </a:lnTo>
                <a:lnTo>
                  <a:pt x="10830" y="103737"/>
                </a:lnTo>
                <a:lnTo>
                  <a:pt x="11535" y="104661"/>
                </a:lnTo>
                <a:lnTo>
                  <a:pt x="12840" y="105537"/>
                </a:lnTo>
                <a:lnTo>
                  <a:pt x="14745" y="105747"/>
                </a:lnTo>
                <a:lnTo>
                  <a:pt x="18431" y="104070"/>
                </a:lnTo>
                <a:lnTo>
                  <a:pt x="21974" y="101508"/>
                </a:lnTo>
                <a:lnTo>
                  <a:pt x="23012" y="99727"/>
                </a:lnTo>
                <a:lnTo>
                  <a:pt x="23403" y="98117"/>
                </a:lnTo>
                <a:lnTo>
                  <a:pt x="20336" y="99222"/>
                </a:lnTo>
                <a:lnTo>
                  <a:pt x="17650" y="97717"/>
                </a:lnTo>
                <a:close/>
                <a:moveTo>
                  <a:pt x="102822" y="15373"/>
                </a:moveTo>
                <a:lnTo>
                  <a:pt x="99098" y="14564"/>
                </a:lnTo>
                <a:lnTo>
                  <a:pt x="96698" y="13373"/>
                </a:lnTo>
                <a:lnTo>
                  <a:pt x="95202" y="11221"/>
                </a:lnTo>
                <a:lnTo>
                  <a:pt x="92631" y="8277"/>
                </a:lnTo>
                <a:lnTo>
                  <a:pt x="85877" y="8582"/>
                </a:lnTo>
                <a:lnTo>
                  <a:pt x="80258" y="9430"/>
                </a:lnTo>
                <a:lnTo>
                  <a:pt x="72476" y="9792"/>
                </a:lnTo>
                <a:lnTo>
                  <a:pt x="67437" y="11221"/>
                </a:lnTo>
                <a:lnTo>
                  <a:pt x="58312" y="15983"/>
                </a:lnTo>
                <a:lnTo>
                  <a:pt x="56016" y="18412"/>
                </a:lnTo>
                <a:lnTo>
                  <a:pt x="53673" y="23641"/>
                </a:lnTo>
                <a:lnTo>
                  <a:pt x="45729" y="29661"/>
                </a:lnTo>
                <a:lnTo>
                  <a:pt x="41100" y="31975"/>
                </a:lnTo>
                <a:lnTo>
                  <a:pt x="39796" y="31090"/>
                </a:lnTo>
                <a:lnTo>
                  <a:pt x="37919" y="30509"/>
                </a:lnTo>
                <a:lnTo>
                  <a:pt x="36424" y="33566"/>
                </a:lnTo>
                <a:lnTo>
                  <a:pt x="35500" y="36319"/>
                </a:lnTo>
                <a:lnTo>
                  <a:pt x="32395" y="52445"/>
                </a:lnTo>
                <a:lnTo>
                  <a:pt x="30280" y="58274"/>
                </a:lnTo>
                <a:lnTo>
                  <a:pt x="27432" y="63170"/>
                </a:lnTo>
                <a:lnTo>
                  <a:pt x="22955" y="69152"/>
                </a:lnTo>
                <a:lnTo>
                  <a:pt x="20898" y="71190"/>
                </a:lnTo>
                <a:lnTo>
                  <a:pt x="19640" y="71961"/>
                </a:lnTo>
                <a:lnTo>
                  <a:pt x="18069" y="74838"/>
                </a:lnTo>
                <a:lnTo>
                  <a:pt x="16811" y="78286"/>
                </a:lnTo>
                <a:lnTo>
                  <a:pt x="15954" y="79896"/>
                </a:lnTo>
                <a:lnTo>
                  <a:pt x="20974" y="85820"/>
                </a:lnTo>
                <a:lnTo>
                  <a:pt x="21603" y="87516"/>
                </a:lnTo>
                <a:lnTo>
                  <a:pt x="22260" y="88506"/>
                </a:lnTo>
                <a:lnTo>
                  <a:pt x="17507" y="89125"/>
                </a:lnTo>
                <a:lnTo>
                  <a:pt x="19526" y="91040"/>
                </a:lnTo>
                <a:lnTo>
                  <a:pt x="22069" y="92412"/>
                </a:lnTo>
                <a:lnTo>
                  <a:pt x="23774" y="93069"/>
                </a:lnTo>
                <a:lnTo>
                  <a:pt x="24708" y="94450"/>
                </a:lnTo>
                <a:lnTo>
                  <a:pt x="22879" y="95088"/>
                </a:lnTo>
                <a:lnTo>
                  <a:pt x="21155" y="95126"/>
                </a:lnTo>
                <a:lnTo>
                  <a:pt x="14335" y="90049"/>
                </a:lnTo>
                <a:lnTo>
                  <a:pt x="10544" y="89116"/>
                </a:lnTo>
                <a:lnTo>
                  <a:pt x="5324" y="89411"/>
                </a:lnTo>
                <a:lnTo>
                  <a:pt x="4010" y="89945"/>
                </a:lnTo>
                <a:lnTo>
                  <a:pt x="2657" y="91488"/>
                </a:lnTo>
                <a:lnTo>
                  <a:pt x="4572" y="93831"/>
                </a:lnTo>
                <a:lnTo>
                  <a:pt x="6344" y="95212"/>
                </a:lnTo>
                <a:lnTo>
                  <a:pt x="9192" y="95393"/>
                </a:lnTo>
                <a:lnTo>
                  <a:pt x="12620" y="97126"/>
                </a:lnTo>
                <a:lnTo>
                  <a:pt x="17554" y="95679"/>
                </a:lnTo>
                <a:lnTo>
                  <a:pt x="21098" y="97460"/>
                </a:lnTo>
                <a:lnTo>
                  <a:pt x="23431" y="98098"/>
                </a:lnTo>
                <a:lnTo>
                  <a:pt x="25527" y="99165"/>
                </a:lnTo>
                <a:lnTo>
                  <a:pt x="27375" y="99393"/>
                </a:lnTo>
                <a:lnTo>
                  <a:pt x="28184" y="98917"/>
                </a:lnTo>
                <a:lnTo>
                  <a:pt x="27670" y="96336"/>
                </a:lnTo>
                <a:lnTo>
                  <a:pt x="29175" y="94955"/>
                </a:lnTo>
                <a:lnTo>
                  <a:pt x="30842" y="94317"/>
                </a:lnTo>
                <a:lnTo>
                  <a:pt x="31594" y="95441"/>
                </a:lnTo>
                <a:lnTo>
                  <a:pt x="33128" y="96584"/>
                </a:lnTo>
                <a:lnTo>
                  <a:pt x="34328" y="96593"/>
                </a:lnTo>
                <a:lnTo>
                  <a:pt x="37585" y="93621"/>
                </a:lnTo>
                <a:lnTo>
                  <a:pt x="38348" y="94212"/>
                </a:lnTo>
                <a:lnTo>
                  <a:pt x="39053" y="95269"/>
                </a:lnTo>
                <a:lnTo>
                  <a:pt x="39205" y="96117"/>
                </a:lnTo>
                <a:lnTo>
                  <a:pt x="39329" y="97012"/>
                </a:lnTo>
                <a:lnTo>
                  <a:pt x="40062" y="97384"/>
                </a:lnTo>
                <a:lnTo>
                  <a:pt x="42624" y="97193"/>
                </a:lnTo>
                <a:lnTo>
                  <a:pt x="43929" y="95583"/>
                </a:lnTo>
                <a:lnTo>
                  <a:pt x="44948" y="94574"/>
                </a:lnTo>
                <a:lnTo>
                  <a:pt x="45711" y="95260"/>
                </a:lnTo>
                <a:lnTo>
                  <a:pt x="46082" y="97241"/>
                </a:lnTo>
                <a:lnTo>
                  <a:pt x="46787" y="99822"/>
                </a:lnTo>
                <a:lnTo>
                  <a:pt x="49844" y="102699"/>
                </a:lnTo>
                <a:lnTo>
                  <a:pt x="52426" y="103518"/>
                </a:lnTo>
                <a:lnTo>
                  <a:pt x="55597" y="102956"/>
                </a:lnTo>
                <a:lnTo>
                  <a:pt x="56855" y="102441"/>
                </a:lnTo>
                <a:lnTo>
                  <a:pt x="57702" y="102870"/>
                </a:lnTo>
                <a:lnTo>
                  <a:pt x="58550" y="104394"/>
                </a:lnTo>
                <a:lnTo>
                  <a:pt x="60379" y="106137"/>
                </a:lnTo>
                <a:lnTo>
                  <a:pt x="64218" y="107366"/>
                </a:lnTo>
                <a:lnTo>
                  <a:pt x="65399" y="108061"/>
                </a:lnTo>
                <a:lnTo>
                  <a:pt x="66218" y="109233"/>
                </a:lnTo>
                <a:lnTo>
                  <a:pt x="65980" y="110900"/>
                </a:lnTo>
                <a:lnTo>
                  <a:pt x="64151" y="115043"/>
                </a:lnTo>
                <a:lnTo>
                  <a:pt x="63913" y="116262"/>
                </a:lnTo>
                <a:lnTo>
                  <a:pt x="64160" y="116672"/>
                </a:lnTo>
                <a:lnTo>
                  <a:pt x="63798" y="117434"/>
                </a:lnTo>
                <a:lnTo>
                  <a:pt x="61417" y="120205"/>
                </a:lnTo>
                <a:lnTo>
                  <a:pt x="61208" y="121187"/>
                </a:lnTo>
                <a:lnTo>
                  <a:pt x="61998" y="122777"/>
                </a:lnTo>
                <a:lnTo>
                  <a:pt x="62655" y="124092"/>
                </a:lnTo>
                <a:lnTo>
                  <a:pt x="62655" y="124092"/>
                </a:lnTo>
                <a:lnTo>
                  <a:pt x="64084" y="124730"/>
                </a:lnTo>
                <a:lnTo>
                  <a:pt x="65427" y="124939"/>
                </a:lnTo>
                <a:lnTo>
                  <a:pt x="67970" y="125025"/>
                </a:lnTo>
                <a:lnTo>
                  <a:pt x="70685" y="125111"/>
                </a:lnTo>
                <a:lnTo>
                  <a:pt x="72142" y="118586"/>
                </a:lnTo>
                <a:lnTo>
                  <a:pt x="71028" y="116681"/>
                </a:lnTo>
                <a:lnTo>
                  <a:pt x="69647" y="115710"/>
                </a:lnTo>
                <a:lnTo>
                  <a:pt x="68037" y="115233"/>
                </a:lnTo>
                <a:lnTo>
                  <a:pt x="67294" y="114328"/>
                </a:lnTo>
                <a:lnTo>
                  <a:pt x="67037" y="113290"/>
                </a:lnTo>
                <a:lnTo>
                  <a:pt x="67323" y="112652"/>
                </a:lnTo>
                <a:lnTo>
                  <a:pt x="69218" y="112843"/>
                </a:lnTo>
                <a:lnTo>
                  <a:pt x="69809" y="112166"/>
                </a:lnTo>
                <a:lnTo>
                  <a:pt x="74324" y="108318"/>
                </a:lnTo>
                <a:lnTo>
                  <a:pt x="74514" y="107575"/>
                </a:lnTo>
                <a:lnTo>
                  <a:pt x="73885" y="107156"/>
                </a:lnTo>
                <a:lnTo>
                  <a:pt x="73066" y="106937"/>
                </a:lnTo>
                <a:lnTo>
                  <a:pt x="72857" y="106128"/>
                </a:lnTo>
                <a:lnTo>
                  <a:pt x="72885" y="105061"/>
                </a:lnTo>
                <a:lnTo>
                  <a:pt x="75295" y="99489"/>
                </a:lnTo>
                <a:lnTo>
                  <a:pt x="76010" y="97107"/>
                </a:lnTo>
                <a:lnTo>
                  <a:pt x="76172" y="95422"/>
                </a:lnTo>
                <a:lnTo>
                  <a:pt x="76019" y="93755"/>
                </a:lnTo>
                <a:lnTo>
                  <a:pt x="74628" y="91135"/>
                </a:lnTo>
                <a:lnTo>
                  <a:pt x="73285" y="89040"/>
                </a:lnTo>
                <a:lnTo>
                  <a:pt x="73238" y="87373"/>
                </a:lnTo>
                <a:lnTo>
                  <a:pt x="72257" y="86496"/>
                </a:lnTo>
                <a:lnTo>
                  <a:pt x="69475" y="82010"/>
                </a:lnTo>
                <a:lnTo>
                  <a:pt x="69475" y="80277"/>
                </a:lnTo>
                <a:lnTo>
                  <a:pt x="71047" y="78924"/>
                </a:lnTo>
                <a:lnTo>
                  <a:pt x="73247" y="78067"/>
                </a:lnTo>
                <a:lnTo>
                  <a:pt x="73981" y="77353"/>
                </a:lnTo>
                <a:lnTo>
                  <a:pt x="75295" y="76905"/>
                </a:lnTo>
                <a:lnTo>
                  <a:pt x="78791" y="78200"/>
                </a:lnTo>
                <a:lnTo>
                  <a:pt x="80353" y="79324"/>
                </a:lnTo>
                <a:lnTo>
                  <a:pt x="80791" y="79096"/>
                </a:lnTo>
                <a:lnTo>
                  <a:pt x="82201" y="77876"/>
                </a:lnTo>
                <a:lnTo>
                  <a:pt x="84677" y="78067"/>
                </a:lnTo>
                <a:lnTo>
                  <a:pt x="90668" y="75610"/>
                </a:lnTo>
                <a:lnTo>
                  <a:pt x="91564" y="74428"/>
                </a:lnTo>
                <a:lnTo>
                  <a:pt x="92230" y="73171"/>
                </a:lnTo>
                <a:lnTo>
                  <a:pt x="92288" y="72619"/>
                </a:lnTo>
                <a:lnTo>
                  <a:pt x="89964" y="70190"/>
                </a:lnTo>
                <a:lnTo>
                  <a:pt x="89897" y="69294"/>
                </a:lnTo>
                <a:lnTo>
                  <a:pt x="90202" y="68285"/>
                </a:lnTo>
                <a:lnTo>
                  <a:pt x="90859" y="67485"/>
                </a:lnTo>
                <a:lnTo>
                  <a:pt x="92230" y="66942"/>
                </a:lnTo>
                <a:lnTo>
                  <a:pt x="93688" y="65875"/>
                </a:lnTo>
                <a:lnTo>
                  <a:pt x="96955" y="62846"/>
                </a:lnTo>
                <a:lnTo>
                  <a:pt x="98088" y="60217"/>
                </a:lnTo>
                <a:lnTo>
                  <a:pt x="98441" y="57360"/>
                </a:lnTo>
                <a:lnTo>
                  <a:pt x="98508" y="55226"/>
                </a:lnTo>
                <a:lnTo>
                  <a:pt x="97612" y="53530"/>
                </a:lnTo>
                <a:lnTo>
                  <a:pt x="96707" y="52435"/>
                </a:lnTo>
                <a:lnTo>
                  <a:pt x="95478" y="52607"/>
                </a:lnTo>
                <a:lnTo>
                  <a:pt x="93088" y="52521"/>
                </a:lnTo>
                <a:lnTo>
                  <a:pt x="90849" y="51568"/>
                </a:lnTo>
                <a:lnTo>
                  <a:pt x="89621" y="50025"/>
                </a:lnTo>
                <a:lnTo>
                  <a:pt x="89316" y="48673"/>
                </a:lnTo>
                <a:lnTo>
                  <a:pt x="89878" y="47816"/>
                </a:lnTo>
                <a:lnTo>
                  <a:pt x="90049" y="46768"/>
                </a:lnTo>
                <a:lnTo>
                  <a:pt x="89687" y="45711"/>
                </a:lnTo>
                <a:lnTo>
                  <a:pt x="89830" y="44825"/>
                </a:lnTo>
                <a:lnTo>
                  <a:pt x="90840" y="44110"/>
                </a:lnTo>
                <a:lnTo>
                  <a:pt x="97917" y="44129"/>
                </a:lnTo>
                <a:lnTo>
                  <a:pt x="98450" y="43348"/>
                </a:lnTo>
                <a:lnTo>
                  <a:pt x="98927" y="39234"/>
                </a:lnTo>
                <a:lnTo>
                  <a:pt x="100698" y="32956"/>
                </a:lnTo>
                <a:lnTo>
                  <a:pt x="102365" y="29451"/>
                </a:lnTo>
                <a:lnTo>
                  <a:pt x="102641" y="27975"/>
                </a:lnTo>
                <a:lnTo>
                  <a:pt x="102613" y="19641"/>
                </a:lnTo>
                <a:lnTo>
                  <a:pt x="102822" y="15373"/>
                </a:lnTo>
                <a:close/>
                <a:moveTo>
                  <a:pt x="10182" y="85611"/>
                </a:moveTo>
                <a:lnTo>
                  <a:pt x="12516" y="84934"/>
                </a:lnTo>
                <a:lnTo>
                  <a:pt x="16050" y="87811"/>
                </a:lnTo>
                <a:lnTo>
                  <a:pt x="19364" y="86878"/>
                </a:lnTo>
                <a:lnTo>
                  <a:pt x="19164" y="86078"/>
                </a:lnTo>
                <a:lnTo>
                  <a:pt x="18602" y="85325"/>
                </a:lnTo>
                <a:lnTo>
                  <a:pt x="15992" y="82972"/>
                </a:lnTo>
                <a:lnTo>
                  <a:pt x="11716" y="82677"/>
                </a:lnTo>
                <a:lnTo>
                  <a:pt x="9296" y="83401"/>
                </a:lnTo>
                <a:lnTo>
                  <a:pt x="9306" y="84249"/>
                </a:lnTo>
                <a:lnTo>
                  <a:pt x="10182" y="85611"/>
                </a:lnTo>
                <a:close/>
                <a:moveTo>
                  <a:pt x="38395" y="27927"/>
                </a:moveTo>
                <a:lnTo>
                  <a:pt x="41043" y="24784"/>
                </a:lnTo>
                <a:lnTo>
                  <a:pt x="41043" y="19783"/>
                </a:lnTo>
                <a:lnTo>
                  <a:pt x="37129" y="23870"/>
                </a:lnTo>
                <a:lnTo>
                  <a:pt x="36309" y="26327"/>
                </a:lnTo>
                <a:lnTo>
                  <a:pt x="36776" y="27061"/>
                </a:lnTo>
                <a:lnTo>
                  <a:pt x="38395" y="27927"/>
                </a:ln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4" name="Forme libre : forme 43">
            <a:extLst>
              <a:ext uri="{FF2B5EF4-FFF2-40B4-BE49-F238E27FC236}">
                <a16:creationId xmlns:a16="http://schemas.microsoft.com/office/drawing/2014/main" id="{E9906A62-045C-CC35-77AA-53C764E882D2}"/>
              </a:ext>
            </a:extLst>
          </p:cNvPr>
          <p:cNvSpPr/>
          <p:nvPr/>
        </p:nvSpPr>
        <p:spPr>
          <a:xfrm>
            <a:off x="5688856" y="1991884"/>
            <a:ext cx="912215" cy="1088390"/>
          </a:xfrm>
          <a:custGeom>
            <a:avLst/>
            <a:gdLst>
              <a:gd name="connsiteX0" fmla="*/ 555689 w 699392"/>
              <a:gd name="connsiteY0" fmla="*/ 0 h 834466"/>
              <a:gd name="connsiteX1" fmla="*/ 562833 w 699392"/>
              <a:gd name="connsiteY1" fmla="*/ 3162 h 834466"/>
              <a:gd name="connsiteX2" fmla="*/ 565271 w 699392"/>
              <a:gd name="connsiteY2" fmla="*/ 3096 h 834466"/>
              <a:gd name="connsiteX3" fmla="*/ 568823 w 699392"/>
              <a:gd name="connsiteY3" fmla="*/ 8992 h 834466"/>
              <a:gd name="connsiteX4" fmla="*/ 570672 w 699392"/>
              <a:gd name="connsiteY4" fmla="*/ 8468 h 834466"/>
              <a:gd name="connsiteX5" fmla="*/ 570319 w 699392"/>
              <a:gd name="connsiteY5" fmla="*/ 12049 h 834466"/>
              <a:gd name="connsiteX6" fmla="*/ 566738 w 699392"/>
              <a:gd name="connsiteY6" fmla="*/ 13754 h 834466"/>
              <a:gd name="connsiteX7" fmla="*/ 561165 w 699392"/>
              <a:gd name="connsiteY7" fmla="*/ 14783 h 834466"/>
              <a:gd name="connsiteX8" fmla="*/ 560337 w 699392"/>
              <a:gd name="connsiteY8" fmla="*/ 15497 h 834466"/>
              <a:gd name="connsiteX9" fmla="*/ 555574 w 699392"/>
              <a:gd name="connsiteY9" fmla="*/ 14926 h 834466"/>
              <a:gd name="connsiteX10" fmla="*/ 552898 w 699392"/>
              <a:gd name="connsiteY10" fmla="*/ 10106 h 834466"/>
              <a:gd name="connsiteX11" fmla="*/ 548431 w 699392"/>
              <a:gd name="connsiteY11" fmla="*/ 8915 h 834466"/>
              <a:gd name="connsiteX12" fmla="*/ 548440 w 699392"/>
              <a:gd name="connsiteY12" fmla="*/ 7363 h 834466"/>
              <a:gd name="connsiteX13" fmla="*/ 551336 w 699392"/>
              <a:gd name="connsiteY13" fmla="*/ 3705 h 834466"/>
              <a:gd name="connsiteX14" fmla="*/ 555689 w 699392"/>
              <a:gd name="connsiteY14" fmla="*/ 0 h 834466"/>
              <a:gd name="connsiteX15" fmla="*/ 696926 w 699392"/>
              <a:gd name="connsiteY15" fmla="*/ 108566 h 834466"/>
              <a:gd name="connsiteX16" fmla="*/ 698382 w 699392"/>
              <a:gd name="connsiteY16" fmla="*/ 118710 h 834466"/>
              <a:gd name="connsiteX17" fmla="*/ 698335 w 699392"/>
              <a:gd name="connsiteY17" fmla="*/ 122234 h 834466"/>
              <a:gd name="connsiteX18" fmla="*/ 697649 w 699392"/>
              <a:gd name="connsiteY18" fmla="*/ 125644 h 834466"/>
              <a:gd name="connsiteX19" fmla="*/ 696687 w 699392"/>
              <a:gd name="connsiteY19" fmla="*/ 127387 h 834466"/>
              <a:gd name="connsiteX20" fmla="*/ 694773 w 699392"/>
              <a:gd name="connsiteY20" fmla="*/ 128149 h 834466"/>
              <a:gd name="connsiteX21" fmla="*/ 690134 w 699392"/>
              <a:gd name="connsiteY21" fmla="*/ 127845 h 834466"/>
              <a:gd name="connsiteX22" fmla="*/ 683838 w 699392"/>
              <a:gd name="connsiteY22" fmla="*/ 123854 h 834466"/>
              <a:gd name="connsiteX23" fmla="*/ 679771 w 699392"/>
              <a:gd name="connsiteY23" fmla="*/ 120091 h 834466"/>
              <a:gd name="connsiteX24" fmla="*/ 678504 w 699392"/>
              <a:gd name="connsiteY24" fmla="*/ 119929 h 834466"/>
              <a:gd name="connsiteX25" fmla="*/ 677952 w 699392"/>
              <a:gd name="connsiteY25" fmla="*/ 120386 h 834466"/>
              <a:gd name="connsiteX26" fmla="*/ 678942 w 699392"/>
              <a:gd name="connsiteY26" fmla="*/ 124158 h 834466"/>
              <a:gd name="connsiteX27" fmla="*/ 678675 w 699392"/>
              <a:gd name="connsiteY27" fmla="*/ 127054 h 834466"/>
              <a:gd name="connsiteX28" fmla="*/ 678066 w 699392"/>
              <a:gd name="connsiteY28" fmla="*/ 130197 h 834466"/>
              <a:gd name="connsiteX29" fmla="*/ 677209 w 699392"/>
              <a:gd name="connsiteY29" fmla="*/ 133045 h 834466"/>
              <a:gd name="connsiteX30" fmla="*/ 676018 w 699392"/>
              <a:gd name="connsiteY30" fmla="*/ 135426 h 834466"/>
              <a:gd name="connsiteX31" fmla="*/ 673522 w 699392"/>
              <a:gd name="connsiteY31" fmla="*/ 138493 h 834466"/>
              <a:gd name="connsiteX32" fmla="*/ 669207 w 699392"/>
              <a:gd name="connsiteY32" fmla="*/ 140913 h 834466"/>
              <a:gd name="connsiteX33" fmla="*/ 657330 w 699392"/>
              <a:gd name="connsiteY33" fmla="*/ 145628 h 834466"/>
              <a:gd name="connsiteX34" fmla="*/ 656387 w 699392"/>
              <a:gd name="connsiteY34" fmla="*/ 147704 h 834466"/>
              <a:gd name="connsiteX35" fmla="*/ 652558 w 699392"/>
              <a:gd name="connsiteY35" fmla="*/ 160753 h 834466"/>
              <a:gd name="connsiteX36" fmla="*/ 651520 w 699392"/>
              <a:gd name="connsiteY36" fmla="*/ 162658 h 834466"/>
              <a:gd name="connsiteX37" fmla="*/ 650120 w 699392"/>
              <a:gd name="connsiteY37" fmla="*/ 164268 h 834466"/>
              <a:gd name="connsiteX38" fmla="*/ 646033 w 699392"/>
              <a:gd name="connsiteY38" fmla="*/ 166354 h 834466"/>
              <a:gd name="connsiteX39" fmla="*/ 644052 w 699392"/>
              <a:gd name="connsiteY39" fmla="*/ 163478 h 834466"/>
              <a:gd name="connsiteX40" fmla="*/ 642471 w 699392"/>
              <a:gd name="connsiteY40" fmla="*/ 159106 h 834466"/>
              <a:gd name="connsiteX41" fmla="*/ 642833 w 699392"/>
              <a:gd name="connsiteY41" fmla="*/ 154762 h 834466"/>
              <a:gd name="connsiteX42" fmla="*/ 647605 w 699392"/>
              <a:gd name="connsiteY42" fmla="*/ 146399 h 834466"/>
              <a:gd name="connsiteX43" fmla="*/ 652072 w 699392"/>
              <a:gd name="connsiteY43" fmla="*/ 140446 h 834466"/>
              <a:gd name="connsiteX44" fmla="*/ 653329 w 699392"/>
              <a:gd name="connsiteY44" fmla="*/ 138379 h 834466"/>
              <a:gd name="connsiteX45" fmla="*/ 655863 w 699392"/>
              <a:gd name="connsiteY45" fmla="*/ 132369 h 834466"/>
              <a:gd name="connsiteX46" fmla="*/ 650739 w 699392"/>
              <a:gd name="connsiteY46" fmla="*/ 117186 h 834466"/>
              <a:gd name="connsiteX47" fmla="*/ 641614 w 699392"/>
              <a:gd name="connsiteY47" fmla="*/ 112566 h 834466"/>
              <a:gd name="connsiteX48" fmla="*/ 631222 w 699392"/>
              <a:gd name="connsiteY48" fmla="*/ 105508 h 834466"/>
              <a:gd name="connsiteX49" fmla="*/ 627412 w 699392"/>
              <a:gd name="connsiteY49" fmla="*/ 101737 h 834466"/>
              <a:gd name="connsiteX50" fmla="*/ 621478 w 699392"/>
              <a:gd name="connsiteY50" fmla="*/ 93936 h 834466"/>
              <a:gd name="connsiteX51" fmla="*/ 617277 w 699392"/>
              <a:gd name="connsiteY51" fmla="*/ 86906 h 834466"/>
              <a:gd name="connsiteX52" fmla="*/ 613486 w 699392"/>
              <a:gd name="connsiteY52" fmla="*/ 86658 h 834466"/>
              <a:gd name="connsiteX53" fmla="*/ 609315 w 699392"/>
              <a:gd name="connsiteY53" fmla="*/ 88430 h 834466"/>
              <a:gd name="connsiteX54" fmla="*/ 602799 w 699392"/>
              <a:gd name="connsiteY54" fmla="*/ 94850 h 834466"/>
              <a:gd name="connsiteX55" fmla="*/ 598999 w 699392"/>
              <a:gd name="connsiteY55" fmla="*/ 98069 h 834466"/>
              <a:gd name="connsiteX56" fmla="*/ 596903 w 699392"/>
              <a:gd name="connsiteY56" fmla="*/ 99022 h 834466"/>
              <a:gd name="connsiteX57" fmla="*/ 596399 w 699392"/>
              <a:gd name="connsiteY57" fmla="*/ 99165 h 834466"/>
              <a:gd name="connsiteX58" fmla="*/ 591731 w 699392"/>
              <a:gd name="connsiteY58" fmla="*/ 97346 h 834466"/>
              <a:gd name="connsiteX59" fmla="*/ 586550 w 699392"/>
              <a:gd name="connsiteY59" fmla="*/ 96964 h 834466"/>
              <a:gd name="connsiteX60" fmla="*/ 582378 w 699392"/>
              <a:gd name="connsiteY60" fmla="*/ 97488 h 834466"/>
              <a:gd name="connsiteX61" fmla="*/ 580806 w 699392"/>
              <a:gd name="connsiteY61" fmla="*/ 98365 h 834466"/>
              <a:gd name="connsiteX62" fmla="*/ 574996 w 699392"/>
              <a:gd name="connsiteY62" fmla="*/ 108690 h 834466"/>
              <a:gd name="connsiteX63" fmla="*/ 570929 w 699392"/>
              <a:gd name="connsiteY63" fmla="*/ 113871 h 834466"/>
              <a:gd name="connsiteX64" fmla="*/ 568690 w 699392"/>
              <a:gd name="connsiteY64" fmla="*/ 115653 h 834466"/>
              <a:gd name="connsiteX65" fmla="*/ 567061 w 699392"/>
              <a:gd name="connsiteY65" fmla="*/ 118643 h 834466"/>
              <a:gd name="connsiteX66" fmla="*/ 565728 w 699392"/>
              <a:gd name="connsiteY66" fmla="*/ 123558 h 834466"/>
              <a:gd name="connsiteX67" fmla="*/ 562746 w 699392"/>
              <a:gd name="connsiteY67" fmla="*/ 140475 h 834466"/>
              <a:gd name="connsiteX68" fmla="*/ 560527 w 699392"/>
              <a:gd name="connsiteY68" fmla="*/ 146818 h 834466"/>
              <a:gd name="connsiteX69" fmla="*/ 560032 w 699392"/>
              <a:gd name="connsiteY69" fmla="*/ 150685 h 834466"/>
              <a:gd name="connsiteX70" fmla="*/ 560556 w 699392"/>
              <a:gd name="connsiteY70" fmla="*/ 162344 h 834466"/>
              <a:gd name="connsiteX71" fmla="*/ 560022 w 699392"/>
              <a:gd name="connsiteY71" fmla="*/ 168764 h 834466"/>
              <a:gd name="connsiteX72" fmla="*/ 557308 w 699392"/>
              <a:gd name="connsiteY72" fmla="*/ 174041 h 834466"/>
              <a:gd name="connsiteX73" fmla="*/ 555393 w 699392"/>
              <a:gd name="connsiteY73" fmla="*/ 176412 h 834466"/>
              <a:gd name="connsiteX74" fmla="*/ 552869 w 699392"/>
              <a:gd name="connsiteY74" fmla="*/ 176898 h 834466"/>
              <a:gd name="connsiteX75" fmla="*/ 549564 w 699392"/>
              <a:gd name="connsiteY75" fmla="*/ 178241 h 834466"/>
              <a:gd name="connsiteX76" fmla="*/ 546678 w 699392"/>
              <a:gd name="connsiteY76" fmla="*/ 181280 h 834466"/>
              <a:gd name="connsiteX77" fmla="*/ 544639 w 699392"/>
              <a:gd name="connsiteY77" fmla="*/ 185423 h 834466"/>
              <a:gd name="connsiteX78" fmla="*/ 542344 w 699392"/>
              <a:gd name="connsiteY78" fmla="*/ 194672 h 834466"/>
              <a:gd name="connsiteX79" fmla="*/ 538458 w 699392"/>
              <a:gd name="connsiteY79" fmla="*/ 198063 h 834466"/>
              <a:gd name="connsiteX80" fmla="*/ 534743 w 699392"/>
              <a:gd name="connsiteY80" fmla="*/ 197091 h 834466"/>
              <a:gd name="connsiteX81" fmla="*/ 532095 w 699392"/>
              <a:gd name="connsiteY81" fmla="*/ 193700 h 834466"/>
              <a:gd name="connsiteX82" fmla="*/ 526409 w 699392"/>
              <a:gd name="connsiteY82" fmla="*/ 191071 h 834466"/>
              <a:gd name="connsiteX83" fmla="*/ 522170 w 699392"/>
              <a:gd name="connsiteY83" fmla="*/ 189395 h 834466"/>
              <a:gd name="connsiteX84" fmla="*/ 517417 w 699392"/>
              <a:gd name="connsiteY84" fmla="*/ 185757 h 834466"/>
              <a:gd name="connsiteX85" fmla="*/ 513226 w 699392"/>
              <a:gd name="connsiteY85" fmla="*/ 182985 h 834466"/>
              <a:gd name="connsiteX86" fmla="*/ 509397 w 699392"/>
              <a:gd name="connsiteY86" fmla="*/ 182432 h 834466"/>
              <a:gd name="connsiteX87" fmla="*/ 507216 w 699392"/>
              <a:gd name="connsiteY87" fmla="*/ 185947 h 834466"/>
              <a:gd name="connsiteX88" fmla="*/ 505463 w 699392"/>
              <a:gd name="connsiteY88" fmla="*/ 189224 h 834466"/>
              <a:gd name="connsiteX89" fmla="*/ 498929 w 699392"/>
              <a:gd name="connsiteY89" fmla="*/ 191881 h 834466"/>
              <a:gd name="connsiteX90" fmla="*/ 495224 w 699392"/>
              <a:gd name="connsiteY90" fmla="*/ 193986 h 834466"/>
              <a:gd name="connsiteX91" fmla="*/ 490424 w 699392"/>
              <a:gd name="connsiteY91" fmla="*/ 194453 h 834466"/>
              <a:gd name="connsiteX92" fmla="*/ 488480 w 699392"/>
              <a:gd name="connsiteY92" fmla="*/ 192119 h 834466"/>
              <a:gd name="connsiteX93" fmla="*/ 481508 w 699392"/>
              <a:gd name="connsiteY93" fmla="*/ 190576 h 834466"/>
              <a:gd name="connsiteX94" fmla="*/ 473212 w 699392"/>
              <a:gd name="connsiteY94" fmla="*/ 188747 h 834466"/>
              <a:gd name="connsiteX95" fmla="*/ 470811 w 699392"/>
              <a:gd name="connsiteY95" fmla="*/ 188766 h 834466"/>
              <a:gd name="connsiteX96" fmla="*/ 470059 w 699392"/>
              <a:gd name="connsiteY96" fmla="*/ 184585 h 834466"/>
              <a:gd name="connsiteX97" fmla="*/ 467849 w 699392"/>
              <a:gd name="connsiteY97" fmla="*/ 178727 h 834466"/>
              <a:gd name="connsiteX98" fmla="*/ 461953 w 699392"/>
              <a:gd name="connsiteY98" fmla="*/ 168554 h 834466"/>
              <a:gd name="connsiteX99" fmla="*/ 459543 w 699392"/>
              <a:gd name="connsiteY99" fmla="*/ 164954 h 834466"/>
              <a:gd name="connsiteX100" fmla="*/ 455000 w 699392"/>
              <a:gd name="connsiteY100" fmla="*/ 156467 h 834466"/>
              <a:gd name="connsiteX101" fmla="*/ 449713 w 699392"/>
              <a:gd name="connsiteY101" fmla="*/ 147723 h 834466"/>
              <a:gd name="connsiteX102" fmla="*/ 448961 w 699392"/>
              <a:gd name="connsiteY102" fmla="*/ 147504 h 834466"/>
              <a:gd name="connsiteX103" fmla="*/ 445418 w 699392"/>
              <a:gd name="connsiteY103" fmla="*/ 147209 h 834466"/>
              <a:gd name="connsiteX104" fmla="*/ 440227 w 699392"/>
              <a:gd name="connsiteY104" fmla="*/ 147495 h 834466"/>
              <a:gd name="connsiteX105" fmla="*/ 436931 w 699392"/>
              <a:gd name="connsiteY105" fmla="*/ 149485 h 834466"/>
              <a:gd name="connsiteX106" fmla="*/ 434854 w 699392"/>
              <a:gd name="connsiteY106" fmla="*/ 151981 h 834466"/>
              <a:gd name="connsiteX107" fmla="*/ 434493 w 699392"/>
              <a:gd name="connsiteY107" fmla="*/ 154057 h 834466"/>
              <a:gd name="connsiteX108" fmla="*/ 436502 w 699392"/>
              <a:gd name="connsiteY108" fmla="*/ 161982 h 834466"/>
              <a:gd name="connsiteX109" fmla="*/ 435883 w 699392"/>
              <a:gd name="connsiteY109" fmla="*/ 163954 h 834466"/>
              <a:gd name="connsiteX110" fmla="*/ 434845 w 699392"/>
              <a:gd name="connsiteY110" fmla="*/ 164906 h 834466"/>
              <a:gd name="connsiteX111" fmla="*/ 430130 w 699392"/>
              <a:gd name="connsiteY111" fmla="*/ 162687 h 834466"/>
              <a:gd name="connsiteX112" fmla="*/ 424425 w 699392"/>
              <a:gd name="connsiteY112" fmla="*/ 162839 h 834466"/>
              <a:gd name="connsiteX113" fmla="*/ 422986 w 699392"/>
              <a:gd name="connsiteY113" fmla="*/ 165278 h 834466"/>
              <a:gd name="connsiteX114" fmla="*/ 419510 w 699392"/>
              <a:gd name="connsiteY114" fmla="*/ 165545 h 834466"/>
              <a:gd name="connsiteX115" fmla="*/ 409480 w 699392"/>
              <a:gd name="connsiteY115" fmla="*/ 166468 h 834466"/>
              <a:gd name="connsiteX116" fmla="*/ 413909 w 699392"/>
              <a:gd name="connsiteY116" fmla="*/ 172907 h 834466"/>
              <a:gd name="connsiteX117" fmla="*/ 415376 w 699392"/>
              <a:gd name="connsiteY117" fmla="*/ 175489 h 834466"/>
              <a:gd name="connsiteX118" fmla="*/ 415671 w 699392"/>
              <a:gd name="connsiteY118" fmla="*/ 179260 h 834466"/>
              <a:gd name="connsiteX119" fmla="*/ 414900 w 699392"/>
              <a:gd name="connsiteY119" fmla="*/ 186252 h 834466"/>
              <a:gd name="connsiteX120" fmla="*/ 412775 w 699392"/>
              <a:gd name="connsiteY120" fmla="*/ 192205 h 834466"/>
              <a:gd name="connsiteX121" fmla="*/ 410299 w 699392"/>
              <a:gd name="connsiteY121" fmla="*/ 197034 h 834466"/>
              <a:gd name="connsiteX122" fmla="*/ 405527 w 699392"/>
              <a:gd name="connsiteY122" fmla="*/ 201806 h 834466"/>
              <a:gd name="connsiteX123" fmla="*/ 412775 w 699392"/>
              <a:gd name="connsiteY123" fmla="*/ 206512 h 834466"/>
              <a:gd name="connsiteX124" fmla="*/ 407851 w 699392"/>
              <a:gd name="connsiteY124" fmla="*/ 212846 h 834466"/>
              <a:gd name="connsiteX125" fmla="*/ 405546 w 699392"/>
              <a:gd name="connsiteY125" fmla="*/ 215303 h 834466"/>
              <a:gd name="connsiteX126" fmla="*/ 402879 w 699392"/>
              <a:gd name="connsiteY126" fmla="*/ 214884 h 834466"/>
              <a:gd name="connsiteX127" fmla="*/ 398107 w 699392"/>
              <a:gd name="connsiteY127" fmla="*/ 212703 h 834466"/>
              <a:gd name="connsiteX128" fmla="*/ 386553 w 699392"/>
              <a:gd name="connsiteY128" fmla="*/ 207407 h 834466"/>
              <a:gd name="connsiteX129" fmla="*/ 381038 w 699392"/>
              <a:gd name="connsiteY129" fmla="*/ 205416 h 834466"/>
              <a:gd name="connsiteX130" fmla="*/ 376104 w 699392"/>
              <a:gd name="connsiteY130" fmla="*/ 204807 h 834466"/>
              <a:gd name="connsiteX131" fmla="*/ 373475 w 699392"/>
              <a:gd name="connsiteY131" fmla="*/ 204883 h 834466"/>
              <a:gd name="connsiteX132" fmla="*/ 363017 w 699392"/>
              <a:gd name="connsiteY132" fmla="*/ 200330 h 834466"/>
              <a:gd name="connsiteX133" fmla="*/ 360998 w 699392"/>
              <a:gd name="connsiteY133" fmla="*/ 200835 h 834466"/>
              <a:gd name="connsiteX134" fmla="*/ 357244 w 699392"/>
              <a:gd name="connsiteY134" fmla="*/ 202806 h 834466"/>
              <a:gd name="connsiteX135" fmla="*/ 356826 w 699392"/>
              <a:gd name="connsiteY135" fmla="*/ 207226 h 834466"/>
              <a:gd name="connsiteX136" fmla="*/ 357064 w 699392"/>
              <a:gd name="connsiteY136" fmla="*/ 218170 h 834466"/>
              <a:gd name="connsiteX137" fmla="*/ 357616 w 699392"/>
              <a:gd name="connsiteY137" fmla="*/ 226552 h 834466"/>
              <a:gd name="connsiteX138" fmla="*/ 356235 w 699392"/>
              <a:gd name="connsiteY138" fmla="*/ 231372 h 834466"/>
              <a:gd name="connsiteX139" fmla="*/ 354854 w 699392"/>
              <a:gd name="connsiteY139" fmla="*/ 234639 h 834466"/>
              <a:gd name="connsiteX140" fmla="*/ 350672 w 699392"/>
              <a:gd name="connsiteY140" fmla="*/ 243411 h 834466"/>
              <a:gd name="connsiteX141" fmla="*/ 341262 w 699392"/>
              <a:gd name="connsiteY141" fmla="*/ 237449 h 834466"/>
              <a:gd name="connsiteX142" fmla="*/ 334842 w 699392"/>
              <a:gd name="connsiteY142" fmla="*/ 233486 h 834466"/>
              <a:gd name="connsiteX143" fmla="*/ 330718 w 699392"/>
              <a:gd name="connsiteY143" fmla="*/ 238754 h 834466"/>
              <a:gd name="connsiteX144" fmla="*/ 320383 w 699392"/>
              <a:gd name="connsiteY144" fmla="*/ 248374 h 834466"/>
              <a:gd name="connsiteX145" fmla="*/ 315087 w 699392"/>
              <a:gd name="connsiteY145" fmla="*/ 267195 h 834466"/>
              <a:gd name="connsiteX146" fmla="*/ 314783 w 699392"/>
              <a:gd name="connsiteY146" fmla="*/ 267805 h 834466"/>
              <a:gd name="connsiteX147" fmla="*/ 311648 w 699392"/>
              <a:gd name="connsiteY147" fmla="*/ 272558 h 834466"/>
              <a:gd name="connsiteX148" fmla="*/ 307639 w 699392"/>
              <a:gd name="connsiteY148" fmla="*/ 274739 h 834466"/>
              <a:gd name="connsiteX149" fmla="*/ 304600 w 699392"/>
              <a:gd name="connsiteY149" fmla="*/ 275815 h 834466"/>
              <a:gd name="connsiteX150" fmla="*/ 302829 w 699392"/>
              <a:gd name="connsiteY150" fmla="*/ 281349 h 834466"/>
              <a:gd name="connsiteX151" fmla="*/ 306953 w 699392"/>
              <a:gd name="connsiteY151" fmla="*/ 289246 h 834466"/>
              <a:gd name="connsiteX152" fmla="*/ 309067 w 699392"/>
              <a:gd name="connsiteY152" fmla="*/ 293399 h 834466"/>
              <a:gd name="connsiteX153" fmla="*/ 311039 w 699392"/>
              <a:gd name="connsiteY153" fmla="*/ 300085 h 834466"/>
              <a:gd name="connsiteX154" fmla="*/ 310677 w 699392"/>
              <a:gd name="connsiteY154" fmla="*/ 304324 h 834466"/>
              <a:gd name="connsiteX155" fmla="*/ 310220 w 699392"/>
              <a:gd name="connsiteY155" fmla="*/ 306953 h 834466"/>
              <a:gd name="connsiteX156" fmla="*/ 305791 w 699392"/>
              <a:gd name="connsiteY156" fmla="*/ 312325 h 834466"/>
              <a:gd name="connsiteX157" fmla="*/ 296342 w 699392"/>
              <a:gd name="connsiteY157" fmla="*/ 326431 h 834466"/>
              <a:gd name="connsiteX158" fmla="*/ 287598 w 699392"/>
              <a:gd name="connsiteY158" fmla="*/ 341043 h 834466"/>
              <a:gd name="connsiteX159" fmla="*/ 284016 w 699392"/>
              <a:gd name="connsiteY159" fmla="*/ 345215 h 834466"/>
              <a:gd name="connsiteX160" fmla="*/ 285636 w 699392"/>
              <a:gd name="connsiteY160" fmla="*/ 357483 h 834466"/>
              <a:gd name="connsiteX161" fmla="*/ 282730 w 699392"/>
              <a:gd name="connsiteY161" fmla="*/ 361064 h 834466"/>
              <a:gd name="connsiteX162" fmla="*/ 276806 w 699392"/>
              <a:gd name="connsiteY162" fmla="*/ 365103 h 834466"/>
              <a:gd name="connsiteX163" fmla="*/ 273777 w 699392"/>
              <a:gd name="connsiteY163" fmla="*/ 366655 h 834466"/>
              <a:gd name="connsiteX164" fmla="*/ 270520 w 699392"/>
              <a:gd name="connsiteY164" fmla="*/ 367570 h 834466"/>
              <a:gd name="connsiteX165" fmla="*/ 260499 w 699392"/>
              <a:gd name="connsiteY165" fmla="*/ 369180 h 834466"/>
              <a:gd name="connsiteX166" fmla="*/ 262281 w 699392"/>
              <a:gd name="connsiteY166" fmla="*/ 382134 h 834466"/>
              <a:gd name="connsiteX167" fmla="*/ 262957 w 699392"/>
              <a:gd name="connsiteY167" fmla="*/ 387839 h 834466"/>
              <a:gd name="connsiteX168" fmla="*/ 262947 w 699392"/>
              <a:gd name="connsiteY168" fmla="*/ 391211 h 834466"/>
              <a:gd name="connsiteX169" fmla="*/ 261909 w 699392"/>
              <a:gd name="connsiteY169" fmla="*/ 394497 h 834466"/>
              <a:gd name="connsiteX170" fmla="*/ 260671 w 699392"/>
              <a:gd name="connsiteY170" fmla="*/ 400755 h 834466"/>
              <a:gd name="connsiteX171" fmla="*/ 258804 w 699392"/>
              <a:gd name="connsiteY171" fmla="*/ 422948 h 834466"/>
              <a:gd name="connsiteX172" fmla="*/ 257375 w 699392"/>
              <a:gd name="connsiteY172" fmla="*/ 425320 h 834466"/>
              <a:gd name="connsiteX173" fmla="*/ 255404 w 699392"/>
              <a:gd name="connsiteY173" fmla="*/ 431273 h 834466"/>
              <a:gd name="connsiteX174" fmla="*/ 249060 w 699392"/>
              <a:gd name="connsiteY174" fmla="*/ 445494 h 834466"/>
              <a:gd name="connsiteX175" fmla="*/ 243973 w 699392"/>
              <a:gd name="connsiteY175" fmla="*/ 454885 h 834466"/>
              <a:gd name="connsiteX176" fmla="*/ 236630 w 699392"/>
              <a:gd name="connsiteY176" fmla="*/ 468325 h 834466"/>
              <a:gd name="connsiteX177" fmla="*/ 242602 w 699392"/>
              <a:gd name="connsiteY177" fmla="*/ 472545 h 834466"/>
              <a:gd name="connsiteX178" fmla="*/ 248050 w 699392"/>
              <a:gd name="connsiteY178" fmla="*/ 475621 h 834466"/>
              <a:gd name="connsiteX179" fmla="*/ 249184 w 699392"/>
              <a:gd name="connsiteY179" fmla="*/ 480336 h 834466"/>
              <a:gd name="connsiteX180" fmla="*/ 249936 w 699392"/>
              <a:gd name="connsiteY180" fmla="*/ 488185 h 834466"/>
              <a:gd name="connsiteX181" fmla="*/ 249755 w 699392"/>
              <a:gd name="connsiteY181" fmla="*/ 493509 h 834466"/>
              <a:gd name="connsiteX182" fmla="*/ 247669 w 699392"/>
              <a:gd name="connsiteY182" fmla="*/ 498281 h 834466"/>
              <a:gd name="connsiteX183" fmla="*/ 246050 w 699392"/>
              <a:gd name="connsiteY183" fmla="*/ 501625 h 834466"/>
              <a:gd name="connsiteX184" fmla="*/ 244916 w 699392"/>
              <a:gd name="connsiteY184" fmla="*/ 503253 h 834466"/>
              <a:gd name="connsiteX185" fmla="*/ 237173 w 699392"/>
              <a:gd name="connsiteY185" fmla="*/ 501634 h 834466"/>
              <a:gd name="connsiteX186" fmla="*/ 227248 w 699392"/>
              <a:gd name="connsiteY186" fmla="*/ 499548 h 834466"/>
              <a:gd name="connsiteX187" fmla="*/ 224676 w 699392"/>
              <a:gd name="connsiteY187" fmla="*/ 499529 h 834466"/>
              <a:gd name="connsiteX188" fmla="*/ 218904 w 699392"/>
              <a:gd name="connsiteY188" fmla="*/ 501034 h 834466"/>
              <a:gd name="connsiteX189" fmla="*/ 213693 w 699392"/>
              <a:gd name="connsiteY189" fmla="*/ 504111 h 834466"/>
              <a:gd name="connsiteX190" fmla="*/ 210950 w 699392"/>
              <a:gd name="connsiteY190" fmla="*/ 506701 h 834466"/>
              <a:gd name="connsiteX191" fmla="*/ 210217 w 699392"/>
              <a:gd name="connsiteY191" fmla="*/ 507730 h 834466"/>
              <a:gd name="connsiteX192" fmla="*/ 206750 w 699392"/>
              <a:gd name="connsiteY192" fmla="*/ 513617 h 834466"/>
              <a:gd name="connsiteX193" fmla="*/ 200578 w 699392"/>
              <a:gd name="connsiteY193" fmla="*/ 524018 h 834466"/>
              <a:gd name="connsiteX194" fmla="*/ 197196 w 699392"/>
              <a:gd name="connsiteY194" fmla="*/ 528542 h 834466"/>
              <a:gd name="connsiteX195" fmla="*/ 198187 w 699392"/>
              <a:gd name="connsiteY195" fmla="*/ 534762 h 834466"/>
              <a:gd name="connsiteX196" fmla="*/ 192510 w 699392"/>
              <a:gd name="connsiteY196" fmla="*/ 546716 h 834466"/>
              <a:gd name="connsiteX197" fmla="*/ 196225 w 699392"/>
              <a:gd name="connsiteY197" fmla="*/ 558698 h 834466"/>
              <a:gd name="connsiteX198" fmla="*/ 196387 w 699392"/>
              <a:gd name="connsiteY198" fmla="*/ 559098 h 834466"/>
              <a:gd name="connsiteX199" fmla="*/ 198358 w 699392"/>
              <a:gd name="connsiteY199" fmla="*/ 563918 h 834466"/>
              <a:gd name="connsiteX200" fmla="*/ 196301 w 699392"/>
              <a:gd name="connsiteY200" fmla="*/ 567023 h 834466"/>
              <a:gd name="connsiteX201" fmla="*/ 195434 w 699392"/>
              <a:gd name="connsiteY201" fmla="*/ 568690 h 834466"/>
              <a:gd name="connsiteX202" fmla="*/ 195729 w 699392"/>
              <a:gd name="connsiteY202" fmla="*/ 574167 h 834466"/>
              <a:gd name="connsiteX203" fmla="*/ 196272 w 699392"/>
              <a:gd name="connsiteY203" fmla="*/ 580273 h 834466"/>
              <a:gd name="connsiteX204" fmla="*/ 195796 w 699392"/>
              <a:gd name="connsiteY204" fmla="*/ 583844 h 834466"/>
              <a:gd name="connsiteX205" fmla="*/ 195596 w 699392"/>
              <a:gd name="connsiteY205" fmla="*/ 587797 h 834466"/>
              <a:gd name="connsiteX206" fmla="*/ 200644 w 699392"/>
              <a:gd name="connsiteY206" fmla="*/ 605466 h 834466"/>
              <a:gd name="connsiteX207" fmla="*/ 200587 w 699392"/>
              <a:gd name="connsiteY207" fmla="*/ 609581 h 834466"/>
              <a:gd name="connsiteX208" fmla="*/ 200340 w 699392"/>
              <a:gd name="connsiteY208" fmla="*/ 612229 h 834466"/>
              <a:gd name="connsiteX209" fmla="*/ 198777 w 699392"/>
              <a:gd name="connsiteY209" fmla="*/ 623097 h 834466"/>
              <a:gd name="connsiteX210" fmla="*/ 196682 w 699392"/>
              <a:gd name="connsiteY210" fmla="*/ 637585 h 834466"/>
              <a:gd name="connsiteX211" fmla="*/ 200340 w 699392"/>
              <a:gd name="connsiteY211" fmla="*/ 641366 h 834466"/>
              <a:gd name="connsiteX212" fmla="*/ 205540 w 699392"/>
              <a:gd name="connsiteY212" fmla="*/ 645881 h 834466"/>
              <a:gd name="connsiteX213" fmla="*/ 208464 w 699392"/>
              <a:gd name="connsiteY213" fmla="*/ 647662 h 834466"/>
              <a:gd name="connsiteX214" fmla="*/ 212779 w 699392"/>
              <a:gd name="connsiteY214" fmla="*/ 653015 h 834466"/>
              <a:gd name="connsiteX215" fmla="*/ 216075 w 699392"/>
              <a:gd name="connsiteY215" fmla="*/ 658225 h 834466"/>
              <a:gd name="connsiteX216" fmla="*/ 215617 w 699392"/>
              <a:gd name="connsiteY216" fmla="*/ 661673 h 834466"/>
              <a:gd name="connsiteX217" fmla="*/ 214665 w 699392"/>
              <a:gd name="connsiteY217" fmla="*/ 665474 h 834466"/>
              <a:gd name="connsiteX218" fmla="*/ 213284 w 699392"/>
              <a:gd name="connsiteY218" fmla="*/ 668122 h 834466"/>
              <a:gd name="connsiteX219" fmla="*/ 211979 w 699392"/>
              <a:gd name="connsiteY219" fmla="*/ 671751 h 834466"/>
              <a:gd name="connsiteX220" fmla="*/ 211398 w 699392"/>
              <a:gd name="connsiteY220" fmla="*/ 674427 h 834466"/>
              <a:gd name="connsiteX221" fmla="*/ 210788 w 699392"/>
              <a:gd name="connsiteY221" fmla="*/ 675142 h 834466"/>
              <a:gd name="connsiteX222" fmla="*/ 205026 w 699392"/>
              <a:gd name="connsiteY222" fmla="*/ 675437 h 834466"/>
              <a:gd name="connsiteX223" fmla="*/ 201987 w 699392"/>
              <a:gd name="connsiteY223" fmla="*/ 676447 h 834466"/>
              <a:gd name="connsiteX224" fmla="*/ 200396 w 699392"/>
              <a:gd name="connsiteY224" fmla="*/ 677580 h 834466"/>
              <a:gd name="connsiteX225" fmla="*/ 200939 w 699392"/>
              <a:gd name="connsiteY225" fmla="*/ 683657 h 834466"/>
              <a:gd name="connsiteX226" fmla="*/ 204435 w 699392"/>
              <a:gd name="connsiteY226" fmla="*/ 694735 h 834466"/>
              <a:gd name="connsiteX227" fmla="*/ 207340 w 699392"/>
              <a:gd name="connsiteY227" fmla="*/ 702564 h 834466"/>
              <a:gd name="connsiteX228" fmla="*/ 208274 w 699392"/>
              <a:gd name="connsiteY228" fmla="*/ 707708 h 834466"/>
              <a:gd name="connsiteX229" fmla="*/ 207321 w 699392"/>
              <a:gd name="connsiteY229" fmla="*/ 712908 h 834466"/>
              <a:gd name="connsiteX230" fmla="*/ 206331 w 699392"/>
              <a:gd name="connsiteY230" fmla="*/ 715566 h 834466"/>
              <a:gd name="connsiteX231" fmla="*/ 206302 w 699392"/>
              <a:gd name="connsiteY231" fmla="*/ 719138 h 834466"/>
              <a:gd name="connsiteX232" fmla="*/ 205540 w 699392"/>
              <a:gd name="connsiteY232" fmla="*/ 726224 h 834466"/>
              <a:gd name="connsiteX233" fmla="*/ 203292 w 699392"/>
              <a:gd name="connsiteY233" fmla="*/ 729796 h 834466"/>
              <a:gd name="connsiteX234" fmla="*/ 200349 w 699392"/>
              <a:gd name="connsiteY234" fmla="*/ 733682 h 834466"/>
              <a:gd name="connsiteX235" fmla="*/ 197072 w 699392"/>
              <a:gd name="connsiteY235" fmla="*/ 736578 h 834466"/>
              <a:gd name="connsiteX236" fmla="*/ 194472 w 699392"/>
              <a:gd name="connsiteY236" fmla="*/ 737387 h 834466"/>
              <a:gd name="connsiteX237" fmla="*/ 192243 w 699392"/>
              <a:gd name="connsiteY237" fmla="*/ 737721 h 834466"/>
              <a:gd name="connsiteX238" fmla="*/ 190738 w 699392"/>
              <a:gd name="connsiteY238" fmla="*/ 739188 h 834466"/>
              <a:gd name="connsiteX239" fmla="*/ 189376 w 699392"/>
              <a:gd name="connsiteY239" fmla="*/ 743502 h 834466"/>
              <a:gd name="connsiteX240" fmla="*/ 188119 w 699392"/>
              <a:gd name="connsiteY240" fmla="*/ 748017 h 834466"/>
              <a:gd name="connsiteX241" fmla="*/ 184013 w 699392"/>
              <a:gd name="connsiteY241" fmla="*/ 753561 h 834466"/>
              <a:gd name="connsiteX242" fmla="*/ 184128 w 699392"/>
              <a:gd name="connsiteY242" fmla="*/ 755485 h 834466"/>
              <a:gd name="connsiteX243" fmla="*/ 185690 w 699392"/>
              <a:gd name="connsiteY243" fmla="*/ 762019 h 834466"/>
              <a:gd name="connsiteX244" fmla="*/ 187157 w 699392"/>
              <a:gd name="connsiteY244" fmla="*/ 769430 h 834466"/>
              <a:gd name="connsiteX245" fmla="*/ 185919 w 699392"/>
              <a:gd name="connsiteY245" fmla="*/ 776335 h 834466"/>
              <a:gd name="connsiteX246" fmla="*/ 184861 w 699392"/>
              <a:gd name="connsiteY246" fmla="*/ 783546 h 834466"/>
              <a:gd name="connsiteX247" fmla="*/ 183004 w 699392"/>
              <a:gd name="connsiteY247" fmla="*/ 788337 h 834466"/>
              <a:gd name="connsiteX248" fmla="*/ 180356 w 699392"/>
              <a:gd name="connsiteY248" fmla="*/ 790051 h 834466"/>
              <a:gd name="connsiteX249" fmla="*/ 178413 w 699392"/>
              <a:gd name="connsiteY249" fmla="*/ 789194 h 834466"/>
              <a:gd name="connsiteX250" fmla="*/ 176213 w 699392"/>
              <a:gd name="connsiteY250" fmla="*/ 782622 h 834466"/>
              <a:gd name="connsiteX251" fmla="*/ 176098 w 699392"/>
              <a:gd name="connsiteY251" fmla="*/ 781069 h 834466"/>
              <a:gd name="connsiteX252" fmla="*/ 175555 w 699392"/>
              <a:gd name="connsiteY252" fmla="*/ 779050 h 834466"/>
              <a:gd name="connsiteX253" fmla="*/ 169307 w 699392"/>
              <a:gd name="connsiteY253" fmla="*/ 777040 h 834466"/>
              <a:gd name="connsiteX254" fmla="*/ 168202 w 699392"/>
              <a:gd name="connsiteY254" fmla="*/ 777107 h 834466"/>
              <a:gd name="connsiteX255" fmla="*/ 165745 w 699392"/>
              <a:gd name="connsiteY255" fmla="*/ 775925 h 834466"/>
              <a:gd name="connsiteX256" fmla="*/ 164306 w 699392"/>
              <a:gd name="connsiteY256" fmla="*/ 775592 h 834466"/>
              <a:gd name="connsiteX257" fmla="*/ 161354 w 699392"/>
              <a:gd name="connsiteY257" fmla="*/ 774916 h 834466"/>
              <a:gd name="connsiteX258" fmla="*/ 158896 w 699392"/>
              <a:gd name="connsiteY258" fmla="*/ 769068 h 834466"/>
              <a:gd name="connsiteX259" fmla="*/ 156296 w 699392"/>
              <a:gd name="connsiteY259" fmla="*/ 764191 h 834466"/>
              <a:gd name="connsiteX260" fmla="*/ 155915 w 699392"/>
              <a:gd name="connsiteY260" fmla="*/ 762152 h 834466"/>
              <a:gd name="connsiteX261" fmla="*/ 156010 w 699392"/>
              <a:gd name="connsiteY261" fmla="*/ 752980 h 834466"/>
              <a:gd name="connsiteX262" fmla="*/ 155210 w 699392"/>
              <a:gd name="connsiteY262" fmla="*/ 748884 h 834466"/>
              <a:gd name="connsiteX263" fmla="*/ 154962 w 699392"/>
              <a:gd name="connsiteY263" fmla="*/ 744407 h 834466"/>
              <a:gd name="connsiteX264" fmla="*/ 153324 w 699392"/>
              <a:gd name="connsiteY264" fmla="*/ 748046 h 834466"/>
              <a:gd name="connsiteX265" fmla="*/ 154277 w 699392"/>
              <a:gd name="connsiteY265" fmla="*/ 753789 h 834466"/>
              <a:gd name="connsiteX266" fmla="*/ 152257 w 699392"/>
              <a:gd name="connsiteY266" fmla="*/ 756190 h 834466"/>
              <a:gd name="connsiteX267" fmla="*/ 149695 w 699392"/>
              <a:gd name="connsiteY267" fmla="*/ 757361 h 834466"/>
              <a:gd name="connsiteX268" fmla="*/ 149933 w 699392"/>
              <a:gd name="connsiteY268" fmla="*/ 760705 h 834466"/>
              <a:gd name="connsiteX269" fmla="*/ 150981 w 699392"/>
              <a:gd name="connsiteY269" fmla="*/ 761343 h 834466"/>
              <a:gd name="connsiteX270" fmla="*/ 151200 w 699392"/>
              <a:gd name="connsiteY270" fmla="*/ 764800 h 834466"/>
              <a:gd name="connsiteX271" fmla="*/ 150581 w 699392"/>
              <a:gd name="connsiteY271" fmla="*/ 769925 h 834466"/>
              <a:gd name="connsiteX272" fmla="*/ 145552 w 699392"/>
              <a:gd name="connsiteY272" fmla="*/ 781250 h 834466"/>
              <a:gd name="connsiteX273" fmla="*/ 144542 w 699392"/>
              <a:gd name="connsiteY273" fmla="*/ 782460 h 834466"/>
              <a:gd name="connsiteX274" fmla="*/ 143847 w 699392"/>
              <a:gd name="connsiteY274" fmla="*/ 783984 h 834466"/>
              <a:gd name="connsiteX275" fmla="*/ 141275 w 699392"/>
              <a:gd name="connsiteY275" fmla="*/ 782974 h 834466"/>
              <a:gd name="connsiteX276" fmla="*/ 137970 w 699392"/>
              <a:gd name="connsiteY276" fmla="*/ 786117 h 834466"/>
              <a:gd name="connsiteX277" fmla="*/ 134836 w 699392"/>
              <a:gd name="connsiteY277" fmla="*/ 786622 h 834466"/>
              <a:gd name="connsiteX278" fmla="*/ 133703 w 699392"/>
              <a:gd name="connsiteY278" fmla="*/ 783069 h 834466"/>
              <a:gd name="connsiteX279" fmla="*/ 129292 w 699392"/>
              <a:gd name="connsiteY279" fmla="*/ 778354 h 834466"/>
              <a:gd name="connsiteX280" fmla="*/ 127216 w 699392"/>
              <a:gd name="connsiteY280" fmla="*/ 778621 h 834466"/>
              <a:gd name="connsiteX281" fmla="*/ 129083 w 699392"/>
              <a:gd name="connsiteY281" fmla="*/ 780945 h 834466"/>
              <a:gd name="connsiteX282" fmla="*/ 130931 w 699392"/>
              <a:gd name="connsiteY282" fmla="*/ 783965 h 834466"/>
              <a:gd name="connsiteX283" fmla="*/ 129883 w 699392"/>
              <a:gd name="connsiteY283" fmla="*/ 785955 h 834466"/>
              <a:gd name="connsiteX284" fmla="*/ 128854 w 699392"/>
              <a:gd name="connsiteY284" fmla="*/ 787260 h 834466"/>
              <a:gd name="connsiteX285" fmla="*/ 127054 w 699392"/>
              <a:gd name="connsiteY285" fmla="*/ 787937 h 834466"/>
              <a:gd name="connsiteX286" fmla="*/ 120606 w 699392"/>
              <a:gd name="connsiteY286" fmla="*/ 791870 h 834466"/>
              <a:gd name="connsiteX287" fmla="*/ 122901 w 699392"/>
              <a:gd name="connsiteY287" fmla="*/ 794509 h 834466"/>
              <a:gd name="connsiteX288" fmla="*/ 120948 w 699392"/>
              <a:gd name="connsiteY288" fmla="*/ 797500 h 834466"/>
              <a:gd name="connsiteX289" fmla="*/ 118701 w 699392"/>
              <a:gd name="connsiteY289" fmla="*/ 797938 h 834466"/>
              <a:gd name="connsiteX290" fmla="*/ 117500 w 699392"/>
              <a:gd name="connsiteY290" fmla="*/ 799328 h 834466"/>
              <a:gd name="connsiteX291" fmla="*/ 117082 w 699392"/>
              <a:gd name="connsiteY291" fmla="*/ 801214 h 834466"/>
              <a:gd name="connsiteX292" fmla="*/ 110404 w 699392"/>
              <a:gd name="connsiteY292" fmla="*/ 806596 h 834466"/>
              <a:gd name="connsiteX293" fmla="*/ 99527 w 699392"/>
              <a:gd name="connsiteY293" fmla="*/ 820322 h 834466"/>
              <a:gd name="connsiteX294" fmla="*/ 93936 w 699392"/>
              <a:gd name="connsiteY294" fmla="*/ 824189 h 834466"/>
              <a:gd name="connsiteX295" fmla="*/ 90030 w 699392"/>
              <a:gd name="connsiteY295" fmla="*/ 828189 h 834466"/>
              <a:gd name="connsiteX296" fmla="*/ 86592 w 699392"/>
              <a:gd name="connsiteY296" fmla="*/ 828094 h 834466"/>
              <a:gd name="connsiteX297" fmla="*/ 82267 w 699392"/>
              <a:gd name="connsiteY297" fmla="*/ 831494 h 834466"/>
              <a:gd name="connsiteX298" fmla="*/ 71314 w 699392"/>
              <a:gd name="connsiteY298" fmla="*/ 834466 h 834466"/>
              <a:gd name="connsiteX299" fmla="*/ 64046 w 699392"/>
              <a:gd name="connsiteY299" fmla="*/ 833123 h 834466"/>
              <a:gd name="connsiteX300" fmla="*/ 58988 w 699392"/>
              <a:gd name="connsiteY300" fmla="*/ 834304 h 834466"/>
              <a:gd name="connsiteX301" fmla="*/ 56274 w 699392"/>
              <a:gd name="connsiteY301" fmla="*/ 831971 h 834466"/>
              <a:gd name="connsiteX302" fmla="*/ 55921 w 699392"/>
              <a:gd name="connsiteY302" fmla="*/ 830370 h 834466"/>
              <a:gd name="connsiteX303" fmla="*/ 56055 w 699392"/>
              <a:gd name="connsiteY303" fmla="*/ 829437 h 834466"/>
              <a:gd name="connsiteX304" fmla="*/ 56502 w 699392"/>
              <a:gd name="connsiteY304" fmla="*/ 828313 h 834466"/>
              <a:gd name="connsiteX305" fmla="*/ 55559 w 699392"/>
              <a:gd name="connsiteY305" fmla="*/ 827942 h 834466"/>
              <a:gd name="connsiteX306" fmla="*/ 53578 w 699392"/>
              <a:gd name="connsiteY306" fmla="*/ 827751 h 834466"/>
              <a:gd name="connsiteX307" fmla="*/ 52731 w 699392"/>
              <a:gd name="connsiteY307" fmla="*/ 828875 h 834466"/>
              <a:gd name="connsiteX308" fmla="*/ 52616 w 699392"/>
              <a:gd name="connsiteY308" fmla="*/ 831437 h 834466"/>
              <a:gd name="connsiteX309" fmla="*/ 51673 w 699392"/>
              <a:gd name="connsiteY309" fmla="*/ 832104 h 834466"/>
              <a:gd name="connsiteX310" fmla="*/ 47901 w 699392"/>
              <a:gd name="connsiteY310" fmla="*/ 830637 h 834466"/>
              <a:gd name="connsiteX311" fmla="*/ 46949 w 699392"/>
              <a:gd name="connsiteY311" fmla="*/ 829323 h 834466"/>
              <a:gd name="connsiteX312" fmla="*/ 48301 w 699392"/>
              <a:gd name="connsiteY312" fmla="*/ 826646 h 834466"/>
              <a:gd name="connsiteX313" fmla="*/ 50625 w 699392"/>
              <a:gd name="connsiteY313" fmla="*/ 824236 h 834466"/>
              <a:gd name="connsiteX314" fmla="*/ 50206 w 699392"/>
              <a:gd name="connsiteY314" fmla="*/ 823741 h 834466"/>
              <a:gd name="connsiteX315" fmla="*/ 49759 w 699392"/>
              <a:gd name="connsiteY315" fmla="*/ 822274 h 834466"/>
              <a:gd name="connsiteX316" fmla="*/ 48625 w 699392"/>
              <a:gd name="connsiteY316" fmla="*/ 822084 h 834466"/>
              <a:gd name="connsiteX317" fmla="*/ 45253 w 699392"/>
              <a:gd name="connsiteY317" fmla="*/ 822446 h 834466"/>
              <a:gd name="connsiteX318" fmla="*/ 42510 w 699392"/>
              <a:gd name="connsiteY318" fmla="*/ 822008 h 834466"/>
              <a:gd name="connsiteX319" fmla="*/ 33576 w 699392"/>
              <a:gd name="connsiteY319" fmla="*/ 816569 h 834466"/>
              <a:gd name="connsiteX320" fmla="*/ 31490 w 699392"/>
              <a:gd name="connsiteY320" fmla="*/ 813654 h 834466"/>
              <a:gd name="connsiteX321" fmla="*/ 24279 w 699392"/>
              <a:gd name="connsiteY321" fmla="*/ 808996 h 834466"/>
              <a:gd name="connsiteX322" fmla="*/ 21050 w 699392"/>
              <a:gd name="connsiteY322" fmla="*/ 804043 h 834466"/>
              <a:gd name="connsiteX323" fmla="*/ 19212 w 699392"/>
              <a:gd name="connsiteY323" fmla="*/ 798595 h 834466"/>
              <a:gd name="connsiteX324" fmla="*/ 19355 w 699392"/>
              <a:gd name="connsiteY324" fmla="*/ 793642 h 834466"/>
              <a:gd name="connsiteX325" fmla="*/ 20241 w 699392"/>
              <a:gd name="connsiteY325" fmla="*/ 785765 h 834466"/>
              <a:gd name="connsiteX326" fmla="*/ 21755 w 699392"/>
              <a:gd name="connsiteY326" fmla="*/ 783812 h 834466"/>
              <a:gd name="connsiteX327" fmla="*/ 28223 w 699392"/>
              <a:gd name="connsiteY327" fmla="*/ 786584 h 834466"/>
              <a:gd name="connsiteX328" fmla="*/ 34766 w 699392"/>
              <a:gd name="connsiteY328" fmla="*/ 791194 h 834466"/>
              <a:gd name="connsiteX329" fmla="*/ 35786 w 699392"/>
              <a:gd name="connsiteY329" fmla="*/ 790966 h 834466"/>
              <a:gd name="connsiteX330" fmla="*/ 37843 w 699392"/>
              <a:gd name="connsiteY330" fmla="*/ 787346 h 834466"/>
              <a:gd name="connsiteX331" fmla="*/ 41824 w 699392"/>
              <a:gd name="connsiteY331" fmla="*/ 784431 h 834466"/>
              <a:gd name="connsiteX332" fmla="*/ 40691 w 699392"/>
              <a:gd name="connsiteY332" fmla="*/ 783631 h 834466"/>
              <a:gd name="connsiteX333" fmla="*/ 34766 w 699392"/>
              <a:gd name="connsiteY333" fmla="*/ 786975 h 834466"/>
              <a:gd name="connsiteX334" fmla="*/ 32566 w 699392"/>
              <a:gd name="connsiteY334" fmla="*/ 785127 h 834466"/>
              <a:gd name="connsiteX335" fmla="*/ 29146 w 699392"/>
              <a:gd name="connsiteY335" fmla="*/ 781355 h 834466"/>
              <a:gd name="connsiteX336" fmla="*/ 29146 w 699392"/>
              <a:gd name="connsiteY336" fmla="*/ 779402 h 834466"/>
              <a:gd name="connsiteX337" fmla="*/ 30737 w 699392"/>
              <a:gd name="connsiteY337" fmla="*/ 777450 h 834466"/>
              <a:gd name="connsiteX338" fmla="*/ 31271 w 699392"/>
              <a:gd name="connsiteY338" fmla="*/ 774811 h 834466"/>
              <a:gd name="connsiteX339" fmla="*/ 30442 w 699392"/>
              <a:gd name="connsiteY339" fmla="*/ 772316 h 834466"/>
              <a:gd name="connsiteX340" fmla="*/ 30832 w 699392"/>
              <a:gd name="connsiteY340" fmla="*/ 768915 h 834466"/>
              <a:gd name="connsiteX341" fmla="*/ 33471 w 699392"/>
              <a:gd name="connsiteY341" fmla="*/ 765305 h 834466"/>
              <a:gd name="connsiteX342" fmla="*/ 37433 w 699392"/>
              <a:gd name="connsiteY342" fmla="*/ 761638 h 834466"/>
              <a:gd name="connsiteX343" fmla="*/ 40291 w 699392"/>
              <a:gd name="connsiteY343" fmla="*/ 758085 h 834466"/>
              <a:gd name="connsiteX344" fmla="*/ 43224 w 699392"/>
              <a:gd name="connsiteY344" fmla="*/ 755904 h 834466"/>
              <a:gd name="connsiteX345" fmla="*/ 42920 w 699392"/>
              <a:gd name="connsiteY345" fmla="*/ 755171 h 834466"/>
              <a:gd name="connsiteX346" fmla="*/ 39567 w 699392"/>
              <a:gd name="connsiteY346" fmla="*/ 756561 h 834466"/>
              <a:gd name="connsiteX347" fmla="*/ 36357 w 699392"/>
              <a:gd name="connsiteY347" fmla="*/ 758923 h 834466"/>
              <a:gd name="connsiteX348" fmla="*/ 32585 w 699392"/>
              <a:gd name="connsiteY348" fmla="*/ 762876 h 834466"/>
              <a:gd name="connsiteX349" fmla="*/ 27985 w 699392"/>
              <a:gd name="connsiteY349" fmla="*/ 766067 h 834466"/>
              <a:gd name="connsiteX350" fmla="*/ 24584 w 699392"/>
              <a:gd name="connsiteY350" fmla="*/ 767305 h 834466"/>
              <a:gd name="connsiteX351" fmla="*/ 22965 w 699392"/>
              <a:gd name="connsiteY351" fmla="*/ 768334 h 834466"/>
              <a:gd name="connsiteX352" fmla="*/ 20469 w 699392"/>
              <a:gd name="connsiteY352" fmla="*/ 769325 h 834466"/>
              <a:gd name="connsiteX353" fmla="*/ 17888 w 699392"/>
              <a:gd name="connsiteY353" fmla="*/ 773887 h 834466"/>
              <a:gd name="connsiteX354" fmla="*/ 15069 w 699392"/>
              <a:gd name="connsiteY354" fmla="*/ 775840 h 834466"/>
              <a:gd name="connsiteX355" fmla="*/ 10020 w 699392"/>
              <a:gd name="connsiteY355" fmla="*/ 776040 h 834466"/>
              <a:gd name="connsiteX356" fmla="*/ 8906 w 699392"/>
              <a:gd name="connsiteY356" fmla="*/ 772706 h 834466"/>
              <a:gd name="connsiteX357" fmla="*/ 10335 w 699392"/>
              <a:gd name="connsiteY357" fmla="*/ 760819 h 834466"/>
              <a:gd name="connsiteX358" fmla="*/ 11859 w 699392"/>
              <a:gd name="connsiteY358" fmla="*/ 754999 h 834466"/>
              <a:gd name="connsiteX359" fmla="*/ 13535 w 699392"/>
              <a:gd name="connsiteY359" fmla="*/ 750875 h 834466"/>
              <a:gd name="connsiteX360" fmla="*/ 16164 w 699392"/>
              <a:gd name="connsiteY360" fmla="*/ 750180 h 834466"/>
              <a:gd name="connsiteX361" fmla="*/ 18012 w 699392"/>
              <a:gd name="connsiteY361" fmla="*/ 747151 h 834466"/>
              <a:gd name="connsiteX362" fmla="*/ 19545 w 699392"/>
              <a:gd name="connsiteY362" fmla="*/ 747151 h 834466"/>
              <a:gd name="connsiteX363" fmla="*/ 20879 w 699392"/>
              <a:gd name="connsiteY363" fmla="*/ 748551 h 834466"/>
              <a:gd name="connsiteX364" fmla="*/ 26032 w 699392"/>
              <a:gd name="connsiteY364" fmla="*/ 749903 h 834466"/>
              <a:gd name="connsiteX365" fmla="*/ 28575 w 699392"/>
              <a:gd name="connsiteY365" fmla="*/ 746046 h 834466"/>
              <a:gd name="connsiteX366" fmla="*/ 31880 w 699392"/>
              <a:gd name="connsiteY366" fmla="*/ 745474 h 834466"/>
              <a:gd name="connsiteX367" fmla="*/ 37910 w 699392"/>
              <a:gd name="connsiteY367" fmla="*/ 741569 h 834466"/>
              <a:gd name="connsiteX368" fmla="*/ 37786 w 699392"/>
              <a:gd name="connsiteY368" fmla="*/ 740855 h 834466"/>
              <a:gd name="connsiteX369" fmla="*/ 33709 w 699392"/>
              <a:gd name="connsiteY369" fmla="*/ 741712 h 834466"/>
              <a:gd name="connsiteX370" fmla="*/ 31233 w 699392"/>
              <a:gd name="connsiteY370" fmla="*/ 741836 h 834466"/>
              <a:gd name="connsiteX371" fmla="*/ 27689 w 699392"/>
              <a:gd name="connsiteY371" fmla="*/ 742817 h 834466"/>
              <a:gd name="connsiteX372" fmla="*/ 25803 w 699392"/>
              <a:gd name="connsiteY372" fmla="*/ 742112 h 834466"/>
              <a:gd name="connsiteX373" fmla="*/ 24917 w 699392"/>
              <a:gd name="connsiteY373" fmla="*/ 739188 h 834466"/>
              <a:gd name="connsiteX374" fmla="*/ 26337 w 699392"/>
              <a:gd name="connsiteY374" fmla="*/ 736540 h 834466"/>
              <a:gd name="connsiteX375" fmla="*/ 32023 w 699392"/>
              <a:gd name="connsiteY375" fmla="*/ 730206 h 834466"/>
              <a:gd name="connsiteX376" fmla="*/ 33995 w 699392"/>
              <a:gd name="connsiteY376" fmla="*/ 727424 h 834466"/>
              <a:gd name="connsiteX377" fmla="*/ 35109 w 699392"/>
              <a:gd name="connsiteY377" fmla="*/ 724824 h 834466"/>
              <a:gd name="connsiteX378" fmla="*/ 34928 w 699392"/>
              <a:gd name="connsiteY378" fmla="*/ 723052 h 834466"/>
              <a:gd name="connsiteX379" fmla="*/ 35881 w 699392"/>
              <a:gd name="connsiteY379" fmla="*/ 719376 h 834466"/>
              <a:gd name="connsiteX380" fmla="*/ 41443 w 699392"/>
              <a:gd name="connsiteY380" fmla="*/ 712946 h 834466"/>
              <a:gd name="connsiteX381" fmla="*/ 45977 w 699392"/>
              <a:gd name="connsiteY381" fmla="*/ 709993 h 834466"/>
              <a:gd name="connsiteX382" fmla="*/ 47463 w 699392"/>
              <a:gd name="connsiteY382" fmla="*/ 712527 h 834466"/>
              <a:gd name="connsiteX383" fmla="*/ 46196 w 699392"/>
              <a:gd name="connsiteY383" fmla="*/ 720442 h 834466"/>
              <a:gd name="connsiteX384" fmla="*/ 46206 w 699392"/>
              <a:gd name="connsiteY384" fmla="*/ 723700 h 834466"/>
              <a:gd name="connsiteX385" fmla="*/ 49787 w 699392"/>
              <a:gd name="connsiteY385" fmla="*/ 712175 h 834466"/>
              <a:gd name="connsiteX386" fmla="*/ 51368 w 699392"/>
              <a:gd name="connsiteY386" fmla="*/ 709422 h 834466"/>
              <a:gd name="connsiteX387" fmla="*/ 53159 w 699392"/>
              <a:gd name="connsiteY387" fmla="*/ 707479 h 834466"/>
              <a:gd name="connsiteX388" fmla="*/ 57503 w 699392"/>
              <a:gd name="connsiteY388" fmla="*/ 706174 h 834466"/>
              <a:gd name="connsiteX389" fmla="*/ 58731 w 699392"/>
              <a:gd name="connsiteY389" fmla="*/ 704345 h 834466"/>
              <a:gd name="connsiteX390" fmla="*/ 53664 w 699392"/>
              <a:gd name="connsiteY390" fmla="*/ 704945 h 834466"/>
              <a:gd name="connsiteX391" fmla="*/ 41386 w 699392"/>
              <a:gd name="connsiteY391" fmla="*/ 709365 h 834466"/>
              <a:gd name="connsiteX392" fmla="*/ 36214 w 699392"/>
              <a:gd name="connsiteY392" fmla="*/ 713299 h 834466"/>
              <a:gd name="connsiteX393" fmla="*/ 34833 w 699392"/>
              <a:gd name="connsiteY393" fmla="*/ 716318 h 834466"/>
              <a:gd name="connsiteX394" fmla="*/ 31242 w 699392"/>
              <a:gd name="connsiteY394" fmla="*/ 720871 h 834466"/>
              <a:gd name="connsiteX395" fmla="*/ 29556 w 699392"/>
              <a:gd name="connsiteY395" fmla="*/ 723814 h 834466"/>
              <a:gd name="connsiteX396" fmla="*/ 28813 w 699392"/>
              <a:gd name="connsiteY396" fmla="*/ 728139 h 834466"/>
              <a:gd name="connsiteX397" fmla="*/ 26794 w 699392"/>
              <a:gd name="connsiteY397" fmla="*/ 730482 h 834466"/>
              <a:gd name="connsiteX398" fmla="*/ 24060 w 699392"/>
              <a:gd name="connsiteY398" fmla="*/ 731349 h 834466"/>
              <a:gd name="connsiteX399" fmla="*/ 20269 w 699392"/>
              <a:gd name="connsiteY399" fmla="*/ 736797 h 834466"/>
              <a:gd name="connsiteX400" fmla="*/ 18593 w 699392"/>
              <a:gd name="connsiteY400" fmla="*/ 741169 h 834466"/>
              <a:gd name="connsiteX401" fmla="*/ 14821 w 699392"/>
              <a:gd name="connsiteY401" fmla="*/ 744636 h 834466"/>
              <a:gd name="connsiteX402" fmla="*/ 12430 w 699392"/>
              <a:gd name="connsiteY402" fmla="*/ 747303 h 834466"/>
              <a:gd name="connsiteX403" fmla="*/ 11640 w 699392"/>
              <a:gd name="connsiteY403" fmla="*/ 748255 h 834466"/>
              <a:gd name="connsiteX404" fmla="*/ 10344 w 699392"/>
              <a:gd name="connsiteY404" fmla="*/ 750865 h 834466"/>
              <a:gd name="connsiteX405" fmla="*/ 9268 w 699392"/>
              <a:gd name="connsiteY405" fmla="*/ 751056 h 834466"/>
              <a:gd name="connsiteX406" fmla="*/ 8334 w 699392"/>
              <a:gd name="connsiteY406" fmla="*/ 749522 h 834466"/>
              <a:gd name="connsiteX407" fmla="*/ 8172 w 699392"/>
              <a:gd name="connsiteY407" fmla="*/ 746150 h 834466"/>
              <a:gd name="connsiteX408" fmla="*/ 8554 w 699392"/>
              <a:gd name="connsiteY408" fmla="*/ 740740 h 834466"/>
              <a:gd name="connsiteX409" fmla="*/ 10373 w 699392"/>
              <a:gd name="connsiteY409" fmla="*/ 736835 h 834466"/>
              <a:gd name="connsiteX410" fmla="*/ 11239 w 699392"/>
              <a:gd name="connsiteY410" fmla="*/ 733015 h 834466"/>
              <a:gd name="connsiteX411" fmla="*/ 10040 w 699392"/>
              <a:gd name="connsiteY411" fmla="*/ 729444 h 834466"/>
              <a:gd name="connsiteX412" fmla="*/ 10878 w 699392"/>
              <a:gd name="connsiteY412" fmla="*/ 727177 h 834466"/>
              <a:gd name="connsiteX413" fmla="*/ 12468 w 699392"/>
              <a:gd name="connsiteY413" fmla="*/ 727262 h 834466"/>
              <a:gd name="connsiteX414" fmla="*/ 15440 w 699392"/>
              <a:gd name="connsiteY414" fmla="*/ 728291 h 834466"/>
              <a:gd name="connsiteX415" fmla="*/ 18593 w 699392"/>
              <a:gd name="connsiteY415" fmla="*/ 728129 h 834466"/>
              <a:gd name="connsiteX416" fmla="*/ 23784 w 699392"/>
              <a:gd name="connsiteY416" fmla="*/ 725300 h 834466"/>
              <a:gd name="connsiteX417" fmla="*/ 22955 w 699392"/>
              <a:gd name="connsiteY417" fmla="*/ 723643 h 834466"/>
              <a:gd name="connsiteX418" fmla="*/ 20717 w 699392"/>
              <a:gd name="connsiteY418" fmla="*/ 723405 h 834466"/>
              <a:gd name="connsiteX419" fmla="*/ 16536 w 699392"/>
              <a:gd name="connsiteY419" fmla="*/ 723643 h 834466"/>
              <a:gd name="connsiteX420" fmla="*/ 13021 w 699392"/>
              <a:gd name="connsiteY420" fmla="*/ 720871 h 834466"/>
              <a:gd name="connsiteX421" fmla="*/ 10287 w 699392"/>
              <a:gd name="connsiteY421" fmla="*/ 715347 h 834466"/>
              <a:gd name="connsiteX422" fmla="*/ 9049 w 699392"/>
              <a:gd name="connsiteY422" fmla="*/ 707936 h 834466"/>
              <a:gd name="connsiteX423" fmla="*/ 9878 w 699392"/>
              <a:gd name="connsiteY423" fmla="*/ 705812 h 834466"/>
              <a:gd name="connsiteX424" fmla="*/ 19993 w 699392"/>
              <a:gd name="connsiteY424" fmla="*/ 698230 h 834466"/>
              <a:gd name="connsiteX425" fmla="*/ 22717 w 699392"/>
              <a:gd name="connsiteY425" fmla="*/ 694773 h 834466"/>
              <a:gd name="connsiteX426" fmla="*/ 21136 w 699392"/>
              <a:gd name="connsiteY426" fmla="*/ 694430 h 834466"/>
              <a:gd name="connsiteX427" fmla="*/ 17336 w 699392"/>
              <a:gd name="connsiteY427" fmla="*/ 698621 h 834466"/>
              <a:gd name="connsiteX428" fmla="*/ 11906 w 699392"/>
              <a:gd name="connsiteY428" fmla="*/ 701211 h 834466"/>
              <a:gd name="connsiteX429" fmla="*/ 8477 w 699392"/>
              <a:gd name="connsiteY429" fmla="*/ 697601 h 834466"/>
              <a:gd name="connsiteX430" fmla="*/ 6696 w 699392"/>
              <a:gd name="connsiteY430" fmla="*/ 693706 h 834466"/>
              <a:gd name="connsiteX431" fmla="*/ 5667 w 699392"/>
              <a:gd name="connsiteY431" fmla="*/ 685448 h 834466"/>
              <a:gd name="connsiteX432" fmla="*/ 6039 w 699392"/>
              <a:gd name="connsiteY432" fmla="*/ 681190 h 834466"/>
              <a:gd name="connsiteX433" fmla="*/ 5610 w 699392"/>
              <a:gd name="connsiteY433" fmla="*/ 675580 h 834466"/>
              <a:gd name="connsiteX434" fmla="*/ 7934 w 699392"/>
              <a:gd name="connsiteY434" fmla="*/ 673751 h 834466"/>
              <a:gd name="connsiteX435" fmla="*/ 10525 w 699392"/>
              <a:gd name="connsiteY435" fmla="*/ 674723 h 834466"/>
              <a:gd name="connsiteX436" fmla="*/ 13087 w 699392"/>
              <a:gd name="connsiteY436" fmla="*/ 675084 h 834466"/>
              <a:gd name="connsiteX437" fmla="*/ 18888 w 699392"/>
              <a:gd name="connsiteY437" fmla="*/ 674589 h 834466"/>
              <a:gd name="connsiteX438" fmla="*/ 31690 w 699392"/>
              <a:gd name="connsiteY438" fmla="*/ 671208 h 834466"/>
              <a:gd name="connsiteX439" fmla="*/ 39938 w 699392"/>
              <a:gd name="connsiteY439" fmla="*/ 673218 h 834466"/>
              <a:gd name="connsiteX440" fmla="*/ 43291 w 699392"/>
              <a:gd name="connsiteY440" fmla="*/ 673037 h 834466"/>
              <a:gd name="connsiteX441" fmla="*/ 48425 w 699392"/>
              <a:gd name="connsiteY441" fmla="*/ 670122 h 834466"/>
              <a:gd name="connsiteX442" fmla="*/ 52911 w 699392"/>
              <a:gd name="connsiteY442" fmla="*/ 669827 h 834466"/>
              <a:gd name="connsiteX443" fmla="*/ 56274 w 699392"/>
              <a:gd name="connsiteY443" fmla="*/ 672046 h 834466"/>
              <a:gd name="connsiteX444" fmla="*/ 58112 w 699392"/>
              <a:gd name="connsiteY444" fmla="*/ 674599 h 834466"/>
              <a:gd name="connsiteX445" fmla="*/ 58341 w 699392"/>
              <a:gd name="connsiteY445" fmla="*/ 677999 h 834466"/>
              <a:gd name="connsiteX446" fmla="*/ 59893 w 699392"/>
              <a:gd name="connsiteY446" fmla="*/ 680266 h 834466"/>
              <a:gd name="connsiteX447" fmla="*/ 60941 w 699392"/>
              <a:gd name="connsiteY447" fmla="*/ 679523 h 834466"/>
              <a:gd name="connsiteX448" fmla="*/ 60103 w 699392"/>
              <a:gd name="connsiteY448" fmla="*/ 676827 h 834466"/>
              <a:gd name="connsiteX449" fmla="*/ 59932 w 699392"/>
              <a:gd name="connsiteY449" fmla="*/ 672646 h 834466"/>
              <a:gd name="connsiteX450" fmla="*/ 73428 w 699392"/>
              <a:gd name="connsiteY450" fmla="*/ 667893 h 834466"/>
              <a:gd name="connsiteX451" fmla="*/ 75019 w 699392"/>
              <a:gd name="connsiteY451" fmla="*/ 666045 h 834466"/>
              <a:gd name="connsiteX452" fmla="*/ 69657 w 699392"/>
              <a:gd name="connsiteY452" fmla="*/ 665397 h 834466"/>
              <a:gd name="connsiteX453" fmla="*/ 68123 w 699392"/>
              <a:gd name="connsiteY453" fmla="*/ 661045 h 834466"/>
              <a:gd name="connsiteX454" fmla="*/ 70952 w 699392"/>
              <a:gd name="connsiteY454" fmla="*/ 654434 h 834466"/>
              <a:gd name="connsiteX455" fmla="*/ 70685 w 699392"/>
              <a:gd name="connsiteY455" fmla="*/ 653577 h 834466"/>
              <a:gd name="connsiteX456" fmla="*/ 67704 w 699392"/>
              <a:gd name="connsiteY456" fmla="*/ 657073 h 834466"/>
              <a:gd name="connsiteX457" fmla="*/ 66237 w 699392"/>
              <a:gd name="connsiteY457" fmla="*/ 661968 h 834466"/>
              <a:gd name="connsiteX458" fmla="*/ 66828 w 699392"/>
              <a:gd name="connsiteY458" fmla="*/ 665874 h 834466"/>
              <a:gd name="connsiteX459" fmla="*/ 66237 w 699392"/>
              <a:gd name="connsiteY459" fmla="*/ 667683 h 834466"/>
              <a:gd name="connsiteX460" fmla="*/ 63494 w 699392"/>
              <a:gd name="connsiteY460" fmla="*/ 668512 h 834466"/>
              <a:gd name="connsiteX461" fmla="*/ 57322 w 699392"/>
              <a:gd name="connsiteY461" fmla="*/ 668817 h 834466"/>
              <a:gd name="connsiteX462" fmla="*/ 53359 w 699392"/>
              <a:gd name="connsiteY462" fmla="*/ 667160 h 834466"/>
              <a:gd name="connsiteX463" fmla="*/ 49692 w 699392"/>
              <a:gd name="connsiteY463" fmla="*/ 666264 h 834466"/>
              <a:gd name="connsiteX464" fmla="*/ 48444 w 699392"/>
              <a:gd name="connsiteY464" fmla="*/ 665016 h 834466"/>
              <a:gd name="connsiteX465" fmla="*/ 48863 w 699392"/>
              <a:gd name="connsiteY465" fmla="*/ 662226 h 834466"/>
              <a:gd name="connsiteX466" fmla="*/ 48168 w 699392"/>
              <a:gd name="connsiteY466" fmla="*/ 661645 h 834466"/>
              <a:gd name="connsiteX467" fmla="*/ 46644 w 699392"/>
              <a:gd name="connsiteY467" fmla="*/ 664150 h 834466"/>
              <a:gd name="connsiteX468" fmla="*/ 45291 w 699392"/>
              <a:gd name="connsiteY468" fmla="*/ 669131 h 834466"/>
              <a:gd name="connsiteX469" fmla="*/ 42377 w 699392"/>
              <a:gd name="connsiteY469" fmla="*/ 670284 h 834466"/>
              <a:gd name="connsiteX470" fmla="*/ 34328 w 699392"/>
              <a:gd name="connsiteY470" fmla="*/ 668436 h 834466"/>
              <a:gd name="connsiteX471" fmla="*/ 22679 w 699392"/>
              <a:gd name="connsiteY471" fmla="*/ 669522 h 834466"/>
              <a:gd name="connsiteX472" fmla="*/ 17450 w 699392"/>
              <a:gd name="connsiteY472" fmla="*/ 672017 h 834466"/>
              <a:gd name="connsiteX473" fmla="*/ 14069 w 699392"/>
              <a:gd name="connsiteY473" fmla="*/ 671693 h 834466"/>
              <a:gd name="connsiteX474" fmla="*/ 8239 w 699392"/>
              <a:gd name="connsiteY474" fmla="*/ 667312 h 834466"/>
              <a:gd name="connsiteX475" fmla="*/ 5972 w 699392"/>
              <a:gd name="connsiteY475" fmla="*/ 663816 h 834466"/>
              <a:gd name="connsiteX476" fmla="*/ 5124 w 699392"/>
              <a:gd name="connsiteY476" fmla="*/ 656749 h 834466"/>
              <a:gd name="connsiteX477" fmla="*/ 5467 w 699392"/>
              <a:gd name="connsiteY477" fmla="*/ 653634 h 834466"/>
              <a:gd name="connsiteX478" fmla="*/ 10001 w 699392"/>
              <a:gd name="connsiteY478" fmla="*/ 652320 h 834466"/>
              <a:gd name="connsiteX479" fmla="*/ 12297 w 699392"/>
              <a:gd name="connsiteY479" fmla="*/ 652405 h 834466"/>
              <a:gd name="connsiteX480" fmla="*/ 14449 w 699392"/>
              <a:gd name="connsiteY480" fmla="*/ 650729 h 834466"/>
              <a:gd name="connsiteX481" fmla="*/ 12545 w 699392"/>
              <a:gd name="connsiteY481" fmla="*/ 649634 h 834466"/>
              <a:gd name="connsiteX482" fmla="*/ 9868 w 699392"/>
              <a:gd name="connsiteY482" fmla="*/ 647481 h 834466"/>
              <a:gd name="connsiteX483" fmla="*/ 8049 w 699392"/>
              <a:gd name="connsiteY483" fmla="*/ 643176 h 834466"/>
              <a:gd name="connsiteX484" fmla="*/ 5296 w 699392"/>
              <a:gd name="connsiteY484" fmla="*/ 641766 h 834466"/>
              <a:gd name="connsiteX485" fmla="*/ 3458 w 699392"/>
              <a:gd name="connsiteY485" fmla="*/ 638080 h 834466"/>
              <a:gd name="connsiteX486" fmla="*/ 2991 w 699392"/>
              <a:gd name="connsiteY486" fmla="*/ 632508 h 834466"/>
              <a:gd name="connsiteX487" fmla="*/ 3515 w 699392"/>
              <a:gd name="connsiteY487" fmla="*/ 628621 h 834466"/>
              <a:gd name="connsiteX488" fmla="*/ 4982 w 699392"/>
              <a:gd name="connsiteY488" fmla="*/ 627374 h 834466"/>
              <a:gd name="connsiteX489" fmla="*/ 8515 w 699392"/>
              <a:gd name="connsiteY489" fmla="*/ 628221 h 834466"/>
              <a:gd name="connsiteX490" fmla="*/ 17831 w 699392"/>
              <a:gd name="connsiteY490" fmla="*/ 627564 h 834466"/>
              <a:gd name="connsiteX491" fmla="*/ 26594 w 699392"/>
              <a:gd name="connsiteY491" fmla="*/ 631527 h 834466"/>
              <a:gd name="connsiteX492" fmla="*/ 32547 w 699392"/>
              <a:gd name="connsiteY492" fmla="*/ 633755 h 834466"/>
              <a:gd name="connsiteX493" fmla="*/ 44596 w 699392"/>
              <a:gd name="connsiteY493" fmla="*/ 632631 h 834466"/>
              <a:gd name="connsiteX494" fmla="*/ 51654 w 699392"/>
              <a:gd name="connsiteY494" fmla="*/ 629098 h 834466"/>
              <a:gd name="connsiteX495" fmla="*/ 50359 w 699392"/>
              <a:gd name="connsiteY495" fmla="*/ 628126 h 834466"/>
              <a:gd name="connsiteX496" fmla="*/ 42701 w 699392"/>
              <a:gd name="connsiteY496" fmla="*/ 630164 h 834466"/>
              <a:gd name="connsiteX497" fmla="*/ 35624 w 699392"/>
              <a:gd name="connsiteY497" fmla="*/ 630079 h 834466"/>
              <a:gd name="connsiteX498" fmla="*/ 23146 w 699392"/>
              <a:gd name="connsiteY498" fmla="*/ 626088 h 834466"/>
              <a:gd name="connsiteX499" fmla="*/ 18031 w 699392"/>
              <a:gd name="connsiteY499" fmla="*/ 624802 h 834466"/>
              <a:gd name="connsiteX500" fmla="*/ 12516 w 699392"/>
              <a:gd name="connsiteY500" fmla="*/ 625373 h 834466"/>
              <a:gd name="connsiteX501" fmla="*/ 9649 w 699392"/>
              <a:gd name="connsiteY501" fmla="*/ 624164 h 834466"/>
              <a:gd name="connsiteX502" fmla="*/ 7963 w 699392"/>
              <a:gd name="connsiteY502" fmla="*/ 620201 h 834466"/>
              <a:gd name="connsiteX503" fmla="*/ 9211 w 699392"/>
              <a:gd name="connsiteY503" fmla="*/ 612600 h 834466"/>
              <a:gd name="connsiteX504" fmla="*/ 11820 w 699392"/>
              <a:gd name="connsiteY504" fmla="*/ 610962 h 834466"/>
              <a:gd name="connsiteX505" fmla="*/ 13230 w 699392"/>
              <a:gd name="connsiteY505" fmla="*/ 612943 h 834466"/>
              <a:gd name="connsiteX506" fmla="*/ 14935 w 699392"/>
              <a:gd name="connsiteY506" fmla="*/ 613067 h 834466"/>
              <a:gd name="connsiteX507" fmla="*/ 16669 w 699392"/>
              <a:gd name="connsiteY507" fmla="*/ 609886 h 834466"/>
              <a:gd name="connsiteX508" fmla="*/ 18317 w 699392"/>
              <a:gd name="connsiteY508" fmla="*/ 608067 h 834466"/>
              <a:gd name="connsiteX509" fmla="*/ 19631 w 699392"/>
              <a:gd name="connsiteY509" fmla="*/ 603952 h 834466"/>
              <a:gd name="connsiteX510" fmla="*/ 24575 w 699392"/>
              <a:gd name="connsiteY510" fmla="*/ 600037 h 834466"/>
              <a:gd name="connsiteX511" fmla="*/ 26661 w 699392"/>
              <a:gd name="connsiteY511" fmla="*/ 599704 h 834466"/>
              <a:gd name="connsiteX512" fmla="*/ 29651 w 699392"/>
              <a:gd name="connsiteY512" fmla="*/ 597903 h 834466"/>
              <a:gd name="connsiteX513" fmla="*/ 31566 w 699392"/>
              <a:gd name="connsiteY513" fmla="*/ 598418 h 834466"/>
              <a:gd name="connsiteX514" fmla="*/ 32785 w 699392"/>
              <a:gd name="connsiteY514" fmla="*/ 600227 h 834466"/>
              <a:gd name="connsiteX515" fmla="*/ 34338 w 699392"/>
              <a:gd name="connsiteY515" fmla="*/ 601723 h 834466"/>
              <a:gd name="connsiteX516" fmla="*/ 37690 w 699392"/>
              <a:gd name="connsiteY516" fmla="*/ 601542 h 834466"/>
              <a:gd name="connsiteX517" fmla="*/ 47615 w 699392"/>
              <a:gd name="connsiteY517" fmla="*/ 598399 h 834466"/>
              <a:gd name="connsiteX518" fmla="*/ 48682 w 699392"/>
              <a:gd name="connsiteY518" fmla="*/ 597475 h 834466"/>
              <a:gd name="connsiteX519" fmla="*/ 50616 w 699392"/>
              <a:gd name="connsiteY519" fmla="*/ 594893 h 834466"/>
              <a:gd name="connsiteX520" fmla="*/ 44330 w 699392"/>
              <a:gd name="connsiteY520" fmla="*/ 596046 h 834466"/>
              <a:gd name="connsiteX521" fmla="*/ 39110 w 699392"/>
              <a:gd name="connsiteY521" fmla="*/ 597875 h 834466"/>
              <a:gd name="connsiteX522" fmla="*/ 35748 w 699392"/>
              <a:gd name="connsiteY522" fmla="*/ 598389 h 834466"/>
              <a:gd name="connsiteX523" fmla="*/ 35271 w 699392"/>
              <a:gd name="connsiteY523" fmla="*/ 596094 h 834466"/>
              <a:gd name="connsiteX524" fmla="*/ 36509 w 699392"/>
              <a:gd name="connsiteY524" fmla="*/ 594065 h 834466"/>
              <a:gd name="connsiteX525" fmla="*/ 38453 w 699392"/>
              <a:gd name="connsiteY525" fmla="*/ 591893 h 834466"/>
              <a:gd name="connsiteX526" fmla="*/ 39396 w 699392"/>
              <a:gd name="connsiteY526" fmla="*/ 588188 h 834466"/>
              <a:gd name="connsiteX527" fmla="*/ 41539 w 699392"/>
              <a:gd name="connsiteY527" fmla="*/ 586607 h 834466"/>
              <a:gd name="connsiteX528" fmla="*/ 43853 w 699392"/>
              <a:gd name="connsiteY528" fmla="*/ 586692 h 834466"/>
              <a:gd name="connsiteX529" fmla="*/ 48635 w 699392"/>
              <a:gd name="connsiteY529" fmla="*/ 586016 h 834466"/>
              <a:gd name="connsiteX530" fmla="*/ 52007 w 699392"/>
              <a:gd name="connsiteY530" fmla="*/ 585054 h 834466"/>
              <a:gd name="connsiteX531" fmla="*/ 57788 w 699392"/>
              <a:gd name="connsiteY531" fmla="*/ 585692 h 834466"/>
              <a:gd name="connsiteX532" fmla="*/ 66418 w 699392"/>
              <a:gd name="connsiteY532" fmla="*/ 587111 h 834466"/>
              <a:gd name="connsiteX533" fmla="*/ 71971 w 699392"/>
              <a:gd name="connsiteY533" fmla="*/ 590559 h 834466"/>
              <a:gd name="connsiteX534" fmla="*/ 74066 w 699392"/>
              <a:gd name="connsiteY534" fmla="*/ 590245 h 834466"/>
              <a:gd name="connsiteX535" fmla="*/ 76286 w 699392"/>
              <a:gd name="connsiteY535" fmla="*/ 589331 h 834466"/>
              <a:gd name="connsiteX536" fmla="*/ 77296 w 699392"/>
              <a:gd name="connsiteY536" fmla="*/ 588083 h 834466"/>
              <a:gd name="connsiteX537" fmla="*/ 72933 w 699392"/>
              <a:gd name="connsiteY537" fmla="*/ 586654 h 834466"/>
              <a:gd name="connsiteX538" fmla="*/ 72685 w 699392"/>
              <a:gd name="connsiteY538" fmla="*/ 584606 h 834466"/>
              <a:gd name="connsiteX539" fmla="*/ 73228 w 699392"/>
              <a:gd name="connsiteY539" fmla="*/ 583063 h 834466"/>
              <a:gd name="connsiteX540" fmla="*/ 80353 w 699392"/>
              <a:gd name="connsiteY540" fmla="*/ 580215 h 834466"/>
              <a:gd name="connsiteX541" fmla="*/ 88125 w 699392"/>
              <a:gd name="connsiteY541" fmla="*/ 579587 h 834466"/>
              <a:gd name="connsiteX542" fmla="*/ 86792 w 699392"/>
              <a:gd name="connsiteY542" fmla="*/ 577291 h 834466"/>
              <a:gd name="connsiteX543" fmla="*/ 69761 w 699392"/>
              <a:gd name="connsiteY543" fmla="*/ 580758 h 834466"/>
              <a:gd name="connsiteX544" fmla="*/ 65313 w 699392"/>
              <a:gd name="connsiteY544" fmla="*/ 578387 h 834466"/>
              <a:gd name="connsiteX545" fmla="*/ 61798 w 699392"/>
              <a:gd name="connsiteY545" fmla="*/ 578406 h 834466"/>
              <a:gd name="connsiteX546" fmla="*/ 59503 w 699392"/>
              <a:gd name="connsiteY546" fmla="*/ 579758 h 834466"/>
              <a:gd name="connsiteX547" fmla="*/ 52950 w 699392"/>
              <a:gd name="connsiteY547" fmla="*/ 581397 h 834466"/>
              <a:gd name="connsiteX548" fmla="*/ 51749 w 699392"/>
              <a:gd name="connsiteY548" fmla="*/ 580234 h 834466"/>
              <a:gd name="connsiteX549" fmla="*/ 52997 w 699392"/>
              <a:gd name="connsiteY549" fmla="*/ 576215 h 834466"/>
              <a:gd name="connsiteX550" fmla="*/ 56922 w 699392"/>
              <a:gd name="connsiteY550" fmla="*/ 569605 h 834466"/>
              <a:gd name="connsiteX551" fmla="*/ 57245 w 699392"/>
              <a:gd name="connsiteY551" fmla="*/ 567985 h 834466"/>
              <a:gd name="connsiteX552" fmla="*/ 59065 w 699392"/>
              <a:gd name="connsiteY552" fmla="*/ 566385 h 834466"/>
              <a:gd name="connsiteX553" fmla="*/ 69237 w 699392"/>
              <a:gd name="connsiteY553" fmla="*/ 562527 h 834466"/>
              <a:gd name="connsiteX554" fmla="*/ 74124 w 699392"/>
              <a:gd name="connsiteY554" fmla="*/ 558032 h 834466"/>
              <a:gd name="connsiteX555" fmla="*/ 76324 w 699392"/>
              <a:gd name="connsiteY555" fmla="*/ 557460 h 834466"/>
              <a:gd name="connsiteX556" fmla="*/ 78505 w 699392"/>
              <a:gd name="connsiteY556" fmla="*/ 557775 h 834466"/>
              <a:gd name="connsiteX557" fmla="*/ 81829 w 699392"/>
              <a:gd name="connsiteY557" fmla="*/ 557251 h 834466"/>
              <a:gd name="connsiteX558" fmla="*/ 88249 w 699392"/>
              <a:gd name="connsiteY558" fmla="*/ 558536 h 834466"/>
              <a:gd name="connsiteX559" fmla="*/ 91212 w 699392"/>
              <a:gd name="connsiteY559" fmla="*/ 564156 h 834466"/>
              <a:gd name="connsiteX560" fmla="*/ 93869 w 699392"/>
              <a:gd name="connsiteY560" fmla="*/ 565918 h 834466"/>
              <a:gd name="connsiteX561" fmla="*/ 102222 w 699392"/>
              <a:gd name="connsiteY561" fmla="*/ 572910 h 834466"/>
              <a:gd name="connsiteX562" fmla="*/ 101851 w 699392"/>
              <a:gd name="connsiteY562" fmla="*/ 570910 h 834466"/>
              <a:gd name="connsiteX563" fmla="*/ 94612 w 699392"/>
              <a:gd name="connsiteY563" fmla="*/ 561413 h 834466"/>
              <a:gd name="connsiteX564" fmla="*/ 91850 w 699392"/>
              <a:gd name="connsiteY564" fmla="*/ 559051 h 834466"/>
              <a:gd name="connsiteX565" fmla="*/ 89783 w 699392"/>
              <a:gd name="connsiteY565" fmla="*/ 554365 h 834466"/>
              <a:gd name="connsiteX566" fmla="*/ 90488 w 699392"/>
              <a:gd name="connsiteY566" fmla="*/ 549926 h 834466"/>
              <a:gd name="connsiteX567" fmla="*/ 92812 w 699392"/>
              <a:gd name="connsiteY567" fmla="*/ 546954 h 834466"/>
              <a:gd name="connsiteX568" fmla="*/ 101070 w 699392"/>
              <a:gd name="connsiteY568" fmla="*/ 545363 h 834466"/>
              <a:gd name="connsiteX569" fmla="*/ 102546 w 699392"/>
              <a:gd name="connsiteY569" fmla="*/ 543639 h 834466"/>
              <a:gd name="connsiteX570" fmla="*/ 102699 w 699392"/>
              <a:gd name="connsiteY570" fmla="*/ 540677 h 834466"/>
              <a:gd name="connsiteX571" fmla="*/ 101432 w 699392"/>
              <a:gd name="connsiteY571" fmla="*/ 538648 h 834466"/>
              <a:gd name="connsiteX572" fmla="*/ 98393 w 699392"/>
              <a:gd name="connsiteY572" fmla="*/ 538763 h 834466"/>
              <a:gd name="connsiteX573" fmla="*/ 95888 w 699392"/>
              <a:gd name="connsiteY573" fmla="*/ 537505 h 834466"/>
              <a:gd name="connsiteX574" fmla="*/ 95202 w 699392"/>
              <a:gd name="connsiteY574" fmla="*/ 534305 h 834466"/>
              <a:gd name="connsiteX575" fmla="*/ 96203 w 699392"/>
              <a:gd name="connsiteY575" fmla="*/ 532133 h 834466"/>
              <a:gd name="connsiteX576" fmla="*/ 100965 w 699392"/>
              <a:gd name="connsiteY576" fmla="*/ 528161 h 834466"/>
              <a:gd name="connsiteX577" fmla="*/ 103565 w 699392"/>
              <a:gd name="connsiteY577" fmla="*/ 526875 h 834466"/>
              <a:gd name="connsiteX578" fmla="*/ 108080 w 699392"/>
              <a:gd name="connsiteY578" fmla="*/ 525485 h 834466"/>
              <a:gd name="connsiteX579" fmla="*/ 115919 w 699392"/>
              <a:gd name="connsiteY579" fmla="*/ 528628 h 834466"/>
              <a:gd name="connsiteX580" fmla="*/ 116519 w 699392"/>
              <a:gd name="connsiteY580" fmla="*/ 530266 h 834466"/>
              <a:gd name="connsiteX581" fmla="*/ 114319 w 699392"/>
              <a:gd name="connsiteY581" fmla="*/ 534210 h 834466"/>
              <a:gd name="connsiteX582" fmla="*/ 114538 w 699392"/>
              <a:gd name="connsiteY582" fmla="*/ 536419 h 834466"/>
              <a:gd name="connsiteX583" fmla="*/ 116462 w 699392"/>
              <a:gd name="connsiteY583" fmla="*/ 536658 h 834466"/>
              <a:gd name="connsiteX584" fmla="*/ 120939 w 699392"/>
              <a:gd name="connsiteY584" fmla="*/ 530009 h 834466"/>
              <a:gd name="connsiteX585" fmla="*/ 126206 w 699392"/>
              <a:gd name="connsiteY585" fmla="*/ 529085 h 834466"/>
              <a:gd name="connsiteX586" fmla="*/ 128388 w 699392"/>
              <a:gd name="connsiteY586" fmla="*/ 527656 h 834466"/>
              <a:gd name="connsiteX587" fmla="*/ 130921 w 699392"/>
              <a:gd name="connsiteY587" fmla="*/ 526752 h 834466"/>
              <a:gd name="connsiteX588" fmla="*/ 134531 w 699392"/>
              <a:gd name="connsiteY588" fmla="*/ 532771 h 834466"/>
              <a:gd name="connsiteX589" fmla="*/ 136122 w 699392"/>
              <a:gd name="connsiteY589" fmla="*/ 534695 h 834466"/>
              <a:gd name="connsiteX590" fmla="*/ 137313 w 699392"/>
              <a:gd name="connsiteY590" fmla="*/ 535486 h 834466"/>
              <a:gd name="connsiteX591" fmla="*/ 138465 w 699392"/>
              <a:gd name="connsiteY591" fmla="*/ 540477 h 834466"/>
              <a:gd name="connsiteX592" fmla="*/ 139580 w 699392"/>
              <a:gd name="connsiteY592" fmla="*/ 540744 h 834466"/>
              <a:gd name="connsiteX593" fmla="*/ 141170 w 699392"/>
              <a:gd name="connsiteY593" fmla="*/ 538248 h 834466"/>
              <a:gd name="connsiteX594" fmla="*/ 144056 w 699392"/>
              <a:gd name="connsiteY594" fmla="*/ 536924 h 834466"/>
              <a:gd name="connsiteX595" fmla="*/ 148104 w 699392"/>
              <a:gd name="connsiteY595" fmla="*/ 536057 h 834466"/>
              <a:gd name="connsiteX596" fmla="*/ 154810 w 699392"/>
              <a:gd name="connsiteY596" fmla="*/ 537381 h 834466"/>
              <a:gd name="connsiteX597" fmla="*/ 157849 w 699392"/>
              <a:gd name="connsiteY597" fmla="*/ 536400 h 834466"/>
              <a:gd name="connsiteX598" fmla="*/ 159334 w 699392"/>
              <a:gd name="connsiteY598" fmla="*/ 536543 h 834466"/>
              <a:gd name="connsiteX599" fmla="*/ 157905 w 699392"/>
              <a:gd name="connsiteY599" fmla="*/ 532057 h 834466"/>
              <a:gd name="connsiteX600" fmla="*/ 157020 w 699392"/>
              <a:gd name="connsiteY600" fmla="*/ 530752 h 834466"/>
              <a:gd name="connsiteX601" fmla="*/ 158401 w 699392"/>
              <a:gd name="connsiteY601" fmla="*/ 526733 h 834466"/>
              <a:gd name="connsiteX602" fmla="*/ 159839 w 699392"/>
              <a:gd name="connsiteY602" fmla="*/ 525161 h 834466"/>
              <a:gd name="connsiteX603" fmla="*/ 164468 w 699392"/>
              <a:gd name="connsiteY603" fmla="*/ 522332 h 834466"/>
              <a:gd name="connsiteX604" fmla="*/ 168888 w 699392"/>
              <a:gd name="connsiteY604" fmla="*/ 521065 h 834466"/>
              <a:gd name="connsiteX605" fmla="*/ 171774 w 699392"/>
              <a:gd name="connsiteY605" fmla="*/ 518379 h 834466"/>
              <a:gd name="connsiteX606" fmla="*/ 175651 w 699392"/>
              <a:gd name="connsiteY606" fmla="*/ 515893 h 834466"/>
              <a:gd name="connsiteX607" fmla="*/ 175041 w 699392"/>
              <a:gd name="connsiteY607" fmla="*/ 513912 h 834466"/>
              <a:gd name="connsiteX608" fmla="*/ 173965 w 699392"/>
              <a:gd name="connsiteY608" fmla="*/ 511607 h 834466"/>
              <a:gd name="connsiteX609" fmla="*/ 171450 w 699392"/>
              <a:gd name="connsiteY609" fmla="*/ 511464 h 834466"/>
              <a:gd name="connsiteX610" fmla="*/ 170431 w 699392"/>
              <a:gd name="connsiteY610" fmla="*/ 510207 h 834466"/>
              <a:gd name="connsiteX611" fmla="*/ 173612 w 699392"/>
              <a:gd name="connsiteY611" fmla="*/ 507216 h 834466"/>
              <a:gd name="connsiteX612" fmla="*/ 177975 w 699392"/>
              <a:gd name="connsiteY612" fmla="*/ 503882 h 834466"/>
              <a:gd name="connsiteX613" fmla="*/ 177213 w 699392"/>
              <a:gd name="connsiteY613" fmla="*/ 502568 h 834466"/>
              <a:gd name="connsiteX614" fmla="*/ 173936 w 699392"/>
              <a:gd name="connsiteY614" fmla="*/ 501082 h 834466"/>
              <a:gd name="connsiteX615" fmla="*/ 171450 w 699392"/>
              <a:gd name="connsiteY615" fmla="*/ 502196 h 834466"/>
              <a:gd name="connsiteX616" fmla="*/ 167754 w 699392"/>
              <a:gd name="connsiteY616" fmla="*/ 504777 h 834466"/>
              <a:gd name="connsiteX617" fmla="*/ 163449 w 699392"/>
              <a:gd name="connsiteY617" fmla="*/ 508854 h 834466"/>
              <a:gd name="connsiteX618" fmla="*/ 164849 w 699392"/>
              <a:gd name="connsiteY618" fmla="*/ 510045 h 834466"/>
              <a:gd name="connsiteX619" fmla="*/ 167002 w 699392"/>
              <a:gd name="connsiteY619" fmla="*/ 513464 h 834466"/>
              <a:gd name="connsiteX620" fmla="*/ 164002 w 699392"/>
              <a:gd name="connsiteY620" fmla="*/ 517998 h 834466"/>
              <a:gd name="connsiteX621" fmla="*/ 148076 w 699392"/>
              <a:gd name="connsiteY621" fmla="*/ 529990 h 834466"/>
              <a:gd name="connsiteX622" fmla="*/ 140484 w 699392"/>
              <a:gd name="connsiteY622" fmla="*/ 533486 h 834466"/>
              <a:gd name="connsiteX623" fmla="*/ 136979 w 699392"/>
              <a:gd name="connsiteY623" fmla="*/ 532943 h 834466"/>
              <a:gd name="connsiteX624" fmla="*/ 136141 w 699392"/>
              <a:gd name="connsiteY624" fmla="*/ 529676 h 834466"/>
              <a:gd name="connsiteX625" fmla="*/ 134531 w 699392"/>
              <a:gd name="connsiteY625" fmla="*/ 527266 h 834466"/>
              <a:gd name="connsiteX626" fmla="*/ 132798 w 699392"/>
              <a:gd name="connsiteY626" fmla="*/ 522265 h 834466"/>
              <a:gd name="connsiteX627" fmla="*/ 129845 w 699392"/>
              <a:gd name="connsiteY627" fmla="*/ 522399 h 834466"/>
              <a:gd name="connsiteX628" fmla="*/ 128168 w 699392"/>
              <a:gd name="connsiteY628" fmla="*/ 523504 h 834466"/>
              <a:gd name="connsiteX629" fmla="*/ 127445 w 699392"/>
              <a:gd name="connsiteY629" fmla="*/ 521865 h 834466"/>
              <a:gd name="connsiteX630" fmla="*/ 128711 w 699392"/>
              <a:gd name="connsiteY630" fmla="*/ 516512 h 834466"/>
              <a:gd name="connsiteX631" fmla="*/ 131207 w 699392"/>
              <a:gd name="connsiteY631" fmla="*/ 512274 h 834466"/>
              <a:gd name="connsiteX632" fmla="*/ 135389 w 699392"/>
              <a:gd name="connsiteY632" fmla="*/ 509064 h 834466"/>
              <a:gd name="connsiteX633" fmla="*/ 137398 w 699392"/>
              <a:gd name="connsiteY633" fmla="*/ 505177 h 834466"/>
              <a:gd name="connsiteX634" fmla="*/ 139284 w 699392"/>
              <a:gd name="connsiteY634" fmla="*/ 498996 h 834466"/>
              <a:gd name="connsiteX635" fmla="*/ 145332 w 699392"/>
              <a:gd name="connsiteY635" fmla="*/ 493090 h 834466"/>
              <a:gd name="connsiteX636" fmla="*/ 154134 w 699392"/>
              <a:gd name="connsiteY636" fmla="*/ 478403 h 834466"/>
              <a:gd name="connsiteX637" fmla="*/ 161306 w 699392"/>
              <a:gd name="connsiteY637" fmla="*/ 473688 h 834466"/>
              <a:gd name="connsiteX638" fmla="*/ 163935 w 699392"/>
              <a:gd name="connsiteY638" fmla="*/ 468516 h 834466"/>
              <a:gd name="connsiteX639" fmla="*/ 168164 w 699392"/>
              <a:gd name="connsiteY639" fmla="*/ 466230 h 834466"/>
              <a:gd name="connsiteX640" fmla="*/ 171774 w 699392"/>
              <a:gd name="connsiteY640" fmla="*/ 462182 h 834466"/>
              <a:gd name="connsiteX641" fmla="*/ 174603 w 699392"/>
              <a:gd name="connsiteY641" fmla="*/ 461782 h 834466"/>
              <a:gd name="connsiteX642" fmla="*/ 179746 w 699392"/>
              <a:gd name="connsiteY642" fmla="*/ 458124 h 834466"/>
              <a:gd name="connsiteX643" fmla="*/ 182661 w 699392"/>
              <a:gd name="connsiteY643" fmla="*/ 453761 h 834466"/>
              <a:gd name="connsiteX644" fmla="*/ 180756 w 699392"/>
              <a:gd name="connsiteY644" fmla="*/ 453495 h 834466"/>
              <a:gd name="connsiteX645" fmla="*/ 176232 w 699392"/>
              <a:gd name="connsiteY645" fmla="*/ 456324 h 834466"/>
              <a:gd name="connsiteX646" fmla="*/ 173669 w 699392"/>
              <a:gd name="connsiteY646" fmla="*/ 457467 h 834466"/>
              <a:gd name="connsiteX647" fmla="*/ 173850 w 699392"/>
              <a:gd name="connsiteY647" fmla="*/ 452790 h 834466"/>
              <a:gd name="connsiteX648" fmla="*/ 175089 w 699392"/>
              <a:gd name="connsiteY648" fmla="*/ 447980 h 834466"/>
              <a:gd name="connsiteX649" fmla="*/ 178813 w 699392"/>
              <a:gd name="connsiteY649" fmla="*/ 443570 h 834466"/>
              <a:gd name="connsiteX650" fmla="*/ 196730 w 699392"/>
              <a:gd name="connsiteY650" fmla="*/ 430701 h 834466"/>
              <a:gd name="connsiteX651" fmla="*/ 198520 w 699392"/>
              <a:gd name="connsiteY651" fmla="*/ 432835 h 834466"/>
              <a:gd name="connsiteX652" fmla="*/ 200663 w 699392"/>
              <a:gd name="connsiteY652" fmla="*/ 436607 h 834466"/>
              <a:gd name="connsiteX653" fmla="*/ 206054 w 699392"/>
              <a:gd name="connsiteY653" fmla="*/ 435759 h 834466"/>
              <a:gd name="connsiteX654" fmla="*/ 212208 w 699392"/>
              <a:gd name="connsiteY654" fmla="*/ 428454 h 834466"/>
              <a:gd name="connsiteX655" fmla="*/ 216941 w 699392"/>
              <a:gd name="connsiteY655" fmla="*/ 420481 h 834466"/>
              <a:gd name="connsiteX656" fmla="*/ 214379 w 699392"/>
              <a:gd name="connsiteY656" fmla="*/ 421872 h 834466"/>
              <a:gd name="connsiteX657" fmla="*/ 211589 w 699392"/>
              <a:gd name="connsiteY657" fmla="*/ 425139 h 834466"/>
              <a:gd name="connsiteX658" fmla="*/ 206150 w 699392"/>
              <a:gd name="connsiteY658" fmla="*/ 429663 h 834466"/>
              <a:gd name="connsiteX659" fmla="*/ 203635 w 699392"/>
              <a:gd name="connsiteY659" fmla="*/ 430378 h 834466"/>
              <a:gd name="connsiteX660" fmla="*/ 202197 w 699392"/>
              <a:gd name="connsiteY660" fmla="*/ 429787 h 834466"/>
              <a:gd name="connsiteX661" fmla="*/ 201397 w 699392"/>
              <a:gd name="connsiteY661" fmla="*/ 426768 h 834466"/>
              <a:gd name="connsiteX662" fmla="*/ 199511 w 699392"/>
              <a:gd name="connsiteY662" fmla="*/ 425787 h 834466"/>
              <a:gd name="connsiteX663" fmla="*/ 197806 w 699392"/>
              <a:gd name="connsiteY663" fmla="*/ 426463 h 834466"/>
              <a:gd name="connsiteX664" fmla="*/ 196044 w 699392"/>
              <a:gd name="connsiteY664" fmla="*/ 424310 h 834466"/>
              <a:gd name="connsiteX665" fmla="*/ 195729 w 699392"/>
              <a:gd name="connsiteY665" fmla="*/ 418986 h 834466"/>
              <a:gd name="connsiteX666" fmla="*/ 197977 w 699392"/>
              <a:gd name="connsiteY666" fmla="*/ 411032 h 834466"/>
              <a:gd name="connsiteX667" fmla="*/ 199758 w 699392"/>
              <a:gd name="connsiteY667" fmla="*/ 405755 h 834466"/>
              <a:gd name="connsiteX668" fmla="*/ 201682 w 699392"/>
              <a:gd name="connsiteY668" fmla="*/ 401745 h 834466"/>
              <a:gd name="connsiteX669" fmla="*/ 209245 w 699392"/>
              <a:gd name="connsiteY669" fmla="*/ 390315 h 834466"/>
              <a:gd name="connsiteX670" fmla="*/ 210874 w 699392"/>
              <a:gd name="connsiteY670" fmla="*/ 384048 h 834466"/>
              <a:gd name="connsiteX671" fmla="*/ 214294 w 699392"/>
              <a:gd name="connsiteY671" fmla="*/ 380733 h 834466"/>
              <a:gd name="connsiteX672" fmla="*/ 218732 w 699392"/>
              <a:gd name="connsiteY672" fmla="*/ 381467 h 834466"/>
              <a:gd name="connsiteX673" fmla="*/ 220075 w 699392"/>
              <a:gd name="connsiteY673" fmla="*/ 380505 h 834466"/>
              <a:gd name="connsiteX674" fmla="*/ 218551 w 699392"/>
              <a:gd name="connsiteY674" fmla="*/ 376371 h 834466"/>
              <a:gd name="connsiteX675" fmla="*/ 213713 w 699392"/>
              <a:gd name="connsiteY675" fmla="*/ 373094 h 834466"/>
              <a:gd name="connsiteX676" fmla="*/ 213417 w 699392"/>
              <a:gd name="connsiteY676" fmla="*/ 371027 h 834466"/>
              <a:gd name="connsiteX677" fmla="*/ 229543 w 699392"/>
              <a:gd name="connsiteY677" fmla="*/ 365589 h 834466"/>
              <a:gd name="connsiteX678" fmla="*/ 237220 w 699392"/>
              <a:gd name="connsiteY678" fmla="*/ 365770 h 834466"/>
              <a:gd name="connsiteX679" fmla="*/ 239496 w 699392"/>
              <a:gd name="connsiteY679" fmla="*/ 363055 h 834466"/>
              <a:gd name="connsiteX680" fmla="*/ 243669 w 699392"/>
              <a:gd name="connsiteY680" fmla="*/ 361302 h 834466"/>
              <a:gd name="connsiteX681" fmla="*/ 246831 w 699392"/>
              <a:gd name="connsiteY681" fmla="*/ 357969 h 834466"/>
              <a:gd name="connsiteX682" fmla="*/ 245202 w 699392"/>
              <a:gd name="connsiteY682" fmla="*/ 356492 h 834466"/>
              <a:gd name="connsiteX683" fmla="*/ 237401 w 699392"/>
              <a:gd name="connsiteY683" fmla="*/ 359559 h 834466"/>
              <a:gd name="connsiteX684" fmla="*/ 232524 w 699392"/>
              <a:gd name="connsiteY684" fmla="*/ 360997 h 834466"/>
              <a:gd name="connsiteX685" fmla="*/ 230324 w 699392"/>
              <a:gd name="connsiteY685" fmla="*/ 360950 h 834466"/>
              <a:gd name="connsiteX686" fmla="*/ 228600 w 699392"/>
              <a:gd name="connsiteY686" fmla="*/ 361998 h 834466"/>
              <a:gd name="connsiteX687" fmla="*/ 222371 w 699392"/>
              <a:gd name="connsiteY687" fmla="*/ 362398 h 834466"/>
              <a:gd name="connsiteX688" fmla="*/ 221009 w 699392"/>
              <a:gd name="connsiteY688" fmla="*/ 349091 h 834466"/>
              <a:gd name="connsiteX689" fmla="*/ 221990 w 699392"/>
              <a:gd name="connsiteY689" fmla="*/ 341824 h 834466"/>
              <a:gd name="connsiteX690" fmla="*/ 224314 w 699392"/>
              <a:gd name="connsiteY690" fmla="*/ 341976 h 834466"/>
              <a:gd name="connsiteX691" fmla="*/ 224847 w 699392"/>
              <a:gd name="connsiteY691" fmla="*/ 335013 h 834466"/>
              <a:gd name="connsiteX692" fmla="*/ 227533 w 699392"/>
              <a:gd name="connsiteY692" fmla="*/ 330889 h 834466"/>
              <a:gd name="connsiteX693" fmla="*/ 231238 w 699392"/>
              <a:gd name="connsiteY693" fmla="*/ 329965 h 834466"/>
              <a:gd name="connsiteX694" fmla="*/ 233106 w 699392"/>
              <a:gd name="connsiteY694" fmla="*/ 328203 h 834466"/>
              <a:gd name="connsiteX695" fmla="*/ 235801 w 699392"/>
              <a:gd name="connsiteY695" fmla="*/ 324602 h 834466"/>
              <a:gd name="connsiteX696" fmla="*/ 240259 w 699392"/>
              <a:gd name="connsiteY696" fmla="*/ 325431 h 834466"/>
              <a:gd name="connsiteX697" fmla="*/ 244840 w 699392"/>
              <a:gd name="connsiteY697" fmla="*/ 324631 h 834466"/>
              <a:gd name="connsiteX698" fmla="*/ 243697 w 699392"/>
              <a:gd name="connsiteY698" fmla="*/ 322926 h 834466"/>
              <a:gd name="connsiteX699" fmla="*/ 238011 w 699392"/>
              <a:gd name="connsiteY699" fmla="*/ 320735 h 834466"/>
              <a:gd name="connsiteX700" fmla="*/ 236611 w 699392"/>
              <a:gd name="connsiteY700" fmla="*/ 316963 h 834466"/>
              <a:gd name="connsiteX701" fmla="*/ 238611 w 699392"/>
              <a:gd name="connsiteY701" fmla="*/ 314849 h 834466"/>
              <a:gd name="connsiteX702" fmla="*/ 240792 w 699392"/>
              <a:gd name="connsiteY702" fmla="*/ 313296 h 834466"/>
              <a:gd name="connsiteX703" fmla="*/ 242716 w 699392"/>
              <a:gd name="connsiteY703" fmla="*/ 313020 h 834466"/>
              <a:gd name="connsiteX704" fmla="*/ 246516 w 699392"/>
              <a:gd name="connsiteY704" fmla="*/ 305619 h 834466"/>
              <a:gd name="connsiteX705" fmla="*/ 248831 w 699392"/>
              <a:gd name="connsiteY705" fmla="*/ 302447 h 834466"/>
              <a:gd name="connsiteX706" fmla="*/ 251413 w 699392"/>
              <a:gd name="connsiteY706" fmla="*/ 303000 h 834466"/>
              <a:gd name="connsiteX707" fmla="*/ 255013 w 699392"/>
              <a:gd name="connsiteY707" fmla="*/ 299723 h 834466"/>
              <a:gd name="connsiteX708" fmla="*/ 258556 w 699392"/>
              <a:gd name="connsiteY708" fmla="*/ 300838 h 834466"/>
              <a:gd name="connsiteX709" fmla="*/ 261976 w 699392"/>
              <a:gd name="connsiteY709" fmla="*/ 298694 h 834466"/>
              <a:gd name="connsiteX710" fmla="*/ 266652 w 699392"/>
              <a:gd name="connsiteY710" fmla="*/ 297275 h 834466"/>
              <a:gd name="connsiteX711" fmla="*/ 283769 w 699392"/>
              <a:gd name="connsiteY711" fmla="*/ 296732 h 834466"/>
              <a:gd name="connsiteX712" fmla="*/ 284274 w 699392"/>
              <a:gd name="connsiteY712" fmla="*/ 293675 h 834466"/>
              <a:gd name="connsiteX713" fmla="*/ 280673 w 699392"/>
              <a:gd name="connsiteY713" fmla="*/ 292970 h 834466"/>
              <a:gd name="connsiteX714" fmla="*/ 267957 w 699392"/>
              <a:gd name="connsiteY714" fmla="*/ 292179 h 834466"/>
              <a:gd name="connsiteX715" fmla="*/ 261461 w 699392"/>
              <a:gd name="connsiteY715" fmla="*/ 292246 h 834466"/>
              <a:gd name="connsiteX716" fmla="*/ 258728 w 699392"/>
              <a:gd name="connsiteY716" fmla="*/ 293037 h 834466"/>
              <a:gd name="connsiteX717" fmla="*/ 257727 w 699392"/>
              <a:gd name="connsiteY717" fmla="*/ 291970 h 834466"/>
              <a:gd name="connsiteX718" fmla="*/ 257909 w 699392"/>
              <a:gd name="connsiteY718" fmla="*/ 290141 h 834466"/>
              <a:gd name="connsiteX719" fmla="*/ 260271 w 699392"/>
              <a:gd name="connsiteY719" fmla="*/ 287236 h 834466"/>
              <a:gd name="connsiteX720" fmla="*/ 261385 w 699392"/>
              <a:gd name="connsiteY720" fmla="*/ 284026 h 834466"/>
              <a:gd name="connsiteX721" fmla="*/ 266109 w 699392"/>
              <a:gd name="connsiteY721" fmla="*/ 276158 h 834466"/>
              <a:gd name="connsiteX722" fmla="*/ 271643 w 699392"/>
              <a:gd name="connsiteY722" fmla="*/ 270900 h 834466"/>
              <a:gd name="connsiteX723" fmla="*/ 275882 w 699392"/>
              <a:gd name="connsiteY723" fmla="*/ 272244 h 834466"/>
              <a:gd name="connsiteX724" fmla="*/ 280388 w 699392"/>
              <a:gd name="connsiteY724" fmla="*/ 277263 h 834466"/>
              <a:gd name="connsiteX725" fmla="*/ 283597 w 699392"/>
              <a:gd name="connsiteY725" fmla="*/ 277892 h 834466"/>
              <a:gd name="connsiteX726" fmla="*/ 285093 w 699392"/>
              <a:gd name="connsiteY726" fmla="*/ 279511 h 834466"/>
              <a:gd name="connsiteX727" fmla="*/ 287436 w 699392"/>
              <a:gd name="connsiteY727" fmla="*/ 286407 h 834466"/>
              <a:gd name="connsiteX728" fmla="*/ 288550 w 699392"/>
              <a:gd name="connsiteY728" fmla="*/ 286626 h 834466"/>
              <a:gd name="connsiteX729" fmla="*/ 288046 w 699392"/>
              <a:gd name="connsiteY729" fmla="*/ 280006 h 834466"/>
              <a:gd name="connsiteX730" fmla="*/ 291141 w 699392"/>
              <a:gd name="connsiteY730" fmla="*/ 274596 h 834466"/>
              <a:gd name="connsiteX731" fmla="*/ 290341 w 699392"/>
              <a:gd name="connsiteY731" fmla="*/ 273101 h 834466"/>
              <a:gd name="connsiteX732" fmla="*/ 285693 w 699392"/>
              <a:gd name="connsiteY732" fmla="*/ 275063 h 834466"/>
              <a:gd name="connsiteX733" fmla="*/ 282130 w 699392"/>
              <a:gd name="connsiteY733" fmla="*/ 273025 h 834466"/>
              <a:gd name="connsiteX734" fmla="*/ 279321 w 699392"/>
              <a:gd name="connsiteY734" fmla="*/ 268948 h 834466"/>
              <a:gd name="connsiteX735" fmla="*/ 278521 w 699392"/>
              <a:gd name="connsiteY735" fmla="*/ 265214 h 834466"/>
              <a:gd name="connsiteX736" fmla="*/ 280273 w 699392"/>
              <a:gd name="connsiteY736" fmla="*/ 261518 h 834466"/>
              <a:gd name="connsiteX737" fmla="*/ 281921 w 699392"/>
              <a:gd name="connsiteY737" fmla="*/ 259651 h 834466"/>
              <a:gd name="connsiteX738" fmla="*/ 280807 w 699392"/>
              <a:gd name="connsiteY738" fmla="*/ 257470 h 834466"/>
              <a:gd name="connsiteX739" fmla="*/ 273777 w 699392"/>
              <a:gd name="connsiteY739" fmla="*/ 263290 h 834466"/>
              <a:gd name="connsiteX740" fmla="*/ 268805 w 699392"/>
              <a:gd name="connsiteY740" fmla="*/ 264652 h 834466"/>
              <a:gd name="connsiteX741" fmla="*/ 266843 w 699392"/>
              <a:gd name="connsiteY741" fmla="*/ 263842 h 834466"/>
              <a:gd name="connsiteX742" fmla="*/ 267901 w 699392"/>
              <a:gd name="connsiteY742" fmla="*/ 258566 h 834466"/>
              <a:gd name="connsiteX743" fmla="*/ 267310 w 699392"/>
              <a:gd name="connsiteY743" fmla="*/ 254365 h 834466"/>
              <a:gd name="connsiteX744" fmla="*/ 273977 w 699392"/>
              <a:gd name="connsiteY744" fmla="*/ 243983 h 834466"/>
              <a:gd name="connsiteX745" fmla="*/ 276273 w 699392"/>
              <a:gd name="connsiteY745" fmla="*/ 242783 h 834466"/>
              <a:gd name="connsiteX746" fmla="*/ 280016 w 699392"/>
              <a:gd name="connsiteY746" fmla="*/ 243621 h 834466"/>
              <a:gd name="connsiteX747" fmla="*/ 283397 w 699392"/>
              <a:gd name="connsiteY747" fmla="*/ 246555 h 834466"/>
              <a:gd name="connsiteX748" fmla="*/ 286226 w 699392"/>
              <a:gd name="connsiteY748" fmla="*/ 246088 h 834466"/>
              <a:gd name="connsiteX749" fmla="*/ 289293 w 699392"/>
              <a:gd name="connsiteY749" fmla="*/ 244516 h 834466"/>
              <a:gd name="connsiteX750" fmla="*/ 288874 w 699392"/>
              <a:gd name="connsiteY750" fmla="*/ 241697 h 834466"/>
              <a:gd name="connsiteX751" fmla="*/ 282226 w 699392"/>
              <a:gd name="connsiteY751" fmla="*/ 240573 h 834466"/>
              <a:gd name="connsiteX752" fmla="*/ 280511 w 699392"/>
              <a:gd name="connsiteY752" fmla="*/ 238230 h 834466"/>
              <a:gd name="connsiteX753" fmla="*/ 281131 w 699392"/>
              <a:gd name="connsiteY753" fmla="*/ 235915 h 834466"/>
              <a:gd name="connsiteX754" fmla="*/ 285693 w 699392"/>
              <a:gd name="connsiteY754" fmla="*/ 233477 h 834466"/>
              <a:gd name="connsiteX755" fmla="*/ 290236 w 699392"/>
              <a:gd name="connsiteY755" fmla="*/ 229067 h 834466"/>
              <a:gd name="connsiteX756" fmla="*/ 295437 w 699392"/>
              <a:gd name="connsiteY756" fmla="*/ 227781 h 834466"/>
              <a:gd name="connsiteX757" fmla="*/ 299618 w 699392"/>
              <a:gd name="connsiteY757" fmla="*/ 224438 h 834466"/>
              <a:gd name="connsiteX758" fmla="*/ 300428 w 699392"/>
              <a:gd name="connsiteY758" fmla="*/ 225200 h 834466"/>
              <a:gd name="connsiteX759" fmla="*/ 301133 w 699392"/>
              <a:gd name="connsiteY759" fmla="*/ 226514 h 834466"/>
              <a:gd name="connsiteX760" fmla="*/ 302638 w 699392"/>
              <a:gd name="connsiteY760" fmla="*/ 238877 h 834466"/>
              <a:gd name="connsiteX761" fmla="*/ 306381 w 699392"/>
              <a:gd name="connsiteY761" fmla="*/ 248898 h 834466"/>
              <a:gd name="connsiteX762" fmla="*/ 307763 w 699392"/>
              <a:gd name="connsiteY762" fmla="*/ 249260 h 834466"/>
              <a:gd name="connsiteX763" fmla="*/ 306324 w 699392"/>
              <a:gd name="connsiteY763" fmla="*/ 240744 h 834466"/>
              <a:gd name="connsiteX764" fmla="*/ 307667 w 699392"/>
              <a:gd name="connsiteY764" fmla="*/ 238287 h 834466"/>
              <a:gd name="connsiteX765" fmla="*/ 309363 w 699392"/>
              <a:gd name="connsiteY765" fmla="*/ 236420 h 834466"/>
              <a:gd name="connsiteX766" fmla="*/ 309896 w 699392"/>
              <a:gd name="connsiteY766" fmla="*/ 234286 h 834466"/>
              <a:gd name="connsiteX767" fmla="*/ 307953 w 699392"/>
              <a:gd name="connsiteY767" fmla="*/ 233562 h 834466"/>
              <a:gd name="connsiteX768" fmla="*/ 306362 w 699392"/>
              <a:gd name="connsiteY768" fmla="*/ 230496 h 834466"/>
              <a:gd name="connsiteX769" fmla="*/ 304095 w 699392"/>
              <a:gd name="connsiteY769" fmla="*/ 220656 h 834466"/>
              <a:gd name="connsiteX770" fmla="*/ 304876 w 699392"/>
              <a:gd name="connsiteY770" fmla="*/ 218084 h 834466"/>
              <a:gd name="connsiteX771" fmla="*/ 309801 w 699392"/>
              <a:gd name="connsiteY771" fmla="*/ 212808 h 834466"/>
              <a:gd name="connsiteX772" fmla="*/ 315973 w 699392"/>
              <a:gd name="connsiteY772" fmla="*/ 211598 h 834466"/>
              <a:gd name="connsiteX773" fmla="*/ 322545 w 699392"/>
              <a:gd name="connsiteY773" fmla="*/ 215294 h 834466"/>
              <a:gd name="connsiteX774" fmla="*/ 324860 w 699392"/>
              <a:gd name="connsiteY774" fmla="*/ 215332 h 834466"/>
              <a:gd name="connsiteX775" fmla="*/ 328669 w 699392"/>
              <a:gd name="connsiteY775" fmla="*/ 214341 h 834466"/>
              <a:gd name="connsiteX776" fmla="*/ 335137 w 699392"/>
              <a:gd name="connsiteY776" fmla="*/ 211293 h 834466"/>
              <a:gd name="connsiteX777" fmla="*/ 338947 w 699392"/>
              <a:gd name="connsiteY777" fmla="*/ 210131 h 834466"/>
              <a:gd name="connsiteX778" fmla="*/ 340929 w 699392"/>
              <a:gd name="connsiteY778" fmla="*/ 210131 h 834466"/>
              <a:gd name="connsiteX779" fmla="*/ 341414 w 699392"/>
              <a:gd name="connsiteY779" fmla="*/ 208588 h 834466"/>
              <a:gd name="connsiteX780" fmla="*/ 339576 w 699392"/>
              <a:gd name="connsiteY780" fmla="*/ 207597 h 834466"/>
              <a:gd name="connsiteX781" fmla="*/ 338985 w 699392"/>
              <a:gd name="connsiteY781" fmla="*/ 206635 h 834466"/>
              <a:gd name="connsiteX782" fmla="*/ 337547 w 699392"/>
              <a:gd name="connsiteY782" fmla="*/ 206083 h 834466"/>
              <a:gd name="connsiteX783" fmla="*/ 331565 w 699392"/>
              <a:gd name="connsiteY783" fmla="*/ 207731 h 834466"/>
              <a:gd name="connsiteX784" fmla="*/ 315059 w 699392"/>
              <a:gd name="connsiteY784" fmla="*/ 207207 h 834466"/>
              <a:gd name="connsiteX785" fmla="*/ 313468 w 699392"/>
              <a:gd name="connsiteY785" fmla="*/ 205445 h 834466"/>
              <a:gd name="connsiteX786" fmla="*/ 313173 w 699392"/>
              <a:gd name="connsiteY786" fmla="*/ 202387 h 834466"/>
              <a:gd name="connsiteX787" fmla="*/ 314925 w 699392"/>
              <a:gd name="connsiteY787" fmla="*/ 198006 h 834466"/>
              <a:gd name="connsiteX788" fmla="*/ 316849 w 699392"/>
              <a:gd name="connsiteY788" fmla="*/ 195577 h 834466"/>
              <a:gd name="connsiteX789" fmla="*/ 323079 w 699392"/>
              <a:gd name="connsiteY789" fmla="*/ 191205 h 834466"/>
              <a:gd name="connsiteX790" fmla="*/ 329660 w 699392"/>
              <a:gd name="connsiteY790" fmla="*/ 190614 h 834466"/>
              <a:gd name="connsiteX791" fmla="*/ 336604 w 699392"/>
              <a:gd name="connsiteY791" fmla="*/ 182813 h 834466"/>
              <a:gd name="connsiteX792" fmla="*/ 339252 w 699392"/>
              <a:gd name="connsiteY792" fmla="*/ 176946 h 834466"/>
              <a:gd name="connsiteX793" fmla="*/ 340757 w 699392"/>
              <a:gd name="connsiteY793" fmla="*/ 167850 h 834466"/>
              <a:gd name="connsiteX794" fmla="*/ 344986 w 699392"/>
              <a:gd name="connsiteY794" fmla="*/ 160458 h 834466"/>
              <a:gd name="connsiteX795" fmla="*/ 355597 w 699392"/>
              <a:gd name="connsiteY795" fmla="*/ 156239 h 834466"/>
              <a:gd name="connsiteX796" fmla="*/ 356025 w 699392"/>
              <a:gd name="connsiteY796" fmla="*/ 154372 h 834466"/>
              <a:gd name="connsiteX797" fmla="*/ 354902 w 699392"/>
              <a:gd name="connsiteY797" fmla="*/ 150495 h 834466"/>
              <a:gd name="connsiteX798" fmla="*/ 354997 w 699392"/>
              <a:gd name="connsiteY798" fmla="*/ 143504 h 834466"/>
              <a:gd name="connsiteX799" fmla="*/ 357902 w 699392"/>
              <a:gd name="connsiteY799" fmla="*/ 135322 h 834466"/>
              <a:gd name="connsiteX800" fmla="*/ 359836 w 699392"/>
              <a:gd name="connsiteY800" fmla="*/ 132474 h 834466"/>
              <a:gd name="connsiteX801" fmla="*/ 360731 w 699392"/>
              <a:gd name="connsiteY801" fmla="*/ 132131 h 834466"/>
              <a:gd name="connsiteX802" fmla="*/ 363017 w 699392"/>
              <a:gd name="connsiteY802" fmla="*/ 134817 h 834466"/>
              <a:gd name="connsiteX803" fmla="*/ 365798 w 699392"/>
              <a:gd name="connsiteY803" fmla="*/ 140513 h 834466"/>
              <a:gd name="connsiteX804" fmla="*/ 370151 w 699392"/>
              <a:gd name="connsiteY804" fmla="*/ 143770 h 834466"/>
              <a:gd name="connsiteX805" fmla="*/ 375857 w 699392"/>
              <a:gd name="connsiteY805" fmla="*/ 144332 h 834466"/>
              <a:gd name="connsiteX806" fmla="*/ 377380 w 699392"/>
              <a:gd name="connsiteY806" fmla="*/ 142732 h 834466"/>
              <a:gd name="connsiteX807" fmla="*/ 372952 w 699392"/>
              <a:gd name="connsiteY807" fmla="*/ 139494 h 834466"/>
              <a:gd name="connsiteX808" fmla="*/ 369589 w 699392"/>
              <a:gd name="connsiteY808" fmla="*/ 135246 h 834466"/>
              <a:gd name="connsiteX809" fmla="*/ 369322 w 699392"/>
              <a:gd name="connsiteY809" fmla="*/ 130969 h 834466"/>
              <a:gd name="connsiteX810" fmla="*/ 370913 w 699392"/>
              <a:gd name="connsiteY810" fmla="*/ 128702 h 834466"/>
              <a:gd name="connsiteX811" fmla="*/ 373389 w 699392"/>
              <a:gd name="connsiteY811" fmla="*/ 128949 h 834466"/>
              <a:gd name="connsiteX812" fmla="*/ 376494 w 699392"/>
              <a:gd name="connsiteY812" fmla="*/ 128473 h 834466"/>
              <a:gd name="connsiteX813" fmla="*/ 379390 w 699392"/>
              <a:gd name="connsiteY813" fmla="*/ 125587 h 834466"/>
              <a:gd name="connsiteX814" fmla="*/ 379809 w 699392"/>
              <a:gd name="connsiteY814" fmla="*/ 123558 h 834466"/>
              <a:gd name="connsiteX815" fmla="*/ 379933 w 699392"/>
              <a:gd name="connsiteY815" fmla="*/ 120796 h 834466"/>
              <a:gd name="connsiteX816" fmla="*/ 380657 w 699392"/>
              <a:gd name="connsiteY816" fmla="*/ 117986 h 834466"/>
              <a:gd name="connsiteX817" fmla="*/ 384906 w 699392"/>
              <a:gd name="connsiteY817" fmla="*/ 111252 h 834466"/>
              <a:gd name="connsiteX818" fmla="*/ 397993 w 699392"/>
              <a:gd name="connsiteY818" fmla="*/ 106861 h 834466"/>
              <a:gd name="connsiteX819" fmla="*/ 398945 w 699392"/>
              <a:gd name="connsiteY819" fmla="*/ 108652 h 834466"/>
              <a:gd name="connsiteX820" fmla="*/ 398240 w 699392"/>
              <a:gd name="connsiteY820" fmla="*/ 121634 h 834466"/>
              <a:gd name="connsiteX821" fmla="*/ 396735 w 699392"/>
              <a:gd name="connsiteY821" fmla="*/ 129978 h 834466"/>
              <a:gd name="connsiteX822" fmla="*/ 396783 w 699392"/>
              <a:gd name="connsiteY822" fmla="*/ 136055 h 834466"/>
              <a:gd name="connsiteX823" fmla="*/ 399336 w 699392"/>
              <a:gd name="connsiteY823" fmla="*/ 129978 h 834466"/>
              <a:gd name="connsiteX824" fmla="*/ 402746 w 699392"/>
              <a:gd name="connsiteY824" fmla="*/ 113243 h 834466"/>
              <a:gd name="connsiteX825" fmla="*/ 405317 w 699392"/>
              <a:gd name="connsiteY825" fmla="*/ 105318 h 834466"/>
              <a:gd name="connsiteX826" fmla="*/ 408213 w 699392"/>
              <a:gd name="connsiteY826" fmla="*/ 100755 h 834466"/>
              <a:gd name="connsiteX827" fmla="*/ 410280 w 699392"/>
              <a:gd name="connsiteY827" fmla="*/ 99727 h 834466"/>
              <a:gd name="connsiteX828" fmla="*/ 412328 w 699392"/>
              <a:gd name="connsiteY828" fmla="*/ 97355 h 834466"/>
              <a:gd name="connsiteX829" fmla="*/ 415033 w 699392"/>
              <a:gd name="connsiteY829" fmla="*/ 95945 h 834466"/>
              <a:gd name="connsiteX830" fmla="*/ 415862 w 699392"/>
              <a:gd name="connsiteY830" fmla="*/ 97765 h 834466"/>
              <a:gd name="connsiteX831" fmla="*/ 416719 w 699392"/>
              <a:gd name="connsiteY831" fmla="*/ 101984 h 834466"/>
              <a:gd name="connsiteX832" fmla="*/ 415261 w 699392"/>
              <a:gd name="connsiteY832" fmla="*/ 116710 h 834466"/>
              <a:gd name="connsiteX833" fmla="*/ 415404 w 699392"/>
              <a:gd name="connsiteY833" fmla="*/ 121339 h 834466"/>
              <a:gd name="connsiteX834" fmla="*/ 413775 w 699392"/>
              <a:gd name="connsiteY834" fmla="*/ 127521 h 834466"/>
              <a:gd name="connsiteX835" fmla="*/ 407537 w 699392"/>
              <a:gd name="connsiteY835" fmla="*/ 141227 h 834466"/>
              <a:gd name="connsiteX836" fmla="*/ 407822 w 699392"/>
              <a:gd name="connsiteY836" fmla="*/ 142970 h 834466"/>
              <a:gd name="connsiteX837" fmla="*/ 409232 w 699392"/>
              <a:gd name="connsiteY837" fmla="*/ 142323 h 834466"/>
              <a:gd name="connsiteX838" fmla="*/ 411642 w 699392"/>
              <a:gd name="connsiteY838" fmla="*/ 140075 h 834466"/>
              <a:gd name="connsiteX839" fmla="*/ 419376 w 699392"/>
              <a:gd name="connsiteY839" fmla="*/ 127044 h 834466"/>
              <a:gd name="connsiteX840" fmla="*/ 426130 w 699392"/>
              <a:gd name="connsiteY840" fmla="*/ 128692 h 834466"/>
              <a:gd name="connsiteX841" fmla="*/ 426215 w 699392"/>
              <a:gd name="connsiteY841" fmla="*/ 127625 h 834466"/>
              <a:gd name="connsiteX842" fmla="*/ 424043 w 699392"/>
              <a:gd name="connsiteY842" fmla="*/ 123787 h 834466"/>
              <a:gd name="connsiteX843" fmla="*/ 421405 w 699392"/>
              <a:gd name="connsiteY843" fmla="*/ 120101 h 834466"/>
              <a:gd name="connsiteX844" fmla="*/ 420605 w 699392"/>
              <a:gd name="connsiteY844" fmla="*/ 115529 h 834466"/>
              <a:gd name="connsiteX845" fmla="*/ 420957 w 699392"/>
              <a:gd name="connsiteY845" fmla="*/ 103261 h 834466"/>
              <a:gd name="connsiteX846" fmla="*/ 422996 w 699392"/>
              <a:gd name="connsiteY846" fmla="*/ 98374 h 834466"/>
              <a:gd name="connsiteX847" fmla="*/ 428825 w 699392"/>
              <a:gd name="connsiteY847" fmla="*/ 98889 h 834466"/>
              <a:gd name="connsiteX848" fmla="*/ 432321 w 699392"/>
              <a:gd name="connsiteY848" fmla="*/ 98212 h 834466"/>
              <a:gd name="connsiteX849" fmla="*/ 433950 w 699392"/>
              <a:gd name="connsiteY849" fmla="*/ 100432 h 834466"/>
              <a:gd name="connsiteX850" fmla="*/ 437445 w 699392"/>
              <a:gd name="connsiteY850" fmla="*/ 100270 h 834466"/>
              <a:gd name="connsiteX851" fmla="*/ 439864 w 699392"/>
              <a:gd name="connsiteY851" fmla="*/ 91411 h 834466"/>
              <a:gd name="connsiteX852" fmla="*/ 444655 w 699392"/>
              <a:gd name="connsiteY852" fmla="*/ 90630 h 834466"/>
              <a:gd name="connsiteX853" fmla="*/ 448866 w 699392"/>
              <a:gd name="connsiteY853" fmla="*/ 96498 h 834466"/>
              <a:gd name="connsiteX854" fmla="*/ 453923 w 699392"/>
              <a:gd name="connsiteY854" fmla="*/ 100432 h 834466"/>
              <a:gd name="connsiteX855" fmla="*/ 457991 w 699392"/>
              <a:gd name="connsiteY855" fmla="*/ 106070 h 834466"/>
              <a:gd name="connsiteX856" fmla="*/ 459143 w 699392"/>
              <a:gd name="connsiteY856" fmla="*/ 104527 h 834466"/>
              <a:gd name="connsiteX857" fmla="*/ 456952 w 699392"/>
              <a:gd name="connsiteY857" fmla="*/ 91326 h 834466"/>
              <a:gd name="connsiteX858" fmla="*/ 454552 w 699392"/>
              <a:gd name="connsiteY858" fmla="*/ 86487 h 834466"/>
              <a:gd name="connsiteX859" fmla="*/ 449342 w 699392"/>
              <a:gd name="connsiteY859" fmla="*/ 83963 h 834466"/>
              <a:gd name="connsiteX860" fmla="*/ 443789 w 699392"/>
              <a:gd name="connsiteY860" fmla="*/ 77972 h 834466"/>
              <a:gd name="connsiteX861" fmla="*/ 442350 w 699392"/>
              <a:gd name="connsiteY861" fmla="*/ 75305 h 834466"/>
              <a:gd name="connsiteX862" fmla="*/ 442598 w 699392"/>
              <a:gd name="connsiteY862" fmla="*/ 73323 h 834466"/>
              <a:gd name="connsiteX863" fmla="*/ 447494 w 699392"/>
              <a:gd name="connsiteY863" fmla="*/ 71409 h 834466"/>
              <a:gd name="connsiteX864" fmla="*/ 453952 w 699392"/>
              <a:gd name="connsiteY864" fmla="*/ 73609 h 834466"/>
              <a:gd name="connsiteX865" fmla="*/ 459705 w 699392"/>
              <a:gd name="connsiteY865" fmla="*/ 68590 h 834466"/>
              <a:gd name="connsiteX866" fmla="*/ 461277 w 699392"/>
              <a:gd name="connsiteY866" fmla="*/ 69971 h 834466"/>
              <a:gd name="connsiteX867" fmla="*/ 465687 w 699392"/>
              <a:gd name="connsiteY867" fmla="*/ 67342 h 834466"/>
              <a:gd name="connsiteX868" fmla="*/ 468430 w 699392"/>
              <a:gd name="connsiteY868" fmla="*/ 70885 h 834466"/>
              <a:gd name="connsiteX869" fmla="*/ 470116 w 699392"/>
              <a:gd name="connsiteY869" fmla="*/ 69837 h 834466"/>
              <a:gd name="connsiteX870" fmla="*/ 471088 w 699392"/>
              <a:gd name="connsiteY870" fmla="*/ 65084 h 834466"/>
              <a:gd name="connsiteX871" fmla="*/ 478127 w 699392"/>
              <a:gd name="connsiteY871" fmla="*/ 62132 h 834466"/>
              <a:gd name="connsiteX872" fmla="*/ 482594 w 699392"/>
              <a:gd name="connsiteY872" fmla="*/ 64865 h 834466"/>
              <a:gd name="connsiteX873" fmla="*/ 484984 w 699392"/>
              <a:gd name="connsiteY873" fmla="*/ 67675 h 834466"/>
              <a:gd name="connsiteX874" fmla="*/ 486099 w 699392"/>
              <a:gd name="connsiteY874" fmla="*/ 73076 h 834466"/>
              <a:gd name="connsiteX875" fmla="*/ 487804 w 699392"/>
              <a:gd name="connsiteY875" fmla="*/ 83696 h 834466"/>
              <a:gd name="connsiteX876" fmla="*/ 491290 w 699392"/>
              <a:gd name="connsiteY876" fmla="*/ 89402 h 834466"/>
              <a:gd name="connsiteX877" fmla="*/ 493462 w 699392"/>
              <a:gd name="connsiteY877" fmla="*/ 92192 h 834466"/>
              <a:gd name="connsiteX878" fmla="*/ 496024 w 699392"/>
              <a:gd name="connsiteY878" fmla="*/ 92964 h 834466"/>
              <a:gd name="connsiteX879" fmla="*/ 497262 w 699392"/>
              <a:gd name="connsiteY879" fmla="*/ 90126 h 834466"/>
              <a:gd name="connsiteX880" fmla="*/ 494862 w 699392"/>
              <a:gd name="connsiteY880" fmla="*/ 86697 h 834466"/>
              <a:gd name="connsiteX881" fmla="*/ 494214 w 699392"/>
              <a:gd name="connsiteY881" fmla="*/ 83458 h 834466"/>
              <a:gd name="connsiteX882" fmla="*/ 495367 w 699392"/>
              <a:gd name="connsiteY882" fmla="*/ 75400 h 834466"/>
              <a:gd name="connsiteX883" fmla="*/ 496710 w 699392"/>
              <a:gd name="connsiteY883" fmla="*/ 72228 h 834466"/>
              <a:gd name="connsiteX884" fmla="*/ 504244 w 699392"/>
              <a:gd name="connsiteY884" fmla="*/ 60141 h 834466"/>
              <a:gd name="connsiteX885" fmla="*/ 510550 w 699392"/>
              <a:gd name="connsiteY885" fmla="*/ 53835 h 834466"/>
              <a:gd name="connsiteX886" fmla="*/ 514322 w 699392"/>
              <a:gd name="connsiteY886" fmla="*/ 53302 h 834466"/>
              <a:gd name="connsiteX887" fmla="*/ 520932 w 699392"/>
              <a:gd name="connsiteY887" fmla="*/ 39081 h 834466"/>
              <a:gd name="connsiteX888" fmla="*/ 522799 w 699392"/>
              <a:gd name="connsiteY888" fmla="*/ 36481 h 834466"/>
              <a:gd name="connsiteX889" fmla="*/ 524523 w 699392"/>
              <a:gd name="connsiteY889" fmla="*/ 35881 h 834466"/>
              <a:gd name="connsiteX890" fmla="*/ 524085 w 699392"/>
              <a:gd name="connsiteY890" fmla="*/ 32375 h 834466"/>
              <a:gd name="connsiteX891" fmla="*/ 520475 w 699392"/>
              <a:gd name="connsiteY891" fmla="*/ 30156 h 834466"/>
              <a:gd name="connsiteX892" fmla="*/ 520351 w 699392"/>
              <a:gd name="connsiteY892" fmla="*/ 25794 h 834466"/>
              <a:gd name="connsiteX893" fmla="*/ 525113 w 699392"/>
              <a:gd name="connsiteY893" fmla="*/ 20479 h 834466"/>
              <a:gd name="connsiteX894" fmla="*/ 530895 w 699392"/>
              <a:gd name="connsiteY894" fmla="*/ 11516 h 834466"/>
              <a:gd name="connsiteX895" fmla="*/ 533743 w 699392"/>
              <a:gd name="connsiteY895" fmla="*/ 10916 h 834466"/>
              <a:gd name="connsiteX896" fmla="*/ 535534 w 699392"/>
              <a:gd name="connsiteY896" fmla="*/ 13411 h 834466"/>
              <a:gd name="connsiteX897" fmla="*/ 541163 w 699392"/>
              <a:gd name="connsiteY897" fmla="*/ 17459 h 834466"/>
              <a:gd name="connsiteX898" fmla="*/ 544611 w 699392"/>
              <a:gd name="connsiteY898" fmla="*/ 22079 h 834466"/>
              <a:gd name="connsiteX899" fmla="*/ 547107 w 699392"/>
              <a:gd name="connsiteY899" fmla="*/ 24403 h 834466"/>
              <a:gd name="connsiteX900" fmla="*/ 548726 w 699392"/>
              <a:gd name="connsiteY900" fmla="*/ 23917 h 834466"/>
              <a:gd name="connsiteX901" fmla="*/ 550069 w 699392"/>
              <a:gd name="connsiteY901" fmla="*/ 20450 h 834466"/>
              <a:gd name="connsiteX902" fmla="*/ 551688 w 699392"/>
              <a:gd name="connsiteY902" fmla="*/ 18821 h 834466"/>
              <a:gd name="connsiteX903" fmla="*/ 555260 w 699392"/>
              <a:gd name="connsiteY903" fmla="*/ 19736 h 834466"/>
              <a:gd name="connsiteX904" fmla="*/ 557393 w 699392"/>
              <a:gd name="connsiteY904" fmla="*/ 21965 h 834466"/>
              <a:gd name="connsiteX905" fmla="*/ 559061 w 699392"/>
              <a:gd name="connsiteY905" fmla="*/ 22260 h 834466"/>
              <a:gd name="connsiteX906" fmla="*/ 560565 w 699392"/>
              <a:gd name="connsiteY906" fmla="*/ 23613 h 834466"/>
              <a:gd name="connsiteX907" fmla="*/ 560918 w 699392"/>
              <a:gd name="connsiteY907" fmla="*/ 26575 h 834466"/>
              <a:gd name="connsiteX908" fmla="*/ 557822 w 699392"/>
              <a:gd name="connsiteY908" fmla="*/ 29804 h 834466"/>
              <a:gd name="connsiteX909" fmla="*/ 552545 w 699392"/>
              <a:gd name="connsiteY909" fmla="*/ 38310 h 834466"/>
              <a:gd name="connsiteX910" fmla="*/ 547345 w 699392"/>
              <a:gd name="connsiteY910" fmla="*/ 47930 h 834466"/>
              <a:gd name="connsiteX911" fmla="*/ 545630 w 699392"/>
              <a:gd name="connsiteY911" fmla="*/ 52978 h 834466"/>
              <a:gd name="connsiteX912" fmla="*/ 543944 w 699392"/>
              <a:gd name="connsiteY912" fmla="*/ 66151 h 834466"/>
              <a:gd name="connsiteX913" fmla="*/ 539877 w 699392"/>
              <a:gd name="connsiteY913" fmla="*/ 74524 h 834466"/>
              <a:gd name="connsiteX914" fmla="*/ 539563 w 699392"/>
              <a:gd name="connsiteY914" fmla="*/ 80372 h 834466"/>
              <a:gd name="connsiteX915" fmla="*/ 541201 w 699392"/>
              <a:gd name="connsiteY915" fmla="*/ 83115 h 834466"/>
              <a:gd name="connsiteX916" fmla="*/ 545687 w 699392"/>
              <a:gd name="connsiteY916" fmla="*/ 80963 h 834466"/>
              <a:gd name="connsiteX917" fmla="*/ 551222 w 699392"/>
              <a:gd name="connsiteY917" fmla="*/ 73162 h 834466"/>
              <a:gd name="connsiteX918" fmla="*/ 552602 w 699392"/>
              <a:gd name="connsiteY918" fmla="*/ 64837 h 834466"/>
              <a:gd name="connsiteX919" fmla="*/ 566442 w 699392"/>
              <a:gd name="connsiteY919" fmla="*/ 42062 h 834466"/>
              <a:gd name="connsiteX920" fmla="*/ 572938 w 699392"/>
              <a:gd name="connsiteY920" fmla="*/ 29356 h 834466"/>
              <a:gd name="connsiteX921" fmla="*/ 580311 w 699392"/>
              <a:gd name="connsiteY921" fmla="*/ 18755 h 834466"/>
              <a:gd name="connsiteX922" fmla="*/ 584445 w 699392"/>
              <a:gd name="connsiteY922" fmla="*/ 16554 h 834466"/>
              <a:gd name="connsiteX923" fmla="*/ 586387 w 699392"/>
              <a:gd name="connsiteY923" fmla="*/ 23593 h 834466"/>
              <a:gd name="connsiteX924" fmla="*/ 584825 w 699392"/>
              <a:gd name="connsiteY924" fmla="*/ 32737 h 834466"/>
              <a:gd name="connsiteX925" fmla="*/ 581692 w 699392"/>
              <a:gd name="connsiteY925" fmla="*/ 38538 h 834466"/>
              <a:gd name="connsiteX926" fmla="*/ 584006 w 699392"/>
              <a:gd name="connsiteY926" fmla="*/ 41196 h 834466"/>
              <a:gd name="connsiteX927" fmla="*/ 583568 w 699392"/>
              <a:gd name="connsiteY927" fmla="*/ 48054 h 834466"/>
              <a:gd name="connsiteX928" fmla="*/ 582844 w 699392"/>
              <a:gd name="connsiteY928" fmla="*/ 51854 h 834466"/>
              <a:gd name="connsiteX929" fmla="*/ 582387 w 699392"/>
              <a:gd name="connsiteY929" fmla="*/ 55826 h 834466"/>
              <a:gd name="connsiteX930" fmla="*/ 582416 w 699392"/>
              <a:gd name="connsiteY930" fmla="*/ 59312 h 834466"/>
              <a:gd name="connsiteX931" fmla="*/ 584588 w 699392"/>
              <a:gd name="connsiteY931" fmla="*/ 58379 h 834466"/>
              <a:gd name="connsiteX932" fmla="*/ 593227 w 699392"/>
              <a:gd name="connsiteY932" fmla="*/ 51216 h 834466"/>
              <a:gd name="connsiteX933" fmla="*/ 595417 w 699392"/>
              <a:gd name="connsiteY933" fmla="*/ 43425 h 834466"/>
              <a:gd name="connsiteX934" fmla="*/ 597446 w 699392"/>
              <a:gd name="connsiteY934" fmla="*/ 37557 h 834466"/>
              <a:gd name="connsiteX935" fmla="*/ 598418 w 699392"/>
              <a:gd name="connsiteY935" fmla="*/ 32480 h 834466"/>
              <a:gd name="connsiteX936" fmla="*/ 601780 w 699392"/>
              <a:gd name="connsiteY936" fmla="*/ 27651 h 834466"/>
              <a:gd name="connsiteX937" fmla="*/ 608124 w 699392"/>
              <a:gd name="connsiteY937" fmla="*/ 27613 h 834466"/>
              <a:gd name="connsiteX938" fmla="*/ 608372 w 699392"/>
              <a:gd name="connsiteY938" fmla="*/ 25708 h 834466"/>
              <a:gd name="connsiteX939" fmla="*/ 600675 w 699392"/>
              <a:gd name="connsiteY939" fmla="*/ 19069 h 834466"/>
              <a:gd name="connsiteX940" fmla="*/ 599770 w 699392"/>
              <a:gd name="connsiteY940" fmla="*/ 16031 h 834466"/>
              <a:gd name="connsiteX941" fmla="*/ 602352 w 699392"/>
              <a:gd name="connsiteY941" fmla="*/ 11973 h 834466"/>
              <a:gd name="connsiteX942" fmla="*/ 609448 w 699392"/>
              <a:gd name="connsiteY942" fmla="*/ 4200 h 834466"/>
              <a:gd name="connsiteX943" fmla="*/ 613096 w 699392"/>
              <a:gd name="connsiteY943" fmla="*/ 5058 h 834466"/>
              <a:gd name="connsiteX944" fmla="*/ 615277 w 699392"/>
              <a:gd name="connsiteY944" fmla="*/ 6829 h 834466"/>
              <a:gd name="connsiteX945" fmla="*/ 624011 w 699392"/>
              <a:gd name="connsiteY945" fmla="*/ 8182 h 834466"/>
              <a:gd name="connsiteX946" fmla="*/ 630717 w 699392"/>
              <a:gd name="connsiteY946" fmla="*/ 13735 h 834466"/>
              <a:gd name="connsiteX947" fmla="*/ 630460 w 699392"/>
              <a:gd name="connsiteY947" fmla="*/ 22393 h 834466"/>
              <a:gd name="connsiteX948" fmla="*/ 628965 w 699392"/>
              <a:gd name="connsiteY948" fmla="*/ 25994 h 834466"/>
              <a:gd name="connsiteX949" fmla="*/ 627498 w 699392"/>
              <a:gd name="connsiteY949" fmla="*/ 28204 h 834466"/>
              <a:gd name="connsiteX950" fmla="*/ 618916 w 699392"/>
              <a:gd name="connsiteY950" fmla="*/ 34719 h 834466"/>
              <a:gd name="connsiteX951" fmla="*/ 617506 w 699392"/>
              <a:gd name="connsiteY951" fmla="*/ 37929 h 834466"/>
              <a:gd name="connsiteX952" fmla="*/ 620202 w 699392"/>
              <a:gd name="connsiteY952" fmla="*/ 39033 h 834466"/>
              <a:gd name="connsiteX953" fmla="*/ 625993 w 699392"/>
              <a:gd name="connsiteY953" fmla="*/ 35795 h 834466"/>
              <a:gd name="connsiteX954" fmla="*/ 627498 w 699392"/>
              <a:gd name="connsiteY954" fmla="*/ 38738 h 834466"/>
              <a:gd name="connsiteX955" fmla="*/ 625650 w 699392"/>
              <a:gd name="connsiteY955" fmla="*/ 46072 h 834466"/>
              <a:gd name="connsiteX956" fmla="*/ 625335 w 699392"/>
              <a:gd name="connsiteY956" fmla="*/ 57017 h 834466"/>
              <a:gd name="connsiteX957" fmla="*/ 624669 w 699392"/>
              <a:gd name="connsiteY957" fmla="*/ 63370 h 834466"/>
              <a:gd name="connsiteX958" fmla="*/ 624669 w 699392"/>
              <a:gd name="connsiteY958" fmla="*/ 69142 h 834466"/>
              <a:gd name="connsiteX959" fmla="*/ 625393 w 699392"/>
              <a:gd name="connsiteY959" fmla="*/ 72238 h 834466"/>
              <a:gd name="connsiteX960" fmla="*/ 627726 w 699392"/>
              <a:gd name="connsiteY960" fmla="*/ 59950 h 834466"/>
              <a:gd name="connsiteX961" fmla="*/ 628517 w 699392"/>
              <a:gd name="connsiteY961" fmla="*/ 56779 h 834466"/>
              <a:gd name="connsiteX962" fmla="*/ 631927 w 699392"/>
              <a:gd name="connsiteY962" fmla="*/ 52121 h 834466"/>
              <a:gd name="connsiteX963" fmla="*/ 633193 w 699392"/>
              <a:gd name="connsiteY963" fmla="*/ 42701 h 834466"/>
              <a:gd name="connsiteX964" fmla="*/ 636527 w 699392"/>
              <a:gd name="connsiteY964" fmla="*/ 31318 h 834466"/>
              <a:gd name="connsiteX965" fmla="*/ 640289 w 699392"/>
              <a:gd name="connsiteY965" fmla="*/ 24670 h 834466"/>
              <a:gd name="connsiteX966" fmla="*/ 642471 w 699392"/>
              <a:gd name="connsiteY966" fmla="*/ 22850 h 834466"/>
              <a:gd name="connsiteX967" fmla="*/ 649710 w 699392"/>
              <a:gd name="connsiteY967" fmla="*/ 23108 h 834466"/>
              <a:gd name="connsiteX968" fmla="*/ 652815 w 699392"/>
              <a:gd name="connsiteY968" fmla="*/ 25613 h 834466"/>
              <a:gd name="connsiteX969" fmla="*/ 655558 w 699392"/>
              <a:gd name="connsiteY969" fmla="*/ 31166 h 834466"/>
              <a:gd name="connsiteX970" fmla="*/ 657606 w 699392"/>
              <a:gd name="connsiteY970" fmla="*/ 33385 h 834466"/>
              <a:gd name="connsiteX971" fmla="*/ 664064 w 699392"/>
              <a:gd name="connsiteY971" fmla="*/ 35738 h 834466"/>
              <a:gd name="connsiteX972" fmla="*/ 666274 w 699392"/>
              <a:gd name="connsiteY972" fmla="*/ 38681 h 834466"/>
              <a:gd name="connsiteX973" fmla="*/ 666683 w 699392"/>
              <a:gd name="connsiteY973" fmla="*/ 40434 h 834466"/>
              <a:gd name="connsiteX974" fmla="*/ 668264 w 699392"/>
              <a:gd name="connsiteY974" fmla="*/ 40786 h 834466"/>
              <a:gd name="connsiteX975" fmla="*/ 672627 w 699392"/>
              <a:gd name="connsiteY975" fmla="*/ 36605 h 834466"/>
              <a:gd name="connsiteX976" fmla="*/ 675456 w 699392"/>
              <a:gd name="connsiteY976" fmla="*/ 35909 h 834466"/>
              <a:gd name="connsiteX977" fmla="*/ 680066 w 699392"/>
              <a:gd name="connsiteY977" fmla="*/ 42424 h 834466"/>
              <a:gd name="connsiteX978" fmla="*/ 679142 w 699392"/>
              <a:gd name="connsiteY978" fmla="*/ 47234 h 834466"/>
              <a:gd name="connsiteX979" fmla="*/ 679409 w 699392"/>
              <a:gd name="connsiteY979" fmla="*/ 48759 h 834466"/>
              <a:gd name="connsiteX980" fmla="*/ 684990 w 699392"/>
              <a:gd name="connsiteY980" fmla="*/ 48454 h 834466"/>
              <a:gd name="connsiteX981" fmla="*/ 689639 w 699392"/>
              <a:gd name="connsiteY981" fmla="*/ 50340 h 834466"/>
              <a:gd name="connsiteX982" fmla="*/ 698468 w 699392"/>
              <a:gd name="connsiteY982" fmla="*/ 60131 h 834466"/>
              <a:gd name="connsiteX983" fmla="*/ 699392 w 699392"/>
              <a:gd name="connsiteY983" fmla="*/ 64684 h 834466"/>
              <a:gd name="connsiteX984" fmla="*/ 698954 w 699392"/>
              <a:gd name="connsiteY984" fmla="*/ 70190 h 834466"/>
              <a:gd name="connsiteX985" fmla="*/ 686210 w 699392"/>
              <a:gd name="connsiteY985" fmla="*/ 76219 h 834466"/>
              <a:gd name="connsiteX986" fmla="*/ 680704 w 699392"/>
              <a:gd name="connsiteY986" fmla="*/ 81972 h 834466"/>
              <a:gd name="connsiteX987" fmla="*/ 671693 w 699392"/>
              <a:gd name="connsiteY987" fmla="*/ 84182 h 834466"/>
              <a:gd name="connsiteX988" fmla="*/ 641099 w 699392"/>
              <a:gd name="connsiteY988" fmla="*/ 80334 h 834466"/>
              <a:gd name="connsiteX989" fmla="*/ 641718 w 699392"/>
              <a:gd name="connsiteY989" fmla="*/ 84496 h 834466"/>
              <a:gd name="connsiteX990" fmla="*/ 663026 w 699392"/>
              <a:gd name="connsiteY990" fmla="*/ 93555 h 834466"/>
              <a:gd name="connsiteX991" fmla="*/ 664245 w 699392"/>
              <a:gd name="connsiteY991" fmla="*/ 96136 h 834466"/>
              <a:gd name="connsiteX992" fmla="*/ 663559 w 699392"/>
              <a:gd name="connsiteY992" fmla="*/ 101546 h 834466"/>
              <a:gd name="connsiteX993" fmla="*/ 663550 w 699392"/>
              <a:gd name="connsiteY993" fmla="*/ 105880 h 834466"/>
              <a:gd name="connsiteX994" fmla="*/ 663950 w 699392"/>
              <a:gd name="connsiteY994" fmla="*/ 108833 h 834466"/>
              <a:gd name="connsiteX995" fmla="*/ 665522 w 699392"/>
              <a:gd name="connsiteY995" fmla="*/ 111576 h 834466"/>
              <a:gd name="connsiteX996" fmla="*/ 668121 w 699392"/>
              <a:gd name="connsiteY996" fmla="*/ 112862 h 834466"/>
              <a:gd name="connsiteX997" fmla="*/ 673427 w 699392"/>
              <a:gd name="connsiteY997" fmla="*/ 112185 h 834466"/>
              <a:gd name="connsiteX998" fmla="*/ 676037 w 699392"/>
              <a:gd name="connsiteY998" fmla="*/ 113662 h 834466"/>
              <a:gd name="connsiteX999" fmla="*/ 677828 w 699392"/>
              <a:gd name="connsiteY999" fmla="*/ 111481 h 834466"/>
              <a:gd name="connsiteX1000" fmla="*/ 678495 w 699392"/>
              <a:gd name="connsiteY1000" fmla="*/ 104118 h 834466"/>
              <a:gd name="connsiteX1001" fmla="*/ 680038 w 699392"/>
              <a:gd name="connsiteY1001" fmla="*/ 102489 h 834466"/>
              <a:gd name="connsiteX1002" fmla="*/ 683010 w 699392"/>
              <a:gd name="connsiteY1002" fmla="*/ 104632 h 834466"/>
              <a:gd name="connsiteX1003" fmla="*/ 684305 w 699392"/>
              <a:gd name="connsiteY1003" fmla="*/ 112500 h 834466"/>
              <a:gd name="connsiteX1004" fmla="*/ 685133 w 699392"/>
              <a:gd name="connsiteY1004" fmla="*/ 113309 h 834466"/>
              <a:gd name="connsiteX1005" fmla="*/ 686629 w 699392"/>
              <a:gd name="connsiteY1005" fmla="*/ 107709 h 834466"/>
              <a:gd name="connsiteX1006" fmla="*/ 689572 w 699392"/>
              <a:gd name="connsiteY1006" fmla="*/ 108109 h 834466"/>
              <a:gd name="connsiteX1007" fmla="*/ 692782 w 699392"/>
              <a:gd name="connsiteY1007" fmla="*/ 107642 h 834466"/>
              <a:gd name="connsiteX1008" fmla="*/ 696926 w 699392"/>
              <a:gd name="connsiteY1008" fmla="*/ 108566 h 834466"/>
              <a:gd name="connsiteX1009" fmla="*/ 498329 w 699392"/>
              <a:gd name="connsiteY1009" fmla="*/ 26746 h 834466"/>
              <a:gd name="connsiteX1010" fmla="*/ 497805 w 699392"/>
              <a:gd name="connsiteY1010" fmla="*/ 29299 h 834466"/>
              <a:gd name="connsiteX1011" fmla="*/ 496900 w 699392"/>
              <a:gd name="connsiteY1011" fmla="*/ 31775 h 834466"/>
              <a:gd name="connsiteX1012" fmla="*/ 494709 w 699392"/>
              <a:gd name="connsiteY1012" fmla="*/ 34385 h 834466"/>
              <a:gd name="connsiteX1013" fmla="*/ 488366 w 699392"/>
              <a:gd name="connsiteY1013" fmla="*/ 44682 h 834466"/>
              <a:gd name="connsiteX1014" fmla="*/ 484641 w 699392"/>
              <a:gd name="connsiteY1014" fmla="*/ 46330 h 834466"/>
              <a:gd name="connsiteX1015" fmla="*/ 483461 w 699392"/>
              <a:gd name="connsiteY1015" fmla="*/ 47939 h 834466"/>
              <a:gd name="connsiteX1016" fmla="*/ 481975 w 699392"/>
              <a:gd name="connsiteY1016" fmla="*/ 48901 h 834466"/>
              <a:gd name="connsiteX1017" fmla="*/ 477345 w 699392"/>
              <a:gd name="connsiteY1017" fmla="*/ 47501 h 834466"/>
              <a:gd name="connsiteX1018" fmla="*/ 475993 w 699392"/>
              <a:gd name="connsiteY1018" fmla="*/ 49578 h 834466"/>
              <a:gd name="connsiteX1019" fmla="*/ 474716 w 699392"/>
              <a:gd name="connsiteY1019" fmla="*/ 50968 h 834466"/>
              <a:gd name="connsiteX1020" fmla="*/ 471364 w 699392"/>
              <a:gd name="connsiteY1020" fmla="*/ 51502 h 834466"/>
              <a:gd name="connsiteX1021" fmla="*/ 469392 w 699392"/>
              <a:gd name="connsiteY1021" fmla="*/ 51054 h 834466"/>
              <a:gd name="connsiteX1022" fmla="*/ 464315 w 699392"/>
              <a:gd name="connsiteY1022" fmla="*/ 47263 h 834466"/>
              <a:gd name="connsiteX1023" fmla="*/ 461296 w 699392"/>
              <a:gd name="connsiteY1023" fmla="*/ 43148 h 834466"/>
              <a:gd name="connsiteX1024" fmla="*/ 459657 w 699392"/>
              <a:gd name="connsiteY1024" fmla="*/ 39624 h 834466"/>
              <a:gd name="connsiteX1025" fmla="*/ 464354 w 699392"/>
              <a:gd name="connsiteY1025" fmla="*/ 39691 h 834466"/>
              <a:gd name="connsiteX1026" fmla="*/ 466020 w 699392"/>
              <a:gd name="connsiteY1026" fmla="*/ 38833 h 834466"/>
              <a:gd name="connsiteX1027" fmla="*/ 469173 w 699392"/>
              <a:gd name="connsiteY1027" fmla="*/ 39576 h 834466"/>
              <a:gd name="connsiteX1028" fmla="*/ 471068 w 699392"/>
              <a:gd name="connsiteY1028" fmla="*/ 35947 h 834466"/>
              <a:gd name="connsiteX1029" fmla="*/ 475069 w 699392"/>
              <a:gd name="connsiteY1029" fmla="*/ 36385 h 834466"/>
              <a:gd name="connsiteX1030" fmla="*/ 482755 w 699392"/>
              <a:gd name="connsiteY1030" fmla="*/ 33861 h 834466"/>
              <a:gd name="connsiteX1031" fmla="*/ 485575 w 699392"/>
              <a:gd name="connsiteY1031" fmla="*/ 35271 h 834466"/>
              <a:gd name="connsiteX1032" fmla="*/ 492023 w 699392"/>
              <a:gd name="connsiteY1032" fmla="*/ 26803 h 834466"/>
              <a:gd name="connsiteX1033" fmla="*/ 494043 w 699392"/>
              <a:gd name="connsiteY1033" fmla="*/ 27022 h 834466"/>
              <a:gd name="connsiteX1034" fmla="*/ 497129 w 699392"/>
              <a:gd name="connsiteY1034" fmla="*/ 24594 h 834466"/>
              <a:gd name="connsiteX1035" fmla="*/ 498329 w 699392"/>
              <a:gd name="connsiteY1035" fmla="*/ 26746 h 834466"/>
              <a:gd name="connsiteX1036" fmla="*/ 513750 w 699392"/>
              <a:gd name="connsiteY1036" fmla="*/ 46815 h 834466"/>
              <a:gd name="connsiteX1037" fmla="*/ 508654 w 699392"/>
              <a:gd name="connsiteY1037" fmla="*/ 50016 h 834466"/>
              <a:gd name="connsiteX1038" fmla="*/ 505701 w 699392"/>
              <a:gd name="connsiteY1038" fmla="*/ 47263 h 834466"/>
              <a:gd name="connsiteX1039" fmla="*/ 504463 w 699392"/>
              <a:gd name="connsiteY1039" fmla="*/ 44434 h 834466"/>
              <a:gd name="connsiteX1040" fmla="*/ 504282 w 699392"/>
              <a:gd name="connsiteY1040" fmla="*/ 38138 h 834466"/>
              <a:gd name="connsiteX1041" fmla="*/ 504968 w 699392"/>
              <a:gd name="connsiteY1041" fmla="*/ 34290 h 834466"/>
              <a:gd name="connsiteX1042" fmla="*/ 507359 w 699392"/>
              <a:gd name="connsiteY1042" fmla="*/ 32299 h 834466"/>
              <a:gd name="connsiteX1043" fmla="*/ 508911 w 699392"/>
              <a:gd name="connsiteY1043" fmla="*/ 33757 h 834466"/>
              <a:gd name="connsiteX1044" fmla="*/ 509321 w 699392"/>
              <a:gd name="connsiteY1044" fmla="*/ 34976 h 834466"/>
              <a:gd name="connsiteX1045" fmla="*/ 512102 w 699392"/>
              <a:gd name="connsiteY1045" fmla="*/ 36166 h 834466"/>
              <a:gd name="connsiteX1046" fmla="*/ 515369 w 699392"/>
              <a:gd name="connsiteY1046" fmla="*/ 40129 h 834466"/>
              <a:gd name="connsiteX1047" fmla="*/ 513750 w 699392"/>
              <a:gd name="connsiteY1047" fmla="*/ 46815 h 834466"/>
              <a:gd name="connsiteX1048" fmla="*/ 503006 w 699392"/>
              <a:gd name="connsiteY1048" fmla="*/ 48263 h 834466"/>
              <a:gd name="connsiteX1049" fmla="*/ 503501 w 699392"/>
              <a:gd name="connsiteY1049" fmla="*/ 52016 h 834466"/>
              <a:gd name="connsiteX1050" fmla="*/ 503691 w 699392"/>
              <a:gd name="connsiteY1050" fmla="*/ 55102 h 834466"/>
              <a:gd name="connsiteX1051" fmla="*/ 501196 w 699392"/>
              <a:gd name="connsiteY1051" fmla="*/ 59550 h 834466"/>
              <a:gd name="connsiteX1052" fmla="*/ 495443 w 699392"/>
              <a:gd name="connsiteY1052" fmla="*/ 65370 h 834466"/>
              <a:gd name="connsiteX1053" fmla="*/ 495776 w 699392"/>
              <a:gd name="connsiteY1053" fmla="*/ 66932 h 834466"/>
              <a:gd name="connsiteX1054" fmla="*/ 493786 w 699392"/>
              <a:gd name="connsiteY1054" fmla="*/ 68428 h 834466"/>
              <a:gd name="connsiteX1055" fmla="*/ 490804 w 699392"/>
              <a:gd name="connsiteY1055" fmla="*/ 69523 h 834466"/>
              <a:gd name="connsiteX1056" fmla="*/ 489233 w 699392"/>
              <a:gd name="connsiteY1056" fmla="*/ 68466 h 834466"/>
              <a:gd name="connsiteX1057" fmla="*/ 489442 w 699392"/>
              <a:gd name="connsiteY1057" fmla="*/ 63484 h 834466"/>
              <a:gd name="connsiteX1058" fmla="*/ 488966 w 699392"/>
              <a:gd name="connsiteY1058" fmla="*/ 61998 h 834466"/>
              <a:gd name="connsiteX1059" fmla="*/ 486709 w 699392"/>
              <a:gd name="connsiteY1059" fmla="*/ 63979 h 834466"/>
              <a:gd name="connsiteX1060" fmla="*/ 484356 w 699392"/>
              <a:gd name="connsiteY1060" fmla="*/ 61436 h 834466"/>
              <a:gd name="connsiteX1061" fmla="*/ 484356 w 699392"/>
              <a:gd name="connsiteY1061" fmla="*/ 58883 h 834466"/>
              <a:gd name="connsiteX1062" fmla="*/ 484975 w 699392"/>
              <a:gd name="connsiteY1062" fmla="*/ 56664 h 834466"/>
              <a:gd name="connsiteX1063" fmla="*/ 487156 w 699392"/>
              <a:gd name="connsiteY1063" fmla="*/ 53283 h 834466"/>
              <a:gd name="connsiteX1064" fmla="*/ 490785 w 699392"/>
              <a:gd name="connsiteY1064" fmla="*/ 50949 h 834466"/>
              <a:gd name="connsiteX1065" fmla="*/ 493176 w 699392"/>
              <a:gd name="connsiteY1065" fmla="*/ 51825 h 834466"/>
              <a:gd name="connsiteX1066" fmla="*/ 501158 w 699392"/>
              <a:gd name="connsiteY1066" fmla="*/ 42843 h 834466"/>
              <a:gd name="connsiteX1067" fmla="*/ 502015 w 699392"/>
              <a:gd name="connsiteY1067" fmla="*/ 44729 h 834466"/>
              <a:gd name="connsiteX1068" fmla="*/ 503006 w 699392"/>
              <a:gd name="connsiteY1068" fmla="*/ 48263 h 834466"/>
              <a:gd name="connsiteX1069" fmla="*/ 400145 w 699392"/>
              <a:gd name="connsiteY1069" fmla="*/ 74724 h 834466"/>
              <a:gd name="connsiteX1070" fmla="*/ 401507 w 699392"/>
              <a:gd name="connsiteY1070" fmla="*/ 75648 h 834466"/>
              <a:gd name="connsiteX1071" fmla="*/ 402860 w 699392"/>
              <a:gd name="connsiteY1071" fmla="*/ 75076 h 834466"/>
              <a:gd name="connsiteX1072" fmla="*/ 403974 w 699392"/>
              <a:gd name="connsiteY1072" fmla="*/ 75886 h 834466"/>
              <a:gd name="connsiteX1073" fmla="*/ 406213 w 699392"/>
              <a:gd name="connsiteY1073" fmla="*/ 80039 h 834466"/>
              <a:gd name="connsiteX1074" fmla="*/ 408623 w 699392"/>
              <a:gd name="connsiteY1074" fmla="*/ 81667 h 834466"/>
              <a:gd name="connsiteX1075" fmla="*/ 408737 w 699392"/>
              <a:gd name="connsiteY1075" fmla="*/ 83744 h 834466"/>
              <a:gd name="connsiteX1076" fmla="*/ 406537 w 699392"/>
              <a:gd name="connsiteY1076" fmla="*/ 85763 h 834466"/>
              <a:gd name="connsiteX1077" fmla="*/ 403632 w 699392"/>
              <a:gd name="connsiteY1077" fmla="*/ 86373 h 834466"/>
              <a:gd name="connsiteX1078" fmla="*/ 400517 w 699392"/>
              <a:gd name="connsiteY1078" fmla="*/ 85668 h 834466"/>
              <a:gd name="connsiteX1079" fmla="*/ 399602 w 699392"/>
              <a:gd name="connsiteY1079" fmla="*/ 83077 h 834466"/>
              <a:gd name="connsiteX1080" fmla="*/ 398640 w 699392"/>
              <a:gd name="connsiteY1080" fmla="*/ 78762 h 834466"/>
              <a:gd name="connsiteX1081" fmla="*/ 396040 w 699392"/>
              <a:gd name="connsiteY1081" fmla="*/ 74524 h 834466"/>
              <a:gd name="connsiteX1082" fmla="*/ 395650 w 699392"/>
              <a:gd name="connsiteY1082" fmla="*/ 70799 h 834466"/>
              <a:gd name="connsiteX1083" fmla="*/ 397916 w 699392"/>
              <a:gd name="connsiteY1083" fmla="*/ 70209 h 834466"/>
              <a:gd name="connsiteX1084" fmla="*/ 400145 w 699392"/>
              <a:gd name="connsiteY1084" fmla="*/ 74724 h 834466"/>
              <a:gd name="connsiteX1085" fmla="*/ 386449 w 699392"/>
              <a:gd name="connsiteY1085" fmla="*/ 86544 h 834466"/>
              <a:gd name="connsiteX1086" fmla="*/ 388820 w 699392"/>
              <a:gd name="connsiteY1086" fmla="*/ 90802 h 834466"/>
              <a:gd name="connsiteX1087" fmla="*/ 390925 w 699392"/>
              <a:gd name="connsiteY1087" fmla="*/ 90392 h 834466"/>
              <a:gd name="connsiteX1088" fmla="*/ 391554 w 699392"/>
              <a:gd name="connsiteY1088" fmla="*/ 88792 h 834466"/>
              <a:gd name="connsiteX1089" fmla="*/ 392982 w 699392"/>
              <a:gd name="connsiteY1089" fmla="*/ 87992 h 834466"/>
              <a:gd name="connsiteX1090" fmla="*/ 395878 w 699392"/>
              <a:gd name="connsiteY1090" fmla="*/ 90249 h 834466"/>
              <a:gd name="connsiteX1091" fmla="*/ 395468 w 699392"/>
              <a:gd name="connsiteY1091" fmla="*/ 94069 h 834466"/>
              <a:gd name="connsiteX1092" fmla="*/ 391459 w 699392"/>
              <a:gd name="connsiteY1092" fmla="*/ 98879 h 834466"/>
              <a:gd name="connsiteX1093" fmla="*/ 388582 w 699392"/>
              <a:gd name="connsiteY1093" fmla="*/ 105718 h 834466"/>
              <a:gd name="connsiteX1094" fmla="*/ 384906 w 699392"/>
              <a:gd name="connsiteY1094" fmla="*/ 107299 h 834466"/>
              <a:gd name="connsiteX1095" fmla="*/ 383134 w 699392"/>
              <a:gd name="connsiteY1095" fmla="*/ 106480 h 834466"/>
              <a:gd name="connsiteX1096" fmla="*/ 379838 w 699392"/>
              <a:gd name="connsiteY1096" fmla="*/ 110414 h 834466"/>
              <a:gd name="connsiteX1097" fmla="*/ 377209 w 699392"/>
              <a:gd name="connsiteY1097" fmla="*/ 114491 h 834466"/>
              <a:gd name="connsiteX1098" fmla="*/ 374475 w 699392"/>
              <a:gd name="connsiteY1098" fmla="*/ 119634 h 834466"/>
              <a:gd name="connsiteX1099" fmla="*/ 374304 w 699392"/>
              <a:gd name="connsiteY1099" fmla="*/ 122282 h 834466"/>
              <a:gd name="connsiteX1100" fmla="*/ 373875 w 699392"/>
              <a:gd name="connsiteY1100" fmla="*/ 124301 h 834466"/>
              <a:gd name="connsiteX1101" fmla="*/ 363864 w 699392"/>
              <a:gd name="connsiteY1101" fmla="*/ 126301 h 834466"/>
              <a:gd name="connsiteX1102" fmla="*/ 360226 w 699392"/>
              <a:gd name="connsiteY1102" fmla="*/ 127625 h 834466"/>
              <a:gd name="connsiteX1103" fmla="*/ 356368 w 699392"/>
              <a:gd name="connsiteY1103" fmla="*/ 125921 h 834466"/>
              <a:gd name="connsiteX1104" fmla="*/ 354539 w 699392"/>
              <a:gd name="connsiteY1104" fmla="*/ 122530 h 834466"/>
              <a:gd name="connsiteX1105" fmla="*/ 355130 w 699392"/>
              <a:gd name="connsiteY1105" fmla="*/ 120691 h 834466"/>
              <a:gd name="connsiteX1106" fmla="*/ 358978 w 699392"/>
              <a:gd name="connsiteY1106" fmla="*/ 119958 h 834466"/>
              <a:gd name="connsiteX1107" fmla="*/ 359102 w 699392"/>
              <a:gd name="connsiteY1107" fmla="*/ 116805 h 834466"/>
              <a:gd name="connsiteX1108" fmla="*/ 360083 w 699392"/>
              <a:gd name="connsiteY1108" fmla="*/ 114881 h 834466"/>
              <a:gd name="connsiteX1109" fmla="*/ 361331 w 699392"/>
              <a:gd name="connsiteY1109" fmla="*/ 113824 h 834466"/>
              <a:gd name="connsiteX1110" fmla="*/ 362245 w 699392"/>
              <a:gd name="connsiteY1110" fmla="*/ 109785 h 834466"/>
              <a:gd name="connsiteX1111" fmla="*/ 363769 w 699392"/>
              <a:gd name="connsiteY1111" fmla="*/ 108728 h 834466"/>
              <a:gd name="connsiteX1112" fmla="*/ 366608 w 699392"/>
              <a:gd name="connsiteY1112" fmla="*/ 109718 h 834466"/>
              <a:gd name="connsiteX1113" fmla="*/ 368522 w 699392"/>
              <a:gd name="connsiteY1113" fmla="*/ 106785 h 834466"/>
              <a:gd name="connsiteX1114" fmla="*/ 369598 w 699392"/>
              <a:gd name="connsiteY1114" fmla="*/ 106280 h 834466"/>
              <a:gd name="connsiteX1115" fmla="*/ 370923 w 699392"/>
              <a:gd name="connsiteY1115" fmla="*/ 108709 h 834466"/>
              <a:gd name="connsiteX1116" fmla="*/ 371561 w 699392"/>
              <a:gd name="connsiteY1116" fmla="*/ 105366 h 834466"/>
              <a:gd name="connsiteX1117" fmla="*/ 370923 w 699392"/>
              <a:gd name="connsiteY1117" fmla="*/ 102308 h 834466"/>
              <a:gd name="connsiteX1118" fmla="*/ 371256 w 699392"/>
              <a:gd name="connsiteY1118" fmla="*/ 100241 h 834466"/>
              <a:gd name="connsiteX1119" fmla="*/ 374923 w 699392"/>
              <a:gd name="connsiteY1119" fmla="*/ 94859 h 834466"/>
              <a:gd name="connsiteX1120" fmla="*/ 376514 w 699392"/>
              <a:gd name="connsiteY1120" fmla="*/ 90926 h 834466"/>
              <a:gd name="connsiteX1121" fmla="*/ 378800 w 699392"/>
              <a:gd name="connsiteY1121" fmla="*/ 88382 h 834466"/>
              <a:gd name="connsiteX1122" fmla="*/ 381000 w 699392"/>
              <a:gd name="connsiteY1122" fmla="*/ 88783 h 834466"/>
              <a:gd name="connsiteX1123" fmla="*/ 381638 w 699392"/>
              <a:gd name="connsiteY1123" fmla="*/ 85030 h 834466"/>
              <a:gd name="connsiteX1124" fmla="*/ 381000 w 699392"/>
              <a:gd name="connsiteY1124" fmla="*/ 81182 h 834466"/>
              <a:gd name="connsiteX1125" fmla="*/ 381238 w 699392"/>
              <a:gd name="connsiteY1125" fmla="*/ 78667 h 834466"/>
              <a:gd name="connsiteX1126" fmla="*/ 383181 w 699392"/>
              <a:gd name="connsiteY1126" fmla="*/ 72552 h 834466"/>
              <a:gd name="connsiteX1127" fmla="*/ 385315 w 699392"/>
              <a:gd name="connsiteY1127" fmla="*/ 72295 h 834466"/>
              <a:gd name="connsiteX1128" fmla="*/ 386296 w 699392"/>
              <a:gd name="connsiteY1128" fmla="*/ 77733 h 834466"/>
              <a:gd name="connsiteX1129" fmla="*/ 386449 w 699392"/>
              <a:gd name="connsiteY1129" fmla="*/ 86544 h 834466"/>
              <a:gd name="connsiteX1130" fmla="*/ 427187 w 699392"/>
              <a:gd name="connsiteY1130" fmla="*/ 84715 h 834466"/>
              <a:gd name="connsiteX1131" fmla="*/ 425748 w 699392"/>
              <a:gd name="connsiteY1131" fmla="*/ 86535 h 834466"/>
              <a:gd name="connsiteX1132" fmla="*/ 423539 w 699392"/>
              <a:gd name="connsiteY1132" fmla="*/ 87278 h 834466"/>
              <a:gd name="connsiteX1133" fmla="*/ 422348 w 699392"/>
              <a:gd name="connsiteY1133" fmla="*/ 86154 h 834466"/>
              <a:gd name="connsiteX1134" fmla="*/ 420653 w 699392"/>
              <a:gd name="connsiteY1134" fmla="*/ 85411 h 834466"/>
              <a:gd name="connsiteX1135" fmla="*/ 418767 w 699392"/>
              <a:gd name="connsiteY1135" fmla="*/ 85744 h 834466"/>
              <a:gd name="connsiteX1136" fmla="*/ 417186 w 699392"/>
              <a:gd name="connsiteY1136" fmla="*/ 82401 h 834466"/>
              <a:gd name="connsiteX1137" fmla="*/ 417366 w 699392"/>
              <a:gd name="connsiteY1137" fmla="*/ 79591 h 834466"/>
              <a:gd name="connsiteX1138" fmla="*/ 419528 w 699392"/>
              <a:gd name="connsiteY1138" fmla="*/ 75781 h 834466"/>
              <a:gd name="connsiteX1139" fmla="*/ 423863 w 699392"/>
              <a:gd name="connsiteY1139" fmla="*/ 73609 h 834466"/>
              <a:gd name="connsiteX1140" fmla="*/ 427368 w 699392"/>
              <a:gd name="connsiteY1140" fmla="*/ 74505 h 834466"/>
              <a:gd name="connsiteX1141" fmla="*/ 428263 w 699392"/>
              <a:gd name="connsiteY1141" fmla="*/ 75619 h 834466"/>
              <a:gd name="connsiteX1142" fmla="*/ 427187 w 699392"/>
              <a:gd name="connsiteY1142" fmla="*/ 84715 h 834466"/>
              <a:gd name="connsiteX1143" fmla="*/ 672503 w 699392"/>
              <a:gd name="connsiteY1143" fmla="*/ 107537 h 834466"/>
              <a:gd name="connsiteX1144" fmla="*/ 667426 w 699392"/>
              <a:gd name="connsiteY1144" fmla="*/ 109795 h 834466"/>
              <a:gd name="connsiteX1145" fmla="*/ 666836 w 699392"/>
              <a:gd name="connsiteY1145" fmla="*/ 107937 h 834466"/>
              <a:gd name="connsiteX1146" fmla="*/ 667951 w 699392"/>
              <a:gd name="connsiteY1146" fmla="*/ 105042 h 834466"/>
              <a:gd name="connsiteX1147" fmla="*/ 669284 w 699392"/>
              <a:gd name="connsiteY1147" fmla="*/ 99098 h 834466"/>
              <a:gd name="connsiteX1148" fmla="*/ 671370 w 699392"/>
              <a:gd name="connsiteY1148" fmla="*/ 99336 h 834466"/>
              <a:gd name="connsiteX1149" fmla="*/ 673485 w 699392"/>
              <a:gd name="connsiteY1149" fmla="*/ 101603 h 834466"/>
              <a:gd name="connsiteX1150" fmla="*/ 675141 w 699392"/>
              <a:gd name="connsiteY1150" fmla="*/ 104308 h 834466"/>
              <a:gd name="connsiteX1151" fmla="*/ 672503 w 699392"/>
              <a:gd name="connsiteY1151" fmla="*/ 107537 h 834466"/>
              <a:gd name="connsiteX1152" fmla="*/ 339614 w 699392"/>
              <a:gd name="connsiteY1152" fmla="*/ 122968 h 834466"/>
              <a:gd name="connsiteX1153" fmla="*/ 342824 w 699392"/>
              <a:gd name="connsiteY1153" fmla="*/ 127340 h 834466"/>
              <a:gd name="connsiteX1154" fmla="*/ 344262 w 699392"/>
              <a:gd name="connsiteY1154" fmla="*/ 126006 h 834466"/>
              <a:gd name="connsiteX1155" fmla="*/ 347110 w 699392"/>
              <a:gd name="connsiteY1155" fmla="*/ 125501 h 834466"/>
              <a:gd name="connsiteX1156" fmla="*/ 349225 w 699392"/>
              <a:gd name="connsiteY1156" fmla="*/ 127044 h 834466"/>
              <a:gd name="connsiteX1157" fmla="*/ 350958 w 699392"/>
              <a:gd name="connsiteY1157" fmla="*/ 129816 h 834466"/>
              <a:gd name="connsiteX1158" fmla="*/ 353006 w 699392"/>
              <a:gd name="connsiteY1158" fmla="*/ 129940 h 834466"/>
              <a:gd name="connsiteX1159" fmla="*/ 354292 w 699392"/>
              <a:gd name="connsiteY1159" fmla="*/ 133560 h 834466"/>
              <a:gd name="connsiteX1160" fmla="*/ 354949 w 699392"/>
              <a:gd name="connsiteY1160" fmla="*/ 138255 h 834466"/>
              <a:gd name="connsiteX1161" fmla="*/ 353463 w 699392"/>
              <a:gd name="connsiteY1161" fmla="*/ 141751 h 834466"/>
              <a:gd name="connsiteX1162" fmla="*/ 351349 w 699392"/>
              <a:gd name="connsiteY1162" fmla="*/ 143342 h 834466"/>
              <a:gd name="connsiteX1163" fmla="*/ 350777 w 699392"/>
              <a:gd name="connsiteY1163" fmla="*/ 147447 h 834466"/>
              <a:gd name="connsiteX1164" fmla="*/ 351577 w 699392"/>
              <a:gd name="connsiteY1164" fmla="*/ 153191 h 834466"/>
              <a:gd name="connsiteX1165" fmla="*/ 346834 w 699392"/>
              <a:gd name="connsiteY1165" fmla="*/ 155153 h 834466"/>
              <a:gd name="connsiteX1166" fmla="*/ 341348 w 699392"/>
              <a:gd name="connsiteY1166" fmla="*/ 156029 h 834466"/>
              <a:gd name="connsiteX1167" fmla="*/ 339195 w 699392"/>
              <a:gd name="connsiteY1167" fmla="*/ 153286 h 834466"/>
              <a:gd name="connsiteX1168" fmla="*/ 334813 w 699392"/>
              <a:gd name="connsiteY1168" fmla="*/ 158296 h 834466"/>
              <a:gd name="connsiteX1169" fmla="*/ 330461 w 699392"/>
              <a:gd name="connsiteY1169" fmla="*/ 166078 h 834466"/>
              <a:gd name="connsiteX1170" fmla="*/ 328365 w 699392"/>
              <a:gd name="connsiteY1170" fmla="*/ 166992 h 834466"/>
              <a:gd name="connsiteX1171" fmla="*/ 328213 w 699392"/>
              <a:gd name="connsiteY1171" fmla="*/ 164535 h 834466"/>
              <a:gd name="connsiteX1172" fmla="*/ 325088 w 699392"/>
              <a:gd name="connsiteY1172" fmla="*/ 162830 h 834466"/>
              <a:gd name="connsiteX1173" fmla="*/ 321088 w 699392"/>
              <a:gd name="connsiteY1173" fmla="*/ 162735 h 834466"/>
              <a:gd name="connsiteX1174" fmla="*/ 321221 w 699392"/>
              <a:gd name="connsiteY1174" fmla="*/ 160906 h 834466"/>
              <a:gd name="connsiteX1175" fmla="*/ 321955 w 699392"/>
              <a:gd name="connsiteY1175" fmla="*/ 159620 h 834466"/>
              <a:gd name="connsiteX1176" fmla="*/ 325403 w 699392"/>
              <a:gd name="connsiteY1176" fmla="*/ 157705 h 834466"/>
              <a:gd name="connsiteX1177" fmla="*/ 326088 w 699392"/>
              <a:gd name="connsiteY1177" fmla="*/ 153743 h 834466"/>
              <a:gd name="connsiteX1178" fmla="*/ 325460 w 699392"/>
              <a:gd name="connsiteY1178" fmla="*/ 146656 h 834466"/>
              <a:gd name="connsiteX1179" fmla="*/ 326070 w 699392"/>
              <a:gd name="connsiteY1179" fmla="*/ 143199 h 834466"/>
              <a:gd name="connsiteX1180" fmla="*/ 326203 w 699392"/>
              <a:gd name="connsiteY1180" fmla="*/ 140818 h 834466"/>
              <a:gd name="connsiteX1181" fmla="*/ 328375 w 699392"/>
              <a:gd name="connsiteY1181" fmla="*/ 138017 h 834466"/>
              <a:gd name="connsiteX1182" fmla="*/ 335804 w 699392"/>
              <a:gd name="connsiteY1182" fmla="*/ 139332 h 834466"/>
              <a:gd name="connsiteX1183" fmla="*/ 336709 w 699392"/>
              <a:gd name="connsiteY1183" fmla="*/ 136655 h 834466"/>
              <a:gd name="connsiteX1184" fmla="*/ 336147 w 699392"/>
              <a:gd name="connsiteY1184" fmla="*/ 134969 h 834466"/>
              <a:gd name="connsiteX1185" fmla="*/ 332308 w 699392"/>
              <a:gd name="connsiteY1185" fmla="*/ 132017 h 834466"/>
              <a:gd name="connsiteX1186" fmla="*/ 332899 w 699392"/>
              <a:gd name="connsiteY1186" fmla="*/ 130026 h 834466"/>
              <a:gd name="connsiteX1187" fmla="*/ 335671 w 699392"/>
              <a:gd name="connsiteY1187" fmla="*/ 128245 h 834466"/>
              <a:gd name="connsiteX1188" fmla="*/ 338290 w 699392"/>
              <a:gd name="connsiteY1188" fmla="*/ 128006 h 834466"/>
              <a:gd name="connsiteX1189" fmla="*/ 339080 w 699392"/>
              <a:gd name="connsiteY1189" fmla="*/ 124997 h 834466"/>
              <a:gd name="connsiteX1190" fmla="*/ 339214 w 699392"/>
              <a:gd name="connsiteY1190" fmla="*/ 123673 h 834466"/>
              <a:gd name="connsiteX1191" fmla="*/ 339614 w 699392"/>
              <a:gd name="connsiteY1191" fmla="*/ 122968 h 834466"/>
              <a:gd name="connsiteX1192" fmla="*/ 293027 w 699392"/>
              <a:gd name="connsiteY1192" fmla="*/ 200406 h 834466"/>
              <a:gd name="connsiteX1193" fmla="*/ 293351 w 699392"/>
              <a:gd name="connsiteY1193" fmla="*/ 200920 h 834466"/>
              <a:gd name="connsiteX1194" fmla="*/ 296989 w 699392"/>
              <a:gd name="connsiteY1194" fmla="*/ 193872 h 834466"/>
              <a:gd name="connsiteX1195" fmla="*/ 301028 w 699392"/>
              <a:gd name="connsiteY1195" fmla="*/ 191672 h 834466"/>
              <a:gd name="connsiteX1196" fmla="*/ 301276 w 699392"/>
              <a:gd name="connsiteY1196" fmla="*/ 189205 h 834466"/>
              <a:gd name="connsiteX1197" fmla="*/ 302838 w 699392"/>
              <a:gd name="connsiteY1197" fmla="*/ 186823 h 834466"/>
              <a:gd name="connsiteX1198" fmla="*/ 302657 w 699392"/>
              <a:gd name="connsiteY1198" fmla="*/ 182918 h 834466"/>
              <a:gd name="connsiteX1199" fmla="*/ 303448 w 699392"/>
              <a:gd name="connsiteY1199" fmla="*/ 179746 h 834466"/>
              <a:gd name="connsiteX1200" fmla="*/ 305505 w 699392"/>
              <a:gd name="connsiteY1200" fmla="*/ 178899 h 834466"/>
              <a:gd name="connsiteX1201" fmla="*/ 306791 w 699392"/>
              <a:gd name="connsiteY1201" fmla="*/ 177822 h 834466"/>
              <a:gd name="connsiteX1202" fmla="*/ 308210 w 699392"/>
              <a:gd name="connsiteY1202" fmla="*/ 177222 h 834466"/>
              <a:gd name="connsiteX1203" fmla="*/ 310792 w 699392"/>
              <a:gd name="connsiteY1203" fmla="*/ 179803 h 834466"/>
              <a:gd name="connsiteX1204" fmla="*/ 312239 w 699392"/>
              <a:gd name="connsiteY1204" fmla="*/ 182661 h 834466"/>
              <a:gd name="connsiteX1205" fmla="*/ 314049 w 699392"/>
              <a:gd name="connsiteY1205" fmla="*/ 189024 h 834466"/>
              <a:gd name="connsiteX1206" fmla="*/ 313297 w 699392"/>
              <a:gd name="connsiteY1206" fmla="*/ 195158 h 834466"/>
              <a:gd name="connsiteX1207" fmla="*/ 308448 w 699392"/>
              <a:gd name="connsiteY1207" fmla="*/ 199930 h 834466"/>
              <a:gd name="connsiteX1208" fmla="*/ 304600 w 699392"/>
              <a:gd name="connsiteY1208" fmla="*/ 202073 h 834466"/>
              <a:gd name="connsiteX1209" fmla="*/ 300704 w 699392"/>
              <a:gd name="connsiteY1209" fmla="*/ 207521 h 834466"/>
              <a:gd name="connsiteX1210" fmla="*/ 298752 w 699392"/>
              <a:gd name="connsiteY1210" fmla="*/ 211969 h 834466"/>
              <a:gd name="connsiteX1211" fmla="*/ 297066 w 699392"/>
              <a:gd name="connsiteY1211" fmla="*/ 212931 h 834466"/>
              <a:gd name="connsiteX1212" fmla="*/ 296009 w 699392"/>
              <a:gd name="connsiteY1212" fmla="*/ 212569 h 834466"/>
              <a:gd name="connsiteX1213" fmla="*/ 295066 w 699392"/>
              <a:gd name="connsiteY1213" fmla="*/ 211503 h 834466"/>
              <a:gd name="connsiteX1214" fmla="*/ 293094 w 699392"/>
              <a:gd name="connsiteY1214" fmla="*/ 211503 h 834466"/>
              <a:gd name="connsiteX1215" fmla="*/ 290922 w 699392"/>
              <a:gd name="connsiteY1215" fmla="*/ 215351 h 834466"/>
              <a:gd name="connsiteX1216" fmla="*/ 284369 w 699392"/>
              <a:gd name="connsiteY1216" fmla="*/ 218475 h 834466"/>
              <a:gd name="connsiteX1217" fmla="*/ 281797 w 699392"/>
              <a:gd name="connsiteY1217" fmla="*/ 217570 h 834466"/>
              <a:gd name="connsiteX1218" fmla="*/ 281683 w 699392"/>
              <a:gd name="connsiteY1218" fmla="*/ 213741 h 834466"/>
              <a:gd name="connsiteX1219" fmla="*/ 280149 w 699392"/>
              <a:gd name="connsiteY1219" fmla="*/ 214055 h 834466"/>
              <a:gd name="connsiteX1220" fmla="*/ 277692 w 699392"/>
              <a:gd name="connsiteY1220" fmla="*/ 218646 h 834466"/>
              <a:gd name="connsiteX1221" fmla="*/ 275291 w 699392"/>
              <a:gd name="connsiteY1221" fmla="*/ 220180 h 834466"/>
              <a:gd name="connsiteX1222" fmla="*/ 273682 w 699392"/>
              <a:gd name="connsiteY1222" fmla="*/ 220647 h 834466"/>
              <a:gd name="connsiteX1223" fmla="*/ 270720 w 699392"/>
              <a:gd name="connsiteY1223" fmla="*/ 218923 h 834466"/>
              <a:gd name="connsiteX1224" fmla="*/ 262757 w 699392"/>
              <a:gd name="connsiteY1224" fmla="*/ 226714 h 834466"/>
              <a:gd name="connsiteX1225" fmla="*/ 255289 w 699392"/>
              <a:gd name="connsiteY1225" fmla="*/ 228162 h 834466"/>
              <a:gd name="connsiteX1226" fmla="*/ 252832 w 699392"/>
              <a:gd name="connsiteY1226" fmla="*/ 227267 h 834466"/>
              <a:gd name="connsiteX1227" fmla="*/ 252822 w 699392"/>
              <a:gd name="connsiteY1227" fmla="*/ 222504 h 834466"/>
              <a:gd name="connsiteX1228" fmla="*/ 257651 w 699392"/>
              <a:gd name="connsiteY1228" fmla="*/ 216389 h 834466"/>
              <a:gd name="connsiteX1229" fmla="*/ 261604 w 699392"/>
              <a:gd name="connsiteY1229" fmla="*/ 212131 h 834466"/>
              <a:gd name="connsiteX1230" fmla="*/ 275225 w 699392"/>
              <a:gd name="connsiteY1230" fmla="*/ 209150 h 834466"/>
              <a:gd name="connsiteX1231" fmla="*/ 283712 w 699392"/>
              <a:gd name="connsiteY1231" fmla="*/ 196425 h 834466"/>
              <a:gd name="connsiteX1232" fmla="*/ 285760 w 699392"/>
              <a:gd name="connsiteY1232" fmla="*/ 182489 h 834466"/>
              <a:gd name="connsiteX1233" fmla="*/ 287760 w 699392"/>
              <a:gd name="connsiteY1233" fmla="*/ 177422 h 834466"/>
              <a:gd name="connsiteX1234" fmla="*/ 286817 w 699392"/>
              <a:gd name="connsiteY1234" fmla="*/ 174555 h 834466"/>
              <a:gd name="connsiteX1235" fmla="*/ 284540 w 699392"/>
              <a:gd name="connsiteY1235" fmla="*/ 174050 h 834466"/>
              <a:gd name="connsiteX1236" fmla="*/ 284398 w 699392"/>
              <a:gd name="connsiteY1236" fmla="*/ 169631 h 834466"/>
              <a:gd name="connsiteX1237" fmla="*/ 285588 w 699392"/>
              <a:gd name="connsiteY1237" fmla="*/ 164792 h 834466"/>
              <a:gd name="connsiteX1238" fmla="*/ 290036 w 699392"/>
              <a:gd name="connsiteY1238" fmla="*/ 158125 h 834466"/>
              <a:gd name="connsiteX1239" fmla="*/ 292513 w 699392"/>
              <a:gd name="connsiteY1239" fmla="*/ 155277 h 834466"/>
              <a:gd name="connsiteX1240" fmla="*/ 296542 w 699392"/>
              <a:gd name="connsiteY1240" fmla="*/ 147190 h 834466"/>
              <a:gd name="connsiteX1241" fmla="*/ 298485 w 699392"/>
              <a:gd name="connsiteY1241" fmla="*/ 145370 h 834466"/>
              <a:gd name="connsiteX1242" fmla="*/ 300695 w 699392"/>
              <a:gd name="connsiteY1242" fmla="*/ 145370 h 834466"/>
              <a:gd name="connsiteX1243" fmla="*/ 302876 w 699392"/>
              <a:gd name="connsiteY1243" fmla="*/ 147495 h 834466"/>
              <a:gd name="connsiteX1244" fmla="*/ 302486 w 699392"/>
              <a:gd name="connsiteY1244" fmla="*/ 151829 h 834466"/>
              <a:gd name="connsiteX1245" fmla="*/ 299218 w 699392"/>
              <a:gd name="connsiteY1245" fmla="*/ 159620 h 834466"/>
              <a:gd name="connsiteX1246" fmla="*/ 294380 w 699392"/>
              <a:gd name="connsiteY1246" fmla="*/ 166230 h 834466"/>
              <a:gd name="connsiteX1247" fmla="*/ 294970 w 699392"/>
              <a:gd name="connsiteY1247" fmla="*/ 170964 h 834466"/>
              <a:gd name="connsiteX1248" fmla="*/ 296894 w 699392"/>
              <a:gd name="connsiteY1248" fmla="*/ 174841 h 834466"/>
              <a:gd name="connsiteX1249" fmla="*/ 297371 w 699392"/>
              <a:gd name="connsiteY1249" fmla="*/ 181451 h 834466"/>
              <a:gd name="connsiteX1250" fmla="*/ 297495 w 699392"/>
              <a:gd name="connsiteY1250" fmla="*/ 187795 h 834466"/>
              <a:gd name="connsiteX1251" fmla="*/ 293827 w 699392"/>
              <a:gd name="connsiteY1251" fmla="*/ 196329 h 834466"/>
              <a:gd name="connsiteX1252" fmla="*/ 293027 w 699392"/>
              <a:gd name="connsiteY1252" fmla="*/ 200406 h 834466"/>
              <a:gd name="connsiteX1253" fmla="*/ 278235 w 699392"/>
              <a:gd name="connsiteY1253" fmla="*/ 172260 h 834466"/>
              <a:gd name="connsiteX1254" fmla="*/ 281711 w 699392"/>
              <a:gd name="connsiteY1254" fmla="*/ 179727 h 834466"/>
              <a:gd name="connsiteX1255" fmla="*/ 283302 w 699392"/>
              <a:gd name="connsiteY1255" fmla="*/ 184080 h 834466"/>
              <a:gd name="connsiteX1256" fmla="*/ 282017 w 699392"/>
              <a:gd name="connsiteY1256" fmla="*/ 192262 h 834466"/>
              <a:gd name="connsiteX1257" fmla="*/ 278635 w 699392"/>
              <a:gd name="connsiteY1257" fmla="*/ 196377 h 834466"/>
              <a:gd name="connsiteX1258" fmla="*/ 273425 w 699392"/>
              <a:gd name="connsiteY1258" fmla="*/ 197110 h 834466"/>
              <a:gd name="connsiteX1259" fmla="*/ 269767 w 699392"/>
              <a:gd name="connsiteY1259" fmla="*/ 196768 h 834466"/>
              <a:gd name="connsiteX1260" fmla="*/ 267462 w 699392"/>
              <a:gd name="connsiteY1260" fmla="*/ 194786 h 834466"/>
              <a:gd name="connsiteX1261" fmla="*/ 267176 w 699392"/>
              <a:gd name="connsiteY1261" fmla="*/ 192567 h 834466"/>
              <a:gd name="connsiteX1262" fmla="*/ 265843 w 699392"/>
              <a:gd name="connsiteY1262" fmla="*/ 191910 h 834466"/>
              <a:gd name="connsiteX1263" fmla="*/ 262328 w 699392"/>
              <a:gd name="connsiteY1263" fmla="*/ 194767 h 834466"/>
              <a:gd name="connsiteX1264" fmla="*/ 259890 w 699392"/>
              <a:gd name="connsiteY1264" fmla="*/ 195148 h 834466"/>
              <a:gd name="connsiteX1265" fmla="*/ 256784 w 699392"/>
              <a:gd name="connsiteY1265" fmla="*/ 192938 h 834466"/>
              <a:gd name="connsiteX1266" fmla="*/ 255947 w 699392"/>
              <a:gd name="connsiteY1266" fmla="*/ 189395 h 834466"/>
              <a:gd name="connsiteX1267" fmla="*/ 259242 w 699392"/>
              <a:gd name="connsiteY1267" fmla="*/ 184947 h 834466"/>
              <a:gd name="connsiteX1268" fmla="*/ 260766 w 699392"/>
              <a:gd name="connsiteY1268" fmla="*/ 181480 h 834466"/>
              <a:gd name="connsiteX1269" fmla="*/ 264414 w 699392"/>
              <a:gd name="connsiteY1269" fmla="*/ 181785 h 834466"/>
              <a:gd name="connsiteX1270" fmla="*/ 265329 w 699392"/>
              <a:gd name="connsiteY1270" fmla="*/ 182861 h 834466"/>
              <a:gd name="connsiteX1271" fmla="*/ 267395 w 699392"/>
              <a:gd name="connsiteY1271" fmla="*/ 183537 h 834466"/>
              <a:gd name="connsiteX1272" fmla="*/ 268653 w 699392"/>
              <a:gd name="connsiteY1272" fmla="*/ 179356 h 834466"/>
              <a:gd name="connsiteX1273" fmla="*/ 268367 w 699392"/>
              <a:gd name="connsiteY1273" fmla="*/ 176460 h 834466"/>
              <a:gd name="connsiteX1274" fmla="*/ 269291 w 699392"/>
              <a:gd name="connsiteY1274" fmla="*/ 174441 h 834466"/>
              <a:gd name="connsiteX1275" fmla="*/ 273701 w 699392"/>
              <a:gd name="connsiteY1275" fmla="*/ 175898 h 834466"/>
              <a:gd name="connsiteX1276" fmla="*/ 273711 w 699392"/>
              <a:gd name="connsiteY1276" fmla="*/ 167992 h 834466"/>
              <a:gd name="connsiteX1277" fmla="*/ 275425 w 699392"/>
              <a:gd name="connsiteY1277" fmla="*/ 167440 h 834466"/>
              <a:gd name="connsiteX1278" fmla="*/ 276130 w 699392"/>
              <a:gd name="connsiteY1278" fmla="*/ 167745 h 834466"/>
              <a:gd name="connsiteX1279" fmla="*/ 277396 w 699392"/>
              <a:gd name="connsiteY1279" fmla="*/ 169412 h 834466"/>
              <a:gd name="connsiteX1280" fmla="*/ 278235 w 699392"/>
              <a:gd name="connsiteY1280" fmla="*/ 172260 h 834466"/>
              <a:gd name="connsiteX1281" fmla="*/ 242573 w 699392"/>
              <a:gd name="connsiteY1281" fmla="*/ 221875 h 834466"/>
              <a:gd name="connsiteX1282" fmla="*/ 244164 w 699392"/>
              <a:gd name="connsiteY1282" fmla="*/ 223104 h 834466"/>
              <a:gd name="connsiteX1283" fmla="*/ 248317 w 699392"/>
              <a:gd name="connsiteY1283" fmla="*/ 222742 h 834466"/>
              <a:gd name="connsiteX1284" fmla="*/ 249155 w 699392"/>
              <a:gd name="connsiteY1284" fmla="*/ 223199 h 834466"/>
              <a:gd name="connsiteX1285" fmla="*/ 248555 w 699392"/>
              <a:gd name="connsiteY1285" fmla="*/ 225228 h 834466"/>
              <a:gd name="connsiteX1286" fmla="*/ 246755 w 699392"/>
              <a:gd name="connsiteY1286" fmla="*/ 227457 h 834466"/>
              <a:gd name="connsiteX1287" fmla="*/ 242974 w 699392"/>
              <a:gd name="connsiteY1287" fmla="*/ 228829 h 834466"/>
              <a:gd name="connsiteX1288" fmla="*/ 241268 w 699392"/>
              <a:gd name="connsiteY1288" fmla="*/ 232229 h 834466"/>
              <a:gd name="connsiteX1289" fmla="*/ 240049 w 699392"/>
              <a:gd name="connsiteY1289" fmla="*/ 233382 h 834466"/>
              <a:gd name="connsiteX1290" fmla="*/ 236782 w 699392"/>
              <a:gd name="connsiteY1290" fmla="*/ 233391 h 834466"/>
              <a:gd name="connsiteX1291" fmla="*/ 234848 w 699392"/>
              <a:gd name="connsiteY1291" fmla="*/ 234182 h 834466"/>
              <a:gd name="connsiteX1292" fmla="*/ 232477 w 699392"/>
              <a:gd name="connsiteY1292" fmla="*/ 237191 h 834466"/>
              <a:gd name="connsiteX1293" fmla="*/ 230581 w 699392"/>
              <a:gd name="connsiteY1293" fmla="*/ 234972 h 834466"/>
              <a:gd name="connsiteX1294" fmla="*/ 230048 w 699392"/>
              <a:gd name="connsiteY1294" fmla="*/ 236553 h 834466"/>
              <a:gd name="connsiteX1295" fmla="*/ 229705 w 699392"/>
              <a:gd name="connsiteY1295" fmla="*/ 239373 h 834466"/>
              <a:gd name="connsiteX1296" fmla="*/ 228648 w 699392"/>
              <a:gd name="connsiteY1296" fmla="*/ 240192 h 834466"/>
              <a:gd name="connsiteX1297" fmla="*/ 225371 w 699392"/>
              <a:gd name="connsiteY1297" fmla="*/ 241211 h 834466"/>
              <a:gd name="connsiteX1298" fmla="*/ 224580 w 699392"/>
              <a:gd name="connsiteY1298" fmla="*/ 234648 h 834466"/>
              <a:gd name="connsiteX1299" fmla="*/ 226086 w 699392"/>
              <a:gd name="connsiteY1299" fmla="*/ 232267 h 834466"/>
              <a:gd name="connsiteX1300" fmla="*/ 227266 w 699392"/>
              <a:gd name="connsiteY1300" fmla="*/ 229410 h 834466"/>
              <a:gd name="connsiteX1301" fmla="*/ 229076 w 699392"/>
              <a:gd name="connsiteY1301" fmla="*/ 228971 h 834466"/>
              <a:gd name="connsiteX1302" fmla="*/ 230696 w 699392"/>
              <a:gd name="connsiteY1302" fmla="*/ 229210 h 834466"/>
              <a:gd name="connsiteX1303" fmla="*/ 233619 w 699392"/>
              <a:gd name="connsiteY1303" fmla="*/ 223037 h 834466"/>
              <a:gd name="connsiteX1304" fmla="*/ 237620 w 699392"/>
              <a:gd name="connsiteY1304" fmla="*/ 221275 h 834466"/>
              <a:gd name="connsiteX1305" fmla="*/ 240202 w 699392"/>
              <a:gd name="connsiteY1305" fmla="*/ 221075 h 834466"/>
              <a:gd name="connsiteX1306" fmla="*/ 242573 w 699392"/>
              <a:gd name="connsiteY1306" fmla="*/ 221875 h 834466"/>
              <a:gd name="connsiteX1307" fmla="*/ 218475 w 699392"/>
              <a:gd name="connsiteY1307" fmla="*/ 249860 h 834466"/>
              <a:gd name="connsiteX1308" fmla="*/ 214522 w 699392"/>
              <a:gd name="connsiteY1308" fmla="*/ 253603 h 834466"/>
              <a:gd name="connsiteX1309" fmla="*/ 215960 w 699392"/>
              <a:gd name="connsiteY1309" fmla="*/ 246764 h 834466"/>
              <a:gd name="connsiteX1310" fmla="*/ 218094 w 699392"/>
              <a:gd name="connsiteY1310" fmla="*/ 239811 h 834466"/>
              <a:gd name="connsiteX1311" fmla="*/ 221047 w 699392"/>
              <a:gd name="connsiteY1311" fmla="*/ 235820 h 834466"/>
              <a:gd name="connsiteX1312" fmla="*/ 222514 w 699392"/>
              <a:gd name="connsiteY1312" fmla="*/ 237382 h 834466"/>
              <a:gd name="connsiteX1313" fmla="*/ 221837 w 699392"/>
              <a:gd name="connsiteY1313" fmla="*/ 240725 h 834466"/>
              <a:gd name="connsiteX1314" fmla="*/ 221847 w 699392"/>
              <a:gd name="connsiteY1314" fmla="*/ 244021 h 834466"/>
              <a:gd name="connsiteX1315" fmla="*/ 221218 w 699392"/>
              <a:gd name="connsiteY1315" fmla="*/ 245574 h 834466"/>
              <a:gd name="connsiteX1316" fmla="*/ 218475 w 699392"/>
              <a:gd name="connsiteY1316" fmla="*/ 249860 h 834466"/>
              <a:gd name="connsiteX1317" fmla="*/ 203730 w 699392"/>
              <a:gd name="connsiteY1317" fmla="*/ 374837 h 834466"/>
              <a:gd name="connsiteX1318" fmla="*/ 201254 w 699392"/>
              <a:gd name="connsiteY1318" fmla="*/ 375266 h 834466"/>
              <a:gd name="connsiteX1319" fmla="*/ 201663 w 699392"/>
              <a:gd name="connsiteY1319" fmla="*/ 372361 h 834466"/>
              <a:gd name="connsiteX1320" fmla="*/ 203664 w 699392"/>
              <a:gd name="connsiteY1320" fmla="*/ 369599 h 834466"/>
              <a:gd name="connsiteX1321" fmla="*/ 204435 w 699392"/>
              <a:gd name="connsiteY1321" fmla="*/ 367713 h 834466"/>
              <a:gd name="connsiteX1322" fmla="*/ 204835 w 699392"/>
              <a:gd name="connsiteY1322" fmla="*/ 365484 h 834466"/>
              <a:gd name="connsiteX1323" fmla="*/ 206607 w 699392"/>
              <a:gd name="connsiteY1323" fmla="*/ 363798 h 834466"/>
              <a:gd name="connsiteX1324" fmla="*/ 209102 w 699392"/>
              <a:gd name="connsiteY1324" fmla="*/ 365960 h 834466"/>
              <a:gd name="connsiteX1325" fmla="*/ 209150 w 699392"/>
              <a:gd name="connsiteY1325" fmla="*/ 369618 h 834466"/>
              <a:gd name="connsiteX1326" fmla="*/ 207912 w 699392"/>
              <a:gd name="connsiteY1326" fmla="*/ 372951 h 834466"/>
              <a:gd name="connsiteX1327" fmla="*/ 203730 w 699392"/>
              <a:gd name="connsiteY1327" fmla="*/ 374837 h 834466"/>
              <a:gd name="connsiteX1328" fmla="*/ 206131 w 699392"/>
              <a:gd name="connsiteY1328" fmla="*/ 384105 h 834466"/>
              <a:gd name="connsiteX1329" fmla="*/ 203988 w 699392"/>
              <a:gd name="connsiteY1329" fmla="*/ 384296 h 834466"/>
              <a:gd name="connsiteX1330" fmla="*/ 204006 w 699392"/>
              <a:gd name="connsiteY1330" fmla="*/ 381619 h 834466"/>
              <a:gd name="connsiteX1331" fmla="*/ 205235 w 699392"/>
              <a:gd name="connsiteY1331" fmla="*/ 379181 h 834466"/>
              <a:gd name="connsiteX1332" fmla="*/ 207178 w 699392"/>
              <a:gd name="connsiteY1332" fmla="*/ 377552 h 834466"/>
              <a:gd name="connsiteX1333" fmla="*/ 209683 w 699392"/>
              <a:gd name="connsiteY1333" fmla="*/ 377123 h 834466"/>
              <a:gd name="connsiteX1334" fmla="*/ 212484 w 699392"/>
              <a:gd name="connsiteY1334" fmla="*/ 376933 h 834466"/>
              <a:gd name="connsiteX1335" fmla="*/ 213331 w 699392"/>
              <a:gd name="connsiteY1335" fmla="*/ 378228 h 834466"/>
              <a:gd name="connsiteX1336" fmla="*/ 211722 w 699392"/>
              <a:gd name="connsiteY1336" fmla="*/ 380047 h 834466"/>
              <a:gd name="connsiteX1337" fmla="*/ 206131 w 699392"/>
              <a:gd name="connsiteY1337" fmla="*/ 384105 h 834466"/>
              <a:gd name="connsiteX1338" fmla="*/ 191653 w 699392"/>
              <a:gd name="connsiteY1338" fmla="*/ 402022 h 834466"/>
              <a:gd name="connsiteX1339" fmla="*/ 189881 w 699392"/>
              <a:gd name="connsiteY1339" fmla="*/ 404012 h 834466"/>
              <a:gd name="connsiteX1340" fmla="*/ 186576 w 699392"/>
              <a:gd name="connsiteY1340" fmla="*/ 403441 h 834466"/>
              <a:gd name="connsiteX1341" fmla="*/ 186223 w 699392"/>
              <a:gd name="connsiteY1341" fmla="*/ 401726 h 834466"/>
              <a:gd name="connsiteX1342" fmla="*/ 187166 w 699392"/>
              <a:gd name="connsiteY1342" fmla="*/ 398297 h 834466"/>
              <a:gd name="connsiteX1343" fmla="*/ 189176 w 699392"/>
              <a:gd name="connsiteY1343" fmla="*/ 396878 h 834466"/>
              <a:gd name="connsiteX1344" fmla="*/ 191767 w 699392"/>
              <a:gd name="connsiteY1344" fmla="*/ 397154 h 834466"/>
              <a:gd name="connsiteX1345" fmla="*/ 192596 w 699392"/>
              <a:gd name="connsiteY1345" fmla="*/ 398583 h 834466"/>
              <a:gd name="connsiteX1346" fmla="*/ 191653 w 699392"/>
              <a:gd name="connsiteY1346" fmla="*/ 402022 h 834466"/>
              <a:gd name="connsiteX1347" fmla="*/ 171965 w 699392"/>
              <a:gd name="connsiteY1347" fmla="*/ 450523 h 834466"/>
              <a:gd name="connsiteX1348" fmla="*/ 170564 w 699392"/>
              <a:gd name="connsiteY1348" fmla="*/ 452276 h 834466"/>
              <a:gd name="connsiteX1349" fmla="*/ 167450 w 699392"/>
              <a:gd name="connsiteY1349" fmla="*/ 450875 h 834466"/>
              <a:gd name="connsiteX1350" fmla="*/ 161306 w 699392"/>
              <a:gd name="connsiteY1350" fmla="*/ 451961 h 834466"/>
              <a:gd name="connsiteX1351" fmla="*/ 158830 w 699392"/>
              <a:gd name="connsiteY1351" fmla="*/ 450256 h 834466"/>
              <a:gd name="connsiteX1352" fmla="*/ 160801 w 699392"/>
              <a:gd name="connsiteY1352" fmla="*/ 446923 h 834466"/>
              <a:gd name="connsiteX1353" fmla="*/ 166354 w 699392"/>
              <a:gd name="connsiteY1353" fmla="*/ 443417 h 834466"/>
              <a:gd name="connsiteX1354" fmla="*/ 169336 w 699392"/>
              <a:gd name="connsiteY1354" fmla="*/ 443579 h 834466"/>
              <a:gd name="connsiteX1355" fmla="*/ 172374 w 699392"/>
              <a:gd name="connsiteY1355" fmla="*/ 447885 h 834466"/>
              <a:gd name="connsiteX1356" fmla="*/ 171965 w 699392"/>
              <a:gd name="connsiteY1356" fmla="*/ 450523 h 834466"/>
              <a:gd name="connsiteX1357" fmla="*/ 98165 w 699392"/>
              <a:gd name="connsiteY1357" fmla="*/ 524256 h 834466"/>
              <a:gd name="connsiteX1358" fmla="*/ 95098 w 699392"/>
              <a:gd name="connsiteY1358" fmla="*/ 524399 h 834466"/>
              <a:gd name="connsiteX1359" fmla="*/ 93250 w 699392"/>
              <a:gd name="connsiteY1359" fmla="*/ 523046 h 834466"/>
              <a:gd name="connsiteX1360" fmla="*/ 97641 w 699392"/>
              <a:gd name="connsiteY1360" fmla="*/ 520360 h 834466"/>
              <a:gd name="connsiteX1361" fmla="*/ 104527 w 699392"/>
              <a:gd name="connsiteY1361" fmla="*/ 517788 h 834466"/>
              <a:gd name="connsiteX1362" fmla="*/ 105185 w 699392"/>
              <a:gd name="connsiteY1362" fmla="*/ 516160 h 834466"/>
              <a:gd name="connsiteX1363" fmla="*/ 106013 w 699392"/>
              <a:gd name="connsiteY1363" fmla="*/ 515960 h 834466"/>
              <a:gd name="connsiteX1364" fmla="*/ 107204 w 699392"/>
              <a:gd name="connsiteY1364" fmla="*/ 517960 h 834466"/>
              <a:gd name="connsiteX1365" fmla="*/ 107356 w 699392"/>
              <a:gd name="connsiteY1365" fmla="*/ 520703 h 834466"/>
              <a:gd name="connsiteX1366" fmla="*/ 106594 w 699392"/>
              <a:gd name="connsiteY1366" fmla="*/ 522065 h 834466"/>
              <a:gd name="connsiteX1367" fmla="*/ 98165 w 699392"/>
              <a:gd name="connsiteY1367" fmla="*/ 524256 h 834466"/>
              <a:gd name="connsiteX1368" fmla="*/ 88316 w 699392"/>
              <a:gd name="connsiteY1368" fmla="*/ 543973 h 834466"/>
              <a:gd name="connsiteX1369" fmla="*/ 85697 w 699392"/>
              <a:gd name="connsiteY1369" fmla="*/ 544011 h 834466"/>
              <a:gd name="connsiteX1370" fmla="*/ 82582 w 699392"/>
              <a:gd name="connsiteY1370" fmla="*/ 543097 h 834466"/>
              <a:gd name="connsiteX1371" fmla="*/ 80629 w 699392"/>
              <a:gd name="connsiteY1371" fmla="*/ 541144 h 834466"/>
              <a:gd name="connsiteX1372" fmla="*/ 80324 w 699392"/>
              <a:gd name="connsiteY1372" fmla="*/ 539420 h 834466"/>
              <a:gd name="connsiteX1373" fmla="*/ 83915 w 699392"/>
              <a:gd name="connsiteY1373" fmla="*/ 537277 h 834466"/>
              <a:gd name="connsiteX1374" fmla="*/ 87525 w 699392"/>
              <a:gd name="connsiteY1374" fmla="*/ 536019 h 834466"/>
              <a:gd name="connsiteX1375" fmla="*/ 89202 w 699392"/>
              <a:gd name="connsiteY1375" fmla="*/ 538382 h 834466"/>
              <a:gd name="connsiteX1376" fmla="*/ 89326 w 699392"/>
              <a:gd name="connsiteY1376" fmla="*/ 542249 h 834466"/>
              <a:gd name="connsiteX1377" fmla="*/ 88316 w 699392"/>
              <a:gd name="connsiteY1377" fmla="*/ 543973 h 834466"/>
              <a:gd name="connsiteX1378" fmla="*/ 4277 w 699392"/>
              <a:gd name="connsiteY1378" fmla="*/ 673037 h 834466"/>
              <a:gd name="connsiteX1379" fmla="*/ 1905 w 699392"/>
              <a:gd name="connsiteY1379" fmla="*/ 673732 h 834466"/>
              <a:gd name="connsiteX1380" fmla="*/ 0 w 699392"/>
              <a:gd name="connsiteY1380" fmla="*/ 673132 h 834466"/>
              <a:gd name="connsiteX1381" fmla="*/ 676 w 699392"/>
              <a:gd name="connsiteY1381" fmla="*/ 667855 h 834466"/>
              <a:gd name="connsiteX1382" fmla="*/ 1667 w 699392"/>
              <a:gd name="connsiteY1382" fmla="*/ 666998 h 834466"/>
              <a:gd name="connsiteX1383" fmla="*/ 3105 w 699392"/>
              <a:gd name="connsiteY1383" fmla="*/ 666693 h 834466"/>
              <a:gd name="connsiteX1384" fmla="*/ 4658 w 699392"/>
              <a:gd name="connsiteY1384" fmla="*/ 669522 h 834466"/>
              <a:gd name="connsiteX1385" fmla="*/ 4277 w 699392"/>
              <a:gd name="connsiteY1385" fmla="*/ 673037 h 834466"/>
              <a:gd name="connsiteX1386" fmla="*/ 7677 w 699392"/>
              <a:gd name="connsiteY1386" fmla="*/ 715404 h 834466"/>
              <a:gd name="connsiteX1387" fmla="*/ 7763 w 699392"/>
              <a:gd name="connsiteY1387" fmla="*/ 721795 h 834466"/>
              <a:gd name="connsiteX1388" fmla="*/ 5305 w 699392"/>
              <a:gd name="connsiteY1388" fmla="*/ 721309 h 834466"/>
              <a:gd name="connsiteX1389" fmla="*/ 4201 w 699392"/>
              <a:gd name="connsiteY1389" fmla="*/ 718861 h 834466"/>
              <a:gd name="connsiteX1390" fmla="*/ 3877 w 699392"/>
              <a:gd name="connsiteY1390" fmla="*/ 717290 h 834466"/>
              <a:gd name="connsiteX1391" fmla="*/ 4077 w 699392"/>
              <a:gd name="connsiteY1391" fmla="*/ 713584 h 834466"/>
              <a:gd name="connsiteX1392" fmla="*/ 3524 w 699392"/>
              <a:gd name="connsiteY1392" fmla="*/ 709755 h 834466"/>
              <a:gd name="connsiteX1393" fmla="*/ 4248 w 699392"/>
              <a:gd name="connsiteY1393" fmla="*/ 707850 h 834466"/>
              <a:gd name="connsiteX1394" fmla="*/ 5144 w 699392"/>
              <a:gd name="connsiteY1394" fmla="*/ 707593 h 834466"/>
              <a:gd name="connsiteX1395" fmla="*/ 6734 w 699392"/>
              <a:gd name="connsiteY1395" fmla="*/ 711003 h 834466"/>
              <a:gd name="connsiteX1396" fmla="*/ 7677 w 699392"/>
              <a:gd name="connsiteY1396" fmla="*/ 715404 h 834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</a:cxnLst>
            <a:rect l="l" t="t" r="r" b="b"/>
            <a:pathLst>
              <a:path w="699392" h="834466">
                <a:moveTo>
                  <a:pt x="555689" y="0"/>
                </a:moveTo>
                <a:lnTo>
                  <a:pt x="562833" y="3162"/>
                </a:lnTo>
                <a:lnTo>
                  <a:pt x="565271" y="3096"/>
                </a:lnTo>
                <a:lnTo>
                  <a:pt x="568823" y="8992"/>
                </a:lnTo>
                <a:lnTo>
                  <a:pt x="570672" y="8468"/>
                </a:lnTo>
                <a:lnTo>
                  <a:pt x="570319" y="12049"/>
                </a:lnTo>
                <a:lnTo>
                  <a:pt x="566738" y="13754"/>
                </a:lnTo>
                <a:lnTo>
                  <a:pt x="561165" y="14783"/>
                </a:lnTo>
                <a:lnTo>
                  <a:pt x="560337" y="15497"/>
                </a:lnTo>
                <a:lnTo>
                  <a:pt x="555574" y="14926"/>
                </a:lnTo>
                <a:lnTo>
                  <a:pt x="552898" y="10106"/>
                </a:lnTo>
                <a:lnTo>
                  <a:pt x="548431" y="8915"/>
                </a:lnTo>
                <a:lnTo>
                  <a:pt x="548440" y="7363"/>
                </a:lnTo>
                <a:lnTo>
                  <a:pt x="551336" y="3705"/>
                </a:lnTo>
                <a:lnTo>
                  <a:pt x="555689" y="0"/>
                </a:lnTo>
                <a:close/>
                <a:moveTo>
                  <a:pt x="696926" y="108566"/>
                </a:moveTo>
                <a:lnTo>
                  <a:pt x="698382" y="118710"/>
                </a:lnTo>
                <a:lnTo>
                  <a:pt x="698335" y="122234"/>
                </a:lnTo>
                <a:lnTo>
                  <a:pt x="697649" y="125644"/>
                </a:lnTo>
                <a:lnTo>
                  <a:pt x="696687" y="127387"/>
                </a:lnTo>
                <a:lnTo>
                  <a:pt x="694773" y="128149"/>
                </a:lnTo>
                <a:lnTo>
                  <a:pt x="690134" y="127845"/>
                </a:lnTo>
                <a:lnTo>
                  <a:pt x="683838" y="123854"/>
                </a:lnTo>
                <a:lnTo>
                  <a:pt x="679771" y="120091"/>
                </a:lnTo>
                <a:lnTo>
                  <a:pt x="678504" y="119929"/>
                </a:lnTo>
                <a:lnTo>
                  <a:pt x="677952" y="120386"/>
                </a:lnTo>
                <a:lnTo>
                  <a:pt x="678942" y="124158"/>
                </a:lnTo>
                <a:lnTo>
                  <a:pt x="678675" y="127054"/>
                </a:lnTo>
                <a:lnTo>
                  <a:pt x="678066" y="130197"/>
                </a:lnTo>
                <a:lnTo>
                  <a:pt x="677209" y="133045"/>
                </a:lnTo>
                <a:lnTo>
                  <a:pt x="676018" y="135426"/>
                </a:lnTo>
                <a:lnTo>
                  <a:pt x="673522" y="138493"/>
                </a:lnTo>
                <a:lnTo>
                  <a:pt x="669207" y="140913"/>
                </a:lnTo>
                <a:lnTo>
                  <a:pt x="657330" y="145628"/>
                </a:lnTo>
                <a:lnTo>
                  <a:pt x="656387" y="147704"/>
                </a:lnTo>
                <a:lnTo>
                  <a:pt x="652558" y="160753"/>
                </a:lnTo>
                <a:lnTo>
                  <a:pt x="651520" y="162658"/>
                </a:lnTo>
                <a:lnTo>
                  <a:pt x="650120" y="164268"/>
                </a:lnTo>
                <a:lnTo>
                  <a:pt x="646033" y="166354"/>
                </a:lnTo>
                <a:lnTo>
                  <a:pt x="644052" y="163478"/>
                </a:lnTo>
                <a:lnTo>
                  <a:pt x="642471" y="159106"/>
                </a:lnTo>
                <a:lnTo>
                  <a:pt x="642833" y="154762"/>
                </a:lnTo>
                <a:lnTo>
                  <a:pt x="647605" y="146399"/>
                </a:lnTo>
                <a:lnTo>
                  <a:pt x="652072" y="140446"/>
                </a:lnTo>
                <a:lnTo>
                  <a:pt x="653329" y="138379"/>
                </a:lnTo>
                <a:lnTo>
                  <a:pt x="655863" y="132369"/>
                </a:lnTo>
                <a:lnTo>
                  <a:pt x="650739" y="117186"/>
                </a:lnTo>
                <a:lnTo>
                  <a:pt x="641614" y="112566"/>
                </a:lnTo>
                <a:lnTo>
                  <a:pt x="631222" y="105508"/>
                </a:lnTo>
                <a:lnTo>
                  <a:pt x="627412" y="101737"/>
                </a:lnTo>
                <a:lnTo>
                  <a:pt x="621478" y="93936"/>
                </a:lnTo>
                <a:lnTo>
                  <a:pt x="617277" y="86906"/>
                </a:lnTo>
                <a:lnTo>
                  <a:pt x="613486" y="86658"/>
                </a:lnTo>
                <a:lnTo>
                  <a:pt x="609315" y="88430"/>
                </a:lnTo>
                <a:lnTo>
                  <a:pt x="602799" y="94850"/>
                </a:lnTo>
                <a:lnTo>
                  <a:pt x="598999" y="98069"/>
                </a:lnTo>
                <a:lnTo>
                  <a:pt x="596903" y="99022"/>
                </a:lnTo>
                <a:lnTo>
                  <a:pt x="596399" y="99165"/>
                </a:lnTo>
                <a:lnTo>
                  <a:pt x="591731" y="97346"/>
                </a:lnTo>
                <a:lnTo>
                  <a:pt x="586550" y="96964"/>
                </a:lnTo>
                <a:lnTo>
                  <a:pt x="582378" y="97488"/>
                </a:lnTo>
                <a:lnTo>
                  <a:pt x="580806" y="98365"/>
                </a:lnTo>
                <a:lnTo>
                  <a:pt x="574996" y="108690"/>
                </a:lnTo>
                <a:lnTo>
                  <a:pt x="570929" y="113871"/>
                </a:lnTo>
                <a:lnTo>
                  <a:pt x="568690" y="115653"/>
                </a:lnTo>
                <a:lnTo>
                  <a:pt x="567061" y="118643"/>
                </a:lnTo>
                <a:lnTo>
                  <a:pt x="565728" y="123558"/>
                </a:lnTo>
                <a:lnTo>
                  <a:pt x="562746" y="140475"/>
                </a:lnTo>
                <a:lnTo>
                  <a:pt x="560527" y="146818"/>
                </a:lnTo>
                <a:lnTo>
                  <a:pt x="560032" y="150685"/>
                </a:lnTo>
                <a:lnTo>
                  <a:pt x="560556" y="162344"/>
                </a:lnTo>
                <a:lnTo>
                  <a:pt x="560022" y="168764"/>
                </a:lnTo>
                <a:lnTo>
                  <a:pt x="557308" y="174041"/>
                </a:lnTo>
                <a:lnTo>
                  <a:pt x="555393" y="176412"/>
                </a:lnTo>
                <a:lnTo>
                  <a:pt x="552869" y="176898"/>
                </a:lnTo>
                <a:lnTo>
                  <a:pt x="549564" y="178241"/>
                </a:lnTo>
                <a:lnTo>
                  <a:pt x="546678" y="181280"/>
                </a:lnTo>
                <a:lnTo>
                  <a:pt x="544639" y="185423"/>
                </a:lnTo>
                <a:lnTo>
                  <a:pt x="542344" y="194672"/>
                </a:lnTo>
                <a:lnTo>
                  <a:pt x="538458" y="198063"/>
                </a:lnTo>
                <a:lnTo>
                  <a:pt x="534743" y="197091"/>
                </a:lnTo>
                <a:lnTo>
                  <a:pt x="532095" y="193700"/>
                </a:lnTo>
                <a:lnTo>
                  <a:pt x="526409" y="191071"/>
                </a:lnTo>
                <a:lnTo>
                  <a:pt x="522170" y="189395"/>
                </a:lnTo>
                <a:lnTo>
                  <a:pt x="517417" y="185757"/>
                </a:lnTo>
                <a:lnTo>
                  <a:pt x="513226" y="182985"/>
                </a:lnTo>
                <a:lnTo>
                  <a:pt x="509397" y="182432"/>
                </a:lnTo>
                <a:lnTo>
                  <a:pt x="507216" y="185947"/>
                </a:lnTo>
                <a:lnTo>
                  <a:pt x="505463" y="189224"/>
                </a:lnTo>
                <a:lnTo>
                  <a:pt x="498929" y="191881"/>
                </a:lnTo>
                <a:lnTo>
                  <a:pt x="495224" y="193986"/>
                </a:lnTo>
                <a:lnTo>
                  <a:pt x="490424" y="194453"/>
                </a:lnTo>
                <a:lnTo>
                  <a:pt x="488480" y="192119"/>
                </a:lnTo>
                <a:lnTo>
                  <a:pt x="481508" y="190576"/>
                </a:lnTo>
                <a:lnTo>
                  <a:pt x="473212" y="188747"/>
                </a:lnTo>
                <a:lnTo>
                  <a:pt x="470811" y="188766"/>
                </a:lnTo>
                <a:lnTo>
                  <a:pt x="470059" y="184585"/>
                </a:lnTo>
                <a:lnTo>
                  <a:pt x="467849" y="178727"/>
                </a:lnTo>
                <a:lnTo>
                  <a:pt x="461953" y="168554"/>
                </a:lnTo>
                <a:lnTo>
                  <a:pt x="459543" y="164954"/>
                </a:lnTo>
                <a:lnTo>
                  <a:pt x="455000" y="156467"/>
                </a:lnTo>
                <a:lnTo>
                  <a:pt x="449713" y="147723"/>
                </a:lnTo>
                <a:lnTo>
                  <a:pt x="448961" y="147504"/>
                </a:lnTo>
                <a:lnTo>
                  <a:pt x="445418" y="147209"/>
                </a:lnTo>
                <a:lnTo>
                  <a:pt x="440227" y="147495"/>
                </a:lnTo>
                <a:lnTo>
                  <a:pt x="436931" y="149485"/>
                </a:lnTo>
                <a:lnTo>
                  <a:pt x="434854" y="151981"/>
                </a:lnTo>
                <a:lnTo>
                  <a:pt x="434493" y="154057"/>
                </a:lnTo>
                <a:lnTo>
                  <a:pt x="436502" y="161982"/>
                </a:lnTo>
                <a:lnTo>
                  <a:pt x="435883" y="163954"/>
                </a:lnTo>
                <a:lnTo>
                  <a:pt x="434845" y="164906"/>
                </a:lnTo>
                <a:lnTo>
                  <a:pt x="430130" y="162687"/>
                </a:lnTo>
                <a:lnTo>
                  <a:pt x="424425" y="162839"/>
                </a:lnTo>
                <a:lnTo>
                  <a:pt x="422986" y="165278"/>
                </a:lnTo>
                <a:lnTo>
                  <a:pt x="419510" y="165545"/>
                </a:lnTo>
                <a:lnTo>
                  <a:pt x="409480" y="166468"/>
                </a:lnTo>
                <a:lnTo>
                  <a:pt x="413909" y="172907"/>
                </a:lnTo>
                <a:lnTo>
                  <a:pt x="415376" y="175489"/>
                </a:lnTo>
                <a:lnTo>
                  <a:pt x="415671" y="179260"/>
                </a:lnTo>
                <a:lnTo>
                  <a:pt x="414900" y="186252"/>
                </a:lnTo>
                <a:lnTo>
                  <a:pt x="412775" y="192205"/>
                </a:lnTo>
                <a:lnTo>
                  <a:pt x="410299" y="197034"/>
                </a:lnTo>
                <a:lnTo>
                  <a:pt x="405527" y="201806"/>
                </a:lnTo>
                <a:lnTo>
                  <a:pt x="412775" y="206512"/>
                </a:lnTo>
                <a:lnTo>
                  <a:pt x="407851" y="212846"/>
                </a:lnTo>
                <a:lnTo>
                  <a:pt x="405546" y="215303"/>
                </a:lnTo>
                <a:lnTo>
                  <a:pt x="402879" y="214884"/>
                </a:lnTo>
                <a:lnTo>
                  <a:pt x="398107" y="212703"/>
                </a:lnTo>
                <a:lnTo>
                  <a:pt x="386553" y="207407"/>
                </a:lnTo>
                <a:lnTo>
                  <a:pt x="381038" y="205416"/>
                </a:lnTo>
                <a:lnTo>
                  <a:pt x="376104" y="204807"/>
                </a:lnTo>
                <a:lnTo>
                  <a:pt x="373475" y="204883"/>
                </a:lnTo>
                <a:lnTo>
                  <a:pt x="363017" y="200330"/>
                </a:lnTo>
                <a:lnTo>
                  <a:pt x="360998" y="200835"/>
                </a:lnTo>
                <a:lnTo>
                  <a:pt x="357244" y="202806"/>
                </a:lnTo>
                <a:lnTo>
                  <a:pt x="356826" y="207226"/>
                </a:lnTo>
                <a:lnTo>
                  <a:pt x="357064" y="218170"/>
                </a:lnTo>
                <a:lnTo>
                  <a:pt x="357616" y="226552"/>
                </a:lnTo>
                <a:lnTo>
                  <a:pt x="356235" y="231372"/>
                </a:lnTo>
                <a:lnTo>
                  <a:pt x="354854" y="234639"/>
                </a:lnTo>
                <a:lnTo>
                  <a:pt x="350672" y="243411"/>
                </a:lnTo>
                <a:lnTo>
                  <a:pt x="341262" y="237449"/>
                </a:lnTo>
                <a:lnTo>
                  <a:pt x="334842" y="233486"/>
                </a:lnTo>
                <a:lnTo>
                  <a:pt x="330718" y="238754"/>
                </a:lnTo>
                <a:lnTo>
                  <a:pt x="320383" y="248374"/>
                </a:lnTo>
                <a:lnTo>
                  <a:pt x="315087" y="267195"/>
                </a:lnTo>
                <a:lnTo>
                  <a:pt x="314783" y="267805"/>
                </a:lnTo>
                <a:lnTo>
                  <a:pt x="311648" y="272558"/>
                </a:lnTo>
                <a:lnTo>
                  <a:pt x="307639" y="274739"/>
                </a:lnTo>
                <a:lnTo>
                  <a:pt x="304600" y="275815"/>
                </a:lnTo>
                <a:lnTo>
                  <a:pt x="302829" y="281349"/>
                </a:lnTo>
                <a:lnTo>
                  <a:pt x="306953" y="289246"/>
                </a:lnTo>
                <a:lnTo>
                  <a:pt x="309067" y="293399"/>
                </a:lnTo>
                <a:lnTo>
                  <a:pt x="311039" y="300085"/>
                </a:lnTo>
                <a:lnTo>
                  <a:pt x="310677" y="304324"/>
                </a:lnTo>
                <a:lnTo>
                  <a:pt x="310220" y="306953"/>
                </a:lnTo>
                <a:lnTo>
                  <a:pt x="305791" y="312325"/>
                </a:lnTo>
                <a:lnTo>
                  <a:pt x="296342" y="326431"/>
                </a:lnTo>
                <a:lnTo>
                  <a:pt x="287598" y="341043"/>
                </a:lnTo>
                <a:lnTo>
                  <a:pt x="284016" y="345215"/>
                </a:lnTo>
                <a:lnTo>
                  <a:pt x="285636" y="357483"/>
                </a:lnTo>
                <a:lnTo>
                  <a:pt x="282730" y="361064"/>
                </a:lnTo>
                <a:lnTo>
                  <a:pt x="276806" y="365103"/>
                </a:lnTo>
                <a:lnTo>
                  <a:pt x="273777" y="366655"/>
                </a:lnTo>
                <a:lnTo>
                  <a:pt x="270520" y="367570"/>
                </a:lnTo>
                <a:lnTo>
                  <a:pt x="260499" y="369180"/>
                </a:lnTo>
                <a:lnTo>
                  <a:pt x="262281" y="382134"/>
                </a:lnTo>
                <a:lnTo>
                  <a:pt x="262957" y="387839"/>
                </a:lnTo>
                <a:lnTo>
                  <a:pt x="262947" y="391211"/>
                </a:lnTo>
                <a:lnTo>
                  <a:pt x="261909" y="394497"/>
                </a:lnTo>
                <a:lnTo>
                  <a:pt x="260671" y="400755"/>
                </a:lnTo>
                <a:lnTo>
                  <a:pt x="258804" y="422948"/>
                </a:lnTo>
                <a:lnTo>
                  <a:pt x="257375" y="425320"/>
                </a:lnTo>
                <a:lnTo>
                  <a:pt x="255404" y="431273"/>
                </a:lnTo>
                <a:lnTo>
                  <a:pt x="249060" y="445494"/>
                </a:lnTo>
                <a:lnTo>
                  <a:pt x="243973" y="454885"/>
                </a:lnTo>
                <a:lnTo>
                  <a:pt x="236630" y="468325"/>
                </a:lnTo>
                <a:lnTo>
                  <a:pt x="242602" y="472545"/>
                </a:lnTo>
                <a:lnTo>
                  <a:pt x="248050" y="475621"/>
                </a:lnTo>
                <a:lnTo>
                  <a:pt x="249184" y="480336"/>
                </a:lnTo>
                <a:lnTo>
                  <a:pt x="249936" y="488185"/>
                </a:lnTo>
                <a:lnTo>
                  <a:pt x="249755" y="493509"/>
                </a:lnTo>
                <a:lnTo>
                  <a:pt x="247669" y="498281"/>
                </a:lnTo>
                <a:lnTo>
                  <a:pt x="246050" y="501625"/>
                </a:lnTo>
                <a:lnTo>
                  <a:pt x="244916" y="503253"/>
                </a:lnTo>
                <a:lnTo>
                  <a:pt x="237173" y="501634"/>
                </a:lnTo>
                <a:lnTo>
                  <a:pt x="227248" y="499548"/>
                </a:lnTo>
                <a:lnTo>
                  <a:pt x="224676" y="499529"/>
                </a:lnTo>
                <a:lnTo>
                  <a:pt x="218904" y="501034"/>
                </a:lnTo>
                <a:lnTo>
                  <a:pt x="213693" y="504111"/>
                </a:lnTo>
                <a:lnTo>
                  <a:pt x="210950" y="506701"/>
                </a:lnTo>
                <a:lnTo>
                  <a:pt x="210217" y="507730"/>
                </a:lnTo>
                <a:lnTo>
                  <a:pt x="206750" y="513617"/>
                </a:lnTo>
                <a:lnTo>
                  <a:pt x="200578" y="524018"/>
                </a:lnTo>
                <a:lnTo>
                  <a:pt x="197196" y="528542"/>
                </a:lnTo>
                <a:lnTo>
                  <a:pt x="198187" y="534762"/>
                </a:lnTo>
                <a:lnTo>
                  <a:pt x="192510" y="546716"/>
                </a:lnTo>
                <a:lnTo>
                  <a:pt x="196225" y="558698"/>
                </a:lnTo>
                <a:lnTo>
                  <a:pt x="196387" y="559098"/>
                </a:lnTo>
                <a:lnTo>
                  <a:pt x="198358" y="563918"/>
                </a:lnTo>
                <a:lnTo>
                  <a:pt x="196301" y="567023"/>
                </a:lnTo>
                <a:lnTo>
                  <a:pt x="195434" y="568690"/>
                </a:lnTo>
                <a:lnTo>
                  <a:pt x="195729" y="574167"/>
                </a:lnTo>
                <a:lnTo>
                  <a:pt x="196272" y="580273"/>
                </a:lnTo>
                <a:lnTo>
                  <a:pt x="195796" y="583844"/>
                </a:lnTo>
                <a:lnTo>
                  <a:pt x="195596" y="587797"/>
                </a:lnTo>
                <a:lnTo>
                  <a:pt x="200644" y="605466"/>
                </a:lnTo>
                <a:lnTo>
                  <a:pt x="200587" y="609581"/>
                </a:lnTo>
                <a:lnTo>
                  <a:pt x="200340" y="612229"/>
                </a:lnTo>
                <a:lnTo>
                  <a:pt x="198777" y="623097"/>
                </a:lnTo>
                <a:lnTo>
                  <a:pt x="196682" y="637585"/>
                </a:lnTo>
                <a:lnTo>
                  <a:pt x="200340" y="641366"/>
                </a:lnTo>
                <a:lnTo>
                  <a:pt x="205540" y="645881"/>
                </a:lnTo>
                <a:lnTo>
                  <a:pt x="208464" y="647662"/>
                </a:lnTo>
                <a:lnTo>
                  <a:pt x="212779" y="653015"/>
                </a:lnTo>
                <a:lnTo>
                  <a:pt x="216075" y="658225"/>
                </a:lnTo>
                <a:lnTo>
                  <a:pt x="215617" y="661673"/>
                </a:lnTo>
                <a:lnTo>
                  <a:pt x="214665" y="665474"/>
                </a:lnTo>
                <a:lnTo>
                  <a:pt x="213284" y="668122"/>
                </a:lnTo>
                <a:lnTo>
                  <a:pt x="211979" y="671751"/>
                </a:lnTo>
                <a:lnTo>
                  <a:pt x="211398" y="674427"/>
                </a:lnTo>
                <a:lnTo>
                  <a:pt x="210788" y="675142"/>
                </a:lnTo>
                <a:lnTo>
                  <a:pt x="205026" y="675437"/>
                </a:lnTo>
                <a:lnTo>
                  <a:pt x="201987" y="676447"/>
                </a:lnTo>
                <a:lnTo>
                  <a:pt x="200396" y="677580"/>
                </a:lnTo>
                <a:lnTo>
                  <a:pt x="200939" y="683657"/>
                </a:lnTo>
                <a:lnTo>
                  <a:pt x="204435" y="694735"/>
                </a:lnTo>
                <a:lnTo>
                  <a:pt x="207340" y="702564"/>
                </a:lnTo>
                <a:lnTo>
                  <a:pt x="208274" y="707708"/>
                </a:lnTo>
                <a:lnTo>
                  <a:pt x="207321" y="712908"/>
                </a:lnTo>
                <a:lnTo>
                  <a:pt x="206331" y="715566"/>
                </a:lnTo>
                <a:lnTo>
                  <a:pt x="206302" y="719138"/>
                </a:lnTo>
                <a:lnTo>
                  <a:pt x="205540" y="726224"/>
                </a:lnTo>
                <a:lnTo>
                  <a:pt x="203292" y="729796"/>
                </a:lnTo>
                <a:lnTo>
                  <a:pt x="200349" y="733682"/>
                </a:lnTo>
                <a:lnTo>
                  <a:pt x="197072" y="736578"/>
                </a:lnTo>
                <a:lnTo>
                  <a:pt x="194472" y="737387"/>
                </a:lnTo>
                <a:lnTo>
                  <a:pt x="192243" y="737721"/>
                </a:lnTo>
                <a:lnTo>
                  <a:pt x="190738" y="739188"/>
                </a:lnTo>
                <a:lnTo>
                  <a:pt x="189376" y="743502"/>
                </a:lnTo>
                <a:lnTo>
                  <a:pt x="188119" y="748017"/>
                </a:lnTo>
                <a:lnTo>
                  <a:pt x="184013" y="753561"/>
                </a:lnTo>
                <a:lnTo>
                  <a:pt x="184128" y="755485"/>
                </a:lnTo>
                <a:lnTo>
                  <a:pt x="185690" y="762019"/>
                </a:lnTo>
                <a:lnTo>
                  <a:pt x="187157" y="769430"/>
                </a:lnTo>
                <a:lnTo>
                  <a:pt x="185919" y="776335"/>
                </a:lnTo>
                <a:lnTo>
                  <a:pt x="184861" y="783546"/>
                </a:lnTo>
                <a:lnTo>
                  <a:pt x="183004" y="788337"/>
                </a:lnTo>
                <a:lnTo>
                  <a:pt x="180356" y="790051"/>
                </a:lnTo>
                <a:lnTo>
                  <a:pt x="178413" y="789194"/>
                </a:lnTo>
                <a:lnTo>
                  <a:pt x="176213" y="782622"/>
                </a:lnTo>
                <a:lnTo>
                  <a:pt x="176098" y="781069"/>
                </a:lnTo>
                <a:lnTo>
                  <a:pt x="175555" y="779050"/>
                </a:lnTo>
                <a:lnTo>
                  <a:pt x="169307" y="777040"/>
                </a:lnTo>
                <a:lnTo>
                  <a:pt x="168202" y="777107"/>
                </a:lnTo>
                <a:lnTo>
                  <a:pt x="165745" y="775925"/>
                </a:lnTo>
                <a:lnTo>
                  <a:pt x="164306" y="775592"/>
                </a:lnTo>
                <a:lnTo>
                  <a:pt x="161354" y="774916"/>
                </a:lnTo>
                <a:lnTo>
                  <a:pt x="158896" y="769068"/>
                </a:lnTo>
                <a:lnTo>
                  <a:pt x="156296" y="764191"/>
                </a:lnTo>
                <a:lnTo>
                  <a:pt x="155915" y="762152"/>
                </a:lnTo>
                <a:lnTo>
                  <a:pt x="156010" y="752980"/>
                </a:lnTo>
                <a:lnTo>
                  <a:pt x="155210" y="748884"/>
                </a:lnTo>
                <a:lnTo>
                  <a:pt x="154962" y="744407"/>
                </a:lnTo>
                <a:lnTo>
                  <a:pt x="153324" y="748046"/>
                </a:lnTo>
                <a:lnTo>
                  <a:pt x="154277" y="753789"/>
                </a:lnTo>
                <a:lnTo>
                  <a:pt x="152257" y="756190"/>
                </a:lnTo>
                <a:lnTo>
                  <a:pt x="149695" y="757361"/>
                </a:lnTo>
                <a:lnTo>
                  <a:pt x="149933" y="760705"/>
                </a:lnTo>
                <a:lnTo>
                  <a:pt x="150981" y="761343"/>
                </a:lnTo>
                <a:lnTo>
                  <a:pt x="151200" y="764800"/>
                </a:lnTo>
                <a:lnTo>
                  <a:pt x="150581" y="769925"/>
                </a:lnTo>
                <a:lnTo>
                  <a:pt x="145552" y="781250"/>
                </a:lnTo>
                <a:lnTo>
                  <a:pt x="144542" y="782460"/>
                </a:lnTo>
                <a:lnTo>
                  <a:pt x="143847" y="783984"/>
                </a:lnTo>
                <a:lnTo>
                  <a:pt x="141275" y="782974"/>
                </a:lnTo>
                <a:lnTo>
                  <a:pt x="137970" y="786117"/>
                </a:lnTo>
                <a:lnTo>
                  <a:pt x="134836" y="786622"/>
                </a:lnTo>
                <a:lnTo>
                  <a:pt x="133703" y="783069"/>
                </a:lnTo>
                <a:lnTo>
                  <a:pt x="129292" y="778354"/>
                </a:lnTo>
                <a:lnTo>
                  <a:pt x="127216" y="778621"/>
                </a:lnTo>
                <a:lnTo>
                  <a:pt x="129083" y="780945"/>
                </a:lnTo>
                <a:lnTo>
                  <a:pt x="130931" y="783965"/>
                </a:lnTo>
                <a:lnTo>
                  <a:pt x="129883" y="785955"/>
                </a:lnTo>
                <a:lnTo>
                  <a:pt x="128854" y="787260"/>
                </a:lnTo>
                <a:lnTo>
                  <a:pt x="127054" y="787937"/>
                </a:lnTo>
                <a:lnTo>
                  <a:pt x="120606" y="791870"/>
                </a:lnTo>
                <a:lnTo>
                  <a:pt x="122901" y="794509"/>
                </a:lnTo>
                <a:lnTo>
                  <a:pt x="120948" y="797500"/>
                </a:lnTo>
                <a:lnTo>
                  <a:pt x="118701" y="797938"/>
                </a:lnTo>
                <a:lnTo>
                  <a:pt x="117500" y="799328"/>
                </a:lnTo>
                <a:lnTo>
                  <a:pt x="117082" y="801214"/>
                </a:lnTo>
                <a:lnTo>
                  <a:pt x="110404" y="806596"/>
                </a:lnTo>
                <a:lnTo>
                  <a:pt x="99527" y="820322"/>
                </a:lnTo>
                <a:lnTo>
                  <a:pt x="93936" y="824189"/>
                </a:lnTo>
                <a:lnTo>
                  <a:pt x="90030" y="828189"/>
                </a:lnTo>
                <a:lnTo>
                  <a:pt x="86592" y="828094"/>
                </a:lnTo>
                <a:lnTo>
                  <a:pt x="82267" y="831494"/>
                </a:lnTo>
                <a:lnTo>
                  <a:pt x="71314" y="834466"/>
                </a:lnTo>
                <a:lnTo>
                  <a:pt x="64046" y="833123"/>
                </a:lnTo>
                <a:lnTo>
                  <a:pt x="58988" y="834304"/>
                </a:lnTo>
                <a:lnTo>
                  <a:pt x="56274" y="831971"/>
                </a:lnTo>
                <a:lnTo>
                  <a:pt x="55921" y="830370"/>
                </a:lnTo>
                <a:lnTo>
                  <a:pt x="56055" y="829437"/>
                </a:lnTo>
                <a:lnTo>
                  <a:pt x="56502" y="828313"/>
                </a:lnTo>
                <a:lnTo>
                  <a:pt x="55559" y="827942"/>
                </a:lnTo>
                <a:lnTo>
                  <a:pt x="53578" y="827751"/>
                </a:lnTo>
                <a:lnTo>
                  <a:pt x="52731" y="828875"/>
                </a:lnTo>
                <a:lnTo>
                  <a:pt x="52616" y="831437"/>
                </a:lnTo>
                <a:lnTo>
                  <a:pt x="51673" y="832104"/>
                </a:lnTo>
                <a:lnTo>
                  <a:pt x="47901" y="830637"/>
                </a:lnTo>
                <a:lnTo>
                  <a:pt x="46949" y="829323"/>
                </a:lnTo>
                <a:lnTo>
                  <a:pt x="48301" y="826646"/>
                </a:lnTo>
                <a:lnTo>
                  <a:pt x="50625" y="824236"/>
                </a:lnTo>
                <a:lnTo>
                  <a:pt x="50206" y="823741"/>
                </a:lnTo>
                <a:lnTo>
                  <a:pt x="49759" y="822274"/>
                </a:lnTo>
                <a:lnTo>
                  <a:pt x="48625" y="822084"/>
                </a:lnTo>
                <a:lnTo>
                  <a:pt x="45253" y="822446"/>
                </a:lnTo>
                <a:lnTo>
                  <a:pt x="42510" y="822008"/>
                </a:lnTo>
                <a:lnTo>
                  <a:pt x="33576" y="816569"/>
                </a:lnTo>
                <a:lnTo>
                  <a:pt x="31490" y="813654"/>
                </a:lnTo>
                <a:lnTo>
                  <a:pt x="24279" y="808996"/>
                </a:lnTo>
                <a:lnTo>
                  <a:pt x="21050" y="804043"/>
                </a:lnTo>
                <a:lnTo>
                  <a:pt x="19212" y="798595"/>
                </a:lnTo>
                <a:lnTo>
                  <a:pt x="19355" y="793642"/>
                </a:lnTo>
                <a:lnTo>
                  <a:pt x="20241" y="785765"/>
                </a:lnTo>
                <a:lnTo>
                  <a:pt x="21755" y="783812"/>
                </a:lnTo>
                <a:lnTo>
                  <a:pt x="28223" y="786584"/>
                </a:lnTo>
                <a:lnTo>
                  <a:pt x="34766" y="791194"/>
                </a:lnTo>
                <a:lnTo>
                  <a:pt x="35786" y="790966"/>
                </a:lnTo>
                <a:lnTo>
                  <a:pt x="37843" y="787346"/>
                </a:lnTo>
                <a:lnTo>
                  <a:pt x="41824" y="784431"/>
                </a:lnTo>
                <a:lnTo>
                  <a:pt x="40691" y="783631"/>
                </a:lnTo>
                <a:lnTo>
                  <a:pt x="34766" y="786975"/>
                </a:lnTo>
                <a:lnTo>
                  <a:pt x="32566" y="785127"/>
                </a:lnTo>
                <a:lnTo>
                  <a:pt x="29146" y="781355"/>
                </a:lnTo>
                <a:lnTo>
                  <a:pt x="29146" y="779402"/>
                </a:lnTo>
                <a:lnTo>
                  <a:pt x="30737" y="777450"/>
                </a:lnTo>
                <a:lnTo>
                  <a:pt x="31271" y="774811"/>
                </a:lnTo>
                <a:lnTo>
                  <a:pt x="30442" y="772316"/>
                </a:lnTo>
                <a:lnTo>
                  <a:pt x="30832" y="768915"/>
                </a:lnTo>
                <a:lnTo>
                  <a:pt x="33471" y="765305"/>
                </a:lnTo>
                <a:lnTo>
                  <a:pt x="37433" y="761638"/>
                </a:lnTo>
                <a:lnTo>
                  <a:pt x="40291" y="758085"/>
                </a:lnTo>
                <a:lnTo>
                  <a:pt x="43224" y="755904"/>
                </a:lnTo>
                <a:lnTo>
                  <a:pt x="42920" y="755171"/>
                </a:lnTo>
                <a:lnTo>
                  <a:pt x="39567" y="756561"/>
                </a:lnTo>
                <a:lnTo>
                  <a:pt x="36357" y="758923"/>
                </a:lnTo>
                <a:lnTo>
                  <a:pt x="32585" y="762876"/>
                </a:lnTo>
                <a:lnTo>
                  <a:pt x="27985" y="766067"/>
                </a:lnTo>
                <a:lnTo>
                  <a:pt x="24584" y="767305"/>
                </a:lnTo>
                <a:lnTo>
                  <a:pt x="22965" y="768334"/>
                </a:lnTo>
                <a:lnTo>
                  <a:pt x="20469" y="769325"/>
                </a:lnTo>
                <a:lnTo>
                  <a:pt x="17888" y="773887"/>
                </a:lnTo>
                <a:lnTo>
                  <a:pt x="15069" y="775840"/>
                </a:lnTo>
                <a:lnTo>
                  <a:pt x="10020" y="776040"/>
                </a:lnTo>
                <a:lnTo>
                  <a:pt x="8906" y="772706"/>
                </a:lnTo>
                <a:lnTo>
                  <a:pt x="10335" y="760819"/>
                </a:lnTo>
                <a:lnTo>
                  <a:pt x="11859" y="754999"/>
                </a:lnTo>
                <a:lnTo>
                  <a:pt x="13535" y="750875"/>
                </a:lnTo>
                <a:lnTo>
                  <a:pt x="16164" y="750180"/>
                </a:lnTo>
                <a:lnTo>
                  <a:pt x="18012" y="747151"/>
                </a:lnTo>
                <a:lnTo>
                  <a:pt x="19545" y="747151"/>
                </a:lnTo>
                <a:lnTo>
                  <a:pt x="20879" y="748551"/>
                </a:lnTo>
                <a:lnTo>
                  <a:pt x="26032" y="749903"/>
                </a:lnTo>
                <a:lnTo>
                  <a:pt x="28575" y="746046"/>
                </a:lnTo>
                <a:lnTo>
                  <a:pt x="31880" y="745474"/>
                </a:lnTo>
                <a:lnTo>
                  <a:pt x="37910" y="741569"/>
                </a:lnTo>
                <a:lnTo>
                  <a:pt x="37786" y="740855"/>
                </a:lnTo>
                <a:lnTo>
                  <a:pt x="33709" y="741712"/>
                </a:lnTo>
                <a:lnTo>
                  <a:pt x="31233" y="741836"/>
                </a:lnTo>
                <a:lnTo>
                  <a:pt x="27689" y="742817"/>
                </a:lnTo>
                <a:lnTo>
                  <a:pt x="25803" y="742112"/>
                </a:lnTo>
                <a:lnTo>
                  <a:pt x="24917" y="739188"/>
                </a:lnTo>
                <a:lnTo>
                  <a:pt x="26337" y="736540"/>
                </a:lnTo>
                <a:lnTo>
                  <a:pt x="32023" y="730206"/>
                </a:lnTo>
                <a:lnTo>
                  <a:pt x="33995" y="727424"/>
                </a:lnTo>
                <a:lnTo>
                  <a:pt x="35109" y="724824"/>
                </a:lnTo>
                <a:lnTo>
                  <a:pt x="34928" y="723052"/>
                </a:lnTo>
                <a:lnTo>
                  <a:pt x="35881" y="719376"/>
                </a:lnTo>
                <a:lnTo>
                  <a:pt x="41443" y="712946"/>
                </a:lnTo>
                <a:lnTo>
                  <a:pt x="45977" y="709993"/>
                </a:lnTo>
                <a:lnTo>
                  <a:pt x="47463" y="712527"/>
                </a:lnTo>
                <a:lnTo>
                  <a:pt x="46196" y="720442"/>
                </a:lnTo>
                <a:lnTo>
                  <a:pt x="46206" y="723700"/>
                </a:lnTo>
                <a:lnTo>
                  <a:pt x="49787" y="712175"/>
                </a:lnTo>
                <a:lnTo>
                  <a:pt x="51368" y="709422"/>
                </a:lnTo>
                <a:lnTo>
                  <a:pt x="53159" y="707479"/>
                </a:lnTo>
                <a:lnTo>
                  <a:pt x="57503" y="706174"/>
                </a:lnTo>
                <a:lnTo>
                  <a:pt x="58731" y="704345"/>
                </a:lnTo>
                <a:lnTo>
                  <a:pt x="53664" y="704945"/>
                </a:lnTo>
                <a:lnTo>
                  <a:pt x="41386" y="709365"/>
                </a:lnTo>
                <a:lnTo>
                  <a:pt x="36214" y="713299"/>
                </a:lnTo>
                <a:lnTo>
                  <a:pt x="34833" y="716318"/>
                </a:lnTo>
                <a:lnTo>
                  <a:pt x="31242" y="720871"/>
                </a:lnTo>
                <a:lnTo>
                  <a:pt x="29556" y="723814"/>
                </a:lnTo>
                <a:lnTo>
                  <a:pt x="28813" y="728139"/>
                </a:lnTo>
                <a:lnTo>
                  <a:pt x="26794" y="730482"/>
                </a:lnTo>
                <a:lnTo>
                  <a:pt x="24060" y="731349"/>
                </a:lnTo>
                <a:lnTo>
                  <a:pt x="20269" y="736797"/>
                </a:lnTo>
                <a:lnTo>
                  <a:pt x="18593" y="741169"/>
                </a:lnTo>
                <a:lnTo>
                  <a:pt x="14821" y="744636"/>
                </a:lnTo>
                <a:lnTo>
                  <a:pt x="12430" y="747303"/>
                </a:lnTo>
                <a:lnTo>
                  <a:pt x="11640" y="748255"/>
                </a:lnTo>
                <a:lnTo>
                  <a:pt x="10344" y="750865"/>
                </a:lnTo>
                <a:lnTo>
                  <a:pt x="9268" y="751056"/>
                </a:lnTo>
                <a:lnTo>
                  <a:pt x="8334" y="749522"/>
                </a:lnTo>
                <a:lnTo>
                  <a:pt x="8172" y="746150"/>
                </a:lnTo>
                <a:lnTo>
                  <a:pt x="8554" y="740740"/>
                </a:lnTo>
                <a:lnTo>
                  <a:pt x="10373" y="736835"/>
                </a:lnTo>
                <a:lnTo>
                  <a:pt x="11239" y="733015"/>
                </a:lnTo>
                <a:lnTo>
                  <a:pt x="10040" y="729444"/>
                </a:lnTo>
                <a:lnTo>
                  <a:pt x="10878" y="727177"/>
                </a:lnTo>
                <a:lnTo>
                  <a:pt x="12468" y="727262"/>
                </a:lnTo>
                <a:lnTo>
                  <a:pt x="15440" y="728291"/>
                </a:lnTo>
                <a:lnTo>
                  <a:pt x="18593" y="728129"/>
                </a:lnTo>
                <a:lnTo>
                  <a:pt x="23784" y="725300"/>
                </a:lnTo>
                <a:lnTo>
                  <a:pt x="22955" y="723643"/>
                </a:lnTo>
                <a:lnTo>
                  <a:pt x="20717" y="723405"/>
                </a:lnTo>
                <a:lnTo>
                  <a:pt x="16536" y="723643"/>
                </a:lnTo>
                <a:lnTo>
                  <a:pt x="13021" y="720871"/>
                </a:lnTo>
                <a:lnTo>
                  <a:pt x="10287" y="715347"/>
                </a:lnTo>
                <a:lnTo>
                  <a:pt x="9049" y="707936"/>
                </a:lnTo>
                <a:lnTo>
                  <a:pt x="9878" y="705812"/>
                </a:lnTo>
                <a:lnTo>
                  <a:pt x="19993" y="698230"/>
                </a:lnTo>
                <a:lnTo>
                  <a:pt x="22717" y="694773"/>
                </a:lnTo>
                <a:lnTo>
                  <a:pt x="21136" y="694430"/>
                </a:lnTo>
                <a:lnTo>
                  <a:pt x="17336" y="698621"/>
                </a:lnTo>
                <a:lnTo>
                  <a:pt x="11906" y="701211"/>
                </a:lnTo>
                <a:lnTo>
                  <a:pt x="8477" y="697601"/>
                </a:lnTo>
                <a:lnTo>
                  <a:pt x="6696" y="693706"/>
                </a:lnTo>
                <a:lnTo>
                  <a:pt x="5667" y="685448"/>
                </a:lnTo>
                <a:lnTo>
                  <a:pt x="6039" y="681190"/>
                </a:lnTo>
                <a:lnTo>
                  <a:pt x="5610" y="675580"/>
                </a:lnTo>
                <a:lnTo>
                  <a:pt x="7934" y="673751"/>
                </a:lnTo>
                <a:lnTo>
                  <a:pt x="10525" y="674723"/>
                </a:lnTo>
                <a:lnTo>
                  <a:pt x="13087" y="675084"/>
                </a:lnTo>
                <a:lnTo>
                  <a:pt x="18888" y="674589"/>
                </a:lnTo>
                <a:lnTo>
                  <a:pt x="31690" y="671208"/>
                </a:lnTo>
                <a:lnTo>
                  <a:pt x="39938" y="673218"/>
                </a:lnTo>
                <a:lnTo>
                  <a:pt x="43291" y="673037"/>
                </a:lnTo>
                <a:lnTo>
                  <a:pt x="48425" y="670122"/>
                </a:lnTo>
                <a:lnTo>
                  <a:pt x="52911" y="669827"/>
                </a:lnTo>
                <a:lnTo>
                  <a:pt x="56274" y="672046"/>
                </a:lnTo>
                <a:lnTo>
                  <a:pt x="58112" y="674599"/>
                </a:lnTo>
                <a:lnTo>
                  <a:pt x="58341" y="677999"/>
                </a:lnTo>
                <a:lnTo>
                  <a:pt x="59893" y="680266"/>
                </a:lnTo>
                <a:lnTo>
                  <a:pt x="60941" y="679523"/>
                </a:lnTo>
                <a:lnTo>
                  <a:pt x="60103" y="676827"/>
                </a:lnTo>
                <a:lnTo>
                  <a:pt x="59932" y="672646"/>
                </a:lnTo>
                <a:lnTo>
                  <a:pt x="73428" y="667893"/>
                </a:lnTo>
                <a:lnTo>
                  <a:pt x="75019" y="666045"/>
                </a:lnTo>
                <a:lnTo>
                  <a:pt x="69657" y="665397"/>
                </a:lnTo>
                <a:lnTo>
                  <a:pt x="68123" y="661045"/>
                </a:lnTo>
                <a:lnTo>
                  <a:pt x="70952" y="654434"/>
                </a:lnTo>
                <a:lnTo>
                  <a:pt x="70685" y="653577"/>
                </a:lnTo>
                <a:lnTo>
                  <a:pt x="67704" y="657073"/>
                </a:lnTo>
                <a:lnTo>
                  <a:pt x="66237" y="661968"/>
                </a:lnTo>
                <a:lnTo>
                  <a:pt x="66828" y="665874"/>
                </a:lnTo>
                <a:lnTo>
                  <a:pt x="66237" y="667683"/>
                </a:lnTo>
                <a:lnTo>
                  <a:pt x="63494" y="668512"/>
                </a:lnTo>
                <a:lnTo>
                  <a:pt x="57322" y="668817"/>
                </a:lnTo>
                <a:lnTo>
                  <a:pt x="53359" y="667160"/>
                </a:lnTo>
                <a:lnTo>
                  <a:pt x="49692" y="666264"/>
                </a:lnTo>
                <a:lnTo>
                  <a:pt x="48444" y="665016"/>
                </a:lnTo>
                <a:lnTo>
                  <a:pt x="48863" y="662226"/>
                </a:lnTo>
                <a:lnTo>
                  <a:pt x="48168" y="661645"/>
                </a:lnTo>
                <a:lnTo>
                  <a:pt x="46644" y="664150"/>
                </a:lnTo>
                <a:lnTo>
                  <a:pt x="45291" y="669131"/>
                </a:lnTo>
                <a:lnTo>
                  <a:pt x="42377" y="670284"/>
                </a:lnTo>
                <a:lnTo>
                  <a:pt x="34328" y="668436"/>
                </a:lnTo>
                <a:lnTo>
                  <a:pt x="22679" y="669522"/>
                </a:lnTo>
                <a:lnTo>
                  <a:pt x="17450" y="672017"/>
                </a:lnTo>
                <a:lnTo>
                  <a:pt x="14069" y="671693"/>
                </a:lnTo>
                <a:lnTo>
                  <a:pt x="8239" y="667312"/>
                </a:lnTo>
                <a:lnTo>
                  <a:pt x="5972" y="663816"/>
                </a:lnTo>
                <a:lnTo>
                  <a:pt x="5124" y="656749"/>
                </a:lnTo>
                <a:lnTo>
                  <a:pt x="5467" y="653634"/>
                </a:lnTo>
                <a:lnTo>
                  <a:pt x="10001" y="652320"/>
                </a:lnTo>
                <a:lnTo>
                  <a:pt x="12297" y="652405"/>
                </a:lnTo>
                <a:lnTo>
                  <a:pt x="14449" y="650729"/>
                </a:lnTo>
                <a:lnTo>
                  <a:pt x="12545" y="649634"/>
                </a:lnTo>
                <a:lnTo>
                  <a:pt x="9868" y="647481"/>
                </a:lnTo>
                <a:lnTo>
                  <a:pt x="8049" y="643176"/>
                </a:lnTo>
                <a:lnTo>
                  <a:pt x="5296" y="641766"/>
                </a:lnTo>
                <a:lnTo>
                  <a:pt x="3458" y="638080"/>
                </a:lnTo>
                <a:lnTo>
                  <a:pt x="2991" y="632508"/>
                </a:lnTo>
                <a:lnTo>
                  <a:pt x="3515" y="628621"/>
                </a:lnTo>
                <a:lnTo>
                  <a:pt x="4982" y="627374"/>
                </a:lnTo>
                <a:lnTo>
                  <a:pt x="8515" y="628221"/>
                </a:lnTo>
                <a:lnTo>
                  <a:pt x="17831" y="627564"/>
                </a:lnTo>
                <a:lnTo>
                  <a:pt x="26594" y="631527"/>
                </a:lnTo>
                <a:lnTo>
                  <a:pt x="32547" y="633755"/>
                </a:lnTo>
                <a:lnTo>
                  <a:pt x="44596" y="632631"/>
                </a:lnTo>
                <a:lnTo>
                  <a:pt x="51654" y="629098"/>
                </a:lnTo>
                <a:lnTo>
                  <a:pt x="50359" y="628126"/>
                </a:lnTo>
                <a:lnTo>
                  <a:pt x="42701" y="630164"/>
                </a:lnTo>
                <a:lnTo>
                  <a:pt x="35624" y="630079"/>
                </a:lnTo>
                <a:lnTo>
                  <a:pt x="23146" y="626088"/>
                </a:lnTo>
                <a:lnTo>
                  <a:pt x="18031" y="624802"/>
                </a:lnTo>
                <a:lnTo>
                  <a:pt x="12516" y="625373"/>
                </a:lnTo>
                <a:lnTo>
                  <a:pt x="9649" y="624164"/>
                </a:lnTo>
                <a:lnTo>
                  <a:pt x="7963" y="620201"/>
                </a:lnTo>
                <a:lnTo>
                  <a:pt x="9211" y="612600"/>
                </a:lnTo>
                <a:lnTo>
                  <a:pt x="11820" y="610962"/>
                </a:lnTo>
                <a:lnTo>
                  <a:pt x="13230" y="612943"/>
                </a:lnTo>
                <a:lnTo>
                  <a:pt x="14935" y="613067"/>
                </a:lnTo>
                <a:lnTo>
                  <a:pt x="16669" y="609886"/>
                </a:lnTo>
                <a:lnTo>
                  <a:pt x="18317" y="608067"/>
                </a:lnTo>
                <a:lnTo>
                  <a:pt x="19631" y="603952"/>
                </a:lnTo>
                <a:lnTo>
                  <a:pt x="24575" y="600037"/>
                </a:lnTo>
                <a:lnTo>
                  <a:pt x="26661" y="599704"/>
                </a:lnTo>
                <a:lnTo>
                  <a:pt x="29651" y="597903"/>
                </a:lnTo>
                <a:lnTo>
                  <a:pt x="31566" y="598418"/>
                </a:lnTo>
                <a:lnTo>
                  <a:pt x="32785" y="600227"/>
                </a:lnTo>
                <a:lnTo>
                  <a:pt x="34338" y="601723"/>
                </a:lnTo>
                <a:lnTo>
                  <a:pt x="37690" y="601542"/>
                </a:lnTo>
                <a:lnTo>
                  <a:pt x="47615" y="598399"/>
                </a:lnTo>
                <a:lnTo>
                  <a:pt x="48682" y="597475"/>
                </a:lnTo>
                <a:lnTo>
                  <a:pt x="50616" y="594893"/>
                </a:lnTo>
                <a:lnTo>
                  <a:pt x="44330" y="596046"/>
                </a:lnTo>
                <a:lnTo>
                  <a:pt x="39110" y="597875"/>
                </a:lnTo>
                <a:lnTo>
                  <a:pt x="35748" y="598389"/>
                </a:lnTo>
                <a:lnTo>
                  <a:pt x="35271" y="596094"/>
                </a:lnTo>
                <a:lnTo>
                  <a:pt x="36509" y="594065"/>
                </a:lnTo>
                <a:lnTo>
                  <a:pt x="38453" y="591893"/>
                </a:lnTo>
                <a:lnTo>
                  <a:pt x="39396" y="588188"/>
                </a:lnTo>
                <a:lnTo>
                  <a:pt x="41539" y="586607"/>
                </a:lnTo>
                <a:lnTo>
                  <a:pt x="43853" y="586692"/>
                </a:lnTo>
                <a:lnTo>
                  <a:pt x="48635" y="586016"/>
                </a:lnTo>
                <a:lnTo>
                  <a:pt x="52007" y="585054"/>
                </a:lnTo>
                <a:lnTo>
                  <a:pt x="57788" y="585692"/>
                </a:lnTo>
                <a:lnTo>
                  <a:pt x="66418" y="587111"/>
                </a:lnTo>
                <a:lnTo>
                  <a:pt x="71971" y="590559"/>
                </a:lnTo>
                <a:lnTo>
                  <a:pt x="74066" y="590245"/>
                </a:lnTo>
                <a:lnTo>
                  <a:pt x="76286" y="589331"/>
                </a:lnTo>
                <a:lnTo>
                  <a:pt x="77296" y="588083"/>
                </a:lnTo>
                <a:lnTo>
                  <a:pt x="72933" y="586654"/>
                </a:lnTo>
                <a:lnTo>
                  <a:pt x="72685" y="584606"/>
                </a:lnTo>
                <a:lnTo>
                  <a:pt x="73228" y="583063"/>
                </a:lnTo>
                <a:lnTo>
                  <a:pt x="80353" y="580215"/>
                </a:lnTo>
                <a:lnTo>
                  <a:pt x="88125" y="579587"/>
                </a:lnTo>
                <a:lnTo>
                  <a:pt x="86792" y="577291"/>
                </a:lnTo>
                <a:lnTo>
                  <a:pt x="69761" y="580758"/>
                </a:lnTo>
                <a:lnTo>
                  <a:pt x="65313" y="578387"/>
                </a:lnTo>
                <a:lnTo>
                  <a:pt x="61798" y="578406"/>
                </a:lnTo>
                <a:lnTo>
                  <a:pt x="59503" y="579758"/>
                </a:lnTo>
                <a:lnTo>
                  <a:pt x="52950" y="581397"/>
                </a:lnTo>
                <a:lnTo>
                  <a:pt x="51749" y="580234"/>
                </a:lnTo>
                <a:lnTo>
                  <a:pt x="52997" y="576215"/>
                </a:lnTo>
                <a:lnTo>
                  <a:pt x="56922" y="569605"/>
                </a:lnTo>
                <a:lnTo>
                  <a:pt x="57245" y="567985"/>
                </a:lnTo>
                <a:lnTo>
                  <a:pt x="59065" y="566385"/>
                </a:lnTo>
                <a:lnTo>
                  <a:pt x="69237" y="562527"/>
                </a:lnTo>
                <a:lnTo>
                  <a:pt x="74124" y="558032"/>
                </a:lnTo>
                <a:lnTo>
                  <a:pt x="76324" y="557460"/>
                </a:lnTo>
                <a:lnTo>
                  <a:pt x="78505" y="557775"/>
                </a:lnTo>
                <a:lnTo>
                  <a:pt x="81829" y="557251"/>
                </a:lnTo>
                <a:lnTo>
                  <a:pt x="88249" y="558536"/>
                </a:lnTo>
                <a:lnTo>
                  <a:pt x="91212" y="564156"/>
                </a:lnTo>
                <a:lnTo>
                  <a:pt x="93869" y="565918"/>
                </a:lnTo>
                <a:lnTo>
                  <a:pt x="102222" y="572910"/>
                </a:lnTo>
                <a:lnTo>
                  <a:pt x="101851" y="570910"/>
                </a:lnTo>
                <a:lnTo>
                  <a:pt x="94612" y="561413"/>
                </a:lnTo>
                <a:lnTo>
                  <a:pt x="91850" y="559051"/>
                </a:lnTo>
                <a:lnTo>
                  <a:pt x="89783" y="554365"/>
                </a:lnTo>
                <a:lnTo>
                  <a:pt x="90488" y="549926"/>
                </a:lnTo>
                <a:lnTo>
                  <a:pt x="92812" y="546954"/>
                </a:lnTo>
                <a:lnTo>
                  <a:pt x="101070" y="545363"/>
                </a:lnTo>
                <a:lnTo>
                  <a:pt x="102546" y="543639"/>
                </a:lnTo>
                <a:lnTo>
                  <a:pt x="102699" y="540677"/>
                </a:lnTo>
                <a:lnTo>
                  <a:pt x="101432" y="538648"/>
                </a:lnTo>
                <a:lnTo>
                  <a:pt x="98393" y="538763"/>
                </a:lnTo>
                <a:lnTo>
                  <a:pt x="95888" y="537505"/>
                </a:lnTo>
                <a:lnTo>
                  <a:pt x="95202" y="534305"/>
                </a:lnTo>
                <a:lnTo>
                  <a:pt x="96203" y="532133"/>
                </a:lnTo>
                <a:lnTo>
                  <a:pt x="100965" y="528161"/>
                </a:lnTo>
                <a:lnTo>
                  <a:pt x="103565" y="526875"/>
                </a:lnTo>
                <a:lnTo>
                  <a:pt x="108080" y="525485"/>
                </a:lnTo>
                <a:lnTo>
                  <a:pt x="115919" y="528628"/>
                </a:lnTo>
                <a:lnTo>
                  <a:pt x="116519" y="530266"/>
                </a:lnTo>
                <a:lnTo>
                  <a:pt x="114319" y="534210"/>
                </a:lnTo>
                <a:lnTo>
                  <a:pt x="114538" y="536419"/>
                </a:lnTo>
                <a:lnTo>
                  <a:pt x="116462" y="536658"/>
                </a:lnTo>
                <a:lnTo>
                  <a:pt x="120939" y="530009"/>
                </a:lnTo>
                <a:lnTo>
                  <a:pt x="126206" y="529085"/>
                </a:lnTo>
                <a:lnTo>
                  <a:pt x="128388" y="527656"/>
                </a:lnTo>
                <a:lnTo>
                  <a:pt x="130921" y="526752"/>
                </a:lnTo>
                <a:lnTo>
                  <a:pt x="134531" y="532771"/>
                </a:lnTo>
                <a:lnTo>
                  <a:pt x="136122" y="534695"/>
                </a:lnTo>
                <a:lnTo>
                  <a:pt x="137313" y="535486"/>
                </a:lnTo>
                <a:lnTo>
                  <a:pt x="138465" y="540477"/>
                </a:lnTo>
                <a:lnTo>
                  <a:pt x="139580" y="540744"/>
                </a:lnTo>
                <a:lnTo>
                  <a:pt x="141170" y="538248"/>
                </a:lnTo>
                <a:lnTo>
                  <a:pt x="144056" y="536924"/>
                </a:lnTo>
                <a:lnTo>
                  <a:pt x="148104" y="536057"/>
                </a:lnTo>
                <a:lnTo>
                  <a:pt x="154810" y="537381"/>
                </a:lnTo>
                <a:lnTo>
                  <a:pt x="157849" y="536400"/>
                </a:lnTo>
                <a:lnTo>
                  <a:pt x="159334" y="536543"/>
                </a:lnTo>
                <a:lnTo>
                  <a:pt x="157905" y="532057"/>
                </a:lnTo>
                <a:lnTo>
                  <a:pt x="157020" y="530752"/>
                </a:lnTo>
                <a:lnTo>
                  <a:pt x="158401" y="526733"/>
                </a:lnTo>
                <a:lnTo>
                  <a:pt x="159839" y="525161"/>
                </a:lnTo>
                <a:lnTo>
                  <a:pt x="164468" y="522332"/>
                </a:lnTo>
                <a:lnTo>
                  <a:pt x="168888" y="521065"/>
                </a:lnTo>
                <a:lnTo>
                  <a:pt x="171774" y="518379"/>
                </a:lnTo>
                <a:lnTo>
                  <a:pt x="175651" y="515893"/>
                </a:lnTo>
                <a:lnTo>
                  <a:pt x="175041" y="513912"/>
                </a:lnTo>
                <a:lnTo>
                  <a:pt x="173965" y="511607"/>
                </a:lnTo>
                <a:lnTo>
                  <a:pt x="171450" y="511464"/>
                </a:lnTo>
                <a:lnTo>
                  <a:pt x="170431" y="510207"/>
                </a:lnTo>
                <a:lnTo>
                  <a:pt x="173612" y="507216"/>
                </a:lnTo>
                <a:lnTo>
                  <a:pt x="177975" y="503882"/>
                </a:lnTo>
                <a:lnTo>
                  <a:pt x="177213" y="502568"/>
                </a:lnTo>
                <a:lnTo>
                  <a:pt x="173936" y="501082"/>
                </a:lnTo>
                <a:lnTo>
                  <a:pt x="171450" y="502196"/>
                </a:lnTo>
                <a:lnTo>
                  <a:pt x="167754" y="504777"/>
                </a:lnTo>
                <a:lnTo>
                  <a:pt x="163449" y="508854"/>
                </a:lnTo>
                <a:lnTo>
                  <a:pt x="164849" y="510045"/>
                </a:lnTo>
                <a:lnTo>
                  <a:pt x="167002" y="513464"/>
                </a:lnTo>
                <a:lnTo>
                  <a:pt x="164002" y="517998"/>
                </a:lnTo>
                <a:lnTo>
                  <a:pt x="148076" y="529990"/>
                </a:lnTo>
                <a:lnTo>
                  <a:pt x="140484" y="533486"/>
                </a:lnTo>
                <a:lnTo>
                  <a:pt x="136979" y="532943"/>
                </a:lnTo>
                <a:lnTo>
                  <a:pt x="136141" y="529676"/>
                </a:lnTo>
                <a:lnTo>
                  <a:pt x="134531" y="527266"/>
                </a:lnTo>
                <a:lnTo>
                  <a:pt x="132798" y="522265"/>
                </a:lnTo>
                <a:lnTo>
                  <a:pt x="129845" y="522399"/>
                </a:lnTo>
                <a:lnTo>
                  <a:pt x="128168" y="523504"/>
                </a:lnTo>
                <a:lnTo>
                  <a:pt x="127445" y="521865"/>
                </a:lnTo>
                <a:lnTo>
                  <a:pt x="128711" y="516512"/>
                </a:lnTo>
                <a:lnTo>
                  <a:pt x="131207" y="512274"/>
                </a:lnTo>
                <a:lnTo>
                  <a:pt x="135389" y="509064"/>
                </a:lnTo>
                <a:lnTo>
                  <a:pt x="137398" y="505177"/>
                </a:lnTo>
                <a:lnTo>
                  <a:pt x="139284" y="498996"/>
                </a:lnTo>
                <a:lnTo>
                  <a:pt x="145332" y="493090"/>
                </a:lnTo>
                <a:lnTo>
                  <a:pt x="154134" y="478403"/>
                </a:lnTo>
                <a:lnTo>
                  <a:pt x="161306" y="473688"/>
                </a:lnTo>
                <a:lnTo>
                  <a:pt x="163935" y="468516"/>
                </a:lnTo>
                <a:lnTo>
                  <a:pt x="168164" y="466230"/>
                </a:lnTo>
                <a:lnTo>
                  <a:pt x="171774" y="462182"/>
                </a:lnTo>
                <a:lnTo>
                  <a:pt x="174603" y="461782"/>
                </a:lnTo>
                <a:lnTo>
                  <a:pt x="179746" y="458124"/>
                </a:lnTo>
                <a:lnTo>
                  <a:pt x="182661" y="453761"/>
                </a:lnTo>
                <a:lnTo>
                  <a:pt x="180756" y="453495"/>
                </a:lnTo>
                <a:lnTo>
                  <a:pt x="176232" y="456324"/>
                </a:lnTo>
                <a:lnTo>
                  <a:pt x="173669" y="457467"/>
                </a:lnTo>
                <a:lnTo>
                  <a:pt x="173850" y="452790"/>
                </a:lnTo>
                <a:lnTo>
                  <a:pt x="175089" y="447980"/>
                </a:lnTo>
                <a:lnTo>
                  <a:pt x="178813" y="443570"/>
                </a:lnTo>
                <a:lnTo>
                  <a:pt x="196730" y="430701"/>
                </a:lnTo>
                <a:lnTo>
                  <a:pt x="198520" y="432835"/>
                </a:lnTo>
                <a:lnTo>
                  <a:pt x="200663" y="436607"/>
                </a:lnTo>
                <a:lnTo>
                  <a:pt x="206054" y="435759"/>
                </a:lnTo>
                <a:lnTo>
                  <a:pt x="212208" y="428454"/>
                </a:lnTo>
                <a:lnTo>
                  <a:pt x="216941" y="420481"/>
                </a:lnTo>
                <a:lnTo>
                  <a:pt x="214379" y="421872"/>
                </a:lnTo>
                <a:lnTo>
                  <a:pt x="211589" y="425139"/>
                </a:lnTo>
                <a:lnTo>
                  <a:pt x="206150" y="429663"/>
                </a:lnTo>
                <a:lnTo>
                  <a:pt x="203635" y="430378"/>
                </a:lnTo>
                <a:lnTo>
                  <a:pt x="202197" y="429787"/>
                </a:lnTo>
                <a:lnTo>
                  <a:pt x="201397" y="426768"/>
                </a:lnTo>
                <a:lnTo>
                  <a:pt x="199511" y="425787"/>
                </a:lnTo>
                <a:lnTo>
                  <a:pt x="197806" y="426463"/>
                </a:lnTo>
                <a:lnTo>
                  <a:pt x="196044" y="424310"/>
                </a:lnTo>
                <a:lnTo>
                  <a:pt x="195729" y="418986"/>
                </a:lnTo>
                <a:lnTo>
                  <a:pt x="197977" y="411032"/>
                </a:lnTo>
                <a:lnTo>
                  <a:pt x="199758" y="405755"/>
                </a:lnTo>
                <a:lnTo>
                  <a:pt x="201682" y="401745"/>
                </a:lnTo>
                <a:lnTo>
                  <a:pt x="209245" y="390315"/>
                </a:lnTo>
                <a:lnTo>
                  <a:pt x="210874" y="384048"/>
                </a:lnTo>
                <a:lnTo>
                  <a:pt x="214294" y="380733"/>
                </a:lnTo>
                <a:lnTo>
                  <a:pt x="218732" y="381467"/>
                </a:lnTo>
                <a:lnTo>
                  <a:pt x="220075" y="380505"/>
                </a:lnTo>
                <a:lnTo>
                  <a:pt x="218551" y="376371"/>
                </a:lnTo>
                <a:lnTo>
                  <a:pt x="213713" y="373094"/>
                </a:lnTo>
                <a:lnTo>
                  <a:pt x="213417" y="371027"/>
                </a:lnTo>
                <a:lnTo>
                  <a:pt x="229543" y="365589"/>
                </a:lnTo>
                <a:lnTo>
                  <a:pt x="237220" y="365770"/>
                </a:lnTo>
                <a:lnTo>
                  <a:pt x="239496" y="363055"/>
                </a:lnTo>
                <a:lnTo>
                  <a:pt x="243669" y="361302"/>
                </a:lnTo>
                <a:lnTo>
                  <a:pt x="246831" y="357969"/>
                </a:lnTo>
                <a:lnTo>
                  <a:pt x="245202" y="356492"/>
                </a:lnTo>
                <a:lnTo>
                  <a:pt x="237401" y="359559"/>
                </a:lnTo>
                <a:lnTo>
                  <a:pt x="232524" y="360997"/>
                </a:lnTo>
                <a:lnTo>
                  <a:pt x="230324" y="360950"/>
                </a:lnTo>
                <a:lnTo>
                  <a:pt x="228600" y="361998"/>
                </a:lnTo>
                <a:lnTo>
                  <a:pt x="222371" y="362398"/>
                </a:lnTo>
                <a:lnTo>
                  <a:pt x="221009" y="349091"/>
                </a:lnTo>
                <a:lnTo>
                  <a:pt x="221990" y="341824"/>
                </a:lnTo>
                <a:lnTo>
                  <a:pt x="224314" y="341976"/>
                </a:lnTo>
                <a:lnTo>
                  <a:pt x="224847" y="335013"/>
                </a:lnTo>
                <a:lnTo>
                  <a:pt x="227533" y="330889"/>
                </a:lnTo>
                <a:lnTo>
                  <a:pt x="231238" y="329965"/>
                </a:lnTo>
                <a:lnTo>
                  <a:pt x="233106" y="328203"/>
                </a:lnTo>
                <a:lnTo>
                  <a:pt x="235801" y="324602"/>
                </a:lnTo>
                <a:lnTo>
                  <a:pt x="240259" y="325431"/>
                </a:lnTo>
                <a:lnTo>
                  <a:pt x="244840" y="324631"/>
                </a:lnTo>
                <a:lnTo>
                  <a:pt x="243697" y="322926"/>
                </a:lnTo>
                <a:lnTo>
                  <a:pt x="238011" y="320735"/>
                </a:lnTo>
                <a:lnTo>
                  <a:pt x="236611" y="316963"/>
                </a:lnTo>
                <a:lnTo>
                  <a:pt x="238611" y="314849"/>
                </a:lnTo>
                <a:lnTo>
                  <a:pt x="240792" y="313296"/>
                </a:lnTo>
                <a:lnTo>
                  <a:pt x="242716" y="313020"/>
                </a:lnTo>
                <a:lnTo>
                  <a:pt x="246516" y="305619"/>
                </a:lnTo>
                <a:lnTo>
                  <a:pt x="248831" y="302447"/>
                </a:lnTo>
                <a:lnTo>
                  <a:pt x="251413" y="303000"/>
                </a:lnTo>
                <a:lnTo>
                  <a:pt x="255013" y="299723"/>
                </a:lnTo>
                <a:lnTo>
                  <a:pt x="258556" y="300838"/>
                </a:lnTo>
                <a:lnTo>
                  <a:pt x="261976" y="298694"/>
                </a:lnTo>
                <a:lnTo>
                  <a:pt x="266652" y="297275"/>
                </a:lnTo>
                <a:lnTo>
                  <a:pt x="283769" y="296732"/>
                </a:lnTo>
                <a:lnTo>
                  <a:pt x="284274" y="293675"/>
                </a:lnTo>
                <a:lnTo>
                  <a:pt x="280673" y="292970"/>
                </a:lnTo>
                <a:lnTo>
                  <a:pt x="267957" y="292179"/>
                </a:lnTo>
                <a:lnTo>
                  <a:pt x="261461" y="292246"/>
                </a:lnTo>
                <a:lnTo>
                  <a:pt x="258728" y="293037"/>
                </a:lnTo>
                <a:lnTo>
                  <a:pt x="257727" y="291970"/>
                </a:lnTo>
                <a:lnTo>
                  <a:pt x="257909" y="290141"/>
                </a:lnTo>
                <a:lnTo>
                  <a:pt x="260271" y="287236"/>
                </a:lnTo>
                <a:lnTo>
                  <a:pt x="261385" y="284026"/>
                </a:lnTo>
                <a:lnTo>
                  <a:pt x="266109" y="276158"/>
                </a:lnTo>
                <a:lnTo>
                  <a:pt x="271643" y="270900"/>
                </a:lnTo>
                <a:lnTo>
                  <a:pt x="275882" y="272244"/>
                </a:lnTo>
                <a:lnTo>
                  <a:pt x="280388" y="277263"/>
                </a:lnTo>
                <a:lnTo>
                  <a:pt x="283597" y="277892"/>
                </a:lnTo>
                <a:lnTo>
                  <a:pt x="285093" y="279511"/>
                </a:lnTo>
                <a:lnTo>
                  <a:pt x="287436" y="286407"/>
                </a:lnTo>
                <a:lnTo>
                  <a:pt x="288550" y="286626"/>
                </a:lnTo>
                <a:lnTo>
                  <a:pt x="288046" y="280006"/>
                </a:lnTo>
                <a:lnTo>
                  <a:pt x="291141" y="274596"/>
                </a:lnTo>
                <a:lnTo>
                  <a:pt x="290341" y="273101"/>
                </a:lnTo>
                <a:lnTo>
                  <a:pt x="285693" y="275063"/>
                </a:lnTo>
                <a:lnTo>
                  <a:pt x="282130" y="273025"/>
                </a:lnTo>
                <a:lnTo>
                  <a:pt x="279321" y="268948"/>
                </a:lnTo>
                <a:lnTo>
                  <a:pt x="278521" y="265214"/>
                </a:lnTo>
                <a:lnTo>
                  <a:pt x="280273" y="261518"/>
                </a:lnTo>
                <a:lnTo>
                  <a:pt x="281921" y="259651"/>
                </a:lnTo>
                <a:lnTo>
                  <a:pt x="280807" y="257470"/>
                </a:lnTo>
                <a:lnTo>
                  <a:pt x="273777" y="263290"/>
                </a:lnTo>
                <a:lnTo>
                  <a:pt x="268805" y="264652"/>
                </a:lnTo>
                <a:lnTo>
                  <a:pt x="266843" y="263842"/>
                </a:lnTo>
                <a:lnTo>
                  <a:pt x="267901" y="258566"/>
                </a:lnTo>
                <a:lnTo>
                  <a:pt x="267310" y="254365"/>
                </a:lnTo>
                <a:lnTo>
                  <a:pt x="273977" y="243983"/>
                </a:lnTo>
                <a:lnTo>
                  <a:pt x="276273" y="242783"/>
                </a:lnTo>
                <a:lnTo>
                  <a:pt x="280016" y="243621"/>
                </a:lnTo>
                <a:lnTo>
                  <a:pt x="283397" y="246555"/>
                </a:lnTo>
                <a:lnTo>
                  <a:pt x="286226" y="246088"/>
                </a:lnTo>
                <a:lnTo>
                  <a:pt x="289293" y="244516"/>
                </a:lnTo>
                <a:lnTo>
                  <a:pt x="288874" y="241697"/>
                </a:lnTo>
                <a:lnTo>
                  <a:pt x="282226" y="240573"/>
                </a:lnTo>
                <a:lnTo>
                  <a:pt x="280511" y="238230"/>
                </a:lnTo>
                <a:lnTo>
                  <a:pt x="281131" y="235915"/>
                </a:lnTo>
                <a:lnTo>
                  <a:pt x="285693" y="233477"/>
                </a:lnTo>
                <a:lnTo>
                  <a:pt x="290236" y="229067"/>
                </a:lnTo>
                <a:lnTo>
                  <a:pt x="295437" y="227781"/>
                </a:lnTo>
                <a:lnTo>
                  <a:pt x="299618" y="224438"/>
                </a:lnTo>
                <a:lnTo>
                  <a:pt x="300428" y="225200"/>
                </a:lnTo>
                <a:lnTo>
                  <a:pt x="301133" y="226514"/>
                </a:lnTo>
                <a:lnTo>
                  <a:pt x="302638" y="238877"/>
                </a:lnTo>
                <a:lnTo>
                  <a:pt x="306381" y="248898"/>
                </a:lnTo>
                <a:lnTo>
                  <a:pt x="307763" y="249260"/>
                </a:lnTo>
                <a:lnTo>
                  <a:pt x="306324" y="240744"/>
                </a:lnTo>
                <a:lnTo>
                  <a:pt x="307667" y="238287"/>
                </a:lnTo>
                <a:lnTo>
                  <a:pt x="309363" y="236420"/>
                </a:lnTo>
                <a:lnTo>
                  <a:pt x="309896" y="234286"/>
                </a:lnTo>
                <a:lnTo>
                  <a:pt x="307953" y="233562"/>
                </a:lnTo>
                <a:lnTo>
                  <a:pt x="306362" y="230496"/>
                </a:lnTo>
                <a:lnTo>
                  <a:pt x="304095" y="220656"/>
                </a:lnTo>
                <a:lnTo>
                  <a:pt x="304876" y="218084"/>
                </a:lnTo>
                <a:lnTo>
                  <a:pt x="309801" y="212808"/>
                </a:lnTo>
                <a:lnTo>
                  <a:pt x="315973" y="211598"/>
                </a:lnTo>
                <a:lnTo>
                  <a:pt x="322545" y="215294"/>
                </a:lnTo>
                <a:lnTo>
                  <a:pt x="324860" y="215332"/>
                </a:lnTo>
                <a:lnTo>
                  <a:pt x="328669" y="214341"/>
                </a:lnTo>
                <a:lnTo>
                  <a:pt x="335137" y="211293"/>
                </a:lnTo>
                <a:lnTo>
                  <a:pt x="338947" y="210131"/>
                </a:lnTo>
                <a:lnTo>
                  <a:pt x="340929" y="210131"/>
                </a:lnTo>
                <a:lnTo>
                  <a:pt x="341414" y="208588"/>
                </a:lnTo>
                <a:lnTo>
                  <a:pt x="339576" y="207597"/>
                </a:lnTo>
                <a:lnTo>
                  <a:pt x="338985" y="206635"/>
                </a:lnTo>
                <a:lnTo>
                  <a:pt x="337547" y="206083"/>
                </a:lnTo>
                <a:lnTo>
                  <a:pt x="331565" y="207731"/>
                </a:lnTo>
                <a:lnTo>
                  <a:pt x="315059" y="207207"/>
                </a:lnTo>
                <a:lnTo>
                  <a:pt x="313468" y="205445"/>
                </a:lnTo>
                <a:lnTo>
                  <a:pt x="313173" y="202387"/>
                </a:lnTo>
                <a:lnTo>
                  <a:pt x="314925" y="198006"/>
                </a:lnTo>
                <a:lnTo>
                  <a:pt x="316849" y="195577"/>
                </a:lnTo>
                <a:lnTo>
                  <a:pt x="323079" y="191205"/>
                </a:lnTo>
                <a:lnTo>
                  <a:pt x="329660" y="190614"/>
                </a:lnTo>
                <a:lnTo>
                  <a:pt x="336604" y="182813"/>
                </a:lnTo>
                <a:lnTo>
                  <a:pt x="339252" y="176946"/>
                </a:lnTo>
                <a:lnTo>
                  <a:pt x="340757" y="167850"/>
                </a:lnTo>
                <a:lnTo>
                  <a:pt x="344986" y="160458"/>
                </a:lnTo>
                <a:lnTo>
                  <a:pt x="355597" y="156239"/>
                </a:lnTo>
                <a:lnTo>
                  <a:pt x="356025" y="154372"/>
                </a:lnTo>
                <a:lnTo>
                  <a:pt x="354902" y="150495"/>
                </a:lnTo>
                <a:lnTo>
                  <a:pt x="354997" y="143504"/>
                </a:lnTo>
                <a:lnTo>
                  <a:pt x="357902" y="135322"/>
                </a:lnTo>
                <a:lnTo>
                  <a:pt x="359836" y="132474"/>
                </a:lnTo>
                <a:lnTo>
                  <a:pt x="360731" y="132131"/>
                </a:lnTo>
                <a:lnTo>
                  <a:pt x="363017" y="134817"/>
                </a:lnTo>
                <a:lnTo>
                  <a:pt x="365798" y="140513"/>
                </a:lnTo>
                <a:lnTo>
                  <a:pt x="370151" y="143770"/>
                </a:lnTo>
                <a:lnTo>
                  <a:pt x="375857" y="144332"/>
                </a:lnTo>
                <a:lnTo>
                  <a:pt x="377380" y="142732"/>
                </a:lnTo>
                <a:lnTo>
                  <a:pt x="372952" y="139494"/>
                </a:lnTo>
                <a:lnTo>
                  <a:pt x="369589" y="135246"/>
                </a:lnTo>
                <a:lnTo>
                  <a:pt x="369322" y="130969"/>
                </a:lnTo>
                <a:lnTo>
                  <a:pt x="370913" y="128702"/>
                </a:lnTo>
                <a:lnTo>
                  <a:pt x="373389" y="128949"/>
                </a:lnTo>
                <a:lnTo>
                  <a:pt x="376494" y="128473"/>
                </a:lnTo>
                <a:lnTo>
                  <a:pt x="379390" y="125587"/>
                </a:lnTo>
                <a:lnTo>
                  <a:pt x="379809" y="123558"/>
                </a:lnTo>
                <a:lnTo>
                  <a:pt x="379933" y="120796"/>
                </a:lnTo>
                <a:lnTo>
                  <a:pt x="380657" y="117986"/>
                </a:lnTo>
                <a:lnTo>
                  <a:pt x="384906" y="111252"/>
                </a:lnTo>
                <a:lnTo>
                  <a:pt x="397993" y="106861"/>
                </a:lnTo>
                <a:lnTo>
                  <a:pt x="398945" y="108652"/>
                </a:lnTo>
                <a:lnTo>
                  <a:pt x="398240" y="121634"/>
                </a:lnTo>
                <a:lnTo>
                  <a:pt x="396735" y="129978"/>
                </a:lnTo>
                <a:lnTo>
                  <a:pt x="396783" y="136055"/>
                </a:lnTo>
                <a:lnTo>
                  <a:pt x="399336" y="129978"/>
                </a:lnTo>
                <a:lnTo>
                  <a:pt x="402746" y="113243"/>
                </a:lnTo>
                <a:lnTo>
                  <a:pt x="405317" y="105318"/>
                </a:lnTo>
                <a:lnTo>
                  <a:pt x="408213" y="100755"/>
                </a:lnTo>
                <a:lnTo>
                  <a:pt x="410280" y="99727"/>
                </a:lnTo>
                <a:lnTo>
                  <a:pt x="412328" y="97355"/>
                </a:lnTo>
                <a:lnTo>
                  <a:pt x="415033" y="95945"/>
                </a:lnTo>
                <a:lnTo>
                  <a:pt x="415862" y="97765"/>
                </a:lnTo>
                <a:lnTo>
                  <a:pt x="416719" y="101984"/>
                </a:lnTo>
                <a:lnTo>
                  <a:pt x="415261" y="116710"/>
                </a:lnTo>
                <a:lnTo>
                  <a:pt x="415404" y="121339"/>
                </a:lnTo>
                <a:lnTo>
                  <a:pt x="413775" y="127521"/>
                </a:lnTo>
                <a:lnTo>
                  <a:pt x="407537" y="141227"/>
                </a:lnTo>
                <a:lnTo>
                  <a:pt x="407822" y="142970"/>
                </a:lnTo>
                <a:lnTo>
                  <a:pt x="409232" y="142323"/>
                </a:lnTo>
                <a:lnTo>
                  <a:pt x="411642" y="140075"/>
                </a:lnTo>
                <a:lnTo>
                  <a:pt x="419376" y="127044"/>
                </a:lnTo>
                <a:lnTo>
                  <a:pt x="426130" y="128692"/>
                </a:lnTo>
                <a:lnTo>
                  <a:pt x="426215" y="127625"/>
                </a:lnTo>
                <a:lnTo>
                  <a:pt x="424043" y="123787"/>
                </a:lnTo>
                <a:lnTo>
                  <a:pt x="421405" y="120101"/>
                </a:lnTo>
                <a:lnTo>
                  <a:pt x="420605" y="115529"/>
                </a:lnTo>
                <a:lnTo>
                  <a:pt x="420957" y="103261"/>
                </a:lnTo>
                <a:lnTo>
                  <a:pt x="422996" y="98374"/>
                </a:lnTo>
                <a:lnTo>
                  <a:pt x="428825" y="98889"/>
                </a:lnTo>
                <a:lnTo>
                  <a:pt x="432321" y="98212"/>
                </a:lnTo>
                <a:lnTo>
                  <a:pt x="433950" y="100432"/>
                </a:lnTo>
                <a:lnTo>
                  <a:pt x="437445" y="100270"/>
                </a:lnTo>
                <a:lnTo>
                  <a:pt x="439864" y="91411"/>
                </a:lnTo>
                <a:lnTo>
                  <a:pt x="444655" y="90630"/>
                </a:lnTo>
                <a:lnTo>
                  <a:pt x="448866" y="96498"/>
                </a:lnTo>
                <a:lnTo>
                  <a:pt x="453923" y="100432"/>
                </a:lnTo>
                <a:lnTo>
                  <a:pt x="457991" y="106070"/>
                </a:lnTo>
                <a:lnTo>
                  <a:pt x="459143" y="104527"/>
                </a:lnTo>
                <a:lnTo>
                  <a:pt x="456952" y="91326"/>
                </a:lnTo>
                <a:lnTo>
                  <a:pt x="454552" y="86487"/>
                </a:lnTo>
                <a:lnTo>
                  <a:pt x="449342" y="83963"/>
                </a:lnTo>
                <a:lnTo>
                  <a:pt x="443789" y="77972"/>
                </a:lnTo>
                <a:lnTo>
                  <a:pt x="442350" y="75305"/>
                </a:lnTo>
                <a:lnTo>
                  <a:pt x="442598" y="73323"/>
                </a:lnTo>
                <a:lnTo>
                  <a:pt x="447494" y="71409"/>
                </a:lnTo>
                <a:lnTo>
                  <a:pt x="453952" y="73609"/>
                </a:lnTo>
                <a:lnTo>
                  <a:pt x="459705" y="68590"/>
                </a:lnTo>
                <a:lnTo>
                  <a:pt x="461277" y="69971"/>
                </a:lnTo>
                <a:lnTo>
                  <a:pt x="465687" y="67342"/>
                </a:lnTo>
                <a:lnTo>
                  <a:pt x="468430" y="70885"/>
                </a:lnTo>
                <a:lnTo>
                  <a:pt x="470116" y="69837"/>
                </a:lnTo>
                <a:lnTo>
                  <a:pt x="471088" y="65084"/>
                </a:lnTo>
                <a:lnTo>
                  <a:pt x="478127" y="62132"/>
                </a:lnTo>
                <a:lnTo>
                  <a:pt x="482594" y="64865"/>
                </a:lnTo>
                <a:lnTo>
                  <a:pt x="484984" y="67675"/>
                </a:lnTo>
                <a:lnTo>
                  <a:pt x="486099" y="73076"/>
                </a:lnTo>
                <a:lnTo>
                  <a:pt x="487804" y="83696"/>
                </a:lnTo>
                <a:lnTo>
                  <a:pt x="491290" y="89402"/>
                </a:lnTo>
                <a:lnTo>
                  <a:pt x="493462" y="92192"/>
                </a:lnTo>
                <a:lnTo>
                  <a:pt x="496024" y="92964"/>
                </a:lnTo>
                <a:lnTo>
                  <a:pt x="497262" y="90126"/>
                </a:lnTo>
                <a:lnTo>
                  <a:pt x="494862" y="86697"/>
                </a:lnTo>
                <a:lnTo>
                  <a:pt x="494214" y="83458"/>
                </a:lnTo>
                <a:lnTo>
                  <a:pt x="495367" y="75400"/>
                </a:lnTo>
                <a:lnTo>
                  <a:pt x="496710" y="72228"/>
                </a:lnTo>
                <a:lnTo>
                  <a:pt x="504244" y="60141"/>
                </a:lnTo>
                <a:lnTo>
                  <a:pt x="510550" y="53835"/>
                </a:lnTo>
                <a:lnTo>
                  <a:pt x="514322" y="53302"/>
                </a:lnTo>
                <a:lnTo>
                  <a:pt x="520932" y="39081"/>
                </a:lnTo>
                <a:lnTo>
                  <a:pt x="522799" y="36481"/>
                </a:lnTo>
                <a:lnTo>
                  <a:pt x="524523" y="35881"/>
                </a:lnTo>
                <a:lnTo>
                  <a:pt x="524085" y="32375"/>
                </a:lnTo>
                <a:lnTo>
                  <a:pt x="520475" y="30156"/>
                </a:lnTo>
                <a:lnTo>
                  <a:pt x="520351" y="25794"/>
                </a:lnTo>
                <a:lnTo>
                  <a:pt x="525113" y="20479"/>
                </a:lnTo>
                <a:lnTo>
                  <a:pt x="530895" y="11516"/>
                </a:lnTo>
                <a:lnTo>
                  <a:pt x="533743" y="10916"/>
                </a:lnTo>
                <a:lnTo>
                  <a:pt x="535534" y="13411"/>
                </a:lnTo>
                <a:lnTo>
                  <a:pt x="541163" y="17459"/>
                </a:lnTo>
                <a:lnTo>
                  <a:pt x="544611" y="22079"/>
                </a:lnTo>
                <a:lnTo>
                  <a:pt x="547107" y="24403"/>
                </a:lnTo>
                <a:lnTo>
                  <a:pt x="548726" y="23917"/>
                </a:lnTo>
                <a:lnTo>
                  <a:pt x="550069" y="20450"/>
                </a:lnTo>
                <a:lnTo>
                  <a:pt x="551688" y="18821"/>
                </a:lnTo>
                <a:lnTo>
                  <a:pt x="555260" y="19736"/>
                </a:lnTo>
                <a:lnTo>
                  <a:pt x="557393" y="21965"/>
                </a:lnTo>
                <a:lnTo>
                  <a:pt x="559061" y="22260"/>
                </a:lnTo>
                <a:lnTo>
                  <a:pt x="560565" y="23613"/>
                </a:lnTo>
                <a:lnTo>
                  <a:pt x="560918" y="26575"/>
                </a:lnTo>
                <a:lnTo>
                  <a:pt x="557822" y="29804"/>
                </a:lnTo>
                <a:lnTo>
                  <a:pt x="552545" y="38310"/>
                </a:lnTo>
                <a:lnTo>
                  <a:pt x="547345" y="47930"/>
                </a:lnTo>
                <a:lnTo>
                  <a:pt x="545630" y="52978"/>
                </a:lnTo>
                <a:lnTo>
                  <a:pt x="543944" y="66151"/>
                </a:lnTo>
                <a:lnTo>
                  <a:pt x="539877" y="74524"/>
                </a:lnTo>
                <a:lnTo>
                  <a:pt x="539563" y="80372"/>
                </a:lnTo>
                <a:lnTo>
                  <a:pt x="541201" y="83115"/>
                </a:lnTo>
                <a:lnTo>
                  <a:pt x="545687" y="80963"/>
                </a:lnTo>
                <a:lnTo>
                  <a:pt x="551222" y="73162"/>
                </a:lnTo>
                <a:lnTo>
                  <a:pt x="552602" y="64837"/>
                </a:lnTo>
                <a:lnTo>
                  <a:pt x="566442" y="42062"/>
                </a:lnTo>
                <a:lnTo>
                  <a:pt x="572938" y="29356"/>
                </a:lnTo>
                <a:lnTo>
                  <a:pt x="580311" y="18755"/>
                </a:lnTo>
                <a:lnTo>
                  <a:pt x="584445" y="16554"/>
                </a:lnTo>
                <a:lnTo>
                  <a:pt x="586387" y="23593"/>
                </a:lnTo>
                <a:lnTo>
                  <a:pt x="584825" y="32737"/>
                </a:lnTo>
                <a:lnTo>
                  <a:pt x="581692" y="38538"/>
                </a:lnTo>
                <a:lnTo>
                  <a:pt x="584006" y="41196"/>
                </a:lnTo>
                <a:lnTo>
                  <a:pt x="583568" y="48054"/>
                </a:lnTo>
                <a:lnTo>
                  <a:pt x="582844" y="51854"/>
                </a:lnTo>
                <a:lnTo>
                  <a:pt x="582387" y="55826"/>
                </a:lnTo>
                <a:lnTo>
                  <a:pt x="582416" y="59312"/>
                </a:lnTo>
                <a:lnTo>
                  <a:pt x="584588" y="58379"/>
                </a:lnTo>
                <a:lnTo>
                  <a:pt x="593227" y="51216"/>
                </a:lnTo>
                <a:lnTo>
                  <a:pt x="595417" y="43425"/>
                </a:lnTo>
                <a:lnTo>
                  <a:pt x="597446" y="37557"/>
                </a:lnTo>
                <a:lnTo>
                  <a:pt x="598418" y="32480"/>
                </a:lnTo>
                <a:lnTo>
                  <a:pt x="601780" y="27651"/>
                </a:lnTo>
                <a:lnTo>
                  <a:pt x="608124" y="27613"/>
                </a:lnTo>
                <a:lnTo>
                  <a:pt x="608372" y="25708"/>
                </a:lnTo>
                <a:lnTo>
                  <a:pt x="600675" y="19069"/>
                </a:lnTo>
                <a:lnTo>
                  <a:pt x="599770" y="16031"/>
                </a:lnTo>
                <a:lnTo>
                  <a:pt x="602352" y="11973"/>
                </a:lnTo>
                <a:lnTo>
                  <a:pt x="609448" y="4200"/>
                </a:lnTo>
                <a:lnTo>
                  <a:pt x="613096" y="5058"/>
                </a:lnTo>
                <a:lnTo>
                  <a:pt x="615277" y="6829"/>
                </a:lnTo>
                <a:lnTo>
                  <a:pt x="624011" y="8182"/>
                </a:lnTo>
                <a:lnTo>
                  <a:pt x="630717" y="13735"/>
                </a:lnTo>
                <a:lnTo>
                  <a:pt x="630460" y="22393"/>
                </a:lnTo>
                <a:lnTo>
                  <a:pt x="628965" y="25994"/>
                </a:lnTo>
                <a:lnTo>
                  <a:pt x="627498" y="28204"/>
                </a:lnTo>
                <a:lnTo>
                  <a:pt x="618916" y="34719"/>
                </a:lnTo>
                <a:lnTo>
                  <a:pt x="617506" y="37929"/>
                </a:lnTo>
                <a:lnTo>
                  <a:pt x="620202" y="39033"/>
                </a:lnTo>
                <a:lnTo>
                  <a:pt x="625993" y="35795"/>
                </a:lnTo>
                <a:lnTo>
                  <a:pt x="627498" y="38738"/>
                </a:lnTo>
                <a:lnTo>
                  <a:pt x="625650" y="46072"/>
                </a:lnTo>
                <a:lnTo>
                  <a:pt x="625335" y="57017"/>
                </a:lnTo>
                <a:lnTo>
                  <a:pt x="624669" y="63370"/>
                </a:lnTo>
                <a:lnTo>
                  <a:pt x="624669" y="69142"/>
                </a:lnTo>
                <a:lnTo>
                  <a:pt x="625393" y="72238"/>
                </a:lnTo>
                <a:lnTo>
                  <a:pt x="627726" y="59950"/>
                </a:lnTo>
                <a:lnTo>
                  <a:pt x="628517" y="56779"/>
                </a:lnTo>
                <a:lnTo>
                  <a:pt x="631927" y="52121"/>
                </a:lnTo>
                <a:lnTo>
                  <a:pt x="633193" y="42701"/>
                </a:lnTo>
                <a:lnTo>
                  <a:pt x="636527" y="31318"/>
                </a:lnTo>
                <a:lnTo>
                  <a:pt x="640289" y="24670"/>
                </a:lnTo>
                <a:lnTo>
                  <a:pt x="642471" y="22850"/>
                </a:lnTo>
                <a:lnTo>
                  <a:pt x="649710" y="23108"/>
                </a:lnTo>
                <a:lnTo>
                  <a:pt x="652815" y="25613"/>
                </a:lnTo>
                <a:lnTo>
                  <a:pt x="655558" y="31166"/>
                </a:lnTo>
                <a:lnTo>
                  <a:pt x="657606" y="33385"/>
                </a:lnTo>
                <a:lnTo>
                  <a:pt x="664064" y="35738"/>
                </a:lnTo>
                <a:lnTo>
                  <a:pt x="666274" y="38681"/>
                </a:lnTo>
                <a:lnTo>
                  <a:pt x="666683" y="40434"/>
                </a:lnTo>
                <a:lnTo>
                  <a:pt x="668264" y="40786"/>
                </a:lnTo>
                <a:lnTo>
                  <a:pt x="672627" y="36605"/>
                </a:lnTo>
                <a:lnTo>
                  <a:pt x="675456" y="35909"/>
                </a:lnTo>
                <a:lnTo>
                  <a:pt x="680066" y="42424"/>
                </a:lnTo>
                <a:lnTo>
                  <a:pt x="679142" y="47234"/>
                </a:lnTo>
                <a:lnTo>
                  <a:pt x="679409" y="48759"/>
                </a:lnTo>
                <a:lnTo>
                  <a:pt x="684990" y="48454"/>
                </a:lnTo>
                <a:lnTo>
                  <a:pt x="689639" y="50340"/>
                </a:lnTo>
                <a:lnTo>
                  <a:pt x="698468" y="60131"/>
                </a:lnTo>
                <a:lnTo>
                  <a:pt x="699392" y="64684"/>
                </a:lnTo>
                <a:lnTo>
                  <a:pt x="698954" y="70190"/>
                </a:lnTo>
                <a:lnTo>
                  <a:pt x="686210" y="76219"/>
                </a:lnTo>
                <a:lnTo>
                  <a:pt x="680704" y="81972"/>
                </a:lnTo>
                <a:lnTo>
                  <a:pt x="671693" y="84182"/>
                </a:lnTo>
                <a:lnTo>
                  <a:pt x="641099" y="80334"/>
                </a:lnTo>
                <a:lnTo>
                  <a:pt x="641718" y="84496"/>
                </a:lnTo>
                <a:lnTo>
                  <a:pt x="663026" y="93555"/>
                </a:lnTo>
                <a:lnTo>
                  <a:pt x="664245" y="96136"/>
                </a:lnTo>
                <a:lnTo>
                  <a:pt x="663559" y="101546"/>
                </a:lnTo>
                <a:lnTo>
                  <a:pt x="663550" y="105880"/>
                </a:lnTo>
                <a:lnTo>
                  <a:pt x="663950" y="108833"/>
                </a:lnTo>
                <a:lnTo>
                  <a:pt x="665522" y="111576"/>
                </a:lnTo>
                <a:lnTo>
                  <a:pt x="668121" y="112862"/>
                </a:lnTo>
                <a:lnTo>
                  <a:pt x="673427" y="112185"/>
                </a:lnTo>
                <a:lnTo>
                  <a:pt x="676037" y="113662"/>
                </a:lnTo>
                <a:lnTo>
                  <a:pt x="677828" y="111481"/>
                </a:lnTo>
                <a:lnTo>
                  <a:pt x="678495" y="104118"/>
                </a:lnTo>
                <a:lnTo>
                  <a:pt x="680038" y="102489"/>
                </a:lnTo>
                <a:lnTo>
                  <a:pt x="683010" y="104632"/>
                </a:lnTo>
                <a:lnTo>
                  <a:pt x="684305" y="112500"/>
                </a:lnTo>
                <a:lnTo>
                  <a:pt x="685133" y="113309"/>
                </a:lnTo>
                <a:lnTo>
                  <a:pt x="686629" y="107709"/>
                </a:lnTo>
                <a:lnTo>
                  <a:pt x="689572" y="108109"/>
                </a:lnTo>
                <a:lnTo>
                  <a:pt x="692782" y="107642"/>
                </a:lnTo>
                <a:lnTo>
                  <a:pt x="696926" y="108566"/>
                </a:lnTo>
                <a:close/>
                <a:moveTo>
                  <a:pt x="498329" y="26746"/>
                </a:moveTo>
                <a:lnTo>
                  <a:pt x="497805" y="29299"/>
                </a:lnTo>
                <a:lnTo>
                  <a:pt x="496900" y="31775"/>
                </a:lnTo>
                <a:lnTo>
                  <a:pt x="494709" y="34385"/>
                </a:lnTo>
                <a:lnTo>
                  <a:pt x="488366" y="44682"/>
                </a:lnTo>
                <a:lnTo>
                  <a:pt x="484641" y="46330"/>
                </a:lnTo>
                <a:lnTo>
                  <a:pt x="483461" y="47939"/>
                </a:lnTo>
                <a:lnTo>
                  <a:pt x="481975" y="48901"/>
                </a:lnTo>
                <a:lnTo>
                  <a:pt x="477345" y="47501"/>
                </a:lnTo>
                <a:lnTo>
                  <a:pt x="475993" y="49578"/>
                </a:lnTo>
                <a:lnTo>
                  <a:pt x="474716" y="50968"/>
                </a:lnTo>
                <a:lnTo>
                  <a:pt x="471364" y="51502"/>
                </a:lnTo>
                <a:lnTo>
                  <a:pt x="469392" y="51054"/>
                </a:lnTo>
                <a:lnTo>
                  <a:pt x="464315" y="47263"/>
                </a:lnTo>
                <a:lnTo>
                  <a:pt x="461296" y="43148"/>
                </a:lnTo>
                <a:lnTo>
                  <a:pt x="459657" y="39624"/>
                </a:lnTo>
                <a:lnTo>
                  <a:pt x="464354" y="39691"/>
                </a:lnTo>
                <a:lnTo>
                  <a:pt x="466020" y="38833"/>
                </a:lnTo>
                <a:lnTo>
                  <a:pt x="469173" y="39576"/>
                </a:lnTo>
                <a:lnTo>
                  <a:pt x="471068" y="35947"/>
                </a:lnTo>
                <a:lnTo>
                  <a:pt x="475069" y="36385"/>
                </a:lnTo>
                <a:lnTo>
                  <a:pt x="482755" y="33861"/>
                </a:lnTo>
                <a:lnTo>
                  <a:pt x="485575" y="35271"/>
                </a:lnTo>
                <a:lnTo>
                  <a:pt x="492023" y="26803"/>
                </a:lnTo>
                <a:lnTo>
                  <a:pt x="494043" y="27022"/>
                </a:lnTo>
                <a:lnTo>
                  <a:pt x="497129" y="24594"/>
                </a:lnTo>
                <a:lnTo>
                  <a:pt x="498329" y="26746"/>
                </a:lnTo>
                <a:close/>
                <a:moveTo>
                  <a:pt x="513750" y="46815"/>
                </a:moveTo>
                <a:lnTo>
                  <a:pt x="508654" y="50016"/>
                </a:lnTo>
                <a:lnTo>
                  <a:pt x="505701" y="47263"/>
                </a:lnTo>
                <a:lnTo>
                  <a:pt x="504463" y="44434"/>
                </a:lnTo>
                <a:lnTo>
                  <a:pt x="504282" y="38138"/>
                </a:lnTo>
                <a:lnTo>
                  <a:pt x="504968" y="34290"/>
                </a:lnTo>
                <a:lnTo>
                  <a:pt x="507359" y="32299"/>
                </a:lnTo>
                <a:lnTo>
                  <a:pt x="508911" y="33757"/>
                </a:lnTo>
                <a:lnTo>
                  <a:pt x="509321" y="34976"/>
                </a:lnTo>
                <a:lnTo>
                  <a:pt x="512102" y="36166"/>
                </a:lnTo>
                <a:lnTo>
                  <a:pt x="515369" y="40129"/>
                </a:lnTo>
                <a:lnTo>
                  <a:pt x="513750" y="46815"/>
                </a:lnTo>
                <a:close/>
                <a:moveTo>
                  <a:pt x="503006" y="48263"/>
                </a:moveTo>
                <a:lnTo>
                  <a:pt x="503501" y="52016"/>
                </a:lnTo>
                <a:lnTo>
                  <a:pt x="503691" y="55102"/>
                </a:lnTo>
                <a:lnTo>
                  <a:pt x="501196" y="59550"/>
                </a:lnTo>
                <a:lnTo>
                  <a:pt x="495443" y="65370"/>
                </a:lnTo>
                <a:lnTo>
                  <a:pt x="495776" y="66932"/>
                </a:lnTo>
                <a:lnTo>
                  <a:pt x="493786" y="68428"/>
                </a:lnTo>
                <a:lnTo>
                  <a:pt x="490804" y="69523"/>
                </a:lnTo>
                <a:lnTo>
                  <a:pt x="489233" y="68466"/>
                </a:lnTo>
                <a:lnTo>
                  <a:pt x="489442" y="63484"/>
                </a:lnTo>
                <a:lnTo>
                  <a:pt x="488966" y="61998"/>
                </a:lnTo>
                <a:lnTo>
                  <a:pt x="486709" y="63979"/>
                </a:lnTo>
                <a:lnTo>
                  <a:pt x="484356" y="61436"/>
                </a:lnTo>
                <a:lnTo>
                  <a:pt x="484356" y="58883"/>
                </a:lnTo>
                <a:lnTo>
                  <a:pt x="484975" y="56664"/>
                </a:lnTo>
                <a:lnTo>
                  <a:pt x="487156" y="53283"/>
                </a:lnTo>
                <a:lnTo>
                  <a:pt x="490785" y="50949"/>
                </a:lnTo>
                <a:lnTo>
                  <a:pt x="493176" y="51825"/>
                </a:lnTo>
                <a:lnTo>
                  <a:pt x="501158" y="42843"/>
                </a:lnTo>
                <a:lnTo>
                  <a:pt x="502015" y="44729"/>
                </a:lnTo>
                <a:lnTo>
                  <a:pt x="503006" y="48263"/>
                </a:lnTo>
                <a:close/>
                <a:moveTo>
                  <a:pt x="400145" y="74724"/>
                </a:moveTo>
                <a:lnTo>
                  <a:pt x="401507" y="75648"/>
                </a:lnTo>
                <a:lnTo>
                  <a:pt x="402860" y="75076"/>
                </a:lnTo>
                <a:lnTo>
                  <a:pt x="403974" y="75886"/>
                </a:lnTo>
                <a:lnTo>
                  <a:pt x="406213" y="80039"/>
                </a:lnTo>
                <a:lnTo>
                  <a:pt x="408623" y="81667"/>
                </a:lnTo>
                <a:lnTo>
                  <a:pt x="408737" y="83744"/>
                </a:lnTo>
                <a:lnTo>
                  <a:pt x="406537" y="85763"/>
                </a:lnTo>
                <a:lnTo>
                  <a:pt x="403632" y="86373"/>
                </a:lnTo>
                <a:lnTo>
                  <a:pt x="400517" y="85668"/>
                </a:lnTo>
                <a:lnTo>
                  <a:pt x="399602" y="83077"/>
                </a:lnTo>
                <a:lnTo>
                  <a:pt x="398640" y="78762"/>
                </a:lnTo>
                <a:lnTo>
                  <a:pt x="396040" y="74524"/>
                </a:lnTo>
                <a:lnTo>
                  <a:pt x="395650" y="70799"/>
                </a:lnTo>
                <a:lnTo>
                  <a:pt x="397916" y="70209"/>
                </a:lnTo>
                <a:lnTo>
                  <a:pt x="400145" y="74724"/>
                </a:lnTo>
                <a:close/>
                <a:moveTo>
                  <a:pt x="386449" y="86544"/>
                </a:moveTo>
                <a:lnTo>
                  <a:pt x="388820" y="90802"/>
                </a:lnTo>
                <a:lnTo>
                  <a:pt x="390925" y="90392"/>
                </a:lnTo>
                <a:lnTo>
                  <a:pt x="391554" y="88792"/>
                </a:lnTo>
                <a:lnTo>
                  <a:pt x="392982" y="87992"/>
                </a:lnTo>
                <a:lnTo>
                  <a:pt x="395878" y="90249"/>
                </a:lnTo>
                <a:lnTo>
                  <a:pt x="395468" y="94069"/>
                </a:lnTo>
                <a:lnTo>
                  <a:pt x="391459" y="98879"/>
                </a:lnTo>
                <a:lnTo>
                  <a:pt x="388582" y="105718"/>
                </a:lnTo>
                <a:lnTo>
                  <a:pt x="384906" y="107299"/>
                </a:lnTo>
                <a:lnTo>
                  <a:pt x="383134" y="106480"/>
                </a:lnTo>
                <a:lnTo>
                  <a:pt x="379838" y="110414"/>
                </a:lnTo>
                <a:lnTo>
                  <a:pt x="377209" y="114491"/>
                </a:lnTo>
                <a:lnTo>
                  <a:pt x="374475" y="119634"/>
                </a:lnTo>
                <a:lnTo>
                  <a:pt x="374304" y="122282"/>
                </a:lnTo>
                <a:lnTo>
                  <a:pt x="373875" y="124301"/>
                </a:lnTo>
                <a:lnTo>
                  <a:pt x="363864" y="126301"/>
                </a:lnTo>
                <a:lnTo>
                  <a:pt x="360226" y="127625"/>
                </a:lnTo>
                <a:lnTo>
                  <a:pt x="356368" y="125921"/>
                </a:lnTo>
                <a:lnTo>
                  <a:pt x="354539" y="122530"/>
                </a:lnTo>
                <a:lnTo>
                  <a:pt x="355130" y="120691"/>
                </a:lnTo>
                <a:lnTo>
                  <a:pt x="358978" y="119958"/>
                </a:lnTo>
                <a:lnTo>
                  <a:pt x="359102" y="116805"/>
                </a:lnTo>
                <a:lnTo>
                  <a:pt x="360083" y="114881"/>
                </a:lnTo>
                <a:lnTo>
                  <a:pt x="361331" y="113824"/>
                </a:lnTo>
                <a:lnTo>
                  <a:pt x="362245" y="109785"/>
                </a:lnTo>
                <a:lnTo>
                  <a:pt x="363769" y="108728"/>
                </a:lnTo>
                <a:lnTo>
                  <a:pt x="366608" y="109718"/>
                </a:lnTo>
                <a:lnTo>
                  <a:pt x="368522" y="106785"/>
                </a:lnTo>
                <a:lnTo>
                  <a:pt x="369598" y="106280"/>
                </a:lnTo>
                <a:lnTo>
                  <a:pt x="370923" y="108709"/>
                </a:lnTo>
                <a:lnTo>
                  <a:pt x="371561" y="105366"/>
                </a:lnTo>
                <a:lnTo>
                  <a:pt x="370923" y="102308"/>
                </a:lnTo>
                <a:lnTo>
                  <a:pt x="371256" y="100241"/>
                </a:lnTo>
                <a:lnTo>
                  <a:pt x="374923" y="94859"/>
                </a:lnTo>
                <a:lnTo>
                  <a:pt x="376514" y="90926"/>
                </a:lnTo>
                <a:lnTo>
                  <a:pt x="378800" y="88382"/>
                </a:lnTo>
                <a:lnTo>
                  <a:pt x="381000" y="88783"/>
                </a:lnTo>
                <a:lnTo>
                  <a:pt x="381638" y="85030"/>
                </a:lnTo>
                <a:lnTo>
                  <a:pt x="381000" y="81182"/>
                </a:lnTo>
                <a:lnTo>
                  <a:pt x="381238" y="78667"/>
                </a:lnTo>
                <a:lnTo>
                  <a:pt x="383181" y="72552"/>
                </a:lnTo>
                <a:lnTo>
                  <a:pt x="385315" y="72295"/>
                </a:lnTo>
                <a:lnTo>
                  <a:pt x="386296" y="77733"/>
                </a:lnTo>
                <a:lnTo>
                  <a:pt x="386449" y="86544"/>
                </a:lnTo>
                <a:close/>
                <a:moveTo>
                  <a:pt x="427187" y="84715"/>
                </a:moveTo>
                <a:lnTo>
                  <a:pt x="425748" y="86535"/>
                </a:lnTo>
                <a:lnTo>
                  <a:pt x="423539" y="87278"/>
                </a:lnTo>
                <a:lnTo>
                  <a:pt x="422348" y="86154"/>
                </a:lnTo>
                <a:lnTo>
                  <a:pt x="420653" y="85411"/>
                </a:lnTo>
                <a:lnTo>
                  <a:pt x="418767" y="85744"/>
                </a:lnTo>
                <a:lnTo>
                  <a:pt x="417186" y="82401"/>
                </a:lnTo>
                <a:lnTo>
                  <a:pt x="417366" y="79591"/>
                </a:lnTo>
                <a:lnTo>
                  <a:pt x="419528" y="75781"/>
                </a:lnTo>
                <a:lnTo>
                  <a:pt x="423863" y="73609"/>
                </a:lnTo>
                <a:lnTo>
                  <a:pt x="427368" y="74505"/>
                </a:lnTo>
                <a:lnTo>
                  <a:pt x="428263" y="75619"/>
                </a:lnTo>
                <a:lnTo>
                  <a:pt x="427187" y="84715"/>
                </a:lnTo>
                <a:close/>
                <a:moveTo>
                  <a:pt x="672503" y="107537"/>
                </a:moveTo>
                <a:lnTo>
                  <a:pt x="667426" y="109795"/>
                </a:lnTo>
                <a:lnTo>
                  <a:pt x="666836" y="107937"/>
                </a:lnTo>
                <a:lnTo>
                  <a:pt x="667951" y="105042"/>
                </a:lnTo>
                <a:lnTo>
                  <a:pt x="669284" y="99098"/>
                </a:lnTo>
                <a:lnTo>
                  <a:pt x="671370" y="99336"/>
                </a:lnTo>
                <a:lnTo>
                  <a:pt x="673485" y="101603"/>
                </a:lnTo>
                <a:lnTo>
                  <a:pt x="675141" y="104308"/>
                </a:lnTo>
                <a:lnTo>
                  <a:pt x="672503" y="107537"/>
                </a:lnTo>
                <a:close/>
                <a:moveTo>
                  <a:pt x="339614" y="122968"/>
                </a:moveTo>
                <a:lnTo>
                  <a:pt x="342824" y="127340"/>
                </a:lnTo>
                <a:lnTo>
                  <a:pt x="344262" y="126006"/>
                </a:lnTo>
                <a:lnTo>
                  <a:pt x="347110" y="125501"/>
                </a:lnTo>
                <a:lnTo>
                  <a:pt x="349225" y="127044"/>
                </a:lnTo>
                <a:lnTo>
                  <a:pt x="350958" y="129816"/>
                </a:lnTo>
                <a:lnTo>
                  <a:pt x="353006" y="129940"/>
                </a:lnTo>
                <a:lnTo>
                  <a:pt x="354292" y="133560"/>
                </a:lnTo>
                <a:lnTo>
                  <a:pt x="354949" y="138255"/>
                </a:lnTo>
                <a:lnTo>
                  <a:pt x="353463" y="141751"/>
                </a:lnTo>
                <a:lnTo>
                  <a:pt x="351349" y="143342"/>
                </a:lnTo>
                <a:lnTo>
                  <a:pt x="350777" y="147447"/>
                </a:lnTo>
                <a:lnTo>
                  <a:pt x="351577" y="153191"/>
                </a:lnTo>
                <a:lnTo>
                  <a:pt x="346834" y="155153"/>
                </a:lnTo>
                <a:lnTo>
                  <a:pt x="341348" y="156029"/>
                </a:lnTo>
                <a:lnTo>
                  <a:pt x="339195" y="153286"/>
                </a:lnTo>
                <a:lnTo>
                  <a:pt x="334813" y="158296"/>
                </a:lnTo>
                <a:lnTo>
                  <a:pt x="330461" y="166078"/>
                </a:lnTo>
                <a:lnTo>
                  <a:pt x="328365" y="166992"/>
                </a:lnTo>
                <a:lnTo>
                  <a:pt x="328213" y="164535"/>
                </a:lnTo>
                <a:lnTo>
                  <a:pt x="325088" y="162830"/>
                </a:lnTo>
                <a:lnTo>
                  <a:pt x="321088" y="162735"/>
                </a:lnTo>
                <a:lnTo>
                  <a:pt x="321221" y="160906"/>
                </a:lnTo>
                <a:lnTo>
                  <a:pt x="321955" y="159620"/>
                </a:lnTo>
                <a:lnTo>
                  <a:pt x="325403" y="157705"/>
                </a:lnTo>
                <a:lnTo>
                  <a:pt x="326088" y="153743"/>
                </a:lnTo>
                <a:lnTo>
                  <a:pt x="325460" y="146656"/>
                </a:lnTo>
                <a:lnTo>
                  <a:pt x="326070" y="143199"/>
                </a:lnTo>
                <a:lnTo>
                  <a:pt x="326203" y="140818"/>
                </a:lnTo>
                <a:lnTo>
                  <a:pt x="328375" y="138017"/>
                </a:lnTo>
                <a:lnTo>
                  <a:pt x="335804" y="139332"/>
                </a:lnTo>
                <a:lnTo>
                  <a:pt x="336709" y="136655"/>
                </a:lnTo>
                <a:lnTo>
                  <a:pt x="336147" y="134969"/>
                </a:lnTo>
                <a:lnTo>
                  <a:pt x="332308" y="132017"/>
                </a:lnTo>
                <a:lnTo>
                  <a:pt x="332899" y="130026"/>
                </a:lnTo>
                <a:lnTo>
                  <a:pt x="335671" y="128245"/>
                </a:lnTo>
                <a:lnTo>
                  <a:pt x="338290" y="128006"/>
                </a:lnTo>
                <a:lnTo>
                  <a:pt x="339080" y="124997"/>
                </a:lnTo>
                <a:lnTo>
                  <a:pt x="339214" y="123673"/>
                </a:lnTo>
                <a:lnTo>
                  <a:pt x="339614" y="122968"/>
                </a:lnTo>
                <a:close/>
                <a:moveTo>
                  <a:pt x="293027" y="200406"/>
                </a:moveTo>
                <a:lnTo>
                  <a:pt x="293351" y="200920"/>
                </a:lnTo>
                <a:lnTo>
                  <a:pt x="296989" y="193872"/>
                </a:lnTo>
                <a:lnTo>
                  <a:pt x="301028" y="191672"/>
                </a:lnTo>
                <a:lnTo>
                  <a:pt x="301276" y="189205"/>
                </a:lnTo>
                <a:lnTo>
                  <a:pt x="302838" y="186823"/>
                </a:lnTo>
                <a:lnTo>
                  <a:pt x="302657" y="182918"/>
                </a:lnTo>
                <a:lnTo>
                  <a:pt x="303448" y="179746"/>
                </a:lnTo>
                <a:lnTo>
                  <a:pt x="305505" y="178899"/>
                </a:lnTo>
                <a:lnTo>
                  <a:pt x="306791" y="177822"/>
                </a:lnTo>
                <a:lnTo>
                  <a:pt x="308210" y="177222"/>
                </a:lnTo>
                <a:lnTo>
                  <a:pt x="310792" y="179803"/>
                </a:lnTo>
                <a:lnTo>
                  <a:pt x="312239" y="182661"/>
                </a:lnTo>
                <a:lnTo>
                  <a:pt x="314049" y="189024"/>
                </a:lnTo>
                <a:lnTo>
                  <a:pt x="313297" y="195158"/>
                </a:lnTo>
                <a:lnTo>
                  <a:pt x="308448" y="199930"/>
                </a:lnTo>
                <a:lnTo>
                  <a:pt x="304600" y="202073"/>
                </a:lnTo>
                <a:lnTo>
                  <a:pt x="300704" y="207521"/>
                </a:lnTo>
                <a:lnTo>
                  <a:pt x="298752" y="211969"/>
                </a:lnTo>
                <a:lnTo>
                  <a:pt x="297066" y="212931"/>
                </a:lnTo>
                <a:lnTo>
                  <a:pt x="296009" y="212569"/>
                </a:lnTo>
                <a:lnTo>
                  <a:pt x="295066" y="211503"/>
                </a:lnTo>
                <a:lnTo>
                  <a:pt x="293094" y="211503"/>
                </a:lnTo>
                <a:lnTo>
                  <a:pt x="290922" y="215351"/>
                </a:lnTo>
                <a:lnTo>
                  <a:pt x="284369" y="218475"/>
                </a:lnTo>
                <a:lnTo>
                  <a:pt x="281797" y="217570"/>
                </a:lnTo>
                <a:lnTo>
                  <a:pt x="281683" y="213741"/>
                </a:lnTo>
                <a:lnTo>
                  <a:pt x="280149" y="214055"/>
                </a:lnTo>
                <a:lnTo>
                  <a:pt x="277692" y="218646"/>
                </a:lnTo>
                <a:lnTo>
                  <a:pt x="275291" y="220180"/>
                </a:lnTo>
                <a:lnTo>
                  <a:pt x="273682" y="220647"/>
                </a:lnTo>
                <a:lnTo>
                  <a:pt x="270720" y="218923"/>
                </a:lnTo>
                <a:lnTo>
                  <a:pt x="262757" y="226714"/>
                </a:lnTo>
                <a:lnTo>
                  <a:pt x="255289" y="228162"/>
                </a:lnTo>
                <a:lnTo>
                  <a:pt x="252832" y="227267"/>
                </a:lnTo>
                <a:lnTo>
                  <a:pt x="252822" y="222504"/>
                </a:lnTo>
                <a:lnTo>
                  <a:pt x="257651" y="216389"/>
                </a:lnTo>
                <a:lnTo>
                  <a:pt x="261604" y="212131"/>
                </a:lnTo>
                <a:lnTo>
                  <a:pt x="275225" y="209150"/>
                </a:lnTo>
                <a:lnTo>
                  <a:pt x="283712" y="196425"/>
                </a:lnTo>
                <a:lnTo>
                  <a:pt x="285760" y="182489"/>
                </a:lnTo>
                <a:lnTo>
                  <a:pt x="287760" y="177422"/>
                </a:lnTo>
                <a:lnTo>
                  <a:pt x="286817" y="174555"/>
                </a:lnTo>
                <a:lnTo>
                  <a:pt x="284540" y="174050"/>
                </a:lnTo>
                <a:lnTo>
                  <a:pt x="284398" y="169631"/>
                </a:lnTo>
                <a:lnTo>
                  <a:pt x="285588" y="164792"/>
                </a:lnTo>
                <a:lnTo>
                  <a:pt x="290036" y="158125"/>
                </a:lnTo>
                <a:lnTo>
                  <a:pt x="292513" y="155277"/>
                </a:lnTo>
                <a:lnTo>
                  <a:pt x="296542" y="147190"/>
                </a:lnTo>
                <a:lnTo>
                  <a:pt x="298485" y="145370"/>
                </a:lnTo>
                <a:lnTo>
                  <a:pt x="300695" y="145370"/>
                </a:lnTo>
                <a:lnTo>
                  <a:pt x="302876" y="147495"/>
                </a:lnTo>
                <a:lnTo>
                  <a:pt x="302486" y="151829"/>
                </a:lnTo>
                <a:lnTo>
                  <a:pt x="299218" y="159620"/>
                </a:lnTo>
                <a:lnTo>
                  <a:pt x="294380" y="166230"/>
                </a:lnTo>
                <a:lnTo>
                  <a:pt x="294970" y="170964"/>
                </a:lnTo>
                <a:lnTo>
                  <a:pt x="296894" y="174841"/>
                </a:lnTo>
                <a:lnTo>
                  <a:pt x="297371" y="181451"/>
                </a:lnTo>
                <a:lnTo>
                  <a:pt x="297495" y="187795"/>
                </a:lnTo>
                <a:lnTo>
                  <a:pt x="293827" y="196329"/>
                </a:lnTo>
                <a:lnTo>
                  <a:pt x="293027" y="200406"/>
                </a:lnTo>
                <a:close/>
                <a:moveTo>
                  <a:pt x="278235" y="172260"/>
                </a:moveTo>
                <a:lnTo>
                  <a:pt x="281711" y="179727"/>
                </a:lnTo>
                <a:lnTo>
                  <a:pt x="283302" y="184080"/>
                </a:lnTo>
                <a:lnTo>
                  <a:pt x="282017" y="192262"/>
                </a:lnTo>
                <a:lnTo>
                  <a:pt x="278635" y="196377"/>
                </a:lnTo>
                <a:lnTo>
                  <a:pt x="273425" y="197110"/>
                </a:lnTo>
                <a:lnTo>
                  <a:pt x="269767" y="196768"/>
                </a:lnTo>
                <a:lnTo>
                  <a:pt x="267462" y="194786"/>
                </a:lnTo>
                <a:lnTo>
                  <a:pt x="267176" y="192567"/>
                </a:lnTo>
                <a:lnTo>
                  <a:pt x="265843" y="191910"/>
                </a:lnTo>
                <a:lnTo>
                  <a:pt x="262328" y="194767"/>
                </a:lnTo>
                <a:lnTo>
                  <a:pt x="259890" y="195148"/>
                </a:lnTo>
                <a:lnTo>
                  <a:pt x="256784" y="192938"/>
                </a:lnTo>
                <a:lnTo>
                  <a:pt x="255947" y="189395"/>
                </a:lnTo>
                <a:lnTo>
                  <a:pt x="259242" y="184947"/>
                </a:lnTo>
                <a:lnTo>
                  <a:pt x="260766" y="181480"/>
                </a:lnTo>
                <a:lnTo>
                  <a:pt x="264414" y="181785"/>
                </a:lnTo>
                <a:lnTo>
                  <a:pt x="265329" y="182861"/>
                </a:lnTo>
                <a:lnTo>
                  <a:pt x="267395" y="183537"/>
                </a:lnTo>
                <a:lnTo>
                  <a:pt x="268653" y="179356"/>
                </a:lnTo>
                <a:lnTo>
                  <a:pt x="268367" y="176460"/>
                </a:lnTo>
                <a:lnTo>
                  <a:pt x="269291" y="174441"/>
                </a:lnTo>
                <a:lnTo>
                  <a:pt x="273701" y="175898"/>
                </a:lnTo>
                <a:lnTo>
                  <a:pt x="273711" y="167992"/>
                </a:lnTo>
                <a:lnTo>
                  <a:pt x="275425" y="167440"/>
                </a:lnTo>
                <a:lnTo>
                  <a:pt x="276130" y="167745"/>
                </a:lnTo>
                <a:lnTo>
                  <a:pt x="277396" y="169412"/>
                </a:lnTo>
                <a:lnTo>
                  <a:pt x="278235" y="172260"/>
                </a:lnTo>
                <a:close/>
                <a:moveTo>
                  <a:pt x="242573" y="221875"/>
                </a:moveTo>
                <a:lnTo>
                  <a:pt x="244164" y="223104"/>
                </a:lnTo>
                <a:lnTo>
                  <a:pt x="248317" y="222742"/>
                </a:lnTo>
                <a:lnTo>
                  <a:pt x="249155" y="223199"/>
                </a:lnTo>
                <a:lnTo>
                  <a:pt x="248555" y="225228"/>
                </a:lnTo>
                <a:lnTo>
                  <a:pt x="246755" y="227457"/>
                </a:lnTo>
                <a:lnTo>
                  <a:pt x="242974" y="228829"/>
                </a:lnTo>
                <a:lnTo>
                  <a:pt x="241268" y="232229"/>
                </a:lnTo>
                <a:lnTo>
                  <a:pt x="240049" y="233382"/>
                </a:lnTo>
                <a:lnTo>
                  <a:pt x="236782" y="233391"/>
                </a:lnTo>
                <a:lnTo>
                  <a:pt x="234848" y="234182"/>
                </a:lnTo>
                <a:lnTo>
                  <a:pt x="232477" y="237191"/>
                </a:lnTo>
                <a:lnTo>
                  <a:pt x="230581" y="234972"/>
                </a:lnTo>
                <a:lnTo>
                  <a:pt x="230048" y="236553"/>
                </a:lnTo>
                <a:lnTo>
                  <a:pt x="229705" y="239373"/>
                </a:lnTo>
                <a:lnTo>
                  <a:pt x="228648" y="240192"/>
                </a:lnTo>
                <a:lnTo>
                  <a:pt x="225371" y="241211"/>
                </a:lnTo>
                <a:lnTo>
                  <a:pt x="224580" y="234648"/>
                </a:lnTo>
                <a:lnTo>
                  <a:pt x="226086" y="232267"/>
                </a:lnTo>
                <a:lnTo>
                  <a:pt x="227266" y="229410"/>
                </a:lnTo>
                <a:lnTo>
                  <a:pt x="229076" y="228971"/>
                </a:lnTo>
                <a:lnTo>
                  <a:pt x="230696" y="229210"/>
                </a:lnTo>
                <a:lnTo>
                  <a:pt x="233619" y="223037"/>
                </a:lnTo>
                <a:lnTo>
                  <a:pt x="237620" y="221275"/>
                </a:lnTo>
                <a:lnTo>
                  <a:pt x="240202" y="221075"/>
                </a:lnTo>
                <a:lnTo>
                  <a:pt x="242573" y="221875"/>
                </a:lnTo>
                <a:close/>
                <a:moveTo>
                  <a:pt x="218475" y="249860"/>
                </a:moveTo>
                <a:lnTo>
                  <a:pt x="214522" y="253603"/>
                </a:lnTo>
                <a:lnTo>
                  <a:pt x="215960" y="246764"/>
                </a:lnTo>
                <a:lnTo>
                  <a:pt x="218094" y="239811"/>
                </a:lnTo>
                <a:lnTo>
                  <a:pt x="221047" y="235820"/>
                </a:lnTo>
                <a:lnTo>
                  <a:pt x="222514" y="237382"/>
                </a:lnTo>
                <a:lnTo>
                  <a:pt x="221837" y="240725"/>
                </a:lnTo>
                <a:lnTo>
                  <a:pt x="221847" y="244021"/>
                </a:lnTo>
                <a:lnTo>
                  <a:pt x="221218" y="245574"/>
                </a:lnTo>
                <a:lnTo>
                  <a:pt x="218475" y="249860"/>
                </a:lnTo>
                <a:close/>
                <a:moveTo>
                  <a:pt x="203730" y="374837"/>
                </a:moveTo>
                <a:lnTo>
                  <a:pt x="201254" y="375266"/>
                </a:lnTo>
                <a:lnTo>
                  <a:pt x="201663" y="372361"/>
                </a:lnTo>
                <a:lnTo>
                  <a:pt x="203664" y="369599"/>
                </a:lnTo>
                <a:lnTo>
                  <a:pt x="204435" y="367713"/>
                </a:lnTo>
                <a:lnTo>
                  <a:pt x="204835" y="365484"/>
                </a:lnTo>
                <a:lnTo>
                  <a:pt x="206607" y="363798"/>
                </a:lnTo>
                <a:lnTo>
                  <a:pt x="209102" y="365960"/>
                </a:lnTo>
                <a:lnTo>
                  <a:pt x="209150" y="369618"/>
                </a:lnTo>
                <a:lnTo>
                  <a:pt x="207912" y="372951"/>
                </a:lnTo>
                <a:lnTo>
                  <a:pt x="203730" y="374837"/>
                </a:lnTo>
                <a:close/>
                <a:moveTo>
                  <a:pt x="206131" y="384105"/>
                </a:moveTo>
                <a:lnTo>
                  <a:pt x="203988" y="384296"/>
                </a:lnTo>
                <a:lnTo>
                  <a:pt x="204006" y="381619"/>
                </a:lnTo>
                <a:lnTo>
                  <a:pt x="205235" y="379181"/>
                </a:lnTo>
                <a:lnTo>
                  <a:pt x="207178" y="377552"/>
                </a:lnTo>
                <a:lnTo>
                  <a:pt x="209683" y="377123"/>
                </a:lnTo>
                <a:lnTo>
                  <a:pt x="212484" y="376933"/>
                </a:lnTo>
                <a:lnTo>
                  <a:pt x="213331" y="378228"/>
                </a:lnTo>
                <a:lnTo>
                  <a:pt x="211722" y="380047"/>
                </a:lnTo>
                <a:lnTo>
                  <a:pt x="206131" y="384105"/>
                </a:lnTo>
                <a:close/>
                <a:moveTo>
                  <a:pt x="191653" y="402022"/>
                </a:moveTo>
                <a:lnTo>
                  <a:pt x="189881" y="404012"/>
                </a:lnTo>
                <a:lnTo>
                  <a:pt x="186576" y="403441"/>
                </a:lnTo>
                <a:lnTo>
                  <a:pt x="186223" y="401726"/>
                </a:lnTo>
                <a:lnTo>
                  <a:pt x="187166" y="398297"/>
                </a:lnTo>
                <a:lnTo>
                  <a:pt x="189176" y="396878"/>
                </a:lnTo>
                <a:lnTo>
                  <a:pt x="191767" y="397154"/>
                </a:lnTo>
                <a:lnTo>
                  <a:pt x="192596" y="398583"/>
                </a:lnTo>
                <a:lnTo>
                  <a:pt x="191653" y="402022"/>
                </a:lnTo>
                <a:close/>
                <a:moveTo>
                  <a:pt x="171965" y="450523"/>
                </a:moveTo>
                <a:lnTo>
                  <a:pt x="170564" y="452276"/>
                </a:lnTo>
                <a:lnTo>
                  <a:pt x="167450" y="450875"/>
                </a:lnTo>
                <a:lnTo>
                  <a:pt x="161306" y="451961"/>
                </a:lnTo>
                <a:lnTo>
                  <a:pt x="158830" y="450256"/>
                </a:lnTo>
                <a:lnTo>
                  <a:pt x="160801" y="446923"/>
                </a:lnTo>
                <a:lnTo>
                  <a:pt x="166354" y="443417"/>
                </a:lnTo>
                <a:lnTo>
                  <a:pt x="169336" y="443579"/>
                </a:lnTo>
                <a:lnTo>
                  <a:pt x="172374" y="447885"/>
                </a:lnTo>
                <a:lnTo>
                  <a:pt x="171965" y="450523"/>
                </a:lnTo>
                <a:close/>
                <a:moveTo>
                  <a:pt x="98165" y="524256"/>
                </a:moveTo>
                <a:lnTo>
                  <a:pt x="95098" y="524399"/>
                </a:lnTo>
                <a:lnTo>
                  <a:pt x="93250" y="523046"/>
                </a:lnTo>
                <a:lnTo>
                  <a:pt x="97641" y="520360"/>
                </a:lnTo>
                <a:lnTo>
                  <a:pt x="104527" y="517788"/>
                </a:lnTo>
                <a:lnTo>
                  <a:pt x="105185" y="516160"/>
                </a:lnTo>
                <a:lnTo>
                  <a:pt x="106013" y="515960"/>
                </a:lnTo>
                <a:lnTo>
                  <a:pt x="107204" y="517960"/>
                </a:lnTo>
                <a:lnTo>
                  <a:pt x="107356" y="520703"/>
                </a:lnTo>
                <a:lnTo>
                  <a:pt x="106594" y="522065"/>
                </a:lnTo>
                <a:lnTo>
                  <a:pt x="98165" y="524256"/>
                </a:lnTo>
                <a:close/>
                <a:moveTo>
                  <a:pt x="88316" y="543973"/>
                </a:moveTo>
                <a:lnTo>
                  <a:pt x="85697" y="544011"/>
                </a:lnTo>
                <a:lnTo>
                  <a:pt x="82582" y="543097"/>
                </a:lnTo>
                <a:lnTo>
                  <a:pt x="80629" y="541144"/>
                </a:lnTo>
                <a:lnTo>
                  <a:pt x="80324" y="539420"/>
                </a:lnTo>
                <a:lnTo>
                  <a:pt x="83915" y="537277"/>
                </a:lnTo>
                <a:lnTo>
                  <a:pt x="87525" y="536019"/>
                </a:lnTo>
                <a:lnTo>
                  <a:pt x="89202" y="538382"/>
                </a:lnTo>
                <a:lnTo>
                  <a:pt x="89326" y="542249"/>
                </a:lnTo>
                <a:lnTo>
                  <a:pt x="88316" y="543973"/>
                </a:lnTo>
                <a:close/>
                <a:moveTo>
                  <a:pt x="4277" y="673037"/>
                </a:moveTo>
                <a:lnTo>
                  <a:pt x="1905" y="673732"/>
                </a:lnTo>
                <a:lnTo>
                  <a:pt x="0" y="673132"/>
                </a:lnTo>
                <a:lnTo>
                  <a:pt x="676" y="667855"/>
                </a:lnTo>
                <a:lnTo>
                  <a:pt x="1667" y="666998"/>
                </a:lnTo>
                <a:lnTo>
                  <a:pt x="3105" y="666693"/>
                </a:lnTo>
                <a:lnTo>
                  <a:pt x="4658" y="669522"/>
                </a:lnTo>
                <a:lnTo>
                  <a:pt x="4277" y="673037"/>
                </a:lnTo>
                <a:close/>
                <a:moveTo>
                  <a:pt x="7677" y="715404"/>
                </a:moveTo>
                <a:lnTo>
                  <a:pt x="7763" y="721795"/>
                </a:lnTo>
                <a:lnTo>
                  <a:pt x="5305" y="721309"/>
                </a:lnTo>
                <a:lnTo>
                  <a:pt x="4201" y="718861"/>
                </a:lnTo>
                <a:lnTo>
                  <a:pt x="3877" y="717290"/>
                </a:lnTo>
                <a:lnTo>
                  <a:pt x="4077" y="713584"/>
                </a:lnTo>
                <a:lnTo>
                  <a:pt x="3524" y="709755"/>
                </a:lnTo>
                <a:lnTo>
                  <a:pt x="4248" y="707850"/>
                </a:lnTo>
                <a:lnTo>
                  <a:pt x="5144" y="707593"/>
                </a:lnTo>
                <a:lnTo>
                  <a:pt x="6734" y="711003"/>
                </a:lnTo>
                <a:lnTo>
                  <a:pt x="7677" y="715404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5" name="Forme libre : forme 44">
            <a:extLst>
              <a:ext uri="{FF2B5EF4-FFF2-40B4-BE49-F238E27FC236}">
                <a16:creationId xmlns:a16="http://schemas.microsoft.com/office/drawing/2014/main" id="{1344B44A-F377-6A27-12D0-0FD4DDF5F89E}"/>
              </a:ext>
            </a:extLst>
          </p:cNvPr>
          <p:cNvSpPr/>
          <p:nvPr/>
        </p:nvSpPr>
        <p:spPr>
          <a:xfrm>
            <a:off x="6014163" y="3280725"/>
            <a:ext cx="347856" cy="328698"/>
          </a:xfrm>
          <a:custGeom>
            <a:avLst/>
            <a:gdLst>
              <a:gd name="connsiteX0" fmla="*/ 146371 w 266700"/>
              <a:gd name="connsiteY0" fmla="*/ 17478 h 252012"/>
              <a:gd name="connsiteX1" fmla="*/ 147438 w 266700"/>
              <a:gd name="connsiteY1" fmla="*/ 18031 h 252012"/>
              <a:gd name="connsiteX2" fmla="*/ 154924 w 266700"/>
              <a:gd name="connsiteY2" fmla="*/ 18631 h 252012"/>
              <a:gd name="connsiteX3" fmla="*/ 162516 w 266700"/>
              <a:gd name="connsiteY3" fmla="*/ 19231 h 252012"/>
              <a:gd name="connsiteX4" fmla="*/ 174717 w 266700"/>
              <a:gd name="connsiteY4" fmla="*/ 19888 h 252012"/>
              <a:gd name="connsiteX5" fmla="*/ 187433 w 266700"/>
              <a:gd name="connsiteY5" fmla="*/ 20555 h 252012"/>
              <a:gd name="connsiteX6" fmla="*/ 200635 w 266700"/>
              <a:gd name="connsiteY6" fmla="*/ 21269 h 252012"/>
              <a:gd name="connsiteX7" fmla="*/ 214912 w 266700"/>
              <a:gd name="connsiteY7" fmla="*/ 22022 h 252012"/>
              <a:gd name="connsiteX8" fmla="*/ 229971 w 266700"/>
              <a:gd name="connsiteY8" fmla="*/ 22470 h 252012"/>
              <a:gd name="connsiteX9" fmla="*/ 230896 w 266700"/>
              <a:gd name="connsiteY9" fmla="*/ 22165 h 252012"/>
              <a:gd name="connsiteX10" fmla="*/ 232429 w 266700"/>
              <a:gd name="connsiteY10" fmla="*/ 20384 h 252012"/>
              <a:gd name="connsiteX11" fmla="*/ 234305 w 266700"/>
              <a:gd name="connsiteY11" fmla="*/ 20622 h 252012"/>
              <a:gd name="connsiteX12" fmla="*/ 236525 w 266700"/>
              <a:gd name="connsiteY12" fmla="*/ 21727 h 252012"/>
              <a:gd name="connsiteX13" fmla="*/ 237554 w 266700"/>
              <a:gd name="connsiteY13" fmla="*/ 22546 h 252012"/>
              <a:gd name="connsiteX14" fmla="*/ 237992 w 266700"/>
              <a:gd name="connsiteY14" fmla="*/ 23489 h 252012"/>
              <a:gd name="connsiteX15" fmla="*/ 238268 w 266700"/>
              <a:gd name="connsiteY15" fmla="*/ 24575 h 252012"/>
              <a:gd name="connsiteX16" fmla="*/ 239478 w 266700"/>
              <a:gd name="connsiteY16" fmla="*/ 24784 h 252012"/>
              <a:gd name="connsiteX17" fmla="*/ 241697 w 266700"/>
              <a:gd name="connsiteY17" fmla="*/ 25613 h 252012"/>
              <a:gd name="connsiteX18" fmla="*/ 244688 w 266700"/>
              <a:gd name="connsiteY18" fmla="*/ 27489 h 252012"/>
              <a:gd name="connsiteX19" fmla="*/ 247031 w 266700"/>
              <a:gd name="connsiteY19" fmla="*/ 29308 h 252012"/>
              <a:gd name="connsiteX20" fmla="*/ 249269 w 266700"/>
              <a:gd name="connsiteY20" fmla="*/ 31899 h 252012"/>
              <a:gd name="connsiteX21" fmla="*/ 250012 w 266700"/>
              <a:gd name="connsiteY21" fmla="*/ 34833 h 252012"/>
              <a:gd name="connsiteX22" fmla="*/ 250050 w 266700"/>
              <a:gd name="connsiteY22" fmla="*/ 38157 h 252012"/>
              <a:gd name="connsiteX23" fmla="*/ 249907 w 266700"/>
              <a:gd name="connsiteY23" fmla="*/ 40291 h 252012"/>
              <a:gd name="connsiteX24" fmla="*/ 250098 w 266700"/>
              <a:gd name="connsiteY24" fmla="*/ 41158 h 252012"/>
              <a:gd name="connsiteX25" fmla="*/ 253155 w 266700"/>
              <a:gd name="connsiteY25" fmla="*/ 56521 h 252012"/>
              <a:gd name="connsiteX26" fmla="*/ 258242 w 266700"/>
              <a:gd name="connsiteY26" fmla="*/ 71218 h 252012"/>
              <a:gd name="connsiteX27" fmla="*/ 260109 w 266700"/>
              <a:gd name="connsiteY27" fmla="*/ 78286 h 252012"/>
              <a:gd name="connsiteX28" fmla="*/ 260852 w 266700"/>
              <a:gd name="connsiteY28" fmla="*/ 82039 h 252012"/>
              <a:gd name="connsiteX29" fmla="*/ 261452 w 266700"/>
              <a:gd name="connsiteY29" fmla="*/ 87468 h 252012"/>
              <a:gd name="connsiteX30" fmla="*/ 261633 w 266700"/>
              <a:gd name="connsiteY30" fmla="*/ 91278 h 252012"/>
              <a:gd name="connsiteX31" fmla="*/ 261614 w 266700"/>
              <a:gd name="connsiteY31" fmla="*/ 93412 h 252012"/>
              <a:gd name="connsiteX32" fmla="*/ 261233 w 266700"/>
              <a:gd name="connsiteY32" fmla="*/ 96345 h 252012"/>
              <a:gd name="connsiteX33" fmla="*/ 259728 w 266700"/>
              <a:gd name="connsiteY33" fmla="*/ 98079 h 252012"/>
              <a:gd name="connsiteX34" fmla="*/ 249964 w 266700"/>
              <a:gd name="connsiteY34" fmla="*/ 103032 h 252012"/>
              <a:gd name="connsiteX35" fmla="*/ 248126 w 266700"/>
              <a:gd name="connsiteY35" fmla="*/ 104575 h 252012"/>
              <a:gd name="connsiteX36" fmla="*/ 245250 w 266700"/>
              <a:gd name="connsiteY36" fmla="*/ 108423 h 252012"/>
              <a:gd name="connsiteX37" fmla="*/ 242592 w 266700"/>
              <a:gd name="connsiteY37" fmla="*/ 112376 h 252012"/>
              <a:gd name="connsiteX38" fmla="*/ 241983 w 266700"/>
              <a:gd name="connsiteY38" fmla="*/ 113729 h 252012"/>
              <a:gd name="connsiteX39" fmla="*/ 241821 w 266700"/>
              <a:gd name="connsiteY39" fmla="*/ 114614 h 252012"/>
              <a:gd name="connsiteX40" fmla="*/ 242411 w 266700"/>
              <a:gd name="connsiteY40" fmla="*/ 115910 h 252012"/>
              <a:gd name="connsiteX41" fmla="*/ 245888 w 266700"/>
              <a:gd name="connsiteY41" fmla="*/ 118015 h 252012"/>
              <a:gd name="connsiteX42" fmla="*/ 249393 w 266700"/>
              <a:gd name="connsiteY42" fmla="*/ 119710 h 252012"/>
              <a:gd name="connsiteX43" fmla="*/ 250536 w 266700"/>
              <a:gd name="connsiteY43" fmla="*/ 120977 h 252012"/>
              <a:gd name="connsiteX44" fmla="*/ 253127 w 266700"/>
              <a:gd name="connsiteY44" fmla="*/ 122596 h 252012"/>
              <a:gd name="connsiteX45" fmla="*/ 254070 w 266700"/>
              <a:gd name="connsiteY45" fmla="*/ 124054 h 252012"/>
              <a:gd name="connsiteX46" fmla="*/ 254584 w 266700"/>
              <a:gd name="connsiteY46" fmla="*/ 125311 h 252012"/>
              <a:gd name="connsiteX47" fmla="*/ 254546 w 266700"/>
              <a:gd name="connsiteY47" fmla="*/ 128235 h 252012"/>
              <a:gd name="connsiteX48" fmla="*/ 253384 w 266700"/>
              <a:gd name="connsiteY48" fmla="*/ 132264 h 252012"/>
              <a:gd name="connsiteX49" fmla="*/ 253870 w 266700"/>
              <a:gd name="connsiteY49" fmla="*/ 135303 h 252012"/>
              <a:gd name="connsiteX50" fmla="*/ 252679 w 266700"/>
              <a:gd name="connsiteY50" fmla="*/ 137331 h 252012"/>
              <a:gd name="connsiteX51" fmla="*/ 251708 w 266700"/>
              <a:gd name="connsiteY51" fmla="*/ 139579 h 252012"/>
              <a:gd name="connsiteX52" fmla="*/ 251565 w 266700"/>
              <a:gd name="connsiteY52" fmla="*/ 143504 h 252012"/>
              <a:gd name="connsiteX53" fmla="*/ 253318 w 266700"/>
              <a:gd name="connsiteY53" fmla="*/ 147828 h 252012"/>
              <a:gd name="connsiteX54" fmla="*/ 254756 w 266700"/>
              <a:gd name="connsiteY54" fmla="*/ 150781 h 252012"/>
              <a:gd name="connsiteX55" fmla="*/ 255308 w 266700"/>
              <a:gd name="connsiteY55" fmla="*/ 153095 h 252012"/>
              <a:gd name="connsiteX56" fmla="*/ 254727 w 266700"/>
              <a:gd name="connsiteY56" fmla="*/ 154905 h 252012"/>
              <a:gd name="connsiteX57" fmla="*/ 254898 w 266700"/>
              <a:gd name="connsiteY57" fmla="*/ 156715 h 252012"/>
              <a:gd name="connsiteX58" fmla="*/ 256184 w 266700"/>
              <a:gd name="connsiteY58" fmla="*/ 158639 h 252012"/>
              <a:gd name="connsiteX59" fmla="*/ 260223 w 266700"/>
              <a:gd name="connsiteY59" fmla="*/ 164544 h 252012"/>
              <a:gd name="connsiteX60" fmla="*/ 262214 w 266700"/>
              <a:gd name="connsiteY60" fmla="*/ 170212 h 252012"/>
              <a:gd name="connsiteX61" fmla="*/ 263490 w 266700"/>
              <a:gd name="connsiteY61" fmla="*/ 172421 h 252012"/>
              <a:gd name="connsiteX62" fmla="*/ 266433 w 266700"/>
              <a:gd name="connsiteY62" fmla="*/ 175279 h 252012"/>
              <a:gd name="connsiteX63" fmla="*/ 266700 w 266700"/>
              <a:gd name="connsiteY63" fmla="*/ 176451 h 252012"/>
              <a:gd name="connsiteX64" fmla="*/ 265519 w 266700"/>
              <a:gd name="connsiteY64" fmla="*/ 177527 h 252012"/>
              <a:gd name="connsiteX65" fmla="*/ 264566 w 266700"/>
              <a:gd name="connsiteY65" fmla="*/ 177670 h 252012"/>
              <a:gd name="connsiteX66" fmla="*/ 263795 w 266700"/>
              <a:gd name="connsiteY66" fmla="*/ 177956 h 252012"/>
              <a:gd name="connsiteX67" fmla="*/ 263300 w 266700"/>
              <a:gd name="connsiteY67" fmla="*/ 178956 h 252012"/>
              <a:gd name="connsiteX68" fmla="*/ 264071 w 266700"/>
              <a:gd name="connsiteY68" fmla="*/ 180032 h 252012"/>
              <a:gd name="connsiteX69" fmla="*/ 265109 w 266700"/>
              <a:gd name="connsiteY69" fmla="*/ 181604 h 252012"/>
              <a:gd name="connsiteX70" fmla="*/ 266405 w 266700"/>
              <a:gd name="connsiteY70" fmla="*/ 186052 h 252012"/>
              <a:gd name="connsiteX71" fmla="*/ 266281 w 266700"/>
              <a:gd name="connsiteY71" fmla="*/ 189690 h 252012"/>
              <a:gd name="connsiteX72" fmla="*/ 265281 w 266700"/>
              <a:gd name="connsiteY72" fmla="*/ 190614 h 252012"/>
              <a:gd name="connsiteX73" fmla="*/ 264004 w 266700"/>
              <a:gd name="connsiteY73" fmla="*/ 192767 h 252012"/>
              <a:gd name="connsiteX74" fmla="*/ 263147 w 266700"/>
              <a:gd name="connsiteY74" fmla="*/ 194739 h 252012"/>
              <a:gd name="connsiteX75" fmla="*/ 256165 w 266700"/>
              <a:gd name="connsiteY75" fmla="*/ 196101 h 252012"/>
              <a:gd name="connsiteX76" fmla="*/ 254489 w 266700"/>
              <a:gd name="connsiteY76" fmla="*/ 198206 h 252012"/>
              <a:gd name="connsiteX77" fmla="*/ 250670 w 266700"/>
              <a:gd name="connsiteY77" fmla="*/ 202254 h 252012"/>
              <a:gd name="connsiteX78" fmla="*/ 248069 w 266700"/>
              <a:gd name="connsiteY78" fmla="*/ 204588 h 252012"/>
              <a:gd name="connsiteX79" fmla="*/ 244212 w 266700"/>
              <a:gd name="connsiteY79" fmla="*/ 208788 h 252012"/>
              <a:gd name="connsiteX80" fmla="*/ 238116 w 266700"/>
              <a:gd name="connsiteY80" fmla="*/ 215989 h 252012"/>
              <a:gd name="connsiteX81" fmla="*/ 235868 w 266700"/>
              <a:gd name="connsiteY81" fmla="*/ 218999 h 252012"/>
              <a:gd name="connsiteX82" fmla="*/ 234220 w 266700"/>
              <a:gd name="connsiteY82" fmla="*/ 221485 h 252012"/>
              <a:gd name="connsiteX83" fmla="*/ 229286 w 266700"/>
              <a:gd name="connsiteY83" fmla="*/ 228076 h 252012"/>
              <a:gd name="connsiteX84" fmla="*/ 227772 w 266700"/>
              <a:gd name="connsiteY84" fmla="*/ 230839 h 252012"/>
              <a:gd name="connsiteX85" fmla="*/ 228067 w 266700"/>
              <a:gd name="connsiteY85" fmla="*/ 233105 h 252012"/>
              <a:gd name="connsiteX86" fmla="*/ 229658 w 266700"/>
              <a:gd name="connsiteY86" fmla="*/ 238430 h 252012"/>
              <a:gd name="connsiteX87" fmla="*/ 229991 w 266700"/>
              <a:gd name="connsiteY87" fmla="*/ 240830 h 252012"/>
              <a:gd name="connsiteX88" fmla="*/ 229705 w 266700"/>
              <a:gd name="connsiteY88" fmla="*/ 243040 h 252012"/>
              <a:gd name="connsiteX89" fmla="*/ 229181 w 266700"/>
              <a:gd name="connsiteY89" fmla="*/ 245012 h 252012"/>
              <a:gd name="connsiteX90" fmla="*/ 229276 w 266700"/>
              <a:gd name="connsiteY90" fmla="*/ 245888 h 252012"/>
              <a:gd name="connsiteX91" fmla="*/ 230734 w 266700"/>
              <a:gd name="connsiteY91" fmla="*/ 247317 h 252012"/>
              <a:gd name="connsiteX92" fmla="*/ 233048 w 266700"/>
              <a:gd name="connsiteY92" fmla="*/ 249555 h 252012"/>
              <a:gd name="connsiteX93" fmla="*/ 233182 w 266700"/>
              <a:gd name="connsiteY93" fmla="*/ 250307 h 252012"/>
              <a:gd name="connsiteX94" fmla="*/ 232858 w 266700"/>
              <a:gd name="connsiteY94" fmla="*/ 251279 h 252012"/>
              <a:gd name="connsiteX95" fmla="*/ 232058 w 266700"/>
              <a:gd name="connsiteY95" fmla="*/ 252013 h 252012"/>
              <a:gd name="connsiteX96" fmla="*/ 229152 w 266700"/>
              <a:gd name="connsiteY96" fmla="*/ 251231 h 252012"/>
              <a:gd name="connsiteX97" fmla="*/ 225914 w 266700"/>
              <a:gd name="connsiteY97" fmla="*/ 249717 h 252012"/>
              <a:gd name="connsiteX98" fmla="*/ 224809 w 266700"/>
              <a:gd name="connsiteY98" fmla="*/ 249907 h 252012"/>
              <a:gd name="connsiteX99" fmla="*/ 223057 w 266700"/>
              <a:gd name="connsiteY99" fmla="*/ 249546 h 252012"/>
              <a:gd name="connsiteX100" fmla="*/ 215827 w 266700"/>
              <a:gd name="connsiteY100" fmla="*/ 246621 h 252012"/>
              <a:gd name="connsiteX101" fmla="*/ 210951 w 266700"/>
              <a:gd name="connsiteY101" fmla="*/ 244326 h 252012"/>
              <a:gd name="connsiteX102" fmla="*/ 210464 w 266700"/>
              <a:gd name="connsiteY102" fmla="*/ 242830 h 252012"/>
              <a:gd name="connsiteX103" fmla="*/ 209550 w 266700"/>
              <a:gd name="connsiteY103" fmla="*/ 240668 h 252012"/>
              <a:gd name="connsiteX104" fmla="*/ 207473 w 266700"/>
              <a:gd name="connsiteY104" fmla="*/ 238849 h 252012"/>
              <a:gd name="connsiteX105" fmla="*/ 202711 w 266700"/>
              <a:gd name="connsiteY105" fmla="*/ 237277 h 252012"/>
              <a:gd name="connsiteX106" fmla="*/ 200778 w 266700"/>
              <a:gd name="connsiteY106" fmla="*/ 236049 h 252012"/>
              <a:gd name="connsiteX107" fmla="*/ 193043 w 266700"/>
              <a:gd name="connsiteY107" fmla="*/ 235363 h 252012"/>
              <a:gd name="connsiteX108" fmla="*/ 189691 w 266700"/>
              <a:gd name="connsiteY108" fmla="*/ 235334 h 252012"/>
              <a:gd name="connsiteX109" fmla="*/ 187319 w 266700"/>
              <a:gd name="connsiteY109" fmla="*/ 235839 h 252012"/>
              <a:gd name="connsiteX110" fmla="*/ 185794 w 266700"/>
              <a:gd name="connsiteY110" fmla="*/ 235791 h 252012"/>
              <a:gd name="connsiteX111" fmla="*/ 183709 w 266700"/>
              <a:gd name="connsiteY111" fmla="*/ 239001 h 252012"/>
              <a:gd name="connsiteX112" fmla="*/ 182270 w 266700"/>
              <a:gd name="connsiteY112" fmla="*/ 239935 h 252012"/>
              <a:gd name="connsiteX113" fmla="*/ 180166 w 266700"/>
              <a:gd name="connsiteY113" fmla="*/ 240030 h 252012"/>
              <a:gd name="connsiteX114" fmla="*/ 178318 w 266700"/>
              <a:gd name="connsiteY114" fmla="*/ 239459 h 252012"/>
              <a:gd name="connsiteX115" fmla="*/ 176432 w 266700"/>
              <a:gd name="connsiteY115" fmla="*/ 237773 h 252012"/>
              <a:gd name="connsiteX116" fmla="*/ 173422 w 266700"/>
              <a:gd name="connsiteY116" fmla="*/ 236877 h 252012"/>
              <a:gd name="connsiteX117" fmla="*/ 171241 w 266700"/>
              <a:gd name="connsiteY117" fmla="*/ 237306 h 252012"/>
              <a:gd name="connsiteX118" fmla="*/ 169631 w 266700"/>
              <a:gd name="connsiteY118" fmla="*/ 236944 h 252012"/>
              <a:gd name="connsiteX119" fmla="*/ 168250 w 266700"/>
              <a:gd name="connsiteY119" fmla="*/ 236849 h 252012"/>
              <a:gd name="connsiteX120" fmla="*/ 167764 w 266700"/>
              <a:gd name="connsiteY120" fmla="*/ 237192 h 252012"/>
              <a:gd name="connsiteX121" fmla="*/ 166650 w 266700"/>
              <a:gd name="connsiteY121" fmla="*/ 237144 h 252012"/>
              <a:gd name="connsiteX122" fmla="*/ 165040 w 266700"/>
              <a:gd name="connsiteY122" fmla="*/ 237954 h 252012"/>
              <a:gd name="connsiteX123" fmla="*/ 163268 w 266700"/>
              <a:gd name="connsiteY123" fmla="*/ 239087 h 252012"/>
              <a:gd name="connsiteX124" fmla="*/ 161325 w 266700"/>
              <a:gd name="connsiteY124" fmla="*/ 239963 h 252012"/>
              <a:gd name="connsiteX125" fmla="*/ 159820 w 266700"/>
              <a:gd name="connsiteY125" fmla="*/ 241830 h 252012"/>
              <a:gd name="connsiteX126" fmla="*/ 158487 w 266700"/>
              <a:gd name="connsiteY126" fmla="*/ 245478 h 252012"/>
              <a:gd name="connsiteX127" fmla="*/ 154705 w 266700"/>
              <a:gd name="connsiteY127" fmla="*/ 243840 h 252012"/>
              <a:gd name="connsiteX128" fmla="*/ 153448 w 266700"/>
              <a:gd name="connsiteY128" fmla="*/ 244554 h 252012"/>
              <a:gd name="connsiteX129" fmla="*/ 151657 w 266700"/>
              <a:gd name="connsiteY129" fmla="*/ 245031 h 252012"/>
              <a:gd name="connsiteX130" fmla="*/ 150438 w 266700"/>
              <a:gd name="connsiteY130" fmla="*/ 244535 h 252012"/>
              <a:gd name="connsiteX131" fmla="*/ 150724 w 266700"/>
              <a:gd name="connsiteY131" fmla="*/ 243278 h 252012"/>
              <a:gd name="connsiteX132" fmla="*/ 151276 w 266700"/>
              <a:gd name="connsiteY132" fmla="*/ 241859 h 252012"/>
              <a:gd name="connsiteX133" fmla="*/ 151248 w 266700"/>
              <a:gd name="connsiteY133" fmla="*/ 239878 h 252012"/>
              <a:gd name="connsiteX134" fmla="*/ 150905 w 266700"/>
              <a:gd name="connsiteY134" fmla="*/ 237677 h 252012"/>
              <a:gd name="connsiteX135" fmla="*/ 149733 w 266700"/>
              <a:gd name="connsiteY135" fmla="*/ 236963 h 252012"/>
              <a:gd name="connsiteX136" fmla="*/ 147971 w 266700"/>
              <a:gd name="connsiteY136" fmla="*/ 236706 h 252012"/>
              <a:gd name="connsiteX137" fmla="*/ 147066 w 266700"/>
              <a:gd name="connsiteY137" fmla="*/ 236268 h 252012"/>
              <a:gd name="connsiteX138" fmla="*/ 146971 w 266700"/>
              <a:gd name="connsiteY138" fmla="*/ 235544 h 252012"/>
              <a:gd name="connsiteX139" fmla="*/ 146066 w 266700"/>
              <a:gd name="connsiteY139" fmla="*/ 234610 h 252012"/>
              <a:gd name="connsiteX140" fmla="*/ 144504 w 266700"/>
              <a:gd name="connsiteY140" fmla="*/ 232248 h 252012"/>
              <a:gd name="connsiteX141" fmla="*/ 143037 w 266700"/>
              <a:gd name="connsiteY141" fmla="*/ 229295 h 252012"/>
              <a:gd name="connsiteX142" fmla="*/ 142018 w 266700"/>
              <a:gd name="connsiteY142" fmla="*/ 228429 h 252012"/>
              <a:gd name="connsiteX143" fmla="*/ 140541 w 266700"/>
              <a:gd name="connsiteY143" fmla="*/ 229829 h 252012"/>
              <a:gd name="connsiteX144" fmla="*/ 138303 w 266700"/>
              <a:gd name="connsiteY144" fmla="*/ 231419 h 252012"/>
              <a:gd name="connsiteX145" fmla="*/ 136903 w 266700"/>
              <a:gd name="connsiteY145" fmla="*/ 231972 h 252012"/>
              <a:gd name="connsiteX146" fmla="*/ 134208 w 266700"/>
              <a:gd name="connsiteY146" fmla="*/ 236544 h 252012"/>
              <a:gd name="connsiteX147" fmla="*/ 129369 w 266700"/>
              <a:gd name="connsiteY147" fmla="*/ 236696 h 252012"/>
              <a:gd name="connsiteX148" fmla="*/ 129074 w 266700"/>
              <a:gd name="connsiteY148" fmla="*/ 234563 h 252012"/>
              <a:gd name="connsiteX149" fmla="*/ 128559 w 266700"/>
              <a:gd name="connsiteY149" fmla="*/ 232505 h 252012"/>
              <a:gd name="connsiteX150" fmla="*/ 125730 w 266700"/>
              <a:gd name="connsiteY150" fmla="*/ 232000 h 252012"/>
              <a:gd name="connsiteX151" fmla="*/ 125645 w 266700"/>
              <a:gd name="connsiteY151" fmla="*/ 230791 h 252012"/>
              <a:gd name="connsiteX152" fmla="*/ 125054 w 266700"/>
              <a:gd name="connsiteY152" fmla="*/ 227762 h 252012"/>
              <a:gd name="connsiteX153" fmla="*/ 119377 w 266700"/>
              <a:gd name="connsiteY153" fmla="*/ 221828 h 252012"/>
              <a:gd name="connsiteX154" fmla="*/ 118691 w 266700"/>
              <a:gd name="connsiteY154" fmla="*/ 219351 h 252012"/>
              <a:gd name="connsiteX155" fmla="*/ 118910 w 266700"/>
              <a:gd name="connsiteY155" fmla="*/ 218389 h 252012"/>
              <a:gd name="connsiteX156" fmla="*/ 118520 w 266700"/>
              <a:gd name="connsiteY156" fmla="*/ 216808 h 252012"/>
              <a:gd name="connsiteX157" fmla="*/ 117281 w 266700"/>
              <a:gd name="connsiteY157" fmla="*/ 215856 h 252012"/>
              <a:gd name="connsiteX158" fmla="*/ 112795 w 266700"/>
              <a:gd name="connsiteY158" fmla="*/ 214722 h 252012"/>
              <a:gd name="connsiteX159" fmla="*/ 111643 w 266700"/>
              <a:gd name="connsiteY159" fmla="*/ 215370 h 252012"/>
              <a:gd name="connsiteX160" fmla="*/ 110604 w 266700"/>
              <a:gd name="connsiteY160" fmla="*/ 214703 h 252012"/>
              <a:gd name="connsiteX161" fmla="*/ 108966 w 266700"/>
              <a:gd name="connsiteY161" fmla="*/ 213274 h 252012"/>
              <a:gd name="connsiteX162" fmla="*/ 106137 w 266700"/>
              <a:gd name="connsiteY162" fmla="*/ 212112 h 252012"/>
              <a:gd name="connsiteX163" fmla="*/ 105823 w 266700"/>
              <a:gd name="connsiteY163" fmla="*/ 211512 h 252012"/>
              <a:gd name="connsiteX164" fmla="*/ 104803 w 266700"/>
              <a:gd name="connsiteY164" fmla="*/ 210483 h 252012"/>
              <a:gd name="connsiteX165" fmla="*/ 104242 w 266700"/>
              <a:gd name="connsiteY165" fmla="*/ 210350 h 252012"/>
              <a:gd name="connsiteX166" fmla="*/ 103870 w 266700"/>
              <a:gd name="connsiteY166" fmla="*/ 210969 h 252012"/>
              <a:gd name="connsiteX167" fmla="*/ 103051 w 266700"/>
              <a:gd name="connsiteY167" fmla="*/ 211846 h 252012"/>
              <a:gd name="connsiteX168" fmla="*/ 100136 w 266700"/>
              <a:gd name="connsiteY168" fmla="*/ 212960 h 252012"/>
              <a:gd name="connsiteX169" fmla="*/ 98974 w 266700"/>
              <a:gd name="connsiteY169" fmla="*/ 212503 h 252012"/>
              <a:gd name="connsiteX170" fmla="*/ 97917 w 266700"/>
              <a:gd name="connsiteY170" fmla="*/ 211541 h 252012"/>
              <a:gd name="connsiteX171" fmla="*/ 96707 w 266700"/>
              <a:gd name="connsiteY171" fmla="*/ 209455 h 252012"/>
              <a:gd name="connsiteX172" fmla="*/ 94955 w 266700"/>
              <a:gd name="connsiteY172" fmla="*/ 207626 h 252012"/>
              <a:gd name="connsiteX173" fmla="*/ 93516 w 266700"/>
              <a:gd name="connsiteY173" fmla="*/ 206978 h 252012"/>
              <a:gd name="connsiteX174" fmla="*/ 92688 w 266700"/>
              <a:gd name="connsiteY174" fmla="*/ 206016 h 252012"/>
              <a:gd name="connsiteX175" fmla="*/ 92507 w 266700"/>
              <a:gd name="connsiteY175" fmla="*/ 205273 h 252012"/>
              <a:gd name="connsiteX176" fmla="*/ 95708 w 266700"/>
              <a:gd name="connsiteY176" fmla="*/ 203768 h 252012"/>
              <a:gd name="connsiteX177" fmla="*/ 96412 w 266700"/>
              <a:gd name="connsiteY177" fmla="*/ 202216 h 252012"/>
              <a:gd name="connsiteX178" fmla="*/ 96003 w 266700"/>
              <a:gd name="connsiteY178" fmla="*/ 199387 h 252012"/>
              <a:gd name="connsiteX179" fmla="*/ 95526 w 266700"/>
              <a:gd name="connsiteY179" fmla="*/ 199034 h 252012"/>
              <a:gd name="connsiteX180" fmla="*/ 94250 w 266700"/>
              <a:gd name="connsiteY180" fmla="*/ 199987 h 252012"/>
              <a:gd name="connsiteX181" fmla="*/ 91573 w 266700"/>
              <a:gd name="connsiteY181" fmla="*/ 200825 h 252012"/>
              <a:gd name="connsiteX182" fmla="*/ 89116 w 266700"/>
              <a:gd name="connsiteY182" fmla="*/ 201216 h 252012"/>
              <a:gd name="connsiteX183" fmla="*/ 87849 w 266700"/>
              <a:gd name="connsiteY183" fmla="*/ 201216 h 252012"/>
              <a:gd name="connsiteX184" fmla="*/ 80810 w 266700"/>
              <a:gd name="connsiteY184" fmla="*/ 196063 h 252012"/>
              <a:gd name="connsiteX185" fmla="*/ 76238 w 266700"/>
              <a:gd name="connsiteY185" fmla="*/ 194481 h 252012"/>
              <a:gd name="connsiteX186" fmla="*/ 73543 w 266700"/>
              <a:gd name="connsiteY186" fmla="*/ 194024 h 252012"/>
              <a:gd name="connsiteX187" fmla="*/ 73257 w 266700"/>
              <a:gd name="connsiteY187" fmla="*/ 194548 h 252012"/>
              <a:gd name="connsiteX188" fmla="*/ 74466 w 266700"/>
              <a:gd name="connsiteY188" fmla="*/ 197444 h 252012"/>
              <a:gd name="connsiteX189" fmla="*/ 76581 w 266700"/>
              <a:gd name="connsiteY189" fmla="*/ 201016 h 252012"/>
              <a:gd name="connsiteX190" fmla="*/ 76476 w 266700"/>
              <a:gd name="connsiteY190" fmla="*/ 201959 h 252012"/>
              <a:gd name="connsiteX191" fmla="*/ 73952 w 266700"/>
              <a:gd name="connsiteY191" fmla="*/ 203416 h 252012"/>
              <a:gd name="connsiteX192" fmla="*/ 72523 w 266700"/>
              <a:gd name="connsiteY192" fmla="*/ 204054 h 252012"/>
              <a:gd name="connsiteX193" fmla="*/ 70838 w 266700"/>
              <a:gd name="connsiteY193" fmla="*/ 205283 h 252012"/>
              <a:gd name="connsiteX194" fmla="*/ 69409 w 266700"/>
              <a:gd name="connsiteY194" fmla="*/ 206997 h 252012"/>
              <a:gd name="connsiteX195" fmla="*/ 68170 w 266700"/>
              <a:gd name="connsiteY195" fmla="*/ 207769 h 252012"/>
              <a:gd name="connsiteX196" fmla="*/ 67103 w 266700"/>
              <a:gd name="connsiteY196" fmla="*/ 207569 h 252012"/>
              <a:gd name="connsiteX197" fmla="*/ 65970 w 266700"/>
              <a:gd name="connsiteY197" fmla="*/ 206750 h 252012"/>
              <a:gd name="connsiteX198" fmla="*/ 63055 w 266700"/>
              <a:gd name="connsiteY198" fmla="*/ 201482 h 252012"/>
              <a:gd name="connsiteX199" fmla="*/ 59388 w 266700"/>
              <a:gd name="connsiteY199" fmla="*/ 197444 h 252012"/>
              <a:gd name="connsiteX200" fmla="*/ 58950 w 266700"/>
              <a:gd name="connsiteY200" fmla="*/ 196539 h 252012"/>
              <a:gd name="connsiteX201" fmla="*/ 57808 w 266700"/>
              <a:gd name="connsiteY201" fmla="*/ 196329 h 252012"/>
              <a:gd name="connsiteX202" fmla="*/ 56188 w 266700"/>
              <a:gd name="connsiteY202" fmla="*/ 195396 h 252012"/>
              <a:gd name="connsiteX203" fmla="*/ 55636 w 266700"/>
              <a:gd name="connsiteY203" fmla="*/ 194158 h 252012"/>
              <a:gd name="connsiteX204" fmla="*/ 56455 w 266700"/>
              <a:gd name="connsiteY204" fmla="*/ 192862 h 252012"/>
              <a:gd name="connsiteX205" fmla="*/ 57569 w 266700"/>
              <a:gd name="connsiteY205" fmla="*/ 191681 h 252012"/>
              <a:gd name="connsiteX206" fmla="*/ 59550 w 266700"/>
              <a:gd name="connsiteY206" fmla="*/ 190948 h 252012"/>
              <a:gd name="connsiteX207" fmla="*/ 60150 w 266700"/>
              <a:gd name="connsiteY207" fmla="*/ 190252 h 252012"/>
              <a:gd name="connsiteX208" fmla="*/ 60503 w 266700"/>
              <a:gd name="connsiteY208" fmla="*/ 189214 h 252012"/>
              <a:gd name="connsiteX209" fmla="*/ 61236 w 266700"/>
              <a:gd name="connsiteY209" fmla="*/ 187871 h 252012"/>
              <a:gd name="connsiteX210" fmla="*/ 61046 w 266700"/>
              <a:gd name="connsiteY210" fmla="*/ 187395 h 252012"/>
              <a:gd name="connsiteX211" fmla="*/ 59646 w 266700"/>
              <a:gd name="connsiteY211" fmla="*/ 185871 h 252012"/>
              <a:gd name="connsiteX212" fmla="*/ 57569 w 266700"/>
              <a:gd name="connsiteY212" fmla="*/ 184433 h 252012"/>
              <a:gd name="connsiteX213" fmla="*/ 51797 w 266700"/>
              <a:gd name="connsiteY213" fmla="*/ 185509 h 252012"/>
              <a:gd name="connsiteX214" fmla="*/ 50216 w 266700"/>
              <a:gd name="connsiteY214" fmla="*/ 186280 h 252012"/>
              <a:gd name="connsiteX215" fmla="*/ 49321 w 266700"/>
              <a:gd name="connsiteY215" fmla="*/ 185280 h 252012"/>
              <a:gd name="connsiteX216" fmla="*/ 48644 w 266700"/>
              <a:gd name="connsiteY216" fmla="*/ 183823 h 252012"/>
              <a:gd name="connsiteX217" fmla="*/ 47187 w 266700"/>
              <a:gd name="connsiteY217" fmla="*/ 183537 h 252012"/>
              <a:gd name="connsiteX218" fmla="*/ 45187 w 266700"/>
              <a:gd name="connsiteY218" fmla="*/ 182204 h 252012"/>
              <a:gd name="connsiteX219" fmla="*/ 42815 w 266700"/>
              <a:gd name="connsiteY219" fmla="*/ 180889 h 252012"/>
              <a:gd name="connsiteX220" fmla="*/ 40500 w 266700"/>
              <a:gd name="connsiteY220" fmla="*/ 180508 h 252012"/>
              <a:gd name="connsiteX221" fmla="*/ 35690 w 266700"/>
              <a:gd name="connsiteY221" fmla="*/ 178613 h 252012"/>
              <a:gd name="connsiteX222" fmla="*/ 33833 w 266700"/>
              <a:gd name="connsiteY222" fmla="*/ 178508 h 252012"/>
              <a:gd name="connsiteX223" fmla="*/ 32766 w 266700"/>
              <a:gd name="connsiteY223" fmla="*/ 177860 h 252012"/>
              <a:gd name="connsiteX224" fmla="*/ 31642 w 266700"/>
              <a:gd name="connsiteY224" fmla="*/ 176422 h 252012"/>
              <a:gd name="connsiteX225" fmla="*/ 30689 w 266700"/>
              <a:gd name="connsiteY225" fmla="*/ 174850 h 252012"/>
              <a:gd name="connsiteX226" fmla="*/ 30194 w 266700"/>
              <a:gd name="connsiteY226" fmla="*/ 171650 h 252012"/>
              <a:gd name="connsiteX227" fmla="*/ 26651 w 266700"/>
              <a:gd name="connsiteY227" fmla="*/ 170202 h 252012"/>
              <a:gd name="connsiteX228" fmla="*/ 23117 w 266700"/>
              <a:gd name="connsiteY228" fmla="*/ 169288 h 252012"/>
              <a:gd name="connsiteX229" fmla="*/ 22870 w 266700"/>
              <a:gd name="connsiteY229" fmla="*/ 169754 h 252012"/>
              <a:gd name="connsiteX230" fmla="*/ 23022 w 266700"/>
              <a:gd name="connsiteY230" fmla="*/ 172974 h 252012"/>
              <a:gd name="connsiteX231" fmla="*/ 22832 w 266700"/>
              <a:gd name="connsiteY231" fmla="*/ 174698 h 252012"/>
              <a:gd name="connsiteX232" fmla="*/ 20498 w 266700"/>
              <a:gd name="connsiteY232" fmla="*/ 175755 h 252012"/>
              <a:gd name="connsiteX233" fmla="*/ 18193 w 266700"/>
              <a:gd name="connsiteY233" fmla="*/ 175860 h 252012"/>
              <a:gd name="connsiteX234" fmla="*/ 18317 w 266700"/>
              <a:gd name="connsiteY234" fmla="*/ 175327 h 252012"/>
              <a:gd name="connsiteX235" fmla="*/ 21079 w 266700"/>
              <a:gd name="connsiteY235" fmla="*/ 169526 h 252012"/>
              <a:gd name="connsiteX236" fmla="*/ 22317 w 266700"/>
              <a:gd name="connsiteY236" fmla="*/ 165859 h 252012"/>
              <a:gd name="connsiteX237" fmla="*/ 23736 w 266700"/>
              <a:gd name="connsiteY237" fmla="*/ 159163 h 252012"/>
              <a:gd name="connsiteX238" fmla="*/ 22031 w 266700"/>
              <a:gd name="connsiteY238" fmla="*/ 153857 h 252012"/>
              <a:gd name="connsiteX239" fmla="*/ 21565 w 266700"/>
              <a:gd name="connsiteY239" fmla="*/ 151362 h 252012"/>
              <a:gd name="connsiteX240" fmla="*/ 20774 w 266700"/>
              <a:gd name="connsiteY240" fmla="*/ 150171 h 252012"/>
              <a:gd name="connsiteX241" fmla="*/ 15926 w 266700"/>
              <a:gd name="connsiteY241" fmla="*/ 147571 h 252012"/>
              <a:gd name="connsiteX242" fmla="*/ 15554 w 266700"/>
              <a:gd name="connsiteY242" fmla="*/ 146676 h 252012"/>
              <a:gd name="connsiteX243" fmla="*/ 16297 w 266700"/>
              <a:gd name="connsiteY243" fmla="*/ 143151 h 252012"/>
              <a:gd name="connsiteX244" fmla="*/ 15936 w 266700"/>
              <a:gd name="connsiteY244" fmla="*/ 141665 h 252012"/>
              <a:gd name="connsiteX245" fmla="*/ 14764 w 266700"/>
              <a:gd name="connsiteY245" fmla="*/ 140094 h 252012"/>
              <a:gd name="connsiteX246" fmla="*/ 13231 w 266700"/>
              <a:gd name="connsiteY246" fmla="*/ 136970 h 252012"/>
              <a:gd name="connsiteX247" fmla="*/ 12640 w 266700"/>
              <a:gd name="connsiteY247" fmla="*/ 134312 h 252012"/>
              <a:gd name="connsiteX248" fmla="*/ 14592 w 266700"/>
              <a:gd name="connsiteY248" fmla="*/ 131188 h 252012"/>
              <a:gd name="connsiteX249" fmla="*/ 15078 w 266700"/>
              <a:gd name="connsiteY249" fmla="*/ 128883 h 252012"/>
              <a:gd name="connsiteX250" fmla="*/ 15926 w 266700"/>
              <a:gd name="connsiteY250" fmla="*/ 125730 h 252012"/>
              <a:gd name="connsiteX251" fmla="*/ 16555 w 266700"/>
              <a:gd name="connsiteY251" fmla="*/ 123997 h 252012"/>
              <a:gd name="connsiteX252" fmla="*/ 16679 w 266700"/>
              <a:gd name="connsiteY252" fmla="*/ 123520 h 252012"/>
              <a:gd name="connsiteX253" fmla="*/ 15393 w 266700"/>
              <a:gd name="connsiteY253" fmla="*/ 122291 h 252012"/>
              <a:gd name="connsiteX254" fmla="*/ 15069 w 266700"/>
              <a:gd name="connsiteY254" fmla="*/ 120558 h 252012"/>
              <a:gd name="connsiteX255" fmla="*/ 15411 w 266700"/>
              <a:gd name="connsiteY255" fmla="*/ 118062 h 252012"/>
              <a:gd name="connsiteX256" fmla="*/ 14726 w 266700"/>
              <a:gd name="connsiteY256" fmla="*/ 116205 h 252012"/>
              <a:gd name="connsiteX257" fmla="*/ 13011 w 266700"/>
              <a:gd name="connsiteY257" fmla="*/ 115005 h 252012"/>
              <a:gd name="connsiteX258" fmla="*/ 11897 w 266700"/>
              <a:gd name="connsiteY258" fmla="*/ 113405 h 252012"/>
              <a:gd name="connsiteX259" fmla="*/ 11382 w 266700"/>
              <a:gd name="connsiteY259" fmla="*/ 111423 h 252012"/>
              <a:gd name="connsiteX260" fmla="*/ 11782 w 266700"/>
              <a:gd name="connsiteY260" fmla="*/ 108299 h 252012"/>
              <a:gd name="connsiteX261" fmla="*/ 13116 w 266700"/>
              <a:gd name="connsiteY261" fmla="*/ 104042 h 252012"/>
              <a:gd name="connsiteX262" fmla="*/ 10296 w 266700"/>
              <a:gd name="connsiteY262" fmla="*/ 98898 h 252012"/>
              <a:gd name="connsiteX263" fmla="*/ 3334 w 266700"/>
              <a:gd name="connsiteY263" fmla="*/ 92869 h 252012"/>
              <a:gd name="connsiteX264" fmla="*/ 0 w 266700"/>
              <a:gd name="connsiteY264" fmla="*/ 88649 h 252012"/>
              <a:gd name="connsiteX265" fmla="*/ 267 w 266700"/>
              <a:gd name="connsiteY265" fmla="*/ 86230 h 252012"/>
              <a:gd name="connsiteX266" fmla="*/ 1734 w 266700"/>
              <a:gd name="connsiteY266" fmla="*/ 84039 h 252012"/>
              <a:gd name="connsiteX267" fmla="*/ 4391 w 266700"/>
              <a:gd name="connsiteY267" fmla="*/ 82077 h 252012"/>
              <a:gd name="connsiteX268" fmla="*/ 6411 w 266700"/>
              <a:gd name="connsiteY268" fmla="*/ 78581 h 252012"/>
              <a:gd name="connsiteX269" fmla="*/ 7544 w 266700"/>
              <a:gd name="connsiteY269" fmla="*/ 74419 h 252012"/>
              <a:gd name="connsiteX270" fmla="*/ 7572 w 266700"/>
              <a:gd name="connsiteY270" fmla="*/ 73628 h 252012"/>
              <a:gd name="connsiteX271" fmla="*/ 7639 w 266700"/>
              <a:gd name="connsiteY271" fmla="*/ 70656 h 252012"/>
              <a:gd name="connsiteX272" fmla="*/ 4543 w 266700"/>
              <a:gd name="connsiteY272" fmla="*/ 58446 h 252012"/>
              <a:gd name="connsiteX273" fmla="*/ 4039 w 266700"/>
              <a:gd name="connsiteY273" fmla="*/ 55378 h 252012"/>
              <a:gd name="connsiteX274" fmla="*/ 3667 w 266700"/>
              <a:gd name="connsiteY274" fmla="*/ 51664 h 252012"/>
              <a:gd name="connsiteX275" fmla="*/ 3477 w 266700"/>
              <a:gd name="connsiteY275" fmla="*/ 50654 h 252012"/>
              <a:gd name="connsiteX276" fmla="*/ 9592 w 266700"/>
              <a:gd name="connsiteY276" fmla="*/ 53254 h 252012"/>
              <a:gd name="connsiteX277" fmla="*/ 12154 w 266700"/>
              <a:gd name="connsiteY277" fmla="*/ 54721 h 252012"/>
              <a:gd name="connsiteX278" fmla="*/ 11830 w 266700"/>
              <a:gd name="connsiteY278" fmla="*/ 53073 h 252012"/>
              <a:gd name="connsiteX279" fmla="*/ 11316 w 266700"/>
              <a:gd name="connsiteY279" fmla="*/ 51654 h 252012"/>
              <a:gd name="connsiteX280" fmla="*/ 11659 w 266700"/>
              <a:gd name="connsiteY280" fmla="*/ 49578 h 252012"/>
              <a:gd name="connsiteX281" fmla="*/ 11487 w 266700"/>
              <a:gd name="connsiteY281" fmla="*/ 46434 h 252012"/>
              <a:gd name="connsiteX282" fmla="*/ 5934 w 266700"/>
              <a:gd name="connsiteY282" fmla="*/ 44825 h 252012"/>
              <a:gd name="connsiteX283" fmla="*/ 2267 w 266700"/>
              <a:gd name="connsiteY283" fmla="*/ 44282 h 252012"/>
              <a:gd name="connsiteX284" fmla="*/ 1857 w 266700"/>
              <a:gd name="connsiteY284" fmla="*/ 42091 h 252012"/>
              <a:gd name="connsiteX285" fmla="*/ 2200 w 266700"/>
              <a:gd name="connsiteY285" fmla="*/ 40672 h 252012"/>
              <a:gd name="connsiteX286" fmla="*/ 3220 w 266700"/>
              <a:gd name="connsiteY286" fmla="*/ 41510 h 252012"/>
              <a:gd name="connsiteX287" fmla="*/ 6820 w 266700"/>
              <a:gd name="connsiteY287" fmla="*/ 41834 h 252012"/>
              <a:gd name="connsiteX288" fmla="*/ 15688 w 266700"/>
              <a:gd name="connsiteY288" fmla="*/ 37595 h 252012"/>
              <a:gd name="connsiteX289" fmla="*/ 30995 w 266700"/>
              <a:gd name="connsiteY289" fmla="*/ 32061 h 252012"/>
              <a:gd name="connsiteX290" fmla="*/ 47349 w 266700"/>
              <a:gd name="connsiteY290" fmla="*/ 26870 h 252012"/>
              <a:gd name="connsiteX291" fmla="*/ 51168 w 266700"/>
              <a:gd name="connsiteY291" fmla="*/ 26299 h 252012"/>
              <a:gd name="connsiteX292" fmla="*/ 54997 w 266700"/>
              <a:gd name="connsiteY292" fmla="*/ 25203 h 252012"/>
              <a:gd name="connsiteX293" fmla="*/ 56417 w 266700"/>
              <a:gd name="connsiteY293" fmla="*/ 23251 h 252012"/>
              <a:gd name="connsiteX294" fmla="*/ 57836 w 266700"/>
              <a:gd name="connsiteY294" fmla="*/ 21946 h 252012"/>
              <a:gd name="connsiteX295" fmla="*/ 60055 w 266700"/>
              <a:gd name="connsiteY295" fmla="*/ 18498 h 252012"/>
              <a:gd name="connsiteX296" fmla="*/ 64980 w 266700"/>
              <a:gd name="connsiteY296" fmla="*/ 13125 h 252012"/>
              <a:gd name="connsiteX297" fmla="*/ 73686 w 266700"/>
              <a:gd name="connsiteY297" fmla="*/ 11163 h 252012"/>
              <a:gd name="connsiteX298" fmla="*/ 76943 w 266700"/>
              <a:gd name="connsiteY298" fmla="*/ 8611 h 252012"/>
              <a:gd name="connsiteX299" fmla="*/ 83754 w 266700"/>
              <a:gd name="connsiteY299" fmla="*/ 5029 h 252012"/>
              <a:gd name="connsiteX300" fmla="*/ 99279 w 266700"/>
              <a:gd name="connsiteY300" fmla="*/ 1000 h 252012"/>
              <a:gd name="connsiteX301" fmla="*/ 105775 w 266700"/>
              <a:gd name="connsiteY301" fmla="*/ 105 h 252012"/>
              <a:gd name="connsiteX302" fmla="*/ 112129 w 266700"/>
              <a:gd name="connsiteY302" fmla="*/ 0 h 252012"/>
              <a:gd name="connsiteX303" fmla="*/ 117786 w 266700"/>
              <a:gd name="connsiteY303" fmla="*/ 3181 h 252012"/>
              <a:gd name="connsiteX304" fmla="*/ 123777 w 266700"/>
              <a:gd name="connsiteY304" fmla="*/ 7106 h 252012"/>
              <a:gd name="connsiteX305" fmla="*/ 124854 w 266700"/>
              <a:gd name="connsiteY305" fmla="*/ 9458 h 252012"/>
              <a:gd name="connsiteX306" fmla="*/ 121615 w 266700"/>
              <a:gd name="connsiteY306" fmla="*/ 7991 h 252012"/>
              <a:gd name="connsiteX307" fmla="*/ 116891 w 266700"/>
              <a:gd name="connsiteY307" fmla="*/ 4477 h 252012"/>
              <a:gd name="connsiteX308" fmla="*/ 115138 w 266700"/>
              <a:gd name="connsiteY308" fmla="*/ 4324 h 252012"/>
              <a:gd name="connsiteX309" fmla="*/ 119177 w 266700"/>
              <a:gd name="connsiteY309" fmla="*/ 15002 h 252012"/>
              <a:gd name="connsiteX310" fmla="*/ 121387 w 266700"/>
              <a:gd name="connsiteY310" fmla="*/ 18774 h 252012"/>
              <a:gd name="connsiteX311" fmla="*/ 125835 w 266700"/>
              <a:gd name="connsiteY311" fmla="*/ 21574 h 252012"/>
              <a:gd name="connsiteX312" fmla="*/ 129578 w 266700"/>
              <a:gd name="connsiteY312" fmla="*/ 22527 h 252012"/>
              <a:gd name="connsiteX313" fmla="*/ 141104 w 266700"/>
              <a:gd name="connsiteY313" fmla="*/ 20822 h 252012"/>
              <a:gd name="connsiteX314" fmla="*/ 145189 w 266700"/>
              <a:gd name="connsiteY314" fmla="*/ 18593 h 252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</a:cxnLst>
            <a:rect l="l" t="t" r="r" b="b"/>
            <a:pathLst>
              <a:path w="266700" h="252012">
                <a:moveTo>
                  <a:pt x="146371" y="17478"/>
                </a:moveTo>
                <a:lnTo>
                  <a:pt x="147438" y="18031"/>
                </a:lnTo>
                <a:lnTo>
                  <a:pt x="154924" y="18631"/>
                </a:lnTo>
                <a:lnTo>
                  <a:pt x="162516" y="19231"/>
                </a:lnTo>
                <a:lnTo>
                  <a:pt x="174717" y="19888"/>
                </a:lnTo>
                <a:lnTo>
                  <a:pt x="187433" y="20555"/>
                </a:lnTo>
                <a:lnTo>
                  <a:pt x="200635" y="21269"/>
                </a:lnTo>
                <a:lnTo>
                  <a:pt x="214912" y="22022"/>
                </a:lnTo>
                <a:lnTo>
                  <a:pt x="229971" y="22470"/>
                </a:lnTo>
                <a:lnTo>
                  <a:pt x="230896" y="22165"/>
                </a:lnTo>
                <a:lnTo>
                  <a:pt x="232429" y="20384"/>
                </a:lnTo>
                <a:lnTo>
                  <a:pt x="234305" y="20622"/>
                </a:lnTo>
                <a:lnTo>
                  <a:pt x="236525" y="21727"/>
                </a:lnTo>
                <a:lnTo>
                  <a:pt x="237554" y="22546"/>
                </a:lnTo>
                <a:lnTo>
                  <a:pt x="237992" y="23489"/>
                </a:lnTo>
                <a:lnTo>
                  <a:pt x="238268" y="24575"/>
                </a:lnTo>
                <a:lnTo>
                  <a:pt x="239478" y="24784"/>
                </a:lnTo>
                <a:lnTo>
                  <a:pt x="241697" y="25613"/>
                </a:lnTo>
                <a:lnTo>
                  <a:pt x="244688" y="27489"/>
                </a:lnTo>
                <a:lnTo>
                  <a:pt x="247031" y="29308"/>
                </a:lnTo>
                <a:lnTo>
                  <a:pt x="249269" y="31899"/>
                </a:lnTo>
                <a:lnTo>
                  <a:pt x="250012" y="34833"/>
                </a:lnTo>
                <a:lnTo>
                  <a:pt x="250050" y="38157"/>
                </a:lnTo>
                <a:lnTo>
                  <a:pt x="249907" y="40291"/>
                </a:lnTo>
                <a:lnTo>
                  <a:pt x="250098" y="41158"/>
                </a:lnTo>
                <a:lnTo>
                  <a:pt x="253155" y="56521"/>
                </a:lnTo>
                <a:lnTo>
                  <a:pt x="258242" y="71218"/>
                </a:lnTo>
                <a:lnTo>
                  <a:pt x="260109" y="78286"/>
                </a:lnTo>
                <a:lnTo>
                  <a:pt x="260852" y="82039"/>
                </a:lnTo>
                <a:lnTo>
                  <a:pt x="261452" y="87468"/>
                </a:lnTo>
                <a:lnTo>
                  <a:pt x="261633" y="91278"/>
                </a:lnTo>
                <a:lnTo>
                  <a:pt x="261614" y="93412"/>
                </a:lnTo>
                <a:lnTo>
                  <a:pt x="261233" y="96345"/>
                </a:lnTo>
                <a:lnTo>
                  <a:pt x="259728" y="98079"/>
                </a:lnTo>
                <a:lnTo>
                  <a:pt x="249964" y="103032"/>
                </a:lnTo>
                <a:lnTo>
                  <a:pt x="248126" y="104575"/>
                </a:lnTo>
                <a:lnTo>
                  <a:pt x="245250" y="108423"/>
                </a:lnTo>
                <a:lnTo>
                  <a:pt x="242592" y="112376"/>
                </a:lnTo>
                <a:lnTo>
                  <a:pt x="241983" y="113729"/>
                </a:lnTo>
                <a:lnTo>
                  <a:pt x="241821" y="114614"/>
                </a:lnTo>
                <a:lnTo>
                  <a:pt x="242411" y="115910"/>
                </a:lnTo>
                <a:lnTo>
                  <a:pt x="245888" y="118015"/>
                </a:lnTo>
                <a:lnTo>
                  <a:pt x="249393" y="119710"/>
                </a:lnTo>
                <a:lnTo>
                  <a:pt x="250536" y="120977"/>
                </a:lnTo>
                <a:lnTo>
                  <a:pt x="253127" y="122596"/>
                </a:lnTo>
                <a:lnTo>
                  <a:pt x="254070" y="124054"/>
                </a:lnTo>
                <a:lnTo>
                  <a:pt x="254584" y="125311"/>
                </a:lnTo>
                <a:lnTo>
                  <a:pt x="254546" y="128235"/>
                </a:lnTo>
                <a:lnTo>
                  <a:pt x="253384" y="132264"/>
                </a:lnTo>
                <a:lnTo>
                  <a:pt x="253870" y="135303"/>
                </a:lnTo>
                <a:lnTo>
                  <a:pt x="252679" y="137331"/>
                </a:lnTo>
                <a:lnTo>
                  <a:pt x="251708" y="139579"/>
                </a:lnTo>
                <a:lnTo>
                  <a:pt x="251565" y="143504"/>
                </a:lnTo>
                <a:lnTo>
                  <a:pt x="253318" y="147828"/>
                </a:lnTo>
                <a:lnTo>
                  <a:pt x="254756" y="150781"/>
                </a:lnTo>
                <a:lnTo>
                  <a:pt x="255308" y="153095"/>
                </a:lnTo>
                <a:lnTo>
                  <a:pt x="254727" y="154905"/>
                </a:lnTo>
                <a:lnTo>
                  <a:pt x="254898" y="156715"/>
                </a:lnTo>
                <a:lnTo>
                  <a:pt x="256184" y="158639"/>
                </a:lnTo>
                <a:lnTo>
                  <a:pt x="260223" y="164544"/>
                </a:lnTo>
                <a:lnTo>
                  <a:pt x="262214" y="170212"/>
                </a:lnTo>
                <a:lnTo>
                  <a:pt x="263490" y="172421"/>
                </a:lnTo>
                <a:lnTo>
                  <a:pt x="266433" y="175279"/>
                </a:lnTo>
                <a:lnTo>
                  <a:pt x="266700" y="176451"/>
                </a:lnTo>
                <a:lnTo>
                  <a:pt x="265519" y="177527"/>
                </a:lnTo>
                <a:lnTo>
                  <a:pt x="264566" y="177670"/>
                </a:lnTo>
                <a:lnTo>
                  <a:pt x="263795" y="177956"/>
                </a:lnTo>
                <a:lnTo>
                  <a:pt x="263300" y="178956"/>
                </a:lnTo>
                <a:lnTo>
                  <a:pt x="264071" y="180032"/>
                </a:lnTo>
                <a:lnTo>
                  <a:pt x="265109" y="181604"/>
                </a:lnTo>
                <a:lnTo>
                  <a:pt x="266405" y="186052"/>
                </a:lnTo>
                <a:lnTo>
                  <a:pt x="266281" y="189690"/>
                </a:lnTo>
                <a:lnTo>
                  <a:pt x="265281" y="190614"/>
                </a:lnTo>
                <a:lnTo>
                  <a:pt x="264004" y="192767"/>
                </a:lnTo>
                <a:lnTo>
                  <a:pt x="263147" y="194739"/>
                </a:lnTo>
                <a:lnTo>
                  <a:pt x="256165" y="196101"/>
                </a:lnTo>
                <a:lnTo>
                  <a:pt x="254489" y="198206"/>
                </a:lnTo>
                <a:lnTo>
                  <a:pt x="250670" y="202254"/>
                </a:lnTo>
                <a:lnTo>
                  <a:pt x="248069" y="204588"/>
                </a:lnTo>
                <a:lnTo>
                  <a:pt x="244212" y="208788"/>
                </a:lnTo>
                <a:lnTo>
                  <a:pt x="238116" y="215989"/>
                </a:lnTo>
                <a:lnTo>
                  <a:pt x="235868" y="218999"/>
                </a:lnTo>
                <a:lnTo>
                  <a:pt x="234220" y="221485"/>
                </a:lnTo>
                <a:lnTo>
                  <a:pt x="229286" y="228076"/>
                </a:lnTo>
                <a:lnTo>
                  <a:pt x="227772" y="230839"/>
                </a:lnTo>
                <a:lnTo>
                  <a:pt x="228067" y="233105"/>
                </a:lnTo>
                <a:lnTo>
                  <a:pt x="229658" y="238430"/>
                </a:lnTo>
                <a:lnTo>
                  <a:pt x="229991" y="240830"/>
                </a:lnTo>
                <a:lnTo>
                  <a:pt x="229705" y="243040"/>
                </a:lnTo>
                <a:lnTo>
                  <a:pt x="229181" y="245012"/>
                </a:lnTo>
                <a:lnTo>
                  <a:pt x="229276" y="245888"/>
                </a:lnTo>
                <a:lnTo>
                  <a:pt x="230734" y="247317"/>
                </a:lnTo>
                <a:lnTo>
                  <a:pt x="233048" y="249555"/>
                </a:lnTo>
                <a:lnTo>
                  <a:pt x="233182" y="250307"/>
                </a:lnTo>
                <a:lnTo>
                  <a:pt x="232858" y="251279"/>
                </a:lnTo>
                <a:lnTo>
                  <a:pt x="232058" y="252013"/>
                </a:lnTo>
                <a:lnTo>
                  <a:pt x="229152" y="251231"/>
                </a:lnTo>
                <a:lnTo>
                  <a:pt x="225914" y="249717"/>
                </a:lnTo>
                <a:lnTo>
                  <a:pt x="224809" y="249907"/>
                </a:lnTo>
                <a:lnTo>
                  <a:pt x="223057" y="249546"/>
                </a:lnTo>
                <a:lnTo>
                  <a:pt x="215827" y="246621"/>
                </a:lnTo>
                <a:lnTo>
                  <a:pt x="210951" y="244326"/>
                </a:lnTo>
                <a:lnTo>
                  <a:pt x="210464" y="242830"/>
                </a:lnTo>
                <a:lnTo>
                  <a:pt x="209550" y="240668"/>
                </a:lnTo>
                <a:lnTo>
                  <a:pt x="207473" y="238849"/>
                </a:lnTo>
                <a:lnTo>
                  <a:pt x="202711" y="237277"/>
                </a:lnTo>
                <a:lnTo>
                  <a:pt x="200778" y="236049"/>
                </a:lnTo>
                <a:lnTo>
                  <a:pt x="193043" y="235363"/>
                </a:lnTo>
                <a:lnTo>
                  <a:pt x="189691" y="235334"/>
                </a:lnTo>
                <a:lnTo>
                  <a:pt x="187319" y="235839"/>
                </a:lnTo>
                <a:lnTo>
                  <a:pt x="185794" y="235791"/>
                </a:lnTo>
                <a:lnTo>
                  <a:pt x="183709" y="239001"/>
                </a:lnTo>
                <a:lnTo>
                  <a:pt x="182270" y="239935"/>
                </a:lnTo>
                <a:lnTo>
                  <a:pt x="180166" y="240030"/>
                </a:lnTo>
                <a:lnTo>
                  <a:pt x="178318" y="239459"/>
                </a:lnTo>
                <a:lnTo>
                  <a:pt x="176432" y="237773"/>
                </a:lnTo>
                <a:lnTo>
                  <a:pt x="173422" y="236877"/>
                </a:lnTo>
                <a:lnTo>
                  <a:pt x="171241" y="237306"/>
                </a:lnTo>
                <a:lnTo>
                  <a:pt x="169631" y="236944"/>
                </a:lnTo>
                <a:lnTo>
                  <a:pt x="168250" y="236849"/>
                </a:lnTo>
                <a:lnTo>
                  <a:pt x="167764" y="237192"/>
                </a:lnTo>
                <a:lnTo>
                  <a:pt x="166650" y="237144"/>
                </a:lnTo>
                <a:lnTo>
                  <a:pt x="165040" y="237954"/>
                </a:lnTo>
                <a:lnTo>
                  <a:pt x="163268" y="239087"/>
                </a:lnTo>
                <a:lnTo>
                  <a:pt x="161325" y="239963"/>
                </a:lnTo>
                <a:lnTo>
                  <a:pt x="159820" y="241830"/>
                </a:lnTo>
                <a:lnTo>
                  <a:pt x="158487" y="245478"/>
                </a:lnTo>
                <a:lnTo>
                  <a:pt x="154705" y="243840"/>
                </a:lnTo>
                <a:lnTo>
                  <a:pt x="153448" y="244554"/>
                </a:lnTo>
                <a:lnTo>
                  <a:pt x="151657" y="245031"/>
                </a:lnTo>
                <a:lnTo>
                  <a:pt x="150438" y="244535"/>
                </a:lnTo>
                <a:lnTo>
                  <a:pt x="150724" y="243278"/>
                </a:lnTo>
                <a:lnTo>
                  <a:pt x="151276" y="241859"/>
                </a:lnTo>
                <a:lnTo>
                  <a:pt x="151248" y="239878"/>
                </a:lnTo>
                <a:lnTo>
                  <a:pt x="150905" y="237677"/>
                </a:lnTo>
                <a:lnTo>
                  <a:pt x="149733" y="236963"/>
                </a:lnTo>
                <a:lnTo>
                  <a:pt x="147971" y="236706"/>
                </a:lnTo>
                <a:lnTo>
                  <a:pt x="147066" y="236268"/>
                </a:lnTo>
                <a:lnTo>
                  <a:pt x="146971" y="235544"/>
                </a:lnTo>
                <a:lnTo>
                  <a:pt x="146066" y="234610"/>
                </a:lnTo>
                <a:lnTo>
                  <a:pt x="144504" y="232248"/>
                </a:lnTo>
                <a:lnTo>
                  <a:pt x="143037" y="229295"/>
                </a:lnTo>
                <a:lnTo>
                  <a:pt x="142018" y="228429"/>
                </a:lnTo>
                <a:lnTo>
                  <a:pt x="140541" y="229829"/>
                </a:lnTo>
                <a:lnTo>
                  <a:pt x="138303" y="231419"/>
                </a:lnTo>
                <a:lnTo>
                  <a:pt x="136903" y="231972"/>
                </a:lnTo>
                <a:lnTo>
                  <a:pt x="134208" y="236544"/>
                </a:lnTo>
                <a:lnTo>
                  <a:pt x="129369" y="236696"/>
                </a:lnTo>
                <a:lnTo>
                  <a:pt x="129074" y="234563"/>
                </a:lnTo>
                <a:lnTo>
                  <a:pt x="128559" y="232505"/>
                </a:lnTo>
                <a:lnTo>
                  <a:pt x="125730" y="232000"/>
                </a:lnTo>
                <a:lnTo>
                  <a:pt x="125645" y="230791"/>
                </a:lnTo>
                <a:lnTo>
                  <a:pt x="125054" y="227762"/>
                </a:lnTo>
                <a:lnTo>
                  <a:pt x="119377" y="221828"/>
                </a:lnTo>
                <a:lnTo>
                  <a:pt x="118691" y="219351"/>
                </a:lnTo>
                <a:lnTo>
                  <a:pt x="118910" y="218389"/>
                </a:lnTo>
                <a:lnTo>
                  <a:pt x="118520" y="216808"/>
                </a:lnTo>
                <a:lnTo>
                  <a:pt x="117281" y="215856"/>
                </a:lnTo>
                <a:lnTo>
                  <a:pt x="112795" y="214722"/>
                </a:lnTo>
                <a:lnTo>
                  <a:pt x="111643" y="215370"/>
                </a:lnTo>
                <a:lnTo>
                  <a:pt x="110604" y="214703"/>
                </a:lnTo>
                <a:lnTo>
                  <a:pt x="108966" y="213274"/>
                </a:lnTo>
                <a:lnTo>
                  <a:pt x="106137" y="212112"/>
                </a:lnTo>
                <a:lnTo>
                  <a:pt x="105823" y="211512"/>
                </a:lnTo>
                <a:lnTo>
                  <a:pt x="104803" y="210483"/>
                </a:lnTo>
                <a:lnTo>
                  <a:pt x="104242" y="210350"/>
                </a:lnTo>
                <a:lnTo>
                  <a:pt x="103870" y="210969"/>
                </a:lnTo>
                <a:lnTo>
                  <a:pt x="103051" y="211846"/>
                </a:lnTo>
                <a:lnTo>
                  <a:pt x="100136" y="212960"/>
                </a:lnTo>
                <a:lnTo>
                  <a:pt x="98974" y="212503"/>
                </a:lnTo>
                <a:lnTo>
                  <a:pt x="97917" y="211541"/>
                </a:lnTo>
                <a:lnTo>
                  <a:pt x="96707" y="209455"/>
                </a:lnTo>
                <a:lnTo>
                  <a:pt x="94955" y="207626"/>
                </a:lnTo>
                <a:lnTo>
                  <a:pt x="93516" y="206978"/>
                </a:lnTo>
                <a:lnTo>
                  <a:pt x="92688" y="206016"/>
                </a:lnTo>
                <a:lnTo>
                  <a:pt x="92507" y="205273"/>
                </a:lnTo>
                <a:lnTo>
                  <a:pt x="95708" y="203768"/>
                </a:lnTo>
                <a:lnTo>
                  <a:pt x="96412" y="202216"/>
                </a:lnTo>
                <a:lnTo>
                  <a:pt x="96003" y="199387"/>
                </a:lnTo>
                <a:lnTo>
                  <a:pt x="95526" y="199034"/>
                </a:lnTo>
                <a:lnTo>
                  <a:pt x="94250" y="199987"/>
                </a:lnTo>
                <a:lnTo>
                  <a:pt x="91573" y="200825"/>
                </a:lnTo>
                <a:lnTo>
                  <a:pt x="89116" y="201216"/>
                </a:lnTo>
                <a:lnTo>
                  <a:pt x="87849" y="201216"/>
                </a:lnTo>
                <a:lnTo>
                  <a:pt x="80810" y="196063"/>
                </a:lnTo>
                <a:lnTo>
                  <a:pt x="76238" y="194481"/>
                </a:lnTo>
                <a:lnTo>
                  <a:pt x="73543" y="194024"/>
                </a:lnTo>
                <a:lnTo>
                  <a:pt x="73257" y="194548"/>
                </a:lnTo>
                <a:lnTo>
                  <a:pt x="74466" y="197444"/>
                </a:lnTo>
                <a:lnTo>
                  <a:pt x="76581" y="201016"/>
                </a:lnTo>
                <a:lnTo>
                  <a:pt x="76476" y="201959"/>
                </a:lnTo>
                <a:lnTo>
                  <a:pt x="73952" y="203416"/>
                </a:lnTo>
                <a:lnTo>
                  <a:pt x="72523" y="204054"/>
                </a:lnTo>
                <a:lnTo>
                  <a:pt x="70838" y="205283"/>
                </a:lnTo>
                <a:lnTo>
                  <a:pt x="69409" y="206997"/>
                </a:lnTo>
                <a:lnTo>
                  <a:pt x="68170" y="207769"/>
                </a:lnTo>
                <a:lnTo>
                  <a:pt x="67103" y="207569"/>
                </a:lnTo>
                <a:lnTo>
                  <a:pt x="65970" y="206750"/>
                </a:lnTo>
                <a:lnTo>
                  <a:pt x="63055" y="201482"/>
                </a:lnTo>
                <a:lnTo>
                  <a:pt x="59388" y="197444"/>
                </a:lnTo>
                <a:lnTo>
                  <a:pt x="58950" y="196539"/>
                </a:lnTo>
                <a:lnTo>
                  <a:pt x="57808" y="196329"/>
                </a:lnTo>
                <a:lnTo>
                  <a:pt x="56188" y="195396"/>
                </a:lnTo>
                <a:lnTo>
                  <a:pt x="55636" y="194158"/>
                </a:lnTo>
                <a:lnTo>
                  <a:pt x="56455" y="192862"/>
                </a:lnTo>
                <a:lnTo>
                  <a:pt x="57569" y="191681"/>
                </a:lnTo>
                <a:lnTo>
                  <a:pt x="59550" y="190948"/>
                </a:lnTo>
                <a:lnTo>
                  <a:pt x="60150" y="190252"/>
                </a:lnTo>
                <a:lnTo>
                  <a:pt x="60503" y="189214"/>
                </a:lnTo>
                <a:lnTo>
                  <a:pt x="61236" y="187871"/>
                </a:lnTo>
                <a:lnTo>
                  <a:pt x="61046" y="187395"/>
                </a:lnTo>
                <a:lnTo>
                  <a:pt x="59646" y="185871"/>
                </a:lnTo>
                <a:lnTo>
                  <a:pt x="57569" y="184433"/>
                </a:lnTo>
                <a:lnTo>
                  <a:pt x="51797" y="185509"/>
                </a:lnTo>
                <a:lnTo>
                  <a:pt x="50216" y="186280"/>
                </a:lnTo>
                <a:lnTo>
                  <a:pt x="49321" y="185280"/>
                </a:lnTo>
                <a:lnTo>
                  <a:pt x="48644" y="183823"/>
                </a:lnTo>
                <a:lnTo>
                  <a:pt x="47187" y="183537"/>
                </a:lnTo>
                <a:lnTo>
                  <a:pt x="45187" y="182204"/>
                </a:lnTo>
                <a:lnTo>
                  <a:pt x="42815" y="180889"/>
                </a:lnTo>
                <a:lnTo>
                  <a:pt x="40500" y="180508"/>
                </a:lnTo>
                <a:lnTo>
                  <a:pt x="35690" y="178613"/>
                </a:lnTo>
                <a:lnTo>
                  <a:pt x="33833" y="178508"/>
                </a:lnTo>
                <a:lnTo>
                  <a:pt x="32766" y="177860"/>
                </a:lnTo>
                <a:lnTo>
                  <a:pt x="31642" y="176422"/>
                </a:lnTo>
                <a:lnTo>
                  <a:pt x="30689" y="174850"/>
                </a:lnTo>
                <a:lnTo>
                  <a:pt x="30194" y="171650"/>
                </a:lnTo>
                <a:lnTo>
                  <a:pt x="26651" y="170202"/>
                </a:lnTo>
                <a:lnTo>
                  <a:pt x="23117" y="169288"/>
                </a:lnTo>
                <a:lnTo>
                  <a:pt x="22870" y="169754"/>
                </a:lnTo>
                <a:lnTo>
                  <a:pt x="23022" y="172974"/>
                </a:lnTo>
                <a:lnTo>
                  <a:pt x="22832" y="174698"/>
                </a:lnTo>
                <a:lnTo>
                  <a:pt x="20498" y="175755"/>
                </a:lnTo>
                <a:lnTo>
                  <a:pt x="18193" y="175860"/>
                </a:lnTo>
                <a:lnTo>
                  <a:pt x="18317" y="175327"/>
                </a:lnTo>
                <a:lnTo>
                  <a:pt x="21079" y="169526"/>
                </a:lnTo>
                <a:lnTo>
                  <a:pt x="22317" y="165859"/>
                </a:lnTo>
                <a:lnTo>
                  <a:pt x="23736" y="159163"/>
                </a:lnTo>
                <a:lnTo>
                  <a:pt x="22031" y="153857"/>
                </a:lnTo>
                <a:lnTo>
                  <a:pt x="21565" y="151362"/>
                </a:lnTo>
                <a:lnTo>
                  <a:pt x="20774" y="150171"/>
                </a:lnTo>
                <a:lnTo>
                  <a:pt x="15926" y="147571"/>
                </a:lnTo>
                <a:lnTo>
                  <a:pt x="15554" y="146676"/>
                </a:lnTo>
                <a:lnTo>
                  <a:pt x="16297" y="143151"/>
                </a:lnTo>
                <a:lnTo>
                  <a:pt x="15936" y="141665"/>
                </a:lnTo>
                <a:lnTo>
                  <a:pt x="14764" y="140094"/>
                </a:lnTo>
                <a:lnTo>
                  <a:pt x="13231" y="136970"/>
                </a:lnTo>
                <a:lnTo>
                  <a:pt x="12640" y="134312"/>
                </a:lnTo>
                <a:lnTo>
                  <a:pt x="14592" y="131188"/>
                </a:lnTo>
                <a:lnTo>
                  <a:pt x="15078" y="128883"/>
                </a:lnTo>
                <a:lnTo>
                  <a:pt x="15926" y="125730"/>
                </a:lnTo>
                <a:lnTo>
                  <a:pt x="16555" y="123997"/>
                </a:lnTo>
                <a:lnTo>
                  <a:pt x="16679" y="123520"/>
                </a:lnTo>
                <a:lnTo>
                  <a:pt x="15393" y="122291"/>
                </a:lnTo>
                <a:lnTo>
                  <a:pt x="15069" y="120558"/>
                </a:lnTo>
                <a:lnTo>
                  <a:pt x="15411" y="118062"/>
                </a:lnTo>
                <a:lnTo>
                  <a:pt x="14726" y="116205"/>
                </a:lnTo>
                <a:lnTo>
                  <a:pt x="13011" y="115005"/>
                </a:lnTo>
                <a:lnTo>
                  <a:pt x="11897" y="113405"/>
                </a:lnTo>
                <a:lnTo>
                  <a:pt x="11382" y="111423"/>
                </a:lnTo>
                <a:lnTo>
                  <a:pt x="11782" y="108299"/>
                </a:lnTo>
                <a:lnTo>
                  <a:pt x="13116" y="104042"/>
                </a:lnTo>
                <a:lnTo>
                  <a:pt x="10296" y="98898"/>
                </a:lnTo>
                <a:lnTo>
                  <a:pt x="3334" y="92869"/>
                </a:lnTo>
                <a:lnTo>
                  <a:pt x="0" y="88649"/>
                </a:lnTo>
                <a:lnTo>
                  <a:pt x="267" y="86230"/>
                </a:lnTo>
                <a:lnTo>
                  <a:pt x="1734" y="84039"/>
                </a:lnTo>
                <a:lnTo>
                  <a:pt x="4391" y="82077"/>
                </a:lnTo>
                <a:lnTo>
                  <a:pt x="6411" y="78581"/>
                </a:lnTo>
                <a:lnTo>
                  <a:pt x="7544" y="74419"/>
                </a:lnTo>
                <a:lnTo>
                  <a:pt x="7572" y="73628"/>
                </a:lnTo>
                <a:lnTo>
                  <a:pt x="7639" y="70656"/>
                </a:lnTo>
                <a:lnTo>
                  <a:pt x="4543" y="58446"/>
                </a:lnTo>
                <a:lnTo>
                  <a:pt x="4039" y="55378"/>
                </a:lnTo>
                <a:lnTo>
                  <a:pt x="3667" y="51664"/>
                </a:lnTo>
                <a:lnTo>
                  <a:pt x="3477" y="50654"/>
                </a:lnTo>
                <a:lnTo>
                  <a:pt x="9592" y="53254"/>
                </a:lnTo>
                <a:lnTo>
                  <a:pt x="12154" y="54721"/>
                </a:lnTo>
                <a:lnTo>
                  <a:pt x="11830" y="53073"/>
                </a:lnTo>
                <a:lnTo>
                  <a:pt x="11316" y="51654"/>
                </a:lnTo>
                <a:lnTo>
                  <a:pt x="11659" y="49578"/>
                </a:lnTo>
                <a:lnTo>
                  <a:pt x="11487" y="46434"/>
                </a:lnTo>
                <a:lnTo>
                  <a:pt x="5934" y="44825"/>
                </a:lnTo>
                <a:lnTo>
                  <a:pt x="2267" y="44282"/>
                </a:lnTo>
                <a:lnTo>
                  <a:pt x="1857" y="42091"/>
                </a:lnTo>
                <a:lnTo>
                  <a:pt x="2200" y="40672"/>
                </a:lnTo>
                <a:lnTo>
                  <a:pt x="3220" y="41510"/>
                </a:lnTo>
                <a:lnTo>
                  <a:pt x="6820" y="41834"/>
                </a:lnTo>
                <a:lnTo>
                  <a:pt x="15688" y="37595"/>
                </a:lnTo>
                <a:lnTo>
                  <a:pt x="30995" y="32061"/>
                </a:lnTo>
                <a:lnTo>
                  <a:pt x="47349" y="26870"/>
                </a:lnTo>
                <a:lnTo>
                  <a:pt x="51168" y="26299"/>
                </a:lnTo>
                <a:lnTo>
                  <a:pt x="54997" y="25203"/>
                </a:lnTo>
                <a:lnTo>
                  <a:pt x="56417" y="23251"/>
                </a:lnTo>
                <a:lnTo>
                  <a:pt x="57836" y="21946"/>
                </a:lnTo>
                <a:lnTo>
                  <a:pt x="60055" y="18498"/>
                </a:lnTo>
                <a:lnTo>
                  <a:pt x="64980" y="13125"/>
                </a:lnTo>
                <a:lnTo>
                  <a:pt x="73686" y="11163"/>
                </a:lnTo>
                <a:lnTo>
                  <a:pt x="76943" y="8611"/>
                </a:lnTo>
                <a:lnTo>
                  <a:pt x="83754" y="5029"/>
                </a:lnTo>
                <a:lnTo>
                  <a:pt x="99279" y="1000"/>
                </a:lnTo>
                <a:lnTo>
                  <a:pt x="105775" y="105"/>
                </a:lnTo>
                <a:lnTo>
                  <a:pt x="112129" y="0"/>
                </a:lnTo>
                <a:lnTo>
                  <a:pt x="117786" y="3181"/>
                </a:lnTo>
                <a:lnTo>
                  <a:pt x="123777" y="7106"/>
                </a:lnTo>
                <a:lnTo>
                  <a:pt x="124854" y="9458"/>
                </a:lnTo>
                <a:lnTo>
                  <a:pt x="121615" y="7991"/>
                </a:lnTo>
                <a:lnTo>
                  <a:pt x="116891" y="4477"/>
                </a:lnTo>
                <a:lnTo>
                  <a:pt x="115138" y="4324"/>
                </a:lnTo>
                <a:lnTo>
                  <a:pt x="119177" y="15002"/>
                </a:lnTo>
                <a:lnTo>
                  <a:pt x="121387" y="18774"/>
                </a:lnTo>
                <a:lnTo>
                  <a:pt x="125835" y="21574"/>
                </a:lnTo>
                <a:lnTo>
                  <a:pt x="129578" y="22527"/>
                </a:lnTo>
                <a:lnTo>
                  <a:pt x="141104" y="20822"/>
                </a:lnTo>
                <a:lnTo>
                  <a:pt x="145189" y="18593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6" name="Forme libre : forme 45">
            <a:extLst>
              <a:ext uri="{FF2B5EF4-FFF2-40B4-BE49-F238E27FC236}">
                <a16:creationId xmlns:a16="http://schemas.microsoft.com/office/drawing/2014/main" id="{5B4369ED-28F6-26B0-4C0C-6F3F143C40CC}"/>
              </a:ext>
            </a:extLst>
          </p:cNvPr>
          <p:cNvSpPr/>
          <p:nvPr/>
        </p:nvSpPr>
        <p:spPr>
          <a:xfrm>
            <a:off x="5191048" y="3951740"/>
            <a:ext cx="113924" cy="231399"/>
          </a:xfrm>
          <a:custGeom>
            <a:avLst/>
            <a:gdLst>
              <a:gd name="connsiteX0" fmla="*/ 112417 w 302478"/>
              <a:gd name="connsiteY0" fmla="*/ 0 h 614387"/>
              <a:gd name="connsiteX1" fmla="*/ 117331 w 302478"/>
              <a:gd name="connsiteY1" fmla="*/ 461 h 614387"/>
              <a:gd name="connsiteX2" fmla="*/ 118155 w 302478"/>
              <a:gd name="connsiteY2" fmla="*/ 3200 h 614387"/>
              <a:gd name="connsiteX3" fmla="*/ 120991 w 302478"/>
              <a:gd name="connsiteY3" fmla="*/ 8478 h 614387"/>
              <a:gd name="connsiteX4" fmla="*/ 124157 w 302478"/>
              <a:gd name="connsiteY4" fmla="*/ 12138 h 614387"/>
              <a:gd name="connsiteX5" fmla="*/ 125015 w 302478"/>
              <a:gd name="connsiteY5" fmla="*/ 14843 h 614387"/>
              <a:gd name="connsiteX6" fmla="*/ 117296 w 302478"/>
              <a:gd name="connsiteY6" fmla="*/ 26157 h 614387"/>
              <a:gd name="connsiteX7" fmla="*/ 116244 w 302478"/>
              <a:gd name="connsiteY7" fmla="*/ 30018 h 614387"/>
              <a:gd name="connsiteX8" fmla="*/ 120268 w 302478"/>
              <a:gd name="connsiteY8" fmla="*/ 37307 h 614387"/>
              <a:gd name="connsiteX9" fmla="*/ 120860 w 302478"/>
              <a:gd name="connsiteY9" fmla="*/ 39617 h 614387"/>
              <a:gd name="connsiteX10" fmla="*/ 122806 w 302478"/>
              <a:gd name="connsiteY10" fmla="*/ 40604 h 614387"/>
              <a:gd name="connsiteX11" fmla="*/ 128184 w 302478"/>
              <a:gd name="connsiteY11" fmla="*/ 40341 h 614387"/>
              <a:gd name="connsiteX12" fmla="*/ 137749 w 302478"/>
              <a:gd name="connsiteY12" fmla="*/ 35659 h 614387"/>
              <a:gd name="connsiteX13" fmla="*/ 144246 w 302478"/>
              <a:gd name="connsiteY13" fmla="*/ 31732 h 614387"/>
              <a:gd name="connsiteX14" fmla="*/ 146521 w 302478"/>
              <a:gd name="connsiteY14" fmla="*/ 33349 h 614387"/>
              <a:gd name="connsiteX15" fmla="*/ 165356 w 302478"/>
              <a:gd name="connsiteY15" fmla="*/ 31140 h 614387"/>
              <a:gd name="connsiteX16" fmla="*/ 169810 w 302478"/>
              <a:gd name="connsiteY16" fmla="*/ 32920 h 614387"/>
              <a:gd name="connsiteX17" fmla="*/ 172778 w 302478"/>
              <a:gd name="connsiteY17" fmla="*/ 34932 h 614387"/>
              <a:gd name="connsiteX18" fmla="*/ 182048 w 302478"/>
              <a:gd name="connsiteY18" fmla="*/ 37636 h 614387"/>
              <a:gd name="connsiteX19" fmla="*/ 192143 w 302478"/>
              <a:gd name="connsiteY19" fmla="*/ 37934 h 614387"/>
              <a:gd name="connsiteX20" fmla="*/ 204641 w 302478"/>
              <a:gd name="connsiteY20" fmla="*/ 34139 h 614387"/>
              <a:gd name="connsiteX21" fmla="*/ 210119 w 302478"/>
              <a:gd name="connsiteY21" fmla="*/ 30316 h 614387"/>
              <a:gd name="connsiteX22" fmla="*/ 211172 w 302478"/>
              <a:gd name="connsiteY22" fmla="*/ 26091 h 614387"/>
              <a:gd name="connsiteX23" fmla="*/ 211439 w 302478"/>
              <a:gd name="connsiteY23" fmla="*/ 22891 h 614387"/>
              <a:gd name="connsiteX24" fmla="*/ 213053 w 302478"/>
              <a:gd name="connsiteY24" fmla="*/ 20848 h 614387"/>
              <a:gd name="connsiteX25" fmla="*/ 215892 w 302478"/>
              <a:gd name="connsiteY25" fmla="*/ 19694 h 614387"/>
              <a:gd name="connsiteX26" fmla="*/ 220346 w 302478"/>
              <a:gd name="connsiteY26" fmla="*/ 21772 h 614387"/>
              <a:gd name="connsiteX27" fmla="*/ 226711 w 302478"/>
              <a:gd name="connsiteY27" fmla="*/ 23452 h 614387"/>
              <a:gd name="connsiteX28" fmla="*/ 241983 w 302478"/>
              <a:gd name="connsiteY28" fmla="*/ 24144 h 614387"/>
              <a:gd name="connsiteX29" fmla="*/ 244982 w 302478"/>
              <a:gd name="connsiteY29" fmla="*/ 21803 h 614387"/>
              <a:gd name="connsiteX30" fmla="*/ 250163 w 302478"/>
              <a:gd name="connsiteY30" fmla="*/ 22496 h 614387"/>
              <a:gd name="connsiteX31" fmla="*/ 256992 w 302478"/>
              <a:gd name="connsiteY31" fmla="*/ 25464 h 614387"/>
              <a:gd name="connsiteX32" fmla="*/ 264874 w 302478"/>
              <a:gd name="connsiteY32" fmla="*/ 24508 h 614387"/>
              <a:gd name="connsiteX33" fmla="*/ 268866 w 302478"/>
              <a:gd name="connsiteY33" fmla="*/ 28137 h 614387"/>
              <a:gd name="connsiteX34" fmla="*/ 270515 w 302478"/>
              <a:gd name="connsiteY34" fmla="*/ 32954 h 614387"/>
              <a:gd name="connsiteX35" fmla="*/ 270975 w 302478"/>
              <a:gd name="connsiteY35" fmla="*/ 43409 h 614387"/>
              <a:gd name="connsiteX36" fmla="*/ 270383 w 302478"/>
              <a:gd name="connsiteY36" fmla="*/ 53965 h 614387"/>
              <a:gd name="connsiteX37" fmla="*/ 271935 w 302478"/>
              <a:gd name="connsiteY37" fmla="*/ 57857 h 614387"/>
              <a:gd name="connsiteX38" fmla="*/ 277275 w 302478"/>
              <a:gd name="connsiteY38" fmla="*/ 58879 h 614387"/>
              <a:gd name="connsiteX39" fmla="*/ 285887 w 302478"/>
              <a:gd name="connsiteY39" fmla="*/ 58747 h 614387"/>
              <a:gd name="connsiteX40" fmla="*/ 293637 w 302478"/>
              <a:gd name="connsiteY40" fmla="*/ 61583 h 614387"/>
              <a:gd name="connsiteX41" fmla="*/ 299642 w 302478"/>
              <a:gd name="connsiteY41" fmla="*/ 66567 h 614387"/>
              <a:gd name="connsiteX42" fmla="*/ 301620 w 302478"/>
              <a:gd name="connsiteY42" fmla="*/ 71643 h 614387"/>
              <a:gd name="connsiteX43" fmla="*/ 302478 w 302478"/>
              <a:gd name="connsiteY43" fmla="*/ 75141 h 614387"/>
              <a:gd name="connsiteX44" fmla="*/ 299542 w 302478"/>
              <a:gd name="connsiteY44" fmla="*/ 77122 h 614387"/>
              <a:gd name="connsiteX45" fmla="*/ 295386 w 302478"/>
              <a:gd name="connsiteY45" fmla="*/ 84640 h 614387"/>
              <a:gd name="connsiteX46" fmla="*/ 284831 w 302478"/>
              <a:gd name="connsiteY46" fmla="*/ 94437 h 614387"/>
              <a:gd name="connsiteX47" fmla="*/ 269756 w 302478"/>
              <a:gd name="connsiteY47" fmla="*/ 103244 h 614387"/>
              <a:gd name="connsiteX48" fmla="*/ 258245 w 302478"/>
              <a:gd name="connsiteY48" fmla="*/ 114197 h 614387"/>
              <a:gd name="connsiteX49" fmla="*/ 250329 w 302478"/>
              <a:gd name="connsiteY49" fmla="*/ 127256 h 614387"/>
              <a:gd name="connsiteX50" fmla="*/ 240400 w 302478"/>
              <a:gd name="connsiteY50" fmla="*/ 132800 h 614387"/>
              <a:gd name="connsiteX51" fmla="*/ 237363 w 302478"/>
              <a:gd name="connsiteY51" fmla="*/ 135768 h 614387"/>
              <a:gd name="connsiteX52" fmla="*/ 236175 w 302478"/>
              <a:gd name="connsiteY52" fmla="*/ 139297 h 614387"/>
              <a:gd name="connsiteX53" fmla="*/ 242741 w 302478"/>
              <a:gd name="connsiteY53" fmla="*/ 155262 h 614387"/>
              <a:gd name="connsiteX54" fmla="*/ 244753 w 302478"/>
              <a:gd name="connsiteY54" fmla="*/ 167566 h 614387"/>
              <a:gd name="connsiteX55" fmla="*/ 246371 w 302478"/>
              <a:gd name="connsiteY55" fmla="*/ 182609 h 614387"/>
              <a:gd name="connsiteX56" fmla="*/ 245314 w 302478"/>
              <a:gd name="connsiteY56" fmla="*/ 186831 h 614387"/>
              <a:gd name="connsiteX57" fmla="*/ 244753 w 302478"/>
              <a:gd name="connsiteY57" fmla="*/ 203322 h 614387"/>
              <a:gd name="connsiteX58" fmla="*/ 243236 w 302478"/>
              <a:gd name="connsiteY58" fmla="*/ 208139 h 614387"/>
              <a:gd name="connsiteX59" fmla="*/ 243631 w 302478"/>
              <a:gd name="connsiteY59" fmla="*/ 212062 h 614387"/>
              <a:gd name="connsiteX60" fmla="*/ 246038 w 302478"/>
              <a:gd name="connsiteY60" fmla="*/ 216253 h 614387"/>
              <a:gd name="connsiteX61" fmla="*/ 247129 w 302478"/>
              <a:gd name="connsiteY61" fmla="*/ 220277 h 614387"/>
              <a:gd name="connsiteX62" fmla="*/ 242610 w 302478"/>
              <a:gd name="connsiteY62" fmla="*/ 225388 h 614387"/>
              <a:gd name="connsiteX63" fmla="*/ 234330 w 302478"/>
              <a:gd name="connsiteY63" fmla="*/ 231327 h 614387"/>
              <a:gd name="connsiteX64" fmla="*/ 228197 w 302478"/>
              <a:gd name="connsiteY64" fmla="*/ 236539 h 614387"/>
              <a:gd name="connsiteX65" fmla="*/ 226545 w 302478"/>
              <a:gd name="connsiteY65" fmla="*/ 241418 h 614387"/>
              <a:gd name="connsiteX66" fmla="*/ 227009 w 302478"/>
              <a:gd name="connsiteY66" fmla="*/ 244455 h 614387"/>
              <a:gd name="connsiteX67" fmla="*/ 237332 w 302478"/>
              <a:gd name="connsiteY67" fmla="*/ 254779 h 614387"/>
              <a:gd name="connsiteX68" fmla="*/ 239212 w 302478"/>
              <a:gd name="connsiteY68" fmla="*/ 259000 h 614387"/>
              <a:gd name="connsiteX69" fmla="*/ 237827 w 302478"/>
              <a:gd name="connsiteY69" fmla="*/ 269195 h 614387"/>
              <a:gd name="connsiteX70" fmla="*/ 231888 w 302478"/>
              <a:gd name="connsiteY70" fmla="*/ 285853 h 614387"/>
              <a:gd name="connsiteX71" fmla="*/ 226216 w 302478"/>
              <a:gd name="connsiteY71" fmla="*/ 295978 h 614387"/>
              <a:gd name="connsiteX72" fmla="*/ 225225 w 302478"/>
              <a:gd name="connsiteY72" fmla="*/ 296969 h 614387"/>
              <a:gd name="connsiteX73" fmla="*/ 218729 w 302478"/>
              <a:gd name="connsiteY73" fmla="*/ 299836 h 614387"/>
              <a:gd name="connsiteX74" fmla="*/ 187589 w 302478"/>
              <a:gd name="connsiteY74" fmla="*/ 299937 h 614387"/>
              <a:gd name="connsiteX75" fmla="*/ 180036 w 302478"/>
              <a:gd name="connsiteY75" fmla="*/ 302212 h 614387"/>
              <a:gd name="connsiteX76" fmla="*/ 181092 w 302478"/>
              <a:gd name="connsiteY76" fmla="*/ 304259 h 614387"/>
              <a:gd name="connsiteX77" fmla="*/ 188413 w 302478"/>
              <a:gd name="connsiteY77" fmla="*/ 317255 h 614387"/>
              <a:gd name="connsiteX78" fmla="*/ 196035 w 302478"/>
              <a:gd name="connsiteY78" fmla="*/ 324147 h 614387"/>
              <a:gd name="connsiteX79" fmla="*/ 198574 w 302478"/>
              <a:gd name="connsiteY79" fmla="*/ 325729 h 614387"/>
              <a:gd name="connsiteX80" fmla="*/ 201313 w 302478"/>
              <a:gd name="connsiteY80" fmla="*/ 340870 h 614387"/>
              <a:gd name="connsiteX81" fmla="*/ 213683 w 302478"/>
              <a:gd name="connsiteY81" fmla="*/ 365017 h 614387"/>
              <a:gd name="connsiteX82" fmla="*/ 225655 w 302478"/>
              <a:gd name="connsiteY82" fmla="*/ 368349 h 614387"/>
              <a:gd name="connsiteX83" fmla="*/ 229810 w 302478"/>
              <a:gd name="connsiteY83" fmla="*/ 374385 h 614387"/>
              <a:gd name="connsiteX84" fmla="*/ 229052 w 302478"/>
              <a:gd name="connsiteY84" fmla="*/ 382828 h 614387"/>
              <a:gd name="connsiteX85" fmla="*/ 225357 w 302478"/>
              <a:gd name="connsiteY85" fmla="*/ 392098 h 614387"/>
              <a:gd name="connsiteX86" fmla="*/ 218001 w 302478"/>
              <a:gd name="connsiteY86" fmla="*/ 401597 h 614387"/>
              <a:gd name="connsiteX87" fmla="*/ 209261 w 302478"/>
              <a:gd name="connsiteY87" fmla="*/ 408260 h 614387"/>
              <a:gd name="connsiteX88" fmla="*/ 203554 w 302478"/>
              <a:gd name="connsiteY88" fmla="*/ 414888 h 614387"/>
              <a:gd name="connsiteX89" fmla="*/ 203093 w 302478"/>
              <a:gd name="connsiteY89" fmla="*/ 422576 h 614387"/>
              <a:gd name="connsiteX90" fmla="*/ 201278 w 302478"/>
              <a:gd name="connsiteY90" fmla="*/ 432307 h 614387"/>
              <a:gd name="connsiteX91" fmla="*/ 198539 w 302478"/>
              <a:gd name="connsiteY91" fmla="*/ 439992 h 614387"/>
              <a:gd name="connsiteX92" fmla="*/ 197847 w 302478"/>
              <a:gd name="connsiteY92" fmla="*/ 445169 h 614387"/>
              <a:gd name="connsiteX93" fmla="*/ 219750 w 302478"/>
              <a:gd name="connsiteY93" fmla="*/ 477663 h 614387"/>
              <a:gd name="connsiteX94" fmla="*/ 231954 w 302478"/>
              <a:gd name="connsiteY94" fmla="*/ 476077 h 614387"/>
              <a:gd name="connsiteX95" fmla="*/ 233537 w 302478"/>
              <a:gd name="connsiteY95" fmla="*/ 476839 h 614387"/>
              <a:gd name="connsiteX96" fmla="*/ 231362 w 302478"/>
              <a:gd name="connsiteY96" fmla="*/ 484554 h 614387"/>
              <a:gd name="connsiteX97" fmla="*/ 227500 w 302478"/>
              <a:gd name="connsiteY97" fmla="*/ 493593 h 614387"/>
              <a:gd name="connsiteX98" fmla="*/ 222884 w 302478"/>
              <a:gd name="connsiteY98" fmla="*/ 495310 h 614387"/>
              <a:gd name="connsiteX99" fmla="*/ 212426 w 302478"/>
              <a:gd name="connsiteY99" fmla="*/ 498081 h 614387"/>
              <a:gd name="connsiteX100" fmla="*/ 202532 w 302478"/>
              <a:gd name="connsiteY100" fmla="*/ 509755 h 614387"/>
              <a:gd name="connsiteX101" fmla="*/ 194515 w 302478"/>
              <a:gd name="connsiteY101" fmla="*/ 523773 h 614387"/>
              <a:gd name="connsiteX102" fmla="*/ 188479 w 302478"/>
              <a:gd name="connsiteY102" fmla="*/ 530571 h 614387"/>
              <a:gd name="connsiteX103" fmla="*/ 182973 w 302478"/>
              <a:gd name="connsiteY103" fmla="*/ 547193 h 614387"/>
              <a:gd name="connsiteX104" fmla="*/ 183665 w 302478"/>
              <a:gd name="connsiteY104" fmla="*/ 554386 h 614387"/>
              <a:gd name="connsiteX105" fmla="*/ 186335 w 302478"/>
              <a:gd name="connsiteY105" fmla="*/ 565468 h 614387"/>
              <a:gd name="connsiteX106" fmla="*/ 191977 w 302478"/>
              <a:gd name="connsiteY106" fmla="*/ 594298 h 614387"/>
              <a:gd name="connsiteX107" fmla="*/ 183863 w 302478"/>
              <a:gd name="connsiteY107" fmla="*/ 595582 h 614387"/>
              <a:gd name="connsiteX108" fmla="*/ 152328 w 302478"/>
              <a:gd name="connsiteY108" fmla="*/ 614352 h 614387"/>
              <a:gd name="connsiteX109" fmla="*/ 142566 w 302478"/>
              <a:gd name="connsiteY109" fmla="*/ 614387 h 614387"/>
              <a:gd name="connsiteX110" fmla="*/ 124323 w 302478"/>
              <a:gd name="connsiteY110" fmla="*/ 606138 h 614387"/>
              <a:gd name="connsiteX111" fmla="*/ 92130 w 302478"/>
              <a:gd name="connsiteY111" fmla="*/ 603468 h 614387"/>
              <a:gd name="connsiteX112" fmla="*/ 81641 w 302478"/>
              <a:gd name="connsiteY112" fmla="*/ 600995 h 614387"/>
              <a:gd name="connsiteX113" fmla="*/ 68544 w 302478"/>
              <a:gd name="connsiteY113" fmla="*/ 606404 h 614387"/>
              <a:gd name="connsiteX114" fmla="*/ 58418 w 302478"/>
              <a:gd name="connsiteY114" fmla="*/ 606273 h 614387"/>
              <a:gd name="connsiteX115" fmla="*/ 50370 w 302478"/>
              <a:gd name="connsiteY115" fmla="*/ 613164 h 614387"/>
              <a:gd name="connsiteX116" fmla="*/ 44597 w 302478"/>
              <a:gd name="connsiteY116" fmla="*/ 611284 h 614387"/>
              <a:gd name="connsiteX117" fmla="*/ 51229 w 302478"/>
              <a:gd name="connsiteY117" fmla="*/ 595814 h 614387"/>
              <a:gd name="connsiteX118" fmla="*/ 61618 w 302478"/>
              <a:gd name="connsiteY118" fmla="*/ 565139 h 614387"/>
              <a:gd name="connsiteX119" fmla="*/ 61188 w 302478"/>
              <a:gd name="connsiteY119" fmla="*/ 546369 h 614387"/>
              <a:gd name="connsiteX120" fmla="*/ 63664 w 302478"/>
              <a:gd name="connsiteY120" fmla="*/ 530010 h 614387"/>
              <a:gd name="connsiteX121" fmla="*/ 60828 w 302478"/>
              <a:gd name="connsiteY121" fmla="*/ 513782 h 614387"/>
              <a:gd name="connsiteX122" fmla="*/ 55613 w 302478"/>
              <a:gd name="connsiteY122" fmla="*/ 503622 h 614387"/>
              <a:gd name="connsiteX123" fmla="*/ 62705 w 302478"/>
              <a:gd name="connsiteY123" fmla="*/ 477265 h 614387"/>
              <a:gd name="connsiteX124" fmla="*/ 61916 w 302478"/>
              <a:gd name="connsiteY124" fmla="*/ 463641 h 614387"/>
              <a:gd name="connsiteX125" fmla="*/ 55419 w 302478"/>
              <a:gd name="connsiteY125" fmla="*/ 446357 h 614387"/>
              <a:gd name="connsiteX126" fmla="*/ 75110 w 302478"/>
              <a:gd name="connsiteY126" fmla="*/ 448996 h 614387"/>
              <a:gd name="connsiteX127" fmla="*/ 69008 w 302478"/>
              <a:gd name="connsiteY127" fmla="*/ 442136 h 614387"/>
              <a:gd name="connsiteX128" fmla="*/ 63003 w 302478"/>
              <a:gd name="connsiteY128" fmla="*/ 437949 h 614387"/>
              <a:gd name="connsiteX129" fmla="*/ 57199 w 302478"/>
              <a:gd name="connsiteY129" fmla="*/ 438905 h 614387"/>
              <a:gd name="connsiteX130" fmla="*/ 52285 w 302478"/>
              <a:gd name="connsiteY130" fmla="*/ 438638 h 614387"/>
              <a:gd name="connsiteX131" fmla="*/ 35527 w 302478"/>
              <a:gd name="connsiteY131" fmla="*/ 445335 h 614387"/>
              <a:gd name="connsiteX132" fmla="*/ 27116 w 302478"/>
              <a:gd name="connsiteY132" fmla="*/ 447347 h 614387"/>
              <a:gd name="connsiteX133" fmla="*/ 24674 w 302478"/>
              <a:gd name="connsiteY133" fmla="*/ 446160 h 614387"/>
              <a:gd name="connsiteX134" fmla="*/ 25599 w 302478"/>
              <a:gd name="connsiteY134" fmla="*/ 435473 h 614387"/>
              <a:gd name="connsiteX135" fmla="*/ 21246 w 302478"/>
              <a:gd name="connsiteY135" fmla="*/ 421586 h 614387"/>
              <a:gd name="connsiteX136" fmla="*/ 27974 w 302478"/>
              <a:gd name="connsiteY136" fmla="*/ 417926 h 614387"/>
              <a:gd name="connsiteX137" fmla="*/ 35790 w 302478"/>
              <a:gd name="connsiteY137" fmla="*/ 416869 h 614387"/>
              <a:gd name="connsiteX138" fmla="*/ 42453 w 302478"/>
              <a:gd name="connsiteY138" fmla="*/ 410934 h 614387"/>
              <a:gd name="connsiteX139" fmla="*/ 46578 w 302478"/>
              <a:gd name="connsiteY139" fmla="*/ 404302 h 614387"/>
              <a:gd name="connsiteX140" fmla="*/ 44400 w 302478"/>
              <a:gd name="connsiteY140" fmla="*/ 392462 h 614387"/>
              <a:gd name="connsiteX141" fmla="*/ 50172 w 302478"/>
              <a:gd name="connsiteY141" fmla="*/ 381210 h 614387"/>
              <a:gd name="connsiteX142" fmla="*/ 63730 w 302478"/>
              <a:gd name="connsiteY142" fmla="*/ 371680 h 614387"/>
              <a:gd name="connsiteX143" fmla="*/ 56704 w 302478"/>
              <a:gd name="connsiteY143" fmla="*/ 373131 h 614387"/>
              <a:gd name="connsiteX144" fmla="*/ 48656 w 302478"/>
              <a:gd name="connsiteY144" fmla="*/ 379067 h 614387"/>
              <a:gd name="connsiteX145" fmla="*/ 35988 w 302478"/>
              <a:gd name="connsiteY145" fmla="*/ 400576 h 614387"/>
              <a:gd name="connsiteX146" fmla="*/ 31863 w 302478"/>
              <a:gd name="connsiteY146" fmla="*/ 411460 h 614387"/>
              <a:gd name="connsiteX147" fmla="*/ 21080 w 302478"/>
              <a:gd name="connsiteY147" fmla="*/ 414989 h 614387"/>
              <a:gd name="connsiteX148" fmla="*/ 11414 w 302478"/>
              <a:gd name="connsiteY148" fmla="*/ 416738 h 614387"/>
              <a:gd name="connsiteX149" fmla="*/ 6466 w 302478"/>
              <a:gd name="connsiteY149" fmla="*/ 415581 h 614387"/>
              <a:gd name="connsiteX150" fmla="*/ 530 w 302478"/>
              <a:gd name="connsiteY150" fmla="*/ 412845 h 614387"/>
              <a:gd name="connsiteX151" fmla="*/ 0 w 302478"/>
              <a:gd name="connsiteY151" fmla="*/ 404828 h 614387"/>
              <a:gd name="connsiteX152" fmla="*/ 464 w 302478"/>
              <a:gd name="connsiteY152" fmla="*/ 398432 h 614387"/>
              <a:gd name="connsiteX153" fmla="*/ 4488 w 302478"/>
              <a:gd name="connsiteY153" fmla="*/ 385699 h 614387"/>
              <a:gd name="connsiteX154" fmla="*/ 6071 w 302478"/>
              <a:gd name="connsiteY154" fmla="*/ 367687 h 614387"/>
              <a:gd name="connsiteX155" fmla="*/ 11778 w 302478"/>
              <a:gd name="connsiteY155" fmla="*/ 351525 h 614387"/>
              <a:gd name="connsiteX156" fmla="*/ 11348 w 302478"/>
              <a:gd name="connsiteY156" fmla="*/ 347204 h 614387"/>
              <a:gd name="connsiteX157" fmla="*/ 9731 w 302478"/>
              <a:gd name="connsiteY157" fmla="*/ 340773 h 614387"/>
              <a:gd name="connsiteX158" fmla="*/ 14811 w 302478"/>
              <a:gd name="connsiteY158" fmla="*/ 334473 h 614387"/>
              <a:gd name="connsiteX159" fmla="*/ 21111 w 302478"/>
              <a:gd name="connsiteY159" fmla="*/ 330314 h 614387"/>
              <a:gd name="connsiteX160" fmla="*/ 30679 w 302478"/>
              <a:gd name="connsiteY160" fmla="*/ 316396 h 614387"/>
              <a:gd name="connsiteX161" fmla="*/ 44036 w 302478"/>
              <a:gd name="connsiteY161" fmla="*/ 283113 h 614387"/>
              <a:gd name="connsiteX162" fmla="*/ 59440 w 302478"/>
              <a:gd name="connsiteY162" fmla="*/ 247590 h 614387"/>
              <a:gd name="connsiteX163" fmla="*/ 58186 w 302478"/>
              <a:gd name="connsiteY163" fmla="*/ 243236 h 614387"/>
              <a:gd name="connsiteX164" fmla="*/ 54920 w 302478"/>
              <a:gd name="connsiteY164" fmla="*/ 239870 h 614387"/>
              <a:gd name="connsiteX165" fmla="*/ 56243 w 302478"/>
              <a:gd name="connsiteY165" fmla="*/ 230240 h 614387"/>
              <a:gd name="connsiteX166" fmla="*/ 65510 w 302478"/>
              <a:gd name="connsiteY166" fmla="*/ 188247 h 614387"/>
              <a:gd name="connsiteX167" fmla="*/ 69271 w 302478"/>
              <a:gd name="connsiteY167" fmla="*/ 182741 h 614387"/>
              <a:gd name="connsiteX168" fmla="*/ 73624 w 302478"/>
              <a:gd name="connsiteY168" fmla="*/ 170371 h 614387"/>
              <a:gd name="connsiteX169" fmla="*/ 74615 w 302478"/>
              <a:gd name="connsiteY169" fmla="*/ 150382 h 614387"/>
              <a:gd name="connsiteX170" fmla="*/ 76329 w 302478"/>
              <a:gd name="connsiteY170" fmla="*/ 136593 h 614387"/>
              <a:gd name="connsiteX171" fmla="*/ 75934 w 302478"/>
              <a:gd name="connsiteY171" fmla="*/ 129666 h 614387"/>
              <a:gd name="connsiteX172" fmla="*/ 74549 w 302478"/>
              <a:gd name="connsiteY172" fmla="*/ 121321 h 614387"/>
              <a:gd name="connsiteX173" fmla="*/ 68644 w 302478"/>
              <a:gd name="connsiteY173" fmla="*/ 105356 h 614387"/>
              <a:gd name="connsiteX174" fmla="*/ 62442 w 302478"/>
              <a:gd name="connsiteY174" fmla="*/ 71512 h 614387"/>
              <a:gd name="connsiteX175" fmla="*/ 61947 w 302478"/>
              <a:gd name="connsiteY175" fmla="*/ 60167 h 614387"/>
              <a:gd name="connsiteX176" fmla="*/ 67062 w 302478"/>
              <a:gd name="connsiteY176" fmla="*/ 54425 h 614387"/>
              <a:gd name="connsiteX177" fmla="*/ 58650 w 302478"/>
              <a:gd name="connsiteY177" fmla="*/ 53601 h 614387"/>
              <a:gd name="connsiteX178" fmla="*/ 54823 w 302478"/>
              <a:gd name="connsiteY178" fmla="*/ 46246 h 614387"/>
              <a:gd name="connsiteX179" fmla="*/ 55682 w 302478"/>
              <a:gd name="connsiteY179" fmla="*/ 37900 h 614387"/>
              <a:gd name="connsiteX180" fmla="*/ 65050 w 302478"/>
              <a:gd name="connsiteY180" fmla="*/ 24411 h 614387"/>
              <a:gd name="connsiteX181" fmla="*/ 73790 w 302478"/>
              <a:gd name="connsiteY181" fmla="*/ 16031 h 614387"/>
              <a:gd name="connsiteX182" fmla="*/ 82431 w 302478"/>
              <a:gd name="connsiteY182" fmla="*/ 10556 h 614387"/>
              <a:gd name="connsiteX183" fmla="*/ 87216 w 302478"/>
              <a:gd name="connsiteY183" fmla="*/ 8478 h 614387"/>
              <a:gd name="connsiteX184" fmla="*/ 107170 w 302478"/>
              <a:gd name="connsiteY184" fmla="*/ 2771 h 614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</a:cxnLst>
            <a:rect l="l" t="t" r="r" b="b"/>
            <a:pathLst>
              <a:path w="302478" h="614387">
                <a:moveTo>
                  <a:pt x="112417" y="0"/>
                </a:moveTo>
                <a:lnTo>
                  <a:pt x="117331" y="461"/>
                </a:lnTo>
                <a:lnTo>
                  <a:pt x="118155" y="3200"/>
                </a:lnTo>
                <a:lnTo>
                  <a:pt x="120991" y="8478"/>
                </a:lnTo>
                <a:lnTo>
                  <a:pt x="124157" y="12138"/>
                </a:lnTo>
                <a:lnTo>
                  <a:pt x="125015" y="14843"/>
                </a:lnTo>
                <a:lnTo>
                  <a:pt x="117296" y="26157"/>
                </a:lnTo>
                <a:lnTo>
                  <a:pt x="116244" y="30018"/>
                </a:lnTo>
                <a:lnTo>
                  <a:pt x="120268" y="37307"/>
                </a:lnTo>
                <a:lnTo>
                  <a:pt x="120860" y="39617"/>
                </a:lnTo>
                <a:lnTo>
                  <a:pt x="122806" y="40604"/>
                </a:lnTo>
                <a:lnTo>
                  <a:pt x="128184" y="40341"/>
                </a:lnTo>
                <a:lnTo>
                  <a:pt x="137749" y="35659"/>
                </a:lnTo>
                <a:lnTo>
                  <a:pt x="144246" y="31732"/>
                </a:lnTo>
                <a:lnTo>
                  <a:pt x="146521" y="33349"/>
                </a:lnTo>
                <a:lnTo>
                  <a:pt x="165356" y="31140"/>
                </a:lnTo>
                <a:lnTo>
                  <a:pt x="169810" y="32920"/>
                </a:lnTo>
                <a:lnTo>
                  <a:pt x="172778" y="34932"/>
                </a:lnTo>
                <a:lnTo>
                  <a:pt x="182048" y="37636"/>
                </a:lnTo>
                <a:lnTo>
                  <a:pt x="192143" y="37934"/>
                </a:lnTo>
                <a:lnTo>
                  <a:pt x="204641" y="34139"/>
                </a:lnTo>
                <a:lnTo>
                  <a:pt x="210119" y="30316"/>
                </a:lnTo>
                <a:lnTo>
                  <a:pt x="211172" y="26091"/>
                </a:lnTo>
                <a:lnTo>
                  <a:pt x="211439" y="22891"/>
                </a:lnTo>
                <a:lnTo>
                  <a:pt x="213053" y="20848"/>
                </a:lnTo>
                <a:lnTo>
                  <a:pt x="215892" y="19694"/>
                </a:lnTo>
                <a:lnTo>
                  <a:pt x="220346" y="21772"/>
                </a:lnTo>
                <a:lnTo>
                  <a:pt x="226711" y="23452"/>
                </a:lnTo>
                <a:lnTo>
                  <a:pt x="241983" y="24144"/>
                </a:lnTo>
                <a:lnTo>
                  <a:pt x="244982" y="21803"/>
                </a:lnTo>
                <a:lnTo>
                  <a:pt x="250163" y="22496"/>
                </a:lnTo>
                <a:lnTo>
                  <a:pt x="256992" y="25464"/>
                </a:lnTo>
                <a:lnTo>
                  <a:pt x="264874" y="24508"/>
                </a:lnTo>
                <a:lnTo>
                  <a:pt x="268866" y="28137"/>
                </a:lnTo>
                <a:lnTo>
                  <a:pt x="270515" y="32954"/>
                </a:lnTo>
                <a:lnTo>
                  <a:pt x="270975" y="43409"/>
                </a:lnTo>
                <a:lnTo>
                  <a:pt x="270383" y="53965"/>
                </a:lnTo>
                <a:lnTo>
                  <a:pt x="271935" y="57857"/>
                </a:lnTo>
                <a:lnTo>
                  <a:pt x="277275" y="58879"/>
                </a:lnTo>
                <a:lnTo>
                  <a:pt x="285887" y="58747"/>
                </a:lnTo>
                <a:lnTo>
                  <a:pt x="293637" y="61583"/>
                </a:lnTo>
                <a:lnTo>
                  <a:pt x="299642" y="66567"/>
                </a:lnTo>
                <a:lnTo>
                  <a:pt x="301620" y="71643"/>
                </a:lnTo>
                <a:lnTo>
                  <a:pt x="302478" y="75141"/>
                </a:lnTo>
                <a:lnTo>
                  <a:pt x="299542" y="77122"/>
                </a:lnTo>
                <a:lnTo>
                  <a:pt x="295386" y="84640"/>
                </a:lnTo>
                <a:lnTo>
                  <a:pt x="284831" y="94437"/>
                </a:lnTo>
                <a:lnTo>
                  <a:pt x="269756" y="103244"/>
                </a:lnTo>
                <a:lnTo>
                  <a:pt x="258245" y="114197"/>
                </a:lnTo>
                <a:lnTo>
                  <a:pt x="250329" y="127256"/>
                </a:lnTo>
                <a:lnTo>
                  <a:pt x="240400" y="132800"/>
                </a:lnTo>
                <a:lnTo>
                  <a:pt x="237363" y="135768"/>
                </a:lnTo>
                <a:lnTo>
                  <a:pt x="236175" y="139297"/>
                </a:lnTo>
                <a:lnTo>
                  <a:pt x="242741" y="155262"/>
                </a:lnTo>
                <a:lnTo>
                  <a:pt x="244753" y="167566"/>
                </a:lnTo>
                <a:lnTo>
                  <a:pt x="246371" y="182609"/>
                </a:lnTo>
                <a:lnTo>
                  <a:pt x="245314" y="186831"/>
                </a:lnTo>
                <a:lnTo>
                  <a:pt x="244753" y="203322"/>
                </a:lnTo>
                <a:lnTo>
                  <a:pt x="243236" y="208139"/>
                </a:lnTo>
                <a:lnTo>
                  <a:pt x="243631" y="212062"/>
                </a:lnTo>
                <a:lnTo>
                  <a:pt x="246038" y="216253"/>
                </a:lnTo>
                <a:lnTo>
                  <a:pt x="247129" y="220277"/>
                </a:lnTo>
                <a:lnTo>
                  <a:pt x="242610" y="225388"/>
                </a:lnTo>
                <a:lnTo>
                  <a:pt x="234330" y="231327"/>
                </a:lnTo>
                <a:lnTo>
                  <a:pt x="228197" y="236539"/>
                </a:lnTo>
                <a:lnTo>
                  <a:pt x="226545" y="241418"/>
                </a:lnTo>
                <a:lnTo>
                  <a:pt x="227009" y="244455"/>
                </a:lnTo>
                <a:lnTo>
                  <a:pt x="237332" y="254779"/>
                </a:lnTo>
                <a:lnTo>
                  <a:pt x="239212" y="259000"/>
                </a:lnTo>
                <a:lnTo>
                  <a:pt x="237827" y="269195"/>
                </a:lnTo>
                <a:lnTo>
                  <a:pt x="231888" y="285853"/>
                </a:lnTo>
                <a:lnTo>
                  <a:pt x="226216" y="295978"/>
                </a:lnTo>
                <a:lnTo>
                  <a:pt x="225225" y="296969"/>
                </a:lnTo>
                <a:lnTo>
                  <a:pt x="218729" y="299836"/>
                </a:lnTo>
                <a:lnTo>
                  <a:pt x="187589" y="299937"/>
                </a:lnTo>
                <a:lnTo>
                  <a:pt x="180036" y="302212"/>
                </a:lnTo>
                <a:lnTo>
                  <a:pt x="181092" y="304259"/>
                </a:lnTo>
                <a:lnTo>
                  <a:pt x="188413" y="317255"/>
                </a:lnTo>
                <a:lnTo>
                  <a:pt x="196035" y="324147"/>
                </a:lnTo>
                <a:lnTo>
                  <a:pt x="198574" y="325729"/>
                </a:lnTo>
                <a:lnTo>
                  <a:pt x="201313" y="340870"/>
                </a:lnTo>
                <a:lnTo>
                  <a:pt x="213683" y="365017"/>
                </a:lnTo>
                <a:lnTo>
                  <a:pt x="225655" y="368349"/>
                </a:lnTo>
                <a:lnTo>
                  <a:pt x="229810" y="374385"/>
                </a:lnTo>
                <a:lnTo>
                  <a:pt x="229052" y="382828"/>
                </a:lnTo>
                <a:lnTo>
                  <a:pt x="225357" y="392098"/>
                </a:lnTo>
                <a:lnTo>
                  <a:pt x="218001" y="401597"/>
                </a:lnTo>
                <a:lnTo>
                  <a:pt x="209261" y="408260"/>
                </a:lnTo>
                <a:lnTo>
                  <a:pt x="203554" y="414888"/>
                </a:lnTo>
                <a:lnTo>
                  <a:pt x="203093" y="422576"/>
                </a:lnTo>
                <a:lnTo>
                  <a:pt x="201278" y="432307"/>
                </a:lnTo>
                <a:lnTo>
                  <a:pt x="198539" y="439992"/>
                </a:lnTo>
                <a:lnTo>
                  <a:pt x="197847" y="445169"/>
                </a:lnTo>
                <a:lnTo>
                  <a:pt x="219750" y="477663"/>
                </a:lnTo>
                <a:lnTo>
                  <a:pt x="231954" y="476077"/>
                </a:lnTo>
                <a:lnTo>
                  <a:pt x="233537" y="476839"/>
                </a:lnTo>
                <a:lnTo>
                  <a:pt x="231362" y="484554"/>
                </a:lnTo>
                <a:lnTo>
                  <a:pt x="227500" y="493593"/>
                </a:lnTo>
                <a:lnTo>
                  <a:pt x="222884" y="495310"/>
                </a:lnTo>
                <a:lnTo>
                  <a:pt x="212426" y="498081"/>
                </a:lnTo>
                <a:lnTo>
                  <a:pt x="202532" y="509755"/>
                </a:lnTo>
                <a:lnTo>
                  <a:pt x="194515" y="523773"/>
                </a:lnTo>
                <a:lnTo>
                  <a:pt x="188479" y="530571"/>
                </a:lnTo>
                <a:lnTo>
                  <a:pt x="182973" y="547193"/>
                </a:lnTo>
                <a:lnTo>
                  <a:pt x="183665" y="554386"/>
                </a:lnTo>
                <a:lnTo>
                  <a:pt x="186335" y="565468"/>
                </a:lnTo>
                <a:lnTo>
                  <a:pt x="191977" y="594298"/>
                </a:lnTo>
                <a:lnTo>
                  <a:pt x="183863" y="595582"/>
                </a:lnTo>
                <a:lnTo>
                  <a:pt x="152328" y="614352"/>
                </a:lnTo>
                <a:lnTo>
                  <a:pt x="142566" y="614387"/>
                </a:lnTo>
                <a:lnTo>
                  <a:pt x="124323" y="606138"/>
                </a:lnTo>
                <a:lnTo>
                  <a:pt x="92130" y="603468"/>
                </a:lnTo>
                <a:lnTo>
                  <a:pt x="81641" y="600995"/>
                </a:lnTo>
                <a:lnTo>
                  <a:pt x="68544" y="606404"/>
                </a:lnTo>
                <a:lnTo>
                  <a:pt x="58418" y="606273"/>
                </a:lnTo>
                <a:lnTo>
                  <a:pt x="50370" y="613164"/>
                </a:lnTo>
                <a:lnTo>
                  <a:pt x="44597" y="611284"/>
                </a:lnTo>
                <a:lnTo>
                  <a:pt x="51229" y="595814"/>
                </a:lnTo>
                <a:lnTo>
                  <a:pt x="61618" y="565139"/>
                </a:lnTo>
                <a:lnTo>
                  <a:pt x="61188" y="546369"/>
                </a:lnTo>
                <a:lnTo>
                  <a:pt x="63664" y="530010"/>
                </a:lnTo>
                <a:lnTo>
                  <a:pt x="60828" y="513782"/>
                </a:lnTo>
                <a:lnTo>
                  <a:pt x="55613" y="503622"/>
                </a:lnTo>
                <a:lnTo>
                  <a:pt x="62705" y="477265"/>
                </a:lnTo>
                <a:lnTo>
                  <a:pt x="61916" y="463641"/>
                </a:lnTo>
                <a:lnTo>
                  <a:pt x="55419" y="446357"/>
                </a:lnTo>
                <a:lnTo>
                  <a:pt x="75110" y="448996"/>
                </a:lnTo>
                <a:lnTo>
                  <a:pt x="69008" y="442136"/>
                </a:lnTo>
                <a:lnTo>
                  <a:pt x="63003" y="437949"/>
                </a:lnTo>
                <a:lnTo>
                  <a:pt x="57199" y="438905"/>
                </a:lnTo>
                <a:lnTo>
                  <a:pt x="52285" y="438638"/>
                </a:lnTo>
                <a:lnTo>
                  <a:pt x="35527" y="445335"/>
                </a:lnTo>
                <a:lnTo>
                  <a:pt x="27116" y="447347"/>
                </a:lnTo>
                <a:lnTo>
                  <a:pt x="24674" y="446160"/>
                </a:lnTo>
                <a:lnTo>
                  <a:pt x="25599" y="435473"/>
                </a:lnTo>
                <a:lnTo>
                  <a:pt x="21246" y="421586"/>
                </a:lnTo>
                <a:lnTo>
                  <a:pt x="27974" y="417926"/>
                </a:lnTo>
                <a:lnTo>
                  <a:pt x="35790" y="416869"/>
                </a:lnTo>
                <a:lnTo>
                  <a:pt x="42453" y="410934"/>
                </a:lnTo>
                <a:lnTo>
                  <a:pt x="46578" y="404302"/>
                </a:lnTo>
                <a:lnTo>
                  <a:pt x="44400" y="392462"/>
                </a:lnTo>
                <a:lnTo>
                  <a:pt x="50172" y="381210"/>
                </a:lnTo>
                <a:lnTo>
                  <a:pt x="63730" y="371680"/>
                </a:lnTo>
                <a:lnTo>
                  <a:pt x="56704" y="373131"/>
                </a:lnTo>
                <a:lnTo>
                  <a:pt x="48656" y="379067"/>
                </a:lnTo>
                <a:lnTo>
                  <a:pt x="35988" y="400576"/>
                </a:lnTo>
                <a:lnTo>
                  <a:pt x="31863" y="411460"/>
                </a:lnTo>
                <a:lnTo>
                  <a:pt x="21080" y="414989"/>
                </a:lnTo>
                <a:lnTo>
                  <a:pt x="11414" y="416738"/>
                </a:lnTo>
                <a:lnTo>
                  <a:pt x="6466" y="415581"/>
                </a:lnTo>
                <a:lnTo>
                  <a:pt x="530" y="412845"/>
                </a:lnTo>
                <a:lnTo>
                  <a:pt x="0" y="404828"/>
                </a:lnTo>
                <a:lnTo>
                  <a:pt x="464" y="398432"/>
                </a:lnTo>
                <a:lnTo>
                  <a:pt x="4488" y="385699"/>
                </a:lnTo>
                <a:lnTo>
                  <a:pt x="6071" y="367687"/>
                </a:lnTo>
                <a:lnTo>
                  <a:pt x="11778" y="351525"/>
                </a:lnTo>
                <a:lnTo>
                  <a:pt x="11348" y="347204"/>
                </a:lnTo>
                <a:lnTo>
                  <a:pt x="9731" y="340773"/>
                </a:lnTo>
                <a:lnTo>
                  <a:pt x="14811" y="334473"/>
                </a:lnTo>
                <a:lnTo>
                  <a:pt x="21111" y="330314"/>
                </a:lnTo>
                <a:lnTo>
                  <a:pt x="30679" y="316396"/>
                </a:lnTo>
                <a:lnTo>
                  <a:pt x="44036" y="283113"/>
                </a:lnTo>
                <a:lnTo>
                  <a:pt x="59440" y="247590"/>
                </a:lnTo>
                <a:lnTo>
                  <a:pt x="58186" y="243236"/>
                </a:lnTo>
                <a:lnTo>
                  <a:pt x="54920" y="239870"/>
                </a:lnTo>
                <a:lnTo>
                  <a:pt x="56243" y="230240"/>
                </a:lnTo>
                <a:lnTo>
                  <a:pt x="65510" y="188247"/>
                </a:lnTo>
                <a:lnTo>
                  <a:pt x="69271" y="182741"/>
                </a:lnTo>
                <a:lnTo>
                  <a:pt x="73624" y="170371"/>
                </a:lnTo>
                <a:lnTo>
                  <a:pt x="74615" y="150382"/>
                </a:lnTo>
                <a:lnTo>
                  <a:pt x="76329" y="136593"/>
                </a:lnTo>
                <a:lnTo>
                  <a:pt x="75934" y="129666"/>
                </a:lnTo>
                <a:lnTo>
                  <a:pt x="74549" y="121321"/>
                </a:lnTo>
                <a:lnTo>
                  <a:pt x="68644" y="105356"/>
                </a:lnTo>
                <a:lnTo>
                  <a:pt x="62442" y="71512"/>
                </a:lnTo>
                <a:lnTo>
                  <a:pt x="61947" y="60167"/>
                </a:lnTo>
                <a:lnTo>
                  <a:pt x="67062" y="54425"/>
                </a:lnTo>
                <a:lnTo>
                  <a:pt x="58650" y="53601"/>
                </a:lnTo>
                <a:lnTo>
                  <a:pt x="54823" y="46246"/>
                </a:lnTo>
                <a:lnTo>
                  <a:pt x="55682" y="37900"/>
                </a:lnTo>
                <a:lnTo>
                  <a:pt x="65050" y="24411"/>
                </a:lnTo>
                <a:lnTo>
                  <a:pt x="73790" y="16031"/>
                </a:lnTo>
                <a:lnTo>
                  <a:pt x="82431" y="10556"/>
                </a:lnTo>
                <a:lnTo>
                  <a:pt x="87216" y="8478"/>
                </a:lnTo>
                <a:lnTo>
                  <a:pt x="107170" y="2771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7" name="Forme libre : forme 46">
            <a:extLst>
              <a:ext uri="{FF2B5EF4-FFF2-40B4-BE49-F238E27FC236}">
                <a16:creationId xmlns:a16="http://schemas.microsoft.com/office/drawing/2014/main" id="{4D3BF550-FB3A-A195-E7A8-6B06B18FA236}"/>
              </a:ext>
            </a:extLst>
          </p:cNvPr>
          <p:cNvSpPr/>
          <p:nvPr/>
        </p:nvSpPr>
        <p:spPr>
          <a:xfrm>
            <a:off x="6227299" y="3649267"/>
            <a:ext cx="329978" cy="229819"/>
          </a:xfrm>
          <a:custGeom>
            <a:avLst/>
            <a:gdLst>
              <a:gd name="connsiteX0" fmla="*/ 213065 w 252993"/>
              <a:gd name="connsiteY0" fmla="*/ 109661 h 176202"/>
              <a:gd name="connsiteX1" fmla="*/ 215884 w 252993"/>
              <a:gd name="connsiteY1" fmla="*/ 113576 h 176202"/>
              <a:gd name="connsiteX2" fmla="*/ 219456 w 252993"/>
              <a:gd name="connsiteY2" fmla="*/ 115662 h 176202"/>
              <a:gd name="connsiteX3" fmla="*/ 227724 w 252993"/>
              <a:gd name="connsiteY3" fmla="*/ 117862 h 176202"/>
              <a:gd name="connsiteX4" fmla="*/ 228467 w 252993"/>
              <a:gd name="connsiteY4" fmla="*/ 117596 h 176202"/>
              <a:gd name="connsiteX5" fmla="*/ 228543 w 252993"/>
              <a:gd name="connsiteY5" fmla="*/ 117186 h 176202"/>
              <a:gd name="connsiteX6" fmla="*/ 227972 w 252993"/>
              <a:gd name="connsiteY6" fmla="*/ 116614 h 176202"/>
              <a:gd name="connsiteX7" fmla="*/ 227886 w 252993"/>
              <a:gd name="connsiteY7" fmla="*/ 115891 h 176202"/>
              <a:gd name="connsiteX8" fmla="*/ 228285 w 252993"/>
              <a:gd name="connsiteY8" fmla="*/ 114995 h 176202"/>
              <a:gd name="connsiteX9" fmla="*/ 229428 w 252993"/>
              <a:gd name="connsiteY9" fmla="*/ 114948 h 176202"/>
              <a:gd name="connsiteX10" fmla="*/ 231296 w 252993"/>
              <a:gd name="connsiteY10" fmla="*/ 115748 h 176202"/>
              <a:gd name="connsiteX11" fmla="*/ 234858 w 252993"/>
              <a:gd name="connsiteY11" fmla="*/ 114586 h 176202"/>
              <a:gd name="connsiteX12" fmla="*/ 240097 w 252993"/>
              <a:gd name="connsiteY12" fmla="*/ 111462 h 176202"/>
              <a:gd name="connsiteX13" fmla="*/ 244916 w 252993"/>
              <a:gd name="connsiteY13" fmla="*/ 110833 h 176202"/>
              <a:gd name="connsiteX14" fmla="*/ 249298 w 252993"/>
              <a:gd name="connsiteY14" fmla="*/ 112681 h 176202"/>
              <a:gd name="connsiteX15" fmla="*/ 251546 w 252993"/>
              <a:gd name="connsiteY15" fmla="*/ 114833 h 176202"/>
              <a:gd name="connsiteX16" fmla="*/ 252993 w 252993"/>
              <a:gd name="connsiteY16" fmla="*/ 116881 h 176202"/>
              <a:gd name="connsiteX17" fmla="*/ 252536 w 252993"/>
              <a:gd name="connsiteY17" fmla="*/ 119405 h 176202"/>
              <a:gd name="connsiteX18" fmla="*/ 252260 w 252993"/>
              <a:gd name="connsiteY18" fmla="*/ 120977 h 176202"/>
              <a:gd name="connsiteX19" fmla="*/ 251107 w 252993"/>
              <a:gd name="connsiteY19" fmla="*/ 127463 h 176202"/>
              <a:gd name="connsiteX20" fmla="*/ 250307 w 252993"/>
              <a:gd name="connsiteY20" fmla="*/ 129883 h 176202"/>
              <a:gd name="connsiteX21" fmla="*/ 249021 w 252993"/>
              <a:gd name="connsiteY21" fmla="*/ 132588 h 176202"/>
              <a:gd name="connsiteX22" fmla="*/ 235411 w 252993"/>
              <a:gd name="connsiteY22" fmla="*/ 135817 h 176202"/>
              <a:gd name="connsiteX23" fmla="*/ 236287 w 252993"/>
              <a:gd name="connsiteY23" fmla="*/ 134264 h 176202"/>
              <a:gd name="connsiteX24" fmla="*/ 235972 w 252993"/>
              <a:gd name="connsiteY24" fmla="*/ 131550 h 176202"/>
              <a:gd name="connsiteX25" fmla="*/ 235401 w 252993"/>
              <a:gd name="connsiteY25" fmla="*/ 129492 h 176202"/>
              <a:gd name="connsiteX26" fmla="*/ 236668 w 252993"/>
              <a:gd name="connsiteY26" fmla="*/ 127645 h 176202"/>
              <a:gd name="connsiteX27" fmla="*/ 233610 w 252993"/>
              <a:gd name="connsiteY27" fmla="*/ 126968 h 176202"/>
              <a:gd name="connsiteX28" fmla="*/ 232267 w 252993"/>
              <a:gd name="connsiteY28" fmla="*/ 127987 h 176202"/>
              <a:gd name="connsiteX29" fmla="*/ 231220 w 252993"/>
              <a:gd name="connsiteY29" fmla="*/ 129759 h 176202"/>
              <a:gd name="connsiteX30" fmla="*/ 232143 w 252993"/>
              <a:gd name="connsiteY30" fmla="*/ 133845 h 176202"/>
              <a:gd name="connsiteX31" fmla="*/ 230657 w 252993"/>
              <a:gd name="connsiteY31" fmla="*/ 136103 h 176202"/>
              <a:gd name="connsiteX32" fmla="*/ 230086 w 252993"/>
              <a:gd name="connsiteY32" fmla="*/ 137360 h 176202"/>
              <a:gd name="connsiteX33" fmla="*/ 230019 w 252993"/>
              <a:gd name="connsiteY33" fmla="*/ 140341 h 176202"/>
              <a:gd name="connsiteX34" fmla="*/ 229134 w 252993"/>
              <a:gd name="connsiteY34" fmla="*/ 141618 h 176202"/>
              <a:gd name="connsiteX35" fmla="*/ 228962 w 252993"/>
              <a:gd name="connsiteY35" fmla="*/ 143027 h 176202"/>
              <a:gd name="connsiteX36" fmla="*/ 231134 w 252993"/>
              <a:gd name="connsiteY36" fmla="*/ 142665 h 176202"/>
              <a:gd name="connsiteX37" fmla="*/ 230153 w 252993"/>
              <a:gd name="connsiteY37" fmla="*/ 145228 h 176202"/>
              <a:gd name="connsiteX38" fmla="*/ 226076 w 252993"/>
              <a:gd name="connsiteY38" fmla="*/ 150143 h 176202"/>
              <a:gd name="connsiteX39" fmla="*/ 224647 w 252993"/>
              <a:gd name="connsiteY39" fmla="*/ 153076 h 176202"/>
              <a:gd name="connsiteX40" fmla="*/ 225000 w 252993"/>
              <a:gd name="connsiteY40" fmla="*/ 164649 h 176202"/>
              <a:gd name="connsiteX41" fmla="*/ 223181 w 252993"/>
              <a:gd name="connsiteY41" fmla="*/ 171545 h 176202"/>
              <a:gd name="connsiteX42" fmla="*/ 223038 w 252993"/>
              <a:gd name="connsiteY42" fmla="*/ 173574 h 176202"/>
              <a:gd name="connsiteX43" fmla="*/ 218713 w 252993"/>
              <a:gd name="connsiteY43" fmla="*/ 173641 h 176202"/>
              <a:gd name="connsiteX44" fmla="*/ 217418 w 252993"/>
              <a:gd name="connsiteY44" fmla="*/ 173479 h 176202"/>
              <a:gd name="connsiteX45" fmla="*/ 213322 w 252993"/>
              <a:gd name="connsiteY45" fmla="*/ 172450 h 176202"/>
              <a:gd name="connsiteX46" fmla="*/ 208722 w 252993"/>
              <a:gd name="connsiteY46" fmla="*/ 170621 h 176202"/>
              <a:gd name="connsiteX47" fmla="*/ 206026 w 252993"/>
              <a:gd name="connsiteY47" fmla="*/ 167059 h 176202"/>
              <a:gd name="connsiteX48" fmla="*/ 204301 w 252993"/>
              <a:gd name="connsiteY48" fmla="*/ 164516 h 176202"/>
              <a:gd name="connsiteX49" fmla="*/ 200396 w 252993"/>
              <a:gd name="connsiteY49" fmla="*/ 165668 h 176202"/>
              <a:gd name="connsiteX50" fmla="*/ 199663 w 252993"/>
              <a:gd name="connsiteY50" fmla="*/ 165363 h 176202"/>
              <a:gd name="connsiteX51" fmla="*/ 198587 w 252993"/>
              <a:gd name="connsiteY51" fmla="*/ 164135 h 176202"/>
              <a:gd name="connsiteX52" fmla="*/ 195653 w 252993"/>
              <a:gd name="connsiteY52" fmla="*/ 163306 h 176202"/>
              <a:gd name="connsiteX53" fmla="*/ 192024 w 252993"/>
              <a:gd name="connsiteY53" fmla="*/ 163287 h 176202"/>
              <a:gd name="connsiteX54" fmla="*/ 183880 w 252993"/>
              <a:gd name="connsiteY54" fmla="*/ 158629 h 176202"/>
              <a:gd name="connsiteX55" fmla="*/ 182985 w 252993"/>
              <a:gd name="connsiteY55" fmla="*/ 157848 h 176202"/>
              <a:gd name="connsiteX56" fmla="*/ 176584 w 252993"/>
              <a:gd name="connsiteY56" fmla="*/ 158629 h 176202"/>
              <a:gd name="connsiteX57" fmla="*/ 167002 w 252993"/>
              <a:gd name="connsiteY57" fmla="*/ 160934 h 176202"/>
              <a:gd name="connsiteX58" fmla="*/ 159696 w 252993"/>
              <a:gd name="connsiteY58" fmla="*/ 163782 h 176202"/>
              <a:gd name="connsiteX59" fmla="*/ 152143 w 252993"/>
              <a:gd name="connsiteY59" fmla="*/ 168840 h 176202"/>
              <a:gd name="connsiteX60" fmla="*/ 149085 w 252993"/>
              <a:gd name="connsiteY60" fmla="*/ 172669 h 176202"/>
              <a:gd name="connsiteX61" fmla="*/ 145532 w 252993"/>
              <a:gd name="connsiteY61" fmla="*/ 174698 h 176202"/>
              <a:gd name="connsiteX62" fmla="*/ 140484 w 252993"/>
              <a:gd name="connsiteY62" fmla="*/ 176203 h 176202"/>
              <a:gd name="connsiteX63" fmla="*/ 131464 w 252993"/>
              <a:gd name="connsiteY63" fmla="*/ 175641 h 176202"/>
              <a:gd name="connsiteX64" fmla="*/ 122063 w 252993"/>
              <a:gd name="connsiteY64" fmla="*/ 173717 h 176202"/>
              <a:gd name="connsiteX65" fmla="*/ 111976 w 252993"/>
              <a:gd name="connsiteY65" fmla="*/ 171650 h 176202"/>
              <a:gd name="connsiteX66" fmla="*/ 106518 w 252993"/>
              <a:gd name="connsiteY66" fmla="*/ 172793 h 176202"/>
              <a:gd name="connsiteX67" fmla="*/ 99146 w 252993"/>
              <a:gd name="connsiteY67" fmla="*/ 171936 h 176202"/>
              <a:gd name="connsiteX68" fmla="*/ 88021 w 252993"/>
              <a:gd name="connsiteY68" fmla="*/ 169469 h 176202"/>
              <a:gd name="connsiteX69" fmla="*/ 79734 w 252993"/>
              <a:gd name="connsiteY69" fmla="*/ 168716 h 176202"/>
              <a:gd name="connsiteX70" fmla="*/ 71561 w 252993"/>
              <a:gd name="connsiteY70" fmla="*/ 170174 h 176202"/>
              <a:gd name="connsiteX71" fmla="*/ 70190 w 252993"/>
              <a:gd name="connsiteY71" fmla="*/ 169059 h 176202"/>
              <a:gd name="connsiteX72" fmla="*/ 69895 w 252993"/>
              <a:gd name="connsiteY72" fmla="*/ 167783 h 176202"/>
              <a:gd name="connsiteX73" fmla="*/ 70209 w 252993"/>
              <a:gd name="connsiteY73" fmla="*/ 165983 h 176202"/>
              <a:gd name="connsiteX74" fmla="*/ 71361 w 252993"/>
              <a:gd name="connsiteY74" fmla="*/ 164525 h 176202"/>
              <a:gd name="connsiteX75" fmla="*/ 73343 w 252993"/>
              <a:gd name="connsiteY75" fmla="*/ 163420 h 176202"/>
              <a:gd name="connsiteX76" fmla="*/ 74381 w 252993"/>
              <a:gd name="connsiteY76" fmla="*/ 162296 h 176202"/>
              <a:gd name="connsiteX77" fmla="*/ 74495 w 252993"/>
              <a:gd name="connsiteY77" fmla="*/ 161163 h 176202"/>
              <a:gd name="connsiteX78" fmla="*/ 72276 w 252993"/>
              <a:gd name="connsiteY78" fmla="*/ 159334 h 176202"/>
              <a:gd name="connsiteX79" fmla="*/ 67723 w 252993"/>
              <a:gd name="connsiteY79" fmla="*/ 156810 h 176202"/>
              <a:gd name="connsiteX80" fmla="*/ 65847 w 252993"/>
              <a:gd name="connsiteY80" fmla="*/ 155229 h 176202"/>
              <a:gd name="connsiteX81" fmla="*/ 65389 w 252993"/>
              <a:gd name="connsiteY81" fmla="*/ 154838 h 176202"/>
              <a:gd name="connsiteX82" fmla="*/ 65265 w 252993"/>
              <a:gd name="connsiteY82" fmla="*/ 153419 h 176202"/>
              <a:gd name="connsiteX83" fmla="*/ 64322 w 252993"/>
              <a:gd name="connsiteY83" fmla="*/ 152305 h 176202"/>
              <a:gd name="connsiteX84" fmla="*/ 62551 w 252993"/>
              <a:gd name="connsiteY84" fmla="*/ 151486 h 176202"/>
              <a:gd name="connsiteX85" fmla="*/ 61189 w 252993"/>
              <a:gd name="connsiteY85" fmla="*/ 150009 h 176202"/>
              <a:gd name="connsiteX86" fmla="*/ 60217 w 252993"/>
              <a:gd name="connsiteY86" fmla="*/ 147866 h 176202"/>
              <a:gd name="connsiteX87" fmla="*/ 60427 w 252993"/>
              <a:gd name="connsiteY87" fmla="*/ 145847 h 176202"/>
              <a:gd name="connsiteX88" fmla="*/ 61808 w 252993"/>
              <a:gd name="connsiteY88" fmla="*/ 143951 h 176202"/>
              <a:gd name="connsiteX89" fmla="*/ 63579 w 252993"/>
              <a:gd name="connsiteY89" fmla="*/ 143123 h 176202"/>
              <a:gd name="connsiteX90" fmla="*/ 65732 w 252993"/>
              <a:gd name="connsiteY90" fmla="*/ 143380 h 176202"/>
              <a:gd name="connsiteX91" fmla="*/ 66627 w 252993"/>
              <a:gd name="connsiteY91" fmla="*/ 142837 h 176202"/>
              <a:gd name="connsiteX92" fmla="*/ 66266 w 252993"/>
              <a:gd name="connsiteY92" fmla="*/ 141513 h 176202"/>
              <a:gd name="connsiteX93" fmla="*/ 64161 w 252993"/>
              <a:gd name="connsiteY93" fmla="*/ 139808 h 176202"/>
              <a:gd name="connsiteX94" fmla="*/ 60303 w 252993"/>
              <a:gd name="connsiteY94" fmla="*/ 137741 h 176202"/>
              <a:gd name="connsiteX95" fmla="*/ 56379 w 252993"/>
              <a:gd name="connsiteY95" fmla="*/ 138865 h 176202"/>
              <a:gd name="connsiteX96" fmla="*/ 52368 w 252993"/>
              <a:gd name="connsiteY96" fmla="*/ 143189 h 176202"/>
              <a:gd name="connsiteX97" fmla="*/ 49492 w 252993"/>
              <a:gd name="connsiteY97" fmla="*/ 143885 h 176202"/>
              <a:gd name="connsiteX98" fmla="*/ 47720 w 252993"/>
              <a:gd name="connsiteY98" fmla="*/ 140979 h 176202"/>
              <a:gd name="connsiteX99" fmla="*/ 44577 w 252993"/>
              <a:gd name="connsiteY99" fmla="*/ 139236 h 176202"/>
              <a:gd name="connsiteX100" fmla="*/ 40053 w 252993"/>
              <a:gd name="connsiteY100" fmla="*/ 138694 h 176202"/>
              <a:gd name="connsiteX101" fmla="*/ 37272 w 252993"/>
              <a:gd name="connsiteY101" fmla="*/ 137579 h 176202"/>
              <a:gd name="connsiteX102" fmla="*/ 36233 w 252993"/>
              <a:gd name="connsiteY102" fmla="*/ 135893 h 176202"/>
              <a:gd name="connsiteX103" fmla="*/ 34252 w 252993"/>
              <a:gd name="connsiteY103" fmla="*/ 134598 h 176202"/>
              <a:gd name="connsiteX104" fmla="*/ 29889 w 252993"/>
              <a:gd name="connsiteY104" fmla="*/ 133217 h 176202"/>
              <a:gd name="connsiteX105" fmla="*/ 29832 w 252993"/>
              <a:gd name="connsiteY105" fmla="*/ 131902 h 176202"/>
              <a:gd name="connsiteX106" fmla="*/ 30537 w 252993"/>
              <a:gd name="connsiteY106" fmla="*/ 131588 h 176202"/>
              <a:gd name="connsiteX107" fmla="*/ 32090 w 252993"/>
              <a:gd name="connsiteY107" fmla="*/ 131464 h 176202"/>
              <a:gd name="connsiteX108" fmla="*/ 34166 w 252993"/>
              <a:gd name="connsiteY108" fmla="*/ 131188 h 176202"/>
              <a:gd name="connsiteX109" fmla="*/ 34500 w 252993"/>
              <a:gd name="connsiteY109" fmla="*/ 130435 h 176202"/>
              <a:gd name="connsiteX110" fmla="*/ 34519 w 252993"/>
              <a:gd name="connsiteY110" fmla="*/ 129750 h 176202"/>
              <a:gd name="connsiteX111" fmla="*/ 32881 w 252993"/>
              <a:gd name="connsiteY111" fmla="*/ 128883 h 176202"/>
              <a:gd name="connsiteX112" fmla="*/ 31232 w 252993"/>
              <a:gd name="connsiteY112" fmla="*/ 128292 h 176202"/>
              <a:gd name="connsiteX113" fmla="*/ 30366 w 252993"/>
              <a:gd name="connsiteY113" fmla="*/ 127702 h 176202"/>
              <a:gd name="connsiteX114" fmla="*/ 29813 w 252993"/>
              <a:gd name="connsiteY114" fmla="*/ 127044 h 176202"/>
              <a:gd name="connsiteX115" fmla="*/ 29699 w 252993"/>
              <a:gd name="connsiteY115" fmla="*/ 126359 h 176202"/>
              <a:gd name="connsiteX116" fmla="*/ 30185 w 252993"/>
              <a:gd name="connsiteY116" fmla="*/ 125892 h 176202"/>
              <a:gd name="connsiteX117" fmla="*/ 30852 w 252993"/>
              <a:gd name="connsiteY117" fmla="*/ 125863 h 176202"/>
              <a:gd name="connsiteX118" fmla="*/ 31509 w 252993"/>
              <a:gd name="connsiteY118" fmla="*/ 125454 h 176202"/>
              <a:gd name="connsiteX119" fmla="*/ 31880 w 252993"/>
              <a:gd name="connsiteY119" fmla="*/ 123863 h 176202"/>
              <a:gd name="connsiteX120" fmla="*/ 32775 w 252993"/>
              <a:gd name="connsiteY120" fmla="*/ 122549 h 176202"/>
              <a:gd name="connsiteX121" fmla="*/ 33414 w 252993"/>
              <a:gd name="connsiteY121" fmla="*/ 122091 h 176202"/>
              <a:gd name="connsiteX122" fmla="*/ 33376 w 252993"/>
              <a:gd name="connsiteY122" fmla="*/ 121120 h 176202"/>
              <a:gd name="connsiteX123" fmla="*/ 32709 w 252993"/>
              <a:gd name="connsiteY123" fmla="*/ 120215 h 176202"/>
              <a:gd name="connsiteX124" fmla="*/ 31804 w 252993"/>
              <a:gd name="connsiteY124" fmla="*/ 119434 h 176202"/>
              <a:gd name="connsiteX125" fmla="*/ 30470 w 252993"/>
              <a:gd name="connsiteY125" fmla="*/ 118958 h 176202"/>
              <a:gd name="connsiteX126" fmla="*/ 26318 w 252993"/>
              <a:gd name="connsiteY126" fmla="*/ 117586 h 176202"/>
              <a:gd name="connsiteX127" fmla="*/ 24222 w 252993"/>
              <a:gd name="connsiteY127" fmla="*/ 115681 h 176202"/>
              <a:gd name="connsiteX128" fmla="*/ 22936 w 252993"/>
              <a:gd name="connsiteY128" fmla="*/ 115605 h 176202"/>
              <a:gd name="connsiteX129" fmla="*/ 20907 w 252993"/>
              <a:gd name="connsiteY129" fmla="*/ 114548 h 176202"/>
              <a:gd name="connsiteX130" fmla="*/ 18717 w 252993"/>
              <a:gd name="connsiteY130" fmla="*/ 112890 h 176202"/>
              <a:gd name="connsiteX131" fmla="*/ 16812 w 252993"/>
              <a:gd name="connsiteY131" fmla="*/ 110528 h 176202"/>
              <a:gd name="connsiteX132" fmla="*/ 14764 w 252993"/>
              <a:gd name="connsiteY132" fmla="*/ 108995 h 176202"/>
              <a:gd name="connsiteX133" fmla="*/ 14231 w 252993"/>
              <a:gd name="connsiteY133" fmla="*/ 108366 h 176202"/>
              <a:gd name="connsiteX134" fmla="*/ 14183 w 252993"/>
              <a:gd name="connsiteY134" fmla="*/ 107775 h 176202"/>
              <a:gd name="connsiteX135" fmla="*/ 14564 w 252993"/>
              <a:gd name="connsiteY135" fmla="*/ 107109 h 176202"/>
              <a:gd name="connsiteX136" fmla="*/ 14544 w 252993"/>
              <a:gd name="connsiteY136" fmla="*/ 106385 h 176202"/>
              <a:gd name="connsiteX137" fmla="*/ 14011 w 252993"/>
              <a:gd name="connsiteY137" fmla="*/ 104070 h 176202"/>
              <a:gd name="connsiteX138" fmla="*/ 14374 w 252993"/>
              <a:gd name="connsiteY138" fmla="*/ 101613 h 176202"/>
              <a:gd name="connsiteX139" fmla="*/ 14278 w 252993"/>
              <a:gd name="connsiteY139" fmla="*/ 99298 h 176202"/>
              <a:gd name="connsiteX140" fmla="*/ 14250 w 252993"/>
              <a:gd name="connsiteY140" fmla="*/ 98260 h 176202"/>
              <a:gd name="connsiteX141" fmla="*/ 13849 w 252993"/>
              <a:gd name="connsiteY141" fmla="*/ 97936 h 176202"/>
              <a:gd name="connsiteX142" fmla="*/ 13497 w 252993"/>
              <a:gd name="connsiteY142" fmla="*/ 98288 h 176202"/>
              <a:gd name="connsiteX143" fmla="*/ 12992 w 252993"/>
              <a:gd name="connsiteY143" fmla="*/ 98727 h 176202"/>
              <a:gd name="connsiteX144" fmla="*/ 12497 w 252993"/>
              <a:gd name="connsiteY144" fmla="*/ 98812 h 176202"/>
              <a:gd name="connsiteX145" fmla="*/ 10982 w 252993"/>
              <a:gd name="connsiteY145" fmla="*/ 97126 h 176202"/>
              <a:gd name="connsiteX146" fmla="*/ 9068 w 252993"/>
              <a:gd name="connsiteY146" fmla="*/ 93688 h 176202"/>
              <a:gd name="connsiteX147" fmla="*/ 7772 w 252993"/>
              <a:gd name="connsiteY147" fmla="*/ 92535 h 176202"/>
              <a:gd name="connsiteX148" fmla="*/ 5249 w 252993"/>
              <a:gd name="connsiteY148" fmla="*/ 90954 h 176202"/>
              <a:gd name="connsiteX149" fmla="*/ 3115 w 252993"/>
              <a:gd name="connsiteY149" fmla="*/ 89621 h 176202"/>
              <a:gd name="connsiteX150" fmla="*/ 1591 w 252993"/>
              <a:gd name="connsiteY150" fmla="*/ 86744 h 176202"/>
              <a:gd name="connsiteX151" fmla="*/ 0 w 252993"/>
              <a:gd name="connsiteY151" fmla="*/ 84515 h 176202"/>
              <a:gd name="connsiteX152" fmla="*/ 1048 w 252993"/>
              <a:gd name="connsiteY152" fmla="*/ 83582 h 176202"/>
              <a:gd name="connsiteX153" fmla="*/ 7115 w 252993"/>
              <a:gd name="connsiteY153" fmla="*/ 82267 h 176202"/>
              <a:gd name="connsiteX154" fmla="*/ 9944 w 252993"/>
              <a:gd name="connsiteY154" fmla="*/ 83553 h 176202"/>
              <a:gd name="connsiteX155" fmla="*/ 11211 w 252993"/>
              <a:gd name="connsiteY155" fmla="*/ 83087 h 176202"/>
              <a:gd name="connsiteX156" fmla="*/ 12440 w 252993"/>
              <a:gd name="connsiteY156" fmla="*/ 82048 h 176202"/>
              <a:gd name="connsiteX157" fmla="*/ 13125 w 252993"/>
              <a:gd name="connsiteY157" fmla="*/ 81210 h 176202"/>
              <a:gd name="connsiteX158" fmla="*/ 13249 w 252993"/>
              <a:gd name="connsiteY158" fmla="*/ 80324 h 176202"/>
              <a:gd name="connsiteX159" fmla="*/ 13859 w 252993"/>
              <a:gd name="connsiteY159" fmla="*/ 79219 h 176202"/>
              <a:gd name="connsiteX160" fmla="*/ 15907 w 252993"/>
              <a:gd name="connsiteY160" fmla="*/ 78695 h 176202"/>
              <a:gd name="connsiteX161" fmla="*/ 21336 w 252993"/>
              <a:gd name="connsiteY161" fmla="*/ 79372 h 176202"/>
              <a:gd name="connsiteX162" fmla="*/ 23517 w 252993"/>
              <a:gd name="connsiteY162" fmla="*/ 77819 h 176202"/>
              <a:gd name="connsiteX163" fmla="*/ 24327 w 252993"/>
              <a:gd name="connsiteY163" fmla="*/ 76981 h 176202"/>
              <a:gd name="connsiteX164" fmla="*/ 24822 w 252993"/>
              <a:gd name="connsiteY164" fmla="*/ 75114 h 176202"/>
              <a:gd name="connsiteX165" fmla="*/ 25394 w 252993"/>
              <a:gd name="connsiteY165" fmla="*/ 73609 h 176202"/>
              <a:gd name="connsiteX166" fmla="*/ 27337 w 252993"/>
              <a:gd name="connsiteY166" fmla="*/ 72809 h 176202"/>
              <a:gd name="connsiteX167" fmla="*/ 27308 w 252993"/>
              <a:gd name="connsiteY167" fmla="*/ 71438 h 176202"/>
              <a:gd name="connsiteX168" fmla="*/ 27013 w 252993"/>
              <a:gd name="connsiteY168" fmla="*/ 69952 h 176202"/>
              <a:gd name="connsiteX169" fmla="*/ 28137 w 252993"/>
              <a:gd name="connsiteY169" fmla="*/ 66608 h 176202"/>
              <a:gd name="connsiteX170" fmla="*/ 28823 w 252993"/>
              <a:gd name="connsiteY170" fmla="*/ 65237 h 176202"/>
              <a:gd name="connsiteX171" fmla="*/ 29928 w 252993"/>
              <a:gd name="connsiteY171" fmla="*/ 64741 h 176202"/>
              <a:gd name="connsiteX172" fmla="*/ 31252 w 252993"/>
              <a:gd name="connsiteY172" fmla="*/ 63684 h 176202"/>
              <a:gd name="connsiteX173" fmla="*/ 33557 w 252993"/>
              <a:gd name="connsiteY173" fmla="*/ 61493 h 176202"/>
              <a:gd name="connsiteX174" fmla="*/ 33023 w 252993"/>
              <a:gd name="connsiteY174" fmla="*/ 59588 h 176202"/>
              <a:gd name="connsiteX175" fmla="*/ 33481 w 252993"/>
              <a:gd name="connsiteY175" fmla="*/ 58169 h 176202"/>
              <a:gd name="connsiteX176" fmla="*/ 35881 w 252993"/>
              <a:gd name="connsiteY176" fmla="*/ 54721 h 176202"/>
              <a:gd name="connsiteX177" fmla="*/ 37709 w 252993"/>
              <a:gd name="connsiteY177" fmla="*/ 51387 h 176202"/>
              <a:gd name="connsiteX178" fmla="*/ 37681 w 252993"/>
              <a:gd name="connsiteY178" fmla="*/ 49711 h 176202"/>
              <a:gd name="connsiteX179" fmla="*/ 37948 w 252993"/>
              <a:gd name="connsiteY179" fmla="*/ 48253 h 176202"/>
              <a:gd name="connsiteX180" fmla="*/ 39567 w 252993"/>
              <a:gd name="connsiteY180" fmla="*/ 46653 h 176202"/>
              <a:gd name="connsiteX181" fmla="*/ 41263 w 252993"/>
              <a:gd name="connsiteY181" fmla="*/ 44567 h 176202"/>
              <a:gd name="connsiteX182" fmla="*/ 43501 w 252993"/>
              <a:gd name="connsiteY182" fmla="*/ 38033 h 176202"/>
              <a:gd name="connsiteX183" fmla="*/ 44310 w 252993"/>
              <a:gd name="connsiteY183" fmla="*/ 36938 h 176202"/>
              <a:gd name="connsiteX184" fmla="*/ 45777 w 252993"/>
              <a:gd name="connsiteY184" fmla="*/ 35690 h 176202"/>
              <a:gd name="connsiteX185" fmla="*/ 46873 w 252993"/>
              <a:gd name="connsiteY185" fmla="*/ 34452 h 176202"/>
              <a:gd name="connsiteX186" fmla="*/ 46987 w 252993"/>
              <a:gd name="connsiteY186" fmla="*/ 30147 h 176202"/>
              <a:gd name="connsiteX187" fmla="*/ 48016 w 252993"/>
              <a:gd name="connsiteY187" fmla="*/ 28899 h 176202"/>
              <a:gd name="connsiteX188" fmla="*/ 49987 w 252993"/>
              <a:gd name="connsiteY188" fmla="*/ 27499 h 176202"/>
              <a:gd name="connsiteX189" fmla="*/ 51949 w 252993"/>
              <a:gd name="connsiteY189" fmla="*/ 25251 h 176202"/>
              <a:gd name="connsiteX190" fmla="*/ 53540 w 252993"/>
              <a:gd name="connsiteY190" fmla="*/ 22584 h 176202"/>
              <a:gd name="connsiteX191" fmla="*/ 54769 w 252993"/>
              <a:gd name="connsiteY191" fmla="*/ 21336 h 176202"/>
              <a:gd name="connsiteX192" fmla="*/ 56398 w 252993"/>
              <a:gd name="connsiteY192" fmla="*/ 21002 h 176202"/>
              <a:gd name="connsiteX193" fmla="*/ 58160 w 252993"/>
              <a:gd name="connsiteY193" fmla="*/ 19955 h 176202"/>
              <a:gd name="connsiteX194" fmla="*/ 60131 w 252993"/>
              <a:gd name="connsiteY194" fmla="*/ 19564 h 176202"/>
              <a:gd name="connsiteX195" fmla="*/ 62046 w 252993"/>
              <a:gd name="connsiteY195" fmla="*/ 20079 h 176202"/>
              <a:gd name="connsiteX196" fmla="*/ 63255 w 252993"/>
              <a:gd name="connsiteY196" fmla="*/ 19812 h 176202"/>
              <a:gd name="connsiteX197" fmla="*/ 65094 w 252993"/>
              <a:gd name="connsiteY197" fmla="*/ 18517 h 176202"/>
              <a:gd name="connsiteX198" fmla="*/ 69771 w 252993"/>
              <a:gd name="connsiteY198" fmla="*/ 13602 h 176202"/>
              <a:gd name="connsiteX199" fmla="*/ 70428 w 252993"/>
              <a:gd name="connsiteY199" fmla="*/ 12620 h 176202"/>
              <a:gd name="connsiteX200" fmla="*/ 71400 w 252993"/>
              <a:gd name="connsiteY200" fmla="*/ 11944 h 176202"/>
              <a:gd name="connsiteX201" fmla="*/ 75190 w 252993"/>
              <a:gd name="connsiteY201" fmla="*/ 10258 h 176202"/>
              <a:gd name="connsiteX202" fmla="*/ 76152 w 252993"/>
              <a:gd name="connsiteY202" fmla="*/ 8563 h 176202"/>
              <a:gd name="connsiteX203" fmla="*/ 77457 w 252993"/>
              <a:gd name="connsiteY203" fmla="*/ 7039 h 176202"/>
              <a:gd name="connsiteX204" fmla="*/ 79143 w 252993"/>
              <a:gd name="connsiteY204" fmla="*/ 7153 h 176202"/>
              <a:gd name="connsiteX205" fmla="*/ 84649 w 252993"/>
              <a:gd name="connsiteY205" fmla="*/ 10925 h 176202"/>
              <a:gd name="connsiteX206" fmla="*/ 90535 w 252993"/>
              <a:gd name="connsiteY206" fmla="*/ 10687 h 176202"/>
              <a:gd name="connsiteX207" fmla="*/ 91611 w 252993"/>
              <a:gd name="connsiteY207" fmla="*/ 10830 h 176202"/>
              <a:gd name="connsiteX208" fmla="*/ 91964 w 252993"/>
              <a:gd name="connsiteY208" fmla="*/ 10906 h 176202"/>
              <a:gd name="connsiteX209" fmla="*/ 92688 w 252993"/>
              <a:gd name="connsiteY209" fmla="*/ 11211 h 176202"/>
              <a:gd name="connsiteX210" fmla="*/ 100517 w 252993"/>
              <a:gd name="connsiteY210" fmla="*/ 13078 h 176202"/>
              <a:gd name="connsiteX211" fmla="*/ 101727 w 252993"/>
              <a:gd name="connsiteY211" fmla="*/ 12868 h 176202"/>
              <a:gd name="connsiteX212" fmla="*/ 102061 w 252993"/>
              <a:gd name="connsiteY212" fmla="*/ 12725 h 176202"/>
              <a:gd name="connsiteX213" fmla="*/ 105213 w 252993"/>
              <a:gd name="connsiteY213" fmla="*/ 14259 h 176202"/>
              <a:gd name="connsiteX214" fmla="*/ 108004 w 252993"/>
              <a:gd name="connsiteY214" fmla="*/ 14059 h 176202"/>
              <a:gd name="connsiteX215" fmla="*/ 110652 w 252993"/>
              <a:gd name="connsiteY215" fmla="*/ 12992 h 176202"/>
              <a:gd name="connsiteX216" fmla="*/ 113405 w 252993"/>
              <a:gd name="connsiteY216" fmla="*/ 12630 h 176202"/>
              <a:gd name="connsiteX217" fmla="*/ 115938 w 252993"/>
              <a:gd name="connsiteY217" fmla="*/ 13268 h 176202"/>
              <a:gd name="connsiteX218" fmla="*/ 117863 w 252993"/>
              <a:gd name="connsiteY218" fmla="*/ 15430 h 176202"/>
              <a:gd name="connsiteX219" fmla="*/ 122863 w 252993"/>
              <a:gd name="connsiteY219" fmla="*/ 20021 h 176202"/>
              <a:gd name="connsiteX220" fmla="*/ 124349 w 252993"/>
              <a:gd name="connsiteY220" fmla="*/ 21736 h 176202"/>
              <a:gd name="connsiteX221" fmla="*/ 126635 w 252993"/>
              <a:gd name="connsiteY221" fmla="*/ 21479 h 176202"/>
              <a:gd name="connsiteX222" fmla="*/ 129168 w 252993"/>
              <a:gd name="connsiteY222" fmla="*/ 20622 h 176202"/>
              <a:gd name="connsiteX223" fmla="*/ 131731 w 252993"/>
              <a:gd name="connsiteY223" fmla="*/ 17564 h 176202"/>
              <a:gd name="connsiteX224" fmla="*/ 139608 w 252993"/>
              <a:gd name="connsiteY224" fmla="*/ 14078 h 176202"/>
              <a:gd name="connsiteX225" fmla="*/ 145618 w 252993"/>
              <a:gd name="connsiteY225" fmla="*/ 13211 h 176202"/>
              <a:gd name="connsiteX226" fmla="*/ 151486 w 252993"/>
              <a:gd name="connsiteY226" fmla="*/ 11811 h 176202"/>
              <a:gd name="connsiteX227" fmla="*/ 158277 w 252993"/>
              <a:gd name="connsiteY227" fmla="*/ 10820 h 176202"/>
              <a:gd name="connsiteX228" fmla="*/ 160239 w 252993"/>
              <a:gd name="connsiteY228" fmla="*/ 7963 h 176202"/>
              <a:gd name="connsiteX229" fmla="*/ 161325 w 252993"/>
              <a:gd name="connsiteY229" fmla="*/ 6010 h 176202"/>
              <a:gd name="connsiteX230" fmla="*/ 162097 w 252993"/>
              <a:gd name="connsiteY230" fmla="*/ 2391 h 176202"/>
              <a:gd name="connsiteX231" fmla="*/ 165754 w 252993"/>
              <a:gd name="connsiteY231" fmla="*/ 1343 h 176202"/>
              <a:gd name="connsiteX232" fmla="*/ 169231 w 252993"/>
              <a:gd name="connsiteY232" fmla="*/ 600 h 176202"/>
              <a:gd name="connsiteX233" fmla="*/ 170469 w 252993"/>
              <a:gd name="connsiteY233" fmla="*/ 143 h 176202"/>
              <a:gd name="connsiteX234" fmla="*/ 173003 w 252993"/>
              <a:gd name="connsiteY234" fmla="*/ 0 h 176202"/>
              <a:gd name="connsiteX235" fmla="*/ 174974 w 252993"/>
              <a:gd name="connsiteY235" fmla="*/ 305 h 176202"/>
              <a:gd name="connsiteX236" fmla="*/ 178013 w 252993"/>
              <a:gd name="connsiteY236" fmla="*/ 2096 h 176202"/>
              <a:gd name="connsiteX237" fmla="*/ 180147 w 252993"/>
              <a:gd name="connsiteY237" fmla="*/ 4334 h 176202"/>
              <a:gd name="connsiteX238" fmla="*/ 180984 w 252993"/>
              <a:gd name="connsiteY238" fmla="*/ 6115 h 176202"/>
              <a:gd name="connsiteX239" fmla="*/ 182804 w 252993"/>
              <a:gd name="connsiteY239" fmla="*/ 8630 h 176202"/>
              <a:gd name="connsiteX240" fmla="*/ 184718 w 252993"/>
              <a:gd name="connsiteY240" fmla="*/ 12144 h 176202"/>
              <a:gd name="connsiteX241" fmla="*/ 186833 w 252993"/>
              <a:gd name="connsiteY241" fmla="*/ 16821 h 176202"/>
              <a:gd name="connsiteX242" fmla="*/ 187290 w 252993"/>
              <a:gd name="connsiteY242" fmla="*/ 19174 h 176202"/>
              <a:gd name="connsiteX243" fmla="*/ 188090 w 252993"/>
              <a:gd name="connsiteY243" fmla="*/ 21727 h 176202"/>
              <a:gd name="connsiteX244" fmla="*/ 189662 w 252993"/>
              <a:gd name="connsiteY244" fmla="*/ 24822 h 176202"/>
              <a:gd name="connsiteX245" fmla="*/ 192662 w 252993"/>
              <a:gd name="connsiteY245" fmla="*/ 28251 h 176202"/>
              <a:gd name="connsiteX246" fmla="*/ 193081 w 252993"/>
              <a:gd name="connsiteY246" fmla="*/ 28889 h 176202"/>
              <a:gd name="connsiteX247" fmla="*/ 194443 w 252993"/>
              <a:gd name="connsiteY247" fmla="*/ 31299 h 176202"/>
              <a:gd name="connsiteX248" fmla="*/ 197072 w 252993"/>
              <a:gd name="connsiteY248" fmla="*/ 36624 h 176202"/>
              <a:gd name="connsiteX249" fmla="*/ 199273 w 252993"/>
              <a:gd name="connsiteY249" fmla="*/ 38748 h 176202"/>
              <a:gd name="connsiteX250" fmla="*/ 201187 w 252993"/>
              <a:gd name="connsiteY250" fmla="*/ 41062 h 176202"/>
              <a:gd name="connsiteX251" fmla="*/ 202111 w 252993"/>
              <a:gd name="connsiteY251" fmla="*/ 43386 h 176202"/>
              <a:gd name="connsiteX252" fmla="*/ 203482 w 252993"/>
              <a:gd name="connsiteY252" fmla="*/ 45491 h 176202"/>
              <a:gd name="connsiteX253" fmla="*/ 206702 w 252993"/>
              <a:gd name="connsiteY253" fmla="*/ 48282 h 176202"/>
              <a:gd name="connsiteX254" fmla="*/ 209312 w 252993"/>
              <a:gd name="connsiteY254" fmla="*/ 50816 h 176202"/>
              <a:gd name="connsiteX255" fmla="*/ 211398 w 252993"/>
              <a:gd name="connsiteY255" fmla="*/ 58083 h 176202"/>
              <a:gd name="connsiteX256" fmla="*/ 212855 w 252993"/>
              <a:gd name="connsiteY256" fmla="*/ 61417 h 176202"/>
              <a:gd name="connsiteX257" fmla="*/ 213789 w 252993"/>
              <a:gd name="connsiteY257" fmla="*/ 63960 h 176202"/>
              <a:gd name="connsiteX258" fmla="*/ 213341 w 252993"/>
              <a:gd name="connsiteY258" fmla="*/ 69104 h 176202"/>
              <a:gd name="connsiteX259" fmla="*/ 213922 w 252993"/>
              <a:gd name="connsiteY259" fmla="*/ 71304 h 176202"/>
              <a:gd name="connsiteX260" fmla="*/ 212731 w 252993"/>
              <a:gd name="connsiteY260" fmla="*/ 75314 h 176202"/>
              <a:gd name="connsiteX261" fmla="*/ 210579 w 252993"/>
              <a:gd name="connsiteY261" fmla="*/ 83353 h 176202"/>
              <a:gd name="connsiteX262" fmla="*/ 210055 w 252993"/>
              <a:gd name="connsiteY262" fmla="*/ 89735 h 176202"/>
              <a:gd name="connsiteX263" fmla="*/ 210426 w 252993"/>
              <a:gd name="connsiteY263" fmla="*/ 93164 h 176202"/>
              <a:gd name="connsiteX264" fmla="*/ 210474 w 252993"/>
              <a:gd name="connsiteY264" fmla="*/ 95364 h 176202"/>
              <a:gd name="connsiteX265" fmla="*/ 210998 w 252993"/>
              <a:gd name="connsiteY265" fmla="*/ 96764 h 176202"/>
              <a:gd name="connsiteX266" fmla="*/ 211569 w 252993"/>
              <a:gd name="connsiteY266" fmla="*/ 99660 h 176202"/>
              <a:gd name="connsiteX267" fmla="*/ 211655 w 252993"/>
              <a:gd name="connsiteY267" fmla="*/ 102175 h 176202"/>
              <a:gd name="connsiteX268" fmla="*/ 210884 w 252993"/>
              <a:gd name="connsiteY268" fmla="*/ 102889 h 176202"/>
              <a:gd name="connsiteX269" fmla="*/ 209807 w 252993"/>
              <a:gd name="connsiteY269" fmla="*/ 103489 h 176202"/>
              <a:gd name="connsiteX270" fmla="*/ 209388 w 252993"/>
              <a:gd name="connsiteY270" fmla="*/ 104013 h 176202"/>
              <a:gd name="connsiteX271" fmla="*/ 210378 w 252993"/>
              <a:gd name="connsiteY271" fmla="*/ 105146 h 176202"/>
              <a:gd name="connsiteX272" fmla="*/ 211731 w 252993"/>
              <a:gd name="connsiteY272" fmla="*/ 107251 h 176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</a:cxnLst>
            <a:rect l="l" t="t" r="r" b="b"/>
            <a:pathLst>
              <a:path w="252993" h="176202">
                <a:moveTo>
                  <a:pt x="213065" y="109661"/>
                </a:moveTo>
                <a:lnTo>
                  <a:pt x="215884" y="113576"/>
                </a:lnTo>
                <a:lnTo>
                  <a:pt x="219456" y="115662"/>
                </a:lnTo>
                <a:lnTo>
                  <a:pt x="227724" y="117862"/>
                </a:lnTo>
                <a:lnTo>
                  <a:pt x="228467" y="117596"/>
                </a:lnTo>
                <a:lnTo>
                  <a:pt x="228543" y="117186"/>
                </a:lnTo>
                <a:lnTo>
                  <a:pt x="227972" y="116614"/>
                </a:lnTo>
                <a:lnTo>
                  <a:pt x="227886" y="115891"/>
                </a:lnTo>
                <a:lnTo>
                  <a:pt x="228285" y="114995"/>
                </a:lnTo>
                <a:lnTo>
                  <a:pt x="229428" y="114948"/>
                </a:lnTo>
                <a:lnTo>
                  <a:pt x="231296" y="115748"/>
                </a:lnTo>
                <a:lnTo>
                  <a:pt x="234858" y="114586"/>
                </a:lnTo>
                <a:lnTo>
                  <a:pt x="240097" y="111462"/>
                </a:lnTo>
                <a:lnTo>
                  <a:pt x="244916" y="110833"/>
                </a:lnTo>
                <a:lnTo>
                  <a:pt x="249298" y="112681"/>
                </a:lnTo>
                <a:lnTo>
                  <a:pt x="251546" y="114833"/>
                </a:lnTo>
                <a:lnTo>
                  <a:pt x="252993" y="116881"/>
                </a:lnTo>
                <a:lnTo>
                  <a:pt x="252536" y="119405"/>
                </a:lnTo>
                <a:lnTo>
                  <a:pt x="252260" y="120977"/>
                </a:lnTo>
                <a:lnTo>
                  <a:pt x="251107" y="127463"/>
                </a:lnTo>
                <a:lnTo>
                  <a:pt x="250307" y="129883"/>
                </a:lnTo>
                <a:lnTo>
                  <a:pt x="249021" y="132588"/>
                </a:lnTo>
                <a:lnTo>
                  <a:pt x="235411" y="135817"/>
                </a:lnTo>
                <a:lnTo>
                  <a:pt x="236287" y="134264"/>
                </a:lnTo>
                <a:lnTo>
                  <a:pt x="235972" y="131550"/>
                </a:lnTo>
                <a:lnTo>
                  <a:pt x="235401" y="129492"/>
                </a:lnTo>
                <a:lnTo>
                  <a:pt x="236668" y="127645"/>
                </a:lnTo>
                <a:lnTo>
                  <a:pt x="233610" y="126968"/>
                </a:lnTo>
                <a:lnTo>
                  <a:pt x="232267" y="127987"/>
                </a:lnTo>
                <a:lnTo>
                  <a:pt x="231220" y="129759"/>
                </a:lnTo>
                <a:lnTo>
                  <a:pt x="232143" y="133845"/>
                </a:lnTo>
                <a:lnTo>
                  <a:pt x="230657" y="136103"/>
                </a:lnTo>
                <a:lnTo>
                  <a:pt x="230086" y="137360"/>
                </a:lnTo>
                <a:lnTo>
                  <a:pt x="230019" y="140341"/>
                </a:lnTo>
                <a:lnTo>
                  <a:pt x="229134" y="141618"/>
                </a:lnTo>
                <a:lnTo>
                  <a:pt x="228962" y="143027"/>
                </a:lnTo>
                <a:lnTo>
                  <a:pt x="231134" y="142665"/>
                </a:lnTo>
                <a:lnTo>
                  <a:pt x="230153" y="145228"/>
                </a:lnTo>
                <a:lnTo>
                  <a:pt x="226076" y="150143"/>
                </a:lnTo>
                <a:lnTo>
                  <a:pt x="224647" y="153076"/>
                </a:lnTo>
                <a:lnTo>
                  <a:pt x="225000" y="164649"/>
                </a:lnTo>
                <a:lnTo>
                  <a:pt x="223181" y="171545"/>
                </a:lnTo>
                <a:lnTo>
                  <a:pt x="223038" y="173574"/>
                </a:lnTo>
                <a:lnTo>
                  <a:pt x="218713" y="173641"/>
                </a:lnTo>
                <a:lnTo>
                  <a:pt x="217418" y="173479"/>
                </a:lnTo>
                <a:lnTo>
                  <a:pt x="213322" y="172450"/>
                </a:lnTo>
                <a:lnTo>
                  <a:pt x="208722" y="170621"/>
                </a:lnTo>
                <a:lnTo>
                  <a:pt x="206026" y="167059"/>
                </a:lnTo>
                <a:lnTo>
                  <a:pt x="204301" y="164516"/>
                </a:lnTo>
                <a:lnTo>
                  <a:pt x="200396" y="165668"/>
                </a:lnTo>
                <a:lnTo>
                  <a:pt x="199663" y="165363"/>
                </a:lnTo>
                <a:lnTo>
                  <a:pt x="198587" y="164135"/>
                </a:lnTo>
                <a:lnTo>
                  <a:pt x="195653" y="163306"/>
                </a:lnTo>
                <a:lnTo>
                  <a:pt x="192024" y="163287"/>
                </a:lnTo>
                <a:lnTo>
                  <a:pt x="183880" y="158629"/>
                </a:lnTo>
                <a:lnTo>
                  <a:pt x="182985" y="157848"/>
                </a:lnTo>
                <a:lnTo>
                  <a:pt x="176584" y="158629"/>
                </a:lnTo>
                <a:lnTo>
                  <a:pt x="167002" y="160934"/>
                </a:lnTo>
                <a:lnTo>
                  <a:pt x="159696" y="163782"/>
                </a:lnTo>
                <a:lnTo>
                  <a:pt x="152143" y="168840"/>
                </a:lnTo>
                <a:lnTo>
                  <a:pt x="149085" y="172669"/>
                </a:lnTo>
                <a:lnTo>
                  <a:pt x="145532" y="174698"/>
                </a:lnTo>
                <a:lnTo>
                  <a:pt x="140484" y="176203"/>
                </a:lnTo>
                <a:lnTo>
                  <a:pt x="131464" y="175641"/>
                </a:lnTo>
                <a:lnTo>
                  <a:pt x="122063" y="173717"/>
                </a:lnTo>
                <a:lnTo>
                  <a:pt x="111976" y="171650"/>
                </a:lnTo>
                <a:lnTo>
                  <a:pt x="106518" y="172793"/>
                </a:lnTo>
                <a:lnTo>
                  <a:pt x="99146" y="171936"/>
                </a:lnTo>
                <a:lnTo>
                  <a:pt x="88021" y="169469"/>
                </a:lnTo>
                <a:lnTo>
                  <a:pt x="79734" y="168716"/>
                </a:lnTo>
                <a:lnTo>
                  <a:pt x="71561" y="170174"/>
                </a:lnTo>
                <a:lnTo>
                  <a:pt x="70190" y="169059"/>
                </a:lnTo>
                <a:lnTo>
                  <a:pt x="69895" y="167783"/>
                </a:lnTo>
                <a:lnTo>
                  <a:pt x="70209" y="165983"/>
                </a:lnTo>
                <a:lnTo>
                  <a:pt x="71361" y="164525"/>
                </a:lnTo>
                <a:lnTo>
                  <a:pt x="73343" y="163420"/>
                </a:lnTo>
                <a:lnTo>
                  <a:pt x="74381" y="162296"/>
                </a:lnTo>
                <a:lnTo>
                  <a:pt x="74495" y="161163"/>
                </a:lnTo>
                <a:lnTo>
                  <a:pt x="72276" y="159334"/>
                </a:lnTo>
                <a:lnTo>
                  <a:pt x="67723" y="156810"/>
                </a:lnTo>
                <a:lnTo>
                  <a:pt x="65847" y="155229"/>
                </a:lnTo>
                <a:lnTo>
                  <a:pt x="65389" y="154838"/>
                </a:lnTo>
                <a:lnTo>
                  <a:pt x="65265" y="153419"/>
                </a:lnTo>
                <a:lnTo>
                  <a:pt x="64322" y="152305"/>
                </a:lnTo>
                <a:lnTo>
                  <a:pt x="62551" y="151486"/>
                </a:lnTo>
                <a:lnTo>
                  <a:pt x="61189" y="150009"/>
                </a:lnTo>
                <a:lnTo>
                  <a:pt x="60217" y="147866"/>
                </a:lnTo>
                <a:lnTo>
                  <a:pt x="60427" y="145847"/>
                </a:lnTo>
                <a:lnTo>
                  <a:pt x="61808" y="143951"/>
                </a:lnTo>
                <a:lnTo>
                  <a:pt x="63579" y="143123"/>
                </a:lnTo>
                <a:lnTo>
                  <a:pt x="65732" y="143380"/>
                </a:lnTo>
                <a:lnTo>
                  <a:pt x="66627" y="142837"/>
                </a:lnTo>
                <a:lnTo>
                  <a:pt x="66266" y="141513"/>
                </a:lnTo>
                <a:lnTo>
                  <a:pt x="64161" y="139808"/>
                </a:lnTo>
                <a:lnTo>
                  <a:pt x="60303" y="137741"/>
                </a:lnTo>
                <a:lnTo>
                  <a:pt x="56379" y="138865"/>
                </a:lnTo>
                <a:lnTo>
                  <a:pt x="52368" y="143189"/>
                </a:lnTo>
                <a:lnTo>
                  <a:pt x="49492" y="143885"/>
                </a:lnTo>
                <a:lnTo>
                  <a:pt x="47720" y="140979"/>
                </a:lnTo>
                <a:lnTo>
                  <a:pt x="44577" y="139236"/>
                </a:lnTo>
                <a:lnTo>
                  <a:pt x="40053" y="138694"/>
                </a:lnTo>
                <a:lnTo>
                  <a:pt x="37272" y="137579"/>
                </a:lnTo>
                <a:lnTo>
                  <a:pt x="36233" y="135893"/>
                </a:lnTo>
                <a:lnTo>
                  <a:pt x="34252" y="134598"/>
                </a:lnTo>
                <a:lnTo>
                  <a:pt x="29889" y="133217"/>
                </a:lnTo>
                <a:lnTo>
                  <a:pt x="29832" y="131902"/>
                </a:lnTo>
                <a:lnTo>
                  <a:pt x="30537" y="131588"/>
                </a:lnTo>
                <a:lnTo>
                  <a:pt x="32090" y="131464"/>
                </a:lnTo>
                <a:lnTo>
                  <a:pt x="34166" y="131188"/>
                </a:lnTo>
                <a:lnTo>
                  <a:pt x="34500" y="130435"/>
                </a:lnTo>
                <a:lnTo>
                  <a:pt x="34519" y="129750"/>
                </a:lnTo>
                <a:lnTo>
                  <a:pt x="32881" y="128883"/>
                </a:lnTo>
                <a:lnTo>
                  <a:pt x="31232" y="128292"/>
                </a:lnTo>
                <a:lnTo>
                  <a:pt x="30366" y="127702"/>
                </a:lnTo>
                <a:lnTo>
                  <a:pt x="29813" y="127044"/>
                </a:lnTo>
                <a:lnTo>
                  <a:pt x="29699" y="126359"/>
                </a:lnTo>
                <a:lnTo>
                  <a:pt x="30185" y="125892"/>
                </a:lnTo>
                <a:lnTo>
                  <a:pt x="30852" y="125863"/>
                </a:lnTo>
                <a:lnTo>
                  <a:pt x="31509" y="125454"/>
                </a:lnTo>
                <a:lnTo>
                  <a:pt x="31880" y="123863"/>
                </a:lnTo>
                <a:lnTo>
                  <a:pt x="32775" y="122549"/>
                </a:lnTo>
                <a:lnTo>
                  <a:pt x="33414" y="122091"/>
                </a:lnTo>
                <a:lnTo>
                  <a:pt x="33376" y="121120"/>
                </a:lnTo>
                <a:lnTo>
                  <a:pt x="32709" y="120215"/>
                </a:lnTo>
                <a:lnTo>
                  <a:pt x="31804" y="119434"/>
                </a:lnTo>
                <a:lnTo>
                  <a:pt x="30470" y="118958"/>
                </a:lnTo>
                <a:lnTo>
                  <a:pt x="26318" y="117586"/>
                </a:lnTo>
                <a:lnTo>
                  <a:pt x="24222" y="115681"/>
                </a:lnTo>
                <a:lnTo>
                  <a:pt x="22936" y="115605"/>
                </a:lnTo>
                <a:lnTo>
                  <a:pt x="20907" y="114548"/>
                </a:lnTo>
                <a:lnTo>
                  <a:pt x="18717" y="112890"/>
                </a:lnTo>
                <a:lnTo>
                  <a:pt x="16812" y="110528"/>
                </a:lnTo>
                <a:lnTo>
                  <a:pt x="14764" y="108995"/>
                </a:lnTo>
                <a:lnTo>
                  <a:pt x="14231" y="108366"/>
                </a:lnTo>
                <a:lnTo>
                  <a:pt x="14183" y="107775"/>
                </a:lnTo>
                <a:lnTo>
                  <a:pt x="14564" y="107109"/>
                </a:lnTo>
                <a:lnTo>
                  <a:pt x="14544" y="106385"/>
                </a:lnTo>
                <a:lnTo>
                  <a:pt x="14011" y="104070"/>
                </a:lnTo>
                <a:lnTo>
                  <a:pt x="14374" y="101613"/>
                </a:lnTo>
                <a:lnTo>
                  <a:pt x="14278" y="99298"/>
                </a:lnTo>
                <a:lnTo>
                  <a:pt x="14250" y="98260"/>
                </a:lnTo>
                <a:lnTo>
                  <a:pt x="13849" y="97936"/>
                </a:lnTo>
                <a:lnTo>
                  <a:pt x="13497" y="98288"/>
                </a:lnTo>
                <a:lnTo>
                  <a:pt x="12992" y="98727"/>
                </a:lnTo>
                <a:lnTo>
                  <a:pt x="12497" y="98812"/>
                </a:lnTo>
                <a:lnTo>
                  <a:pt x="10982" y="97126"/>
                </a:lnTo>
                <a:lnTo>
                  <a:pt x="9068" y="93688"/>
                </a:lnTo>
                <a:lnTo>
                  <a:pt x="7772" y="92535"/>
                </a:lnTo>
                <a:lnTo>
                  <a:pt x="5249" y="90954"/>
                </a:lnTo>
                <a:lnTo>
                  <a:pt x="3115" y="89621"/>
                </a:lnTo>
                <a:lnTo>
                  <a:pt x="1591" y="86744"/>
                </a:lnTo>
                <a:lnTo>
                  <a:pt x="0" y="84515"/>
                </a:lnTo>
                <a:lnTo>
                  <a:pt x="1048" y="83582"/>
                </a:lnTo>
                <a:lnTo>
                  <a:pt x="7115" y="82267"/>
                </a:lnTo>
                <a:lnTo>
                  <a:pt x="9944" y="83553"/>
                </a:lnTo>
                <a:lnTo>
                  <a:pt x="11211" y="83087"/>
                </a:lnTo>
                <a:lnTo>
                  <a:pt x="12440" y="82048"/>
                </a:lnTo>
                <a:lnTo>
                  <a:pt x="13125" y="81210"/>
                </a:lnTo>
                <a:lnTo>
                  <a:pt x="13249" y="80324"/>
                </a:lnTo>
                <a:lnTo>
                  <a:pt x="13859" y="79219"/>
                </a:lnTo>
                <a:lnTo>
                  <a:pt x="15907" y="78695"/>
                </a:lnTo>
                <a:lnTo>
                  <a:pt x="21336" y="79372"/>
                </a:lnTo>
                <a:lnTo>
                  <a:pt x="23517" y="77819"/>
                </a:lnTo>
                <a:lnTo>
                  <a:pt x="24327" y="76981"/>
                </a:lnTo>
                <a:lnTo>
                  <a:pt x="24822" y="75114"/>
                </a:lnTo>
                <a:lnTo>
                  <a:pt x="25394" y="73609"/>
                </a:lnTo>
                <a:lnTo>
                  <a:pt x="27337" y="72809"/>
                </a:lnTo>
                <a:lnTo>
                  <a:pt x="27308" y="71438"/>
                </a:lnTo>
                <a:lnTo>
                  <a:pt x="27013" y="69952"/>
                </a:lnTo>
                <a:lnTo>
                  <a:pt x="28137" y="66608"/>
                </a:lnTo>
                <a:lnTo>
                  <a:pt x="28823" y="65237"/>
                </a:lnTo>
                <a:lnTo>
                  <a:pt x="29928" y="64741"/>
                </a:lnTo>
                <a:lnTo>
                  <a:pt x="31252" y="63684"/>
                </a:lnTo>
                <a:lnTo>
                  <a:pt x="33557" y="61493"/>
                </a:lnTo>
                <a:lnTo>
                  <a:pt x="33023" y="59588"/>
                </a:lnTo>
                <a:lnTo>
                  <a:pt x="33481" y="58169"/>
                </a:lnTo>
                <a:lnTo>
                  <a:pt x="35881" y="54721"/>
                </a:lnTo>
                <a:lnTo>
                  <a:pt x="37709" y="51387"/>
                </a:lnTo>
                <a:lnTo>
                  <a:pt x="37681" y="49711"/>
                </a:lnTo>
                <a:lnTo>
                  <a:pt x="37948" y="48253"/>
                </a:lnTo>
                <a:lnTo>
                  <a:pt x="39567" y="46653"/>
                </a:lnTo>
                <a:lnTo>
                  <a:pt x="41263" y="44567"/>
                </a:lnTo>
                <a:lnTo>
                  <a:pt x="43501" y="38033"/>
                </a:lnTo>
                <a:lnTo>
                  <a:pt x="44310" y="36938"/>
                </a:lnTo>
                <a:lnTo>
                  <a:pt x="45777" y="35690"/>
                </a:lnTo>
                <a:lnTo>
                  <a:pt x="46873" y="34452"/>
                </a:lnTo>
                <a:lnTo>
                  <a:pt x="46987" y="30147"/>
                </a:lnTo>
                <a:lnTo>
                  <a:pt x="48016" y="28899"/>
                </a:lnTo>
                <a:lnTo>
                  <a:pt x="49987" y="27499"/>
                </a:lnTo>
                <a:lnTo>
                  <a:pt x="51949" y="25251"/>
                </a:lnTo>
                <a:lnTo>
                  <a:pt x="53540" y="22584"/>
                </a:lnTo>
                <a:lnTo>
                  <a:pt x="54769" y="21336"/>
                </a:lnTo>
                <a:lnTo>
                  <a:pt x="56398" y="21002"/>
                </a:lnTo>
                <a:lnTo>
                  <a:pt x="58160" y="19955"/>
                </a:lnTo>
                <a:lnTo>
                  <a:pt x="60131" y="19564"/>
                </a:lnTo>
                <a:lnTo>
                  <a:pt x="62046" y="20079"/>
                </a:lnTo>
                <a:lnTo>
                  <a:pt x="63255" y="19812"/>
                </a:lnTo>
                <a:lnTo>
                  <a:pt x="65094" y="18517"/>
                </a:lnTo>
                <a:lnTo>
                  <a:pt x="69771" y="13602"/>
                </a:lnTo>
                <a:lnTo>
                  <a:pt x="70428" y="12620"/>
                </a:lnTo>
                <a:lnTo>
                  <a:pt x="71400" y="11944"/>
                </a:lnTo>
                <a:lnTo>
                  <a:pt x="75190" y="10258"/>
                </a:lnTo>
                <a:lnTo>
                  <a:pt x="76152" y="8563"/>
                </a:lnTo>
                <a:lnTo>
                  <a:pt x="77457" y="7039"/>
                </a:lnTo>
                <a:lnTo>
                  <a:pt x="79143" y="7153"/>
                </a:lnTo>
                <a:lnTo>
                  <a:pt x="84649" y="10925"/>
                </a:lnTo>
                <a:lnTo>
                  <a:pt x="90535" y="10687"/>
                </a:lnTo>
                <a:lnTo>
                  <a:pt x="91611" y="10830"/>
                </a:lnTo>
                <a:lnTo>
                  <a:pt x="91964" y="10906"/>
                </a:lnTo>
                <a:lnTo>
                  <a:pt x="92688" y="11211"/>
                </a:lnTo>
                <a:lnTo>
                  <a:pt x="100517" y="13078"/>
                </a:lnTo>
                <a:lnTo>
                  <a:pt x="101727" y="12868"/>
                </a:lnTo>
                <a:lnTo>
                  <a:pt x="102061" y="12725"/>
                </a:lnTo>
                <a:lnTo>
                  <a:pt x="105213" y="14259"/>
                </a:lnTo>
                <a:lnTo>
                  <a:pt x="108004" y="14059"/>
                </a:lnTo>
                <a:lnTo>
                  <a:pt x="110652" y="12992"/>
                </a:lnTo>
                <a:lnTo>
                  <a:pt x="113405" y="12630"/>
                </a:lnTo>
                <a:lnTo>
                  <a:pt x="115938" y="13268"/>
                </a:lnTo>
                <a:lnTo>
                  <a:pt x="117863" y="15430"/>
                </a:lnTo>
                <a:lnTo>
                  <a:pt x="122863" y="20021"/>
                </a:lnTo>
                <a:lnTo>
                  <a:pt x="124349" y="21736"/>
                </a:lnTo>
                <a:lnTo>
                  <a:pt x="126635" y="21479"/>
                </a:lnTo>
                <a:lnTo>
                  <a:pt x="129168" y="20622"/>
                </a:lnTo>
                <a:lnTo>
                  <a:pt x="131731" y="17564"/>
                </a:lnTo>
                <a:lnTo>
                  <a:pt x="139608" y="14078"/>
                </a:lnTo>
                <a:lnTo>
                  <a:pt x="145618" y="13211"/>
                </a:lnTo>
                <a:lnTo>
                  <a:pt x="151486" y="11811"/>
                </a:lnTo>
                <a:lnTo>
                  <a:pt x="158277" y="10820"/>
                </a:lnTo>
                <a:lnTo>
                  <a:pt x="160239" y="7963"/>
                </a:lnTo>
                <a:lnTo>
                  <a:pt x="161325" y="6010"/>
                </a:lnTo>
                <a:lnTo>
                  <a:pt x="162097" y="2391"/>
                </a:lnTo>
                <a:lnTo>
                  <a:pt x="165754" y="1343"/>
                </a:lnTo>
                <a:lnTo>
                  <a:pt x="169231" y="600"/>
                </a:lnTo>
                <a:lnTo>
                  <a:pt x="170469" y="143"/>
                </a:lnTo>
                <a:lnTo>
                  <a:pt x="173003" y="0"/>
                </a:lnTo>
                <a:lnTo>
                  <a:pt x="174974" y="305"/>
                </a:lnTo>
                <a:lnTo>
                  <a:pt x="178013" y="2096"/>
                </a:lnTo>
                <a:lnTo>
                  <a:pt x="180147" y="4334"/>
                </a:lnTo>
                <a:lnTo>
                  <a:pt x="180984" y="6115"/>
                </a:lnTo>
                <a:lnTo>
                  <a:pt x="182804" y="8630"/>
                </a:lnTo>
                <a:lnTo>
                  <a:pt x="184718" y="12144"/>
                </a:lnTo>
                <a:lnTo>
                  <a:pt x="186833" y="16821"/>
                </a:lnTo>
                <a:lnTo>
                  <a:pt x="187290" y="19174"/>
                </a:lnTo>
                <a:lnTo>
                  <a:pt x="188090" y="21727"/>
                </a:lnTo>
                <a:lnTo>
                  <a:pt x="189662" y="24822"/>
                </a:lnTo>
                <a:lnTo>
                  <a:pt x="192662" y="28251"/>
                </a:lnTo>
                <a:lnTo>
                  <a:pt x="193081" y="28889"/>
                </a:lnTo>
                <a:lnTo>
                  <a:pt x="194443" y="31299"/>
                </a:lnTo>
                <a:lnTo>
                  <a:pt x="197072" y="36624"/>
                </a:lnTo>
                <a:lnTo>
                  <a:pt x="199273" y="38748"/>
                </a:lnTo>
                <a:lnTo>
                  <a:pt x="201187" y="41062"/>
                </a:lnTo>
                <a:lnTo>
                  <a:pt x="202111" y="43386"/>
                </a:lnTo>
                <a:lnTo>
                  <a:pt x="203482" y="45491"/>
                </a:lnTo>
                <a:lnTo>
                  <a:pt x="206702" y="48282"/>
                </a:lnTo>
                <a:lnTo>
                  <a:pt x="209312" y="50816"/>
                </a:lnTo>
                <a:lnTo>
                  <a:pt x="211398" y="58083"/>
                </a:lnTo>
                <a:lnTo>
                  <a:pt x="212855" y="61417"/>
                </a:lnTo>
                <a:lnTo>
                  <a:pt x="213789" y="63960"/>
                </a:lnTo>
                <a:lnTo>
                  <a:pt x="213341" y="69104"/>
                </a:lnTo>
                <a:lnTo>
                  <a:pt x="213922" y="71304"/>
                </a:lnTo>
                <a:lnTo>
                  <a:pt x="212731" y="75314"/>
                </a:lnTo>
                <a:lnTo>
                  <a:pt x="210579" y="83353"/>
                </a:lnTo>
                <a:lnTo>
                  <a:pt x="210055" y="89735"/>
                </a:lnTo>
                <a:lnTo>
                  <a:pt x="210426" y="93164"/>
                </a:lnTo>
                <a:lnTo>
                  <a:pt x="210474" y="95364"/>
                </a:lnTo>
                <a:lnTo>
                  <a:pt x="210998" y="96764"/>
                </a:lnTo>
                <a:lnTo>
                  <a:pt x="211569" y="99660"/>
                </a:lnTo>
                <a:lnTo>
                  <a:pt x="211655" y="102175"/>
                </a:lnTo>
                <a:lnTo>
                  <a:pt x="210884" y="102889"/>
                </a:lnTo>
                <a:lnTo>
                  <a:pt x="209807" y="103489"/>
                </a:lnTo>
                <a:lnTo>
                  <a:pt x="209388" y="104013"/>
                </a:lnTo>
                <a:lnTo>
                  <a:pt x="210378" y="105146"/>
                </a:lnTo>
                <a:lnTo>
                  <a:pt x="211731" y="107251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8" name="Forme libre : forme 47">
            <a:extLst>
              <a:ext uri="{FF2B5EF4-FFF2-40B4-BE49-F238E27FC236}">
                <a16:creationId xmlns:a16="http://schemas.microsoft.com/office/drawing/2014/main" id="{9E5E024F-6C5A-A3F9-D20B-BE100B9700AD}"/>
              </a:ext>
            </a:extLst>
          </p:cNvPr>
          <p:cNvSpPr/>
          <p:nvPr/>
        </p:nvSpPr>
        <p:spPr>
          <a:xfrm>
            <a:off x="6178388" y="3756456"/>
            <a:ext cx="144273" cy="190462"/>
          </a:xfrm>
          <a:custGeom>
            <a:avLst/>
            <a:gdLst>
              <a:gd name="connsiteX0" fmla="*/ 23670 w 110614"/>
              <a:gd name="connsiteY0" fmla="*/ 667 h 146027"/>
              <a:gd name="connsiteX1" fmla="*/ 26880 w 110614"/>
              <a:gd name="connsiteY1" fmla="*/ 895 h 146027"/>
              <a:gd name="connsiteX2" fmla="*/ 29280 w 110614"/>
              <a:gd name="connsiteY2" fmla="*/ 295 h 146027"/>
              <a:gd name="connsiteX3" fmla="*/ 35347 w 110614"/>
              <a:gd name="connsiteY3" fmla="*/ 1057 h 146027"/>
              <a:gd name="connsiteX4" fmla="*/ 36652 w 110614"/>
              <a:gd name="connsiteY4" fmla="*/ 1657 h 146027"/>
              <a:gd name="connsiteX5" fmla="*/ 37500 w 110614"/>
              <a:gd name="connsiteY5" fmla="*/ 2334 h 146027"/>
              <a:gd name="connsiteX6" fmla="*/ 39091 w 110614"/>
              <a:gd name="connsiteY6" fmla="*/ 4563 h 146027"/>
              <a:gd name="connsiteX7" fmla="*/ 40615 w 110614"/>
              <a:gd name="connsiteY7" fmla="*/ 7439 h 146027"/>
              <a:gd name="connsiteX8" fmla="*/ 42749 w 110614"/>
              <a:gd name="connsiteY8" fmla="*/ 8772 h 146027"/>
              <a:gd name="connsiteX9" fmla="*/ 45272 w 110614"/>
              <a:gd name="connsiteY9" fmla="*/ 10354 h 146027"/>
              <a:gd name="connsiteX10" fmla="*/ 46568 w 110614"/>
              <a:gd name="connsiteY10" fmla="*/ 11506 h 146027"/>
              <a:gd name="connsiteX11" fmla="*/ 48483 w 110614"/>
              <a:gd name="connsiteY11" fmla="*/ 14945 h 146027"/>
              <a:gd name="connsiteX12" fmla="*/ 49997 w 110614"/>
              <a:gd name="connsiteY12" fmla="*/ 16631 h 146027"/>
              <a:gd name="connsiteX13" fmla="*/ 50492 w 110614"/>
              <a:gd name="connsiteY13" fmla="*/ 16545 h 146027"/>
              <a:gd name="connsiteX14" fmla="*/ 50997 w 110614"/>
              <a:gd name="connsiteY14" fmla="*/ 16107 h 146027"/>
              <a:gd name="connsiteX15" fmla="*/ 51349 w 110614"/>
              <a:gd name="connsiteY15" fmla="*/ 15754 h 146027"/>
              <a:gd name="connsiteX16" fmla="*/ 51750 w 110614"/>
              <a:gd name="connsiteY16" fmla="*/ 16078 h 146027"/>
              <a:gd name="connsiteX17" fmla="*/ 51778 w 110614"/>
              <a:gd name="connsiteY17" fmla="*/ 17116 h 146027"/>
              <a:gd name="connsiteX18" fmla="*/ 51874 w 110614"/>
              <a:gd name="connsiteY18" fmla="*/ 19431 h 146027"/>
              <a:gd name="connsiteX19" fmla="*/ 51511 w 110614"/>
              <a:gd name="connsiteY19" fmla="*/ 21888 h 146027"/>
              <a:gd name="connsiteX20" fmla="*/ 52044 w 110614"/>
              <a:gd name="connsiteY20" fmla="*/ 24203 h 146027"/>
              <a:gd name="connsiteX21" fmla="*/ 52064 w 110614"/>
              <a:gd name="connsiteY21" fmla="*/ 24927 h 146027"/>
              <a:gd name="connsiteX22" fmla="*/ 51683 w 110614"/>
              <a:gd name="connsiteY22" fmla="*/ 25594 h 146027"/>
              <a:gd name="connsiteX23" fmla="*/ 51731 w 110614"/>
              <a:gd name="connsiteY23" fmla="*/ 26184 h 146027"/>
              <a:gd name="connsiteX24" fmla="*/ 52264 w 110614"/>
              <a:gd name="connsiteY24" fmla="*/ 26813 h 146027"/>
              <a:gd name="connsiteX25" fmla="*/ 54312 w 110614"/>
              <a:gd name="connsiteY25" fmla="*/ 28347 h 146027"/>
              <a:gd name="connsiteX26" fmla="*/ 56217 w 110614"/>
              <a:gd name="connsiteY26" fmla="*/ 30709 h 146027"/>
              <a:gd name="connsiteX27" fmla="*/ 58407 w 110614"/>
              <a:gd name="connsiteY27" fmla="*/ 32366 h 146027"/>
              <a:gd name="connsiteX28" fmla="*/ 60436 w 110614"/>
              <a:gd name="connsiteY28" fmla="*/ 33423 h 146027"/>
              <a:gd name="connsiteX29" fmla="*/ 61722 w 110614"/>
              <a:gd name="connsiteY29" fmla="*/ 33499 h 146027"/>
              <a:gd name="connsiteX30" fmla="*/ 63818 w 110614"/>
              <a:gd name="connsiteY30" fmla="*/ 35405 h 146027"/>
              <a:gd name="connsiteX31" fmla="*/ 67970 w 110614"/>
              <a:gd name="connsiteY31" fmla="*/ 36776 h 146027"/>
              <a:gd name="connsiteX32" fmla="*/ 69304 w 110614"/>
              <a:gd name="connsiteY32" fmla="*/ 37252 h 146027"/>
              <a:gd name="connsiteX33" fmla="*/ 70209 w 110614"/>
              <a:gd name="connsiteY33" fmla="*/ 38033 h 146027"/>
              <a:gd name="connsiteX34" fmla="*/ 70876 w 110614"/>
              <a:gd name="connsiteY34" fmla="*/ 38938 h 146027"/>
              <a:gd name="connsiteX35" fmla="*/ 70914 w 110614"/>
              <a:gd name="connsiteY35" fmla="*/ 39910 h 146027"/>
              <a:gd name="connsiteX36" fmla="*/ 70275 w 110614"/>
              <a:gd name="connsiteY36" fmla="*/ 40367 h 146027"/>
              <a:gd name="connsiteX37" fmla="*/ 69380 w 110614"/>
              <a:gd name="connsiteY37" fmla="*/ 41681 h 146027"/>
              <a:gd name="connsiteX38" fmla="*/ 69009 w 110614"/>
              <a:gd name="connsiteY38" fmla="*/ 43272 h 146027"/>
              <a:gd name="connsiteX39" fmla="*/ 68352 w 110614"/>
              <a:gd name="connsiteY39" fmla="*/ 43682 h 146027"/>
              <a:gd name="connsiteX40" fmla="*/ 67685 w 110614"/>
              <a:gd name="connsiteY40" fmla="*/ 43710 h 146027"/>
              <a:gd name="connsiteX41" fmla="*/ 67199 w 110614"/>
              <a:gd name="connsiteY41" fmla="*/ 44177 h 146027"/>
              <a:gd name="connsiteX42" fmla="*/ 67313 w 110614"/>
              <a:gd name="connsiteY42" fmla="*/ 44863 h 146027"/>
              <a:gd name="connsiteX43" fmla="*/ 67866 w 110614"/>
              <a:gd name="connsiteY43" fmla="*/ 45520 h 146027"/>
              <a:gd name="connsiteX44" fmla="*/ 68732 w 110614"/>
              <a:gd name="connsiteY44" fmla="*/ 46111 h 146027"/>
              <a:gd name="connsiteX45" fmla="*/ 70381 w 110614"/>
              <a:gd name="connsiteY45" fmla="*/ 46701 h 146027"/>
              <a:gd name="connsiteX46" fmla="*/ 72019 w 110614"/>
              <a:gd name="connsiteY46" fmla="*/ 47568 h 146027"/>
              <a:gd name="connsiteX47" fmla="*/ 72000 w 110614"/>
              <a:gd name="connsiteY47" fmla="*/ 48254 h 146027"/>
              <a:gd name="connsiteX48" fmla="*/ 71666 w 110614"/>
              <a:gd name="connsiteY48" fmla="*/ 49006 h 146027"/>
              <a:gd name="connsiteX49" fmla="*/ 69590 w 110614"/>
              <a:gd name="connsiteY49" fmla="*/ 49282 h 146027"/>
              <a:gd name="connsiteX50" fmla="*/ 68037 w 110614"/>
              <a:gd name="connsiteY50" fmla="*/ 49406 h 146027"/>
              <a:gd name="connsiteX51" fmla="*/ 67333 w 110614"/>
              <a:gd name="connsiteY51" fmla="*/ 49721 h 146027"/>
              <a:gd name="connsiteX52" fmla="*/ 67389 w 110614"/>
              <a:gd name="connsiteY52" fmla="*/ 51035 h 146027"/>
              <a:gd name="connsiteX53" fmla="*/ 71752 w 110614"/>
              <a:gd name="connsiteY53" fmla="*/ 52416 h 146027"/>
              <a:gd name="connsiteX54" fmla="*/ 73733 w 110614"/>
              <a:gd name="connsiteY54" fmla="*/ 53712 h 146027"/>
              <a:gd name="connsiteX55" fmla="*/ 74772 w 110614"/>
              <a:gd name="connsiteY55" fmla="*/ 55397 h 146027"/>
              <a:gd name="connsiteX56" fmla="*/ 77553 w 110614"/>
              <a:gd name="connsiteY56" fmla="*/ 56512 h 146027"/>
              <a:gd name="connsiteX57" fmla="*/ 82077 w 110614"/>
              <a:gd name="connsiteY57" fmla="*/ 57055 h 146027"/>
              <a:gd name="connsiteX58" fmla="*/ 85220 w 110614"/>
              <a:gd name="connsiteY58" fmla="*/ 58798 h 146027"/>
              <a:gd name="connsiteX59" fmla="*/ 86992 w 110614"/>
              <a:gd name="connsiteY59" fmla="*/ 61703 h 146027"/>
              <a:gd name="connsiteX60" fmla="*/ 89868 w 110614"/>
              <a:gd name="connsiteY60" fmla="*/ 61008 h 146027"/>
              <a:gd name="connsiteX61" fmla="*/ 93879 w 110614"/>
              <a:gd name="connsiteY61" fmla="*/ 56683 h 146027"/>
              <a:gd name="connsiteX62" fmla="*/ 97803 w 110614"/>
              <a:gd name="connsiteY62" fmla="*/ 55559 h 146027"/>
              <a:gd name="connsiteX63" fmla="*/ 101661 w 110614"/>
              <a:gd name="connsiteY63" fmla="*/ 57626 h 146027"/>
              <a:gd name="connsiteX64" fmla="*/ 103766 w 110614"/>
              <a:gd name="connsiteY64" fmla="*/ 59331 h 146027"/>
              <a:gd name="connsiteX65" fmla="*/ 104127 w 110614"/>
              <a:gd name="connsiteY65" fmla="*/ 60655 h 146027"/>
              <a:gd name="connsiteX66" fmla="*/ 103232 w 110614"/>
              <a:gd name="connsiteY66" fmla="*/ 61198 h 146027"/>
              <a:gd name="connsiteX67" fmla="*/ 101079 w 110614"/>
              <a:gd name="connsiteY67" fmla="*/ 60941 h 146027"/>
              <a:gd name="connsiteX68" fmla="*/ 99308 w 110614"/>
              <a:gd name="connsiteY68" fmla="*/ 61770 h 146027"/>
              <a:gd name="connsiteX69" fmla="*/ 97927 w 110614"/>
              <a:gd name="connsiteY69" fmla="*/ 63665 h 146027"/>
              <a:gd name="connsiteX70" fmla="*/ 97717 w 110614"/>
              <a:gd name="connsiteY70" fmla="*/ 65684 h 146027"/>
              <a:gd name="connsiteX71" fmla="*/ 98689 w 110614"/>
              <a:gd name="connsiteY71" fmla="*/ 67828 h 146027"/>
              <a:gd name="connsiteX72" fmla="*/ 100051 w 110614"/>
              <a:gd name="connsiteY72" fmla="*/ 69304 h 146027"/>
              <a:gd name="connsiteX73" fmla="*/ 101822 w 110614"/>
              <a:gd name="connsiteY73" fmla="*/ 70123 h 146027"/>
              <a:gd name="connsiteX74" fmla="*/ 102765 w 110614"/>
              <a:gd name="connsiteY74" fmla="*/ 71238 h 146027"/>
              <a:gd name="connsiteX75" fmla="*/ 102889 w 110614"/>
              <a:gd name="connsiteY75" fmla="*/ 72657 h 146027"/>
              <a:gd name="connsiteX76" fmla="*/ 103347 w 110614"/>
              <a:gd name="connsiteY76" fmla="*/ 73047 h 146027"/>
              <a:gd name="connsiteX77" fmla="*/ 102337 w 110614"/>
              <a:gd name="connsiteY77" fmla="*/ 73695 h 146027"/>
              <a:gd name="connsiteX78" fmla="*/ 101251 w 110614"/>
              <a:gd name="connsiteY78" fmla="*/ 74666 h 146027"/>
              <a:gd name="connsiteX79" fmla="*/ 100632 w 110614"/>
              <a:gd name="connsiteY79" fmla="*/ 76362 h 146027"/>
              <a:gd name="connsiteX80" fmla="*/ 100470 w 110614"/>
              <a:gd name="connsiteY80" fmla="*/ 79077 h 146027"/>
              <a:gd name="connsiteX81" fmla="*/ 97041 w 110614"/>
              <a:gd name="connsiteY81" fmla="*/ 81201 h 146027"/>
              <a:gd name="connsiteX82" fmla="*/ 95755 w 110614"/>
              <a:gd name="connsiteY82" fmla="*/ 81591 h 146027"/>
              <a:gd name="connsiteX83" fmla="*/ 95174 w 110614"/>
              <a:gd name="connsiteY83" fmla="*/ 83001 h 146027"/>
              <a:gd name="connsiteX84" fmla="*/ 94269 w 110614"/>
              <a:gd name="connsiteY84" fmla="*/ 86973 h 146027"/>
              <a:gd name="connsiteX85" fmla="*/ 94374 w 110614"/>
              <a:gd name="connsiteY85" fmla="*/ 89954 h 146027"/>
              <a:gd name="connsiteX86" fmla="*/ 94841 w 110614"/>
              <a:gd name="connsiteY86" fmla="*/ 91469 h 146027"/>
              <a:gd name="connsiteX87" fmla="*/ 95050 w 110614"/>
              <a:gd name="connsiteY87" fmla="*/ 92707 h 146027"/>
              <a:gd name="connsiteX88" fmla="*/ 96164 w 110614"/>
              <a:gd name="connsiteY88" fmla="*/ 94221 h 146027"/>
              <a:gd name="connsiteX89" fmla="*/ 97174 w 110614"/>
              <a:gd name="connsiteY89" fmla="*/ 96546 h 146027"/>
              <a:gd name="connsiteX90" fmla="*/ 97841 w 110614"/>
              <a:gd name="connsiteY90" fmla="*/ 99613 h 146027"/>
              <a:gd name="connsiteX91" fmla="*/ 99327 w 110614"/>
              <a:gd name="connsiteY91" fmla="*/ 101975 h 146027"/>
              <a:gd name="connsiteX92" fmla="*/ 103127 w 110614"/>
              <a:gd name="connsiteY92" fmla="*/ 104299 h 146027"/>
              <a:gd name="connsiteX93" fmla="*/ 105013 w 110614"/>
              <a:gd name="connsiteY93" fmla="*/ 105651 h 146027"/>
              <a:gd name="connsiteX94" fmla="*/ 106413 w 110614"/>
              <a:gd name="connsiteY94" fmla="*/ 107613 h 146027"/>
              <a:gd name="connsiteX95" fmla="*/ 107480 w 110614"/>
              <a:gd name="connsiteY95" fmla="*/ 109385 h 146027"/>
              <a:gd name="connsiteX96" fmla="*/ 110614 w 110614"/>
              <a:gd name="connsiteY96" fmla="*/ 111738 h 146027"/>
              <a:gd name="connsiteX97" fmla="*/ 110376 w 110614"/>
              <a:gd name="connsiteY97" fmla="*/ 113414 h 146027"/>
              <a:gd name="connsiteX98" fmla="*/ 109690 w 110614"/>
              <a:gd name="connsiteY98" fmla="*/ 115053 h 146027"/>
              <a:gd name="connsiteX99" fmla="*/ 108966 w 110614"/>
              <a:gd name="connsiteY99" fmla="*/ 115824 h 146027"/>
              <a:gd name="connsiteX100" fmla="*/ 107404 w 110614"/>
              <a:gd name="connsiteY100" fmla="*/ 117929 h 146027"/>
              <a:gd name="connsiteX101" fmla="*/ 105880 w 110614"/>
              <a:gd name="connsiteY101" fmla="*/ 119110 h 146027"/>
              <a:gd name="connsiteX102" fmla="*/ 103375 w 110614"/>
              <a:gd name="connsiteY102" fmla="*/ 122815 h 146027"/>
              <a:gd name="connsiteX103" fmla="*/ 99422 w 110614"/>
              <a:gd name="connsiteY103" fmla="*/ 123015 h 146027"/>
              <a:gd name="connsiteX104" fmla="*/ 98479 w 110614"/>
              <a:gd name="connsiteY104" fmla="*/ 123311 h 146027"/>
              <a:gd name="connsiteX105" fmla="*/ 96974 w 110614"/>
              <a:gd name="connsiteY105" fmla="*/ 124320 h 146027"/>
              <a:gd name="connsiteX106" fmla="*/ 96241 w 110614"/>
              <a:gd name="connsiteY106" fmla="*/ 126168 h 146027"/>
              <a:gd name="connsiteX107" fmla="*/ 96946 w 110614"/>
              <a:gd name="connsiteY107" fmla="*/ 127654 h 146027"/>
              <a:gd name="connsiteX108" fmla="*/ 96879 w 110614"/>
              <a:gd name="connsiteY108" fmla="*/ 129149 h 146027"/>
              <a:gd name="connsiteX109" fmla="*/ 96164 w 110614"/>
              <a:gd name="connsiteY109" fmla="*/ 132055 h 146027"/>
              <a:gd name="connsiteX110" fmla="*/ 97117 w 110614"/>
              <a:gd name="connsiteY110" fmla="*/ 135169 h 146027"/>
              <a:gd name="connsiteX111" fmla="*/ 98517 w 110614"/>
              <a:gd name="connsiteY111" fmla="*/ 136588 h 146027"/>
              <a:gd name="connsiteX112" fmla="*/ 98736 w 110614"/>
              <a:gd name="connsiteY112" fmla="*/ 137408 h 146027"/>
              <a:gd name="connsiteX113" fmla="*/ 98498 w 110614"/>
              <a:gd name="connsiteY113" fmla="*/ 138855 h 146027"/>
              <a:gd name="connsiteX114" fmla="*/ 96412 w 110614"/>
              <a:gd name="connsiteY114" fmla="*/ 141808 h 146027"/>
              <a:gd name="connsiteX115" fmla="*/ 95784 w 110614"/>
              <a:gd name="connsiteY115" fmla="*/ 142903 h 146027"/>
              <a:gd name="connsiteX116" fmla="*/ 93698 w 110614"/>
              <a:gd name="connsiteY116" fmla="*/ 143437 h 146027"/>
              <a:gd name="connsiteX117" fmla="*/ 92983 w 110614"/>
              <a:gd name="connsiteY117" fmla="*/ 143161 h 146027"/>
              <a:gd name="connsiteX118" fmla="*/ 91907 w 110614"/>
              <a:gd name="connsiteY118" fmla="*/ 142151 h 146027"/>
              <a:gd name="connsiteX119" fmla="*/ 90907 w 110614"/>
              <a:gd name="connsiteY119" fmla="*/ 141846 h 146027"/>
              <a:gd name="connsiteX120" fmla="*/ 88421 w 110614"/>
              <a:gd name="connsiteY120" fmla="*/ 143037 h 146027"/>
              <a:gd name="connsiteX121" fmla="*/ 85887 w 110614"/>
              <a:gd name="connsiteY121" fmla="*/ 143770 h 146027"/>
              <a:gd name="connsiteX122" fmla="*/ 83897 w 110614"/>
              <a:gd name="connsiteY122" fmla="*/ 143218 h 146027"/>
              <a:gd name="connsiteX123" fmla="*/ 81934 w 110614"/>
              <a:gd name="connsiteY123" fmla="*/ 143151 h 146027"/>
              <a:gd name="connsiteX124" fmla="*/ 80572 w 110614"/>
              <a:gd name="connsiteY124" fmla="*/ 143637 h 146027"/>
              <a:gd name="connsiteX125" fmla="*/ 79543 w 110614"/>
              <a:gd name="connsiteY125" fmla="*/ 143828 h 146027"/>
              <a:gd name="connsiteX126" fmla="*/ 77524 w 110614"/>
              <a:gd name="connsiteY126" fmla="*/ 145104 h 146027"/>
              <a:gd name="connsiteX127" fmla="*/ 74295 w 110614"/>
              <a:gd name="connsiteY127" fmla="*/ 146028 h 146027"/>
              <a:gd name="connsiteX128" fmla="*/ 72800 w 110614"/>
              <a:gd name="connsiteY128" fmla="*/ 145828 h 146027"/>
              <a:gd name="connsiteX129" fmla="*/ 72247 w 110614"/>
              <a:gd name="connsiteY129" fmla="*/ 144628 h 146027"/>
              <a:gd name="connsiteX130" fmla="*/ 71637 w 110614"/>
              <a:gd name="connsiteY130" fmla="*/ 142923 h 146027"/>
              <a:gd name="connsiteX131" fmla="*/ 71933 w 110614"/>
              <a:gd name="connsiteY131" fmla="*/ 142142 h 146027"/>
              <a:gd name="connsiteX132" fmla="*/ 74076 w 110614"/>
              <a:gd name="connsiteY132" fmla="*/ 140789 h 146027"/>
              <a:gd name="connsiteX133" fmla="*/ 74314 w 110614"/>
              <a:gd name="connsiteY133" fmla="*/ 139503 h 146027"/>
              <a:gd name="connsiteX134" fmla="*/ 77305 w 110614"/>
              <a:gd name="connsiteY134" fmla="*/ 133274 h 146027"/>
              <a:gd name="connsiteX135" fmla="*/ 77877 w 110614"/>
              <a:gd name="connsiteY135" fmla="*/ 131245 h 146027"/>
              <a:gd name="connsiteX136" fmla="*/ 77896 w 110614"/>
              <a:gd name="connsiteY136" fmla="*/ 130588 h 146027"/>
              <a:gd name="connsiteX137" fmla="*/ 77114 w 110614"/>
              <a:gd name="connsiteY137" fmla="*/ 130140 h 146027"/>
              <a:gd name="connsiteX138" fmla="*/ 75476 w 110614"/>
              <a:gd name="connsiteY138" fmla="*/ 130159 h 146027"/>
              <a:gd name="connsiteX139" fmla="*/ 68209 w 110614"/>
              <a:gd name="connsiteY139" fmla="*/ 127626 h 146027"/>
              <a:gd name="connsiteX140" fmla="*/ 68542 w 110614"/>
              <a:gd name="connsiteY140" fmla="*/ 124720 h 146027"/>
              <a:gd name="connsiteX141" fmla="*/ 66409 w 110614"/>
              <a:gd name="connsiteY141" fmla="*/ 123149 h 146027"/>
              <a:gd name="connsiteX142" fmla="*/ 64104 w 110614"/>
              <a:gd name="connsiteY142" fmla="*/ 121749 h 146027"/>
              <a:gd name="connsiteX143" fmla="*/ 63722 w 110614"/>
              <a:gd name="connsiteY143" fmla="*/ 120187 h 146027"/>
              <a:gd name="connsiteX144" fmla="*/ 61160 w 110614"/>
              <a:gd name="connsiteY144" fmla="*/ 117024 h 146027"/>
              <a:gd name="connsiteX145" fmla="*/ 59293 w 110614"/>
              <a:gd name="connsiteY145" fmla="*/ 115253 h 146027"/>
              <a:gd name="connsiteX146" fmla="*/ 56902 w 110614"/>
              <a:gd name="connsiteY146" fmla="*/ 114367 h 146027"/>
              <a:gd name="connsiteX147" fmla="*/ 54845 w 110614"/>
              <a:gd name="connsiteY147" fmla="*/ 113062 h 146027"/>
              <a:gd name="connsiteX148" fmla="*/ 53607 w 110614"/>
              <a:gd name="connsiteY148" fmla="*/ 112262 h 146027"/>
              <a:gd name="connsiteX149" fmla="*/ 53054 w 110614"/>
              <a:gd name="connsiteY149" fmla="*/ 110785 h 146027"/>
              <a:gd name="connsiteX150" fmla="*/ 53054 w 110614"/>
              <a:gd name="connsiteY150" fmla="*/ 109909 h 146027"/>
              <a:gd name="connsiteX151" fmla="*/ 52435 w 110614"/>
              <a:gd name="connsiteY151" fmla="*/ 109061 h 146027"/>
              <a:gd name="connsiteX152" fmla="*/ 51445 w 110614"/>
              <a:gd name="connsiteY152" fmla="*/ 109156 h 146027"/>
              <a:gd name="connsiteX153" fmla="*/ 49759 w 110614"/>
              <a:gd name="connsiteY153" fmla="*/ 110338 h 146027"/>
              <a:gd name="connsiteX154" fmla="*/ 47692 w 110614"/>
              <a:gd name="connsiteY154" fmla="*/ 111347 h 146027"/>
              <a:gd name="connsiteX155" fmla="*/ 47330 w 110614"/>
              <a:gd name="connsiteY155" fmla="*/ 112090 h 146027"/>
              <a:gd name="connsiteX156" fmla="*/ 48083 w 110614"/>
              <a:gd name="connsiteY156" fmla="*/ 113833 h 146027"/>
              <a:gd name="connsiteX157" fmla="*/ 48616 w 110614"/>
              <a:gd name="connsiteY157" fmla="*/ 114957 h 146027"/>
              <a:gd name="connsiteX158" fmla="*/ 48368 w 110614"/>
              <a:gd name="connsiteY158" fmla="*/ 116005 h 146027"/>
              <a:gd name="connsiteX159" fmla="*/ 47720 w 110614"/>
              <a:gd name="connsiteY159" fmla="*/ 117348 h 146027"/>
              <a:gd name="connsiteX160" fmla="*/ 43739 w 110614"/>
              <a:gd name="connsiteY160" fmla="*/ 120301 h 146027"/>
              <a:gd name="connsiteX161" fmla="*/ 43292 w 110614"/>
              <a:gd name="connsiteY161" fmla="*/ 121339 h 146027"/>
              <a:gd name="connsiteX162" fmla="*/ 44053 w 110614"/>
              <a:gd name="connsiteY162" fmla="*/ 122996 h 146027"/>
              <a:gd name="connsiteX163" fmla="*/ 43568 w 110614"/>
              <a:gd name="connsiteY163" fmla="*/ 123758 h 146027"/>
              <a:gd name="connsiteX164" fmla="*/ 40243 w 110614"/>
              <a:gd name="connsiteY164" fmla="*/ 124854 h 146027"/>
              <a:gd name="connsiteX165" fmla="*/ 40329 w 110614"/>
              <a:gd name="connsiteY165" fmla="*/ 123949 h 146027"/>
              <a:gd name="connsiteX166" fmla="*/ 40120 w 110614"/>
              <a:gd name="connsiteY166" fmla="*/ 122492 h 146027"/>
              <a:gd name="connsiteX167" fmla="*/ 38215 w 110614"/>
              <a:gd name="connsiteY167" fmla="*/ 120939 h 146027"/>
              <a:gd name="connsiteX168" fmla="*/ 35519 w 110614"/>
              <a:gd name="connsiteY168" fmla="*/ 119739 h 146027"/>
              <a:gd name="connsiteX169" fmla="*/ 29537 w 110614"/>
              <a:gd name="connsiteY169" fmla="*/ 115614 h 146027"/>
              <a:gd name="connsiteX170" fmla="*/ 27242 w 110614"/>
              <a:gd name="connsiteY170" fmla="*/ 115071 h 146027"/>
              <a:gd name="connsiteX171" fmla="*/ 25185 w 110614"/>
              <a:gd name="connsiteY171" fmla="*/ 114586 h 146027"/>
              <a:gd name="connsiteX172" fmla="*/ 22241 w 110614"/>
              <a:gd name="connsiteY172" fmla="*/ 112614 h 146027"/>
              <a:gd name="connsiteX173" fmla="*/ 20727 w 110614"/>
              <a:gd name="connsiteY173" fmla="*/ 112262 h 146027"/>
              <a:gd name="connsiteX174" fmla="*/ 19050 w 110614"/>
              <a:gd name="connsiteY174" fmla="*/ 110852 h 146027"/>
              <a:gd name="connsiteX175" fmla="*/ 15393 w 110614"/>
              <a:gd name="connsiteY175" fmla="*/ 106071 h 146027"/>
              <a:gd name="connsiteX176" fmla="*/ 12278 w 110614"/>
              <a:gd name="connsiteY176" fmla="*/ 103461 h 146027"/>
              <a:gd name="connsiteX177" fmla="*/ 10154 w 110614"/>
              <a:gd name="connsiteY177" fmla="*/ 102146 h 146027"/>
              <a:gd name="connsiteX178" fmla="*/ 9553 w 110614"/>
              <a:gd name="connsiteY178" fmla="*/ 100860 h 146027"/>
              <a:gd name="connsiteX179" fmla="*/ 9430 w 110614"/>
              <a:gd name="connsiteY179" fmla="*/ 99536 h 146027"/>
              <a:gd name="connsiteX180" fmla="*/ 9497 w 110614"/>
              <a:gd name="connsiteY180" fmla="*/ 99089 h 146027"/>
              <a:gd name="connsiteX181" fmla="*/ 11106 w 110614"/>
              <a:gd name="connsiteY181" fmla="*/ 97203 h 146027"/>
              <a:gd name="connsiteX182" fmla="*/ 12345 w 110614"/>
              <a:gd name="connsiteY182" fmla="*/ 96936 h 146027"/>
              <a:gd name="connsiteX183" fmla="*/ 13935 w 110614"/>
              <a:gd name="connsiteY183" fmla="*/ 96869 h 146027"/>
              <a:gd name="connsiteX184" fmla="*/ 14993 w 110614"/>
              <a:gd name="connsiteY184" fmla="*/ 97822 h 146027"/>
              <a:gd name="connsiteX185" fmla="*/ 16364 w 110614"/>
              <a:gd name="connsiteY185" fmla="*/ 98031 h 146027"/>
              <a:gd name="connsiteX186" fmla="*/ 17136 w 110614"/>
              <a:gd name="connsiteY186" fmla="*/ 96812 h 146027"/>
              <a:gd name="connsiteX187" fmla="*/ 17536 w 110614"/>
              <a:gd name="connsiteY187" fmla="*/ 95060 h 146027"/>
              <a:gd name="connsiteX188" fmla="*/ 17355 w 110614"/>
              <a:gd name="connsiteY188" fmla="*/ 92821 h 146027"/>
              <a:gd name="connsiteX189" fmla="*/ 14031 w 110614"/>
              <a:gd name="connsiteY189" fmla="*/ 87611 h 146027"/>
              <a:gd name="connsiteX190" fmla="*/ 11182 w 110614"/>
              <a:gd name="connsiteY190" fmla="*/ 83972 h 146027"/>
              <a:gd name="connsiteX191" fmla="*/ 10849 w 110614"/>
              <a:gd name="connsiteY191" fmla="*/ 83163 h 146027"/>
              <a:gd name="connsiteX192" fmla="*/ 11468 w 110614"/>
              <a:gd name="connsiteY192" fmla="*/ 82477 h 146027"/>
              <a:gd name="connsiteX193" fmla="*/ 12468 w 110614"/>
              <a:gd name="connsiteY193" fmla="*/ 82115 h 146027"/>
              <a:gd name="connsiteX194" fmla="*/ 13535 w 110614"/>
              <a:gd name="connsiteY194" fmla="*/ 82420 h 146027"/>
              <a:gd name="connsiteX195" fmla="*/ 16316 w 110614"/>
              <a:gd name="connsiteY195" fmla="*/ 82687 h 146027"/>
              <a:gd name="connsiteX196" fmla="*/ 18993 w 110614"/>
              <a:gd name="connsiteY196" fmla="*/ 82344 h 146027"/>
              <a:gd name="connsiteX197" fmla="*/ 19908 w 110614"/>
              <a:gd name="connsiteY197" fmla="*/ 81458 h 146027"/>
              <a:gd name="connsiteX198" fmla="*/ 19908 w 110614"/>
              <a:gd name="connsiteY198" fmla="*/ 80258 h 146027"/>
              <a:gd name="connsiteX199" fmla="*/ 18936 w 110614"/>
              <a:gd name="connsiteY199" fmla="*/ 79143 h 146027"/>
              <a:gd name="connsiteX200" fmla="*/ 15802 w 110614"/>
              <a:gd name="connsiteY200" fmla="*/ 76143 h 146027"/>
              <a:gd name="connsiteX201" fmla="*/ 13364 w 110614"/>
              <a:gd name="connsiteY201" fmla="*/ 73495 h 146027"/>
              <a:gd name="connsiteX202" fmla="*/ 10487 w 110614"/>
              <a:gd name="connsiteY202" fmla="*/ 71457 h 146027"/>
              <a:gd name="connsiteX203" fmla="*/ 8363 w 110614"/>
              <a:gd name="connsiteY203" fmla="*/ 70638 h 146027"/>
              <a:gd name="connsiteX204" fmla="*/ 7734 w 110614"/>
              <a:gd name="connsiteY204" fmla="*/ 69599 h 146027"/>
              <a:gd name="connsiteX205" fmla="*/ 7468 w 110614"/>
              <a:gd name="connsiteY205" fmla="*/ 68494 h 146027"/>
              <a:gd name="connsiteX206" fmla="*/ 7706 w 110614"/>
              <a:gd name="connsiteY206" fmla="*/ 66465 h 146027"/>
              <a:gd name="connsiteX207" fmla="*/ 7849 w 110614"/>
              <a:gd name="connsiteY207" fmla="*/ 63875 h 146027"/>
              <a:gd name="connsiteX208" fmla="*/ 8344 w 110614"/>
              <a:gd name="connsiteY208" fmla="*/ 62256 h 146027"/>
              <a:gd name="connsiteX209" fmla="*/ 10268 w 110614"/>
              <a:gd name="connsiteY209" fmla="*/ 59179 h 146027"/>
              <a:gd name="connsiteX210" fmla="*/ 12106 w 110614"/>
              <a:gd name="connsiteY210" fmla="*/ 55912 h 146027"/>
              <a:gd name="connsiteX211" fmla="*/ 13240 w 110614"/>
              <a:gd name="connsiteY211" fmla="*/ 52769 h 146027"/>
              <a:gd name="connsiteX212" fmla="*/ 13840 w 110614"/>
              <a:gd name="connsiteY212" fmla="*/ 49844 h 146027"/>
              <a:gd name="connsiteX213" fmla="*/ 13621 w 110614"/>
              <a:gd name="connsiteY213" fmla="*/ 48997 h 146027"/>
              <a:gd name="connsiteX214" fmla="*/ 12659 w 110614"/>
              <a:gd name="connsiteY214" fmla="*/ 48378 h 146027"/>
              <a:gd name="connsiteX215" fmla="*/ 10639 w 110614"/>
              <a:gd name="connsiteY215" fmla="*/ 47739 h 146027"/>
              <a:gd name="connsiteX216" fmla="*/ 7820 w 110614"/>
              <a:gd name="connsiteY216" fmla="*/ 48292 h 146027"/>
              <a:gd name="connsiteX217" fmla="*/ 5429 w 110614"/>
              <a:gd name="connsiteY217" fmla="*/ 49359 h 146027"/>
              <a:gd name="connsiteX218" fmla="*/ 4496 w 110614"/>
              <a:gd name="connsiteY218" fmla="*/ 49444 h 146027"/>
              <a:gd name="connsiteX219" fmla="*/ 4182 w 110614"/>
              <a:gd name="connsiteY219" fmla="*/ 48130 h 146027"/>
              <a:gd name="connsiteX220" fmla="*/ 4553 w 110614"/>
              <a:gd name="connsiteY220" fmla="*/ 47549 h 146027"/>
              <a:gd name="connsiteX221" fmla="*/ 5305 w 110614"/>
              <a:gd name="connsiteY221" fmla="*/ 47625 h 146027"/>
              <a:gd name="connsiteX222" fmla="*/ 5925 w 110614"/>
              <a:gd name="connsiteY222" fmla="*/ 47873 h 146027"/>
              <a:gd name="connsiteX223" fmla="*/ 6582 w 110614"/>
              <a:gd name="connsiteY223" fmla="*/ 47273 h 146027"/>
              <a:gd name="connsiteX224" fmla="*/ 6982 w 110614"/>
              <a:gd name="connsiteY224" fmla="*/ 45511 h 146027"/>
              <a:gd name="connsiteX225" fmla="*/ 5982 w 110614"/>
              <a:gd name="connsiteY225" fmla="*/ 39338 h 146027"/>
              <a:gd name="connsiteX226" fmla="*/ 7773 w 110614"/>
              <a:gd name="connsiteY226" fmla="*/ 38795 h 146027"/>
              <a:gd name="connsiteX227" fmla="*/ 7801 w 110614"/>
              <a:gd name="connsiteY227" fmla="*/ 37900 h 146027"/>
              <a:gd name="connsiteX228" fmla="*/ 7963 w 110614"/>
              <a:gd name="connsiteY228" fmla="*/ 37109 h 146027"/>
              <a:gd name="connsiteX229" fmla="*/ 9811 w 110614"/>
              <a:gd name="connsiteY229" fmla="*/ 38186 h 146027"/>
              <a:gd name="connsiteX230" fmla="*/ 12402 w 110614"/>
              <a:gd name="connsiteY230" fmla="*/ 38205 h 146027"/>
              <a:gd name="connsiteX231" fmla="*/ 14678 w 110614"/>
              <a:gd name="connsiteY231" fmla="*/ 37986 h 146027"/>
              <a:gd name="connsiteX232" fmla="*/ 15021 w 110614"/>
              <a:gd name="connsiteY232" fmla="*/ 37376 h 146027"/>
              <a:gd name="connsiteX233" fmla="*/ 15002 w 110614"/>
              <a:gd name="connsiteY233" fmla="*/ 36500 h 146027"/>
              <a:gd name="connsiteX234" fmla="*/ 14526 w 110614"/>
              <a:gd name="connsiteY234" fmla="*/ 35805 h 146027"/>
              <a:gd name="connsiteX235" fmla="*/ 13716 w 110614"/>
              <a:gd name="connsiteY235" fmla="*/ 35252 h 146027"/>
              <a:gd name="connsiteX236" fmla="*/ 13135 w 110614"/>
              <a:gd name="connsiteY236" fmla="*/ 34395 h 146027"/>
              <a:gd name="connsiteX237" fmla="*/ 11602 w 110614"/>
              <a:gd name="connsiteY237" fmla="*/ 34014 h 146027"/>
              <a:gd name="connsiteX238" fmla="*/ 6791 w 110614"/>
              <a:gd name="connsiteY238" fmla="*/ 31785 h 146027"/>
              <a:gd name="connsiteX239" fmla="*/ 4429 w 110614"/>
              <a:gd name="connsiteY239" fmla="*/ 29413 h 146027"/>
              <a:gd name="connsiteX240" fmla="*/ 4506 w 110614"/>
              <a:gd name="connsiteY240" fmla="*/ 26889 h 146027"/>
              <a:gd name="connsiteX241" fmla="*/ 5192 w 110614"/>
              <a:gd name="connsiteY241" fmla="*/ 25508 h 146027"/>
              <a:gd name="connsiteX242" fmla="*/ 6020 w 110614"/>
              <a:gd name="connsiteY242" fmla="*/ 25022 h 146027"/>
              <a:gd name="connsiteX243" fmla="*/ 5772 w 110614"/>
              <a:gd name="connsiteY243" fmla="*/ 24555 h 146027"/>
              <a:gd name="connsiteX244" fmla="*/ 3067 w 110614"/>
              <a:gd name="connsiteY244" fmla="*/ 23384 h 146027"/>
              <a:gd name="connsiteX245" fmla="*/ 2105 w 110614"/>
              <a:gd name="connsiteY245" fmla="*/ 21755 h 146027"/>
              <a:gd name="connsiteX246" fmla="*/ 2896 w 110614"/>
              <a:gd name="connsiteY246" fmla="*/ 19669 h 146027"/>
              <a:gd name="connsiteX247" fmla="*/ 1486 w 110614"/>
              <a:gd name="connsiteY247" fmla="*/ 15412 h 146027"/>
              <a:gd name="connsiteX248" fmla="*/ 0 w 110614"/>
              <a:gd name="connsiteY248" fmla="*/ 12792 h 146027"/>
              <a:gd name="connsiteX249" fmla="*/ 1457 w 110614"/>
              <a:gd name="connsiteY249" fmla="*/ 11659 h 146027"/>
              <a:gd name="connsiteX250" fmla="*/ 1657 w 110614"/>
              <a:gd name="connsiteY250" fmla="*/ 10040 h 146027"/>
              <a:gd name="connsiteX251" fmla="*/ 1772 w 110614"/>
              <a:gd name="connsiteY251" fmla="*/ 9115 h 146027"/>
              <a:gd name="connsiteX252" fmla="*/ 2372 w 110614"/>
              <a:gd name="connsiteY252" fmla="*/ 9135 h 146027"/>
              <a:gd name="connsiteX253" fmla="*/ 4725 w 110614"/>
              <a:gd name="connsiteY253" fmla="*/ 8049 h 146027"/>
              <a:gd name="connsiteX254" fmla="*/ 5582 w 110614"/>
              <a:gd name="connsiteY254" fmla="*/ 7172 h 146027"/>
              <a:gd name="connsiteX255" fmla="*/ 6077 w 110614"/>
              <a:gd name="connsiteY255" fmla="*/ 6134 h 146027"/>
              <a:gd name="connsiteX256" fmla="*/ 6639 w 110614"/>
              <a:gd name="connsiteY256" fmla="*/ 5877 h 146027"/>
              <a:gd name="connsiteX257" fmla="*/ 8211 w 110614"/>
              <a:gd name="connsiteY257" fmla="*/ 7001 h 146027"/>
              <a:gd name="connsiteX258" fmla="*/ 9877 w 110614"/>
              <a:gd name="connsiteY258" fmla="*/ 7096 h 146027"/>
              <a:gd name="connsiteX259" fmla="*/ 11735 w 110614"/>
              <a:gd name="connsiteY259" fmla="*/ 6391 h 146027"/>
              <a:gd name="connsiteX260" fmla="*/ 13135 w 110614"/>
              <a:gd name="connsiteY260" fmla="*/ 5410 h 146027"/>
              <a:gd name="connsiteX261" fmla="*/ 14802 w 110614"/>
              <a:gd name="connsiteY261" fmla="*/ 4591 h 146027"/>
              <a:gd name="connsiteX262" fmla="*/ 15564 w 110614"/>
              <a:gd name="connsiteY262" fmla="*/ 4029 h 146027"/>
              <a:gd name="connsiteX263" fmla="*/ 16536 w 110614"/>
              <a:gd name="connsiteY263" fmla="*/ 3153 h 146027"/>
              <a:gd name="connsiteX264" fmla="*/ 18488 w 110614"/>
              <a:gd name="connsiteY264" fmla="*/ 543 h 146027"/>
              <a:gd name="connsiteX265" fmla="*/ 20707 w 110614"/>
              <a:gd name="connsiteY265" fmla="*/ 0 h 146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</a:cxnLst>
            <a:rect l="l" t="t" r="r" b="b"/>
            <a:pathLst>
              <a:path w="110614" h="146027">
                <a:moveTo>
                  <a:pt x="23670" y="667"/>
                </a:moveTo>
                <a:lnTo>
                  <a:pt x="26880" y="895"/>
                </a:lnTo>
                <a:lnTo>
                  <a:pt x="29280" y="295"/>
                </a:lnTo>
                <a:lnTo>
                  <a:pt x="35347" y="1057"/>
                </a:lnTo>
                <a:lnTo>
                  <a:pt x="36652" y="1657"/>
                </a:lnTo>
                <a:lnTo>
                  <a:pt x="37500" y="2334"/>
                </a:lnTo>
                <a:lnTo>
                  <a:pt x="39091" y="4563"/>
                </a:lnTo>
                <a:lnTo>
                  <a:pt x="40615" y="7439"/>
                </a:lnTo>
                <a:lnTo>
                  <a:pt x="42749" y="8772"/>
                </a:lnTo>
                <a:lnTo>
                  <a:pt x="45272" y="10354"/>
                </a:lnTo>
                <a:lnTo>
                  <a:pt x="46568" y="11506"/>
                </a:lnTo>
                <a:lnTo>
                  <a:pt x="48483" y="14945"/>
                </a:lnTo>
                <a:lnTo>
                  <a:pt x="49997" y="16631"/>
                </a:lnTo>
                <a:lnTo>
                  <a:pt x="50492" y="16545"/>
                </a:lnTo>
                <a:lnTo>
                  <a:pt x="50997" y="16107"/>
                </a:lnTo>
                <a:lnTo>
                  <a:pt x="51349" y="15754"/>
                </a:lnTo>
                <a:lnTo>
                  <a:pt x="51750" y="16078"/>
                </a:lnTo>
                <a:lnTo>
                  <a:pt x="51778" y="17116"/>
                </a:lnTo>
                <a:lnTo>
                  <a:pt x="51874" y="19431"/>
                </a:lnTo>
                <a:lnTo>
                  <a:pt x="51511" y="21888"/>
                </a:lnTo>
                <a:lnTo>
                  <a:pt x="52044" y="24203"/>
                </a:lnTo>
                <a:lnTo>
                  <a:pt x="52064" y="24927"/>
                </a:lnTo>
                <a:lnTo>
                  <a:pt x="51683" y="25594"/>
                </a:lnTo>
                <a:lnTo>
                  <a:pt x="51731" y="26184"/>
                </a:lnTo>
                <a:lnTo>
                  <a:pt x="52264" y="26813"/>
                </a:lnTo>
                <a:lnTo>
                  <a:pt x="54312" y="28347"/>
                </a:lnTo>
                <a:lnTo>
                  <a:pt x="56217" y="30709"/>
                </a:lnTo>
                <a:lnTo>
                  <a:pt x="58407" y="32366"/>
                </a:lnTo>
                <a:lnTo>
                  <a:pt x="60436" y="33423"/>
                </a:lnTo>
                <a:lnTo>
                  <a:pt x="61722" y="33499"/>
                </a:lnTo>
                <a:lnTo>
                  <a:pt x="63818" y="35405"/>
                </a:lnTo>
                <a:lnTo>
                  <a:pt x="67970" y="36776"/>
                </a:lnTo>
                <a:lnTo>
                  <a:pt x="69304" y="37252"/>
                </a:lnTo>
                <a:lnTo>
                  <a:pt x="70209" y="38033"/>
                </a:lnTo>
                <a:lnTo>
                  <a:pt x="70876" y="38938"/>
                </a:lnTo>
                <a:lnTo>
                  <a:pt x="70914" y="39910"/>
                </a:lnTo>
                <a:lnTo>
                  <a:pt x="70275" y="40367"/>
                </a:lnTo>
                <a:lnTo>
                  <a:pt x="69380" y="41681"/>
                </a:lnTo>
                <a:lnTo>
                  <a:pt x="69009" y="43272"/>
                </a:lnTo>
                <a:lnTo>
                  <a:pt x="68352" y="43682"/>
                </a:lnTo>
                <a:lnTo>
                  <a:pt x="67685" y="43710"/>
                </a:lnTo>
                <a:lnTo>
                  <a:pt x="67199" y="44177"/>
                </a:lnTo>
                <a:lnTo>
                  <a:pt x="67313" y="44863"/>
                </a:lnTo>
                <a:lnTo>
                  <a:pt x="67866" y="45520"/>
                </a:lnTo>
                <a:lnTo>
                  <a:pt x="68732" y="46111"/>
                </a:lnTo>
                <a:lnTo>
                  <a:pt x="70381" y="46701"/>
                </a:lnTo>
                <a:lnTo>
                  <a:pt x="72019" y="47568"/>
                </a:lnTo>
                <a:lnTo>
                  <a:pt x="72000" y="48254"/>
                </a:lnTo>
                <a:lnTo>
                  <a:pt x="71666" y="49006"/>
                </a:lnTo>
                <a:lnTo>
                  <a:pt x="69590" y="49282"/>
                </a:lnTo>
                <a:lnTo>
                  <a:pt x="68037" y="49406"/>
                </a:lnTo>
                <a:lnTo>
                  <a:pt x="67333" y="49721"/>
                </a:lnTo>
                <a:lnTo>
                  <a:pt x="67389" y="51035"/>
                </a:lnTo>
                <a:lnTo>
                  <a:pt x="71752" y="52416"/>
                </a:lnTo>
                <a:lnTo>
                  <a:pt x="73733" y="53712"/>
                </a:lnTo>
                <a:lnTo>
                  <a:pt x="74772" y="55397"/>
                </a:lnTo>
                <a:lnTo>
                  <a:pt x="77553" y="56512"/>
                </a:lnTo>
                <a:lnTo>
                  <a:pt x="82077" y="57055"/>
                </a:lnTo>
                <a:lnTo>
                  <a:pt x="85220" y="58798"/>
                </a:lnTo>
                <a:lnTo>
                  <a:pt x="86992" y="61703"/>
                </a:lnTo>
                <a:lnTo>
                  <a:pt x="89868" y="61008"/>
                </a:lnTo>
                <a:lnTo>
                  <a:pt x="93879" y="56683"/>
                </a:lnTo>
                <a:lnTo>
                  <a:pt x="97803" y="55559"/>
                </a:lnTo>
                <a:lnTo>
                  <a:pt x="101661" y="57626"/>
                </a:lnTo>
                <a:lnTo>
                  <a:pt x="103766" y="59331"/>
                </a:lnTo>
                <a:lnTo>
                  <a:pt x="104127" y="60655"/>
                </a:lnTo>
                <a:lnTo>
                  <a:pt x="103232" y="61198"/>
                </a:lnTo>
                <a:lnTo>
                  <a:pt x="101079" y="60941"/>
                </a:lnTo>
                <a:lnTo>
                  <a:pt x="99308" y="61770"/>
                </a:lnTo>
                <a:lnTo>
                  <a:pt x="97927" y="63665"/>
                </a:lnTo>
                <a:lnTo>
                  <a:pt x="97717" y="65684"/>
                </a:lnTo>
                <a:lnTo>
                  <a:pt x="98689" y="67828"/>
                </a:lnTo>
                <a:lnTo>
                  <a:pt x="100051" y="69304"/>
                </a:lnTo>
                <a:lnTo>
                  <a:pt x="101822" y="70123"/>
                </a:lnTo>
                <a:lnTo>
                  <a:pt x="102765" y="71238"/>
                </a:lnTo>
                <a:lnTo>
                  <a:pt x="102889" y="72657"/>
                </a:lnTo>
                <a:lnTo>
                  <a:pt x="103347" y="73047"/>
                </a:lnTo>
                <a:lnTo>
                  <a:pt x="102337" y="73695"/>
                </a:lnTo>
                <a:lnTo>
                  <a:pt x="101251" y="74666"/>
                </a:lnTo>
                <a:lnTo>
                  <a:pt x="100632" y="76362"/>
                </a:lnTo>
                <a:lnTo>
                  <a:pt x="100470" y="79077"/>
                </a:lnTo>
                <a:lnTo>
                  <a:pt x="97041" y="81201"/>
                </a:lnTo>
                <a:lnTo>
                  <a:pt x="95755" y="81591"/>
                </a:lnTo>
                <a:lnTo>
                  <a:pt x="95174" y="83001"/>
                </a:lnTo>
                <a:lnTo>
                  <a:pt x="94269" y="86973"/>
                </a:lnTo>
                <a:lnTo>
                  <a:pt x="94374" y="89954"/>
                </a:lnTo>
                <a:lnTo>
                  <a:pt x="94841" y="91469"/>
                </a:lnTo>
                <a:lnTo>
                  <a:pt x="95050" y="92707"/>
                </a:lnTo>
                <a:lnTo>
                  <a:pt x="96164" y="94221"/>
                </a:lnTo>
                <a:lnTo>
                  <a:pt x="97174" y="96546"/>
                </a:lnTo>
                <a:lnTo>
                  <a:pt x="97841" y="99613"/>
                </a:lnTo>
                <a:lnTo>
                  <a:pt x="99327" y="101975"/>
                </a:lnTo>
                <a:lnTo>
                  <a:pt x="103127" y="104299"/>
                </a:lnTo>
                <a:lnTo>
                  <a:pt x="105013" y="105651"/>
                </a:lnTo>
                <a:lnTo>
                  <a:pt x="106413" y="107613"/>
                </a:lnTo>
                <a:lnTo>
                  <a:pt x="107480" y="109385"/>
                </a:lnTo>
                <a:lnTo>
                  <a:pt x="110614" y="111738"/>
                </a:lnTo>
                <a:lnTo>
                  <a:pt x="110376" y="113414"/>
                </a:lnTo>
                <a:lnTo>
                  <a:pt x="109690" y="115053"/>
                </a:lnTo>
                <a:lnTo>
                  <a:pt x="108966" y="115824"/>
                </a:lnTo>
                <a:lnTo>
                  <a:pt x="107404" y="117929"/>
                </a:lnTo>
                <a:lnTo>
                  <a:pt x="105880" y="119110"/>
                </a:lnTo>
                <a:lnTo>
                  <a:pt x="103375" y="122815"/>
                </a:lnTo>
                <a:lnTo>
                  <a:pt x="99422" y="123015"/>
                </a:lnTo>
                <a:lnTo>
                  <a:pt x="98479" y="123311"/>
                </a:lnTo>
                <a:lnTo>
                  <a:pt x="96974" y="124320"/>
                </a:lnTo>
                <a:lnTo>
                  <a:pt x="96241" y="126168"/>
                </a:lnTo>
                <a:lnTo>
                  <a:pt x="96946" y="127654"/>
                </a:lnTo>
                <a:lnTo>
                  <a:pt x="96879" y="129149"/>
                </a:lnTo>
                <a:lnTo>
                  <a:pt x="96164" y="132055"/>
                </a:lnTo>
                <a:lnTo>
                  <a:pt x="97117" y="135169"/>
                </a:lnTo>
                <a:lnTo>
                  <a:pt x="98517" y="136588"/>
                </a:lnTo>
                <a:lnTo>
                  <a:pt x="98736" y="137408"/>
                </a:lnTo>
                <a:lnTo>
                  <a:pt x="98498" y="138855"/>
                </a:lnTo>
                <a:lnTo>
                  <a:pt x="96412" y="141808"/>
                </a:lnTo>
                <a:lnTo>
                  <a:pt x="95784" y="142903"/>
                </a:lnTo>
                <a:lnTo>
                  <a:pt x="93698" y="143437"/>
                </a:lnTo>
                <a:lnTo>
                  <a:pt x="92983" y="143161"/>
                </a:lnTo>
                <a:lnTo>
                  <a:pt x="91907" y="142151"/>
                </a:lnTo>
                <a:lnTo>
                  <a:pt x="90907" y="141846"/>
                </a:lnTo>
                <a:lnTo>
                  <a:pt x="88421" y="143037"/>
                </a:lnTo>
                <a:lnTo>
                  <a:pt x="85887" y="143770"/>
                </a:lnTo>
                <a:lnTo>
                  <a:pt x="83897" y="143218"/>
                </a:lnTo>
                <a:lnTo>
                  <a:pt x="81934" y="143151"/>
                </a:lnTo>
                <a:lnTo>
                  <a:pt x="80572" y="143637"/>
                </a:lnTo>
                <a:lnTo>
                  <a:pt x="79543" y="143828"/>
                </a:lnTo>
                <a:lnTo>
                  <a:pt x="77524" y="145104"/>
                </a:lnTo>
                <a:lnTo>
                  <a:pt x="74295" y="146028"/>
                </a:lnTo>
                <a:lnTo>
                  <a:pt x="72800" y="145828"/>
                </a:lnTo>
                <a:lnTo>
                  <a:pt x="72247" y="144628"/>
                </a:lnTo>
                <a:lnTo>
                  <a:pt x="71637" y="142923"/>
                </a:lnTo>
                <a:lnTo>
                  <a:pt x="71933" y="142142"/>
                </a:lnTo>
                <a:lnTo>
                  <a:pt x="74076" y="140789"/>
                </a:lnTo>
                <a:lnTo>
                  <a:pt x="74314" y="139503"/>
                </a:lnTo>
                <a:lnTo>
                  <a:pt x="77305" y="133274"/>
                </a:lnTo>
                <a:lnTo>
                  <a:pt x="77877" y="131245"/>
                </a:lnTo>
                <a:lnTo>
                  <a:pt x="77896" y="130588"/>
                </a:lnTo>
                <a:lnTo>
                  <a:pt x="77114" y="130140"/>
                </a:lnTo>
                <a:lnTo>
                  <a:pt x="75476" y="130159"/>
                </a:lnTo>
                <a:lnTo>
                  <a:pt x="68209" y="127626"/>
                </a:lnTo>
                <a:lnTo>
                  <a:pt x="68542" y="124720"/>
                </a:lnTo>
                <a:lnTo>
                  <a:pt x="66409" y="123149"/>
                </a:lnTo>
                <a:lnTo>
                  <a:pt x="64104" y="121749"/>
                </a:lnTo>
                <a:lnTo>
                  <a:pt x="63722" y="120187"/>
                </a:lnTo>
                <a:lnTo>
                  <a:pt x="61160" y="117024"/>
                </a:lnTo>
                <a:lnTo>
                  <a:pt x="59293" y="115253"/>
                </a:lnTo>
                <a:lnTo>
                  <a:pt x="56902" y="114367"/>
                </a:lnTo>
                <a:lnTo>
                  <a:pt x="54845" y="113062"/>
                </a:lnTo>
                <a:lnTo>
                  <a:pt x="53607" y="112262"/>
                </a:lnTo>
                <a:lnTo>
                  <a:pt x="53054" y="110785"/>
                </a:lnTo>
                <a:lnTo>
                  <a:pt x="53054" y="109909"/>
                </a:lnTo>
                <a:lnTo>
                  <a:pt x="52435" y="109061"/>
                </a:lnTo>
                <a:lnTo>
                  <a:pt x="51445" y="109156"/>
                </a:lnTo>
                <a:lnTo>
                  <a:pt x="49759" y="110338"/>
                </a:lnTo>
                <a:lnTo>
                  <a:pt x="47692" y="111347"/>
                </a:lnTo>
                <a:lnTo>
                  <a:pt x="47330" y="112090"/>
                </a:lnTo>
                <a:lnTo>
                  <a:pt x="48083" y="113833"/>
                </a:lnTo>
                <a:lnTo>
                  <a:pt x="48616" y="114957"/>
                </a:lnTo>
                <a:lnTo>
                  <a:pt x="48368" y="116005"/>
                </a:lnTo>
                <a:lnTo>
                  <a:pt x="47720" y="117348"/>
                </a:lnTo>
                <a:lnTo>
                  <a:pt x="43739" y="120301"/>
                </a:lnTo>
                <a:lnTo>
                  <a:pt x="43292" y="121339"/>
                </a:lnTo>
                <a:lnTo>
                  <a:pt x="44053" y="122996"/>
                </a:lnTo>
                <a:lnTo>
                  <a:pt x="43568" y="123758"/>
                </a:lnTo>
                <a:lnTo>
                  <a:pt x="40243" y="124854"/>
                </a:lnTo>
                <a:lnTo>
                  <a:pt x="40329" y="123949"/>
                </a:lnTo>
                <a:lnTo>
                  <a:pt x="40120" y="122492"/>
                </a:lnTo>
                <a:lnTo>
                  <a:pt x="38215" y="120939"/>
                </a:lnTo>
                <a:lnTo>
                  <a:pt x="35519" y="119739"/>
                </a:lnTo>
                <a:lnTo>
                  <a:pt x="29537" y="115614"/>
                </a:lnTo>
                <a:lnTo>
                  <a:pt x="27242" y="115071"/>
                </a:lnTo>
                <a:lnTo>
                  <a:pt x="25185" y="114586"/>
                </a:lnTo>
                <a:lnTo>
                  <a:pt x="22241" y="112614"/>
                </a:lnTo>
                <a:lnTo>
                  <a:pt x="20727" y="112262"/>
                </a:lnTo>
                <a:lnTo>
                  <a:pt x="19050" y="110852"/>
                </a:lnTo>
                <a:lnTo>
                  <a:pt x="15393" y="106071"/>
                </a:lnTo>
                <a:lnTo>
                  <a:pt x="12278" y="103461"/>
                </a:lnTo>
                <a:lnTo>
                  <a:pt x="10154" y="102146"/>
                </a:lnTo>
                <a:lnTo>
                  <a:pt x="9553" y="100860"/>
                </a:lnTo>
                <a:lnTo>
                  <a:pt x="9430" y="99536"/>
                </a:lnTo>
                <a:lnTo>
                  <a:pt x="9497" y="99089"/>
                </a:lnTo>
                <a:lnTo>
                  <a:pt x="11106" y="97203"/>
                </a:lnTo>
                <a:lnTo>
                  <a:pt x="12345" y="96936"/>
                </a:lnTo>
                <a:lnTo>
                  <a:pt x="13935" y="96869"/>
                </a:lnTo>
                <a:lnTo>
                  <a:pt x="14993" y="97822"/>
                </a:lnTo>
                <a:lnTo>
                  <a:pt x="16364" y="98031"/>
                </a:lnTo>
                <a:lnTo>
                  <a:pt x="17136" y="96812"/>
                </a:lnTo>
                <a:lnTo>
                  <a:pt x="17536" y="95060"/>
                </a:lnTo>
                <a:lnTo>
                  <a:pt x="17355" y="92821"/>
                </a:lnTo>
                <a:lnTo>
                  <a:pt x="14031" y="87611"/>
                </a:lnTo>
                <a:lnTo>
                  <a:pt x="11182" y="83972"/>
                </a:lnTo>
                <a:lnTo>
                  <a:pt x="10849" y="83163"/>
                </a:lnTo>
                <a:lnTo>
                  <a:pt x="11468" y="82477"/>
                </a:lnTo>
                <a:lnTo>
                  <a:pt x="12468" y="82115"/>
                </a:lnTo>
                <a:lnTo>
                  <a:pt x="13535" y="82420"/>
                </a:lnTo>
                <a:lnTo>
                  <a:pt x="16316" y="82687"/>
                </a:lnTo>
                <a:lnTo>
                  <a:pt x="18993" y="82344"/>
                </a:lnTo>
                <a:lnTo>
                  <a:pt x="19908" y="81458"/>
                </a:lnTo>
                <a:lnTo>
                  <a:pt x="19908" y="80258"/>
                </a:lnTo>
                <a:lnTo>
                  <a:pt x="18936" y="79143"/>
                </a:lnTo>
                <a:lnTo>
                  <a:pt x="15802" y="76143"/>
                </a:lnTo>
                <a:lnTo>
                  <a:pt x="13364" y="73495"/>
                </a:lnTo>
                <a:lnTo>
                  <a:pt x="10487" y="71457"/>
                </a:lnTo>
                <a:lnTo>
                  <a:pt x="8363" y="70638"/>
                </a:lnTo>
                <a:lnTo>
                  <a:pt x="7734" y="69599"/>
                </a:lnTo>
                <a:lnTo>
                  <a:pt x="7468" y="68494"/>
                </a:lnTo>
                <a:lnTo>
                  <a:pt x="7706" y="66465"/>
                </a:lnTo>
                <a:lnTo>
                  <a:pt x="7849" y="63875"/>
                </a:lnTo>
                <a:lnTo>
                  <a:pt x="8344" y="62256"/>
                </a:lnTo>
                <a:lnTo>
                  <a:pt x="10268" y="59179"/>
                </a:lnTo>
                <a:lnTo>
                  <a:pt x="12106" y="55912"/>
                </a:lnTo>
                <a:lnTo>
                  <a:pt x="13240" y="52769"/>
                </a:lnTo>
                <a:lnTo>
                  <a:pt x="13840" y="49844"/>
                </a:lnTo>
                <a:lnTo>
                  <a:pt x="13621" y="48997"/>
                </a:lnTo>
                <a:lnTo>
                  <a:pt x="12659" y="48378"/>
                </a:lnTo>
                <a:lnTo>
                  <a:pt x="10639" y="47739"/>
                </a:lnTo>
                <a:lnTo>
                  <a:pt x="7820" y="48292"/>
                </a:lnTo>
                <a:lnTo>
                  <a:pt x="5429" y="49359"/>
                </a:lnTo>
                <a:lnTo>
                  <a:pt x="4496" y="49444"/>
                </a:lnTo>
                <a:lnTo>
                  <a:pt x="4182" y="48130"/>
                </a:lnTo>
                <a:lnTo>
                  <a:pt x="4553" y="47549"/>
                </a:lnTo>
                <a:lnTo>
                  <a:pt x="5305" y="47625"/>
                </a:lnTo>
                <a:lnTo>
                  <a:pt x="5925" y="47873"/>
                </a:lnTo>
                <a:lnTo>
                  <a:pt x="6582" y="47273"/>
                </a:lnTo>
                <a:lnTo>
                  <a:pt x="6982" y="45511"/>
                </a:lnTo>
                <a:lnTo>
                  <a:pt x="5982" y="39338"/>
                </a:lnTo>
                <a:lnTo>
                  <a:pt x="7773" y="38795"/>
                </a:lnTo>
                <a:lnTo>
                  <a:pt x="7801" y="37900"/>
                </a:lnTo>
                <a:lnTo>
                  <a:pt x="7963" y="37109"/>
                </a:lnTo>
                <a:lnTo>
                  <a:pt x="9811" y="38186"/>
                </a:lnTo>
                <a:lnTo>
                  <a:pt x="12402" y="38205"/>
                </a:lnTo>
                <a:lnTo>
                  <a:pt x="14678" y="37986"/>
                </a:lnTo>
                <a:lnTo>
                  <a:pt x="15021" y="37376"/>
                </a:lnTo>
                <a:lnTo>
                  <a:pt x="15002" y="36500"/>
                </a:lnTo>
                <a:lnTo>
                  <a:pt x="14526" y="35805"/>
                </a:lnTo>
                <a:lnTo>
                  <a:pt x="13716" y="35252"/>
                </a:lnTo>
                <a:lnTo>
                  <a:pt x="13135" y="34395"/>
                </a:lnTo>
                <a:lnTo>
                  <a:pt x="11602" y="34014"/>
                </a:lnTo>
                <a:lnTo>
                  <a:pt x="6791" y="31785"/>
                </a:lnTo>
                <a:lnTo>
                  <a:pt x="4429" y="29413"/>
                </a:lnTo>
                <a:lnTo>
                  <a:pt x="4506" y="26889"/>
                </a:lnTo>
                <a:lnTo>
                  <a:pt x="5192" y="25508"/>
                </a:lnTo>
                <a:lnTo>
                  <a:pt x="6020" y="25022"/>
                </a:lnTo>
                <a:lnTo>
                  <a:pt x="5772" y="24555"/>
                </a:lnTo>
                <a:lnTo>
                  <a:pt x="3067" y="23384"/>
                </a:lnTo>
                <a:lnTo>
                  <a:pt x="2105" y="21755"/>
                </a:lnTo>
                <a:lnTo>
                  <a:pt x="2896" y="19669"/>
                </a:lnTo>
                <a:lnTo>
                  <a:pt x="1486" y="15412"/>
                </a:lnTo>
                <a:lnTo>
                  <a:pt x="0" y="12792"/>
                </a:lnTo>
                <a:lnTo>
                  <a:pt x="1457" y="11659"/>
                </a:lnTo>
                <a:lnTo>
                  <a:pt x="1657" y="10040"/>
                </a:lnTo>
                <a:lnTo>
                  <a:pt x="1772" y="9115"/>
                </a:lnTo>
                <a:lnTo>
                  <a:pt x="2372" y="9135"/>
                </a:lnTo>
                <a:lnTo>
                  <a:pt x="4725" y="8049"/>
                </a:lnTo>
                <a:lnTo>
                  <a:pt x="5582" y="7172"/>
                </a:lnTo>
                <a:lnTo>
                  <a:pt x="6077" y="6134"/>
                </a:lnTo>
                <a:lnTo>
                  <a:pt x="6639" y="5877"/>
                </a:lnTo>
                <a:lnTo>
                  <a:pt x="8211" y="7001"/>
                </a:lnTo>
                <a:lnTo>
                  <a:pt x="9877" y="7096"/>
                </a:lnTo>
                <a:lnTo>
                  <a:pt x="11735" y="6391"/>
                </a:lnTo>
                <a:lnTo>
                  <a:pt x="13135" y="5410"/>
                </a:lnTo>
                <a:lnTo>
                  <a:pt x="14802" y="4591"/>
                </a:lnTo>
                <a:lnTo>
                  <a:pt x="15564" y="4029"/>
                </a:lnTo>
                <a:lnTo>
                  <a:pt x="16536" y="3153"/>
                </a:lnTo>
                <a:lnTo>
                  <a:pt x="18488" y="543"/>
                </a:lnTo>
                <a:lnTo>
                  <a:pt x="20707" y="0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9" name="Forme libre : forme 48">
            <a:extLst>
              <a:ext uri="{FF2B5EF4-FFF2-40B4-BE49-F238E27FC236}">
                <a16:creationId xmlns:a16="http://schemas.microsoft.com/office/drawing/2014/main" id="{4A4ECE6C-CC3C-66A0-9B52-26BCB198CCD2}"/>
              </a:ext>
            </a:extLst>
          </p:cNvPr>
          <p:cNvSpPr/>
          <p:nvPr/>
        </p:nvSpPr>
        <p:spPr>
          <a:xfrm>
            <a:off x="5910105" y="2207505"/>
            <a:ext cx="453653" cy="1042398"/>
          </a:xfrm>
          <a:custGeom>
            <a:avLst/>
            <a:gdLst>
              <a:gd name="connsiteX0" fmla="*/ 347815 w 347814"/>
              <a:gd name="connsiteY0" fmla="*/ 225095 h 799204"/>
              <a:gd name="connsiteX1" fmla="*/ 340728 w 347814"/>
              <a:gd name="connsiteY1" fmla="*/ 226600 h 799204"/>
              <a:gd name="connsiteX2" fmla="*/ 335404 w 347814"/>
              <a:gd name="connsiteY2" fmla="*/ 223580 h 799204"/>
              <a:gd name="connsiteX3" fmla="*/ 332746 w 347814"/>
              <a:gd name="connsiteY3" fmla="*/ 225095 h 799204"/>
              <a:gd name="connsiteX4" fmla="*/ 328107 w 347814"/>
              <a:gd name="connsiteY4" fmla="*/ 225161 h 799204"/>
              <a:gd name="connsiteX5" fmla="*/ 322831 w 347814"/>
              <a:gd name="connsiteY5" fmla="*/ 226352 h 799204"/>
              <a:gd name="connsiteX6" fmla="*/ 321050 w 347814"/>
              <a:gd name="connsiteY6" fmla="*/ 228705 h 799204"/>
              <a:gd name="connsiteX7" fmla="*/ 319649 w 347814"/>
              <a:gd name="connsiteY7" fmla="*/ 229648 h 799204"/>
              <a:gd name="connsiteX8" fmla="*/ 314763 w 347814"/>
              <a:gd name="connsiteY8" fmla="*/ 226324 h 799204"/>
              <a:gd name="connsiteX9" fmla="*/ 310143 w 347814"/>
              <a:gd name="connsiteY9" fmla="*/ 220808 h 799204"/>
              <a:gd name="connsiteX10" fmla="*/ 306771 w 347814"/>
              <a:gd name="connsiteY10" fmla="*/ 225009 h 799204"/>
              <a:gd name="connsiteX11" fmla="*/ 304590 w 347814"/>
              <a:gd name="connsiteY11" fmla="*/ 225800 h 799204"/>
              <a:gd name="connsiteX12" fmla="*/ 302619 w 347814"/>
              <a:gd name="connsiteY12" fmla="*/ 221999 h 799204"/>
              <a:gd name="connsiteX13" fmla="*/ 300904 w 347814"/>
              <a:gd name="connsiteY13" fmla="*/ 221380 h 799204"/>
              <a:gd name="connsiteX14" fmla="*/ 299980 w 347814"/>
              <a:gd name="connsiteY14" fmla="*/ 222647 h 799204"/>
              <a:gd name="connsiteX15" fmla="*/ 299171 w 347814"/>
              <a:gd name="connsiteY15" fmla="*/ 226009 h 799204"/>
              <a:gd name="connsiteX16" fmla="*/ 297875 w 347814"/>
              <a:gd name="connsiteY16" fmla="*/ 228648 h 799204"/>
              <a:gd name="connsiteX17" fmla="*/ 297532 w 347814"/>
              <a:gd name="connsiteY17" fmla="*/ 230314 h 799204"/>
              <a:gd name="connsiteX18" fmla="*/ 297313 w 347814"/>
              <a:gd name="connsiteY18" fmla="*/ 237020 h 799204"/>
              <a:gd name="connsiteX19" fmla="*/ 296980 w 347814"/>
              <a:gd name="connsiteY19" fmla="*/ 238573 h 799204"/>
              <a:gd name="connsiteX20" fmla="*/ 292494 w 347814"/>
              <a:gd name="connsiteY20" fmla="*/ 237706 h 799204"/>
              <a:gd name="connsiteX21" fmla="*/ 292760 w 347814"/>
              <a:gd name="connsiteY21" fmla="*/ 239468 h 799204"/>
              <a:gd name="connsiteX22" fmla="*/ 293741 w 347814"/>
              <a:gd name="connsiteY22" fmla="*/ 240354 h 799204"/>
              <a:gd name="connsiteX23" fmla="*/ 294141 w 347814"/>
              <a:gd name="connsiteY23" fmla="*/ 241468 h 799204"/>
              <a:gd name="connsiteX24" fmla="*/ 292512 w 347814"/>
              <a:gd name="connsiteY24" fmla="*/ 242926 h 799204"/>
              <a:gd name="connsiteX25" fmla="*/ 288064 w 347814"/>
              <a:gd name="connsiteY25" fmla="*/ 242783 h 799204"/>
              <a:gd name="connsiteX26" fmla="*/ 287607 w 347814"/>
              <a:gd name="connsiteY26" fmla="*/ 244335 h 799204"/>
              <a:gd name="connsiteX27" fmla="*/ 288855 w 347814"/>
              <a:gd name="connsiteY27" fmla="*/ 246774 h 799204"/>
              <a:gd name="connsiteX28" fmla="*/ 287874 w 347814"/>
              <a:gd name="connsiteY28" fmla="*/ 248917 h 799204"/>
              <a:gd name="connsiteX29" fmla="*/ 286969 w 347814"/>
              <a:gd name="connsiteY29" fmla="*/ 249755 h 799204"/>
              <a:gd name="connsiteX30" fmla="*/ 281644 w 347814"/>
              <a:gd name="connsiteY30" fmla="*/ 251079 h 799204"/>
              <a:gd name="connsiteX31" fmla="*/ 278568 w 347814"/>
              <a:gd name="connsiteY31" fmla="*/ 250774 h 799204"/>
              <a:gd name="connsiteX32" fmla="*/ 277682 w 347814"/>
              <a:gd name="connsiteY32" fmla="*/ 252155 h 799204"/>
              <a:gd name="connsiteX33" fmla="*/ 277444 w 347814"/>
              <a:gd name="connsiteY33" fmla="*/ 253946 h 799204"/>
              <a:gd name="connsiteX34" fmla="*/ 278025 w 347814"/>
              <a:gd name="connsiteY34" fmla="*/ 255708 h 799204"/>
              <a:gd name="connsiteX35" fmla="*/ 279387 w 347814"/>
              <a:gd name="connsiteY35" fmla="*/ 256642 h 799204"/>
              <a:gd name="connsiteX36" fmla="*/ 279835 w 347814"/>
              <a:gd name="connsiteY36" fmla="*/ 257756 h 799204"/>
              <a:gd name="connsiteX37" fmla="*/ 279739 w 347814"/>
              <a:gd name="connsiteY37" fmla="*/ 260166 h 799204"/>
              <a:gd name="connsiteX38" fmla="*/ 278606 w 347814"/>
              <a:gd name="connsiteY38" fmla="*/ 260604 h 799204"/>
              <a:gd name="connsiteX39" fmla="*/ 275406 w 347814"/>
              <a:gd name="connsiteY39" fmla="*/ 256365 h 799204"/>
              <a:gd name="connsiteX40" fmla="*/ 274425 w 347814"/>
              <a:gd name="connsiteY40" fmla="*/ 256584 h 799204"/>
              <a:gd name="connsiteX41" fmla="*/ 275158 w 347814"/>
              <a:gd name="connsiteY41" fmla="*/ 258785 h 799204"/>
              <a:gd name="connsiteX42" fmla="*/ 276987 w 347814"/>
              <a:gd name="connsiteY42" fmla="*/ 261185 h 799204"/>
              <a:gd name="connsiteX43" fmla="*/ 278044 w 347814"/>
              <a:gd name="connsiteY43" fmla="*/ 263633 h 799204"/>
              <a:gd name="connsiteX44" fmla="*/ 278968 w 347814"/>
              <a:gd name="connsiteY44" fmla="*/ 266567 h 799204"/>
              <a:gd name="connsiteX45" fmla="*/ 278787 w 347814"/>
              <a:gd name="connsiteY45" fmla="*/ 268796 h 799204"/>
              <a:gd name="connsiteX46" fmla="*/ 274806 w 347814"/>
              <a:gd name="connsiteY46" fmla="*/ 275958 h 799204"/>
              <a:gd name="connsiteX47" fmla="*/ 271300 w 347814"/>
              <a:gd name="connsiteY47" fmla="*/ 280464 h 799204"/>
              <a:gd name="connsiteX48" fmla="*/ 268691 w 347814"/>
              <a:gd name="connsiteY48" fmla="*/ 284512 h 799204"/>
              <a:gd name="connsiteX49" fmla="*/ 267148 w 347814"/>
              <a:gd name="connsiteY49" fmla="*/ 288798 h 799204"/>
              <a:gd name="connsiteX50" fmla="*/ 268938 w 347814"/>
              <a:gd name="connsiteY50" fmla="*/ 290951 h 799204"/>
              <a:gd name="connsiteX51" fmla="*/ 270920 w 347814"/>
              <a:gd name="connsiteY51" fmla="*/ 294056 h 799204"/>
              <a:gd name="connsiteX52" fmla="*/ 272319 w 347814"/>
              <a:gd name="connsiteY52" fmla="*/ 300009 h 799204"/>
              <a:gd name="connsiteX53" fmla="*/ 273987 w 347814"/>
              <a:gd name="connsiteY53" fmla="*/ 305305 h 799204"/>
              <a:gd name="connsiteX54" fmla="*/ 277349 w 347814"/>
              <a:gd name="connsiteY54" fmla="*/ 310344 h 799204"/>
              <a:gd name="connsiteX55" fmla="*/ 276673 w 347814"/>
              <a:gd name="connsiteY55" fmla="*/ 313249 h 799204"/>
              <a:gd name="connsiteX56" fmla="*/ 275891 w 347814"/>
              <a:gd name="connsiteY56" fmla="*/ 315506 h 799204"/>
              <a:gd name="connsiteX57" fmla="*/ 270300 w 347814"/>
              <a:gd name="connsiteY57" fmla="*/ 320469 h 799204"/>
              <a:gd name="connsiteX58" fmla="*/ 263957 w 347814"/>
              <a:gd name="connsiteY58" fmla="*/ 327917 h 799204"/>
              <a:gd name="connsiteX59" fmla="*/ 257117 w 347814"/>
              <a:gd name="connsiteY59" fmla="*/ 346815 h 799204"/>
              <a:gd name="connsiteX60" fmla="*/ 254841 w 347814"/>
              <a:gd name="connsiteY60" fmla="*/ 349339 h 799204"/>
              <a:gd name="connsiteX61" fmla="*/ 248860 w 347814"/>
              <a:gd name="connsiteY61" fmla="*/ 352511 h 799204"/>
              <a:gd name="connsiteX62" fmla="*/ 246659 w 347814"/>
              <a:gd name="connsiteY62" fmla="*/ 355578 h 799204"/>
              <a:gd name="connsiteX63" fmla="*/ 242202 w 347814"/>
              <a:gd name="connsiteY63" fmla="*/ 359216 h 799204"/>
              <a:gd name="connsiteX64" fmla="*/ 234419 w 347814"/>
              <a:gd name="connsiteY64" fmla="*/ 362341 h 799204"/>
              <a:gd name="connsiteX65" fmla="*/ 230895 w 347814"/>
              <a:gd name="connsiteY65" fmla="*/ 366684 h 799204"/>
              <a:gd name="connsiteX66" fmla="*/ 229305 w 347814"/>
              <a:gd name="connsiteY66" fmla="*/ 371161 h 799204"/>
              <a:gd name="connsiteX67" fmla="*/ 227533 w 347814"/>
              <a:gd name="connsiteY67" fmla="*/ 371484 h 799204"/>
              <a:gd name="connsiteX68" fmla="*/ 225771 w 347814"/>
              <a:gd name="connsiteY68" fmla="*/ 369732 h 799204"/>
              <a:gd name="connsiteX69" fmla="*/ 223428 w 347814"/>
              <a:gd name="connsiteY69" fmla="*/ 368427 h 799204"/>
              <a:gd name="connsiteX70" fmla="*/ 223123 w 347814"/>
              <a:gd name="connsiteY70" fmla="*/ 371351 h 799204"/>
              <a:gd name="connsiteX71" fmla="*/ 223228 w 347814"/>
              <a:gd name="connsiteY71" fmla="*/ 373494 h 799204"/>
              <a:gd name="connsiteX72" fmla="*/ 219475 w 347814"/>
              <a:gd name="connsiteY72" fmla="*/ 370322 h 799204"/>
              <a:gd name="connsiteX73" fmla="*/ 217703 w 347814"/>
              <a:gd name="connsiteY73" fmla="*/ 373237 h 799204"/>
              <a:gd name="connsiteX74" fmla="*/ 216322 w 347814"/>
              <a:gd name="connsiteY74" fmla="*/ 378085 h 799204"/>
              <a:gd name="connsiteX75" fmla="*/ 210921 w 347814"/>
              <a:gd name="connsiteY75" fmla="*/ 384600 h 799204"/>
              <a:gd name="connsiteX76" fmla="*/ 205101 w 347814"/>
              <a:gd name="connsiteY76" fmla="*/ 383429 h 799204"/>
              <a:gd name="connsiteX77" fmla="*/ 204454 w 347814"/>
              <a:gd name="connsiteY77" fmla="*/ 384572 h 799204"/>
              <a:gd name="connsiteX78" fmla="*/ 205997 w 347814"/>
              <a:gd name="connsiteY78" fmla="*/ 385400 h 799204"/>
              <a:gd name="connsiteX79" fmla="*/ 206235 w 347814"/>
              <a:gd name="connsiteY79" fmla="*/ 386439 h 799204"/>
              <a:gd name="connsiteX80" fmla="*/ 205178 w 347814"/>
              <a:gd name="connsiteY80" fmla="*/ 386991 h 799204"/>
              <a:gd name="connsiteX81" fmla="*/ 203578 w 347814"/>
              <a:gd name="connsiteY81" fmla="*/ 386934 h 799204"/>
              <a:gd name="connsiteX82" fmla="*/ 201111 w 347814"/>
              <a:gd name="connsiteY82" fmla="*/ 388220 h 799204"/>
              <a:gd name="connsiteX83" fmla="*/ 199491 w 347814"/>
              <a:gd name="connsiteY83" fmla="*/ 388125 h 799204"/>
              <a:gd name="connsiteX84" fmla="*/ 198720 w 347814"/>
              <a:gd name="connsiteY84" fmla="*/ 391192 h 799204"/>
              <a:gd name="connsiteX85" fmla="*/ 197462 w 347814"/>
              <a:gd name="connsiteY85" fmla="*/ 394897 h 799204"/>
              <a:gd name="connsiteX86" fmla="*/ 194177 w 347814"/>
              <a:gd name="connsiteY86" fmla="*/ 396430 h 799204"/>
              <a:gd name="connsiteX87" fmla="*/ 192481 w 347814"/>
              <a:gd name="connsiteY87" fmla="*/ 396745 h 799204"/>
              <a:gd name="connsiteX88" fmla="*/ 191643 w 347814"/>
              <a:gd name="connsiteY88" fmla="*/ 398850 h 799204"/>
              <a:gd name="connsiteX89" fmla="*/ 196701 w 347814"/>
              <a:gd name="connsiteY89" fmla="*/ 399288 h 799204"/>
              <a:gd name="connsiteX90" fmla="*/ 196301 w 347814"/>
              <a:gd name="connsiteY90" fmla="*/ 401069 h 799204"/>
              <a:gd name="connsiteX91" fmla="*/ 196186 w 347814"/>
              <a:gd name="connsiteY91" fmla="*/ 402850 h 799204"/>
              <a:gd name="connsiteX92" fmla="*/ 195662 w 347814"/>
              <a:gd name="connsiteY92" fmla="*/ 404755 h 799204"/>
              <a:gd name="connsiteX93" fmla="*/ 189909 w 347814"/>
              <a:gd name="connsiteY93" fmla="*/ 407499 h 799204"/>
              <a:gd name="connsiteX94" fmla="*/ 189023 w 347814"/>
              <a:gd name="connsiteY94" fmla="*/ 409651 h 799204"/>
              <a:gd name="connsiteX95" fmla="*/ 187823 w 347814"/>
              <a:gd name="connsiteY95" fmla="*/ 410985 h 799204"/>
              <a:gd name="connsiteX96" fmla="*/ 185261 w 347814"/>
              <a:gd name="connsiteY96" fmla="*/ 410909 h 799204"/>
              <a:gd name="connsiteX97" fmla="*/ 185356 w 347814"/>
              <a:gd name="connsiteY97" fmla="*/ 409670 h 799204"/>
              <a:gd name="connsiteX98" fmla="*/ 185775 w 347814"/>
              <a:gd name="connsiteY98" fmla="*/ 408270 h 799204"/>
              <a:gd name="connsiteX99" fmla="*/ 181966 w 347814"/>
              <a:gd name="connsiteY99" fmla="*/ 408394 h 799204"/>
              <a:gd name="connsiteX100" fmla="*/ 180775 w 347814"/>
              <a:gd name="connsiteY100" fmla="*/ 405298 h 799204"/>
              <a:gd name="connsiteX101" fmla="*/ 180051 w 347814"/>
              <a:gd name="connsiteY101" fmla="*/ 406089 h 799204"/>
              <a:gd name="connsiteX102" fmla="*/ 180480 w 347814"/>
              <a:gd name="connsiteY102" fmla="*/ 408584 h 799204"/>
              <a:gd name="connsiteX103" fmla="*/ 181470 w 347814"/>
              <a:gd name="connsiteY103" fmla="*/ 411175 h 799204"/>
              <a:gd name="connsiteX104" fmla="*/ 182585 w 347814"/>
              <a:gd name="connsiteY104" fmla="*/ 414976 h 799204"/>
              <a:gd name="connsiteX105" fmla="*/ 181680 w 347814"/>
              <a:gd name="connsiteY105" fmla="*/ 417366 h 799204"/>
              <a:gd name="connsiteX106" fmla="*/ 180680 w 347814"/>
              <a:gd name="connsiteY106" fmla="*/ 418557 h 799204"/>
              <a:gd name="connsiteX107" fmla="*/ 181413 w 347814"/>
              <a:gd name="connsiteY107" fmla="*/ 419652 h 799204"/>
              <a:gd name="connsiteX108" fmla="*/ 183442 w 347814"/>
              <a:gd name="connsiteY108" fmla="*/ 420491 h 799204"/>
              <a:gd name="connsiteX109" fmla="*/ 184261 w 347814"/>
              <a:gd name="connsiteY109" fmla="*/ 421986 h 799204"/>
              <a:gd name="connsiteX110" fmla="*/ 181851 w 347814"/>
              <a:gd name="connsiteY110" fmla="*/ 423262 h 799204"/>
              <a:gd name="connsiteX111" fmla="*/ 178841 w 347814"/>
              <a:gd name="connsiteY111" fmla="*/ 427644 h 799204"/>
              <a:gd name="connsiteX112" fmla="*/ 175717 w 347814"/>
              <a:gd name="connsiteY112" fmla="*/ 427749 h 799204"/>
              <a:gd name="connsiteX113" fmla="*/ 173812 w 347814"/>
              <a:gd name="connsiteY113" fmla="*/ 430644 h 799204"/>
              <a:gd name="connsiteX114" fmla="*/ 171783 w 347814"/>
              <a:gd name="connsiteY114" fmla="*/ 430635 h 799204"/>
              <a:gd name="connsiteX115" fmla="*/ 170136 w 347814"/>
              <a:gd name="connsiteY115" fmla="*/ 428815 h 799204"/>
              <a:gd name="connsiteX116" fmla="*/ 167497 w 347814"/>
              <a:gd name="connsiteY116" fmla="*/ 427320 h 799204"/>
              <a:gd name="connsiteX117" fmla="*/ 166649 w 347814"/>
              <a:gd name="connsiteY117" fmla="*/ 429949 h 799204"/>
              <a:gd name="connsiteX118" fmla="*/ 166516 w 347814"/>
              <a:gd name="connsiteY118" fmla="*/ 432044 h 799204"/>
              <a:gd name="connsiteX119" fmla="*/ 168002 w 347814"/>
              <a:gd name="connsiteY119" fmla="*/ 437331 h 799204"/>
              <a:gd name="connsiteX120" fmla="*/ 170840 w 347814"/>
              <a:gd name="connsiteY120" fmla="*/ 441408 h 799204"/>
              <a:gd name="connsiteX121" fmla="*/ 173469 w 347814"/>
              <a:gd name="connsiteY121" fmla="*/ 443170 h 799204"/>
              <a:gd name="connsiteX122" fmla="*/ 171574 w 347814"/>
              <a:gd name="connsiteY122" fmla="*/ 444360 h 799204"/>
              <a:gd name="connsiteX123" fmla="*/ 170164 w 347814"/>
              <a:gd name="connsiteY123" fmla="*/ 446989 h 799204"/>
              <a:gd name="connsiteX124" fmla="*/ 168459 w 347814"/>
              <a:gd name="connsiteY124" fmla="*/ 455181 h 799204"/>
              <a:gd name="connsiteX125" fmla="*/ 167535 w 347814"/>
              <a:gd name="connsiteY125" fmla="*/ 458400 h 799204"/>
              <a:gd name="connsiteX126" fmla="*/ 166535 w 347814"/>
              <a:gd name="connsiteY126" fmla="*/ 464058 h 799204"/>
              <a:gd name="connsiteX127" fmla="*/ 167164 w 347814"/>
              <a:gd name="connsiteY127" fmla="*/ 468821 h 799204"/>
              <a:gd name="connsiteX128" fmla="*/ 167678 w 347814"/>
              <a:gd name="connsiteY128" fmla="*/ 471154 h 799204"/>
              <a:gd name="connsiteX129" fmla="*/ 168964 w 347814"/>
              <a:gd name="connsiteY129" fmla="*/ 474326 h 799204"/>
              <a:gd name="connsiteX130" fmla="*/ 165468 w 347814"/>
              <a:gd name="connsiteY130" fmla="*/ 473916 h 799204"/>
              <a:gd name="connsiteX131" fmla="*/ 161773 w 347814"/>
              <a:gd name="connsiteY131" fmla="*/ 472068 h 799204"/>
              <a:gd name="connsiteX132" fmla="*/ 162287 w 347814"/>
              <a:gd name="connsiteY132" fmla="*/ 475907 h 799204"/>
              <a:gd name="connsiteX133" fmla="*/ 160020 w 347814"/>
              <a:gd name="connsiteY133" fmla="*/ 480441 h 799204"/>
              <a:gd name="connsiteX134" fmla="*/ 160439 w 347814"/>
              <a:gd name="connsiteY134" fmla="*/ 484422 h 799204"/>
              <a:gd name="connsiteX135" fmla="*/ 160915 w 347814"/>
              <a:gd name="connsiteY135" fmla="*/ 487004 h 799204"/>
              <a:gd name="connsiteX136" fmla="*/ 160211 w 347814"/>
              <a:gd name="connsiteY136" fmla="*/ 491280 h 799204"/>
              <a:gd name="connsiteX137" fmla="*/ 161277 w 347814"/>
              <a:gd name="connsiteY137" fmla="*/ 492623 h 799204"/>
              <a:gd name="connsiteX138" fmla="*/ 161858 w 347814"/>
              <a:gd name="connsiteY138" fmla="*/ 495167 h 799204"/>
              <a:gd name="connsiteX139" fmla="*/ 160896 w 347814"/>
              <a:gd name="connsiteY139" fmla="*/ 497043 h 799204"/>
              <a:gd name="connsiteX140" fmla="*/ 161315 w 347814"/>
              <a:gd name="connsiteY140" fmla="*/ 498653 h 799204"/>
              <a:gd name="connsiteX141" fmla="*/ 161477 w 347814"/>
              <a:gd name="connsiteY141" fmla="*/ 504339 h 799204"/>
              <a:gd name="connsiteX142" fmla="*/ 162201 w 347814"/>
              <a:gd name="connsiteY142" fmla="*/ 513207 h 799204"/>
              <a:gd name="connsiteX143" fmla="*/ 161934 w 347814"/>
              <a:gd name="connsiteY143" fmla="*/ 515074 h 799204"/>
              <a:gd name="connsiteX144" fmla="*/ 163963 w 347814"/>
              <a:gd name="connsiteY144" fmla="*/ 522732 h 799204"/>
              <a:gd name="connsiteX145" fmla="*/ 163496 w 347814"/>
              <a:gd name="connsiteY145" fmla="*/ 525409 h 799204"/>
              <a:gd name="connsiteX146" fmla="*/ 163220 w 347814"/>
              <a:gd name="connsiteY146" fmla="*/ 528809 h 799204"/>
              <a:gd name="connsiteX147" fmla="*/ 166135 w 347814"/>
              <a:gd name="connsiteY147" fmla="*/ 532076 h 799204"/>
              <a:gd name="connsiteX148" fmla="*/ 168726 w 347814"/>
              <a:gd name="connsiteY148" fmla="*/ 532028 h 799204"/>
              <a:gd name="connsiteX149" fmla="*/ 171355 w 347814"/>
              <a:gd name="connsiteY149" fmla="*/ 531981 h 799204"/>
              <a:gd name="connsiteX150" fmla="*/ 172355 w 347814"/>
              <a:gd name="connsiteY150" fmla="*/ 532790 h 799204"/>
              <a:gd name="connsiteX151" fmla="*/ 173364 w 347814"/>
              <a:gd name="connsiteY151" fmla="*/ 535095 h 799204"/>
              <a:gd name="connsiteX152" fmla="*/ 174174 w 347814"/>
              <a:gd name="connsiteY152" fmla="*/ 537820 h 799204"/>
              <a:gd name="connsiteX153" fmla="*/ 176336 w 347814"/>
              <a:gd name="connsiteY153" fmla="*/ 537601 h 799204"/>
              <a:gd name="connsiteX154" fmla="*/ 179794 w 347814"/>
              <a:gd name="connsiteY154" fmla="*/ 535391 h 799204"/>
              <a:gd name="connsiteX155" fmla="*/ 182042 w 347814"/>
              <a:gd name="connsiteY155" fmla="*/ 534867 h 799204"/>
              <a:gd name="connsiteX156" fmla="*/ 183528 w 347814"/>
              <a:gd name="connsiteY156" fmla="*/ 539115 h 799204"/>
              <a:gd name="connsiteX157" fmla="*/ 187566 w 347814"/>
              <a:gd name="connsiteY157" fmla="*/ 544716 h 799204"/>
              <a:gd name="connsiteX158" fmla="*/ 189919 w 347814"/>
              <a:gd name="connsiteY158" fmla="*/ 547221 h 799204"/>
              <a:gd name="connsiteX159" fmla="*/ 193910 w 347814"/>
              <a:gd name="connsiteY159" fmla="*/ 548545 h 799204"/>
              <a:gd name="connsiteX160" fmla="*/ 198120 w 347814"/>
              <a:gd name="connsiteY160" fmla="*/ 553041 h 799204"/>
              <a:gd name="connsiteX161" fmla="*/ 197529 w 347814"/>
              <a:gd name="connsiteY161" fmla="*/ 558451 h 799204"/>
              <a:gd name="connsiteX162" fmla="*/ 199282 w 347814"/>
              <a:gd name="connsiteY162" fmla="*/ 560251 h 799204"/>
              <a:gd name="connsiteX163" fmla="*/ 204245 w 347814"/>
              <a:gd name="connsiteY163" fmla="*/ 562375 h 799204"/>
              <a:gd name="connsiteX164" fmla="*/ 206007 w 347814"/>
              <a:gd name="connsiteY164" fmla="*/ 565242 h 799204"/>
              <a:gd name="connsiteX165" fmla="*/ 206854 w 347814"/>
              <a:gd name="connsiteY165" fmla="*/ 567680 h 799204"/>
              <a:gd name="connsiteX166" fmla="*/ 208159 w 347814"/>
              <a:gd name="connsiteY166" fmla="*/ 569700 h 799204"/>
              <a:gd name="connsiteX167" fmla="*/ 209693 w 347814"/>
              <a:gd name="connsiteY167" fmla="*/ 575786 h 799204"/>
              <a:gd name="connsiteX168" fmla="*/ 209159 w 347814"/>
              <a:gd name="connsiteY168" fmla="*/ 579530 h 799204"/>
              <a:gd name="connsiteX169" fmla="*/ 207159 w 347814"/>
              <a:gd name="connsiteY169" fmla="*/ 580815 h 799204"/>
              <a:gd name="connsiteX170" fmla="*/ 202425 w 347814"/>
              <a:gd name="connsiteY170" fmla="*/ 584816 h 799204"/>
              <a:gd name="connsiteX171" fmla="*/ 200320 w 347814"/>
              <a:gd name="connsiteY171" fmla="*/ 587797 h 799204"/>
              <a:gd name="connsiteX172" fmla="*/ 198672 w 347814"/>
              <a:gd name="connsiteY172" fmla="*/ 589645 h 799204"/>
              <a:gd name="connsiteX173" fmla="*/ 193977 w 347814"/>
              <a:gd name="connsiteY173" fmla="*/ 593617 h 799204"/>
              <a:gd name="connsiteX174" fmla="*/ 192252 w 347814"/>
              <a:gd name="connsiteY174" fmla="*/ 594331 h 799204"/>
              <a:gd name="connsiteX175" fmla="*/ 190605 w 347814"/>
              <a:gd name="connsiteY175" fmla="*/ 596389 h 799204"/>
              <a:gd name="connsiteX176" fmla="*/ 189014 w 347814"/>
              <a:gd name="connsiteY176" fmla="*/ 597294 h 799204"/>
              <a:gd name="connsiteX177" fmla="*/ 187585 w 347814"/>
              <a:gd name="connsiteY177" fmla="*/ 596779 h 799204"/>
              <a:gd name="connsiteX178" fmla="*/ 182251 w 347814"/>
              <a:gd name="connsiteY178" fmla="*/ 600504 h 799204"/>
              <a:gd name="connsiteX179" fmla="*/ 178651 w 347814"/>
              <a:gd name="connsiteY179" fmla="*/ 599475 h 799204"/>
              <a:gd name="connsiteX180" fmla="*/ 177136 w 347814"/>
              <a:gd name="connsiteY180" fmla="*/ 597637 h 799204"/>
              <a:gd name="connsiteX181" fmla="*/ 178098 w 347814"/>
              <a:gd name="connsiteY181" fmla="*/ 590321 h 799204"/>
              <a:gd name="connsiteX182" fmla="*/ 177498 w 347814"/>
              <a:gd name="connsiteY182" fmla="*/ 587959 h 799204"/>
              <a:gd name="connsiteX183" fmla="*/ 176803 w 347814"/>
              <a:gd name="connsiteY183" fmla="*/ 586769 h 799204"/>
              <a:gd name="connsiteX184" fmla="*/ 174441 w 347814"/>
              <a:gd name="connsiteY184" fmla="*/ 588131 h 799204"/>
              <a:gd name="connsiteX185" fmla="*/ 174860 w 347814"/>
              <a:gd name="connsiteY185" fmla="*/ 590931 h 799204"/>
              <a:gd name="connsiteX186" fmla="*/ 170774 w 347814"/>
              <a:gd name="connsiteY186" fmla="*/ 591045 h 799204"/>
              <a:gd name="connsiteX187" fmla="*/ 166925 w 347814"/>
              <a:gd name="connsiteY187" fmla="*/ 588674 h 799204"/>
              <a:gd name="connsiteX188" fmla="*/ 166430 w 347814"/>
              <a:gd name="connsiteY188" fmla="*/ 593341 h 799204"/>
              <a:gd name="connsiteX189" fmla="*/ 158162 w 347814"/>
              <a:gd name="connsiteY189" fmla="*/ 589474 h 799204"/>
              <a:gd name="connsiteX190" fmla="*/ 155886 w 347814"/>
              <a:gd name="connsiteY190" fmla="*/ 590455 h 799204"/>
              <a:gd name="connsiteX191" fmla="*/ 152238 w 347814"/>
              <a:gd name="connsiteY191" fmla="*/ 588512 h 799204"/>
              <a:gd name="connsiteX192" fmla="*/ 149866 w 347814"/>
              <a:gd name="connsiteY192" fmla="*/ 590836 h 799204"/>
              <a:gd name="connsiteX193" fmla="*/ 147047 w 347814"/>
              <a:gd name="connsiteY193" fmla="*/ 589998 h 799204"/>
              <a:gd name="connsiteX194" fmla="*/ 145094 w 347814"/>
              <a:gd name="connsiteY194" fmla="*/ 587235 h 799204"/>
              <a:gd name="connsiteX195" fmla="*/ 142389 w 347814"/>
              <a:gd name="connsiteY195" fmla="*/ 592093 h 799204"/>
              <a:gd name="connsiteX196" fmla="*/ 136484 w 347814"/>
              <a:gd name="connsiteY196" fmla="*/ 593474 h 799204"/>
              <a:gd name="connsiteX197" fmla="*/ 130930 w 347814"/>
              <a:gd name="connsiteY197" fmla="*/ 594246 h 799204"/>
              <a:gd name="connsiteX198" fmla="*/ 133607 w 347814"/>
              <a:gd name="connsiteY198" fmla="*/ 595865 h 799204"/>
              <a:gd name="connsiteX199" fmla="*/ 146066 w 347814"/>
              <a:gd name="connsiteY199" fmla="*/ 595560 h 799204"/>
              <a:gd name="connsiteX200" fmla="*/ 149590 w 347814"/>
              <a:gd name="connsiteY200" fmla="*/ 596760 h 799204"/>
              <a:gd name="connsiteX201" fmla="*/ 154171 w 347814"/>
              <a:gd name="connsiteY201" fmla="*/ 595960 h 799204"/>
              <a:gd name="connsiteX202" fmla="*/ 158229 w 347814"/>
              <a:gd name="connsiteY202" fmla="*/ 599770 h 799204"/>
              <a:gd name="connsiteX203" fmla="*/ 161154 w 347814"/>
              <a:gd name="connsiteY203" fmla="*/ 600685 h 799204"/>
              <a:gd name="connsiteX204" fmla="*/ 164611 w 347814"/>
              <a:gd name="connsiteY204" fmla="*/ 605057 h 799204"/>
              <a:gd name="connsiteX205" fmla="*/ 166382 w 347814"/>
              <a:gd name="connsiteY205" fmla="*/ 603866 h 799204"/>
              <a:gd name="connsiteX206" fmla="*/ 169164 w 347814"/>
              <a:gd name="connsiteY206" fmla="*/ 604047 h 799204"/>
              <a:gd name="connsiteX207" fmla="*/ 171735 w 347814"/>
              <a:gd name="connsiteY207" fmla="*/ 605295 h 799204"/>
              <a:gd name="connsiteX208" fmla="*/ 179898 w 347814"/>
              <a:gd name="connsiteY208" fmla="*/ 605133 h 799204"/>
              <a:gd name="connsiteX209" fmla="*/ 182670 w 347814"/>
              <a:gd name="connsiteY209" fmla="*/ 602085 h 799204"/>
              <a:gd name="connsiteX210" fmla="*/ 186757 w 347814"/>
              <a:gd name="connsiteY210" fmla="*/ 602751 h 799204"/>
              <a:gd name="connsiteX211" fmla="*/ 188843 w 347814"/>
              <a:gd name="connsiteY211" fmla="*/ 601961 h 799204"/>
              <a:gd name="connsiteX212" fmla="*/ 190442 w 347814"/>
              <a:gd name="connsiteY212" fmla="*/ 600094 h 799204"/>
              <a:gd name="connsiteX213" fmla="*/ 192195 w 347814"/>
              <a:gd name="connsiteY213" fmla="*/ 599665 h 799204"/>
              <a:gd name="connsiteX214" fmla="*/ 193786 w 347814"/>
              <a:gd name="connsiteY214" fmla="*/ 600018 h 799204"/>
              <a:gd name="connsiteX215" fmla="*/ 195482 w 347814"/>
              <a:gd name="connsiteY215" fmla="*/ 598541 h 799204"/>
              <a:gd name="connsiteX216" fmla="*/ 196815 w 347814"/>
              <a:gd name="connsiteY216" fmla="*/ 597951 h 799204"/>
              <a:gd name="connsiteX217" fmla="*/ 198187 w 347814"/>
              <a:gd name="connsiteY217" fmla="*/ 598665 h 799204"/>
              <a:gd name="connsiteX218" fmla="*/ 199720 w 347814"/>
              <a:gd name="connsiteY218" fmla="*/ 602199 h 799204"/>
              <a:gd name="connsiteX219" fmla="*/ 196539 w 347814"/>
              <a:gd name="connsiteY219" fmla="*/ 604028 h 799204"/>
              <a:gd name="connsiteX220" fmla="*/ 194281 w 347814"/>
              <a:gd name="connsiteY220" fmla="*/ 604114 h 799204"/>
              <a:gd name="connsiteX221" fmla="*/ 193177 w 347814"/>
              <a:gd name="connsiteY221" fmla="*/ 609886 h 799204"/>
              <a:gd name="connsiteX222" fmla="*/ 191814 w 347814"/>
              <a:gd name="connsiteY222" fmla="*/ 612362 h 799204"/>
              <a:gd name="connsiteX223" fmla="*/ 190833 w 347814"/>
              <a:gd name="connsiteY223" fmla="*/ 613553 h 799204"/>
              <a:gd name="connsiteX224" fmla="*/ 185833 w 347814"/>
              <a:gd name="connsiteY224" fmla="*/ 616001 h 799204"/>
              <a:gd name="connsiteX225" fmla="*/ 182527 w 347814"/>
              <a:gd name="connsiteY225" fmla="*/ 619097 h 799204"/>
              <a:gd name="connsiteX226" fmla="*/ 178632 w 347814"/>
              <a:gd name="connsiteY226" fmla="*/ 621582 h 799204"/>
              <a:gd name="connsiteX227" fmla="*/ 176936 w 347814"/>
              <a:gd name="connsiteY227" fmla="*/ 621039 h 799204"/>
              <a:gd name="connsiteX228" fmla="*/ 174374 w 347814"/>
              <a:gd name="connsiteY228" fmla="*/ 623564 h 799204"/>
              <a:gd name="connsiteX229" fmla="*/ 168687 w 347814"/>
              <a:gd name="connsiteY229" fmla="*/ 626545 h 799204"/>
              <a:gd name="connsiteX230" fmla="*/ 165764 w 347814"/>
              <a:gd name="connsiteY230" fmla="*/ 630564 h 799204"/>
              <a:gd name="connsiteX231" fmla="*/ 159220 w 347814"/>
              <a:gd name="connsiteY231" fmla="*/ 634146 h 799204"/>
              <a:gd name="connsiteX232" fmla="*/ 155886 w 347814"/>
              <a:gd name="connsiteY232" fmla="*/ 637061 h 799204"/>
              <a:gd name="connsiteX233" fmla="*/ 146828 w 347814"/>
              <a:gd name="connsiteY233" fmla="*/ 637213 h 799204"/>
              <a:gd name="connsiteX234" fmla="*/ 138179 w 347814"/>
              <a:gd name="connsiteY234" fmla="*/ 636575 h 799204"/>
              <a:gd name="connsiteX235" fmla="*/ 135464 w 347814"/>
              <a:gd name="connsiteY235" fmla="*/ 637956 h 799204"/>
              <a:gd name="connsiteX236" fmla="*/ 138246 w 347814"/>
              <a:gd name="connsiteY236" fmla="*/ 638385 h 799204"/>
              <a:gd name="connsiteX237" fmla="*/ 140189 w 347814"/>
              <a:gd name="connsiteY237" fmla="*/ 639737 h 799204"/>
              <a:gd name="connsiteX238" fmla="*/ 142523 w 347814"/>
              <a:gd name="connsiteY238" fmla="*/ 639166 h 799204"/>
              <a:gd name="connsiteX239" fmla="*/ 148009 w 347814"/>
              <a:gd name="connsiteY239" fmla="*/ 639842 h 799204"/>
              <a:gd name="connsiteX240" fmla="*/ 150828 w 347814"/>
              <a:gd name="connsiteY240" fmla="*/ 640585 h 799204"/>
              <a:gd name="connsiteX241" fmla="*/ 154448 w 347814"/>
              <a:gd name="connsiteY241" fmla="*/ 645328 h 799204"/>
              <a:gd name="connsiteX242" fmla="*/ 151790 w 347814"/>
              <a:gd name="connsiteY242" fmla="*/ 647005 h 799204"/>
              <a:gd name="connsiteX243" fmla="*/ 147180 w 347814"/>
              <a:gd name="connsiteY243" fmla="*/ 648300 h 799204"/>
              <a:gd name="connsiteX244" fmla="*/ 148914 w 347814"/>
              <a:gd name="connsiteY244" fmla="*/ 654987 h 799204"/>
              <a:gd name="connsiteX245" fmla="*/ 150333 w 347814"/>
              <a:gd name="connsiteY245" fmla="*/ 659482 h 799204"/>
              <a:gd name="connsiteX246" fmla="*/ 148466 w 347814"/>
              <a:gd name="connsiteY246" fmla="*/ 662188 h 799204"/>
              <a:gd name="connsiteX247" fmla="*/ 148323 w 347814"/>
              <a:gd name="connsiteY247" fmla="*/ 674446 h 799204"/>
              <a:gd name="connsiteX248" fmla="*/ 145704 w 347814"/>
              <a:gd name="connsiteY248" fmla="*/ 674675 h 799204"/>
              <a:gd name="connsiteX249" fmla="*/ 144589 w 347814"/>
              <a:gd name="connsiteY249" fmla="*/ 679723 h 799204"/>
              <a:gd name="connsiteX250" fmla="*/ 145409 w 347814"/>
              <a:gd name="connsiteY250" fmla="*/ 682295 h 799204"/>
              <a:gd name="connsiteX251" fmla="*/ 145342 w 347814"/>
              <a:gd name="connsiteY251" fmla="*/ 688248 h 799204"/>
              <a:gd name="connsiteX252" fmla="*/ 145885 w 347814"/>
              <a:gd name="connsiteY252" fmla="*/ 691905 h 799204"/>
              <a:gd name="connsiteX253" fmla="*/ 147171 w 347814"/>
              <a:gd name="connsiteY253" fmla="*/ 695268 h 799204"/>
              <a:gd name="connsiteX254" fmla="*/ 146599 w 347814"/>
              <a:gd name="connsiteY254" fmla="*/ 698763 h 799204"/>
              <a:gd name="connsiteX255" fmla="*/ 142456 w 347814"/>
              <a:gd name="connsiteY255" fmla="*/ 706926 h 799204"/>
              <a:gd name="connsiteX256" fmla="*/ 142541 w 347814"/>
              <a:gd name="connsiteY256" fmla="*/ 710746 h 799204"/>
              <a:gd name="connsiteX257" fmla="*/ 143294 w 347814"/>
              <a:gd name="connsiteY257" fmla="*/ 713013 h 799204"/>
              <a:gd name="connsiteX258" fmla="*/ 143846 w 347814"/>
              <a:gd name="connsiteY258" fmla="*/ 716623 h 799204"/>
              <a:gd name="connsiteX259" fmla="*/ 141961 w 347814"/>
              <a:gd name="connsiteY259" fmla="*/ 723547 h 799204"/>
              <a:gd name="connsiteX260" fmla="*/ 140637 w 347814"/>
              <a:gd name="connsiteY260" fmla="*/ 729310 h 799204"/>
              <a:gd name="connsiteX261" fmla="*/ 139055 w 347814"/>
              <a:gd name="connsiteY261" fmla="*/ 734149 h 799204"/>
              <a:gd name="connsiteX262" fmla="*/ 135521 w 347814"/>
              <a:gd name="connsiteY262" fmla="*/ 739930 h 799204"/>
              <a:gd name="connsiteX263" fmla="*/ 133759 w 347814"/>
              <a:gd name="connsiteY263" fmla="*/ 744245 h 799204"/>
              <a:gd name="connsiteX264" fmla="*/ 129644 w 347814"/>
              <a:gd name="connsiteY264" fmla="*/ 757647 h 799204"/>
              <a:gd name="connsiteX265" fmla="*/ 127606 w 347814"/>
              <a:gd name="connsiteY265" fmla="*/ 760295 h 799204"/>
              <a:gd name="connsiteX266" fmla="*/ 125101 w 347814"/>
              <a:gd name="connsiteY266" fmla="*/ 762324 h 799204"/>
              <a:gd name="connsiteX267" fmla="*/ 122311 w 347814"/>
              <a:gd name="connsiteY267" fmla="*/ 760448 h 799204"/>
              <a:gd name="connsiteX268" fmla="*/ 119748 w 347814"/>
              <a:gd name="connsiteY268" fmla="*/ 759428 h 799204"/>
              <a:gd name="connsiteX269" fmla="*/ 116624 w 347814"/>
              <a:gd name="connsiteY269" fmla="*/ 759552 h 799204"/>
              <a:gd name="connsiteX270" fmla="*/ 111728 w 347814"/>
              <a:gd name="connsiteY270" fmla="*/ 761095 h 799204"/>
              <a:gd name="connsiteX271" fmla="*/ 104365 w 347814"/>
              <a:gd name="connsiteY271" fmla="*/ 760066 h 799204"/>
              <a:gd name="connsiteX272" fmla="*/ 97174 w 347814"/>
              <a:gd name="connsiteY272" fmla="*/ 760562 h 799204"/>
              <a:gd name="connsiteX273" fmla="*/ 95355 w 347814"/>
              <a:gd name="connsiteY273" fmla="*/ 761886 h 799204"/>
              <a:gd name="connsiteX274" fmla="*/ 96450 w 347814"/>
              <a:gd name="connsiteY274" fmla="*/ 766715 h 799204"/>
              <a:gd name="connsiteX275" fmla="*/ 93793 w 347814"/>
              <a:gd name="connsiteY275" fmla="*/ 767344 h 799204"/>
              <a:gd name="connsiteX276" fmla="*/ 91202 w 347814"/>
              <a:gd name="connsiteY276" fmla="*/ 765972 h 799204"/>
              <a:gd name="connsiteX277" fmla="*/ 88916 w 347814"/>
              <a:gd name="connsiteY277" fmla="*/ 767610 h 799204"/>
              <a:gd name="connsiteX278" fmla="*/ 87011 w 347814"/>
              <a:gd name="connsiteY278" fmla="*/ 769401 h 799204"/>
              <a:gd name="connsiteX279" fmla="*/ 83268 w 347814"/>
              <a:gd name="connsiteY279" fmla="*/ 773649 h 799204"/>
              <a:gd name="connsiteX280" fmla="*/ 82010 w 347814"/>
              <a:gd name="connsiteY280" fmla="*/ 776259 h 799204"/>
              <a:gd name="connsiteX281" fmla="*/ 81686 w 347814"/>
              <a:gd name="connsiteY281" fmla="*/ 781164 h 799204"/>
              <a:gd name="connsiteX282" fmla="*/ 83658 w 347814"/>
              <a:gd name="connsiteY282" fmla="*/ 785555 h 799204"/>
              <a:gd name="connsiteX283" fmla="*/ 85401 w 347814"/>
              <a:gd name="connsiteY283" fmla="*/ 790689 h 799204"/>
              <a:gd name="connsiteX284" fmla="*/ 80915 w 347814"/>
              <a:gd name="connsiteY284" fmla="*/ 796852 h 799204"/>
              <a:gd name="connsiteX285" fmla="*/ 78410 w 347814"/>
              <a:gd name="connsiteY285" fmla="*/ 797062 h 799204"/>
              <a:gd name="connsiteX286" fmla="*/ 71095 w 347814"/>
              <a:gd name="connsiteY286" fmla="*/ 795347 h 799204"/>
              <a:gd name="connsiteX287" fmla="*/ 58131 w 347814"/>
              <a:gd name="connsiteY287" fmla="*/ 799205 h 799204"/>
              <a:gd name="connsiteX288" fmla="*/ 46491 w 347814"/>
              <a:gd name="connsiteY288" fmla="*/ 796157 h 799204"/>
              <a:gd name="connsiteX289" fmla="*/ 47949 w 347814"/>
              <a:gd name="connsiteY289" fmla="*/ 792851 h 799204"/>
              <a:gd name="connsiteX290" fmla="*/ 47901 w 347814"/>
              <a:gd name="connsiteY290" fmla="*/ 790423 h 799204"/>
              <a:gd name="connsiteX291" fmla="*/ 48558 w 347814"/>
              <a:gd name="connsiteY291" fmla="*/ 786679 h 799204"/>
              <a:gd name="connsiteX292" fmla="*/ 48949 w 347814"/>
              <a:gd name="connsiteY292" fmla="*/ 782841 h 799204"/>
              <a:gd name="connsiteX293" fmla="*/ 48844 w 347814"/>
              <a:gd name="connsiteY293" fmla="*/ 780269 h 799204"/>
              <a:gd name="connsiteX294" fmla="*/ 47987 w 347814"/>
              <a:gd name="connsiteY294" fmla="*/ 777516 h 799204"/>
              <a:gd name="connsiteX295" fmla="*/ 45120 w 347814"/>
              <a:gd name="connsiteY295" fmla="*/ 773916 h 799204"/>
              <a:gd name="connsiteX296" fmla="*/ 38652 w 347814"/>
              <a:gd name="connsiteY296" fmla="*/ 761714 h 799204"/>
              <a:gd name="connsiteX297" fmla="*/ 36738 w 347814"/>
              <a:gd name="connsiteY297" fmla="*/ 756542 h 799204"/>
              <a:gd name="connsiteX298" fmla="*/ 35404 w 347814"/>
              <a:gd name="connsiteY298" fmla="*/ 754380 h 799204"/>
              <a:gd name="connsiteX299" fmla="*/ 36366 w 347814"/>
              <a:gd name="connsiteY299" fmla="*/ 754266 h 799204"/>
              <a:gd name="connsiteX300" fmla="*/ 41700 w 347814"/>
              <a:gd name="connsiteY300" fmla="*/ 757047 h 799204"/>
              <a:gd name="connsiteX301" fmla="*/ 42939 w 347814"/>
              <a:gd name="connsiteY301" fmla="*/ 756704 h 799204"/>
              <a:gd name="connsiteX302" fmla="*/ 44244 w 347814"/>
              <a:gd name="connsiteY302" fmla="*/ 755666 h 799204"/>
              <a:gd name="connsiteX303" fmla="*/ 42653 w 347814"/>
              <a:gd name="connsiteY303" fmla="*/ 751675 h 799204"/>
              <a:gd name="connsiteX304" fmla="*/ 41281 w 347814"/>
              <a:gd name="connsiteY304" fmla="*/ 749875 h 799204"/>
              <a:gd name="connsiteX305" fmla="*/ 40357 w 347814"/>
              <a:gd name="connsiteY305" fmla="*/ 747170 h 799204"/>
              <a:gd name="connsiteX306" fmla="*/ 43472 w 347814"/>
              <a:gd name="connsiteY306" fmla="*/ 746436 h 799204"/>
              <a:gd name="connsiteX307" fmla="*/ 45729 w 347814"/>
              <a:gd name="connsiteY307" fmla="*/ 746598 h 799204"/>
              <a:gd name="connsiteX308" fmla="*/ 47387 w 347814"/>
              <a:gd name="connsiteY308" fmla="*/ 743550 h 799204"/>
              <a:gd name="connsiteX309" fmla="*/ 46425 w 347814"/>
              <a:gd name="connsiteY309" fmla="*/ 738607 h 799204"/>
              <a:gd name="connsiteX310" fmla="*/ 44005 w 347814"/>
              <a:gd name="connsiteY310" fmla="*/ 737083 h 799204"/>
              <a:gd name="connsiteX311" fmla="*/ 41986 w 347814"/>
              <a:gd name="connsiteY311" fmla="*/ 736416 h 799204"/>
              <a:gd name="connsiteX312" fmla="*/ 38109 w 347814"/>
              <a:gd name="connsiteY312" fmla="*/ 728605 h 799204"/>
              <a:gd name="connsiteX313" fmla="*/ 34071 w 347814"/>
              <a:gd name="connsiteY313" fmla="*/ 724548 h 799204"/>
              <a:gd name="connsiteX314" fmla="*/ 26860 w 347814"/>
              <a:gd name="connsiteY314" fmla="*/ 708822 h 799204"/>
              <a:gd name="connsiteX315" fmla="*/ 24222 w 347814"/>
              <a:gd name="connsiteY315" fmla="*/ 697944 h 799204"/>
              <a:gd name="connsiteX316" fmla="*/ 21774 w 347814"/>
              <a:gd name="connsiteY316" fmla="*/ 698983 h 799204"/>
              <a:gd name="connsiteX317" fmla="*/ 20583 w 347814"/>
              <a:gd name="connsiteY317" fmla="*/ 694230 h 799204"/>
              <a:gd name="connsiteX318" fmla="*/ 19726 w 347814"/>
              <a:gd name="connsiteY318" fmla="*/ 689705 h 799204"/>
              <a:gd name="connsiteX319" fmla="*/ 19555 w 347814"/>
              <a:gd name="connsiteY319" fmla="*/ 686381 h 799204"/>
              <a:gd name="connsiteX320" fmla="*/ 15707 w 347814"/>
              <a:gd name="connsiteY320" fmla="*/ 684476 h 799204"/>
              <a:gd name="connsiteX321" fmla="*/ 15554 w 347814"/>
              <a:gd name="connsiteY321" fmla="*/ 682133 h 799204"/>
              <a:gd name="connsiteX322" fmla="*/ 14859 w 347814"/>
              <a:gd name="connsiteY322" fmla="*/ 671655 h 799204"/>
              <a:gd name="connsiteX323" fmla="*/ 10735 w 347814"/>
              <a:gd name="connsiteY323" fmla="*/ 670246 h 799204"/>
              <a:gd name="connsiteX324" fmla="*/ 8068 w 347814"/>
              <a:gd name="connsiteY324" fmla="*/ 664340 h 799204"/>
              <a:gd name="connsiteX325" fmla="*/ 7591 w 347814"/>
              <a:gd name="connsiteY325" fmla="*/ 653110 h 799204"/>
              <a:gd name="connsiteX326" fmla="*/ 4877 w 347814"/>
              <a:gd name="connsiteY326" fmla="*/ 651062 h 799204"/>
              <a:gd name="connsiteX327" fmla="*/ 2695 w 347814"/>
              <a:gd name="connsiteY327" fmla="*/ 651634 h 799204"/>
              <a:gd name="connsiteX328" fmla="*/ 2800 w 347814"/>
              <a:gd name="connsiteY328" fmla="*/ 648843 h 799204"/>
              <a:gd name="connsiteX329" fmla="*/ 3324 w 347814"/>
              <a:gd name="connsiteY329" fmla="*/ 646214 h 799204"/>
              <a:gd name="connsiteX330" fmla="*/ 2048 w 347814"/>
              <a:gd name="connsiteY330" fmla="*/ 635756 h 799204"/>
              <a:gd name="connsiteX331" fmla="*/ 1619 w 347814"/>
              <a:gd name="connsiteY331" fmla="*/ 626164 h 799204"/>
              <a:gd name="connsiteX332" fmla="*/ 590 w 347814"/>
              <a:gd name="connsiteY332" fmla="*/ 623249 h 799204"/>
              <a:gd name="connsiteX333" fmla="*/ 0 w 347814"/>
              <a:gd name="connsiteY333" fmla="*/ 619839 h 799204"/>
              <a:gd name="connsiteX334" fmla="*/ 524 w 347814"/>
              <a:gd name="connsiteY334" fmla="*/ 616887 h 799204"/>
              <a:gd name="connsiteX335" fmla="*/ 1305 w 347814"/>
              <a:gd name="connsiteY335" fmla="*/ 615182 h 799204"/>
              <a:gd name="connsiteX336" fmla="*/ 3962 w 347814"/>
              <a:gd name="connsiteY336" fmla="*/ 614734 h 799204"/>
              <a:gd name="connsiteX337" fmla="*/ 6448 w 347814"/>
              <a:gd name="connsiteY337" fmla="*/ 617344 h 799204"/>
              <a:gd name="connsiteX338" fmla="*/ 8649 w 347814"/>
              <a:gd name="connsiteY338" fmla="*/ 623916 h 799204"/>
              <a:gd name="connsiteX339" fmla="*/ 10592 w 347814"/>
              <a:gd name="connsiteY339" fmla="*/ 624773 h 799204"/>
              <a:gd name="connsiteX340" fmla="*/ 13240 w 347814"/>
              <a:gd name="connsiteY340" fmla="*/ 623059 h 799204"/>
              <a:gd name="connsiteX341" fmla="*/ 15097 w 347814"/>
              <a:gd name="connsiteY341" fmla="*/ 618268 h 799204"/>
              <a:gd name="connsiteX342" fmla="*/ 16154 w 347814"/>
              <a:gd name="connsiteY342" fmla="*/ 611057 h 799204"/>
              <a:gd name="connsiteX343" fmla="*/ 17393 w 347814"/>
              <a:gd name="connsiteY343" fmla="*/ 604152 h 799204"/>
              <a:gd name="connsiteX344" fmla="*/ 15926 w 347814"/>
              <a:gd name="connsiteY344" fmla="*/ 596741 h 799204"/>
              <a:gd name="connsiteX345" fmla="*/ 14364 w 347814"/>
              <a:gd name="connsiteY345" fmla="*/ 590207 h 799204"/>
              <a:gd name="connsiteX346" fmla="*/ 14249 w 347814"/>
              <a:gd name="connsiteY346" fmla="*/ 588283 h 799204"/>
              <a:gd name="connsiteX347" fmla="*/ 18355 w 347814"/>
              <a:gd name="connsiteY347" fmla="*/ 582739 h 799204"/>
              <a:gd name="connsiteX348" fmla="*/ 19612 w 347814"/>
              <a:gd name="connsiteY348" fmla="*/ 578225 h 799204"/>
              <a:gd name="connsiteX349" fmla="*/ 20974 w 347814"/>
              <a:gd name="connsiteY349" fmla="*/ 573910 h 799204"/>
              <a:gd name="connsiteX350" fmla="*/ 22479 w 347814"/>
              <a:gd name="connsiteY350" fmla="*/ 572443 h 799204"/>
              <a:gd name="connsiteX351" fmla="*/ 24708 w 347814"/>
              <a:gd name="connsiteY351" fmla="*/ 572110 h 799204"/>
              <a:gd name="connsiteX352" fmla="*/ 27308 w 347814"/>
              <a:gd name="connsiteY352" fmla="*/ 571300 h 799204"/>
              <a:gd name="connsiteX353" fmla="*/ 30585 w 347814"/>
              <a:gd name="connsiteY353" fmla="*/ 568404 h 799204"/>
              <a:gd name="connsiteX354" fmla="*/ 33528 w 347814"/>
              <a:gd name="connsiteY354" fmla="*/ 564518 h 799204"/>
              <a:gd name="connsiteX355" fmla="*/ 35776 w 347814"/>
              <a:gd name="connsiteY355" fmla="*/ 560946 h 799204"/>
              <a:gd name="connsiteX356" fmla="*/ 36538 w 347814"/>
              <a:gd name="connsiteY356" fmla="*/ 553860 h 799204"/>
              <a:gd name="connsiteX357" fmla="*/ 36566 w 347814"/>
              <a:gd name="connsiteY357" fmla="*/ 550288 h 799204"/>
              <a:gd name="connsiteX358" fmla="*/ 37557 w 347814"/>
              <a:gd name="connsiteY358" fmla="*/ 547630 h 799204"/>
              <a:gd name="connsiteX359" fmla="*/ 38510 w 347814"/>
              <a:gd name="connsiteY359" fmla="*/ 542430 h 799204"/>
              <a:gd name="connsiteX360" fmla="*/ 37576 w 347814"/>
              <a:gd name="connsiteY360" fmla="*/ 537286 h 799204"/>
              <a:gd name="connsiteX361" fmla="*/ 34671 w 347814"/>
              <a:gd name="connsiteY361" fmla="*/ 529457 h 799204"/>
              <a:gd name="connsiteX362" fmla="*/ 31175 w 347814"/>
              <a:gd name="connsiteY362" fmla="*/ 518379 h 799204"/>
              <a:gd name="connsiteX363" fmla="*/ 30632 w 347814"/>
              <a:gd name="connsiteY363" fmla="*/ 512302 h 799204"/>
              <a:gd name="connsiteX364" fmla="*/ 32223 w 347814"/>
              <a:gd name="connsiteY364" fmla="*/ 511169 h 799204"/>
              <a:gd name="connsiteX365" fmla="*/ 35262 w 347814"/>
              <a:gd name="connsiteY365" fmla="*/ 510159 h 799204"/>
              <a:gd name="connsiteX366" fmla="*/ 41024 w 347814"/>
              <a:gd name="connsiteY366" fmla="*/ 509864 h 799204"/>
              <a:gd name="connsiteX367" fmla="*/ 41634 w 347814"/>
              <a:gd name="connsiteY367" fmla="*/ 509149 h 799204"/>
              <a:gd name="connsiteX368" fmla="*/ 42215 w 347814"/>
              <a:gd name="connsiteY368" fmla="*/ 506473 h 799204"/>
              <a:gd name="connsiteX369" fmla="*/ 43520 w 347814"/>
              <a:gd name="connsiteY369" fmla="*/ 502844 h 799204"/>
              <a:gd name="connsiteX370" fmla="*/ 44901 w 347814"/>
              <a:gd name="connsiteY370" fmla="*/ 500196 h 799204"/>
              <a:gd name="connsiteX371" fmla="*/ 45853 w 347814"/>
              <a:gd name="connsiteY371" fmla="*/ 496395 h 799204"/>
              <a:gd name="connsiteX372" fmla="*/ 46311 w 347814"/>
              <a:gd name="connsiteY372" fmla="*/ 492947 h 799204"/>
              <a:gd name="connsiteX373" fmla="*/ 43015 w 347814"/>
              <a:gd name="connsiteY373" fmla="*/ 487737 h 799204"/>
              <a:gd name="connsiteX374" fmla="*/ 38700 w 347814"/>
              <a:gd name="connsiteY374" fmla="*/ 482384 h 799204"/>
              <a:gd name="connsiteX375" fmla="*/ 35776 w 347814"/>
              <a:gd name="connsiteY375" fmla="*/ 480603 h 799204"/>
              <a:gd name="connsiteX376" fmla="*/ 30575 w 347814"/>
              <a:gd name="connsiteY376" fmla="*/ 476088 h 799204"/>
              <a:gd name="connsiteX377" fmla="*/ 26918 w 347814"/>
              <a:gd name="connsiteY377" fmla="*/ 472307 h 799204"/>
              <a:gd name="connsiteX378" fmla="*/ 29013 w 347814"/>
              <a:gd name="connsiteY378" fmla="*/ 457819 h 799204"/>
              <a:gd name="connsiteX379" fmla="*/ 30575 w 347814"/>
              <a:gd name="connsiteY379" fmla="*/ 446951 h 799204"/>
              <a:gd name="connsiteX380" fmla="*/ 30823 w 347814"/>
              <a:gd name="connsiteY380" fmla="*/ 444303 h 799204"/>
              <a:gd name="connsiteX381" fmla="*/ 30880 w 347814"/>
              <a:gd name="connsiteY381" fmla="*/ 440188 h 799204"/>
              <a:gd name="connsiteX382" fmla="*/ 25832 w 347814"/>
              <a:gd name="connsiteY382" fmla="*/ 422519 h 799204"/>
              <a:gd name="connsiteX383" fmla="*/ 26032 w 347814"/>
              <a:gd name="connsiteY383" fmla="*/ 418567 h 799204"/>
              <a:gd name="connsiteX384" fmla="*/ 26508 w 347814"/>
              <a:gd name="connsiteY384" fmla="*/ 414995 h 799204"/>
              <a:gd name="connsiteX385" fmla="*/ 25965 w 347814"/>
              <a:gd name="connsiteY385" fmla="*/ 408889 h 799204"/>
              <a:gd name="connsiteX386" fmla="*/ 25670 w 347814"/>
              <a:gd name="connsiteY386" fmla="*/ 403412 h 799204"/>
              <a:gd name="connsiteX387" fmla="*/ 26536 w 347814"/>
              <a:gd name="connsiteY387" fmla="*/ 401745 h 799204"/>
              <a:gd name="connsiteX388" fmla="*/ 28594 w 347814"/>
              <a:gd name="connsiteY388" fmla="*/ 398640 h 799204"/>
              <a:gd name="connsiteX389" fmla="*/ 26622 w 347814"/>
              <a:gd name="connsiteY389" fmla="*/ 393821 h 799204"/>
              <a:gd name="connsiteX390" fmla="*/ 26460 w 347814"/>
              <a:gd name="connsiteY390" fmla="*/ 393421 h 799204"/>
              <a:gd name="connsiteX391" fmla="*/ 22746 w 347814"/>
              <a:gd name="connsiteY391" fmla="*/ 381438 h 799204"/>
              <a:gd name="connsiteX392" fmla="*/ 28422 w 347814"/>
              <a:gd name="connsiteY392" fmla="*/ 369484 h 799204"/>
              <a:gd name="connsiteX393" fmla="*/ 27432 w 347814"/>
              <a:gd name="connsiteY393" fmla="*/ 363264 h 799204"/>
              <a:gd name="connsiteX394" fmla="*/ 30813 w 347814"/>
              <a:gd name="connsiteY394" fmla="*/ 358740 h 799204"/>
              <a:gd name="connsiteX395" fmla="*/ 36986 w 347814"/>
              <a:gd name="connsiteY395" fmla="*/ 348339 h 799204"/>
              <a:gd name="connsiteX396" fmla="*/ 40452 w 347814"/>
              <a:gd name="connsiteY396" fmla="*/ 342452 h 799204"/>
              <a:gd name="connsiteX397" fmla="*/ 41186 w 347814"/>
              <a:gd name="connsiteY397" fmla="*/ 341424 h 799204"/>
              <a:gd name="connsiteX398" fmla="*/ 43929 w 347814"/>
              <a:gd name="connsiteY398" fmla="*/ 338833 h 799204"/>
              <a:gd name="connsiteX399" fmla="*/ 49139 w 347814"/>
              <a:gd name="connsiteY399" fmla="*/ 335756 h 799204"/>
              <a:gd name="connsiteX400" fmla="*/ 54912 w 347814"/>
              <a:gd name="connsiteY400" fmla="*/ 334251 h 799204"/>
              <a:gd name="connsiteX401" fmla="*/ 57483 w 347814"/>
              <a:gd name="connsiteY401" fmla="*/ 334270 h 799204"/>
              <a:gd name="connsiteX402" fmla="*/ 67408 w 347814"/>
              <a:gd name="connsiteY402" fmla="*/ 336356 h 799204"/>
              <a:gd name="connsiteX403" fmla="*/ 75152 w 347814"/>
              <a:gd name="connsiteY403" fmla="*/ 337976 h 799204"/>
              <a:gd name="connsiteX404" fmla="*/ 76285 w 347814"/>
              <a:gd name="connsiteY404" fmla="*/ 336347 h 799204"/>
              <a:gd name="connsiteX405" fmla="*/ 77905 w 347814"/>
              <a:gd name="connsiteY405" fmla="*/ 333004 h 799204"/>
              <a:gd name="connsiteX406" fmla="*/ 79991 w 347814"/>
              <a:gd name="connsiteY406" fmla="*/ 328231 h 799204"/>
              <a:gd name="connsiteX407" fmla="*/ 80172 w 347814"/>
              <a:gd name="connsiteY407" fmla="*/ 322907 h 799204"/>
              <a:gd name="connsiteX408" fmla="*/ 79420 w 347814"/>
              <a:gd name="connsiteY408" fmla="*/ 315058 h 799204"/>
              <a:gd name="connsiteX409" fmla="*/ 78286 w 347814"/>
              <a:gd name="connsiteY409" fmla="*/ 310344 h 799204"/>
              <a:gd name="connsiteX410" fmla="*/ 72837 w 347814"/>
              <a:gd name="connsiteY410" fmla="*/ 307267 h 799204"/>
              <a:gd name="connsiteX411" fmla="*/ 66865 w 347814"/>
              <a:gd name="connsiteY411" fmla="*/ 303047 h 799204"/>
              <a:gd name="connsiteX412" fmla="*/ 74209 w 347814"/>
              <a:gd name="connsiteY412" fmla="*/ 289608 h 799204"/>
              <a:gd name="connsiteX413" fmla="*/ 79296 w 347814"/>
              <a:gd name="connsiteY413" fmla="*/ 280216 h 799204"/>
              <a:gd name="connsiteX414" fmla="*/ 85639 w 347814"/>
              <a:gd name="connsiteY414" fmla="*/ 265995 h 799204"/>
              <a:gd name="connsiteX415" fmla="*/ 87611 w 347814"/>
              <a:gd name="connsiteY415" fmla="*/ 260042 h 799204"/>
              <a:gd name="connsiteX416" fmla="*/ 89039 w 347814"/>
              <a:gd name="connsiteY416" fmla="*/ 257670 h 799204"/>
              <a:gd name="connsiteX417" fmla="*/ 90907 w 347814"/>
              <a:gd name="connsiteY417" fmla="*/ 235477 h 799204"/>
              <a:gd name="connsiteX418" fmla="*/ 92145 w 347814"/>
              <a:gd name="connsiteY418" fmla="*/ 229219 h 799204"/>
              <a:gd name="connsiteX419" fmla="*/ 93183 w 347814"/>
              <a:gd name="connsiteY419" fmla="*/ 225933 h 799204"/>
              <a:gd name="connsiteX420" fmla="*/ 93193 w 347814"/>
              <a:gd name="connsiteY420" fmla="*/ 222561 h 799204"/>
              <a:gd name="connsiteX421" fmla="*/ 92516 w 347814"/>
              <a:gd name="connsiteY421" fmla="*/ 216856 h 799204"/>
              <a:gd name="connsiteX422" fmla="*/ 90735 w 347814"/>
              <a:gd name="connsiteY422" fmla="*/ 203902 h 799204"/>
              <a:gd name="connsiteX423" fmla="*/ 100755 w 347814"/>
              <a:gd name="connsiteY423" fmla="*/ 202292 h 799204"/>
              <a:gd name="connsiteX424" fmla="*/ 104013 w 347814"/>
              <a:gd name="connsiteY424" fmla="*/ 201378 h 799204"/>
              <a:gd name="connsiteX425" fmla="*/ 107042 w 347814"/>
              <a:gd name="connsiteY425" fmla="*/ 199825 h 799204"/>
              <a:gd name="connsiteX426" fmla="*/ 112966 w 347814"/>
              <a:gd name="connsiteY426" fmla="*/ 195786 h 799204"/>
              <a:gd name="connsiteX427" fmla="*/ 115871 w 347814"/>
              <a:gd name="connsiteY427" fmla="*/ 192205 h 799204"/>
              <a:gd name="connsiteX428" fmla="*/ 114252 w 347814"/>
              <a:gd name="connsiteY428" fmla="*/ 179937 h 799204"/>
              <a:gd name="connsiteX429" fmla="*/ 117834 w 347814"/>
              <a:gd name="connsiteY429" fmla="*/ 175765 h 799204"/>
              <a:gd name="connsiteX430" fmla="*/ 126578 w 347814"/>
              <a:gd name="connsiteY430" fmla="*/ 161153 h 799204"/>
              <a:gd name="connsiteX431" fmla="*/ 136027 w 347814"/>
              <a:gd name="connsiteY431" fmla="*/ 147047 h 799204"/>
              <a:gd name="connsiteX432" fmla="*/ 140455 w 347814"/>
              <a:gd name="connsiteY432" fmla="*/ 141675 h 799204"/>
              <a:gd name="connsiteX433" fmla="*/ 140913 w 347814"/>
              <a:gd name="connsiteY433" fmla="*/ 139046 h 799204"/>
              <a:gd name="connsiteX434" fmla="*/ 141275 w 347814"/>
              <a:gd name="connsiteY434" fmla="*/ 134807 h 799204"/>
              <a:gd name="connsiteX435" fmla="*/ 139303 w 347814"/>
              <a:gd name="connsiteY435" fmla="*/ 128121 h 799204"/>
              <a:gd name="connsiteX436" fmla="*/ 137189 w 347814"/>
              <a:gd name="connsiteY436" fmla="*/ 123968 h 799204"/>
              <a:gd name="connsiteX437" fmla="*/ 133064 w 347814"/>
              <a:gd name="connsiteY437" fmla="*/ 116072 h 799204"/>
              <a:gd name="connsiteX438" fmla="*/ 134836 w 347814"/>
              <a:gd name="connsiteY438" fmla="*/ 110538 h 799204"/>
              <a:gd name="connsiteX439" fmla="*/ 137874 w 347814"/>
              <a:gd name="connsiteY439" fmla="*/ 109461 h 799204"/>
              <a:gd name="connsiteX440" fmla="*/ 141884 w 347814"/>
              <a:gd name="connsiteY440" fmla="*/ 107280 h 799204"/>
              <a:gd name="connsiteX441" fmla="*/ 145018 w 347814"/>
              <a:gd name="connsiteY441" fmla="*/ 102527 h 799204"/>
              <a:gd name="connsiteX442" fmla="*/ 145323 w 347814"/>
              <a:gd name="connsiteY442" fmla="*/ 101917 h 799204"/>
              <a:gd name="connsiteX443" fmla="*/ 150619 w 347814"/>
              <a:gd name="connsiteY443" fmla="*/ 83096 h 799204"/>
              <a:gd name="connsiteX444" fmla="*/ 160954 w 347814"/>
              <a:gd name="connsiteY444" fmla="*/ 73476 h 799204"/>
              <a:gd name="connsiteX445" fmla="*/ 165078 w 347814"/>
              <a:gd name="connsiteY445" fmla="*/ 68208 h 799204"/>
              <a:gd name="connsiteX446" fmla="*/ 171498 w 347814"/>
              <a:gd name="connsiteY446" fmla="*/ 72171 h 799204"/>
              <a:gd name="connsiteX447" fmla="*/ 180908 w 347814"/>
              <a:gd name="connsiteY447" fmla="*/ 78134 h 799204"/>
              <a:gd name="connsiteX448" fmla="*/ 185090 w 347814"/>
              <a:gd name="connsiteY448" fmla="*/ 69361 h 799204"/>
              <a:gd name="connsiteX449" fmla="*/ 186471 w 347814"/>
              <a:gd name="connsiteY449" fmla="*/ 66094 h 799204"/>
              <a:gd name="connsiteX450" fmla="*/ 187852 w 347814"/>
              <a:gd name="connsiteY450" fmla="*/ 61274 h 799204"/>
              <a:gd name="connsiteX451" fmla="*/ 187300 w 347814"/>
              <a:gd name="connsiteY451" fmla="*/ 52892 h 799204"/>
              <a:gd name="connsiteX452" fmla="*/ 187061 w 347814"/>
              <a:gd name="connsiteY452" fmla="*/ 41948 h 799204"/>
              <a:gd name="connsiteX453" fmla="*/ 187480 w 347814"/>
              <a:gd name="connsiteY453" fmla="*/ 37529 h 799204"/>
              <a:gd name="connsiteX454" fmla="*/ 191233 w 347814"/>
              <a:gd name="connsiteY454" fmla="*/ 35557 h 799204"/>
              <a:gd name="connsiteX455" fmla="*/ 193253 w 347814"/>
              <a:gd name="connsiteY455" fmla="*/ 35052 h 799204"/>
              <a:gd name="connsiteX456" fmla="*/ 203711 w 347814"/>
              <a:gd name="connsiteY456" fmla="*/ 39605 h 799204"/>
              <a:gd name="connsiteX457" fmla="*/ 206340 w 347814"/>
              <a:gd name="connsiteY457" fmla="*/ 39529 h 799204"/>
              <a:gd name="connsiteX458" fmla="*/ 211274 w 347814"/>
              <a:gd name="connsiteY458" fmla="*/ 40138 h 799204"/>
              <a:gd name="connsiteX459" fmla="*/ 216789 w 347814"/>
              <a:gd name="connsiteY459" fmla="*/ 42129 h 799204"/>
              <a:gd name="connsiteX460" fmla="*/ 228342 w 347814"/>
              <a:gd name="connsiteY460" fmla="*/ 47425 h 799204"/>
              <a:gd name="connsiteX461" fmla="*/ 233115 w 347814"/>
              <a:gd name="connsiteY461" fmla="*/ 49606 h 799204"/>
              <a:gd name="connsiteX462" fmla="*/ 235782 w 347814"/>
              <a:gd name="connsiteY462" fmla="*/ 50025 h 799204"/>
              <a:gd name="connsiteX463" fmla="*/ 238087 w 347814"/>
              <a:gd name="connsiteY463" fmla="*/ 47568 h 799204"/>
              <a:gd name="connsiteX464" fmla="*/ 243011 w 347814"/>
              <a:gd name="connsiteY464" fmla="*/ 41234 h 799204"/>
              <a:gd name="connsiteX465" fmla="*/ 235763 w 347814"/>
              <a:gd name="connsiteY465" fmla="*/ 36528 h 799204"/>
              <a:gd name="connsiteX466" fmla="*/ 240535 w 347814"/>
              <a:gd name="connsiteY466" fmla="*/ 31756 h 799204"/>
              <a:gd name="connsiteX467" fmla="*/ 243011 w 347814"/>
              <a:gd name="connsiteY467" fmla="*/ 26927 h 799204"/>
              <a:gd name="connsiteX468" fmla="*/ 245135 w 347814"/>
              <a:gd name="connsiteY468" fmla="*/ 20974 h 799204"/>
              <a:gd name="connsiteX469" fmla="*/ 245907 w 347814"/>
              <a:gd name="connsiteY469" fmla="*/ 13983 h 799204"/>
              <a:gd name="connsiteX470" fmla="*/ 245612 w 347814"/>
              <a:gd name="connsiteY470" fmla="*/ 10211 h 799204"/>
              <a:gd name="connsiteX471" fmla="*/ 244144 w 347814"/>
              <a:gd name="connsiteY471" fmla="*/ 7629 h 799204"/>
              <a:gd name="connsiteX472" fmla="*/ 239716 w 347814"/>
              <a:gd name="connsiteY472" fmla="*/ 1191 h 799204"/>
              <a:gd name="connsiteX473" fmla="*/ 249745 w 347814"/>
              <a:gd name="connsiteY473" fmla="*/ 267 h 799204"/>
              <a:gd name="connsiteX474" fmla="*/ 253222 w 347814"/>
              <a:gd name="connsiteY474" fmla="*/ 0 h 799204"/>
              <a:gd name="connsiteX475" fmla="*/ 260518 w 347814"/>
              <a:gd name="connsiteY475" fmla="*/ 4248 h 799204"/>
              <a:gd name="connsiteX476" fmla="*/ 260842 w 347814"/>
              <a:gd name="connsiteY476" fmla="*/ 5172 h 799204"/>
              <a:gd name="connsiteX477" fmla="*/ 260890 w 347814"/>
              <a:gd name="connsiteY477" fmla="*/ 7382 h 799204"/>
              <a:gd name="connsiteX478" fmla="*/ 261147 w 347814"/>
              <a:gd name="connsiteY478" fmla="*/ 9668 h 799204"/>
              <a:gd name="connsiteX479" fmla="*/ 268224 w 347814"/>
              <a:gd name="connsiteY479" fmla="*/ 15449 h 799204"/>
              <a:gd name="connsiteX480" fmla="*/ 270262 w 347814"/>
              <a:gd name="connsiteY480" fmla="*/ 18507 h 799204"/>
              <a:gd name="connsiteX481" fmla="*/ 274615 w 347814"/>
              <a:gd name="connsiteY481" fmla="*/ 23136 h 799204"/>
              <a:gd name="connsiteX482" fmla="*/ 275767 w 347814"/>
              <a:gd name="connsiteY482" fmla="*/ 25632 h 799204"/>
              <a:gd name="connsiteX483" fmla="*/ 279797 w 347814"/>
              <a:gd name="connsiteY483" fmla="*/ 28546 h 799204"/>
              <a:gd name="connsiteX484" fmla="*/ 282683 w 347814"/>
              <a:gd name="connsiteY484" fmla="*/ 31661 h 799204"/>
              <a:gd name="connsiteX485" fmla="*/ 286055 w 347814"/>
              <a:gd name="connsiteY485" fmla="*/ 34176 h 799204"/>
              <a:gd name="connsiteX486" fmla="*/ 289989 w 347814"/>
              <a:gd name="connsiteY486" fmla="*/ 38081 h 799204"/>
              <a:gd name="connsiteX487" fmla="*/ 295275 w 347814"/>
              <a:gd name="connsiteY487" fmla="*/ 41186 h 799204"/>
              <a:gd name="connsiteX488" fmla="*/ 299732 w 347814"/>
              <a:gd name="connsiteY488" fmla="*/ 42196 h 799204"/>
              <a:gd name="connsiteX489" fmla="*/ 310972 w 347814"/>
              <a:gd name="connsiteY489" fmla="*/ 47501 h 799204"/>
              <a:gd name="connsiteX490" fmla="*/ 312887 w 347814"/>
              <a:gd name="connsiteY490" fmla="*/ 49216 h 799204"/>
              <a:gd name="connsiteX491" fmla="*/ 316125 w 347814"/>
              <a:gd name="connsiteY491" fmla="*/ 52902 h 799204"/>
              <a:gd name="connsiteX492" fmla="*/ 319401 w 347814"/>
              <a:gd name="connsiteY492" fmla="*/ 57150 h 799204"/>
              <a:gd name="connsiteX493" fmla="*/ 321669 w 347814"/>
              <a:gd name="connsiteY493" fmla="*/ 65856 h 799204"/>
              <a:gd name="connsiteX494" fmla="*/ 325298 w 347814"/>
              <a:gd name="connsiteY494" fmla="*/ 66304 h 799204"/>
              <a:gd name="connsiteX495" fmla="*/ 326288 w 347814"/>
              <a:gd name="connsiteY495" fmla="*/ 69285 h 799204"/>
              <a:gd name="connsiteX496" fmla="*/ 329460 w 347814"/>
              <a:gd name="connsiteY496" fmla="*/ 74381 h 799204"/>
              <a:gd name="connsiteX497" fmla="*/ 333860 w 347814"/>
              <a:gd name="connsiteY497" fmla="*/ 78867 h 799204"/>
              <a:gd name="connsiteX498" fmla="*/ 333699 w 347814"/>
              <a:gd name="connsiteY498" fmla="*/ 80372 h 799204"/>
              <a:gd name="connsiteX499" fmla="*/ 330194 w 347814"/>
              <a:gd name="connsiteY499" fmla="*/ 84487 h 799204"/>
              <a:gd name="connsiteX500" fmla="*/ 329812 w 347814"/>
              <a:gd name="connsiteY500" fmla="*/ 90049 h 799204"/>
              <a:gd name="connsiteX501" fmla="*/ 330146 w 347814"/>
              <a:gd name="connsiteY501" fmla="*/ 97126 h 799204"/>
              <a:gd name="connsiteX502" fmla="*/ 331251 w 347814"/>
              <a:gd name="connsiteY502" fmla="*/ 102879 h 799204"/>
              <a:gd name="connsiteX503" fmla="*/ 331137 w 347814"/>
              <a:gd name="connsiteY503" fmla="*/ 104556 h 799204"/>
              <a:gd name="connsiteX504" fmla="*/ 330270 w 347814"/>
              <a:gd name="connsiteY504" fmla="*/ 106537 h 799204"/>
              <a:gd name="connsiteX505" fmla="*/ 329232 w 347814"/>
              <a:gd name="connsiteY505" fmla="*/ 109633 h 799204"/>
              <a:gd name="connsiteX506" fmla="*/ 328850 w 347814"/>
              <a:gd name="connsiteY506" fmla="*/ 112328 h 799204"/>
              <a:gd name="connsiteX507" fmla="*/ 328946 w 347814"/>
              <a:gd name="connsiteY507" fmla="*/ 113643 h 799204"/>
              <a:gd name="connsiteX508" fmla="*/ 329298 w 347814"/>
              <a:gd name="connsiteY508" fmla="*/ 114367 h 799204"/>
              <a:gd name="connsiteX509" fmla="*/ 331146 w 347814"/>
              <a:gd name="connsiteY509" fmla="*/ 114424 h 799204"/>
              <a:gd name="connsiteX510" fmla="*/ 334451 w 347814"/>
              <a:gd name="connsiteY510" fmla="*/ 115062 h 799204"/>
              <a:gd name="connsiteX511" fmla="*/ 336395 w 347814"/>
              <a:gd name="connsiteY511" fmla="*/ 116253 h 799204"/>
              <a:gd name="connsiteX512" fmla="*/ 337499 w 347814"/>
              <a:gd name="connsiteY512" fmla="*/ 122796 h 799204"/>
              <a:gd name="connsiteX513" fmla="*/ 337128 w 347814"/>
              <a:gd name="connsiteY513" fmla="*/ 124054 h 799204"/>
              <a:gd name="connsiteX514" fmla="*/ 334346 w 347814"/>
              <a:gd name="connsiteY514" fmla="*/ 127006 h 799204"/>
              <a:gd name="connsiteX515" fmla="*/ 333527 w 347814"/>
              <a:gd name="connsiteY515" fmla="*/ 129350 h 799204"/>
              <a:gd name="connsiteX516" fmla="*/ 333451 w 347814"/>
              <a:gd name="connsiteY516" fmla="*/ 132779 h 799204"/>
              <a:gd name="connsiteX517" fmla="*/ 333946 w 347814"/>
              <a:gd name="connsiteY517" fmla="*/ 136550 h 799204"/>
              <a:gd name="connsiteX518" fmla="*/ 334909 w 347814"/>
              <a:gd name="connsiteY518" fmla="*/ 140751 h 799204"/>
              <a:gd name="connsiteX519" fmla="*/ 337090 w 347814"/>
              <a:gd name="connsiteY519" fmla="*/ 145237 h 799204"/>
              <a:gd name="connsiteX520" fmla="*/ 340043 w 347814"/>
              <a:gd name="connsiteY520" fmla="*/ 149914 h 799204"/>
              <a:gd name="connsiteX521" fmla="*/ 341986 w 347814"/>
              <a:gd name="connsiteY521" fmla="*/ 153743 h 799204"/>
              <a:gd name="connsiteX522" fmla="*/ 342900 w 347814"/>
              <a:gd name="connsiteY522" fmla="*/ 156429 h 799204"/>
              <a:gd name="connsiteX523" fmla="*/ 343233 w 347814"/>
              <a:gd name="connsiteY523" fmla="*/ 158315 h 799204"/>
              <a:gd name="connsiteX524" fmla="*/ 341909 w 347814"/>
              <a:gd name="connsiteY524" fmla="*/ 160677 h 799204"/>
              <a:gd name="connsiteX525" fmla="*/ 340719 w 347814"/>
              <a:gd name="connsiteY525" fmla="*/ 165335 h 799204"/>
              <a:gd name="connsiteX526" fmla="*/ 340500 w 347814"/>
              <a:gd name="connsiteY526" fmla="*/ 170650 h 799204"/>
              <a:gd name="connsiteX527" fmla="*/ 339957 w 347814"/>
              <a:gd name="connsiteY527" fmla="*/ 174107 h 799204"/>
              <a:gd name="connsiteX528" fmla="*/ 337366 w 347814"/>
              <a:gd name="connsiteY528" fmla="*/ 178860 h 799204"/>
              <a:gd name="connsiteX529" fmla="*/ 335566 w 347814"/>
              <a:gd name="connsiteY529" fmla="*/ 180537 h 799204"/>
              <a:gd name="connsiteX530" fmla="*/ 335051 w 347814"/>
              <a:gd name="connsiteY530" fmla="*/ 183032 h 799204"/>
              <a:gd name="connsiteX531" fmla="*/ 334832 w 347814"/>
              <a:gd name="connsiteY531" fmla="*/ 187214 h 799204"/>
              <a:gd name="connsiteX532" fmla="*/ 335366 w 347814"/>
              <a:gd name="connsiteY532" fmla="*/ 192300 h 799204"/>
              <a:gd name="connsiteX533" fmla="*/ 335546 w 347814"/>
              <a:gd name="connsiteY533" fmla="*/ 195729 h 799204"/>
              <a:gd name="connsiteX534" fmla="*/ 336099 w 347814"/>
              <a:gd name="connsiteY534" fmla="*/ 198196 h 799204"/>
              <a:gd name="connsiteX535" fmla="*/ 336918 w 347814"/>
              <a:gd name="connsiteY535" fmla="*/ 199806 h 799204"/>
              <a:gd name="connsiteX536" fmla="*/ 341080 w 347814"/>
              <a:gd name="connsiteY536" fmla="*/ 202635 h 799204"/>
              <a:gd name="connsiteX537" fmla="*/ 343415 w 347814"/>
              <a:gd name="connsiteY537" fmla="*/ 208426 h 799204"/>
              <a:gd name="connsiteX538" fmla="*/ 344871 w 347814"/>
              <a:gd name="connsiteY538" fmla="*/ 213065 h 799204"/>
              <a:gd name="connsiteX539" fmla="*/ 347815 w 347814"/>
              <a:gd name="connsiteY539" fmla="*/ 225095 h 799204"/>
              <a:gd name="connsiteX540" fmla="*/ 199177 w 347814"/>
              <a:gd name="connsiteY540" fmla="*/ 594627 h 799204"/>
              <a:gd name="connsiteX541" fmla="*/ 198511 w 347814"/>
              <a:gd name="connsiteY541" fmla="*/ 596370 h 799204"/>
              <a:gd name="connsiteX542" fmla="*/ 197834 w 347814"/>
              <a:gd name="connsiteY542" fmla="*/ 594236 h 799204"/>
              <a:gd name="connsiteX543" fmla="*/ 198101 w 347814"/>
              <a:gd name="connsiteY543" fmla="*/ 593817 h 799204"/>
              <a:gd name="connsiteX544" fmla="*/ 198558 w 347814"/>
              <a:gd name="connsiteY544" fmla="*/ 591712 h 799204"/>
              <a:gd name="connsiteX545" fmla="*/ 199854 w 347814"/>
              <a:gd name="connsiteY545" fmla="*/ 590559 h 799204"/>
              <a:gd name="connsiteX546" fmla="*/ 201920 w 347814"/>
              <a:gd name="connsiteY546" fmla="*/ 591255 h 799204"/>
              <a:gd name="connsiteX547" fmla="*/ 201911 w 347814"/>
              <a:gd name="connsiteY547" fmla="*/ 591779 h 799204"/>
              <a:gd name="connsiteX548" fmla="*/ 199930 w 347814"/>
              <a:gd name="connsiteY548" fmla="*/ 593484 h 799204"/>
              <a:gd name="connsiteX549" fmla="*/ 199177 w 347814"/>
              <a:gd name="connsiteY549" fmla="*/ 594627 h 799204"/>
              <a:gd name="connsiteX550" fmla="*/ 194386 w 347814"/>
              <a:gd name="connsiteY550" fmla="*/ 617658 h 799204"/>
              <a:gd name="connsiteX551" fmla="*/ 193195 w 347814"/>
              <a:gd name="connsiteY551" fmla="*/ 618154 h 799204"/>
              <a:gd name="connsiteX552" fmla="*/ 192605 w 347814"/>
              <a:gd name="connsiteY552" fmla="*/ 618001 h 799204"/>
              <a:gd name="connsiteX553" fmla="*/ 193338 w 347814"/>
              <a:gd name="connsiteY553" fmla="*/ 615591 h 799204"/>
              <a:gd name="connsiteX554" fmla="*/ 193881 w 347814"/>
              <a:gd name="connsiteY554" fmla="*/ 614553 h 799204"/>
              <a:gd name="connsiteX555" fmla="*/ 195682 w 347814"/>
              <a:gd name="connsiteY555" fmla="*/ 613581 h 799204"/>
              <a:gd name="connsiteX556" fmla="*/ 196234 w 347814"/>
              <a:gd name="connsiteY556" fmla="*/ 613753 h 799204"/>
              <a:gd name="connsiteX557" fmla="*/ 194386 w 347814"/>
              <a:gd name="connsiteY557" fmla="*/ 617658 h 799204"/>
              <a:gd name="connsiteX558" fmla="*/ 214179 w 347814"/>
              <a:gd name="connsiteY558" fmla="*/ 674122 h 799204"/>
              <a:gd name="connsiteX559" fmla="*/ 213693 w 347814"/>
              <a:gd name="connsiteY559" fmla="*/ 677256 h 799204"/>
              <a:gd name="connsiteX560" fmla="*/ 212303 w 347814"/>
              <a:gd name="connsiteY560" fmla="*/ 677018 h 799204"/>
              <a:gd name="connsiteX561" fmla="*/ 211036 w 347814"/>
              <a:gd name="connsiteY561" fmla="*/ 674703 h 799204"/>
              <a:gd name="connsiteX562" fmla="*/ 213598 w 347814"/>
              <a:gd name="connsiteY562" fmla="*/ 671170 h 799204"/>
              <a:gd name="connsiteX563" fmla="*/ 217513 w 347814"/>
              <a:gd name="connsiteY563" fmla="*/ 671360 h 799204"/>
              <a:gd name="connsiteX564" fmla="*/ 218856 w 347814"/>
              <a:gd name="connsiteY564" fmla="*/ 672103 h 799204"/>
              <a:gd name="connsiteX565" fmla="*/ 214179 w 347814"/>
              <a:gd name="connsiteY565" fmla="*/ 674122 h 799204"/>
              <a:gd name="connsiteX566" fmla="*/ 212036 w 347814"/>
              <a:gd name="connsiteY566" fmla="*/ 678475 h 799204"/>
              <a:gd name="connsiteX567" fmla="*/ 209826 w 347814"/>
              <a:gd name="connsiteY567" fmla="*/ 679666 h 799204"/>
              <a:gd name="connsiteX568" fmla="*/ 208531 w 347814"/>
              <a:gd name="connsiteY568" fmla="*/ 683200 h 799204"/>
              <a:gd name="connsiteX569" fmla="*/ 206740 w 347814"/>
              <a:gd name="connsiteY569" fmla="*/ 683800 h 799204"/>
              <a:gd name="connsiteX570" fmla="*/ 205025 w 347814"/>
              <a:gd name="connsiteY570" fmla="*/ 684971 h 799204"/>
              <a:gd name="connsiteX571" fmla="*/ 204416 w 347814"/>
              <a:gd name="connsiteY571" fmla="*/ 696078 h 799204"/>
              <a:gd name="connsiteX572" fmla="*/ 207550 w 347814"/>
              <a:gd name="connsiteY572" fmla="*/ 700278 h 799204"/>
              <a:gd name="connsiteX573" fmla="*/ 205826 w 347814"/>
              <a:gd name="connsiteY573" fmla="*/ 700869 h 799204"/>
              <a:gd name="connsiteX574" fmla="*/ 204254 w 347814"/>
              <a:gd name="connsiteY574" fmla="*/ 702126 h 799204"/>
              <a:gd name="connsiteX575" fmla="*/ 203130 w 347814"/>
              <a:gd name="connsiteY575" fmla="*/ 703983 h 799204"/>
              <a:gd name="connsiteX576" fmla="*/ 201978 w 347814"/>
              <a:gd name="connsiteY576" fmla="*/ 707974 h 799204"/>
              <a:gd name="connsiteX577" fmla="*/ 197663 w 347814"/>
              <a:gd name="connsiteY577" fmla="*/ 710232 h 799204"/>
              <a:gd name="connsiteX578" fmla="*/ 196034 w 347814"/>
              <a:gd name="connsiteY578" fmla="*/ 711898 h 799204"/>
              <a:gd name="connsiteX579" fmla="*/ 193624 w 347814"/>
              <a:gd name="connsiteY579" fmla="*/ 715604 h 799204"/>
              <a:gd name="connsiteX580" fmla="*/ 192367 w 347814"/>
              <a:gd name="connsiteY580" fmla="*/ 720966 h 799204"/>
              <a:gd name="connsiteX581" fmla="*/ 189929 w 347814"/>
              <a:gd name="connsiteY581" fmla="*/ 723252 h 799204"/>
              <a:gd name="connsiteX582" fmla="*/ 187185 w 347814"/>
              <a:gd name="connsiteY582" fmla="*/ 723795 h 799204"/>
              <a:gd name="connsiteX583" fmla="*/ 188786 w 347814"/>
              <a:gd name="connsiteY583" fmla="*/ 719414 h 799204"/>
              <a:gd name="connsiteX584" fmla="*/ 190891 w 347814"/>
              <a:gd name="connsiteY584" fmla="*/ 715832 h 799204"/>
              <a:gd name="connsiteX585" fmla="*/ 188871 w 347814"/>
              <a:gd name="connsiteY585" fmla="*/ 713365 h 799204"/>
              <a:gd name="connsiteX586" fmla="*/ 187652 w 347814"/>
              <a:gd name="connsiteY586" fmla="*/ 709508 h 799204"/>
              <a:gd name="connsiteX587" fmla="*/ 186071 w 347814"/>
              <a:gd name="connsiteY587" fmla="*/ 706536 h 799204"/>
              <a:gd name="connsiteX588" fmla="*/ 187328 w 347814"/>
              <a:gd name="connsiteY588" fmla="*/ 703212 h 799204"/>
              <a:gd name="connsiteX589" fmla="*/ 186709 w 347814"/>
              <a:gd name="connsiteY589" fmla="*/ 697763 h 799204"/>
              <a:gd name="connsiteX590" fmla="*/ 186909 w 347814"/>
              <a:gd name="connsiteY590" fmla="*/ 692420 h 799204"/>
              <a:gd name="connsiteX591" fmla="*/ 188738 w 347814"/>
              <a:gd name="connsiteY591" fmla="*/ 689724 h 799204"/>
              <a:gd name="connsiteX592" fmla="*/ 190833 w 347814"/>
              <a:gd name="connsiteY592" fmla="*/ 687524 h 799204"/>
              <a:gd name="connsiteX593" fmla="*/ 194091 w 347814"/>
              <a:gd name="connsiteY593" fmla="*/ 682447 h 799204"/>
              <a:gd name="connsiteX594" fmla="*/ 197625 w 347814"/>
              <a:gd name="connsiteY594" fmla="*/ 678752 h 799204"/>
              <a:gd name="connsiteX595" fmla="*/ 202559 w 347814"/>
              <a:gd name="connsiteY595" fmla="*/ 677094 h 799204"/>
              <a:gd name="connsiteX596" fmla="*/ 204788 w 347814"/>
              <a:gd name="connsiteY596" fmla="*/ 678628 h 799204"/>
              <a:gd name="connsiteX597" fmla="*/ 205750 w 347814"/>
              <a:gd name="connsiteY597" fmla="*/ 675265 h 799204"/>
              <a:gd name="connsiteX598" fmla="*/ 207340 w 347814"/>
              <a:gd name="connsiteY598" fmla="*/ 674494 h 799204"/>
              <a:gd name="connsiteX599" fmla="*/ 208836 w 347814"/>
              <a:gd name="connsiteY599" fmla="*/ 675275 h 799204"/>
              <a:gd name="connsiteX600" fmla="*/ 212036 w 347814"/>
              <a:gd name="connsiteY600" fmla="*/ 678475 h 799204"/>
              <a:gd name="connsiteX601" fmla="*/ 143932 w 347814"/>
              <a:gd name="connsiteY601" fmla="*/ 754323 h 799204"/>
              <a:gd name="connsiteX602" fmla="*/ 142551 w 347814"/>
              <a:gd name="connsiteY602" fmla="*/ 756742 h 799204"/>
              <a:gd name="connsiteX603" fmla="*/ 141332 w 347814"/>
              <a:gd name="connsiteY603" fmla="*/ 756571 h 799204"/>
              <a:gd name="connsiteX604" fmla="*/ 140522 w 347814"/>
              <a:gd name="connsiteY604" fmla="*/ 753342 h 799204"/>
              <a:gd name="connsiteX605" fmla="*/ 140332 w 347814"/>
              <a:gd name="connsiteY605" fmla="*/ 745017 h 799204"/>
              <a:gd name="connsiteX606" fmla="*/ 140818 w 347814"/>
              <a:gd name="connsiteY606" fmla="*/ 740883 h 799204"/>
              <a:gd name="connsiteX607" fmla="*/ 146647 w 347814"/>
              <a:gd name="connsiteY607" fmla="*/ 725910 h 799204"/>
              <a:gd name="connsiteX608" fmla="*/ 149247 w 347814"/>
              <a:gd name="connsiteY608" fmla="*/ 724681 h 799204"/>
              <a:gd name="connsiteX609" fmla="*/ 152905 w 347814"/>
              <a:gd name="connsiteY609" fmla="*/ 715442 h 799204"/>
              <a:gd name="connsiteX610" fmla="*/ 153895 w 347814"/>
              <a:gd name="connsiteY610" fmla="*/ 711308 h 799204"/>
              <a:gd name="connsiteX611" fmla="*/ 155486 w 347814"/>
              <a:gd name="connsiteY611" fmla="*/ 707584 h 799204"/>
              <a:gd name="connsiteX612" fmla="*/ 156420 w 347814"/>
              <a:gd name="connsiteY612" fmla="*/ 704240 h 799204"/>
              <a:gd name="connsiteX613" fmla="*/ 157210 w 347814"/>
              <a:gd name="connsiteY613" fmla="*/ 702888 h 799204"/>
              <a:gd name="connsiteX614" fmla="*/ 158915 w 347814"/>
              <a:gd name="connsiteY614" fmla="*/ 703516 h 799204"/>
              <a:gd name="connsiteX615" fmla="*/ 159677 w 347814"/>
              <a:gd name="connsiteY615" fmla="*/ 704136 h 799204"/>
              <a:gd name="connsiteX616" fmla="*/ 157877 w 347814"/>
              <a:gd name="connsiteY616" fmla="*/ 706079 h 799204"/>
              <a:gd name="connsiteX617" fmla="*/ 158086 w 347814"/>
              <a:gd name="connsiteY617" fmla="*/ 708603 h 799204"/>
              <a:gd name="connsiteX618" fmla="*/ 157962 w 347814"/>
              <a:gd name="connsiteY618" fmla="*/ 709641 h 799204"/>
              <a:gd name="connsiteX619" fmla="*/ 153419 w 347814"/>
              <a:gd name="connsiteY619" fmla="*/ 720585 h 799204"/>
              <a:gd name="connsiteX620" fmla="*/ 152209 w 347814"/>
              <a:gd name="connsiteY620" fmla="*/ 727653 h 799204"/>
              <a:gd name="connsiteX621" fmla="*/ 150600 w 347814"/>
              <a:gd name="connsiteY621" fmla="*/ 729377 h 799204"/>
              <a:gd name="connsiteX622" fmla="*/ 143932 w 347814"/>
              <a:gd name="connsiteY622" fmla="*/ 754323 h 799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</a:cxnLst>
            <a:rect l="l" t="t" r="r" b="b"/>
            <a:pathLst>
              <a:path w="347814" h="799204">
                <a:moveTo>
                  <a:pt x="347815" y="225095"/>
                </a:moveTo>
                <a:lnTo>
                  <a:pt x="340728" y="226600"/>
                </a:lnTo>
                <a:lnTo>
                  <a:pt x="335404" y="223580"/>
                </a:lnTo>
                <a:lnTo>
                  <a:pt x="332746" y="225095"/>
                </a:lnTo>
                <a:lnTo>
                  <a:pt x="328107" y="225161"/>
                </a:lnTo>
                <a:lnTo>
                  <a:pt x="322831" y="226352"/>
                </a:lnTo>
                <a:lnTo>
                  <a:pt x="321050" y="228705"/>
                </a:lnTo>
                <a:lnTo>
                  <a:pt x="319649" y="229648"/>
                </a:lnTo>
                <a:lnTo>
                  <a:pt x="314763" y="226324"/>
                </a:lnTo>
                <a:lnTo>
                  <a:pt x="310143" y="220808"/>
                </a:lnTo>
                <a:lnTo>
                  <a:pt x="306771" y="225009"/>
                </a:lnTo>
                <a:lnTo>
                  <a:pt x="304590" y="225800"/>
                </a:lnTo>
                <a:lnTo>
                  <a:pt x="302619" y="221999"/>
                </a:lnTo>
                <a:lnTo>
                  <a:pt x="300904" y="221380"/>
                </a:lnTo>
                <a:lnTo>
                  <a:pt x="299980" y="222647"/>
                </a:lnTo>
                <a:lnTo>
                  <a:pt x="299171" y="226009"/>
                </a:lnTo>
                <a:lnTo>
                  <a:pt x="297875" y="228648"/>
                </a:lnTo>
                <a:lnTo>
                  <a:pt x="297532" y="230314"/>
                </a:lnTo>
                <a:lnTo>
                  <a:pt x="297313" y="237020"/>
                </a:lnTo>
                <a:lnTo>
                  <a:pt x="296980" y="238573"/>
                </a:lnTo>
                <a:lnTo>
                  <a:pt x="292494" y="237706"/>
                </a:lnTo>
                <a:lnTo>
                  <a:pt x="292760" y="239468"/>
                </a:lnTo>
                <a:lnTo>
                  <a:pt x="293741" y="240354"/>
                </a:lnTo>
                <a:lnTo>
                  <a:pt x="294141" y="241468"/>
                </a:lnTo>
                <a:lnTo>
                  <a:pt x="292512" y="242926"/>
                </a:lnTo>
                <a:lnTo>
                  <a:pt x="288064" y="242783"/>
                </a:lnTo>
                <a:lnTo>
                  <a:pt x="287607" y="244335"/>
                </a:lnTo>
                <a:lnTo>
                  <a:pt x="288855" y="246774"/>
                </a:lnTo>
                <a:lnTo>
                  <a:pt x="287874" y="248917"/>
                </a:lnTo>
                <a:lnTo>
                  <a:pt x="286969" y="249755"/>
                </a:lnTo>
                <a:lnTo>
                  <a:pt x="281644" y="251079"/>
                </a:lnTo>
                <a:lnTo>
                  <a:pt x="278568" y="250774"/>
                </a:lnTo>
                <a:lnTo>
                  <a:pt x="277682" y="252155"/>
                </a:lnTo>
                <a:lnTo>
                  <a:pt x="277444" y="253946"/>
                </a:lnTo>
                <a:lnTo>
                  <a:pt x="278025" y="255708"/>
                </a:lnTo>
                <a:lnTo>
                  <a:pt x="279387" y="256642"/>
                </a:lnTo>
                <a:lnTo>
                  <a:pt x="279835" y="257756"/>
                </a:lnTo>
                <a:lnTo>
                  <a:pt x="279739" y="260166"/>
                </a:lnTo>
                <a:lnTo>
                  <a:pt x="278606" y="260604"/>
                </a:lnTo>
                <a:lnTo>
                  <a:pt x="275406" y="256365"/>
                </a:lnTo>
                <a:lnTo>
                  <a:pt x="274425" y="256584"/>
                </a:lnTo>
                <a:lnTo>
                  <a:pt x="275158" y="258785"/>
                </a:lnTo>
                <a:lnTo>
                  <a:pt x="276987" y="261185"/>
                </a:lnTo>
                <a:lnTo>
                  <a:pt x="278044" y="263633"/>
                </a:lnTo>
                <a:lnTo>
                  <a:pt x="278968" y="266567"/>
                </a:lnTo>
                <a:lnTo>
                  <a:pt x="278787" y="268796"/>
                </a:lnTo>
                <a:lnTo>
                  <a:pt x="274806" y="275958"/>
                </a:lnTo>
                <a:lnTo>
                  <a:pt x="271300" y="280464"/>
                </a:lnTo>
                <a:lnTo>
                  <a:pt x="268691" y="284512"/>
                </a:lnTo>
                <a:lnTo>
                  <a:pt x="267148" y="288798"/>
                </a:lnTo>
                <a:lnTo>
                  <a:pt x="268938" y="290951"/>
                </a:lnTo>
                <a:lnTo>
                  <a:pt x="270920" y="294056"/>
                </a:lnTo>
                <a:lnTo>
                  <a:pt x="272319" y="300009"/>
                </a:lnTo>
                <a:lnTo>
                  <a:pt x="273987" y="305305"/>
                </a:lnTo>
                <a:lnTo>
                  <a:pt x="277349" y="310344"/>
                </a:lnTo>
                <a:lnTo>
                  <a:pt x="276673" y="313249"/>
                </a:lnTo>
                <a:lnTo>
                  <a:pt x="275891" y="315506"/>
                </a:lnTo>
                <a:lnTo>
                  <a:pt x="270300" y="320469"/>
                </a:lnTo>
                <a:lnTo>
                  <a:pt x="263957" y="327917"/>
                </a:lnTo>
                <a:lnTo>
                  <a:pt x="257117" y="346815"/>
                </a:lnTo>
                <a:lnTo>
                  <a:pt x="254841" y="349339"/>
                </a:lnTo>
                <a:lnTo>
                  <a:pt x="248860" y="352511"/>
                </a:lnTo>
                <a:lnTo>
                  <a:pt x="246659" y="355578"/>
                </a:lnTo>
                <a:lnTo>
                  <a:pt x="242202" y="359216"/>
                </a:lnTo>
                <a:lnTo>
                  <a:pt x="234419" y="362341"/>
                </a:lnTo>
                <a:lnTo>
                  <a:pt x="230895" y="366684"/>
                </a:lnTo>
                <a:lnTo>
                  <a:pt x="229305" y="371161"/>
                </a:lnTo>
                <a:lnTo>
                  <a:pt x="227533" y="371484"/>
                </a:lnTo>
                <a:lnTo>
                  <a:pt x="225771" y="369732"/>
                </a:lnTo>
                <a:lnTo>
                  <a:pt x="223428" y="368427"/>
                </a:lnTo>
                <a:lnTo>
                  <a:pt x="223123" y="371351"/>
                </a:lnTo>
                <a:lnTo>
                  <a:pt x="223228" y="373494"/>
                </a:lnTo>
                <a:lnTo>
                  <a:pt x="219475" y="370322"/>
                </a:lnTo>
                <a:lnTo>
                  <a:pt x="217703" y="373237"/>
                </a:lnTo>
                <a:lnTo>
                  <a:pt x="216322" y="378085"/>
                </a:lnTo>
                <a:lnTo>
                  <a:pt x="210921" y="384600"/>
                </a:lnTo>
                <a:lnTo>
                  <a:pt x="205101" y="383429"/>
                </a:lnTo>
                <a:lnTo>
                  <a:pt x="204454" y="384572"/>
                </a:lnTo>
                <a:lnTo>
                  <a:pt x="205997" y="385400"/>
                </a:lnTo>
                <a:lnTo>
                  <a:pt x="206235" y="386439"/>
                </a:lnTo>
                <a:lnTo>
                  <a:pt x="205178" y="386991"/>
                </a:lnTo>
                <a:lnTo>
                  <a:pt x="203578" y="386934"/>
                </a:lnTo>
                <a:lnTo>
                  <a:pt x="201111" y="388220"/>
                </a:lnTo>
                <a:lnTo>
                  <a:pt x="199491" y="388125"/>
                </a:lnTo>
                <a:lnTo>
                  <a:pt x="198720" y="391192"/>
                </a:lnTo>
                <a:lnTo>
                  <a:pt x="197462" y="394897"/>
                </a:lnTo>
                <a:lnTo>
                  <a:pt x="194177" y="396430"/>
                </a:lnTo>
                <a:lnTo>
                  <a:pt x="192481" y="396745"/>
                </a:lnTo>
                <a:lnTo>
                  <a:pt x="191643" y="398850"/>
                </a:lnTo>
                <a:lnTo>
                  <a:pt x="196701" y="399288"/>
                </a:lnTo>
                <a:lnTo>
                  <a:pt x="196301" y="401069"/>
                </a:lnTo>
                <a:lnTo>
                  <a:pt x="196186" y="402850"/>
                </a:lnTo>
                <a:lnTo>
                  <a:pt x="195662" y="404755"/>
                </a:lnTo>
                <a:lnTo>
                  <a:pt x="189909" y="407499"/>
                </a:lnTo>
                <a:lnTo>
                  <a:pt x="189023" y="409651"/>
                </a:lnTo>
                <a:lnTo>
                  <a:pt x="187823" y="410985"/>
                </a:lnTo>
                <a:lnTo>
                  <a:pt x="185261" y="410909"/>
                </a:lnTo>
                <a:lnTo>
                  <a:pt x="185356" y="409670"/>
                </a:lnTo>
                <a:lnTo>
                  <a:pt x="185775" y="408270"/>
                </a:lnTo>
                <a:lnTo>
                  <a:pt x="181966" y="408394"/>
                </a:lnTo>
                <a:lnTo>
                  <a:pt x="180775" y="405298"/>
                </a:lnTo>
                <a:lnTo>
                  <a:pt x="180051" y="406089"/>
                </a:lnTo>
                <a:lnTo>
                  <a:pt x="180480" y="408584"/>
                </a:lnTo>
                <a:lnTo>
                  <a:pt x="181470" y="411175"/>
                </a:lnTo>
                <a:lnTo>
                  <a:pt x="182585" y="414976"/>
                </a:lnTo>
                <a:lnTo>
                  <a:pt x="181680" y="417366"/>
                </a:lnTo>
                <a:lnTo>
                  <a:pt x="180680" y="418557"/>
                </a:lnTo>
                <a:lnTo>
                  <a:pt x="181413" y="419652"/>
                </a:lnTo>
                <a:lnTo>
                  <a:pt x="183442" y="420491"/>
                </a:lnTo>
                <a:lnTo>
                  <a:pt x="184261" y="421986"/>
                </a:lnTo>
                <a:lnTo>
                  <a:pt x="181851" y="423262"/>
                </a:lnTo>
                <a:lnTo>
                  <a:pt x="178841" y="427644"/>
                </a:lnTo>
                <a:lnTo>
                  <a:pt x="175717" y="427749"/>
                </a:lnTo>
                <a:lnTo>
                  <a:pt x="173812" y="430644"/>
                </a:lnTo>
                <a:lnTo>
                  <a:pt x="171783" y="430635"/>
                </a:lnTo>
                <a:lnTo>
                  <a:pt x="170136" y="428815"/>
                </a:lnTo>
                <a:lnTo>
                  <a:pt x="167497" y="427320"/>
                </a:lnTo>
                <a:lnTo>
                  <a:pt x="166649" y="429949"/>
                </a:lnTo>
                <a:lnTo>
                  <a:pt x="166516" y="432044"/>
                </a:lnTo>
                <a:lnTo>
                  <a:pt x="168002" y="437331"/>
                </a:lnTo>
                <a:lnTo>
                  <a:pt x="170840" y="441408"/>
                </a:lnTo>
                <a:lnTo>
                  <a:pt x="173469" y="443170"/>
                </a:lnTo>
                <a:lnTo>
                  <a:pt x="171574" y="444360"/>
                </a:lnTo>
                <a:lnTo>
                  <a:pt x="170164" y="446989"/>
                </a:lnTo>
                <a:lnTo>
                  <a:pt x="168459" y="455181"/>
                </a:lnTo>
                <a:lnTo>
                  <a:pt x="167535" y="458400"/>
                </a:lnTo>
                <a:lnTo>
                  <a:pt x="166535" y="464058"/>
                </a:lnTo>
                <a:lnTo>
                  <a:pt x="167164" y="468821"/>
                </a:lnTo>
                <a:lnTo>
                  <a:pt x="167678" y="471154"/>
                </a:lnTo>
                <a:lnTo>
                  <a:pt x="168964" y="474326"/>
                </a:lnTo>
                <a:lnTo>
                  <a:pt x="165468" y="473916"/>
                </a:lnTo>
                <a:lnTo>
                  <a:pt x="161773" y="472068"/>
                </a:lnTo>
                <a:lnTo>
                  <a:pt x="162287" y="475907"/>
                </a:lnTo>
                <a:lnTo>
                  <a:pt x="160020" y="480441"/>
                </a:lnTo>
                <a:lnTo>
                  <a:pt x="160439" y="484422"/>
                </a:lnTo>
                <a:lnTo>
                  <a:pt x="160915" y="487004"/>
                </a:lnTo>
                <a:lnTo>
                  <a:pt x="160211" y="491280"/>
                </a:lnTo>
                <a:lnTo>
                  <a:pt x="161277" y="492623"/>
                </a:lnTo>
                <a:lnTo>
                  <a:pt x="161858" y="495167"/>
                </a:lnTo>
                <a:lnTo>
                  <a:pt x="160896" y="497043"/>
                </a:lnTo>
                <a:lnTo>
                  <a:pt x="161315" y="498653"/>
                </a:lnTo>
                <a:lnTo>
                  <a:pt x="161477" y="504339"/>
                </a:lnTo>
                <a:lnTo>
                  <a:pt x="162201" y="513207"/>
                </a:lnTo>
                <a:lnTo>
                  <a:pt x="161934" y="515074"/>
                </a:lnTo>
                <a:lnTo>
                  <a:pt x="163963" y="522732"/>
                </a:lnTo>
                <a:lnTo>
                  <a:pt x="163496" y="525409"/>
                </a:lnTo>
                <a:lnTo>
                  <a:pt x="163220" y="528809"/>
                </a:lnTo>
                <a:lnTo>
                  <a:pt x="166135" y="532076"/>
                </a:lnTo>
                <a:lnTo>
                  <a:pt x="168726" y="532028"/>
                </a:lnTo>
                <a:lnTo>
                  <a:pt x="171355" y="531981"/>
                </a:lnTo>
                <a:lnTo>
                  <a:pt x="172355" y="532790"/>
                </a:lnTo>
                <a:lnTo>
                  <a:pt x="173364" y="535095"/>
                </a:lnTo>
                <a:lnTo>
                  <a:pt x="174174" y="537820"/>
                </a:lnTo>
                <a:lnTo>
                  <a:pt x="176336" y="537601"/>
                </a:lnTo>
                <a:lnTo>
                  <a:pt x="179794" y="535391"/>
                </a:lnTo>
                <a:lnTo>
                  <a:pt x="182042" y="534867"/>
                </a:lnTo>
                <a:lnTo>
                  <a:pt x="183528" y="539115"/>
                </a:lnTo>
                <a:lnTo>
                  <a:pt x="187566" y="544716"/>
                </a:lnTo>
                <a:lnTo>
                  <a:pt x="189919" y="547221"/>
                </a:lnTo>
                <a:lnTo>
                  <a:pt x="193910" y="548545"/>
                </a:lnTo>
                <a:lnTo>
                  <a:pt x="198120" y="553041"/>
                </a:lnTo>
                <a:lnTo>
                  <a:pt x="197529" y="558451"/>
                </a:lnTo>
                <a:lnTo>
                  <a:pt x="199282" y="560251"/>
                </a:lnTo>
                <a:lnTo>
                  <a:pt x="204245" y="562375"/>
                </a:lnTo>
                <a:lnTo>
                  <a:pt x="206007" y="565242"/>
                </a:lnTo>
                <a:lnTo>
                  <a:pt x="206854" y="567680"/>
                </a:lnTo>
                <a:lnTo>
                  <a:pt x="208159" y="569700"/>
                </a:lnTo>
                <a:lnTo>
                  <a:pt x="209693" y="575786"/>
                </a:lnTo>
                <a:lnTo>
                  <a:pt x="209159" y="579530"/>
                </a:lnTo>
                <a:lnTo>
                  <a:pt x="207159" y="580815"/>
                </a:lnTo>
                <a:lnTo>
                  <a:pt x="202425" y="584816"/>
                </a:lnTo>
                <a:lnTo>
                  <a:pt x="200320" y="587797"/>
                </a:lnTo>
                <a:lnTo>
                  <a:pt x="198672" y="589645"/>
                </a:lnTo>
                <a:lnTo>
                  <a:pt x="193977" y="593617"/>
                </a:lnTo>
                <a:lnTo>
                  <a:pt x="192252" y="594331"/>
                </a:lnTo>
                <a:lnTo>
                  <a:pt x="190605" y="596389"/>
                </a:lnTo>
                <a:lnTo>
                  <a:pt x="189014" y="597294"/>
                </a:lnTo>
                <a:lnTo>
                  <a:pt x="187585" y="596779"/>
                </a:lnTo>
                <a:lnTo>
                  <a:pt x="182251" y="600504"/>
                </a:lnTo>
                <a:lnTo>
                  <a:pt x="178651" y="599475"/>
                </a:lnTo>
                <a:lnTo>
                  <a:pt x="177136" y="597637"/>
                </a:lnTo>
                <a:lnTo>
                  <a:pt x="178098" y="590321"/>
                </a:lnTo>
                <a:lnTo>
                  <a:pt x="177498" y="587959"/>
                </a:lnTo>
                <a:lnTo>
                  <a:pt x="176803" y="586769"/>
                </a:lnTo>
                <a:lnTo>
                  <a:pt x="174441" y="588131"/>
                </a:lnTo>
                <a:lnTo>
                  <a:pt x="174860" y="590931"/>
                </a:lnTo>
                <a:lnTo>
                  <a:pt x="170774" y="591045"/>
                </a:lnTo>
                <a:lnTo>
                  <a:pt x="166925" y="588674"/>
                </a:lnTo>
                <a:lnTo>
                  <a:pt x="166430" y="593341"/>
                </a:lnTo>
                <a:lnTo>
                  <a:pt x="158162" y="589474"/>
                </a:lnTo>
                <a:lnTo>
                  <a:pt x="155886" y="590455"/>
                </a:lnTo>
                <a:lnTo>
                  <a:pt x="152238" y="588512"/>
                </a:lnTo>
                <a:lnTo>
                  <a:pt x="149866" y="590836"/>
                </a:lnTo>
                <a:lnTo>
                  <a:pt x="147047" y="589998"/>
                </a:lnTo>
                <a:lnTo>
                  <a:pt x="145094" y="587235"/>
                </a:lnTo>
                <a:lnTo>
                  <a:pt x="142389" y="592093"/>
                </a:lnTo>
                <a:lnTo>
                  <a:pt x="136484" y="593474"/>
                </a:lnTo>
                <a:lnTo>
                  <a:pt x="130930" y="594246"/>
                </a:lnTo>
                <a:lnTo>
                  <a:pt x="133607" y="595865"/>
                </a:lnTo>
                <a:lnTo>
                  <a:pt x="146066" y="595560"/>
                </a:lnTo>
                <a:lnTo>
                  <a:pt x="149590" y="596760"/>
                </a:lnTo>
                <a:lnTo>
                  <a:pt x="154171" y="595960"/>
                </a:lnTo>
                <a:lnTo>
                  <a:pt x="158229" y="599770"/>
                </a:lnTo>
                <a:lnTo>
                  <a:pt x="161154" y="600685"/>
                </a:lnTo>
                <a:lnTo>
                  <a:pt x="164611" y="605057"/>
                </a:lnTo>
                <a:lnTo>
                  <a:pt x="166382" y="603866"/>
                </a:lnTo>
                <a:lnTo>
                  <a:pt x="169164" y="604047"/>
                </a:lnTo>
                <a:lnTo>
                  <a:pt x="171735" y="605295"/>
                </a:lnTo>
                <a:lnTo>
                  <a:pt x="179898" y="605133"/>
                </a:lnTo>
                <a:lnTo>
                  <a:pt x="182670" y="602085"/>
                </a:lnTo>
                <a:lnTo>
                  <a:pt x="186757" y="602751"/>
                </a:lnTo>
                <a:lnTo>
                  <a:pt x="188843" y="601961"/>
                </a:lnTo>
                <a:lnTo>
                  <a:pt x="190442" y="600094"/>
                </a:lnTo>
                <a:lnTo>
                  <a:pt x="192195" y="599665"/>
                </a:lnTo>
                <a:lnTo>
                  <a:pt x="193786" y="600018"/>
                </a:lnTo>
                <a:lnTo>
                  <a:pt x="195482" y="598541"/>
                </a:lnTo>
                <a:lnTo>
                  <a:pt x="196815" y="597951"/>
                </a:lnTo>
                <a:lnTo>
                  <a:pt x="198187" y="598665"/>
                </a:lnTo>
                <a:lnTo>
                  <a:pt x="199720" y="602199"/>
                </a:lnTo>
                <a:lnTo>
                  <a:pt x="196539" y="604028"/>
                </a:lnTo>
                <a:lnTo>
                  <a:pt x="194281" y="604114"/>
                </a:lnTo>
                <a:lnTo>
                  <a:pt x="193177" y="609886"/>
                </a:lnTo>
                <a:lnTo>
                  <a:pt x="191814" y="612362"/>
                </a:lnTo>
                <a:lnTo>
                  <a:pt x="190833" y="613553"/>
                </a:lnTo>
                <a:lnTo>
                  <a:pt x="185833" y="616001"/>
                </a:lnTo>
                <a:lnTo>
                  <a:pt x="182527" y="619097"/>
                </a:lnTo>
                <a:lnTo>
                  <a:pt x="178632" y="621582"/>
                </a:lnTo>
                <a:lnTo>
                  <a:pt x="176936" y="621039"/>
                </a:lnTo>
                <a:lnTo>
                  <a:pt x="174374" y="623564"/>
                </a:lnTo>
                <a:lnTo>
                  <a:pt x="168687" y="626545"/>
                </a:lnTo>
                <a:lnTo>
                  <a:pt x="165764" y="630564"/>
                </a:lnTo>
                <a:lnTo>
                  <a:pt x="159220" y="634146"/>
                </a:lnTo>
                <a:lnTo>
                  <a:pt x="155886" y="637061"/>
                </a:lnTo>
                <a:lnTo>
                  <a:pt x="146828" y="637213"/>
                </a:lnTo>
                <a:lnTo>
                  <a:pt x="138179" y="636575"/>
                </a:lnTo>
                <a:lnTo>
                  <a:pt x="135464" y="637956"/>
                </a:lnTo>
                <a:lnTo>
                  <a:pt x="138246" y="638385"/>
                </a:lnTo>
                <a:lnTo>
                  <a:pt x="140189" y="639737"/>
                </a:lnTo>
                <a:lnTo>
                  <a:pt x="142523" y="639166"/>
                </a:lnTo>
                <a:lnTo>
                  <a:pt x="148009" y="639842"/>
                </a:lnTo>
                <a:lnTo>
                  <a:pt x="150828" y="640585"/>
                </a:lnTo>
                <a:lnTo>
                  <a:pt x="154448" y="645328"/>
                </a:lnTo>
                <a:lnTo>
                  <a:pt x="151790" y="647005"/>
                </a:lnTo>
                <a:lnTo>
                  <a:pt x="147180" y="648300"/>
                </a:lnTo>
                <a:lnTo>
                  <a:pt x="148914" y="654987"/>
                </a:lnTo>
                <a:lnTo>
                  <a:pt x="150333" y="659482"/>
                </a:lnTo>
                <a:lnTo>
                  <a:pt x="148466" y="662188"/>
                </a:lnTo>
                <a:lnTo>
                  <a:pt x="148323" y="674446"/>
                </a:lnTo>
                <a:lnTo>
                  <a:pt x="145704" y="674675"/>
                </a:lnTo>
                <a:lnTo>
                  <a:pt x="144589" y="679723"/>
                </a:lnTo>
                <a:lnTo>
                  <a:pt x="145409" y="682295"/>
                </a:lnTo>
                <a:lnTo>
                  <a:pt x="145342" y="688248"/>
                </a:lnTo>
                <a:lnTo>
                  <a:pt x="145885" y="691905"/>
                </a:lnTo>
                <a:lnTo>
                  <a:pt x="147171" y="695268"/>
                </a:lnTo>
                <a:lnTo>
                  <a:pt x="146599" y="698763"/>
                </a:lnTo>
                <a:lnTo>
                  <a:pt x="142456" y="706926"/>
                </a:lnTo>
                <a:lnTo>
                  <a:pt x="142541" y="710746"/>
                </a:lnTo>
                <a:lnTo>
                  <a:pt x="143294" y="713013"/>
                </a:lnTo>
                <a:lnTo>
                  <a:pt x="143846" y="716623"/>
                </a:lnTo>
                <a:lnTo>
                  <a:pt x="141961" y="723547"/>
                </a:lnTo>
                <a:lnTo>
                  <a:pt x="140637" y="729310"/>
                </a:lnTo>
                <a:lnTo>
                  <a:pt x="139055" y="734149"/>
                </a:lnTo>
                <a:lnTo>
                  <a:pt x="135521" y="739930"/>
                </a:lnTo>
                <a:lnTo>
                  <a:pt x="133759" y="744245"/>
                </a:lnTo>
                <a:lnTo>
                  <a:pt x="129644" y="757647"/>
                </a:lnTo>
                <a:lnTo>
                  <a:pt x="127606" y="760295"/>
                </a:lnTo>
                <a:lnTo>
                  <a:pt x="125101" y="762324"/>
                </a:lnTo>
                <a:lnTo>
                  <a:pt x="122311" y="760448"/>
                </a:lnTo>
                <a:lnTo>
                  <a:pt x="119748" y="759428"/>
                </a:lnTo>
                <a:lnTo>
                  <a:pt x="116624" y="759552"/>
                </a:lnTo>
                <a:lnTo>
                  <a:pt x="111728" y="761095"/>
                </a:lnTo>
                <a:lnTo>
                  <a:pt x="104365" y="760066"/>
                </a:lnTo>
                <a:lnTo>
                  <a:pt x="97174" y="760562"/>
                </a:lnTo>
                <a:lnTo>
                  <a:pt x="95355" y="761886"/>
                </a:lnTo>
                <a:lnTo>
                  <a:pt x="96450" y="766715"/>
                </a:lnTo>
                <a:lnTo>
                  <a:pt x="93793" y="767344"/>
                </a:lnTo>
                <a:lnTo>
                  <a:pt x="91202" y="765972"/>
                </a:lnTo>
                <a:lnTo>
                  <a:pt x="88916" y="767610"/>
                </a:lnTo>
                <a:lnTo>
                  <a:pt x="87011" y="769401"/>
                </a:lnTo>
                <a:lnTo>
                  <a:pt x="83268" y="773649"/>
                </a:lnTo>
                <a:lnTo>
                  <a:pt x="82010" y="776259"/>
                </a:lnTo>
                <a:lnTo>
                  <a:pt x="81686" y="781164"/>
                </a:lnTo>
                <a:lnTo>
                  <a:pt x="83658" y="785555"/>
                </a:lnTo>
                <a:lnTo>
                  <a:pt x="85401" y="790689"/>
                </a:lnTo>
                <a:lnTo>
                  <a:pt x="80915" y="796852"/>
                </a:lnTo>
                <a:lnTo>
                  <a:pt x="78410" y="797062"/>
                </a:lnTo>
                <a:lnTo>
                  <a:pt x="71095" y="795347"/>
                </a:lnTo>
                <a:lnTo>
                  <a:pt x="58131" y="799205"/>
                </a:lnTo>
                <a:lnTo>
                  <a:pt x="46491" y="796157"/>
                </a:lnTo>
                <a:lnTo>
                  <a:pt x="47949" y="792851"/>
                </a:lnTo>
                <a:lnTo>
                  <a:pt x="47901" y="790423"/>
                </a:lnTo>
                <a:lnTo>
                  <a:pt x="48558" y="786679"/>
                </a:lnTo>
                <a:lnTo>
                  <a:pt x="48949" y="782841"/>
                </a:lnTo>
                <a:lnTo>
                  <a:pt x="48844" y="780269"/>
                </a:lnTo>
                <a:lnTo>
                  <a:pt x="47987" y="777516"/>
                </a:lnTo>
                <a:lnTo>
                  <a:pt x="45120" y="773916"/>
                </a:lnTo>
                <a:lnTo>
                  <a:pt x="38652" y="761714"/>
                </a:lnTo>
                <a:lnTo>
                  <a:pt x="36738" y="756542"/>
                </a:lnTo>
                <a:lnTo>
                  <a:pt x="35404" y="754380"/>
                </a:lnTo>
                <a:lnTo>
                  <a:pt x="36366" y="754266"/>
                </a:lnTo>
                <a:lnTo>
                  <a:pt x="41700" y="757047"/>
                </a:lnTo>
                <a:lnTo>
                  <a:pt x="42939" y="756704"/>
                </a:lnTo>
                <a:lnTo>
                  <a:pt x="44244" y="755666"/>
                </a:lnTo>
                <a:lnTo>
                  <a:pt x="42653" y="751675"/>
                </a:lnTo>
                <a:lnTo>
                  <a:pt x="41281" y="749875"/>
                </a:lnTo>
                <a:lnTo>
                  <a:pt x="40357" y="747170"/>
                </a:lnTo>
                <a:lnTo>
                  <a:pt x="43472" y="746436"/>
                </a:lnTo>
                <a:lnTo>
                  <a:pt x="45729" y="746598"/>
                </a:lnTo>
                <a:lnTo>
                  <a:pt x="47387" y="743550"/>
                </a:lnTo>
                <a:lnTo>
                  <a:pt x="46425" y="738607"/>
                </a:lnTo>
                <a:lnTo>
                  <a:pt x="44005" y="737083"/>
                </a:lnTo>
                <a:lnTo>
                  <a:pt x="41986" y="736416"/>
                </a:lnTo>
                <a:lnTo>
                  <a:pt x="38109" y="728605"/>
                </a:lnTo>
                <a:lnTo>
                  <a:pt x="34071" y="724548"/>
                </a:lnTo>
                <a:lnTo>
                  <a:pt x="26860" y="708822"/>
                </a:lnTo>
                <a:lnTo>
                  <a:pt x="24222" y="697944"/>
                </a:lnTo>
                <a:lnTo>
                  <a:pt x="21774" y="698983"/>
                </a:lnTo>
                <a:lnTo>
                  <a:pt x="20583" y="694230"/>
                </a:lnTo>
                <a:lnTo>
                  <a:pt x="19726" y="689705"/>
                </a:lnTo>
                <a:lnTo>
                  <a:pt x="19555" y="686381"/>
                </a:lnTo>
                <a:lnTo>
                  <a:pt x="15707" y="684476"/>
                </a:lnTo>
                <a:lnTo>
                  <a:pt x="15554" y="682133"/>
                </a:lnTo>
                <a:lnTo>
                  <a:pt x="14859" y="671655"/>
                </a:lnTo>
                <a:lnTo>
                  <a:pt x="10735" y="670246"/>
                </a:lnTo>
                <a:lnTo>
                  <a:pt x="8068" y="664340"/>
                </a:lnTo>
                <a:lnTo>
                  <a:pt x="7591" y="653110"/>
                </a:lnTo>
                <a:lnTo>
                  <a:pt x="4877" y="651062"/>
                </a:lnTo>
                <a:lnTo>
                  <a:pt x="2695" y="651634"/>
                </a:lnTo>
                <a:lnTo>
                  <a:pt x="2800" y="648843"/>
                </a:lnTo>
                <a:lnTo>
                  <a:pt x="3324" y="646214"/>
                </a:lnTo>
                <a:lnTo>
                  <a:pt x="2048" y="635756"/>
                </a:lnTo>
                <a:lnTo>
                  <a:pt x="1619" y="626164"/>
                </a:lnTo>
                <a:lnTo>
                  <a:pt x="590" y="623249"/>
                </a:lnTo>
                <a:lnTo>
                  <a:pt x="0" y="619839"/>
                </a:lnTo>
                <a:lnTo>
                  <a:pt x="524" y="616887"/>
                </a:lnTo>
                <a:lnTo>
                  <a:pt x="1305" y="615182"/>
                </a:lnTo>
                <a:lnTo>
                  <a:pt x="3962" y="614734"/>
                </a:lnTo>
                <a:lnTo>
                  <a:pt x="6448" y="617344"/>
                </a:lnTo>
                <a:lnTo>
                  <a:pt x="8649" y="623916"/>
                </a:lnTo>
                <a:lnTo>
                  <a:pt x="10592" y="624773"/>
                </a:lnTo>
                <a:lnTo>
                  <a:pt x="13240" y="623059"/>
                </a:lnTo>
                <a:lnTo>
                  <a:pt x="15097" y="618268"/>
                </a:lnTo>
                <a:lnTo>
                  <a:pt x="16154" y="611057"/>
                </a:lnTo>
                <a:lnTo>
                  <a:pt x="17393" y="604152"/>
                </a:lnTo>
                <a:lnTo>
                  <a:pt x="15926" y="596741"/>
                </a:lnTo>
                <a:lnTo>
                  <a:pt x="14364" y="590207"/>
                </a:lnTo>
                <a:lnTo>
                  <a:pt x="14249" y="588283"/>
                </a:lnTo>
                <a:lnTo>
                  <a:pt x="18355" y="582739"/>
                </a:lnTo>
                <a:lnTo>
                  <a:pt x="19612" y="578225"/>
                </a:lnTo>
                <a:lnTo>
                  <a:pt x="20974" y="573910"/>
                </a:lnTo>
                <a:lnTo>
                  <a:pt x="22479" y="572443"/>
                </a:lnTo>
                <a:lnTo>
                  <a:pt x="24708" y="572110"/>
                </a:lnTo>
                <a:lnTo>
                  <a:pt x="27308" y="571300"/>
                </a:lnTo>
                <a:lnTo>
                  <a:pt x="30585" y="568404"/>
                </a:lnTo>
                <a:lnTo>
                  <a:pt x="33528" y="564518"/>
                </a:lnTo>
                <a:lnTo>
                  <a:pt x="35776" y="560946"/>
                </a:lnTo>
                <a:lnTo>
                  <a:pt x="36538" y="553860"/>
                </a:lnTo>
                <a:lnTo>
                  <a:pt x="36566" y="550288"/>
                </a:lnTo>
                <a:lnTo>
                  <a:pt x="37557" y="547630"/>
                </a:lnTo>
                <a:lnTo>
                  <a:pt x="38510" y="542430"/>
                </a:lnTo>
                <a:lnTo>
                  <a:pt x="37576" y="537286"/>
                </a:lnTo>
                <a:lnTo>
                  <a:pt x="34671" y="529457"/>
                </a:lnTo>
                <a:lnTo>
                  <a:pt x="31175" y="518379"/>
                </a:lnTo>
                <a:lnTo>
                  <a:pt x="30632" y="512302"/>
                </a:lnTo>
                <a:lnTo>
                  <a:pt x="32223" y="511169"/>
                </a:lnTo>
                <a:lnTo>
                  <a:pt x="35262" y="510159"/>
                </a:lnTo>
                <a:lnTo>
                  <a:pt x="41024" y="509864"/>
                </a:lnTo>
                <a:lnTo>
                  <a:pt x="41634" y="509149"/>
                </a:lnTo>
                <a:lnTo>
                  <a:pt x="42215" y="506473"/>
                </a:lnTo>
                <a:lnTo>
                  <a:pt x="43520" y="502844"/>
                </a:lnTo>
                <a:lnTo>
                  <a:pt x="44901" y="500196"/>
                </a:lnTo>
                <a:lnTo>
                  <a:pt x="45853" y="496395"/>
                </a:lnTo>
                <a:lnTo>
                  <a:pt x="46311" y="492947"/>
                </a:lnTo>
                <a:lnTo>
                  <a:pt x="43015" y="487737"/>
                </a:lnTo>
                <a:lnTo>
                  <a:pt x="38700" y="482384"/>
                </a:lnTo>
                <a:lnTo>
                  <a:pt x="35776" y="480603"/>
                </a:lnTo>
                <a:lnTo>
                  <a:pt x="30575" y="476088"/>
                </a:lnTo>
                <a:lnTo>
                  <a:pt x="26918" y="472307"/>
                </a:lnTo>
                <a:lnTo>
                  <a:pt x="29013" y="457819"/>
                </a:lnTo>
                <a:lnTo>
                  <a:pt x="30575" y="446951"/>
                </a:lnTo>
                <a:lnTo>
                  <a:pt x="30823" y="444303"/>
                </a:lnTo>
                <a:lnTo>
                  <a:pt x="30880" y="440188"/>
                </a:lnTo>
                <a:lnTo>
                  <a:pt x="25832" y="422519"/>
                </a:lnTo>
                <a:lnTo>
                  <a:pt x="26032" y="418567"/>
                </a:lnTo>
                <a:lnTo>
                  <a:pt x="26508" y="414995"/>
                </a:lnTo>
                <a:lnTo>
                  <a:pt x="25965" y="408889"/>
                </a:lnTo>
                <a:lnTo>
                  <a:pt x="25670" y="403412"/>
                </a:lnTo>
                <a:lnTo>
                  <a:pt x="26536" y="401745"/>
                </a:lnTo>
                <a:lnTo>
                  <a:pt x="28594" y="398640"/>
                </a:lnTo>
                <a:lnTo>
                  <a:pt x="26622" y="393821"/>
                </a:lnTo>
                <a:lnTo>
                  <a:pt x="26460" y="393421"/>
                </a:lnTo>
                <a:lnTo>
                  <a:pt x="22746" y="381438"/>
                </a:lnTo>
                <a:lnTo>
                  <a:pt x="28422" y="369484"/>
                </a:lnTo>
                <a:lnTo>
                  <a:pt x="27432" y="363264"/>
                </a:lnTo>
                <a:lnTo>
                  <a:pt x="30813" y="358740"/>
                </a:lnTo>
                <a:lnTo>
                  <a:pt x="36986" y="348339"/>
                </a:lnTo>
                <a:lnTo>
                  <a:pt x="40452" y="342452"/>
                </a:lnTo>
                <a:lnTo>
                  <a:pt x="41186" y="341424"/>
                </a:lnTo>
                <a:lnTo>
                  <a:pt x="43929" y="338833"/>
                </a:lnTo>
                <a:lnTo>
                  <a:pt x="49139" y="335756"/>
                </a:lnTo>
                <a:lnTo>
                  <a:pt x="54912" y="334251"/>
                </a:lnTo>
                <a:lnTo>
                  <a:pt x="57483" y="334270"/>
                </a:lnTo>
                <a:lnTo>
                  <a:pt x="67408" y="336356"/>
                </a:lnTo>
                <a:lnTo>
                  <a:pt x="75152" y="337976"/>
                </a:lnTo>
                <a:lnTo>
                  <a:pt x="76285" y="336347"/>
                </a:lnTo>
                <a:lnTo>
                  <a:pt x="77905" y="333004"/>
                </a:lnTo>
                <a:lnTo>
                  <a:pt x="79991" y="328231"/>
                </a:lnTo>
                <a:lnTo>
                  <a:pt x="80172" y="322907"/>
                </a:lnTo>
                <a:lnTo>
                  <a:pt x="79420" y="315058"/>
                </a:lnTo>
                <a:lnTo>
                  <a:pt x="78286" y="310344"/>
                </a:lnTo>
                <a:lnTo>
                  <a:pt x="72837" y="307267"/>
                </a:lnTo>
                <a:lnTo>
                  <a:pt x="66865" y="303047"/>
                </a:lnTo>
                <a:lnTo>
                  <a:pt x="74209" y="289608"/>
                </a:lnTo>
                <a:lnTo>
                  <a:pt x="79296" y="280216"/>
                </a:lnTo>
                <a:lnTo>
                  <a:pt x="85639" y="265995"/>
                </a:lnTo>
                <a:lnTo>
                  <a:pt x="87611" y="260042"/>
                </a:lnTo>
                <a:lnTo>
                  <a:pt x="89039" y="257670"/>
                </a:lnTo>
                <a:lnTo>
                  <a:pt x="90907" y="235477"/>
                </a:lnTo>
                <a:lnTo>
                  <a:pt x="92145" y="229219"/>
                </a:lnTo>
                <a:lnTo>
                  <a:pt x="93183" y="225933"/>
                </a:lnTo>
                <a:lnTo>
                  <a:pt x="93193" y="222561"/>
                </a:lnTo>
                <a:lnTo>
                  <a:pt x="92516" y="216856"/>
                </a:lnTo>
                <a:lnTo>
                  <a:pt x="90735" y="203902"/>
                </a:lnTo>
                <a:lnTo>
                  <a:pt x="100755" y="202292"/>
                </a:lnTo>
                <a:lnTo>
                  <a:pt x="104013" y="201378"/>
                </a:lnTo>
                <a:lnTo>
                  <a:pt x="107042" y="199825"/>
                </a:lnTo>
                <a:lnTo>
                  <a:pt x="112966" y="195786"/>
                </a:lnTo>
                <a:lnTo>
                  <a:pt x="115871" y="192205"/>
                </a:lnTo>
                <a:lnTo>
                  <a:pt x="114252" y="179937"/>
                </a:lnTo>
                <a:lnTo>
                  <a:pt x="117834" y="175765"/>
                </a:lnTo>
                <a:lnTo>
                  <a:pt x="126578" y="161153"/>
                </a:lnTo>
                <a:lnTo>
                  <a:pt x="136027" y="147047"/>
                </a:lnTo>
                <a:lnTo>
                  <a:pt x="140455" y="141675"/>
                </a:lnTo>
                <a:lnTo>
                  <a:pt x="140913" y="139046"/>
                </a:lnTo>
                <a:lnTo>
                  <a:pt x="141275" y="134807"/>
                </a:lnTo>
                <a:lnTo>
                  <a:pt x="139303" y="128121"/>
                </a:lnTo>
                <a:lnTo>
                  <a:pt x="137189" y="123968"/>
                </a:lnTo>
                <a:lnTo>
                  <a:pt x="133064" y="116072"/>
                </a:lnTo>
                <a:lnTo>
                  <a:pt x="134836" y="110538"/>
                </a:lnTo>
                <a:lnTo>
                  <a:pt x="137874" y="109461"/>
                </a:lnTo>
                <a:lnTo>
                  <a:pt x="141884" y="107280"/>
                </a:lnTo>
                <a:lnTo>
                  <a:pt x="145018" y="102527"/>
                </a:lnTo>
                <a:lnTo>
                  <a:pt x="145323" y="101917"/>
                </a:lnTo>
                <a:lnTo>
                  <a:pt x="150619" y="83096"/>
                </a:lnTo>
                <a:lnTo>
                  <a:pt x="160954" y="73476"/>
                </a:lnTo>
                <a:lnTo>
                  <a:pt x="165078" y="68208"/>
                </a:lnTo>
                <a:lnTo>
                  <a:pt x="171498" y="72171"/>
                </a:lnTo>
                <a:lnTo>
                  <a:pt x="180908" y="78134"/>
                </a:lnTo>
                <a:lnTo>
                  <a:pt x="185090" y="69361"/>
                </a:lnTo>
                <a:lnTo>
                  <a:pt x="186471" y="66094"/>
                </a:lnTo>
                <a:lnTo>
                  <a:pt x="187852" y="61274"/>
                </a:lnTo>
                <a:lnTo>
                  <a:pt x="187300" y="52892"/>
                </a:lnTo>
                <a:lnTo>
                  <a:pt x="187061" y="41948"/>
                </a:lnTo>
                <a:lnTo>
                  <a:pt x="187480" y="37529"/>
                </a:lnTo>
                <a:lnTo>
                  <a:pt x="191233" y="35557"/>
                </a:lnTo>
                <a:lnTo>
                  <a:pt x="193253" y="35052"/>
                </a:lnTo>
                <a:lnTo>
                  <a:pt x="203711" y="39605"/>
                </a:lnTo>
                <a:lnTo>
                  <a:pt x="206340" y="39529"/>
                </a:lnTo>
                <a:lnTo>
                  <a:pt x="211274" y="40138"/>
                </a:lnTo>
                <a:lnTo>
                  <a:pt x="216789" y="42129"/>
                </a:lnTo>
                <a:lnTo>
                  <a:pt x="228342" y="47425"/>
                </a:lnTo>
                <a:lnTo>
                  <a:pt x="233115" y="49606"/>
                </a:lnTo>
                <a:lnTo>
                  <a:pt x="235782" y="50025"/>
                </a:lnTo>
                <a:lnTo>
                  <a:pt x="238087" y="47568"/>
                </a:lnTo>
                <a:lnTo>
                  <a:pt x="243011" y="41234"/>
                </a:lnTo>
                <a:lnTo>
                  <a:pt x="235763" y="36528"/>
                </a:lnTo>
                <a:lnTo>
                  <a:pt x="240535" y="31756"/>
                </a:lnTo>
                <a:lnTo>
                  <a:pt x="243011" y="26927"/>
                </a:lnTo>
                <a:lnTo>
                  <a:pt x="245135" y="20974"/>
                </a:lnTo>
                <a:lnTo>
                  <a:pt x="245907" y="13983"/>
                </a:lnTo>
                <a:lnTo>
                  <a:pt x="245612" y="10211"/>
                </a:lnTo>
                <a:lnTo>
                  <a:pt x="244144" y="7629"/>
                </a:lnTo>
                <a:lnTo>
                  <a:pt x="239716" y="1191"/>
                </a:lnTo>
                <a:lnTo>
                  <a:pt x="249745" y="267"/>
                </a:lnTo>
                <a:lnTo>
                  <a:pt x="253222" y="0"/>
                </a:lnTo>
                <a:lnTo>
                  <a:pt x="260518" y="4248"/>
                </a:lnTo>
                <a:lnTo>
                  <a:pt x="260842" y="5172"/>
                </a:lnTo>
                <a:lnTo>
                  <a:pt x="260890" y="7382"/>
                </a:lnTo>
                <a:lnTo>
                  <a:pt x="261147" y="9668"/>
                </a:lnTo>
                <a:lnTo>
                  <a:pt x="268224" y="15449"/>
                </a:lnTo>
                <a:lnTo>
                  <a:pt x="270262" y="18507"/>
                </a:lnTo>
                <a:lnTo>
                  <a:pt x="274615" y="23136"/>
                </a:lnTo>
                <a:lnTo>
                  <a:pt x="275767" y="25632"/>
                </a:lnTo>
                <a:lnTo>
                  <a:pt x="279797" y="28546"/>
                </a:lnTo>
                <a:lnTo>
                  <a:pt x="282683" y="31661"/>
                </a:lnTo>
                <a:lnTo>
                  <a:pt x="286055" y="34176"/>
                </a:lnTo>
                <a:lnTo>
                  <a:pt x="289989" y="38081"/>
                </a:lnTo>
                <a:lnTo>
                  <a:pt x="295275" y="41186"/>
                </a:lnTo>
                <a:lnTo>
                  <a:pt x="299732" y="42196"/>
                </a:lnTo>
                <a:lnTo>
                  <a:pt x="310972" y="47501"/>
                </a:lnTo>
                <a:lnTo>
                  <a:pt x="312887" y="49216"/>
                </a:lnTo>
                <a:lnTo>
                  <a:pt x="316125" y="52902"/>
                </a:lnTo>
                <a:lnTo>
                  <a:pt x="319401" y="57150"/>
                </a:lnTo>
                <a:lnTo>
                  <a:pt x="321669" y="65856"/>
                </a:lnTo>
                <a:lnTo>
                  <a:pt x="325298" y="66304"/>
                </a:lnTo>
                <a:lnTo>
                  <a:pt x="326288" y="69285"/>
                </a:lnTo>
                <a:lnTo>
                  <a:pt x="329460" y="74381"/>
                </a:lnTo>
                <a:lnTo>
                  <a:pt x="333860" y="78867"/>
                </a:lnTo>
                <a:lnTo>
                  <a:pt x="333699" y="80372"/>
                </a:lnTo>
                <a:lnTo>
                  <a:pt x="330194" y="84487"/>
                </a:lnTo>
                <a:lnTo>
                  <a:pt x="329812" y="90049"/>
                </a:lnTo>
                <a:lnTo>
                  <a:pt x="330146" y="97126"/>
                </a:lnTo>
                <a:lnTo>
                  <a:pt x="331251" y="102879"/>
                </a:lnTo>
                <a:lnTo>
                  <a:pt x="331137" y="104556"/>
                </a:lnTo>
                <a:lnTo>
                  <a:pt x="330270" y="106537"/>
                </a:lnTo>
                <a:lnTo>
                  <a:pt x="329232" y="109633"/>
                </a:lnTo>
                <a:lnTo>
                  <a:pt x="328850" y="112328"/>
                </a:lnTo>
                <a:lnTo>
                  <a:pt x="328946" y="113643"/>
                </a:lnTo>
                <a:lnTo>
                  <a:pt x="329298" y="114367"/>
                </a:lnTo>
                <a:lnTo>
                  <a:pt x="331146" y="114424"/>
                </a:lnTo>
                <a:lnTo>
                  <a:pt x="334451" y="115062"/>
                </a:lnTo>
                <a:lnTo>
                  <a:pt x="336395" y="116253"/>
                </a:lnTo>
                <a:lnTo>
                  <a:pt x="337499" y="122796"/>
                </a:lnTo>
                <a:lnTo>
                  <a:pt x="337128" y="124054"/>
                </a:lnTo>
                <a:lnTo>
                  <a:pt x="334346" y="127006"/>
                </a:lnTo>
                <a:lnTo>
                  <a:pt x="333527" y="129350"/>
                </a:lnTo>
                <a:lnTo>
                  <a:pt x="333451" y="132779"/>
                </a:lnTo>
                <a:lnTo>
                  <a:pt x="333946" y="136550"/>
                </a:lnTo>
                <a:lnTo>
                  <a:pt x="334909" y="140751"/>
                </a:lnTo>
                <a:lnTo>
                  <a:pt x="337090" y="145237"/>
                </a:lnTo>
                <a:lnTo>
                  <a:pt x="340043" y="149914"/>
                </a:lnTo>
                <a:lnTo>
                  <a:pt x="341986" y="153743"/>
                </a:lnTo>
                <a:lnTo>
                  <a:pt x="342900" y="156429"/>
                </a:lnTo>
                <a:lnTo>
                  <a:pt x="343233" y="158315"/>
                </a:lnTo>
                <a:lnTo>
                  <a:pt x="341909" y="160677"/>
                </a:lnTo>
                <a:lnTo>
                  <a:pt x="340719" y="165335"/>
                </a:lnTo>
                <a:lnTo>
                  <a:pt x="340500" y="170650"/>
                </a:lnTo>
                <a:lnTo>
                  <a:pt x="339957" y="174107"/>
                </a:lnTo>
                <a:lnTo>
                  <a:pt x="337366" y="178860"/>
                </a:lnTo>
                <a:lnTo>
                  <a:pt x="335566" y="180537"/>
                </a:lnTo>
                <a:lnTo>
                  <a:pt x="335051" y="183032"/>
                </a:lnTo>
                <a:lnTo>
                  <a:pt x="334832" y="187214"/>
                </a:lnTo>
                <a:lnTo>
                  <a:pt x="335366" y="192300"/>
                </a:lnTo>
                <a:lnTo>
                  <a:pt x="335546" y="195729"/>
                </a:lnTo>
                <a:lnTo>
                  <a:pt x="336099" y="198196"/>
                </a:lnTo>
                <a:lnTo>
                  <a:pt x="336918" y="199806"/>
                </a:lnTo>
                <a:lnTo>
                  <a:pt x="341080" y="202635"/>
                </a:lnTo>
                <a:lnTo>
                  <a:pt x="343415" y="208426"/>
                </a:lnTo>
                <a:lnTo>
                  <a:pt x="344871" y="213065"/>
                </a:lnTo>
                <a:lnTo>
                  <a:pt x="347815" y="225095"/>
                </a:lnTo>
                <a:close/>
                <a:moveTo>
                  <a:pt x="199177" y="594627"/>
                </a:moveTo>
                <a:lnTo>
                  <a:pt x="198511" y="596370"/>
                </a:lnTo>
                <a:lnTo>
                  <a:pt x="197834" y="594236"/>
                </a:lnTo>
                <a:lnTo>
                  <a:pt x="198101" y="593817"/>
                </a:lnTo>
                <a:lnTo>
                  <a:pt x="198558" y="591712"/>
                </a:lnTo>
                <a:lnTo>
                  <a:pt x="199854" y="590559"/>
                </a:lnTo>
                <a:lnTo>
                  <a:pt x="201920" y="591255"/>
                </a:lnTo>
                <a:lnTo>
                  <a:pt x="201911" y="591779"/>
                </a:lnTo>
                <a:lnTo>
                  <a:pt x="199930" y="593484"/>
                </a:lnTo>
                <a:lnTo>
                  <a:pt x="199177" y="594627"/>
                </a:lnTo>
                <a:close/>
                <a:moveTo>
                  <a:pt x="194386" y="617658"/>
                </a:moveTo>
                <a:lnTo>
                  <a:pt x="193195" y="618154"/>
                </a:lnTo>
                <a:lnTo>
                  <a:pt x="192605" y="618001"/>
                </a:lnTo>
                <a:lnTo>
                  <a:pt x="193338" y="615591"/>
                </a:lnTo>
                <a:lnTo>
                  <a:pt x="193881" y="614553"/>
                </a:lnTo>
                <a:lnTo>
                  <a:pt x="195682" y="613581"/>
                </a:lnTo>
                <a:lnTo>
                  <a:pt x="196234" y="613753"/>
                </a:lnTo>
                <a:lnTo>
                  <a:pt x="194386" y="617658"/>
                </a:lnTo>
                <a:close/>
                <a:moveTo>
                  <a:pt x="214179" y="674122"/>
                </a:moveTo>
                <a:lnTo>
                  <a:pt x="213693" y="677256"/>
                </a:lnTo>
                <a:lnTo>
                  <a:pt x="212303" y="677018"/>
                </a:lnTo>
                <a:lnTo>
                  <a:pt x="211036" y="674703"/>
                </a:lnTo>
                <a:lnTo>
                  <a:pt x="213598" y="671170"/>
                </a:lnTo>
                <a:lnTo>
                  <a:pt x="217513" y="671360"/>
                </a:lnTo>
                <a:lnTo>
                  <a:pt x="218856" y="672103"/>
                </a:lnTo>
                <a:lnTo>
                  <a:pt x="214179" y="674122"/>
                </a:lnTo>
                <a:close/>
                <a:moveTo>
                  <a:pt x="212036" y="678475"/>
                </a:moveTo>
                <a:lnTo>
                  <a:pt x="209826" y="679666"/>
                </a:lnTo>
                <a:lnTo>
                  <a:pt x="208531" y="683200"/>
                </a:lnTo>
                <a:lnTo>
                  <a:pt x="206740" y="683800"/>
                </a:lnTo>
                <a:lnTo>
                  <a:pt x="205025" y="684971"/>
                </a:lnTo>
                <a:lnTo>
                  <a:pt x="204416" y="696078"/>
                </a:lnTo>
                <a:lnTo>
                  <a:pt x="207550" y="700278"/>
                </a:lnTo>
                <a:lnTo>
                  <a:pt x="205826" y="700869"/>
                </a:lnTo>
                <a:lnTo>
                  <a:pt x="204254" y="702126"/>
                </a:lnTo>
                <a:lnTo>
                  <a:pt x="203130" y="703983"/>
                </a:lnTo>
                <a:lnTo>
                  <a:pt x="201978" y="707974"/>
                </a:lnTo>
                <a:lnTo>
                  <a:pt x="197663" y="710232"/>
                </a:lnTo>
                <a:lnTo>
                  <a:pt x="196034" y="711898"/>
                </a:lnTo>
                <a:lnTo>
                  <a:pt x="193624" y="715604"/>
                </a:lnTo>
                <a:lnTo>
                  <a:pt x="192367" y="720966"/>
                </a:lnTo>
                <a:lnTo>
                  <a:pt x="189929" y="723252"/>
                </a:lnTo>
                <a:lnTo>
                  <a:pt x="187185" y="723795"/>
                </a:lnTo>
                <a:lnTo>
                  <a:pt x="188786" y="719414"/>
                </a:lnTo>
                <a:lnTo>
                  <a:pt x="190891" y="715832"/>
                </a:lnTo>
                <a:lnTo>
                  <a:pt x="188871" y="713365"/>
                </a:lnTo>
                <a:lnTo>
                  <a:pt x="187652" y="709508"/>
                </a:lnTo>
                <a:lnTo>
                  <a:pt x="186071" y="706536"/>
                </a:lnTo>
                <a:lnTo>
                  <a:pt x="187328" y="703212"/>
                </a:lnTo>
                <a:lnTo>
                  <a:pt x="186709" y="697763"/>
                </a:lnTo>
                <a:lnTo>
                  <a:pt x="186909" y="692420"/>
                </a:lnTo>
                <a:lnTo>
                  <a:pt x="188738" y="689724"/>
                </a:lnTo>
                <a:lnTo>
                  <a:pt x="190833" y="687524"/>
                </a:lnTo>
                <a:lnTo>
                  <a:pt x="194091" y="682447"/>
                </a:lnTo>
                <a:lnTo>
                  <a:pt x="197625" y="678752"/>
                </a:lnTo>
                <a:lnTo>
                  <a:pt x="202559" y="677094"/>
                </a:lnTo>
                <a:lnTo>
                  <a:pt x="204788" y="678628"/>
                </a:lnTo>
                <a:lnTo>
                  <a:pt x="205750" y="675265"/>
                </a:lnTo>
                <a:lnTo>
                  <a:pt x="207340" y="674494"/>
                </a:lnTo>
                <a:lnTo>
                  <a:pt x="208836" y="675275"/>
                </a:lnTo>
                <a:lnTo>
                  <a:pt x="212036" y="678475"/>
                </a:lnTo>
                <a:close/>
                <a:moveTo>
                  <a:pt x="143932" y="754323"/>
                </a:moveTo>
                <a:lnTo>
                  <a:pt x="142551" y="756742"/>
                </a:lnTo>
                <a:lnTo>
                  <a:pt x="141332" y="756571"/>
                </a:lnTo>
                <a:lnTo>
                  <a:pt x="140522" y="753342"/>
                </a:lnTo>
                <a:lnTo>
                  <a:pt x="140332" y="745017"/>
                </a:lnTo>
                <a:lnTo>
                  <a:pt x="140818" y="740883"/>
                </a:lnTo>
                <a:lnTo>
                  <a:pt x="146647" y="725910"/>
                </a:lnTo>
                <a:lnTo>
                  <a:pt x="149247" y="724681"/>
                </a:lnTo>
                <a:lnTo>
                  <a:pt x="152905" y="715442"/>
                </a:lnTo>
                <a:lnTo>
                  <a:pt x="153895" y="711308"/>
                </a:lnTo>
                <a:lnTo>
                  <a:pt x="155486" y="707584"/>
                </a:lnTo>
                <a:lnTo>
                  <a:pt x="156420" y="704240"/>
                </a:lnTo>
                <a:lnTo>
                  <a:pt x="157210" y="702888"/>
                </a:lnTo>
                <a:lnTo>
                  <a:pt x="158915" y="703516"/>
                </a:lnTo>
                <a:lnTo>
                  <a:pt x="159677" y="704136"/>
                </a:lnTo>
                <a:lnTo>
                  <a:pt x="157877" y="706079"/>
                </a:lnTo>
                <a:lnTo>
                  <a:pt x="158086" y="708603"/>
                </a:lnTo>
                <a:lnTo>
                  <a:pt x="157962" y="709641"/>
                </a:lnTo>
                <a:lnTo>
                  <a:pt x="153419" y="720585"/>
                </a:lnTo>
                <a:lnTo>
                  <a:pt x="152209" y="727653"/>
                </a:lnTo>
                <a:lnTo>
                  <a:pt x="150600" y="729377"/>
                </a:lnTo>
                <a:lnTo>
                  <a:pt x="143932" y="754323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0" name="Forme libre : forme 49">
            <a:extLst>
              <a:ext uri="{FF2B5EF4-FFF2-40B4-BE49-F238E27FC236}">
                <a16:creationId xmlns:a16="http://schemas.microsoft.com/office/drawing/2014/main" id="{1A4D2D56-2C6E-1BF5-597F-D14955481114}"/>
              </a:ext>
            </a:extLst>
          </p:cNvPr>
          <p:cNvSpPr/>
          <p:nvPr/>
        </p:nvSpPr>
        <p:spPr>
          <a:xfrm>
            <a:off x="5987987" y="3721398"/>
            <a:ext cx="109412" cy="71993"/>
          </a:xfrm>
          <a:custGeom>
            <a:avLst/>
            <a:gdLst>
              <a:gd name="connsiteX0" fmla="*/ 83887 w 83886"/>
              <a:gd name="connsiteY0" fmla="*/ 14116 h 55197"/>
              <a:gd name="connsiteX1" fmla="*/ 81525 w 83886"/>
              <a:gd name="connsiteY1" fmla="*/ 13173 h 55197"/>
              <a:gd name="connsiteX2" fmla="*/ 78677 w 83886"/>
              <a:gd name="connsiteY2" fmla="*/ 12773 h 55197"/>
              <a:gd name="connsiteX3" fmla="*/ 78143 w 83886"/>
              <a:gd name="connsiteY3" fmla="*/ 13287 h 55197"/>
              <a:gd name="connsiteX4" fmla="*/ 77000 w 83886"/>
              <a:gd name="connsiteY4" fmla="*/ 13811 h 55197"/>
              <a:gd name="connsiteX5" fmla="*/ 76419 w 83886"/>
              <a:gd name="connsiteY5" fmla="*/ 14745 h 55197"/>
              <a:gd name="connsiteX6" fmla="*/ 76858 w 83886"/>
              <a:gd name="connsiteY6" fmla="*/ 18402 h 55197"/>
              <a:gd name="connsiteX7" fmla="*/ 76172 w 83886"/>
              <a:gd name="connsiteY7" fmla="*/ 19031 h 55197"/>
              <a:gd name="connsiteX8" fmla="*/ 72933 w 83886"/>
              <a:gd name="connsiteY8" fmla="*/ 18669 h 55197"/>
              <a:gd name="connsiteX9" fmla="*/ 71866 w 83886"/>
              <a:gd name="connsiteY9" fmla="*/ 19088 h 55197"/>
              <a:gd name="connsiteX10" fmla="*/ 70104 w 83886"/>
              <a:gd name="connsiteY10" fmla="*/ 21631 h 55197"/>
              <a:gd name="connsiteX11" fmla="*/ 68304 w 83886"/>
              <a:gd name="connsiteY11" fmla="*/ 22708 h 55197"/>
              <a:gd name="connsiteX12" fmla="*/ 66018 w 83886"/>
              <a:gd name="connsiteY12" fmla="*/ 23469 h 55197"/>
              <a:gd name="connsiteX13" fmla="*/ 64322 w 83886"/>
              <a:gd name="connsiteY13" fmla="*/ 24384 h 55197"/>
              <a:gd name="connsiteX14" fmla="*/ 62179 w 83886"/>
              <a:gd name="connsiteY14" fmla="*/ 25184 h 55197"/>
              <a:gd name="connsiteX15" fmla="*/ 60360 w 83886"/>
              <a:gd name="connsiteY15" fmla="*/ 25670 h 55197"/>
              <a:gd name="connsiteX16" fmla="*/ 59636 w 83886"/>
              <a:gd name="connsiteY16" fmla="*/ 26775 h 55197"/>
              <a:gd name="connsiteX17" fmla="*/ 59198 w 83886"/>
              <a:gd name="connsiteY17" fmla="*/ 28004 h 55197"/>
              <a:gd name="connsiteX18" fmla="*/ 59312 w 83886"/>
              <a:gd name="connsiteY18" fmla="*/ 29185 h 55197"/>
              <a:gd name="connsiteX19" fmla="*/ 61170 w 83886"/>
              <a:gd name="connsiteY19" fmla="*/ 31518 h 55197"/>
              <a:gd name="connsiteX20" fmla="*/ 61417 w 83886"/>
              <a:gd name="connsiteY20" fmla="*/ 34004 h 55197"/>
              <a:gd name="connsiteX21" fmla="*/ 61217 w 83886"/>
              <a:gd name="connsiteY21" fmla="*/ 37043 h 55197"/>
              <a:gd name="connsiteX22" fmla="*/ 60789 w 83886"/>
              <a:gd name="connsiteY22" fmla="*/ 38662 h 55197"/>
              <a:gd name="connsiteX23" fmla="*/ 60055 w 83886"/>
              <a:gd name="connsiteY23" fmla="*/ 39738 h 55197"/>
              <a:gd name="connsiteX24" fmla="*/ 55493 w 83886"/>
              <a:gd name="connsiteY24" fmla="*/ 41129 h 55197"/>
              <a:gd name="connsiteX25" fmla="*/ 50759 w 83886"/>
              <a:gd name="connsiteY25" fmla="*/ 43615 h 55197"/>
              <a:gd name="connsiteX26" fmla="*/ 50654 w 83886"/>
              <a:gd name="connsiteY26" fmla="*/ 44187 h 55197"/>
              <a:gd name="connsiteX27" fmla="*/ 52816 w 83886"/>
              <a:gd name="connsiteY27" fmla="*/ 46387 h 55197"/>
              <a:gd name="connsiteX28" fmla="*/ 52902 w 83886"/>
              <a:gd name="connsiteY28" fmla="*/ 46939 h 55197"/>
              <a:gd name="connsiteX29" fmla="*/ 51111 w 83886"/>
              <a:gd name="connsiteY29" fmla="*/ 48187 h 55197"/>
              <a:gd name="connsiteX30" fmla="*/ 50940 w 83886"/>
              <a:gd name="connsiteY30" fmla="*/ 49444 h 55197"/>
              <a:gd name="connsiteX31" fmla="*/ 51140 w 83886"/>
              <a:gd name="connsiteY31" fmla="*/ 50892 h 55197"/>
              <a:gd name="connsiteX32" fmla="*/ 52092 w 83886"/>
              <a:gd name="connsiteY32" fmla="*/ 52388 h 55197"/>
              <a:gd name="connsiteX33" fmla="*/ 52435 w 83886"/>
              <a:gd name="connsiteY33" fmla="*/ 53730 h 55197"/>
              <a:gd name="connsiteX34" fmla="*/ 49835 w 83886"/>
              <a:gd name="connsiteY34" fmla="*/ 54702 h 55197"/>
              <a:gd name="connsiteX35" fmla="*/ 46311 w 83886"/>
              <a:gd name="connsiteY35" fmla="*/ 54340 h 55197"/>
              <a:gd name="connsiteX36" fmla="*/ 42139 w 83886"/>
              <a:gd name="connsiteY36" fmla="*/ 52483 h 55197"/>
              <a:gd name="connsiteX37" fmla="*/ 40681 w 83886"/>
              <a:gd name="connsiteY37" fmla="*/ 52749 h 55197"/>
              <a:gd name="connsiteX38" fmla="*/ 39271 w 83886"/>
              <a:gd name="connsiteY38" fmla="*/ 53721 h 55197"/>
              <a:gd name="connsiteX39" fmla="*/ 37824 w 83886"/>
              <a:gd name="connsiteY39" fmla="*/ 53302 h 55197"/>
              <a:gd name="connsiteX40" fmla="*/ 36233 w 83886"/>
              <a:gd name="connsiteY40" fmla="*/ 52149 h 55197"/>
              <a:gd name="connsiteX41" fmla="*/ 33985 w 83886"/>
              <a:gd name="connsiteY41" fmla="*/ 49759 h 55197"/>
              <a:gd name="connsiteX42" fmla="*/ 32890 w 83886"/>
              <a:gd name="connsiteY42" fmla="*/ 48282 h 55197"/>
              <a:gd name="connsiteX43" fmla="*/ 32442 w 83886"/>
              <a:gd name="connsiteY43" fmla="*/ 46720 h 55197"/>
              <a:gd name="connsiteX44" fmla="*/ 31832 w 83886"/>
              <a:gd name="connsiteY44" fmla="*/ 46491 h 55197"/>
              <a:gd name="connsiteX45" fmla="*/ 30899 w 83886"/>
              <a:gd name="connsiteY45" fmla="*/ 46949 h 55197"/>
              <a:gd name="connsiteX46" fmla="*/ 30128 w 83886"/>
              <a:gd name="connsiteY46" fmla="*/ 48854 h 55197"/>
              <a:gd name="connsiteX47" fmla="*/ 28051 w 83886"/>
              <a:gd name="connsiteY47" fmla="*/ 52254 h 55197"/>
              <a:gd name="connsiteX48" fmla="*/ 26508 w 83886"/>
              <a:gd name="connsiteY48" fmla="*/ 53178 h 55197"/>
              <a:gd name="connsiteX49" fmla="*/ 24193 w 83886"/>
              <a:gd name="connsiteY49" fmla="*/ 52978 h 55197"/>
              <a:gd name="connsiteX50" fmla="*/ 20936 w 83886"/>
              <a:gd name="connsiteY50" fmla="*/ 53035 h 55197"/>
              <a:gd name="connsiteX51" fmla="*/ 18907 w 83886"/>
              <a:gd name="connsiteY51" fmla="*/ 53321 h 55197"/>
              <a:gd name="connsiteX52" fmla="*/ 16430 w 83886"/>
              <a:gd name="connsiteY52" fmla="*/ 52121 h 55197"/>
              <a:gd name="connsiteX53" fmla="*/ 15830 w 83886"/>
              <a:gd name="connsiteY53" fmla="*/ 52349 h 55197"/>
              <a:gd name="connsiteX54" fmla="*/ 15830 w 83886"/>
              <a:gd name="connsiteY54" fmla="*/ 53140 h 55197"/>
              <a:gd name="connsiteX55" fmla="*/ 14907 w 83886"/>
              <a:gd name="connsiteY55" fmla="*/ 54378 h 55197"/>
              <a:gd name="connsiteX56" fmla="*/ 13383 w 83886"/>
              <a:gd name="connsiteY56" fmla="*/ 55197 h 55197"/>
              <a:gd name="connsiteX57" fmla="*/ 6344 w 83886"/>
              <a:gd name="connsiteY57" fmla="*/ 53359 h 55197"/>
              <a:gd name="connsiteX58" fmla="*/ 5344 w 83886"/>
              <a:gd name="connsiteY58" fmla="*/ 51835 h 55197"/>
              <a:gd name="connsiteX59" fmla="*/ 6934 w 83886"/>
              <a:gd name="connsiteY59" fmla="*/ 51111 h 55197"/>
              <a:gd name="connsiteX60" fmla="*/ 9134 w 83886"/>
              <a:gd name="connsiteY60" fmla="*/ 49139 h 55197"/>
              <a:gd name="connsiteX61" fmla="*/ 10630 w 83886"/>
              <a:gd name="connsiteY61" fmla="*/ 49359 h 55197"/>
              <a:gd name="connsiteX62" fmla="*/ 12478 w 83886"/>
              <a:gd name="connsiteY62" fmla="*/ 48939 h 55197"/>
              <a:gd name="connsiteX63" fmla="*/ 13278 w 83886"/>
              <a:gd name="connsiteY63" fmla="*/ 48101 h 55197"/>
              <a:gd name="connsiteX64" fmla="*/ 12116 w 83886"/>
              <a:gd name="connsiteY64" fmla="*/ 45606 h 55197"/>
              <a:gd name="connsiteX65" fmla="*/ 9182 w 83886"/>
              <a:gd name="connsiteY65" fmla="*/ 42519 h 55197"/>
              <a:gd name="connsiteX66" fmla="*/ 7630 w 83886"/>
              <a:gd name="connsiteY66" fmla="*/ 41348 h 55197"/>
              <a:gd name="connsiteX67" fmla="*/ 5486 w 83886"/>
              <a:gd name="connsiteY67" fmla="*/ 40567 h 55197"/>
              <a:gd name="connsiteX68" fmla="*/ 5125 w 83886"/>
              <a:gd name="connsiteY68" fmla="*/ 39738 h 55197"/>
              <a:gd name="connsiteX69" fmla="*/ 6305 w 83886"/>
              <a:gd name="connsiteY69" fmla="*/ 34852 h 55197"/>
              <a:gd name="connsiteX70" fmla="*/ 5944 w 83886"/>
              <a:gd name="connsiteY70" fmla="*/ 34157 h 55197"/>
              <a:gd name="connsiteX71" fmla="*/ 3505 w 83886"/>
              <a:gd name="connsiteY71" fmla="*/ 34385 h 55197"/>
              <a:gd name="connsiteX72" fmla="*/ 2934 w 83886"/>
              <a:gd name="connsiteY72" fmla="*/ 33880 h 55197"/>
              <a:gd name="connsiteX73" fmla="*/ 2734 w 83886"/>
              <a:gd name="connsiteY73" fmla="*/ 33033 h 55197"/>
              <a:gd name="connsiteX74" fmla="*/ 2896 w 83886"/>
              <a:gd name="connsiteY74" fmla="*/ 31871 h 55197"/>
              <a:gd name="connsiteX75" fmla="*/ 4543 w 83886"/>
              <a:gd name="connsiteY75" fmla="*/ 29956 h 55197"/>
              <a:gd name="connsiteX76" fmla="*/ 6372 w 83886"/>
              <a:gd name="connsiteY76" fmla="*/ 28270 h 55197"/>
              <a:gd name="connsiteX77" fmla="*/ 6868 w 83886"/>
              <a:gd name="connsiteY77" fmla="*/ 27327 h 55197"/>
              <a:gd name="connsiteX78" fmla="*/ 6801 w 83886"/>
              <a:gd name="connsiteY78" fmla="*/ 26575 h 55197"/>
              <a:gd name="connsiteX79" fmla="*/ 4448 w 83886"/>
              <a:gd name="connsiteY79" fmla="*/ 25832 h 55197"/>
              <a:gd name="connsiteX80" fmla="*/ 3039 w 83886"/>
              <a:gd name="connsiteY80" fmla="*/ 25060 h 55197"/>
              <a:gd name="connsiteX81" fmla="*/ 1914 w 83886"/>
              <a:gd name="connsiteY81" fmla="*/ 24794 h 55197"/>
              <a:gd name="connsiteX82" fmla="*/ 1143 w 83886"/>
              <a:gd name="connsiteY82" fmla="*/ 25222 h 55197"/>
              <a:gd name="connsiteX83" fmla="*/ 581 w 83886"/>
              <a:gd name="connsiteY83" fmla="*/ 24736 h 55197"/>
              <a:gd name="connsiteX84" fmla="*/ 0 w 83886"/>
              <a:gd name="connsiteY84" fmla="*/ 23327 h 55197"/>
              <a:gd name="connsiteX85" fmla="*/ 571 w 83886"/>
              <a:gd name="connsiteY85" fmla="*/ 21164 h 55197"/>
              <a:gd name="connsiteX86" fmla="*/ 2686 w 83886"/>
              <a:gd name="connsiteY86" fmla="*/ 19174 h 55197"/>
              <a:gd name="connsiteX87" fmla="*/ 4953 w 83886"/>
              <a:gd name="connsiteY87" fmla="*/ 17402 h 55197"/>
              <a:gd name="connsiteX88" fmla="*/ 6925 w 83886"/>
              <a:gd name="connsiteY88" fmla="*/ 16107 h 55197"/>
              <a:gd name="connsiteX89" fmla="*/ 8058 w 83886"/>
              <a:gd name="connsiteY89" fmla="*/ 15554 h 55197"/>
              <a:gd name="connsiteX90" fmla="*/ 8601 w 83886"/>
              <a:gd name="connsiteY90" fmla="*/ 13325 h 55197"/>
              <a:gd name="connsiteX91" fmla="*/ 9782 w 83886"/>
              <a:gd name="connsiteY91" fmla="*/ 13563 h 55197"/>
              <a:gd name="connsiteX92" fmla="*/ 12116 w 83886"/>
              <a:gd name="connsiteY92" fmla="*/ 13678 h 55197"/>
              <a:gd name="connsiteX93" fmla="*/ 14726 w 83886"/>
              <a:gd name="connsiteY93" fmla="*/ 14183 h 55197"/>
              <a:gd name="connsiteX94" fmla="*/ 17145 w 83886"/>
              <a:gd name="connsiteY94" fmla="*/ 14811 h 55197"/>
              <a:gd name="connsiteX95" fmla="*/ 19288 w 83886"/>
              <a:gd name="connsiteY95" fmla="*/ 15592 h 55197"/>
              <a:gd name="connsiteX96" fmla="*/ 23765 w 83886"/>
              <a:gd name="connsiteY96" fmla="*/ 16411 h 55197"/>
              <a:gd name="connsiteX97" fmla="*/ 27851 w 83886"/>
              <a:gd name="connsiteY97" fmla="*/ 16907 h 55197"/>
              <a:gd name="connsiteX98" fmla="*/ 29080 w 83886"/>
              <a:gd name="connsiteY98" fmla="*/ 17364 h 55197"/>
              <a:gd name="connsiteX99" fmla="*/ 30080 w 83886"/>
              <a:gd name="connsiteY99" fmla="*/ 17326 h 55197"/>
              <a:gd name="connsiteX100" fmla="*/ 31328 w 83886"/>
              <a:gd name="connsiteY100" fmla="*/ 17993 h 55197"/>
              <a:gd name="connsiteX101" fmla="*/ 32052 w 83886"/>
              <a:gd name="connsiteY101" fmla="*/ 17478 h 55197"/>
              <a:gd name="connsiteX102" fmla="*/ 32585 w 83886"/>
              <a:gd name="connsiteY102" fmla="*/ 16593 h 55197"/>
              <a:gd name="connsiteX103" fmla="*/ 34804 w 83886"/>
              <a:gd name="connsiteY103" fmla="*/ 15526 h 55197"/>
              <a:gd name="connsiteX104" fmla="*/ 36852 w 83886"/>
              <a:gd name="connsiteY104" fmla="*/ 14144 h 55197"/>
              <a:gd name="connsiteX105" fmla="*/ 38291 w 83886"/>
              <a:gd name="connsiteY105" fmla="*/ 12392 h 55197"/>
              <a:gd name="connsiteX106" fmla="*/ 39100 w 83886"/>
              <a:gd name="connsiteY106" fmla="*/ 11001 h 55197"/>
              <a:gd name="connsiteX107" fmla="*/ 40510 w 83886"/>
              <a:gd name="connsiteY107" fmla="*/ 10011 h 55197"/>
              <a:gd name="connsiteX108" fmla="*/ 42006 w 83886"/>
              <a:gd name="connsiteY108" fmla="*/ 9725 h 55197"/>
              <a:gd name="connsiteX109" fmla="*/ 43377 w 83886"/>
              <a:gd name="connsiteY109" fmla="*/ 9230 h 55197"/>
              <a:gd name="connsiteX110" fmla="*/ 49159 w 83886"/>
              <a:gd name="connsiteY110" fmla="*/ 8572 h 55197"/>
              <a:gd name="connsiteX111" fmla="*/ 55102 w 83886"/>
              <a:gd name="connsiteY111" fmla="*/ 9096 h 55197"/>
              <a:gd name="connsiteX112" fmla="*/ 57931 w 83886"/>
              <a:gd name="connsiteY112" fmla="*/ 8115 h 55197"/>
              <a:gd name="connsiteX113" fmla="*/ 60265 w 83886"/>
              <a:gd name="connsiteY113" fmla="*/ 6420 h 55197"/>
              <a:gd name="connsiteX114" fmla="*/ 63684 w 83886"/>
              <a:gd name="connsiteY114" fmla="*/ 5944 h 55197"/>
              <a:gd name="connsiteX115" fmla="*/ 63855 w 83886"/>
              <a:gd name="connsiteY115" fmla="*/ 5915 h 55197"/>
              <a:gd name="connsiteX116" fmla="*/ 68952 w 83886"/>
              <a:gd name="connsiteY116" fmla="*/ 7230 h 55197"/>
              <a:gd name="connsiteX117" fmla="*/ 69342 w 83886"/>
              <a:gd name="connsiteY117" fmla="*/ 6467 h 55197"/>
              <a:gd name="connsiteX118" fmla="*/ 69561 w 83886"/>
              <a:gd name="connsiteY118" fmla="*/ 6125 h 55197"/>
              <a:gd name="connsiteX119" fmla="*/ 69466 w 83886"/>
              <a:gd name="connsiteY119" fmla="*/ 2419 h 55197"/>
              <a:gd name="connsiteX120" fmla="*/ 71085 w 83886"/>
              <a:gd name="connsiteY120" fmla="*/ 724 h 55197"/>
              <a:gd name="connsiteX121" fmla="*/ 72571 w 83886"/>
              <a:gd name="connsiteY121" fmla="*/ 0 h 55197"/>
              <a:gd name="connsiteX122" fmla="*/ 77667 w 83886"/>
              <a:gd name="connsiteY122" fmla="*/ 238 h 55197"/>
              <a:gd name="connsiteX123" fmla="*/ 78334 w 83886"/>
              <a:gd name="connsiteY123" fmla="*/ 1381 h 55197"/>
              <a:gd name="connsiteX124" fmla="*/ 78600 w 83886"/>
              <a:gd name="connsiteY124" fmla="*/ 3153 h 55197"/>
              <a:gd name="connsiteX125" fmla="*/ 79057 w 83886"/>
              <a:gd name="connsiteY125" fmla="*/ 5524 h 55197"/>
              <a:gd name="connsiteX126" fmla="*/ 79905 w 83886"/>
              <a:gd name="connsiteY126" fmla="*/ 6172 h 55197"/>
              <a:gd name="connsiteX127" fmla="*/ 80372 w 83886"/>
              <a:gd name="connsiteY127" fmla="*/ 7106 h 55197"/>
              <a:gd name="connsiteX128" fmla="*/ 80276 w 83886"/>
              <a:gd name="connsiteY128" fmla="*/ 8744 h 55197"/>
              <a:gd name="connsiteX129" fmla="*/ 81277 w 83886"/>
              <a:gd name="connsiteY129" fmla="*/ 9963 h 55197"/>
              <a:gd name="connsiteX130" fmla="*/ 83601 w 83886"/>
              <a:gd name="connsiteY130" fmla="*/ 13259 h 5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83886" h="55197">
                <a:moveTo>
                  <a:pt x="83887" y="14116"/>
                </a:moveTo>
                <a:lnTo>
                  <a:pt x="81525" y="13173"/>
                </a:lnTo>
                <a:lnTo>
                  <a:pt x="78677" y="12773"/>
                </a:lnTo>
                <a:lnTo>
                  <a:pt x="78143" y="13287"/>
                </a:lnTo>
                <a:lnTo>
                  <a:pt x="77000" y="13811"/>
                </a:lnTo>
                <a:lnTo>
                  <a:pt x="76419" y="14745"/>
                </a:lnTo>
                <a:lnTo>
                  <a:pt x="76858" y="18402"/>
                </a:lnTo>
                <a:lnTo>
                  <a:pt x="76172" y="19031"/>
                </a:lnTo>
                <a:lnTo>
                  <a:pt x="72933" y="18669"/>
                </a:lnTo>
                <a:lnTo>
                  <a:pt x="71866" y="19088"/>
                </a:lnTo>
                <a:lnTo>
                  <a:pt x="70104" y="21631"/>
                </a:lnTo>
                <a:lnTo>
                  <a:pt x="68304" y="22708"/>
                </a:lnTo>
                <a:lnTo>
                  <a:pt x="66018" y="23469"/>
                </a:lnTo>
                <a:lnTo>
                  <a:pt x="64322" y="24384"/>
                </a:lnTo>
                <a:lnTo>
                  <a:pt x="62179" y="25184"/>
                </a:lnTo>
                <a:lnTo>
                  <a:pt x="60360" y="25670"/>
                </a:lnTo>
                <a:lnTo>
                  <a:pt x="59636" y="26775"/>
                </a:lnTo>
                <a:lnTo>
                  <a:pt x="59198" y="28004"/>
                </a:lnTo>
                <a:lnTo>
                  <a:pt x="59312" y="29185"/>
                </a:lnTo>
                <a:lnTo>
                  <a:pt x="61170" y="31518"/>
                </a:lnTo>
                <a:lnTo>
                  <a:pt x="61417" y="34004"/>
                </a:lnTo>
                <a:lnTo>
                  <a:pt x="61217" y="37043"/>
                </a:lnTo>
                <a:lnTo>
                  <a:pt x="60789" y="38662"/>
                </a:lnTo>
                <a:lnTo>
                  <a:pt x="60055" y="39738"/>
                </a:lnTo>
                <a:lnTo>
                  <a:pt x="55493" y="41129"/>
                </a:lnTo>
                <a:lnTo>
                  <a:pt x="50759" y="43615"/>
                </a:lnTo>
                <a:lnTo>
                  <a:pt x="50654" y="44187"/>
                </a:lnTo>
                <a:lnTo>
                  <a:pt x="52816" y="46387"/>
                </a:lnTo>
                <a:lnTo>
                  <a:pt x="52902" y="46939"/>
                </a:lnTo>
                <a:lnTo>
                  <a:pt x="51111" y="48187"/>
                </a:lnTo>
                <a:lnTo>
                  <a:pt x="50940" y="49444"/>
                </a:lnTo>
                <a:lnTo>
                  <a:pt x="51140" y="50892"/>
                </a:lnTo>
                <a:lnTo>
                  <a:pt x="52092" y="52388"/>
                </a:lnTo>
                <a:lnTo>
                  <a:pt x="52435" y="53730"/>
                </a:lnTo>
                <a:lnTo>
                  <a:pt x="49835" y="54702"/>
                </a:lnTo>
                <a:lnTo>
                  <a:pt x="46311" y="54340"/>
                </a:lnTo>
                <a:lnTo>
                  <a:pt x="42139" y="52483"/>
                </a:lnTo>
                <a:lnTo>
                  <a:pt x="40681" y="52749"/>
                </a:lnTo>
                <a:lnTo>
                  <a:pt x="39271" y="53721"/>
                </a:lnTo>
                <a:lnTo>
                  <a:pt x="37824" y="53302"/>
                </a:lnTo>
                <a:lnTo>
                  <a:pt x="36233" y="52149"/>
                </a:lnTo>
                <a:lnTo>
                  <a:pt x="33985" y="49759"/>
                </a:lnTo>
                <a:lnTo>
                  <a:pt x="32890" y="48282"/>
                </a:lnTo>
                <a:lnTo>
                  <a:pt x="32442" y="46720"/>
                </a:lnTo>
                <a:lnTo>
                  <a:pt x="31832" y="46491"/>
                </a:lnTo>
                <a:lnTo>
                  <a:pt x="30899" y="46949"/>
                </a:lnTo>
                <a:lnTo>
                  <a:pt x="30128" y="48854"/>
                </a:lnTo>
                <a:lnTo>
                  <a:pt x="28051" y="52254"/>
                </a:lnTo>
                <a:lnTo>
                  <a:pt x="26508" y="53178"/>
                </a:lnTo>
                <a:lnTo>
                  <a:pt x="24193" y="52978"/>
                </a:lnTo>
                <a:lnTo>
                  <a:pt x="20936" y="53035"/>
                </a:lnTo>
                <a:lnTo>
                  <a:pt x="18907" y="53321"/>
                </a:lnTo>
                <a:lnTo>
                  <a:pt x="16430" y="52121"/>
                </a:lnTo>
                <a:lnTo>
                  <a:pt x="15830" y="52349"/>
                </a:lnTo>
                <a:lnTo>
                  <a:pt x="15830" y="53140"/>
                </a:lnTo>
                <a:lnTo>
                  <a:pt x="14907" y="54378"/>
                </a:lnTo>
                <a:lnTo>
                  <a:pt x="13383" y="55197"/>
                </a:lnTo>
                <a:lnTo>
                  <a:pt x="6344" y="53359"/>
                </a:lnTo>
                <a:lnTo>
                  <a:pt x="5344" y="51835"/>
                </a:lnTo>
                <a:lnTo>
                  <a:pt x="6934" y="51111"/>
                </a:lnTo>
                <a:lnTo>
                  <a:pt x="9134" y="49139"/>
                </a:lnTo>
                <a:lnTo>
                  <a:pt x="10630" y="49359"/>
                </a:lnTo>
                <a:lnTo>
                  <a:pt x="12478" y="48939"/>
                </a:lnTo>
                <a:lnTo>
                  <a:pt x="13278" y="48101"/>
                </a:lnTo>
                <a:lnTo>
                  <a:pt x="12116" y="45606"/>
                </a:lnTo>
                <a:lnTo>
                  <a:pt x="9182" y="42519"/>
                </a:lnTo>
                <a:lnTo>
                  <a:pt x="7630" y="41348"/>
                </a:lnTo>
                <a:lnTo>
                  <a:pt x="5486" y="40567"/>
                </a:lnTo>
                <a:lnTo>
                  <a:pt x="5125" y="39738"/>
                </a:lnTo>
                <a:lnTo>
                  <a:pt x="6305" y="34852"/>
                </a:lnTo>
                <a:lnTo>
                  <a:pt x="5944" y="34157"/>
                </a:lnTo>
                <a:lnTo>
                  <a:pt x="3505" y="34385"/>
                </a:lnTo>
                <a:lnTo>
                  <a:pt x="2934" y="33880"/>
                </a:lnTo>
                <a:lnTo>
                  <a:pt x="2734" y="33033"/>
                </a:lnTo>
                <a:lnTo>
                  <a:pt x="2896" y="31871"/>
                </a:lnTo>
                <a:lnTo>
                  <a:pt x="4543" y="29956"/>
                </a:lnTo>
                <a:lnTo>
                  <a:pt x="6372" y="28270"/>
                </a:lnTo>
                <a:lnTo>
                  <a:pt x="6868" y="27327"/>
                </a:lnTo>
                <a:lnTo>
                  <a:pt x="6801" y="26575"/>
                </a:lnTo>
                <a:lnTo>
                  <a:pt x="4448" y="25832"/>
                </a:lnTo>
                <a:lnTo>
                  <a:pt x="3039" y="25060"/>
                </a:lnTo>
                <a:lnTo>
                  <a:pt x="1914" y="24794"/>
                </a:lnTo>
                <a:lnTo>
                  <a:pt x="1143" y="25222"/>
                </a:lnTo>
                <a:lnTo>
                  <a:pt x="581" y="24736"/>
                </a:lnTo>
                <a:lnTo>
                  <a:pt x="0" y="23327"/>
                </a:lnTo>
                <a:lnTo>
                  <a:pt x="571" y="21164"/>
                </a:lnTo>
                <a:lnTo>
                  <a:pt x="2686" y="19174"/>
                </a:lnTo>
                <a:lnTo>
                  <a:pt x="4953" y="17402"/>
                </a:lnTo>
                <a:lnTo>
                  <a:pt x="6925" y="16107"/>
                </a:lnTo>
                <a:lnTo>
                  <a:pt x="8058" y="15554"/>
                </a:lnTo>
                <a:lnTo>
                  <a:pt x="8601" y="13325"/>
                </a:lnTo>
                <a:lnTo>
                  <a:pt x="9782" y="13563"/>
                </a:lnTo>
                <a:lnTo>
                  <a:pt x="12116" y="13678"/>
                </a:lnTo>
                <a:lnTo>
                  <a:pt x="14726" y="14183"/>
                </a:lnTo>
                <a:lnTo>
                  <a:pt x="17145" y="14811"/>
                </a:lnTo>
                <a:lnTo>
                  <a:pt x="19288" y="15592"/>
                </a:lnTo>
                <a:lnTo>
                  <a:pt x="23765" y="16411"/>
                </a:lnTo>
                <a:lnTo>
                  <a:pt x="27851" y="16907"/>
                </a:lnTo>
                <a:lnTo>
                  <a:pt x="29080" y="17364"/>
                </a:lnTo>
                <a:lnTo>
                  <a:pt x="30080" y="17326"/>
                </a:lnTo>
                <a:lnTo>
                  <a:pt x="31328" y="17993"/>
                </a:lnTo>
                <a:lnTo>
                  <a:pt x="32052" y="17478"/>
                </a:lnTo>
                <a:lnTo>
                  <a:pt x="32585" y="16593"/>
                </a:lnTo>
                <a:lnTo>
                  <a:pt x="34804" y="15526"/>
                </a:lnTo>
                <a:lnTo>
                  <a:pt x="36852" y="14144"/>
                </a:lnTo>
                <a:lnTo>
                  <a:pt x="38291" y="12392"/>
                </a:lnTo>
                <a:lnTo>
                  <a:pt x="39100" y="11001"/>
                </a:lnTo>
                <a:lnTo>
                  <a:pt x="40510" y="10011"/>
                </a:lnTo>
                <a:lnTo>
                  <a:pt x="42006" y="9725"/>
                </a:lnTo>
                <a:lnTo>
                  <a:pt x="43377" y="9230"/>
                </a:lnTo>
                <a:lnTo>
                  <a:pt x="49159" y="8572"/>
                </a:lnTo>
                <a:lnTo>
                  <a:pt x="55102" y="9096"/>
                </a:lnTo>
                <a:lnTo>
                  <a:pt x="57931" y="8115"/>
                </a:lnTo>
                <a:lnTo>
                  <a:pt x="60265" y="6420"/>
                </a:lnTo>
                <a:lnTo>
                  <a:pt x="63684" y="5944"/>
                </a:lnTo>
                <a:lnTo>
                  <a:pt x="63855" y="5915"/>
                </a:lnTo>
                <a:lnTo>
                  <a:pt x="68952" y="7230"/>
                </a:lnTo>
                <a:lnTo>
                  <a:pt x="69342" y="6467"/>
                </a:lnTo>
                <a:lnTo>
                  <a:pt x="69561" y="6125"/>
                </a:lnTo>
                <a:lnTo>
                  <a:pt x="69466" y="2419"/>
                </a:lnTo>
                <a:lnTo>
                  <a:pt x="71085" y="724"/>
                </a:lnTo>
                <a:lnTo>
                  <a:pt x="72571" y="0"/>
                </a:lnTo>
                <a:lnTo>
                  <a:pt x="77667" y="238"/>
                </a:lnTo>
                <a:lnTo>
                  <a:pt x="78334" y="1381"/>
                </a:lnTo>
                <a:lnTo>
                  <a:pt x="78600" y="3153"/>
                </a:lnTo>
                <a:lnTo>
                  <a:pt x="79057" y="5524"/>
                </a:lnTo>
                <a:lnTo>
                  <a:pt x="79905" y="6172"/>
                </a:lnTo>
                <a:lnTo>
                  <a:pt x="80372" y="7106"/>
                </a:lnTo>
                <a:lnTo>
                  <a:pt x="80276" y="8744"/>
                </a:lnTo>
                <a:lnTo>
                  <a:pt x="81277" y="9963"/>
                </a:lnTo>
                <a:lnTo>
                  <a:pt x="83601" y="13259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1" name="Forme libre : forme 50">
            <a:extLst>
              <a:ext uri="{FF2B5EF4-FFF2-40B4-BE49-F238E27FC236}">
                <a16:creationId xmlns:a16="http://schemas.microsoft.com/office/drawing/2014/main" id="{208ED8C7-76EA-ACBB-8D80-2EF3571B08E5}"/>
              </a:ext>
            </a:extLst>
          </p:cNvPr>
          <p:cNvSpPr/>
          <p:nvPr/>
        </p:nvSpPr>
        <p:spPr>
          <a:xfrm>
            <a:off x="6109476" y="3578665"/>
            <a:ext cx="197905" cy="96591"/>
          </a:xfrm>
          <a:custGeom>
            <a:avLst/>
            <a:gdLst>
              <a:gd name="connsiteX0" fmla="*/ 151733 w 151733"/>
              <a:gd name="connsiteY0" fmla="*/ 21479 h 74056"/>
              <a:gd name="connsiteX1" fmla="*/ 151343 w 151733"/>
              <a:gd name="connsiteY1" fmla="*/ 23155 h 74056"/>
              <a:gd name="connsiteX2" fmla="*/ 150247 w 151733"/>
              <a:gd name="connsiteY2" fmla="*/ 25108 h 74056"/>
              <a:gd name="connsiteX3" fmla="*/ 148886 w 151733"/>
              <a:gd name="connsiteY3" fmla="*/ 27127 h 74056"/>
              <a:gd name="connsiteX4" fmla="*/ 147742 w 151733"/>
              <a:gd name="connsiteY4" fmla="*/ 29566 h 74056"/>
              <a:gd name="connsiteX5" fmla="*/ 146218 w 151733"/>
              <a:gd name="connsiteY5" fmla="*/ 34757 h 74056"/>
              <a:gd name="connsiteX6" fmla="*/ 145228 w 151733"/>
              <a:gd name="connsiteY6" fmla="*/ 37157 h 74056"/>
              <a:gd name="connsiteX7" fmla="*/ 141151 w 151733"/>
              <a:gd name="connsiteY7" fmla="*/ 41881 h 74056"/>
              <a:gd name="connsiteX8" fmla="*/ 140865 w 151733"/>
              <a:gd name="connsiteY8" fmla="*/ 48444 h 74056"/>
              <a:gd name="connsiteX9" fmla="*/ 140313 w 151733"/>
              <a:gd name="connsiteY9" fmla="*/ 48921 h 74056"/>
              <a:gd name="connsiteX10" fmla="*/ 131102 w 151733"/>
              <a:gd name="connsiteY10" fmla="*/ 51140 h 74056"/>
              <a:gd name="connsiteX11" fmla="*/ 129893 w 151733"/>
              <a:gd name="connsiteY11" fmla="*/ 50806 h 74056"/>
              <a:gd name="connsiteX12" fmla="*/ 128635 w 151733"/>
              <a:gd name="connsiteY12" fmla="*/ 49530 h 74056"/>
              <a:gd name="connsiteX13" fmla="*/ 127940 w 151733"/>
              <a:gd name="connsiteY13" fmla="*/ 48597 h 74056"/>
              <a:gd name="connsiteX14" fmla="*/ 127511 w 151733"/>
              <a:gd name="connsiteY14" fmla="*/ 47920 h 74056"/>
              <a:gd name="connsiteX15" fmla="*/ 126711 w 151733"/>
              <a:gd name="connsiteY15" fmla="*/ 46101 h 74056"/>
              <a:gd name="connsiteX16" fmla="*/ 125654 w 151733"/>
              <a:gd name="connsiteY16" fmla="*/ 44815 h 74056"/>
              <a:gd name="connsiteX17" fmla="*/ 124092 w 151733"/>
              <a:gd name="connsiteY17" fmla="*/ 43758 h 74056"/>
              <a:gd name="connsiteX18" fmla="*/ 122663 w 151733"/>
              <a:gd name="connsiteY18" fmla="*/ 42539 h 74056"/>
              <a:gd name="connsiteX19" fmla="*/ 120825 w 151733"/>
              <a:gd name="connsiteY19" fmla="*/ 42491 h 74056"/>
              <a:gd name="connsiteX20" fmla="*/ 115853 w 151733"/>
              <a:gd name="connsiteY20" fmla="*/ 44215 h 74056"/>
              <a:gd name="connsiteX21" fmla="*/ 112405 w 151733"/>
              <a:gd name="connsiteY21" fmla="*/ 44406 h 74056"/>
              <a:gd name="connsiteX22" fmla="*/ 110100 w 151733"/>
              <a:gd name="connsiteY22" fmla="*/ 43853 h 74056"/>
              <a:gd name="connsiteX23" fmla="*/ 107032 w 151733"/>
              <a:gd name="connsiteY23" fmla="*/ 42806 h 74056"/>
              <a:gd name="connsiteX24" fmla="*/ 101060 w 151733"/>
              <a:gd name="connsiteY24" fmla="*/ 42644 h 74056"/>
              <a:gd name="connsiteX25" fmla="*/ 96974 w 151733"/>
              <a:gd name="connsiteY25" fmla="*/ 43558 h 74056"/>
              <a:gd name="connsiteX26" fmla="*/ 96564 w 151733"/>
              <a:gd name="connsiteY26" fmla="*/ 44844 h 74056"/>
              <a:gd name="connsiteX27" fmla="*/ 92793 w 151733"/>
              <a:gd name="connsiteY27" fmla="*/ 52845 h 74056"/>
              <a:gd name="connsiteX28" fmla="*/ 87306 w 151733"/>
              <a:gd name="connsiteY28" fmla="*/ 55797 h 74056"/>
              <a:gd name="connsiteX29" fmla="*/ 82544 w 151733"/>
              <a:gd name="connsiteY29" fmla="*/ 58807 h 74056"/>
              <a:gd name="connsiteX30" fmla="*/ 81162 w 151733"/>
              <a:gd name="connsiteY30" fmla="*/ 59417 h 74056"/>
              <a:gd name="connsiteX31" fmla="*/ 78791 w 151733"/>
              <a:gd name="connsiteY31" fmla="*/ 58464 h 74056"/>
              <a:gd name="connsiteX32" fmla="*/ 76095 w 151733"/>
              <a:gd name="connsiteY32" fmla="*/ 56683 h 74056"/>
              <a:gd name="connsiteX33" fmla="*/ 73857 w 151733"/>
              <a:gd name="connsiteY33" fmla="*/ 55750 h 74056"/>
              <a:gd name="connsiteX34" fmla="*/ 72219 w 151733"/>
              <a:gd name="connsiteY34" fmla="*/ 56159 h 74056"/>
              <a:gd name="connsiteX35" fmla="*/ 70438 w 151733"/>
              <a:gd name="connsiteY35" fmla="*/ 58188 h 74056"/>
              <a:gd name="connsiteX36" fmla="*/ 69618 w 151733"/>
              <a:gd name="connsiteY36" fmla="*/ 60236 h 74056"/>
              <a:gd name="connsiteX37" fmla="*/ 64227 w 151733"/>
              <a:gd name="connsiteY37" fmla="*/ 61741 h 74056"/>
              <a:gd name="connsiteX38" fmla="*/ 54845 w 151733"/>
              <a:gd name="connsiteY38" fmla="*/ 62627 h 74056"/>
              <a:gd name="connsiteX39" fmla="*/ 51568 w 151733"/>
              <a:gd name="connsiteY39" fmla="*/ 64646 h 74056"/>
              <a:gd name="connsiteX40" fmla="*/ 50454 w 151733"/>
              <a:gd name="connsiteY40" fmla="*/ 67066 h 74056"/>
              <a:gd name="connsiteX41" fmla="*/ 50406 w 151733"/>
              <a:gd name="connsiteY41" fmla="*/ 68923 h 74056"/>
              <a:gd name="connsiteX42" fmla="*/ 51207 w 151733"/>
              <a:gd name="connsiteY42" fmla="*/ 70504 h 74056"/>
              <a:gd name="connsiteX43" fmla="*/ 50206 w 151733"/>
              <a:gd name="connsiteY43" fmla="*/ 72342 h 74056"/>
              <a:gd name="connsiteX44" fmla="*/ 49768 w 151733"/>
              <a:gd name="connsiteY44" fmla="*/ 73114 h 74056"/>
              <a:gd name="connsiteX45" fmla="*/ 43139 w 151733"/>
              <a:gd name="connsiteY45" fmla="*/ 73514 h 74056"/>
              <a:gd name="connsiteX46" fmla="*/ 34300 w 151733"/>
              <a:gd name="connsiteY46" fmla="*/ 74057 h 74056"/>
              <a:gd name="connsiteX47" fmla="*/ 29013 w 151733"/>
              <a:gd name="connsiteY47" fmla="*/ 73914 h 74056"/>
              <a:gd name="connsiteX48" fmla="*/ 24041 w 151733"/>
              <a:gd name="connsiteY48" fmla="*/ 73790 h 74056"/>
              <a:gd name="connsiteX49" fmla="*/ 20660 w 151733"/>
              <a:gd name="connsiteY49" fmla="*/ 72209 h 74056"/>
              <a:gd name="connsiteX50" fmla="*/ 16526 w 151733"/>
              <a:gd name="connsiteY50" fmla="*/ 69123 h 74056"/>
              <a:gd name="connsiteX51" fmla="*/ 12154 w 151733"/>
              <a:gd name="connsiteY51" fmla="*/ 65018 h 74056"/>
              <a:gd name="connsiteX52" fmla="*/ 11735 w 151733"/>
              <a:gd name="connsiteY52" fmla="*/ 64922 h 74056"/>
              <a:gd name="connsiteX53" fmla="*/ 11087 w 151733"/>
              <a:gd name="connsiteY53" fmla="*/ 64484 h 74056"/>
              <a:gd name="connsiteX54" fmla="*/ 8344 w 151733"/>
              <a:gd name="connsiteY54" fmla="*/ 64170 h 74056"/>
              <a:gd name="connsiteX55" fmla="*/ 7611 w 151733"/>
              <a:gd name="connsiteY55" fmla="*/ 64418 h 74056"/>
              <a:gd name="connsiteX56" fmla="*/ 5972 w 151733"/>
              <a:gd name="connsiteY56" fmla="*/ 63075 h 74056"/>
              <a:gd name="connsiteX57" fmla="*/ 5496 w 151733"/>
              <a:gd name="connsiteY57" fmla="*/ 61331 h 74056"/>
              <a:gd name="connsiteX58" fmla="*/ 2943 w 151733"/>
              <a:gd name="connsiteY58" fmla="*/ 56750 h 74056"/>
              <a:gd name="connsiteX59" fmla="*/ 76 w 151733"/>
              <a:gd name="connsiteY59" fmla="*/ 49187 h 74056"/>
              <a:gd name="connsiteX60" fmla="*/ 0 w 151733"/>
              <a:gd name="connsiteY60" fmla="*/ 46997 h 74056"/>
              <a:gd name="connsiteX61" fmla="*/ 1124 w 151733"/>
              <a:gd name="connsiteY61" fmla="*/ 44501 h 74056"/>
              <a:gd name="connsiteX62" fmla="*/ 2162 w 151733"/>
              <a:gd name="connsiteY62" fmla="*/ 42586 h 74056"/>
              <a:gd name="connsiteX63" fmla="*/ 2315 w 151733"/>
              <a:gd name="connsiteY63" fmla="*/ 41072 h 74056"/>
              <a:gd name="connsiteX64" fmla="*/ 2420 w 151733"/>
              <a:gd name="connsiteY64" fmla="*/ 40662 h 74056"/>
              <a:gd name="connsiteX65" fmla="*/ 3286 w 151733"/>
              <a:gd name="connsiteY65" fmla="*/ 37510 h 74056"/>
              <a:gd name="connsiteX66" fmla="*/ 5362 w 151733"/>
              <a:gd name="connsiteY66" fmla="*/ 33319 h 74056"/>
              <a:gd name="connsiteX67" fmla="*/ 7306 w 151733"/>
              <a:gd name="connsiteY67" fmla="*/ 30880 h 74056"/>
              <a:gd name="connsiteX68" fmla="*/ 8706 w 151733"/>
              <a:gd name="connsiteY68" fmla="*/ 30071 h 74056"/>
              <a:gd name="connsiteX69" fmla="*/ 11611 w 151733"/>
              <a:gd name="connsiteY69" fmla="*/ 30804 h 74056"/>
              <a:gd name="connsiteX70" fmla="*/ 16573 w 151733"/>
              <a:gd name="connsiteY70" fmla="*/ 31413 h 74056"/>
              <a:gd name="connsiteX71" fmla="*/ 20393 w 151733"/>
              <a:gd name="connsiteY71" fmla="*/ 30842 h 74056"/>
              <a:gd name="connsiteX72" fmla="*/ 23956 w 151733"/>
              <a:gd name="connsiteY72" fmla="*/ 28966 h 74056"/>
              <a:gd name="connsiteX73" fmla="*/ 25889 w 151733"/>
              <a:gd name="connsiteY73" fmla="*/ 27327 h 74056"/>
              <a:gd name="connsiteX74" fmla="*/ 27537 w 151733"/>
              <a:gd name="connsiteY74" fmla="*/ 25603 h 74056"/>
              <a:gd name="connsiteX75" fmla="*/ 28090 w 151733"/>
              <a:gd name="connsiteY75" fmla="*/ 24479 h 74056"/>
              <a:gd name="connsiteX76" fmla="*/ 28823 w 151733"/>
              <a:gd name="connsiteY76" fmla="*/ 23946 h 74056"/>
              <a:gd name="connsiteX77" fmla="*/ 31766 w 151733"/>
              <a:gd name="connsiteY77" fmla="*/ 22946 h 74056"/>
              <a:gd name="connsiteX78" fmla="*/ 32709 w 151733"/>
              <a:gd name="connsiteY78" fmla="*/ 21784 h 74056"/>
              <a:gd name="connsiteX79" fmla="*/ 33090 w 151733"/>
              <a:gd name="connsiteY79" fmla="*/ 19574 h 74056"/>
              <a:gd name="connsiteX80" fmla="*/ 33347 w 151733"/>
              <a:gd name="connsiteY80" fmla="*/ 17116 h 74056"/>
              <a:gd name="connsiteX81" fmla="*/ 33947 w 151733"/>
              <a:gd name="connsiteY81" fmla="*/ 15288 h 74056"/>
              <a:gd name="connsiteX82" fmla="*/ 34710 w 151733"/>
              <a:gd name="connsiteY82" fmla="*/ 13945 h 74056"/>
              <a:gd name="connsiteX83" fmla="*/ 40157 w 151733"/>
              <a:gd name="connsiteY83" fmla="*/ 10725 h 74056"/>
              <a:gd name="connsiteX84" fmla="*/ 40653 w 151733"/>
              <a:gd name="connsiteY84" fmla="*/ 9582 h 74056"/>
              <a:gd name="connsiteX85" fmla="*/ 41520 w 151733"/>
              <a:gd name="connsiteY85" fmla="*/ 8487 h 74056"/>
              <a:gd name="connsiteX86" fmla="*/ 43139 w 151733"/>
              <a:gd name="connsiteY86" fmla="*/ 7249 h 74056"/>
              <a:gd name="connsiteX87" fmla="*/ 44701 w 151733"/>
              <a:gd name="connsiteY87" fmla="*/ 5458 h 74056"/>
              <a:gd name="connsiteX88" fmla="*/ 46358 w 151733"/>
              <a:gd name="connsiteY88" fmla="*/ 4363 h 74056"/>
              <a:gd name="connsiteX89" fmla="*/ 48483 w 151733"/>
              <a:gd name="connsiteY89" fmla="*/ 4486 h 74056"/>
              <a:gd name="connsiteX90" fmla="*/ 50445 w 151733"/>
              <a:gd name="connsiteY90" fmla="*/ 4258 h 74056"/>
              <a:gd name="connsiteX91" fmla="*/ 51978 w 151733"/>
              <a:gd name="connsiteY91" fmla="*/ 3629 h 74056"/>
              <a:gd name="connsiteX92" fmla="*/ 52654 w 151733"/>
              <a:gd name="connsiteY92" fmla="*/ 3572 h 74056"/>
              <a:gd name="connsiteX93" fmla="*/ 55483 w 151733"/>
              <a:gd name="connsiteY93" fmla="*/ 4077 h 74056"/>
              <a:gd name="connsiteX94" fmla="*/ 55998 w 151733"/>
              <a:gd name="connsiteY94" fmla="*/ 6134 h 74056"/>
              <a:gd name="connsiteX95" fmla="*/ 56293 w 151733"/>
              <a:gd name="connsiteY95" fmla="*/ 8268 h 74056"/>
              <a:gd name="connsiteX96" fmla="*/ 61132 w 151733"/>
              <a:gd name="connsiteY96" fmla="*/ 8115 h 74056"/>
              <a:gd name="connsiteX97" fmla="*/ 63827 w 151733"/>
              <a:gd name="connsiteY97" fmla="*/ 3543 h 74056"/>
              <a:gd name="connsiteX98" fmla="*/ 65227 w 151733"/>
              <a:gd name="connsiteY98" fmla="*/ 2991 h 74056"/>
              <a:gd name="connsiteX99" fmla="*/ 67466 w 151733"/>
              <a:gd name="connsiteY99" fmla="*/ 1400 h 74056"/>
              <a:gd name="connsiteX100" fmla="*/ 68942 w 151733"/>
              <a:gd name="connsiteY100" fmla="*/ 0 h 74056"/>
              <a:gd name="connsiteX101" fmla="*/ 69961 w 151733"/>
              <a:gd name="connsiteY101" fmla="*/ 867 h 74056"/>
              <a:gd name="connsiteX102" fmla="*/ 71428 w 151733"/>
              <a:gd name="connsiteY102" fmla="*/ 3820 h 74056"/>
              <a:gd name="connsiteX103" fmla="*/ 72990 w 151733"/>
              <a:gd name="connsiteY103" fmla="*/ 6182 h 74056"/>
              <a:gd name="connsiteX104" fmla="*/ 73895 w 151733"/>
              <a:gd name="connsiteY104" fmla="*/ 7115 h 74056"/>
              <a:gd name="connsiteX105" fmla="*/ 73990 w 151733"/>
              <a:gd name="connsiteY105" fmla="*/ 7839 h 74056"/>
              <a:gd name="connsiteX106" fmla="*/ 74895 w 151733"/>
              <a:gd name="connsiteY106" fmla="*/ 8277 h 74056"/>
              <a:gd name="connsiteX107" fmla="*/ 76658 w 151733"/>
              <a:gd name="connsiteY107" fmla="*/ 8534 h 74056"/>
              <a:gd name="connsiteX108" fmla="*/ 77829 w 151733"/>
              <a:gd name="connsiteY108" fmla="*/ 9249 h 74056"/>
              <a:gd name="connsiteX109" fmla="*/ 78172 w 151733"/>
              <a:gd name="connsiteY109" fmla="*/ 11449 h 74056"/>
              <a:gd name="connsiteX110" fmla="*/ 78200 w 151733"/>
              <a:gd name="connsiteY110" fmla="*/ 13430 h 74056"/>
              <a:gd name="connsiteX111" fmla="*/ 77648 w 151733"/>
              <a:gd name="connsiteY111" fmla="*/ 14850 h 74056"/>
              <a:gd name="connsiteX112" fmla="*/ 77362 w 151733"/>
              <a:gd name="connsiteY112" fmla="*/ 16107 h 74056"/>
              <a:gd name="connsiteX113" fmla="*/ 78581 w 151733"/>
              <a:gd name="connsiteY113" fmla="*/ 16602 h 74056"/>
              <a:gd name="connsiteX114" fmla="*/ 80372 w 151733"/>
              <a:gd name="connsiteY114" fmla="*/ 16126 h 74056"/>
              <a:gd name="connsiteX115" fmla="*/ 81629 w 151733"/>
              <a:gd name="connsiteY115" fmla="*/ 15412 h 74056"/>
              <a:gd name="connsiteX116" fmla="*/ 85411 w 151733"/>
              <a:gd name="connsiteY116" fmla="*/ 17050 h 74056"/>
              <a:gd name="connsiteX117" fmla="*/ 86744 w 151733"/>
              <a:gd name="connsiteY117" fmla="*/ 13402 h 74056"/>
              <a:gd name="connsiteX118" fmla="*/ 88249 w 151733"/>
              <a:gd name="connsiteY118" fmla="*/ 11535 h 74056"/>
              <a:gd name="connsiteX119" fmla="*/ 90192 w 151733"/>
              <a:gd name="connsiteY119" fmla="*/ 10659 h 74056"/>
              <a:gd name="connsiteX120" fmla="*/ 91964 w 151733"/>
              <a:gd name="connsiteY120" fmla="*/ 9525 h 74056"/>
              <a:gd name="connsiteX121" fmla="*/ 93574 w 151733"/>
              <a:gd name="connsiteY121" fmla="*/ 8715 h 74056"/>
              <a:gd name="connsiteX122" fmla="*/ 94688 w 151733"/>
              <a:gd name="connsiteY122" fmla="*/ 8763 h 74056"/>
              <a:gd name="connsiteX123" fmla="*/ 95174 w 151733"/>
              <a:gd name="connsiteY123" fmla="*/ 8420 h 74056"/>
              <a:gd name="connsiteX124" fmla="*/ 96555 w 151733"/>
              <a:gd name="connsiteY124" fmla="*/ 8515 h 74056"/>
              <a:gd name="connsiteX125" fmla="*/ 98165 w 151733"/>
              <a:gd name="connsiteY125" fmla="*/ 8877 h 74056"/>
              <a:gd name="connsiteX126" fmla="*/ 100346 w 151733"/>
              <a:gd name="connsiteY126" fmla="*/ 8449 h 74056"/>
              <a:gd name="connsiteX127" fmla="*/ 103356 w 151733"/>
              <a:gd name="connsiteY127" fmla="*/ 9344 h 74056"/>
              <a:gd name="connsiteX128" fmla="*/ 105242 w 151733"/>
              <a:gd name="connsiteY128" fmla="*/ 11030 h 74056"/>
              <a:gd name="connsiteX129" fmla="*/ 107090 w 151733"/>
              <a:gd name="connsiteY129" fmla="*/ 11602 h 74056"/>
              <a:gd name="connsiteX130" fmla="*/ 109195 w 151733"/>
              <a:gd name="connsiteY130" fmla="*/ 11506 h 74056"/>
              <a:gd name="connsiteX131" fmla="*/ 110633 w 151733"/>
              <a:gd name="connsiteY131" fmla="*/ 10573 h 74056"/>
              <a:gd name="connsiteX132" fmla="*/ 112719 w 151733"/>
              <a:gd name="connsiteY132" fmla="*/ 7363 h 74056"/>
              <a:gd name="connsiteX133" fmla="*/ 114243 w 151733"/>
              <a:gd name="connsiteY133" fmla="*/ 7411 h 74056"/>
              <a:gd name="connsiteX134" fmla="*/ 116615 w 151733"/>
              <a:gd name="connsiteY134" fmla="*/ 6906 h 74056"/>
              <a:gd name="connsiteX135" fmla="*/ 119968 w 151733"/>
              <a:gd name="connsiteY135" fmla="*/ 6934 h 74056"/>
              <a:gd name="connsiteX136" fmla="*/ 127702 w 151733"/>
              <a:gd name="connsiteY136" fmla="*/ 7620 h 74056"/>
              <a:gd name="connsiteX137" fmla="*/ 129635 w 151733"/>
              <a:gd name="connsiteY137" fmla="*/ 8849 h 74056"/>
              <a:gd name="connsiteX138" fmla="*/ 134398 w 151733"/>
              <a:gd name="connsiteY138" fmla="*/ 10420 h 74056"/>
              <a:gd name="connsiteX139" fmla="*/ 136474 w 151733"/>
              <a:gd name="connsiteY139" fmla="*/ 12240 h 74056"/>
              <a:gd name="connsiteX140" fmla="*/ 137389 w 151733"/>
              <a:gd name="connsiteY140" fmla="*/ 14402 h 74056"/>
              <a:gd name="connsiteX141" fmla="*/ 137875 w 151733"/>
              <a:gd name="connsiteY141" fmla="*/ 15897 h 74056"/>
              <a:gd name="connsiteX142" fmla="*/ 142751 w 151733"/>
              <a:gd name="connsiteY142" fmla="*/ 18193 h 74056"/>
              <a:gd name="connsiteX143" fmla="*/ 149981 w 151733"/>
              <a:gd name="connsiteY143" fmla="*/ 21117 h 74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151733" h="74056">
                <a:moveTo>
                  <a:pt x="151733" y="21479"/>
                </a:moveTo>
                <a:lnTo>
                  <a:pt x="151343" y="23155"/>
                </a:lnTo>
                <a:lnTo>
                  <a:pt x="150247" y="25108"/>
                </a:lnTo>
                <a:lnTo>
                  <a:pt x="148886" y="27127"/>
                </a:lnTo>
                <a:lnTo>
                  <a:pt x="147742" y="29566"/>
                </a:lnTo>
                <a:lnTo>
                  <a:pt x="146218" y="34757"/>
                </a:lnTo>
                <a:lnTo>
                  <a:pt x="145228" y="37157"/>
                </a:lnTo>
                <a:lnTo>
                  <a:pt x="141151" y="41881"/>
                </a:lnTo>
                <a:lnTo>
                  <a:pt x="140865" y="48444"/>
                </a:lnTo>
                <a:lnTo>
                  <a:pt x="140313" y="48921"/>
                </a:lnTo>
                <a:lnTo>
                  <a:pt x="131102" y="51140"/>
                </a:lnTo>
                <a:lnTo>
                  <a:pt x="129893" y="50806"/>
                </a:lnTo>
                <a:lnTo>
                  <a:pt x="128635" y="49530"/>
                </a:lnTo>
                <a:lnTo>
                  <a:pt x="127940" y="48597"/>
                </a:lnTo>
                <a:lnTo>
                  <a:pt x="127511" y="47920"/>
                </a:lnTo>
                <a:lnTo>
                  <a:pt x="126711" y="46101"/>
                </a:lnTo>
                <a:lnTo>
                  <a:pt x="125654" y="44815"/>
                </a:lnTo>
                <a:lnTo>
                  <a:pt x="124092" y="43758"/>
                </a:lnTo>
                <a:lnTo>
                  <a:pt x="122663" y="42539"/>
                </a:lnTo>
                <a:lnTo>
                  <a:pt x="120825" y="42491"/>
                </a:lnTo>
                <a:lnTo>
                  <a:pt x="115853" y="44215"/>
                </a:lnTo>
                <a:lnTo>
                  <a:pt x="112405" y="44406"/>
                </a:lnTo>
                <a:lnTo>
                  <a:pt x="110100" y="43853"/>
                </a:lnTo>
                <a:lnTo>
                  <a:pt x="107032" y="42806"/>
                </a:lnTo>
                <a:lnTo>
                  <a:pt x="101060" y="42644"/>
                </a:lnTo>
                <a:lnTo>
                  <a:pt x="96974" y="43558"/>
                </a:lnTo>
                <a:lnTo>
                  <a:pt x="96564" y="44844"/>
                </a:lnTo>
                <a:lnTo>
                  <a:pt x="92793" y="52845"/>
                </a:lnTo>
                <a:lnTo>
                  <a:pt x="87306" y="55797"/>
                </a:lnTo>
                <a:lnTo>
                  <a:pt x="82544" y="58807"/>
                </a:lnTo>
                <a:lnTo>
                  <a:pt x="81162" y="59417"/>
                </a:lnTo>
                <a:lnTo>
                  <a:pt x="78791" y="58464"/>
                </a:lnTo>
                <a:lnTo>
                  <a:pt x="76095" y="56683"/>
                </a:lnTo>
                <a:lnTo>
                  <a:pt x="73857" y="55750"/>
                </a:lnTo>
                <a:lnTo>
                  <a:pt x="72219" y="56159"/>
                </a:lnTo>
                <a:lnTo>
                  <a:pt x="70438" y="58188"/>
                </a:lnTo>
                <a:lnTo>
                  <a:pt x="69618" y="60236"/>
                </a:lnTo>
                <a:lnTo>
                  <a:pt x="64227" y="61741"/>
                </a:lnTo>
                <a:lnTo>
                  <a:pt x="54845" y="62627"/>
                </a:lnTo>
                <a:lnTo>
                  <a:pt x="51568" y="64646"/>
                </a:lnTo>
                <a:lnTo>
                  <a:pt x="50454" y="67066"/>
                </a:lnTo>
                <a:lnTo>
                  <a:pt x="50406" y="68923"/>
                </a:lnTo>
                <a:lnTo>
                  <a:pt x="51207" y="70504"/>
                </a:lnTo>
                <a:lnTo>
                  <a:pt x="50206" y="72342"/>
                </a:lnTo>
                <a:lnTo>
                  <a:pt x="49768" y="73114"/>
                </a:lnTo>
                <a:lnTo>
                  <a:pt x="43139" y="73514"/>
                </a:lnTo>
                <a:lnTo>
                  <a:pt x="34300" y="74057"/>
                </a:lnTo>
                <a:lnTo>
                  <a:pt x="29013" y="73914"/>
                </a:lnTo>
                <a:lnTo>
                  <a:pt x="24041" y="73790"/>
                </a:lnTo>
                <a:lnTo>
                  <a:pt x="20660" y="72209"/>
                </a:lnTo>
                <a:lnTo>
                  <a:pt x="16526" y="69123"/>
                </a:lnTo>
                <a:lnTo>
                  <a:pt x="12154" y="65018"/>
                </a:lnTo>
                <a:lnTo>
                  <a:pt x="11735" y="64922"/>
                </a:lnTo>
                <a:lnTo>
                  <a:pt x="11087" y="64484"/>
                </a:lnTo>
                <a:lnTo>
                  <a:pt x="8344" y="64170"/>
                </a:lnTo>
                <a:lnTo>
                  <a:pt x="7611" y="64418"/>
                </a:lnTo>
                <a:lnTo>
                  <a:pt x="5972" y="63075"/>
                </a:lnTo>
                <a:lnTo>
                  <a:pt x="5496" y="61331"/>
                </a:lnTo>
                <a:lnTo>
                  <a:pt x="2943" y="56750"/>
                </a:lnTo>
                <a:lnTo>
                  <a:pt x="76" y="49187"/>
                </a:lnTo>
                <a:lnTo>
                  <a:pt x="0" y="46997"/>
                </a:lnTo>
                <a:lnTo>
                  <a:pt x="1124" y="44501"/>
                </a:lnTo>
                <a:lnTo>
                  <a:pt x="2162" y="42586"/>
                </a:lnTo>
                <a:lnTo>
                  <a:pt x="2315" y="41072"/>
                </a:lnTo>
                <a:lnTo>
                  <a:pt x="2420" y="40662"/>
                </a:lnTo>
                <a:lnTo>
                  <a:pt x="3286" y="37510"/>
                </a:lnTo>
                <a:lnTo>
                  <a:pt x="5362" y="33319"/>
                </a:lnTo>
                <a:lnTo>
                  <a:pt x="7306" y="30880"/>
                </a:lnTo>
                <a:lnTo>
                  <a:pt x="8706" y="30071"/>
                </a:lnTo>
                <a:lnTo>
                  <a:pt x="11611" y="30804"/>
                </a:lnTo>
                <a:lnTo>
                  <a:pt x="16573" y="31413"/>
                </a:lnTo>
                <a:lnTo>
                  <a:pt x="20393" y="30842"/>
                </a:lnTo>
                <a:lnTo>
                  <a:pt x="23956" y="28966"/>
                </a:lnTo>
                <a:lnTo>
                  <a:pt x="25889" y="27327"/>
                </a:lnTo>
                <a:lnTo>
                  <a:pt x="27537" y="25603"/>
                </a:lnTo>
                <a:lnTo>
                  <a:pt x="28090" y="24479"/>
                </a:lnTo>
                <a:lnTo>
                  <a:pt x="28823" y="23946"/>
                </a:lnTo>
                <a:lnTo>
                  <a:pt x="31766" y="22946"/>
                </a:lnTo>
                <a:lnTo>
                  <a:pt x="32709" y="21784"/>
                </a:lnTo>
                <a:lnTo>
                  <a:pt x="33090" y="19574"/>
                </a:lnTo>
                <a:lnTo>
                  <a:pt x="33347" y="17116"/>
                </a:lnTo>
                <a:lnTo>
                  <a:pt x="33947" y="15288"/>
                </a:lnTo>
                <a:lnTo>
                  <a:pt x="34710" y="13945"/>
                </a:lnTo>
                <a:lnTo>
                  <a:pt x="40157" y="10725"/>
                </a:lnTo>
                <a:lnTo>
                  <a:pt x="40653" y="9582"/>
                </a:lnTo>
                <a:lnTo>
                  <a:pt x="41520" y="8487"/>
                </a:lnTo>
                <a:lnTo>
                  <a:pt x="43139" y="7249"/>
                </a:lnTo>
                <a:lnTo>
                  <a:pt x="44701" y="5458"/>
                </a:lnTo>
                <a:lnTo>
                  <a:pt x="46358" y="4363"/>
                </a:lnTo>
                <a:lnTo>
                  <a:pt x="48483" y="4486"/>
                </a:lnTo>
                <a:lnTo>
                  <a:pt x="50445" y="4258"/>
                </a:lnTo>
                <a:lnTo>
                  <a:pt x="51978" y="3629"/>
                </a:lnTo>
                <a:lnTo>
                  <a:pt x="52654" y="3572"/>
                </a:lnTo>
                <a:lnTo>
                  <a:pt x="55483" y="4077"/>
                </a:lnTo>
                <a:lnTo>
                  <a:pt x="55998" y="6134"/>
                </a:lnTo>
                <a:lnTo>
                  <a:pt x="56293" y="8268"/>
                </a:lnTo>
                <a:lnTo>
                  <a:pt x="61132" y="8115"/>
                </a:lnTo>
                <a:lnTo>
                  <a:pt x="63827" y="3543"/>
                </a:lnTo>
                <a:lnTo>
                  <a:pt x="65227" y="2991"/>
                </a:lnTo>
                <a:lnTo>
                  <a:pt x="67466" y="1400"/>
                </a:lnTo>
                <a:lnTo>
                  <a:pt x="68942" y="0"/>
                </a:lnTo>
                <a:lnTo>
                  <a:pt x="69961" y="867"/>
                </a:lnTo>
                <a:lnTo>
                  <a:pt x="71428" y="3820"/>
                </a:lnTo>
                <a:lnTo>
                  <a:pt x="72990" y="6182"/>
                </a:lnTo>
                <a:lnTo>
                  <a:pt x="73895" y="7115"/>
                </a:lnTo>
                <a:lnTo>
                  <a:pt x="73990" y="7839"/>
                </a:lnTo>
                <a:lnTo>
                  <a:pt x="74895" y="8277"/>
                </a:lnTo>
                <a:lnTo>
                  <a:pt x="76658" y="8534"/>
                </a:lnTo>
                <a:lnTo>
                  <a:pt x="77829" y="9249"/>
                </a:lnTo>
                <a:lnTo>
                  <a:pt x="78172" y="11449"/>
                </a:lnTo>
                <a:lnTo>
                  <a:pt x="78200" y="13430"/>
                </a:lnTo>
                <a:lnTo>
                  <a:pt x="77648" y="14850"/>
                </a:lnTo>
                <a:lnTo>
                  <a:pt x="77362" y="16107"/>
                </a:lnTo>
                <a:lnTo>
                  <a:pt x="78581" y="16602"/>
                </a:lnTo>
                <a:lnTo>
                  <a:pt x="80372" y="16126"/>
                </a:lnTo>
                <a:lnTo>
                  <a:pt x="81629" y="15412"/>
                </a:lnTo>
                <a:lnTo>
                  <a:pt x="85411" y="17050"/>
                </a:lnTo>
                <a:lnTo>
                  <a:pt x="86744" y="13402"/>
                </a:lnTo>
                <a:lnTo>
                  <a:pt x="88249" y="11535"/>
                </a:lnTo>
                <a:lnTo>
                  <a:pt x="90192" y="10659"/>
                </a:lnTo>
                <a:lnTo>
                  <a:pt x="91964" y="9525"/>
                </a:lnTo>
                <a:lnTo>
                  <a:pt x="93574" y="8715"/>
                </a:lnTo>
                <a:lnTo>
                  <a:pt x="94688" y="8763"/>
                </a:lnTo>
                <a:lnTo>
                  <a:pt x="95174" y="8420"/>
                </a:lnTo>
                <a:lnTo>
                  <a:pt x="96555" y="8515"/>
                </a:lnTo>
                <a:lnTo>
                  <a:pt x="98165" y="8877"/>
                </a:lnTo>
                <a:lnTo>
                  <a:pt x="100346" y="8449"/>
                </a:lnTo>
                <a:lnTo>
                  <a:pt x="103356" y="9344"/>
                </a:lnTo>
                <a:lnTo>
                  <a:pt x="105242" y="11030"/>
                </a:lnTo>
                <a:lnTo>
                  <a:pt x="107090" y="11602"/>
                </a:lnTo>
                <a:lnTo>
                  <a:pt x="109195" y="11506"/>
                </a:lnTo>
                <a:lnTo>
                  <a:pt x="110633" y="10573"/>
                </a:lnTo>
                <a:lnTo>
                  <a:pt x="112719" y="7363"/>
                </a:lnTo>
                <a:lnTo>
                  <a:pt x="114243" y="7411"/>
                </a:lnTo>
                <a:lnTo>
                  <a:pt x="116615" y="6906"/>
                </a:lnTo>
                <a:lnTo>
                  <a:pt x="119968" y="6934"/>
                </a:lnTo>
                <a:lnTo>
                  <a:pt x="127702" y="7620"/>
                </a:lnTo>
                <a:lnTo>
                  <a:pt x="129635" y="8849"/>
                </a:lnTo>
                <a:lnTo>
                  <a:pt x="134398" y="10420"/>
                </a:lnTo>
                <a:lnTo>
                  <a:pt x="136474" y="12240"/>
                </a:lnTo>
                <a:lnTo>
                  <a:pt x="137389" y="14402"/>
                </a:lnTo>
                <a:lnTo>
                  <a:pt x="137875" y="15897"/>
                </a:lnTo>
                <a:lnTo>
                  <a:pt x="142751" y="18193"/>
                </a:lnTo>
                <a:lnTo>
                  <a:pt x="149981" y="21117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2" name="Forme libre : forme 51">
            <a:extLst>
              <a:ext uri="{FF2B5EF4-FFF2-40B4-BE49-F238E27FC236}">
                <a16:creationId xmlns:a16="http://schemas.microsoft.com/office/drawing/2014/main" id="{8749E24A-6B30-597A-2C55-94AF4E3A10C4}"/>
              </a:ext>
            </a:extLst>
          </p:cNvPr>
          <p:cNvSpPr/>
          <p:nvPr/>
        </p:nvSpPr>
        <p:spPr>
          <a:xfrm>
            <a:off x="5953773" y="3863732"/>
            <a:ext cx="4111" cy="4622"/>
          </a:xfrm>
          <a:custGeom>
            <a:avLst/>
            <a:gdLst>
              <a:gd name="connsiteX0" fmla="*/ 2362 w 3152"/>
              <a:gd name="connsiteY0" fmla="*/ 3267 h 3543"/>
              <a:gd name="connsiteX1" fmla="*/ 791 w 3152"/>
              <a:gd name="connsiteY1" fmla="*/ 3543 h 3543"/>
              <a:gd name="connsiteX2" fmla="*/ 0 w 3152"/>
              <a:gd name="connsiteY2" fmla="*/ 2038 h 3543"/>
              <a:gd name="connsiteX3" fmla="*/ 1181 w 3152"/>
              <a:gd name="connsiteY3" fmla="*/ 276 h 3543"/>
              <a:gd name="connsiteX4" fmla="*/ 2857 w 3152"/>
              <a:gd name="connsiteY4" fmla="*/ 0 h 3543"/>
              <a:gd name="connsiteX5" fmla="*/ 3153 w 3152"/>
              <a:gd name="connsiteY5" fmla="*/ 1362 h 3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52" h="3543">
                <a:moveTo>
                  <a:pt x="2362" y="3267"/>
                </a:moveTo>
                <a:lnTo>
                  <a:pt x="791" y="3543"/>
                </a:lnTo>
                <a:lnTo>
                  <a:pt x="0" y="2038"/>
                </a:lnTo>
                <a:lnTo>
                  <a:pt x="1181" y="276"/>
                </a:lnTo>
                <a:lnTo>
                  <a:pt x="2857" y="0"/>
                </a:lnTo>
                <a:lnTo>
                  <a:pt x="3153" y="1362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3" name="Forme libre : forme 53">
            <a:extLst>
              <a:ext uri="{FF2B5EF4-FFF2-40B4-BE49-F238E27FC236}">
                <a16:creationId xmlns:a16="http://schemas.microsoft.com/office/drawing/2014/main" id="{4D4EEDD2-F2EC-CA31-6BDC-8F57FB8F5227}"/>
              </a:ext>
            </a:extLst>
          </p:cNvPr>
          <p:cNvSpPr/>
          <p:nvPr/>
        </p:nvSpPr>
        <p:spPr>
          <a:xfrm>
            <a:off x="6293119" y="3426355"/>
            <a:ext cx="627556" cy="418084"/>
          </a:xfrm>
          <a:custGeom>
            <a:avLst/>
            <a:gdLst>
              <a:gd name="connsiteX0" fmla="*/ 429977 w 481145"/>
              <a:gd name="connsiteY0" fmla="*/ 217303 h 320544"/>
              <a:gd name="connsiteX1" fmla="*/ 429006 w 481145"/>
              <a:gd name="connsiteY1" fmla="*/ 217741 h 320544"/>
              <a:gd name="connsiteX2" fmla="*/ 419662 w 481145"/>
              <a:gd name="connsiteY2" fmla="*/ 217132 h 320544"/>
              <a:gd name="connsiteX3" fmla="*/ 412032 w 481145"/>
              <a:gd name="connsiteY3" fmla="*/ 217961 h 320544"/>
              <a:gd name="connsiteX4" fmla="*/ 406593 w 481145"/>
              <a:gd name="connsiteY4" fmla="*/ 224123 h 320544"/>
              <a:gd name="connsiteX5" fmla="*/ 403355 w 481145"/>
              <a:gd name="connsiteY5" fmla="*/ 224104 h 320544"/>
              <a:gd name="connsiteX6" fmla="*/ 398793 w 481145"/>
              <a:gd name="connsiteY6" fmla="*/ 225704 h 320544"/>
              <a:gd name="connsiteX7" fmla="*/ 395697 w 481145"/>
              <a:gd name="connsiteY7" fmla="*/ 227695 h 320544"/>
              <a:gd name="connsiteX8" fmla="*/ 392030 w 481145"/>
              <a:gd name="connsiteY8" fmla="*/ 232000 h 320544"/>
              <a:gd name="connsiteX9" fmla="*/ 389191 w 481145"/>
              <a:gd name="connsiteY9" fmla="*/ 230067 h 320544"/>
              <a:gd name="connsiteX10" fmla="*/ 385715 w 481145"/>
              <a:gd name="connsiteY10" fmla="*/ 230124 h 320544"/>
              <a:gd name="connsiteX11" fmla="*/ 382324 w 481145"/>
              <a:gd name="connsiteY11" fmla="*/ 231295 h 320544"/>
              <a:gd name="connsiteX12" fmla="*/ 378247 w 481145"/>
              <a:gd name="connsiteY12" fmla="*/ 234172 h 320544"/>
              <a:gd name="connsiteX13" fmla="*/ 375980 w 481145"/>
              <a:gd name="connsiteY13" fmla="*/ 234677 h 320544"/>
              <a:gd name="connsiteX14" fmla="*/ 371446 w 481145"/>
              <a:gd name="connsiteY14" fmla="*/ 233858 h 320544"/>
              <a:gd name="connsiteX15" fmla="*/ 366160 w 481145"/>
              <a:gd name="connsiteY15" fmla="*/ 235505 h 320544"/>
              <a:gd name="connsiteX16" fmla="*/ 354749 w 481145"/>
              <a:gd name="connsiteY16" fmla="*/ 244907 h 320544"/>
              <a:gd name="connsiteX17" fmla="*/ 350910 w 481145"/>
              <a:gd name="connsiteY17" fmla="*/ 251755 h 320544"/>
              <a:gd name="connsiteX18" fmla="*/ 349510 w 481145"/>
              <a:gd name="connsiteY18" fmla="*/ 253089 h 320544"/>
              <a:gd name="connsiteX19" fmla="*/ 347586 w 481145"/>
              <a:gd name="connsiteY19" fmla="*/ 254756 h 320544"/>
              <a:gd name="connsiteX20" fmla="*/ 345528 w 481145"/>
              <a:gd name="connsiteY20" fmla="*/ 255594 h 320544"/>
              <a:gd name="connsiteX21" fmla="*/ 344443 w 481145"/>
              <a:gd name="connsiteY21" fmla="*/ 255518 h 320544"/>
              <a:gd name="connsiteX22" fmla="*/ 349882 w 481145"/>
              <a:gd name="connsiteY22" fmla="*/ 250660 h 320544"/>
              <a:gd name="connsiteX23" fmla="*/ 351548 w 481145"/>
              <a:gd name="connsiteY23" fmla="*/ 248841 h 320544"/>
              <a:gd name="connsiteX24" fmla="*/ 351834 w 481145"/>
              <a:gd name="connsiteY24" fmla="*/ 247497 h 320544"/>
              <a:gd name="connsiteX25" fmla="*/ 351863 w 481145"/>
              <a:gd name="connsiteY25" fmla="*/ 245316 h 320544"/>
              <a:gd name="connsiteX26" fmla="*/ 350215 w 481145"/>
              <a:gd name="connsiteY26" fmla="*/ 242611 h 320544"/>
              <a:gd name="connsiteX27" fmla="*/ 345767 w 481145"/>
              <a:gd name="connsiteY27" fmla="*/ 249307 h 320544"/>
              <a:gd name="connsiteX28" fmla="*/ 343242 w 481145"/>
              <a:gd name="connsiteY28" fmla="*/ 250279 h 320544"/>
              <a:gd name="connsiteX29" fmla="*/ 340033 w 481145"/>
              <a:gd name="connsiteY29" fmla="*/ 252289 h 320544"/>
              <a:gd name="connsiteX30" fmla="*/ 339871 w 481145"/>
              <a:gd name="connsiteY30" fmla="*/ 256756 h 320544"/>
              <a:gd name="connsiteX31" fmla="*/ 340242 w 481145"/>
              <a:gd name="connsiteY31" fmla="*/ 260070 h 320544"/>
              <a:gd name="connsiteX32" fmla="*/ 341556 w 481145"/>
              <a:gd name="connsiteY32" fmla="*/ 264233 h 320544"/>
              <a:gd name="connsiteX33" fmla="*/ 344662 w 481145"/>
              <a:gd name="connsiteY33" fmla="*/ 271024 h 320544"/>
              <a:gd name="connsiteX34" fmla="*/ 351005 w 481145"/>
              <a:gd name="connsiteY34" fmla="*/ 280692 h 320544"/>
              <a:gd name="connsiteX35" fmla="*/ 354044 w 481145"/>
              <a:gd name="connsiteY35" fmla="*/ 284235 h 320544"/>
              <a:gd name="connsiteX36" fmla="*/ 356273 w 481145"/>
              <a:gd name="connsiteY36" fmla="*/ 285645 h 320544"/>
              <a:gd name="connsiteX37" fmla="*/ 358959 w 481145"/>
              <a:gd name="connsiteY37" fmla="*/ 285845 h 320544"/>
              <a:gd name="connsiteX38" fmla="*/ 364121 w 481145"/>
              <a:gd name="connsiteY38" fmla="*/ 282864 h 320544"/>
              <a:gd name="connsiteX39" fmla="*/ 366322 w 481145"/>
              <a:gd name="connsiteY39" fmla="*/ 282397 h 320544"/>
              <a:gd name="connsiteX40" fmla="*/ 371122 w 481145"/>
              <a:gd name="connsiteY40" fmla="*/ 283531 h 320544"/>
              <a:gd name="connsiteX41" fmla="*/ 372837 w 481145"/>
              <a:gd name="connsiteY41" fmla="*/ 281549 h 320544"/>
              <a:gd name="connsiteX42" fmla="*/ 375332 w 481145"/>
              <a:gd name="connsiteY42" fmla="*/ 280445 h 320544"/>
              <a:gd name="connsiteX43" fmla="*/ 378533 w 481145"/>
              <a:gd name="connsiteY43" fmla="*/ 280302 h 320544"/>
              <a:gd name="connsiteX44" fmla="*/ 382191 w 481145"/>
              <a:gd name="connsiteY44" fmla="*/ 281197 h 320544"/>
              <a:gd name="connsiteX45" fmla="*/ 386153 w 481145"/>
              <a:gd name="connsiteY45" fmla="*/ 282702 h 320544"/>
              <a:gd name="connsiteX46" fmla="*/ 384524 w 481145"/>
              <a:gd name="connsiteY46" fmla="*/ 286102 h 320544"/>
              <a:gd name="connsiteX47" fmla="*/ 382828 w 481145"/>
              <a:gd name="connsiteY47" fmla="*/ 288807 h 320544"/>
              <a:gd name="connsiteX48" fmla="*/ 382228 w 481145"/>
              <a:gd name="connsiteY48" fmla="*/ 291798 h 320544"/>
              <a:gd name="connsiteX49" fmla="*/ 381285 w 481145"/>
              <a:gd name="connsiteY49" fmla="*/ 295122 h 320544"/>
              <a:gd name="connsiteX50" fmla="*/ 376914 w 481145"/>
              <a:gd name="connsiteY50" fmla="*/ 296608 h 320544"/>
              <a:gd name="connsiteX51" fmla="*/ 372237 w 481145"/>
              <a:gd name="connsiteY51" fmla="*/ 296428 h 320544"/>
              <a:gd name="connsiteX52" fmla="*/ 367303 w 481145"/>
              <a:gd name="connsiteY52" fmla="*/ 297389 h 320544"/>
              <a:gd name="connsiteX53" fmla="*/ 365522 w 481145"/>
              <a:gd name="connsiteY53" fmla="*/ 296103 h 320544"/>
              <a:gd name="connsiteX54" fmla="*/ 364341 w 481145"/>
              <a:gd name="connsiteY54" fmla="*/ 294922 h 320544"/>
              <a:gd name="connsiteX55" fmla="*/ 362150 w 481145"/>
              <a:gd name="connsiteY55" fmla="*/ 293741 h 320544"/>
              <a:gd name="connsiteX56" fmla="*/ 359264 w 481145"/>
              <a:gd name="connsiteY56" fmla="*/ 293094 h 320544"/>
              <a:gd name="connsiteX57" fmla="*/ 356673 w 481145"/>
              <a:gd name="connsiteY57" fmla="*/ 293884 h 320544"/>
              <a:gd name="connsiteX58" fmla="*/ 353606 w 481145"/>
              <a:gd name="connsiteY58" fmla="*/ 298409 h 320544"/>
              <a:gd name="connsiteX59" fmla="*/ 348176 w 481145"/>
              <a:gd name="connsiteY59" fmla="*/ 301495 h 320544"/>
              <a:gd name="connsiteX60" fmla="*/ 346386 w 481145"/>
              <a:gd name="connsiteY60" fmla="*/ 305019 h 320544"/>
              <a:gd name="connsiteX61" fmla="*/ 341043 w 481145"/>
              <a:gd name="connsiteY61" fmla="*/ 304229 h 320544"/>
              <a:gd name="connsiteX62" fmla="*/ 336470 w 481145"/>
              <a:gd name="connsiteY62" fmla="*/ 304847 h 320544"/>
              <a:gd name="connsiteX63" fmla="*/ 329869 w 481145"/>
              <a:gd name="connsiteY63" fmla="*/ 308057 h 320544"/>
              <a:gd name="connsiteX64" fmla="*/ 324840 w 481145"/>
              <a:gd name="connsiteY64" fmla="*/ 314915 h 320544"/>
              <a:gd name="connsiteX65" fmla="*/ 319297 w 481145"/>
              <a:gd name="connsiteY65" fmla="*/ 319192 h 320544"/>
              <a:gd name="connsiteX66" fmla="*/ 314906 w 481145"/>
              <a:gd name="connsiteY66" fmla="*/ 320545 h 320544"/>
              <a:gd name="connsiteX67" fmla="*/ 310782 w 481145"/>
              <a:gd name="connsiteY67" fmla="*/ 320126 h 320544"/>
              <a:gd name="connsiteX68" fmla="*/ 308114 w 481145"/>
              <a:gd name="connsiteY68" fmla="*/ 318849 h 320544"/>
              <a:gd name="connsiteX69" fmla="*/ 302628 w 481145"/>
              <a:gd name="connsiteY69" fmla="*/ 314354 h 320544"/>
              <a:gd name="connsiteX70" fmla="*/ 302952 w 481145"/>
              <a:gd name="connsiteY70" fmla="*/ 312744 h 320544"/>
              <a:gd name="connsiteX71" fmla="*/ 303714 w 481145"/>
              <a:gd name="connsiteY71" fmla="*/ 311934 h 320544"/>
              <a:gd name="connsiteX72" fmla="*/ 304752 w 481145"/>
              <a:gd name="connsiteY72" fmla="*/ 309610 h 320544"/>
              <a:gd name="connsiteX73" fmla="*/ 306943 w 481145"/>
              <a:gd name="connsiteY73" fmla="*/ 301076 h 320544"/>
              <a:gd name="connsiteX74" fmla="*/ 306648 w 481145"/>
              <a:gd name="connsiteY74" fmla="*/ 298294 h 320544"/>
              <a:gd name="connsiteX75" fmla="*/ 305419 w 481145"/>
              <a:gd name="connsiteY75" fmla="*/ 293922 h 320544"/>
              <a:gd name="connsiteX76" fmla="*/ 301066 w 481145"/>
              <a:gd name="connsiteY76" fmla="*/ 290513 h 320544"/>
              <a:gd name="connsiteX77" fmla="*/ 297570 w 481145"/>
              <a:gd name="connsiteY77" fmla="*/ 291160 h 320544"/>
              <a:gd name="connsiteX78" fmla="*/ 295580 w 481145"/>
              <a:gd name="connsiteY78" fmla="*/ 290255 h 320544"/>
              <a:gd name="connsiteX79" fmla="*/ 288407 w 481145"/>
              <a:gd name="connsiteY79" fmla="*/ 284445 h 320544"/>
              <a:gd name="connsiteX80" fmla="*/ 284502 w 481145"/>
              <a:gd name="connsiteY80" fmla="*/ 284035 h 320544"/>
              <a:gd name="connsiteX81" fmla="*/ 280187 w 481145"/>
              <a:gd name="connsiteY81" fmla="*/ 285207 h 320544"/>
              <a:gd name="connsiteX82" fmla="*/ 278596 w 481145"/>
              <a:gd name="connsiteY82" fmla="*/ 284359 h 320544"/>
              <a:gd name="connsiteX83" fmla="*/ 277425 w 481145"/>
              <a:gd name="connsiteY83" fmla="*/ 282330 h 320544"/>
              <a:gd name="connsiteX84" fmla="*/ 285978 w 481145"/>
              <a:gd name="connsiteY84" fmla="*/ 275139 h 320544"/>
              <a:gd name="connsiteX85" fmla="*/ 294379 w 481145"/>
              <a:gd name="connsiteY85" fmla="*/ 269186 h 320544"/>
              <a:gd name="connsiteX86" fmla="*/ 298066 w 481145"/>
              <a:gd name="connsiteY86" fmla="*/ 268576 h 320544"/>
              <a:gd name="connsiteX87" fmla="*/ 303037 w 481145"/>
              <a:gd name="connsiteY87" fmla="*/ 265795 h 320544"/>
              <a:gd name="connsiteX88" fmla="*/ 308353 w 481145"/>
              <a:gd name="connsiteY88" fmla="*/ 261623 h 320544"/>
              <a:gd name="connsiteX89" fmla="*/ 307600 w 481145"/>
              <a:gd name="connsiteY89" fmla="*/ 258337 h 320544"/>
              <a:gd name="connsiteX90" fmla="*/ 306457 w 481145"/>
              <a:gd name="connsiteY90" fmla="*/ 255899 h 320544"/>
              <a:gd name="connsiteX91" fmla="*/ 303914 w 481145"/>
              <a:gd name="connsiteY91" fmla="*/ 256565 h 320544"/>
              <a:gd name="connsiteX92" fmla="*/ 302066 w 481145"/>
              <a:gd name="connsiteY92" fmla="*/ 257375 h 320544"/>
              <a:gd name="connsiteX93" fmla="*/ 297618 w 481145"/>
              <a:gd name="connsiteY93" fmla="*/ 254765 h 320544"/>
              <a:gd name="connsiteX94" fmla="*/ 295989 w 481145"/>
              <a:gd name="connsiteY94" fmla="*/ 252841 h 320544"/>
              <a:gd name="connsiteX95" fmla="*/ 289027 w 481145"/>
              <a:gd name="connsiteY95" fmla="*/ 254841 h 320544"/>
              <a:gd name="connsiteX96" fmla="*/ 285149 w 481145"/>
              <a:gd name="connsiteY96" fmla="*/ 254546 h 320544"/>
              <a:gd name="connsiteX97" fmla="*/ 276596 w 481145"/>
              <a:gd name="connsiteY97" fmla="*/ 256384 h 320544"/>
              <a:gd name="connsiteX98" fmla="*/ 272662 w 481145"/>
              <a:gd name="connsiteY98" fmla="*/ 254593 h 320544"/>
              <a:gd name="connsiteX99" fmla="*/ 264804 w 481145"/>
              <a:gd name="connsiteY99" fmla="*/ 249564 h 320544"/>
              <a:gd name="connsiteX100" fmla="*/ 261851 w 481145"/>
              <a:gd name="connsiteY100" fmla="*/ 248555 h 320544"/>
              <a:gd name="connsiteX101" fmla="*/ 259337 w 481145"/>
              <a:gd name="connsiteY101" fmla="*/ 248774 h 320544"/>
              <a:gd name="connsiteX102" fmla="*/ 257965 w 481145"/>
              <a:gd name="connsiteY102" fmla="*/ 247117 h 320544"/>
              <a:gd name="connsiteX103" fmla="*/ 259642 w 481145"/>
              <a:gd name="connsiteY103" fmla="*/ 246288 h 320544"/>
              <a:gd name="connsiteX104" fmla="*/ 261595 w 481145"/>
              <a:gd name="connsiteY104" fmla="*/ 246193 h 320544"/>
              <a:gd name="connsiteX105" fmla="*/ 263623 w 481145"/>
              <a:gd name="connsiteY105" fmla="*/ 245583 h 320544"/>
              <a:gd name="connsiteX106" fmla="*/ 264195 w 481145"/>
              <a:gd name="connsiteY106" fmla="*/ 244707 h 320544"/>
              <a:gd name="connsiteX107" fmla="*/ 264071 w 481145"/>
              <a:gd name="connsiteY107" fmla="*/ 243049 h 320544"/>
              <a:gd name="connsiteX108" fmla="*/ 259985 w 481145"/>
              <a:gd name="connsiteY108" fmla="*/ 241792 h 320544"/>
              <a:gd name="connsiteX109" fmla="*/ 256184 w 481145"/>
              <a:gd name="connsiteY109" fmla="*/ 241430 h 320544"/>
              <a:gd name="connsiteX110" fmla="*/ 253774 w 481145"/>
              <a:gd name="connsiteY110" fmla="*/ 239944 h 320544"/>
              <a:gd name="connsiteX111" fmla="*/ 251936 w 481145"/>
              <a:gd name="connsiteY111" fmla="*/ 238239 h 320544"/>
              <a:gd name="connsiteX112" fmla="*/ 256241 w 481145"/>
              <a:gd name="connsiteY112" fmla="*/ 238210 h 320544"/>
              <a:gd name="connsiteX113" fmla="*/ 260575 w 481145"/>
              <a:gd name="connsiteY113" fmla="*/ 239506 h 320544"/>
              <a:gd name="connsiteX114" fmla="*/ 267348 w 481145"/>
              <a:gd name="connsiteY114" fmla="*/ 239982 h 320544"/>
              <a:gd name="connsiteX115" fmla="*/ 273501 w 481145"/>
              <a:gd name="connsiteY115" fmla="*/ 241316 h 320544"/>
              <a:gd name="connsiteX116" fmla="*/ 275034 w 481145"/>
              <a:gd name="connsiteY116" fmla="*/ 239658 h 320544"/>
              <a:gd name="connsiteX117" fmla="*/ 278606 w 481145"/>
              <a:gd name="connsiteY117" fmla="*/ 236782 h 320544"/>
              <a:gd name="connsiteX118" fmla="*/ 279282 w 481145"/>
              <a:gd name="connsiteY118" fmla="*/ 235868 h 320544"/>
              <a:gd name="connsiteX119" fmla="*/ 273301 w 481145"/>
              <a:gd name="connsiteY119" fmla="*/ 237839 h 320544"/>
              <a:gd name="connsiteX120" fmla="*/ 267233 w 481145"/>
              <a:gd name="connsiteY120" fmla="*/ 236582 h 320544"/>
              <a:gd name="connsiteX121" fmla="*/ 265023 w 481145"/>
              <a:gd name="connsiteY121" fmla="*/ 234829 h 320544"/>
              <a:gd name="connsiteX122" fmla="*/ 263147 w 481145"/>
              <a:gd name="connsiteY122" fmla="*/ 232248 h 320544"/>
              <a:gd name="connsiteX123" fmla="*/ 262356 w 481145"/>
              <a:gd name="connsiteY123" fmla="*/ 229305 h 320544"/>
              <a:gd name="connsiteX124" fmla="*/ 262871 w 481145"/>
              <a:gd name="connsiteY124" fmla="*/ 226561 h 320544"/>
              <a:gd name="connsiteX125" fmla="*/ 262214 w 481145"/>
              <a:gd name="connsiteY125" fmla="*/ 221599 h 320544"/>
              <a:gd name="connsiteX126" fmla="*/ 260213 w 481145"/>
              <a:gd name="connsiteY126" fmla="*/ 217170 h 320544"/>
              <a:gd name="connsiteX127" fmla="*/ 259509 w 481145"/>
              <a:gd name="connsiteY127" fmla="*/ 214741 h 320544"/>
              <a:gd name="connsiteX128" fmla="*/ 257394 w 481145"/>
              <a:gd name="connsiteY128" fmla="*/ 212560 h 320544"/>
              <a:gd name="connsiteX129" fmla="*/ 259470 w 481145"/>
              <a:gd name="connsiteY129" fmla="*/ 217494 h 320544"/>
              <a:gd name="connsiteX130" fmla="*/ 260242 w 481145"/>
              <a:gd name="connsiteY130" fmla="*/ 220770 h 320544"/>
              <a:gd name="connsiteX131" fmla="*/ 261489 w 481145"/>
              <a:gd name="connsiteY131" fmla="*/ 223780 h 320544"/>
              <a:gd name="connsiteX132" fmla="*/ 261195 w 481145"/>
              <a:gd name="connsiteY132" fmla="*/ 231743 h 320544"/>
              <a:gd name="connsiteX133" fmla="*/ 260422 w 481145"/>
              <a:gd name="connsiteY133" fmla="*/ 234534 h 320544"/>
              <a:gd name="connsiteX134" fmla="*/ 257927 w 481145"/>
              <a:gd name="connsiteY134" fmla="*/ 235239 h 320544"/>
              <a:gd name="connsiteX135" fmla="*/ 254651 w 481145"/>
              <a:gd name="connsiteY135" fmla="*/ 234820 h 320544"/>
              <a:gd name="connsiteX136" fmla="*/ 251317 w 481145"/>
              <a:gd name="connsiteY136" fmla="*/ 233953 h 320544"/>
              <a:gd name="connsiteX137" fmla="*/ 252146 w 481145"/>
              <a:gd name="connsiteY137" fmla="*/ 229581 h 320544"/>
              <a:gd name="connsiteX138" fmla="*/ 250364 w 481145"/>
              <a:gd name="connsiteY138" fmla="*/ 231095 h 320544"/>
              <a:gd name="connsiteX139" fmla="*/ 247859 w 481145"/>
              <a:gd name="connsiteY139" fmla="*/ 235353 h 320544"/>
              <a:gd name="connsiteX140" fmla="*/ 245650 w 481145"/>
              <a:gd name="connsiteY140" fmla="*/ 235982 h 320544"/>
              <a:gd name="connsiteX141" fmla="*/ 240744 w 481145"/>
              <a:gd name="connsiteY141" fmla="*/ 235515 h 320544"/>
              <a:gd name="connsiteX142" fmla="*/ 231638 w 481145"/>
              <a:gd name="connsiteY142" fmla="*/ 238325 h 320544"/>
              <a:gd name="connsiteX143" fmla="*/ 231010 w 481145"/>
              <a:gd name="connsiteY143" fmla="*/ 241382 h 320544"/>
              <a:gd name="connsiteX144" fmla="*/ 229638 w 481145"/>
              <a:gd name="connsiteY144" fmla="*/ 245507 h 320544"/>
              <a:gd name="connsiteX145" fmla="*/ 228314 w 481145"/>
              <a:gd name="connsiteY145" fmla="*/ 247907 h 320544"/>
              <a:gd name="connsiteX146" fmla="*/ 227904 w 481145"/>
              <a:gd name="connsiteY146" fmla="*/ 249355 h 320544"/>
              <a:gd name="connsiteX147" fmla="*/ 224028 w 481145"/>
              <a:gd name="connsiteY147" fmla="*/ 255556 h 320544"/>
              <a:gd name="connsiteX148" fmla="*/ 223532 w 481145"/>
              <a:gd name="connsiteY148" fmla="*/ 256146 h 320544"/>
              <a:gd name="connsiteX149" fmla="*/ 216208 w 481145"/>
              <a:gd name="connsiteY149" fmla="*/ 264709 h 320544"/>
              <a:gd name="connsiteX150" fmla="*/ 215274 w 481145"/>
              <a:gd name="connsiteY150" fmla="*/ 265347 h 320544"/>
              <a:gd name="connsiteX151" fmla="*/ 210531 w 481145"/>
              <a:gd name="connsiteY151" fmla="*/ 267338 h 320544"/>
              <a:gd name="connsiteX152" fmla="*/ 207721 w 481145"/>
              <a:gd name="connsiteY152" fmla="*/ 269081 h 320544"/>
              <a:gd name="connsiteX153" fmla="*/ 205568 w 481145"/>
              <a:gd name="connsiteY153" fmla="*/ 269862 h 320544"/>
              <a:gd name="connsiteX154" fmla="*/ 201930 w 481145"/>
              <a:gd name="connsiteY154" fmla="*/ 268996 h 320544"/>
              <a:gd name="connsiteX155" fmla="*/ 200415 w 481145"/>
              <a:gd name="connsiteY155" fmla="*/ 270224 h 320544"/>
              <a:gd name="connsiteX156" fmla="*/ 199701 w 481145"/>
              <a:gd name="connsiteY156" fmla="*/ 271748 h 320544"/>
              <a:gd name="connsiteX157" fmla="*/ 199691 w 481145"/>
              <a:gd name="connsiteY157" fmla="*/ 274901 h 320544"/>
              <a:gd name="connsiteX158" fmla="*/ 201539 w 481145"/>
              <a:gd name="connsiteY158" fmla="*/ 277158 h 320544"/>
              <a:gd name="connsiteX159" fmla="*/ 203054 w 481145"/>
              <a:gd name="connsiteY159" fmla="*/ 284654 h 320544"/>
              <a:gd name="connsiteX160" fmla="*/ 202492 w 481145"/>
              <a:gd name="connsiteY160" fmla="*/ 287817 h 320544"/>
              <a:gd name="connsiteX161" fmla="*/ 201053 w 481145"/>
              <a:gd name="connsiteY161" fmla="*/ 285769 h 320544"/>
              <a:gd name="connsiteX162" fmla="*/ 198796 w 481145"/>
              <a:gd name="connsiteY162" fmla="*/ 283607 h 320544"/>
              <a:gd name="connsiteX163" fmla="*/ 194414 w 481145"/>
              <a:gd name="connsiteY163" fmla="*/ 281759 h 320544"/>
              <a:gd name="connsiteX164" fmla="*/ 189604 w 481145"/>
              <a:gd name="connsiteY164" fmla="*/ 282397 h 320544"/>
              <a:gd name="connsiteX165" fmla="*/ 184356 w 481145"/>
              <a:gd name="connsiteY165" fmla="*/ 285521 h 320544"/>
              <a:gd name="connsiteX166" fmla="*/ 180794 w 481145"/>
              <a:gd name="connsiteY166" fmla="*/ 286683 h 320544"/>
              <a:gd name="connsiteX167" fmla="*/ 178927 w 481145"/>
              <a:gd name="connsiteY167" fmla="*/ 285883 h 320544"/>
              <a:gd name="connsiteX168" fmla="*/ 177784 w 481145"/>
              <a:gd name="connsiteY168" fmla="*/ 285931 h 320544"/>
              <a:gd name="connsiteX169" fmla="*/ 177384 w 481145"/>
              <a:gd name="connsiteY169" fmla="*/ 286826 h 320544"/>
              <a:gd name="connsiteX170" fmla="*/ 177469 w 481145"/>
              <a:gd name="connsiteY170" fmla="*/ 287560 h 320544"/>
              <a:gd name="connsiteX171" fmla="*/ 178041 w 481145"/>
              <a:gd name="connsiteY171" fmla="*/ 288131 h 320544"/>
              <a:gd name="connsiteX172" fmla="*/ 177965 w 481145"/>
              <a:gd name="connsiteY172" fmla="*/ 288541 h 320544"/>
              <a:gd name="connsiteX173" fmla="*/ 177222 w 481145"/>
              <a:gd name="connsiteY173" fmla="*/ 288798 h 320544"/>
              <a:gd name="connsiteX174" fmla="*/ 168954 w 481145"/>
              <a:gd name="connsiteY174" fmla="*/ 286598 h 320544"/>
              <a:gd name="connsiteX175" fmla="*/ 165382 w 481145"/>
              <a:gd name="connsiteY175" fmla="*/ 284512 h 320544"/>
              <a:gd name="connsiteX176" fmla="*/ 162573 w 481145"/>
              <a:gd name="connsiteY176" fmla="*/ 280597 h 320544"/>
              <a:gd name="connsiteX177" fmla="*/ 163973 w 481145"/>
              <a:gd name="connsiteY177" fmla="*/ 279330 h 320544"/>
              <a:gd name="connsiteX178" fmla="*/ 165192 w 481145"/>
              <a:gd name="connsiteY178" fmla="*/ 278768 h 320544"/>
              <a:gd name="connsiteX179" fmla="*/ 169497 w 481145"/>
              <a:gd name="connsiteY179" fmla="*/ 278444 h 320544"/>
              <a:gd name="connsiteX180" fmla="*/ 170240 w 481145"/>
              <a:gd name="connsiteY180" fmla="*/ 278044 h 320544"/>
              <a:gd name="connsiteX181" fmla="*/ 170316 w 481145"/>
              <a:gd name="connsiteY181" fmla="*/ 277139 h 320544"/>
              <a:gd name="connsiteX182" fmla="*/ 170640 w 481145"/>
              <a:gd name="connsiteY182" fmla="*/ 275958 h 320544"/>
              <a:gd name="connsiteX183" fmla="*/ 170526 w 481145"/>
              <a:gd name="connsiteY183" fmla="*/ 274234 h 320544"/>
              <a:gd name="connsiteX184" fmla="*/ 170050 w 481145"/>
              <a:gd name="connsiteY184" fmla="*/ 272405 h 320544"/>
              <a:gd name="connsiteX185" fmla="*/ 171935 w 481145"/>
              <a:gd name="connsiteY185" fmla="*/ 269729 h 320544"/>
              <a:gd name="connsiteX186" fmla="*/ 174745 w 481145"/>
              <a:gd name="connsiteY186" fmla="*/ 267519 h 320544"/>
              <a:gd name="connsiteX187" fmla="*/ 176393 w 481145"/>
              <a:gd name="connsiteY187" fmla="*/ 265300 h 320544"/>
              <a:gd name="connsiteX188" fmla="*/ 176641 w 481145"/>
              <a:gd name="connsiteY188" fmla="*/ 262042 h 320544"/>
              <a:gd name="connsiteX189" fmla="*/ 179603 w 481145"/>
              <a:gd name="connsiteY189" fmla="*/ 260452 h 320544"/>
              <a:gd name="connsiteX190" fmla="*/ 182223 w 481145"/>
              <a:gd name="connsiteY190" fmla="*/ 257718 h 320544"/>
              <a:gd name="connsiteX191" fmla="*/ 182870 w 481145"/>
              <a:gd name="connsiteY191" fmla="*/ 254736 h 320544"/>
              <a:gd name="connsiteX192" fmla="*/ 183794 w 481145"/>
              <a:gd name="connsiteY192" fmla="*/ 252860 h 320544"/>
              <a:gd name="connsiteX193" fmla="*/ 182118 w 481145"/>
              <a:gd name="connsiteY193" fmla="*/ 248545 h 320544"/>
              <a:gd name="connsiteX194" fmla="*/ 181765 w 481145"/>
              <a:gd name="connsiteY194" fmla="*/ 245697 h 320544"/>
              <a:gd name="connsiteX195" fmla="*/ 181689 w 481145"/>
              <a:gd name="connsiteY195" fmla="*/ 243306 h 320544"/>
              <a:gd name="connsiteX196" fmla="*/ 182508 w 481145"/>
              <a:gd name="connsiteY196" fmla="*/ 241983 h 320544"/>
              <a:gd name="connsiteX197" fmla="*/ 184956 w 481145"/>
              <a:gd name="connsiteY197" fmla="*/ 240487 h 320544"/>
              <a:gd name="connsiteX198" fmla="*/ 187528 w 481145"/>
              <a:gd name="connsiteY198" fmla="*/ 239325 h 320544"/>
              <a:gd name="connsiteX199" fmla="*/ 188595 w 481145"/>
              <a:gd name="connsiteY199" fmla="*/ 239439 h 320544"/>
              <a:gd name="connsiteX200" fmla="*/ 188985 w 481145"/>
              <a:gd name="connsiteY200" fmla="*/ 240173 h 320544"/>
              <a:gd name="connsiteX201" fmla="*/ 189080 w 481145"/>
              <a:gd name="connsiteY201" fmla="*/ 245030 h 320544"/>
              <a:gd name="connsiteX202" fmla="*/ 189595 w 481145"/>
              <a:gd name="connsiteY202" fmla="*/ 245126 h 320544"/>
              <a:gd name="connsiteX203" fmla="*/ 190414 w 481145"/>
              <a:gd name="connsiteY203" fmla="*/ 244526 h 320544"/>
              <a:gd name="connsiteX204" fmla="*/ 191757 w 481145"/>
              <a:gd name="connsiteY204" fmla="*/ 241668 h 320544"/>
              <a:gd name="connsiteX205" fmla="*/ 192681 w 481145"/>
              <a:gd name="connsiteY205" fmla="*/ 242497 h 320544"/>
              <a:gd name="connsiteX206" fmla="*/ 194110 w 481145"/>
              <a:gd name="connsiteY206" fmla="*/ 242811 h 320544"/>
              <a:gd name="connsiteX207" fmla="*/ 195176 w 481145"/>
              <a:gd name="connsiteY207" fmla="*/ 242068 h 320544"/>
              <a:gd name="connsiteX208" fmla="*/ 195872 w 481145"/>
              <a:gd name="connsiteY208" fmla="*/ 242154 h 320544"/>
              <a:gd name="connsiteX209" fmla="*/ 196729 w 481145"/>
              <a:gd name="connsiteY209" fmla="*/ 242888 h 320544"/>
              <a:gd name="connsiteX210" fmla="*/ 198444 w 481145"/>
              <a:gd name="connsiteY210" fmla="*/ 243926 h 320544"/>
              <a:gd name="connsiteX211" fmla="*/ 200044 w 481145"/>
              <a:gd name="connsiteY211" fmla="*/ 244269 h 320544"/>
              <a:gd name="connsiteX212" fmla="*/ 201368 w 481145"/>
              <a:gd name="connsiteY212" fmla="*/ 243583 h 320544"/>
              <a:gd name="connsiteX213" fmla="*/ 202501 w 481145"/>
              <a:gd name="connsiteY213" fmla="*/ 242345 h 320544"/>
              <a:gd name="connsiteX214" fmla="*/ 203711 w 481145"/>
              <a:gd name="connsiteY214" fmla="*/ 242764 h 320544"/>
              <a:gd name="connsiteX215" fmla="*/ 206007 w 481145"/>
              <a:gd name="connsiteY215" fmla="*/ 246135 h 320544"/>
              <a:gd name="connsiteX216" fmla="*/ 207073 w 481145"/>
              <a:gd name="connsiteY216" fmla="*/ 245764 h 320544"/>
              <a:gd name="connsiteX217" fmla="*/ 212360 w 481145"/>
              <a:gd name="connsiteY217" fmla="*/ 245088 h 320544"/>
              <a:gd name="connsiteX218" fmla="*/ 213207 w 481145"/>
              <a:gd name="connsiteY218" fmla="*/ 244173 h 320544"/>
              <a:gd name="connsiteX219" fmla="*/ 213836 w 481145"/>
              <a:gd name="connsiteY219" fmla="*/ 243344 h 320544"/>
              <a:gd name="connsiteX220" fmla="*/ 208312 w 481145"/>
              <a:gd name="connsiteY220" fmla="*/ 238868 h 320544"/>
              <a:gd name="connsiteX221" fmla="*/ 208588 w 481145"/>
              <a:gd name="connsiteY221" fmla="*/ 235525 h 320544"/>
              <a:gd name="connsiteX222" fmla="*/ 208797 w 481145"/>
              <a:gd name="connsiteY222" fmla="*/ 231686 h 320544"/>
              <a:gd name="connsiteX223" fmla="*/ 208140 w 481145"/>
              <a:gd name="connsiteY223" fmla="*/ 229400 h 320544"/>
              <a:gd name="connsiteX224" fmla="*/ 207064 w 481145"/>
              <a:gd name="connsiteY224" fmla="*/ 227590 h 320544"/>
              <a:gd name="connsiteX225" fmla="*/ 202844 w 481145"/>
              <a:gd name="connsiteY225" fmla="*/ 225485 h 320544"/>
              <a:gd name="connsiteX226" fmla="*/ 199577 w 481145"/>
              <a:gd name="connsiteY226" fmla="*/ 223304 h 320544"/>
              <a:gd name="connsiteX227" fmla="*/ 198891 w 481145"/>
              <a:gd name="connsiteY227" fmla="*/ 222313 h 320544"/>
              <a:gd name="connsiteX228" fmla="*/ 198805 w 481145"/>
              <a:gd name="connsiteY228" fmla="*/ 221037 h 320544"/>
              <a:gd name="connsiteX229" fmla="*/ 198663 w 481145"/>
              <a:gd name="connsiteY229" fmla="*/ 219056 h 320544"/>
              <a:gd name="connsiteX230" fmla="*/ 197367 w 481145"/>
              <a:gd name="connsiteY230" fmla="*/ 217351 h 320544"/>
              <a:gd name="connsiteX231" fmla="*/ 197262 w 481145"/>
              <a:gd name="connsiteY231" fmla="*/ 215903 h 320544"/>
              <a:gd name="connsiteX232" fmla="*/ 198082 w 481145"/>
              <a:gd name="connsiteY232" fmla="*/ 213646 h 320544"/>
              <a:gd name="connsiteX233" fmla="*/ 198282 w 481145"/>
              <a:gd name="connsiteY233" fmla="*/ 211245 h 320544"/>
              <a:gd name="connsiteX234" fmla="*/ 198005 w 481145"/>
              <a:gd name="connsiteY234" fmla="*/ 210293 h 320544"/>
              <a:gd name="connsiteX235" fmla="*/ 197243 w 481145"/>
              <a:gd name="connsiteY235" fmla="*/ 209512 h 320544"/>
              <a:gd name="connsiteX236" fmla="*/ 195776 w 481145"/>
              <a:gd name="connsiteY236" fmla="*/ 209435 h 320544"/>
              <a:gd name="connsiteX237" fmla="*/ 193843 w 481145"/>
              <a:gd name="connsiteY237" fmla="*/ 208045 h 320544"/>
              <a:gd name="connsiteX238" fmla="*/ 192519 w 481145"/>
              <a:gd name="connsiteY238" fmla="*/ 206169 h 320544"/>
              <a:gd name="connsiteX239" fmla="*/ 188956 w 481145"/>
              <a:gd name="connsiteY239" fmla="*/ 203463 h 320544"/>
              <a:gd name="connsiteX240" fmla="*/ 187871 w 481145"/>
              <a:gd name="connsiteY240" fmla="*/ 203025 h 320544"/>
              <a:gd name="connsiteX241" fmla="*/ 187204 w 481145"/>
              <a:gd name="connsiteY241" fmla="*/ 201682 h 320544"/>
              <a:gd name="connsiteX242" fmla="*/ 186880 w 481145"/>
              <a:gd name="connsiteY242" fmla="*/ 200082 h 320544"/>
              <a:gd name="connsiteX243" fmla="*/ 187633 w 481145"/>
              <a:gd name="connsiteY243" fmla="*/ 198091 h 320544"/>
              <a:gd name="connsiteX244" fmla="*/ 188576 w 481145"/>
              <a:gd name="connsiteY244" fmla="*/ 195015 h 320544"/>
              <a:gd name="connsiteX245" fmla="*/ 189233 w 481145"/>
              <a:gd name="connsiteY245" fmla="*/ 192129 h 320544"/>
              <a:gd name="connsiteX246" fmla="*/ 189243 w 481145"/>
              <a:gd name="connsiteY246" fmla="*/ 190405 h 320544"/>
              <a:gd name="connsiteX247" fmla="*/ 188814 w 481145"/>
              <a:gd name="connsiteY247" fmla="*/ 186137 h 320544"/>
              <a:gd name="connsiteX248" fmla="*/ 186957 w 481145"/>
              <a:gd name="connsiteY248" fmla="*/ 182870 h 320544"/>
              <a:gd name="connsiteX249" fmla="*/ 186090 w 481145"/>
              <a:gd name="connsiteY249" fmla="*/ 182442 h 320544"/>
              <a:gd name="connsiteX250" fmla="*/ 184594 w 481145"/>
              <a:gd name="connsiteY250" fmla="*/ 183356 h 320544"/>
              <a:gd name="connsiteX251" fmla="*/ 182889 w 481145"/>
              <a:gd name="connsiteY251" fmla="*/ 184128 h 320544"/>
              <a:gd name="connsiteX252" fmla="*/ 181546 w 481145"/>
              <a:gd name="connsiteY252" fmla="*/ 183404 h 320544"/>
              <a:gd name="connsiteX253" fmla="*/ 180013 w 481145"/>
              <a:gd name="connsiteY253" fmla="*/ 181632 h 320544"/>
              <a:gd name="connsiteX254" fmla="*/ 177555 w 481145"/>
              <a:gd name="connsiteY254" fmla="*/ 176689 h 320544"/>
              <a:gd name="connsiteX255" fmla="*/ 172955 w 481145"/>
              <a:gd name="connsiteY255" fmla="*/ 175698 h 320544"/>
              <a:gd name="connsiteX256" fmla="*/ 171049 w 481145"/>
              <a:gd name="connsiteY256" fmla="*/ 175460 h 320544"/>
              <a:gd name="connsiteX257" fmla="*/ 169250 w 481145"/>
              <a:gd name="connsiteY257" fmla="*/ 177841 h 320544"/>
              <a:gd name="connsiteX258" fmla="*/ 168687 w 481145"/>
              <a:gd name="connsiteY258" fmla="*/ 177117 h 320544"/>
              <a:gd name="connsiteX259" fmla="*/ 168183 w 481145"/>
              <a:gd name="connsiteY259" fmla="*/ 175593 h 320544"/>
              <a:gd name="connsiteX260" fmla="*/ 167230 w 481145"/>
              <a:gd name="connsiteY260" fmla="*/ 174993 h 320544"/>
              <a:gd name="connsiteX261" fmla="*/ 165973 w 481145"/>
              <a:gd name="connsiteY261" fmla="*/ 175698 h 320544"/>
              <a:gd name="connsiteX262" fmla="*/ 165611 w 481145"/>
              <a:gd name="connsiteY262" fmla="*/ 175022 h 320544"/>
              <a:gd name="connsiteX263" fmla="*/ 166154 w 481145"/>
              <a:gd name="connsiteY263" fmla="*/ 172955 h 320544"/>
              <a:gd name="connsiteX264" fmla="*/ 164659 w 481145"/>
              <a:gd name="connsiteY264" fmla="*/ 171936 h 320544"/>
              <a:gd name="connsiteX265" fmla="*/ 161124 w 481145"/>
              <a:gd name="connsiteY265" fmla="*/ 171955 h 320544"/>
              <a:gd name="connsiteX266" fmla="*/ 159239 w 481145"/>
              <a:gd name="connsiteY266" fmla="*/ 171193 h 320544"/>
              <a:gd name="connsiteX267" fmla="*/ 159019 w 481145"/>
              <a:gd name="connsiteY267" fmla="*/ 169640 h 320544"/>
              <a:gd name="connsiteX268" fmla="*/ 157905 w 481145"/>
              <a:gd name="connsiteY268" fmla="*/ 168621 h 320544"/>
              <a:gd name="connsiteX269" fmla="*/ 155905 w 481145"/>
              <a:gd name="connsiteY269" fmla="*/ 168126 h 320544"/>
              <a:gd name="connsiteX270" fmla="*/ 153952 w 481145"/>
              <a:gd name="connsiteY270" fmla="*/ 166859 h 320544"/>
              <a:gd name="connsiteX271" fmla="*/ 152066 w 481145"/>
              <a:gd name="connsiteY271" fmla="*/ 164811 h 320544"/>
              <a:gd name="connsiteX272" fmla="*/ 149237 w 481145"/>
              <a:gd name="connsiteY272" fmla="*/ 163478 h 320544"/>
              <a:gd name="connsiteX273" fmla="*/ 145475 w 481145"/>
              <a:gd name="connsiteY273" fmla="*/ 162858 h 320544"/>
              <a:gd name="connsiteX274" fmla="*/ 145170 w 481145"/>
              <a:gd name="connsiteY274" fmla="*/ 162639 h 320544"/>
              <a:gd name="connsiteX275" fmla="*/ 144818 w 481145"/>
              <a:gd name="connsiteY275" fmla="*/ 162344 h 320544"/>
              <a:gd name="connsiteX276" fmla="*/ 142389 w 481145"/>
              <a:gd name="connsiteY276" fmla="*/ 163735 h 320544"/>
              <a:gd name="connsiteX277" fmla="*/ 140932 w 481145"/>
              <a:gd name="connsiteY277" fmla="*/ 164840 h 320544"/>
              <a:gd name="connsiteX278" fmla="*/ 139141 w 481145"/>
              <a:gd name="connsiteY278" fmla="*/ 164154 h 320544"/>
              <a:gd name="connsiteX279" fmla="*/ 136245 w 481145"/>
              <a:gd name="connsiteY279" fmla="*/ 166611 h 320544"/>
              <a:gd name="connsiteX280" fmla="*/ 130359 w 481145"/>
              <a:gd name="connsiteY280" fmla="*/ 166735 h 320544"/>
              <a:gd name="connsiteX281" fmla="*/ 127473 w 481145"/>
              <a:gd name="connsiteY281" fmla="*/ 166583 h 320544"/>
              <a:gd name="connsiteX282" fmla="*/ 126044 w 481145"/>
              <a:gd name="connsiteY282" fmla="*/ 165973 h 320544"/>
              <a:gd name="connsiteX283" fmla="*/ 120519 w 481145"/>
              <a:gd name="connsiteY283" fmla="*/ 169707 h 320544"/>
              <a:gd name="connsiteX284" fmla="*/ 119939 w 481145"/>
              <a:gd name="connsiteY284" fmla="*/ 171079 h 320544"/>
              <a:gd name="connsiteX285" fmla="*/ 118700 w 481145"/>
              <a:gd name="connsiteY285" fmla="*/ 171535 h 320544"/>
              <a:gd name="connsiteX286" fmla="*/ 115224 w 481145"/>
              <a:gd name="connsiteY286" fmla="*/ 172278 h 320544"/>
              <a:gd name="connsiteX287" fmla="*/ 111566 w 481145"/>
              <a:gd name="connsiteY287" fmla="*/ 173326 h 320544"/>
              <a:gd name="connsiteX288" fmla="*/ 110794 w 481145"/>
              <a:gd name="connsiteY288" fmla="*/ 176936 h 320544"/>
              <a:gd name="connsiteX289" fmla="*/ 109708 w 481145"/>
              <a:gd name="connsiteY289" fmla="*/ 178889 h 320544"/>
              <a:gd name="connsiteX290" fmla="*/ 107746 w 481145"/>
              <a:gd name="connsiteY290" fmla="*/ 181746 h 320544"/>
              <a:gd name="connsiteX291" fmla="*/ 100955 w 481145"/>
              <a:gd name="connsiteY291" fmla="*/ 182737 h 320544"/>
              <a:gd name="connsiteX292" fmla="*/ 95088 w 481145"/>
              <a:gd name="connsiteY292" fmla="*/ 184128 h 320544"/>
              <a:gd name="connsiteX293" fmla="*/ 89078 w 481145"/>
              <a:gd name="connsiteY293" fmla="*/ 184995 h 320544"/>
              <a:gd name="connsiteX294" fmla="*/ 81200 w 481145"/>
              <a:gd name="connsiteY294" fmla="*/ 188481 h 320544"/>
              <a:gd name="connsiteX295" fmla="*/ 78638 w 481145"/>
              <a:gd name="connsiteY295" fmla="*/ 191548 h 320544"/>
              <a:gd name="connsiteX296" fmla="*/ 76105 w 481145"/>
              <a:gd name="connsiteY296" fmla="*/ 192405 h 320544"/>
              <a:gd name="connsiteX297" fmla="*/ 73809 w 481145"/>
              <a:gd name="connsiteY297" fmla="*/ 192662 h 320544"/>
              <a:gd name="connsiteX298" fmla="*/ 72323 w 481145"/>
              <a:gd name="connsiteY298" fmla="*/ 190948 h 320544"/>
              <a:gd name="connsiteX299" fmla="*/ 67323 w 481145"/>
              <a:gd name="connsiteY299" fmla="*/ 186357 h 320544"/>
              <a:gd name="connsiteX300" fmla="*/ 65398 w 481145"/>
              <a:gd name="connsiteY300" fmla="*/ 184185 h 320544"/>
              <a:gd name="connsiteX301" fmla="*/ 62865 w 481145"/>
              <a:gd name="connsiteY301" fmla="*/ 183547 h 320544"/>
              <a:gd name="connsiteX302" fmla="*/ 60112 w 481145"/>
              <a:gd name="connsiteY302" fmla="*/ 183909 h 320544"/>
              <a:gd name="connsiteX303" fmla="*/ 57464 w 481145"/>
              <a:gd name="connsiteY303" fmla="*/ 184975 h 320544"/>
              <a:gd name="connsiteX304" fmla="*/ 54683 w 481145"/>
              <a:gd name="connsiteY304" fmla="*/ 185175 h 320544"/>
              <a:gd name="connsiteX305" fmla="*/ 51530 w 481145"/>
              <a:gd name="connsiteY305" fmla="*/ 183632 h 320544"/>
              <a:gd name="connsiteX306" fmla="*/ 51197 w 481145"/>
              <a:gd name="connsiteY306" fmla="*/ 183785 h 320544"/>
              <a:gd name="connsiteX307" fmla="*/ 49987 w 481145"/>
              <a:gd name="connsiteY307" fmla="*/ 183994 h 320544"/>
              <a:gd name="connsiteX308" fmla="*/ 42157 w 481145"/>
              <a:gd name="connsiteY308" fmla="*/ 182128 h 320544"/>
              <a:gd name="connsiteX309" fmla="*/ 41434 w 481145"/>
              <a:gd name="connsiteY309" fmla="*/ 181813 h 320544"/>
              <a:gd name="connsiteX310" fmla="*/ 41091 w 481145"/>
              <a:gd name="connsiteY310" fmla="*/ 181737 h 320544"/>
              <a:gd name="connsiteX311" fmla="*/ 40014 w 481145"/>
              <a:gd name="connsiteY311" fmla="*/ 181594 h 320544"/>
              <a:gd name="connsiteX312" fmla="*/ 34118 w 481145"/>
              <a:gd name="connsiteY312" fmla="*/ 181823 h 320544"/>
              <a:gd name="connsiteX313" fmla="*/ 28622 w 481145"/>
              <a:gd name="connsiteY313" fmla="*/ 178051 h 320544"/>
              <a:gd name="connsiteX314" fmla="*/ 26936 w 481145"/>
              <a:gd name="connsiteY314" fmla="*/ 177937 h 320544"/>
              <a:gd name="connsiteX315" fmla="*/ 25632 w 481145"/>
              <a:gd name="connsiteY315" fmla="*/ 179460 h 320544"/>
              <a:gd name="connsiteX316" fmla="*/ 24669 w 481145"/>
              <a:gd name="connsiteY316" fmla="*/ 181156 h 320544"/>
              <a:gd name="connsiteX317" fmla="*/ 20878 w 481145"/>
              <a:gd name="connsiteY317" fmla="*/ 182842 h 320544"/>
              <a:gd name="connsiteX318" fmla="*/ 19907 w 481145"/>
              <a:gd name="connsiteY318" fmla="*/ 183518 h 320544"/>
              <a:gd name="connsiteX319" fmla="*/ 19355 w 481145"/>
              <a:gd name="connsiteY319" fmla="*/ 182994 h 320544"/>
              <a:gd name="connsiteX320" fmla="*/ 19097 w 481145"/>
              <a:gd name="connsiteY320" fmla="*/ 181537 h 320544"/>
              <a:gd name="connsiteX321" fmla="*/ 19383 w 481145"/>
              <a:gd name="connsiteY321" fmla="*/ 180241 h 320544"/>
              <a:gd name="connsiteX322" fmla="*/ 18821 w 481145"/>
              <a:gd name="connsiteY322" fmla="*/ 179022 h 320544"/>
              <a:gd name="connsiteX323" fmla="*/ 17383 w 481145"/>
              <a:gd name="connsiteY323" fmla="*/ 177632 h 320544"/>
              <a:gd name="connsiteX324" fmla="*/ 17030 w 481145"/>
              <a:gd name="connsiteY324" fmla="*/ 177051 h 320544"/>
              <a:gd name="connsiteX325" fmla="*/ 15221 w 481145"/>
              <a:gd name="connsiteY325" fmla="*/ 177155 h 320544"/>
              <a:gd name="connsiteX326" fmla="*/ 14725 w 481145"/>
              <a:gd name="connsiteY326" fmla="*/ 177289 h 320544"/>
              <a:gd name="connsiteX327" fmla="*/ 14544 w 481145"/>
              <a:gd name="connsiteY327" fmla="*/ 177260 h 320544"/>
              <a:gd name="connsiteX328" fmla="*/ 12029 w 481145"/>
              <a:gd name="connsiteY328" fmla="*/ 176079 h 320544"/>
              <a:gd name="connsiteX329" fmla="*/ 10373 w 481145"/>
              <a:gd name="connsiteY329" fmla="*/ 173231 h 320544"/>
              <a:gd name="connsiteX330" fmla="*/ 7791 w 481145"/>
              <a:gd name="connsiteY330" fmla="*/ 171717 h 320544"/>
              <a:gd name="connsiteX331" fmla="*/ 5819 w 481145"/>
              <a:gd name="connsiteY331" fmla="*/ 171202 h 320544"/>
              <a:gd name="connsiteX332" fmla="*/ 4924 w 481145"/>
              <a:gd name="connsiteY332" fmla="*/ 169974 h 320544"/>
              <a:gd name="connsiteX333" fmla="*/ 4343 w 481145"/>
              <a:gd name="connsiteY333" fmla="*/ 168345 h 320544"/>
              <a:gd name="connsiteX334" fmla="*/ 3733 w 481145"/>
              <a:gd name="connsiteY334" fmla="*/ 167116 h 320544"/>
              <a:gd name="connsiteX335" fmla="*/ 3667 w 481145"/>
              <a:gd name="connsiteY335" fmla="*/ 166992 h 320544"/>
              <a:gd name="connsiteX336" fmla="*/ 3247 w 481145"/>
              <a:gd name="connsiteY336" fmla="*/ 165125 h 320544"/>
              <a:gd name="connsiteX337" fmla="*/ 2648 w 481145"/>
              <a:gd name="connsiteY337" fmla="*/ 164935 h 320544"/>
              <a:gd name="connsiteX338" fmla="*/ 2543 w 481145"/>
              <a:gd name="connsiteY338" fmla="*/ 164887 h 320544"/>
              <a:gd name="connsiteX339" fmla="*/ 0 w 481145"/>
              <a:gd name="connsiteY339" fmla="*/ 165211 h 320544"/>
              <a:gd name="connsiteX340" fmla="*/ 295 w 481145"/>
              <a:gd name="connsiteY340" fmla="*/ 158648 h 320544"/>
              <a:gd name="connsiteX341" fmla="*/ 4362 w 481145"/>
              <a:gd name="connsiteY341" fmla="*/ 153914 h 320544"/>
              <a:gd name="connsiteX342" fmla="*/ 5362 w 481145"/>
              <a:gd name="connsiteY342" fmla="*/ 151524 h 320544"/>
              <a:gd name="connsiteX343" fmla="*/ 6886 w 481145"/>
              <a:gd name="connsiteY343" fmla="*/ 146332 h 320544"/>
              <a:gd name="connsiteX344" fmla="*/ 8029 w 481145"/>
              <a:gd name="connsiteY344" fmla="*/ 143894 h 320544"/>
              <a:gd name="connsiteX345" fmla="*/ 9401 w 481145"/>
              <a:gd name="connsiteY345" fmla="*/ 141875 h 320544"/>
              <a:gd name="connsiteX346" fmla="*/ 10496 w 481145"/>
              <a:gd name="connsiteY346" fmla="*/ 139922 h 320544"/>
              <a:gd name="connsiteX347" fmla="*/ 10887 w 481145"/>
              <a:gd name="connsiteY347" fmla="*/ 138246 h 320544"/>
              <a:gd name="connsiteX348" fmla="*/ 11992 w 481145"/>
              <a:gd name="connsiteY348" fmla="*/ 138055 h 320544"/>
              <a:gd name="connsiteX349" fmla="*/ 15230 w 481145"/>
              <a:gd name="connsiteY349" fmla="*/ 139570 h 320544"/>
              <a:gd name="connsiteX350" fmla="*/ 18136 w 481145"/>
              <a:gd name="connsiteY350" fmla="*/ 140351 h 320544"/>
              <a:gd name="connsiteX351" fmla="*/ 18935 w 481145"/>
              <a:gd name="connsiteY351" fmla="*/ 139608 h 320544"/>
              <a:gd name="connsiteX352" fmla="*/ 19269 w 481145"/>
              <a:gd name="connsiteY352" fmla="*/ 138636 h 320544"/>
              <a:gd name="connsiteX353" fmla="*/ 19135 w 481145"/>
              <a:gd name="connsiteY353" fmla="*/ 137884 h 320544"/>
              <a:gd name="connsiteX354" fmla="*/ 16811 w 481145"/>
              <a:gd name="connsiteY354" fmla="*/ 135646 h 320544"/>
              <a:gd name="connsiteX355" fmla="*/ 15354 w 481145"/>
              <a:gd name="connsiteY355" fmla="*/ 134217 h 320544"/>
              <a:gd name="connsiteX356" fmla="*/ 15259 w 481145"/>
              <a:gd name="connsiteY356" fmla="*/ 133340 h 320544"/>
              <a:gd name="connsiteX357" fmla="*/ 15783 w 481145"/>
              <a:gd name="connsiteY357" fmla="*/ 131369 h 320544"/>
              <a:gd name="connsiteX358" fmla="*/ 16068 w 481145"/>
              <a:gd name="connsiteY358" fmla="*/ 129159 h 320544"/>
              <a:gd name="connsiteX359" fmla="*/ 15735 w 481145"/>
              <a:gd name="connsiteY359" fmla="*/ 126759 h 320544"/>
              <a:gd name="connsiteX360" fmla="*/ 14144 w 481145"/>
              <a:gd name="connsiteY360" fmla="*/ 121434 h 320544"/>
              <a:gd name="connsiteX361" fmla="*/ 13849 w 481145"/>
              <a:gd name="connsiteY361" fmla="*/ 119167 h 320544"/>
              <a:gd name="connsiteX362" fmla="*/ 15364 w 481145"/>
              <a:gd name="connsiteY362" fmla="*/ 116405 h 320544"/>
              <a:gd name="connsiteX363" fmla="*/ 20298 w 481145"/>
              <a:gd name="connsiteY363" fmla="*/ 109814 h 320544"/>
              <a:gd name="connsiteX364" fmla="*/ 21945 w 481145"/>
              <a:gd name="connsiteY364" fmla="*/ 107327 h 320544"/>
              <a:gd name="connsiteX365" fmla="*/ 24193 w 481145"/>
              <a:gd name="connsiteY365" fmla="*/ 104327 h 320544"/>
              <a:gd name="connsiteX366" fmla="*/ 30299 w 481145"/>
              <a:gd name="connsiteY366" fmla="*/ 97126 h 320544"/>
              <a:gd name="connsiteX367" fmla="*/ 34147 w 481145"/>
              <a:gd name="connsiteY367" fmla="*/ 92926 h 320544"/>
              <a:gd name="connsiteX368" fmla="*/ 36756 w 481145"/>
              <a:gd name="connsiteY368" fmla="*/ 90592 h 320544"/>
              <a:gd name="connsiteX369" fmla="*/ 40576 w 481145"/>
              <a:gd name="connsiteY369" fmla="*/ 86544 h 320544"/>
              <a:gd name="connsiteX370" fmla="*/ 42253 w 481145"/>
              <a:gd name="connsiteY370" fmla="*/ 84439 h 320544"/>
              <a:gd name="connsiteX371" fmla="*/ 49225 w 481145"/>
              <a:gd name="connsiteY371" fmla="*/ 83067 h 320544"/>
              <a:gd name="connsiteX372" fmla="*/ 50092 w 481145"/>
              <a:gd name="connsiteY372" fmla="*/ 81096 h 320544"/>
              <a:gd name="connsiteX373" fmla="*/ 51368 w 481145"/>
              <a:gd name="connsiteY373" fmla="*/ 78943 h 320544"/>
              <a:gd name="connsiteX374" fmla="*/ 52358 w 481145"/>
              <a:gd name="connsiteY374" fmla="*/ 78019 h 320544"/>
              <a:gd name="connsiteX375" fmla="*/ 52492 w 481145"/>
              <a:gd name="connsiteY375" fmla="*/ 74390 h 320544"/>
              <a:gd name="connsiteX376" fmla="*/ 51197 w 481145"/>
              <a:gd name="connsiteY376" fmla="*/ 69942 h 320544"/>
              <a:gd name="connsiteX377" fmla="*/ 50159 w 481145"/>
              <a:gd name="connsiteY377" fmla="*/ 68370 h 320544"/>
              <a:gd name="connsiteX378" fmla="*/ 49387 w 481145"/>
              <a:gd name="connsiteY378" fmla="*/ 67294 h 320544"/>
              <a:gd name="connsiteX379" fmla="*/ 49892 w 481145"/>
              <a:gd name="connsiteY379" fmla="*/ 66294 h 320544"/>
              <a:gd name="connsiteX380" fmla="*/ 50663 w 481145"/>
              <a:gd name="connsiteY380" fmla="*/ 66008 h 320544"/>
              <a:gd name="connsiteX381" fmla="*/ 51615 w 481145"/>
              <a:gd name="connsiteY381" fmla="*/ 65865 h 320544"/>
              <a:gd name="connsiteX382" fmla="*/ 52797 w 481145"/>
              <a:gd name="connsiteY382" fmla="*/ 64789 h 320544"/>
              <a:gd name="connsiteX383" fmla="*/ 52530 w 481145"/>
              <a:gd name="connsiteY383" fmla="*/ 63617 h 320544"/>
              <a:gd name="connsiteX384" fmla="*/ 49587 w 481145"/>
              <a:gd name="connsiteY384" fmla="*/ 60760 h 320544"/>
              <a:gd name="connsiteX385" fmla="*/ 48310 w 481145"/>
              <a:gd name="connsiteY385" fmla="*/ 58560 h 320544"/>
              <a:gd name="connsiteX386" fmla="*/ 46320 w 481145"/>
              <a:gd name="connsiteY386" fmla="*/ 52883 h 320544"/>
              <a:gd name="connsiteX387" fmla="*/ 42281 w 481145"/>
              <a:gd name="connsiteY387" fmla="*/ 46977 h 320544"/>
              <a:gd name="connsiteX388" fmla="*/ 41005 w 481145"/>
              <a:gd name="connsiteY388" fmla="*/ 45063 h 320544"/>
              <a:gd name="connsiteX389" fmla="*/ 40824 w 481145"/>
              <a:gd name="connsiteY389" fmla="*/ 43253 h 320544"/>
              <a:gd name="connsiteX390" fmla="*/ 41414 w 481145"/>
              <a:gd name="connsiteY390" fmla="*/ 41443 h 320544"/>
              <a:gd name="connsiteX391" fmla="*/ 40852 w 481145"/>
              <a:gd name="connsiteY391" fmla="*/ 39129 h 320544"/>
              <a:gd name="connsiteX392" fmla="*/ 39424 w 481145"/>
              <a:gd name="connsiteY392" fmla="*/ 36176 h 320544"/>
              <a:gd name="connsiteX393" fmla="*/ 39652 w 481145"/>
              <a:gd name="connsiteY393" fmla="*/ 35852 h 320544"/>
              <a:gd name="connsiteX394" fmla="*/ 39509 w 481145"/>
              <a:gd name="connsiteY394" fmla="*/ 32204 h 320544"/>
              <a:gd name="connsiteX395" fmla="*/ 40528 w 481145"/>
              <a:gd name="connsiteY395" fmla="*/ 31413 h 320544"/>
              <a:gd name="connsiteX396" fmla="*/ 42138 w 481145"/>
              <a:gd name="connsiteY396" fmla="*/ 30880 h 320544"/>
              <a:gd name="connsiteX397" fmla="*/ 44405 w 481145"/>
              <a:gd name="connsiteY397" fmla="*/ 31061 h 320544"/>
              <a:gd name="connsiteX398" fmla="*/ 46348 w 481145"/>
              <a:gd name="connsiteY398" fmla="*/ 31623 h 320544"/>
              <a:gd name="connsiteX399" fmla="*/ 48673 w 481145"/>
              <a:gd name="connsiteY399" fmla="*/ 33290 h 320544"/>
              <a:gd name="connsiteX400" fmla="*/ 49396 w 481145"/>
              <a:gd name="connsiteY400" fmla="*/ 33023 h 320544"/>
              <a:gd name="connsiteX401" fmla="*/ 53368 w 481145"/>
              <a:gd name="connsiteY401" fmla="*/ 29880 h 320544"/>
              <a:gd name="connsiteX402" fmla="*/ 57464 w 481145"/>
              <a:gd name="connsiteY402" fmla="*/ 25136 h 320544"/>
              <a:gd name="connsiteX403" fmla="*/ 58635 w 481145"/>
              <a:gd name="connsiteY403" fmla="*/ 22384 h 320544"/>
              <a:gd name="connsiteX404" fmla="*/ 59655 w 481145"/>
              <a:gd name="connsiteY404" fmla="*/ 21126 h 320544"/>
              <a:gd name="connsiteX405" fmla="*/ 63217 w 481145"/>
              <a:gd name="connsiteY405" fmla="*/ 20460 h 320544"/>
              <a:gd name="connsiteX406" fmla="*/ 66322 w 481145"/>
              <a:gd name="connsiteY406" fmla="*/ 20183 h 320544"/>
              <a:gd name="connsiteX407" fmla="*/ 68294 w 481145"/>
              <a:gd name="connsiteY407" fmla="*/ 20231 h 320544"/>
              <a:gd name="connsiteX408" fmla="*/ 73142 w 481145"/>
              <a:gd name="connsiteY408" fmla="*/ 19764 h 320544"/>
              <a:gd name="connsiteX409" fmla="*/ 76009 w 481145"/>
              <a:gd name="connsiteY409" fmla="*/ 19240 h 320544"/>
              <a:gd name="connsiteX410" fmla="*/ 78495 w 481145"/>
              <a:gd name="connsiteY410" fmla="*/ 18402 h 320544"/>
              <a:gd name="connsiteX411" fmla="*/ 83858 w 481145"/>
              <a:gd name="connsiteY411" fmla="*/ 18088 h 320544"/>
              <a:gd name="connsiteX412" fmla="*/ 92221 w 481145"/>
              <a:gd name="connsiteY412" fmla="*/ 18650 h 320544"/>
              <a:gd name="connsiteX413" fmla="*/ 97717 w 481145"/>
              <a:gd name="connsiteY413" fmla="*/ 18688 h 320544"/>
              <a:gd name="connsiteX414" fmla="*/ 101450 w 481145"/>
              <a:gd name="connsiteY414" fmla="*/ 19135 h 320544"/>
              <a:gd name="connsiteX415" fmla="*/ 110585 w 481145"/>
              <a:gd name="connsiteY415" fmla="*/ 21660 h 320544"/>
              <a:gd name="connsiteX416" fmla="*/ 113985 w 481145"/>
              <a:gd name="connsiteY416" fmla="*/ 22117 h 320544"/>
              <a:gd name="connsiteX417" fmla="*/ 115567 w 481145"/>
              <a:gd name="connsiteY417" fmla="*/ 23460 h 320544"/>
              <a:gd name="connsiteX418" fmla="*/ 118605 w 481145"/>
              <a:gd name="connsiteY418" fmla="*/ 23955 h 320544"/>
              <a:gd name="connsiteX419" fmla="*/ 124130 w 481145"/>
              <a:gd name="connsiteY419" fmla="*/ 25298 h 320544"/>
              <a:gd name="connsiteX420" fmla="*/ 128921 w 481145"/>
              <a:gd name="connsiteY420" fmla="*/ 26022 h 320544"/>
              <a:gd name="connsiteX421" fmla="*/ 132159 w 481145"/>
              <a:gd name="connsiteY421" fmla="*/ 25727 h 320544"/>
              <a:gd name="connsiteX422" fmla="*/ 133969 w 481145"/>
              <a:gd name="connsiteY422" fmla="*/ 26108 h 320544"/>
              <a:gd name="connsiteX423" fmla="*/ 137398 w 481145"/>
              <a:gd name="connsiteY423" fmla="*/ 32061 h 320544"/>
              <a:gd name="connsiteX424" fmla="*/ 138103 w 481145"/>
              <a:gd name="connsiteY424" fmla="*/ 32756 h 320544"/>
              <a:gd name="connsiteX425" fmla="*/ 139474 w 481145"/>
              <a:gd name="connsiteY425" fmla="*/ 32899 h 320544"/>
              <a:gd name="connsiteX426" fmla="*/ 142274 w 481145"/>
              <a:gd name="connsiteY426" fmla="*/ 32385 h 320544"/>
              <a:gd name="connsiteX427" fmla="*/ 146256 w 481145"/>
              <a:gd name="connsiteY427" fmla="*/ 32585 h 320544"/>
              <a:gd name="connsiteX428" fmla="*/ 148618 w 481145"/>
              <a:gd name="connsiteY428" fmla="*/ 33833 h 320544"/>
              <a:gd name="connsiteX429" fmla="*/ 148275 w 481145"/>
              <a:gd name="connsiteY429" fmla="*/ 37366 h 320544"/>
              <a:gd name="connsiteX430" fmla="*/ 148894 w 481145"/>
              <a:gd name="connsiteY430" fmla="*/ 37881 h 320544"/>
              <a:gd name="connsiteX431" fmla="*/ 150000 w 481145"/>
              <a:gd name="connsiteY431" fmla="*/ 37681 h 320544"/>
              <a:gd name="connsiteX432" fmla="*/ 151266 w 481145"/>
              <a:gd name="connsiteY432" fmla="*/ 35690 h 320544"/>
              <a:gd name="connsiteX433" fmla="*/ 152333 w 481145"/>
              <a:gd name="connsiteY433" fmla="*/ 33623 h 320544"/>
              <a:gd name="connsiteX434" fmla="*/ 153124 w 481145"/>
              <a:gd name="connsiteY434" fmla="*/ 32975 h 320544"/>
              <a:gd name="connsiteX435" fmla="*/ 157191 w 481145"/>
              <a:gd name="connsiteY435" fmla="*/ 34376 h 320544"/>
              <a:gd name="connsiteX436" fmla="*/ 159048 w 481145"/>
              <a:gd name="connsiteY436" fmla="*/ 34147 h 320544"/>
              <a:gd name="connsiteX437" fmla="*/ 160763 w 481145"/>
              <a:gd name="connsiteY437" fmla="*/ 32575 h 320544"/>
              <a:gd name="connsiteX438" fmla="*/ 161810 w 481145"/>
              <a:gd name="connsiteY438" fmla="*/ 32309 h 320544"/>
              <a:gd name="connsiteX439" fmla="*/ 164696 w 481145"/>
              <a:gd name="connsiteY439" fmla="*/ 33423 h 320544"/>
              <a:gd name="connsiteX440" fmla="*/ 168249 w 481145"/>
              <a:gd name="connsiteY440" fmla="*/ 34204 h 320544"/>
              <a:gd name="connsiteX441" fmla="*/ 171126 w 481145"/>
              <a:gd name="connsiteY441" fmla="*/ 34252 h 320544"/>
              <a:gd name="connsiteX442" fmla="*/ 172917 w 481145"/>
              <a:gd name="connsiteY442" fmla="*/ 35100 h 320544"/>
              <a:gd name="connsiteX443" fmla="*/ 174221 w 481145"/>
              <a:gd name="connsiteY443" fmla="*/ 38786 h 320544"/>
              <a:gd name="connsiteX444" fmla="*/ 175355 w 481145"/>
              <a:gd name="connsiteY444" fmla="*/ 39548 h 320544"/>
              <a:gd name="connsiteX445" fmla="*/ 176450 w 481145"/>
              <a:gd name="connsiteY445" fmla="*/ 39776 h 320544"/>
              <a:gd name="connsiteX446" fmla="*/ 178108 w 481145"/>
              <a:gd name="connsiteY446" fmla="*/ 36481 h 320544"/>
              <a:gd name="connsiteX447" fmla="*/ 179613 w 481145"/>
              <a:gd name="connsiteY447" fmla="*/ 35204 h 320544"/>
              <a:gd name="connsiteX448" fmla="*/ 181699 w 481145"/>
              <a:gd name="connsiteY448" fmla="*/ 34261 h 320544"/>
              <a:gd name="connsiteX449" fmla="*/ 183042 w 481145"/>
              <a:gd name="connsiteY449" fmla="*/ 33852 h 320544"/>
              <a:gd name="connsiteX450" fmla="*/ 183994 w 481145"/>
              <a:gd name="connsiteY450" fmla="*/ 32680 h 320544"/>
              <a:gd name="connsiteX451" fmla="*/ 185271 w 481145"/>
              <a:gd name="connsiteY451" fmla="*/ 31547 h 320544"/>
              <a:gd name="connsiteX452" fmla="*/ 186375 w 481145"/>
              <a:gd name="connsiteY452" fmla="*/ 31452 h 320544"/>
              <a:gd name="connsiteX453" fmla="*/ 187271 w 481145"/>
              <a:gd name="connsiteY453" fmla="*/ 31890 h 320544"/>
              <a:gd name="connsiteX454" fmla="*/ 188300 w 481145"/>
              <a:gd name="connsiteY454" fmla="*/ 33461 h 320544"/>
              <a:gd name="connsiteX455" fmla="*/ 189804 w 481145"/>
              <a:gd name="connsiteY455" fmla="*/ 37043 h 320544"/>
              <a:gd name="connsiteX456" fmla="*/ 191633 w 481145"/>
              <a:gd name="connsiteY456" fmla="*/ 40634 h 320544"/>
              <a:gd name="connsiteX457" fmla="*/ 192910 w 481145"/>
              <a:gd name="connsiteY457" fmla="*/ 41938 h 320544"/>
              <a:gd name="connsiteX458" fmla="*/ 196205 w 481145"/>
              <a:gd name="connsiteY458" fmla="*/ 40834 h 320544"/>
              <a:gd name="connsiteX459" fmla="*/ 198434 w 481145"/>
              <a:gd name="connsiteY459" fmla="*/ 39709 h 320544"/>
              <a:gd name="connsiteX460" fmla="*/ 202520 w 481145"/>
              <a:gd name="connsiteY460" fmla="*/ 39500 h 320544"/>
              <a:gd name="connsiteX461" fmla="*/ 207940 w 481145"/>
              <a:gd name="connsiteY461" fmla="*/ 38710 h 320544"/>
              <a:gd name="connsiteX462" fmla="*/ 212084 w 481145"/>
              <a:gd name="connsiteY462" fmla="*/ 37681 h 320544"/>
              <a:gd name="connsiteX463" fmla="*/ 214674 w 481145"/>
              <a:gd name="connsiteY463" fmla="*/ 37862 h 320544"/>
              <a:gd name="connsiteX464" fmla="*/ 216246 w 481145"/>
              <a:gd name="connsiteY464" fmla="*/ 39005 h 320544"/>
              <a:gd name="connsiteX465" fmla="*/ 218637 w 481145"/>
              <a:gd name="connsiteY465" fmla="*/ 41205 h 320544"/>
              <a:gd name="connsiteX466" fmla="*/ 219284 w 481145"/>
              <a:gd name="connsiteY466" fmla="*/ 44367 h 320544"/>
              <a:gd name="connsiteX467" fmla="*/ 222389 w 481145"/>
              <a:gd name="connsiteY467" fmla="*/ 46549 h 320544"/>
              <a:gd name="connsiteX468" fmla="*/ 224933 w 481145"/>
              <a:gd name="connsiteY468" fmla="*/ 46949 h 320544"/>
              <a:gd name="connsiteX469" fmla="*/ 225800 w 481145"/>
              <a:gd name="connsiteY469" fmla="*/ 44682 h 320544"/>
              <a:gd name="connsiteX470" fmla="*/ 227286 w 481145"/>
              <a:gd name="connsiteY470" fmla="*/ 43101 h 320544"/>
              <a:gd name="connsiteX471" fmla="*/ 226723 w 481145"/>
              <a:gd name="connsiteY471" fmla="*/ 40919 h 320544"/>
              <a:gd name="connsiteX472" fmla="*/ 226476 w 481145"/>
              <a:gd name="connsiteY472" fmla="*/ 38138 h 320544"/>
              <a:gd name="connsiteX473" fmla="*/ 225361 w 481145"/>
              <a:gd name="connsiteY473" fmla="*/ 35557 h 320544"/>
              <a:gd name="connsiteX474" fmla="*/ 224618 w 481145"/>
              <a:gd name="connsiteY474" fmla="*/ 32775 h 320544"/>
              <a:gd name="connsiteX475" fmla="*/ 225980 w 481145"/>
              <a:gd name="connsiteY475" fmla="*/ 28794 h 320544"/>
              <a:gd name="connsiteX476" fmla="*/ 227466 w 481145"/>
              <a:gd name="connsiteY476" fmla="*/ 25308 h 320544"/>
              <a:gd name="connsiteX477" fmla="*/ 228209 w 481145"/>
              <a:gd name="connsiteY477" fmla="*/ 23412 h 320544"/>
              <a:gd name="connsiteX478" fmla="*/ 230562 w 481145"/>
              <a:gd name="connsiteY478" fmla="*/ 19907 h 320544"/>
              <a:gd name="connsiteX479" fmla="*/ 232972 w 481145"/>
              <a:gd name="connsiteY479" fmla="*/ 17402 h 320544"/>
              <a:gd name="connsiteX480" fmla="*/ 236581 w 481145"/>
              <a:gd name="connsiteY480" fmla="*/ 13373 h 320544"/>
              <a:gd name="connsiteX481" fmla="*/ 239220 w 481145"/>
              <a:gd name="connsiteY481" fmla="*/ 12039 h 320544"/>
              <a:gd name="connsiteX482" fmla="*/ 241602 w 481145"/>
              <a:gd name="connsiteY482" fmla="*/ 12649 h 320544"/>
              <a:gd name="connsiteX483" fmla="*/ 242925 w 481145"/>
              <a:gd name="connsiteY483" fmla="*/ 13202 h 320544"/>
              <a:gd name="connsiteX484" fmla="*/ 246345 w 481145"/>
              <a:gd name="connsiteY484" fmla="*/ 10811 h 320544"/>
              <a:gd name="connsiteX485" fmla="*/ 252431 w 481145"/>
              <a:gd name="connsiteY485" fmla="*/ 10687 h 320544"/>
              <a:gd name="connsiteX486" fmla="*/ 257499 w 481145"/>
              <a:gd name="connsiteY486" fmla="*/ 10992 h 320544"/>
              <a:gd name="connsiteX487" fmla="*/ 258013 w 481145"/>
              <a:gd name="connsiteY487" fmla="*/ 11068 h 320544"/>
              <a:gd name="connsiteX488" fmla="*/ 260509 w 481145"/>
              <a:gd name="connsiteY488" fmla="*/ 12306 h 320544"/>
              <a:gd name="connsiteX489" fmla="*/ 263128 w 481145"/>
              <a:gd name="connsiteY489" fmla="*/ 13354 h 320544"/>
              <a:gd name="connsiteX490" fmla="*/ 264937 w 481145"/>
              <a:gd name="connsiteY490" fmla="*/ 13421 h 320544"/>
              <a:gd name="connsiteX491" fmla="*/ 267090 w 481145"/>
              <a:gd name="connsiteY491" fmla="*/ 13182 h 320544"/>
              <a:gd name="connsiteX492" fmla="*/ 269624 w 481145"/>
              <a:gd name="connsiteY492" fmla="*/ 11782 h 320544"/>
              <a:gd name="connsiteX493" fmla="*/ 271386 w 481145"/>
              <a:gd name="connsiteY493" fmla="*/ 10430 h 320544"/>
              <a:gd name="connsiteX494" fmla="*/ 273529 w 481145"/>
              <a:gd name="connsiteY494" fmla="*/ 3553 h 320544"/>
              <a:gd name="connsiteX495" fmla="*/ 274291 w 481145"/>
              <a:gd name="connsiteY495" fmla="*/ 2562 h 320544"/>
              <a:gd name="connsiteX496" fmla="*/ 275472 w 481145"/>
              <a:gd name="connsiteY496" fmla="*/ 2019 h 320544"/>
              <a:gd name="connsiteX497" fmla="*/ 277406 w 481145"/>
              <a:gd name="connsiteY497" fmla="*/ 1962 h 320544"/>
              <a:gd name="connsiteX498" fmla="*/ 281082 w 481145"/>
              <a:gd name="connsiteY498" fmla="*/ 3248 h 320544"/>
              <a:gd name="connsiteX499" fmla="*/ 285388 w 481145"/>
              <a:gd name="connsiteY499" fmla="*/ 4400 h 320544"/>
              <a:gd name="connsiteX500" fmla="*/ 287884 w 481145"/>
              <a:gd name="connsiteY500" fmla="*/ 4238 h 320544"/>
              <a:gd name="connsiteX501" fmla="*/ 294532 w 481145"/>
              <a:gd name="connsiteY501" fmla="*/ 571 h 320544"/>
              <a:gd name="connsiteX502" fmla="*/ 298237 w 481145"/>
              <a:gd name="connsiteY502" fmla="*/ 0 h 320544"/>
              <a:gd name="connsiteX503" fmla="*/ 302637 w 481145"/>
              <a:gd name="connsiteY503" fmla="*/ 857 h 320544"/>
              <a:gd name="connsiteX504" fmla="*/ 306962 w 481145"/>
              <a:gd name="connsiteY504" fmla="*/ 905 h 320544"/>
              <a:gd name="connsiteX505" fmla="*/ 310219 w 481145"/>
              <a:gd name="connsiteY505" fmla="*/ 371 h 320544"/>
              <a:gd name="connsiteX506" fmla="*/ 312458 w 481145"/>
              <a:gd name="connsiteY506" fmla="*/ 1638 h 320544"/>
              <a:gd name="connsiteX507" fmla="*/ 315220 w 481145"/>
              <a:gd name="connsiteY507" fmla="*/ 4438 h 320544"/>
              <a:gd name="connsiteX508" fmla="*/ 317716 w 481145"/>
              <a:gd name="connsiteY508" fmla="*/ 8591 h 320544"/>
              <a:gd name="connsiteX509" fmla="*/ 320325 w 481145"/>
              <a:gd name="connsiteY509" fmla="*/ 16240 h 320544"/>
              <a:gd name="connsiteX510" fmla="*/ 327936 w 481145"/>
              <a:gd name="connsiteY510" fmla="*/ 24841 h 320544"/>
              <a:gd name="connsiteX511" fmla="*/ 328060 w 481145"/>
              <a:gd name="connsiteY511" fmla="*/ 26518 h 320544"/>
              <a:gd name="connsiteX512" fmla="*/ 327440 w 481145"/>
              <a:gd name="connsiteY512" fmla="*/ 27594 h 320544"/>
              <a:gd name="connsiteX513" fmla="*/ 323697 w 481145"/>
              <a:gd name="connsiteY513" fmla="*/ 28632 h 320544"/>
              <a:gd name="connsiteX514" fmla="*/ 320535 w 481145"/>
              <a:gd name="connsiteY514" fmla="*/ 29194 h 320544"/>
              <a:gd name="connsiteX515" fmla="*/ 320383 w 481145"/>
              <a:gd name="connsiteY515" fmla="*/ 30661 h 320544"/>
              <a:gd name="connsiteX516" fmla="*/ 321221 w 481145"/>
              <a:gd name="connsiteY516" fmla="*/ 32252 h 320544"/>
              <a:gd name="connsiteX517" fmla="*/ 322669 w 481145"/>
              <a:gd name="connsiteY517" fmla="*/ 34576 h 320544"/>
              <a:gd name="connsiteX518" fmla="*/ 322888 w 481145"/>
              <a:gd name="connsiteY518" fmla="*/ 37567 h 320544"/>
              <a:gd name="connsiteX519" fmla="*/ 322812 w 481145"/>
              <a:gd name="connsiteY519" fmla="*/ 40310 h 320544"/>
              <a:gd name="connsiteX520" fmla="*/ 323431 w 481145"/>
              <a:gd name="connsiteY520" fmla="*/ 42729 h 320544"/>
              <a:gd name="connsiteX521" fmla="*/ 324640 w 481145"/>
              <a:gd name="connsiteY521" fmla="*/ 43720 h 320544"/>
              <a:gd name="connsiteX522" fmla="*/ 324793 w 481145"/>
              <a:gd name="connsiteY522" fmla="*/ 44929 h 320544"/>
              <a:gd name="connsiteX523" fmla="*/ 323402 w 481145"/>
              <a:gd name="connsiteY523" fmla="*/ 46415 h 320544"/>
              <a:gd name="connsiteX524" fmla="*/ 323012 w 481145"/>
              <a:gd name="connsiteY524" fmla="*/ 47330 h 320544"/>
              <a:gd name="connsiteX525" fmla="*/ 323555 w 481145"/>
              <a:gd name="connsiteY525" fmla="*/ 47825 h 320544"/>
              <a:gd name="connsiteX526" fmla="*/ 330422 w 481145"/>
              <a:gd name="connsiteY526" fmla="*/ 48111 h 320544"/>
              <a:gd name="connsiteX527" fmla="*/ 333784 w 481145"/>
              <a:gd name="connsiteY527" fmla="*/ 49549 h 320544"/>
              <a:gd name="connsiteX528" fmla="*/ 336337 w 481145"/>
              <a:gd name="connsiteY528" fmla="*/ 50863 h 320544"/>
              <a:gd name="connsiteX529" fmla="*/ 337623 w 481145"/>
              <a:gd name="connsiteY529" fmla="*/ 50987 h 320544"/>
              <a:gd name="connsiteX530" fmla="*/ 340519 w 481145"/>
              <a:gd name="connsiteY530" fmla="*/ 50149 h 320544"/>
              <a:gd name="connsiteX531" fmla="*/ 343776 w 481145"/>
              <a:gd name="connsiteY531" fmla="*/ 49616 h 320544"/>
              <a:gd name="connsiteX532" fmla="*/ 345748 w 481145"/>
              <a:gd name="connsiteY532" fmla="*/ 49539 h 320544"/>
              <a:gd name="connsiteX533" fmla="*/ 346510 w 481145"/>
              <a:gd name="connsiteY533" fmla="*/ 50511 h 320544"/>
              <a:gd name="connsiteX534" fmla="*/ 347120 w 481145"/>
              <a:gd name="connsiteY534" fmla="*/ 53054 h 320544"/>
              <a:gd name="connsiteX535" fmla="*/ 348262 w 481145"/>
              <a:gd name="connsiteY535" fmla="*/ 55597 h 320544"/>
              <a:gd name="connsiteX536" fmla="*/ 349329 w 481145"/>
              <a:gd name="connsiteY536" fmla="*/ 56321 h 320544"/>
              <a:gd name="connsiteX537" fmla="*/ 351234 w 481145"/>
              <a:gd name="connsiteY537" fmla="*/ 56197 h 320544"/>
              <a:gd name="connsiteX538" fmla="*/ 352377 w 481145"/>
              <a:gd name="connsiteY538" fmla="*/ 56321 h 320544"/>
              <a:gd name="connsiteX539" fmla="*/ 352987 w 481145"/>
              <a:gd name="connsiteY539" fmla="*/ 57283 h 320544"/>
              <a:gd name="connsiteX540" fmla="*/ 352301 w 481145"/>
              <a:gd name="connsiteY540" fmla="*/ 58731 h 320544"/>
              <a:gd name="connsiteX541" fmla="*/ 352454 w 481145"/>
              <a:gd name="connsiteY541" fmla="*/ 60303 h 320544"/>
              <a:gd name="connsiteX542" fmla="*/ 353291 w 481145"/>
              <a:gd name="connsiteY542" fmla="*/ 62227 h 320544"/>
              <a:gd name="connsiteX543" fmla="*/ 354282 w 481145"/>
              <a:gd name="connsiteY543" fmla="*/ 66675 h 320544"/>
              <a:gd name="connsiteX544" fmla="*/ 355196 w 481145"/>
              <a:gd name="connsiteY544" fmla="*/ 67999 h 320544"/>
              <a:gd name="connsiteX545" fmla="*/ 355806 w 481145"/>
              <a:gd name="connsiteY545" fmla="*/ 69675 h 320544"/>
              <a:gd name="connsiteX546" fmla="*/ 355806 w 481145"/>
              <a:gd name="connsiteY546" fmla="*/ 71599 h 320544"/>
              <a:gd name="connsiteX547" fmla="*/ 355044 w 481145"/>
              <a:gd name="connsiteY547" fmla="*/ 73276 h 320544"/>
              <a:gd name="connsiteX548" fmla="*/ 354511 w 481145"/>
              <a:gd name="connsiteY548" fmla="*/ 74590 h 320544"/>
              <a:gd name="connsiteX549" fmla="*/ 355044 w 481145"/>
              <a:gd name="connsiteY549" fmla="*/ 77581 h 320544"/>
              <a:gd name="connsiteX550" fmla="*/ 357101 w 481145"/>
              <a:gd name="connsiteY550" fmla="*/ 80924 h 320544"/>
              <a:gd name="connsiteX551" fmla="*/ 358625 w 481145"/>
              <a:gd name="connsiteY551" fmla="*/ 81753 h 320544"/>
              <a:gd name="connsiteX552" fmla="*/ 359845 w 481145"/>
              <a:gd name="connsiteY552" fmla="*/ 84734 h 320544"/>
              <a:gd name="connsiteX553" fmla="*/ 362055 w 481145"/>
              <a:gd name="connsiteY553" fmla="*/ 85687 h 320544"/>
              <a:gd name="connsiteX554" fmla="*/ 365331 w 481145"/>
              <a:gd name="connsiteY554" fmla="*/ 83182 h 320544"/>
              <a:gd name="connsiteX555" fmla="*/ 367846 w 481145"/>
              <a:gd name="connsiteY555" fmla="*/ 81867 h 320544"/>
              <a:gd name="connsiteX556" fmla="*/ 370989 w 481145"/>
              <a:gd name="connsiteY556" fmla="*/ 82601 h 320544"/>
              <a:gd name="connsiteX557" fmla="*/ 373894 w 481145"/>
              <a:gd name="connsiteY557" fmla="*/ 83067 h 320544"/>
              <a:gd name="connsiteX558" fmla="*/ 375847 w 481145"/>
              <a:gd name="connsiteY558" fmla="*/ 84772 h 320544"/>
              <a:gd name="connsiteX559" fmla="*/ 377285 w 481145"/>
              <a:gd name="connsiteY559" fmla="*/ 87116 h 320544"/>
              <a:gd name="connsiteX560" fmla="*/ 378961 w 481145"/>
              <a:gd name="connsiteY560" fmla="*/ 88420 h 320544"/>
              <a:gd name="connsiteX561" fmla="*/ 380638 w 481145"/>
              <a:gd name="connsiteY561" fmla="*/ 87735 h 320544"/>
              <a:gd name="connsiteX562" fmla="*/ 384134 w 481145"/>
              <a:gd name="connsiteY562" fmla="*/ 88420 h 320544"/>
              <a:gd name="connsiteX563" fmla="*/ 385733 w 481145"/>
              <a:gd name="connsiteY563" fmla="*/ 90316 h 320544"/>
              <a:gd name="connsiteX564" fmla="*/ 387334 w 481145"/>
              <a:gd name="connsiteY564" fmla="*/ 91383 h 320544"/>
              <a:gd name="connsiteX565" fmla="*/ 389391 w 481145"/>
              <a:gd name="connsiteY565" fmla="*/ 89840 h 320544"/>
              <a:gd name="connsiteX566" fmla="*/ 391067 w 481145"/>
              <a:gd name="connsiteY566" fmla="*/ 87935 h 320544"/>
              <a:gd name="connsiteX567" fmla="*/ 397202 w 481145"/>
              <a:gd name="connsiteY567" fmla="*/ 85944 h 320544"/>
              <a:gd name="connsiteX568" fmla="*/ 401012 w 481145"/>
              <a:gd name="connsiteY568" fmla="*/ 85449 h 320544"/>
              <a:gd name="connsiteX569" fmla="*/ 402078 w 481145"/>
              <a:gd name="connsiteY569" fmla="*/ 85058 h 320544"/>
              <a:gd name="connsiteX570" fmla="*/ 404317 w 481145"/>
              <a:gd name="connsiteY570" fmla="*/ 83629 h 320544"/>
              <a:gd name="connsiteX571" fmla="*/ 406679 w 481145"/>
              <a:gd name="connsiteY571" fmla="*/ 82677 h 320544"/>
              <a:gd name="connsiteX572" fmla="*/ 408803 w 481145"/>
              <a:gd name="connsiteY572" fmla="*/ 82934 h 320544"/>
              <a:gd name="connsiteX573" fmla="*/ 410899 w 481145"/>
              <a:gd name="connsiteY573" fmla="*/ 85896 h 320544"/>
              <a:gd name="connsiteX574" fmla="*/ 413070 w 481145"/>
              <a:gd name="connsiteY574" fmla="*/ 87935 h 320544"/>
              <a:gd name="connsiteX575" fmla="*/ 413680 w 481145"/>
              <a:gd name="connsiteY575" fmla="*/ 91145 h 320544"/>
              <a:gd name="connsiteX576" fmla="*/ 416328 w 481145"/>
              <a:gd name="connsiteY576" fmla="*/ 95545 h 320544"/>
              <a:gd name="connsiteX577" fmla="*/ 422910 w 481145"/>
              <a:gd name="connsiteY577" fmla="*/ 101555 h 320544"/>
              <a:gd name="connsiteX578" fmla="*/ 425491 w 481145"/>
              <a:gd name="connsiteY578" fmla="*/ 103384 h 320544"/>
              <a:gd name="connsiteX579" fmla="*/ 427244 w 481145"/>
              <a:gd name="connsiteY579" fmla="*/ 103060 h 320544"/>
              <a:gd name="connsiteX580" fmla="*/ 428158 w 481145"/>
              <a:gd name="connsiteY580" fmla="*/ 102584 h 320544"/>
              <a:gd name="connsiteX581" fmla="*/ 428587 w 481145"/>
              <a:gd name="connsiteY581" fmla="*/ 101955 h 320544"/>
              <a:gd name="connsiteX582" fmla="*/ 428987 w 481145"/>
              <a:gd name="connsiteY582" fmla="*/ 99012 h 320544"/>
              <a:gd name="connsiteX583" fmla="*/ 429816 w 481145"/>
              <a:gd name="connsiteY583" fmla="*/ 97926 h 320544"/>
              <a:gd name="connsiteX584" fmla="*/ 431149 w 481145"/>
              <a:gd name="connsiteY584" fmla="*/ 97898 h 320544"/>
              <a:gd name="connsiteX585" fmla="*/ 436302 w 481145"/>
              <a:gd name="connsiteY585" fmla="*/ 101555 h 320544"/>
              <a:gd name="connsiteX586" fmla="*/ 438998 w 481145"/>
              <a:gd name="connsiteY586" fmla="*/ 101955 h 320544"/>
              <a:gd name="connsiteX587" fmla="*/ 441560 w 481145"/>
              <a:gd name="connsiteY587" fmla="*/ 102022 h 320544"/>
              <a:gd name="connsiteX588" fmla="*/ 445008 w 481145"/>
              <a:gd name="connsiteY588" fmla="*/ 104860 h 320544"/>
              <a:gd name="connsiteX589" fmla="*/ 448789 w 481145"/>
              <a:gd name="connsiteY589" fmla="*/ 107327 h 320544"/>
              <a:gd name="connsiteX590" fmla="*/ 451713 w 481145"/>
              <a:gd name="connsiteY590" fmla="*/ 107585 h 320544"/>
              <a:gd name="connsiteX591" fmla="*/ 454047 w 481145"/>
              <a:gd name="connsiteY591" fmla="*/ 106613 h 320544"/>
              <a:gd name="connsiteX592" fmla="*/ 455647 w 481145"/>
              <a:gd name="connsiteY592" fmla="*/ 106023 h 320544"/>
              <a:gd name="connsiteX593" fmla="*/ 456638 w 481145"/>
              <a:gd name="connsiteY593" fmla="*/ 106966 h 320544"/>
              <a:gd name="connsiteX594" fmla="*/ 457552 w 481145"/>
              <a:gd name="connsiteY594" fmla="*/ 109090 h 320544"/>
              <a:gd name="connsiteX595" fmla="*/ 459076 w 481145"/>
              <a:gd name="connsiteY595" fmla="*/ 110737 h 320544"/>
              <a:gd name="connsiteX596" fmla="*/ 460829 w 481145"/>
              <a:gd name="connsiteY596" fmla="*/ 111204 h 320544"/>
              <a:gd name="connsiteX597" fmla="*/ 463353 w 481145"/>
              <a:gd name="connsiteY597" fmla="*/ 111309 h 320544"/>
              <a:gd name="connsiteX598" fmla="*/ 467734 w 481145"/>
              <a:gd name="connsiteY598" fmla="*/ 114490 h 320544"/>
              <a:gd name="connsiteX599" fmla="*/ 471849 w 481145"/>
              <a:gd name="connsiteY599" fmla="*/ 117729 h 320544"/>
              <a:gd name="connsiteX600" fmla="*/ 474421 w 481145"/>
              <a:gd name="connsiteY600" fmla="*/ 117910 h 320544"/>
              <a:gd name="connsiteX601" fmla="*/ 476602 w 481145"/>
              <a:gd name="connsiteY601" fmla="*/ 116957 h 320544"/>
              <a:gd name="connsiteX602" fmla="*/ 478526 w 481145"/>
              <a:gd name="connsiteY602" fmla="*/ 116710 h 320544"/>
              <a:gd name="connsiteX603" fmla="*/ 479869 w 481145"/>
              <a:gd name="connsiteY603" fmla="*/ 117529 h 320544"/>
              <a:gd name="connsiteX604" fmla="*/ 480250 w 481145"/>
              <a:gd name="connsiteY604" fmla="*/ 118929 h 320544"/>
              <a:gd name="connsiteX605" fmla="*/ 479260 w 481145"/>
              <a:gd name="connsiteY605" fmla="*/ 120805 h 320544"/>
              <a:gd name="connsiteX606" fmla="*/ 479260 w 481145"/>
              <a:gd name="connsiteY606" fmla="*/ 123492 h 320544"/>
              <a:gd name="connsiteX607" fmla="*/ 481089 w 481145"/>
              <a:gd name="connsiteY607" fmla="*/ 126063 h 320544"/>
              <a:gd name="connsiteX608" fmla="*/ 481146 w 481145"/>
              <a:gd name="connsiteY608" fmla="*/ 128588 h 320544"/>
              <a:gd name="connsiteX609" fmla="*/ 480622 w 481145"/>
              <a:gd name="connsiteY609" fmla="*/ 130864 h 320544"/>
              <a:gd name="connsiteX610" fmla="*/ 479584 w 481145"/>
              <a:gd name="connsiteY610" fmla="*/ 132959 h 320544"/>
              <a:gd name="connsiteX611" fmla="*/ 477078 w 481145"/>
              <a:gd name="connsiteY611" fmla="*/ 135836 h 320544"/>
              <a:gd name="connsiteX612" fmla="*/ 474764 w 481145"/>
              <a:gd name="connsiteY612" fmla="*/ 138512 h 320544"/>
              <a:gd name="connsiteX613" fmla="*/ 471287 w 481145"/>
              <a:gd name="connsiteY613" fmla="*/ 139627 h 320544"/>
              <a:gd name="connsiteX614" fmla="*/ 469335 w 481145"/>
              <a:gd name="connsiteY614" fmla="*/ 140798 h 320544"/>
              <a:gd name="connsiteX615" fmla="*/ 469849 w 481145"/>
              <a:gd name="connsiteY615" fmla="*/ 142760 h 320544"/>
              <a:gd name="connsiteX616" fmla="*/ 471125 w 481145"/>
              <a:gd name="connsiteY616" fmla="*/ 144589 h 320544"/>
              <a:gd name="connsiteX617" fmla="*/ 474078 w 481145"/>
              <a:gd name="connsiteY617" fmla="*/ 146066 h 320544"/>
              <a:gd name="connsiteX618" fmla="*/ 477431 w 481145"/>
              <a:gd name="connsiteY618" fmla="*/ 147142 h 320544"/>
              <a:gd name="connsiteX619" fmla="*/ 477821 w 481145"/>
              <a:gd name="connsiteY619" fmla="*/ 148333 h 320544"/>
              <a:gd name="connsiteX620" fmla="*/ 477307 w 481145"/>
              <a:gd name="connsiteY620" fmla="*/ 148933 h 320544"/>
              <a:gd name="connsiteX621" fmla="*/ 475154 w 481145"/>
              <a:gd name="connsiteY621" fmla="*/ 149485 h 320544"/>
              <a:gd name="connsiteX622" fmla="*/ 472183 w 481145"/>
              <a:gd name="connsiteY622" fmla="*/ 148923 h 320544"/>
              <a:gd name="connsiteX623" fmla="*/ 471192 w 481145"/>
              <a:gd name="connsiteY623" fmla="*/ 149961 h 320544"/>
              <a:gd name="connsiteX624" fmla="*/ 469820 w 481145"/>
              <a:gd name="connsiteY624" fmla="*/ 151686 h 320544"/>
              <a:gd name="connsiteX625" fmla="*/ 468906 w 481145"/>
              <a:gd name="connsiteY625" fmla="*/ 154791 h 320544"/>
              <a:gd name="connsiteX626" fmla="*/ 468220 w 481145"/>
              <a:gd name="connsiteY626" fmla="*/ 157667 h 320544"/>
              <a:gd name="connsiteX627" fmla="*/ 471449 w 481145"/>
              <a:gd name="connsiteY627" fmla="*/ 158448 h 320544"/>
              <a:gd name="connsiteX628" fmla="*/ 473326 w 481145"/>
              <a:gd name="connsiteY628" fmla="*/ 159620 h 320544"/>
              <a:gd name="connsiteX629" fmla="*/ 473916 w 481145"/>
              <a:gd name="connsiteY629" fmla="*/ 161972 h 320544"/>
              <a:gd name="connsiteX630" fmla="*/ 474583 w 481145"/>
              <a:gd name="connsiteY630" fmla="*/ 164592 h 320544"/>
              <a:gd name="connsiteX631" fmla="*/ 474783 w 481145"/>
              <a:gd name="connsiteY631" fmla="*/ 166944 h 320544"/>
              <a:gd name="connsiteX632" fmla="*/ 473716 w 481145"/>
              <a:gd name="connsiteY632" fmla="*/ 168087 h 320544"/>
              <a:gd name="connsiteX633" fmla="*/ 473650 w 481145"/>
              <a:gd name="connsiteY633" fmla="*/ 169259 h 320544"/>
              <a:gd name="connsiteX634" fmla="*/ 474154 w 481145"/>
              <a:gd name="connsiteY634" fmla="*/ 169840 h 320544"/>
              <a:gd name="connsiteX635" fmla="*/ 475545 w 481145"/>
              <a:gd name="connsiteY635" fmla="*/ 170097 h 320544"/>
              <a:gd name="connsiteX636" fmla="*/ 476602 w 481145"/>
              <a:gd name="connsiteY636" fmla="*/ 170621 h 320544"/>
              <a:gd name="connsiteX637" fmla="*/ 476688 w 481145"/>
              <a:gd name="connsiteY637" fmla="*/ 171860 h 320544"/>
              <a:gd name="connsiteX638" fmla="*/ 474659 w 481145"/>
              <a:gd name="connsiteY638" fmla="*/ 174641 h 320544"/>
              <a:gd name="connsiteX639" fmla="*/ 472764 w 481145"/>
              <a:gd name="connsiteY639" fmla="*/ 179956 h 320544"/>
              <a:gd name="connsiteX640" fmla="*/ 471744 w 481145"/>
              <a:gd name="connsiteY640" fmla="*/ 182775 h 320544"/>
              <a:gd name="connsiteX641" fmla="*/ 471821 w 481145"/>
              <a:gd name="connsiteY641" fmla="*/ 185833 h 320544"/>
              <a:gd name="connsiteX642" fmla="*/ 470678 w 481145"/>
              <a:gd name="connsiteY642" fmla="*/ 187528 h 320544"/>
              <a:gd name="connsiteX643" fmla="*/ 468573 w 481145"/>
              <a:gd name="connsiteY643" fmla="*/ 187747 h 320544"/>
              <a:gd name="connsiteX644" fmla="*/ 461429 w 481145"/>
              <a:gd name="connsiteY644" fmla="*/ 188042 h 320544"/>
              <a:gd name="connsiteX645" fmla="*/ 455209 w 481145"/>
              <a:gd name="connsiteY645" fmla="*/ 187890 h 320544"/>
              <a:gd name="connsiteX646" fmla="*/ 452523 w 481145"/>
              <a:gd name="connsiteY646" fmla="*/ 187452 h 320544"/>
              <a:gd name="connsiteX647" fmla="*/ 448313 w 481145"/>
              <a:gd name="connsiteY647" fmla="*/ 187185 h 320544"/>
              <a:gd name="connsiteX648" fmla="*/ 446227 w 481145"/>
              <a:gd name="connsiteY648" fmla="*/ 187909 h 320544"/>
              <a:gd name="connsiteX649" fmla="*/ 443465 w 481145"/>
              <a:gd name="connsiteY649" fmla="*/ 192786 h 320544"/>
              <a:gd name="connsiteX650" fmla="*/ 441369 w 481145"/>
              <a:gd name="connsiteY650" fmla="*/ 194691 h 320544"/>
              <a:gd name="connsiteX651" fmla="*/ 437912 w 481145"/>
              <a:gd name="connsiteY651" fmla="*/ 196415 h 320544"/>
              <a:gd name="connsiteX652" fmla="*/ 434111 w 481145"/>
              <a:gd name="connsiteY652" fmla="*/ 196910 h 320544"/>
              <a:gd name="connsiteX653" fmla="*/ 431930 w 481145"/>
              <a:gd name="connsiteY653" fmla="*/ 198911 h 320544"/>
              <a:gd name="connsiteX654" fmla="*/ 431159 w 481145"/>
              <a:gd name="connsiteY654" fmla="*/ 202054 h 320544"/>
              <a:gd name="connsiteX655" fmla="*/ 431101 w 481145"/>
              <a:gd name="connsiteY655" fmla="*/ 204835 h 320544"/>
              <a:gd name="connsiteX656" fmla="*/ 430749 w 481145"/>
              <a:gd name="connsiteY656" fmla="*/ 206226 h 320544"/>
              <a:gd name="connsiteX657" fmla="*/ 429930 w 481145"/>
              <a:gd name="connsiteY657" fmla="*/ 207445 h 320544"/>
              <a:gd name="connsiteX658" fmla="*/ 429634 w 481145"/>
              <a:gd name="connsiteY658" fmla="*/ 208312 h 320544"/>
              <a:gd name="connsiteX659" fmla="*/ 429816 w 481145"/>
              <a:gd name="connsiteY659" fmla="*/ 209264 h 320544"/>
              <a:gd name="connsiteX660" fmla="*/ 430701 w 481145"/>
              <a:gd name="connsiteY660" fmla="*/ 209607 h 320544"/>
              <a:gd name="connsiteX661" fmla="*/ 431759 w 481145"/>
              <a:gd name="connsiteY661" fmla="*/ 210045 h 320544"/>
              <a:gd name="connsiteX662" fmla="*/ 431759 w 481145"/>
              <a:gd name="connsiteY662" fmla="*/ 210731 h 320544"/>
              <a:gd name="connsiteX663" fmla="*/ 431349 w 481145"/>
              <a:gd name="connsiteY663" fmla="*/ 211598 h 320544"/>
              <a:gd name="connsiteX664" fmla="*/ 430168 w 481145"/>
              <a:gd name="connsiteY664" fmla="*/ 212550 h 320544"/>
              <a:gd name="connsiteX665" fmla="*/ 429634 w 481145"/>
              <a:gd name="connsiteY665" fmla="*/ 214017 h 320544"/>
              <a:gd name="connsiteX666" fmla="*/ 429758 w 481145"/>
              <a:gd name="connsiteY666" fmla="*/ 215579 h 320544"/>
              <a:gd name="connsiteX667" fmla="*/ 429977 w 481145"/>
              <a:gd name="connsiteY667" fmla="*/ 217303 h 320544"/>
              <a:gd name="connsiteX668" fmla="*/ 264185 w 481145"/>
              <a:gd name="connsiteY668" fmla="*/ 251755 h 320544"/>
              <a:gd name="connsiteX669" fmla="*/ 267871 w 481145"/>
              <a:gd name="connsiteY669" fmla="*/ 253651 h 320544"/>
              <a:gd name="connsiteX670" fmla="*/ 264109 w 481145"/>
              <a:gd name="connsiteY670" fmla="*/ 253146 h 320544"/>
              <a:gd name="connsiteX671" fmla="*/ 255851 w 481145"/>
              <a:gd name="connsiteY671" fmla="*/ 251365 h 320544"/>
              <a:gd name="connsiteX672" fmla="*/ 252203 w 481145"/>
              <a:gd name="connsiteY672" fmla="*/ 249679 h 320544"/>
              <a:gd name="connsiteX673" fmla="*/ 251260 w 481145"/>
              <a:gd name="connsiteY673" fmla="*/ 247793 h 320544"/>
              <a:gd name="connsiteX674" fmla="*/ 250727 w 481145"/>
              <a:gd name="connsiteY674" fmla="*/ 245221 h 320544"/>
              <a:gd name="connsiteX675" fmla="*/ 252765 w 481145"/>
              <a:gd name="connsiteY675" fmla="*/ 247917 h 320544"/>
              <a:gd name="connsiteX676" fmla="*/ 254193 w 481145"/>
              <a:gd name="connsiteY676" fmla="*/ 249098 h 320544"/>
              <a:gd name="connsiteX677" fmla="*/ 264185 w 481145"/>
              <a:gd name="connsiteY677" fmla="*/ 251755 h 320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</a:cxnLst>
            <a:rect l="l" t="t" r="r" b="b"/>
            <a:pathLst>
              <a:path w="481145" h="320544">
                <a:moveTo>
                  <a:pt x="429977" y="217303"/>
                </a:moveTo>
                <a:lnTo>
                  <a:pt x="429006" y="217741"/>
                </a:lnTo>
                <a:lnTo>
                  <a:pt x="419662" y="217132"/>
                </a:lnTo>
                <a:lnTo>
                  <a:pt x="412032" y="217961"/>
                </a:lnTo>
                <a:lnTo>
                  <a:pt x="406593" y="224123"/>
                </a:lnTo>
                <a:lnTo>
                  <a:pt x="403355" y="224104"/>
                </a:lnTo>
                <a:lnTo>
                  <a:pt x="398793" y="225704"/>
                </a:lnTo>
                <a:lnTo>
                  <a:pt x="395697" y="227695"/>
                </a:lnTo>
                <a:lnTo>
                  <a:pt x="392030" y="232000"/>
                </a:lnTo>
                <a:lnTo>
                  <a:pt x="389191" y="230067"/>
                </a:lnTo>
                <a:lnTo>
                  <a:pt x="385715" y="230124"/>
                </a:lnTo>
                <a:lnTo>
                  <a:pt x="382324" y="231295"/>
                </a:lnTo>
                <a:lnTo>
                  <a:pt x="378247" y="234172"/>
                </a:lnTo>
                <a:lnTo>
                  <a:pt x="375980" y="234677"/>
                </a:lnTo>
                <a:lnTo>
                  <a:pt x="371446" y="233858"/>
                </a:lnTo>
                <a:lnTo>
                  <a:pt x="366160" y="235505"/>
                </a:lnTo>
                <a:lnTo>
                  <a:pt x="354749" y="244907"/>
                </a:lnTo>
                <a:lnTo>
                  <a:pt x="350910" y="251755"/>
                </a:lnTo>
                <a:lnTo>
                  <a:pt x="349510" y="253089"/>
                </a:lnTo>
                <a:lnTo>
                  <a:pt x="347586" y="254756"/>
                </a:lnTo>
                <a:lnTo>
                  <a:pt x="345528" y="255594"/>
                </a:lnTo>
                <a:lnTo>
                  <a:pt x="344443" y="255518"/>
                </a:lnTo>
                <a:lnTo>
                  <a:pt x="349882" y="250660"/>
                </a:lnTo>
                <a:lnTo>
                  <a:pt x="351548" y="248841"/>
                </a:lnTo>
                <a:lnTo>
                  <a:pt x="351834" y="247497"/>
                </a:lnTo>
                <a:lnTo>
                  <a:pt x="351863" y="245316"/>
                </a:lnTo>
                <a:lnTo>
                  <a:pt x="350215" y="242611"/>
                </a:lnTo>
                <a:lnTo>
                  <a:pt x="345767" y="249307"/>
                </a:lnTo>
                <a:lnTo>
                  <a:pt x="343242" y="250279"/>
                </a:lnTo>
                <a:lnTo>
                  <a:pt x="340033" y="252289"/>
                </a:lnTo>
                <a:lnTo>
                  <a:pt x="339871" y="256756"/>
                </a:lnTo>
                <a:lnTo>
                  <a:pt x="340242" y="260070"/>
                </a:lnTo>
                <a:lnTo>
                  <a:pt x="341556" y="264233"/>
                </a:lnTo>
                <a:lnTo>
                  <a:pt x="344662" y="271024"/>
                </a:lnTo>
                <a:lnTo>
                  <a:pt x="351005" y="280692"/>
                </a:lnTo>
                <a:lnTo>
                  <a:pt x="354044" y="284235"/>
                </a:lnTo>
                <a:lnTo>
                  <a:pt x="356273" y="285645"/>
                </a:lnTo>
                <a:lnTo>
                  <a:pt x="358959" y="285845"/>
                </a:lnTo>
                <a:lnTo>
                  <a:pt x="364121" y="282864"/>
                </a:lnTo>
                <a:lnTo>
                  <a:pt x="366322" y="282397"/>
                </a:lnTo>
                <a:lnTo>
                  <a:pt x="371122" y="283531"/>
                </a:lnTo>
                <a:lnTo>
                  <a:pt x="372837" y="281549"/>
                </a:lnTo>
                <a:lnTo>
                  <a:pt x="375332" y="280445"/>
                </a:lnTo>
                <a:lnTo>
                  <a:pt x="378533" y="280302"/>
                </a:lnTo>
                <a:lnTo>
                  <a:pt x="382191" y="281197"/>
                </a:lnTo>
                <a:lnTo>
                  <a:pt x="386153" y="282702"/>
                </a:lnTo>
                <a:lnTo>
                  <a:pt x="384524" y="286102"/>
                </a:lnTo>
                <a:lnTo>
                  <a:pt x="382828" y="288807"/>
                </a:lnTo>
                <a:lnTo>
                  <a:pt x="382228" y="291798"/>
                </a:lnTo>
                <a:lnTo>
                  <a:pt x="381285" y="295122"/>
                </a:lnTo>
                <a:lnTo>
                  <a:pt x="376914" y="296608"/>
                </a:lnTo>
                <a:lnTo>
                  <a:pt x="372237" y="296428"/>
                </a:lnTo>
                <a:lnTo>
                  <a:pt x="367303" y="297389"/>
                </a:lnTo>
                <a:lnTo>
                  <a:pt x="365522" y="296103"/>
                </a:lnTo>
                <a:lnTo>
                  <a:pt x="364341" y="294922"/>
                </a:lnTo>
                <a:lnTo>
                  <a:pt x="362150" y="293741"/>
                </a:lnTo>
                <a:lnTo>
                  <a:pt x="359264" y="293094"/>
                </a:lnTo>
                <a:lnTo>
                  <a:pt x="356673" y="293884"/>
                </a:lnTo>
                <a:lnTo>
                  <a:pt x="353606" y="298409"/>
                </a:lnTo>
                <a:lnTo>
                  <a:pt x="348176" y="301495"/>
                </a:lnTo>
                <a:lnTo>
                  <a:pt x="346386" y="305019"/>
                </a:lnTo>
                <a:lnTo>
                  <a:pt x="341043" y="304229"/>
                </a:lnTo>
                <a:lnTo>
                  <a:pt x="336470" y="304847"/>
                </a:lnTo>
                <a:lnTo>
                  <a:pt x="329869" y="308057"/>
                </a:lnTo>
                <a:lnTo>
                  <a:pt x="324840" y="314915"/>
                </a:lnTo>
                <a:lnTo>
                  <a:pt x="319297" y="319192"/>
                </a:lnTo>
                <a:lnTo>
                  <a:pt x="314906" y="320545"/>
                </a:lnTo>
                <a:lnTo>
                  <a:pt x="310782" y="320126"/>
                </a:lnTo>
                <a:lnTo>
                  <a:pt x="308114" y="318849"/>
                </a:lnTo>
                <a:lnTo>
                  <a:pt x="302628" y="314354"/>
                </a:lnTo>
                <a:lnTo>
                  <a:pt x="302952" y="312744"/>
                </a:lnTo>
                <a:lnTo>
                  <a:pt x="303714" y="311934"/>
                </a:lnTo>
                <a:lnTo>
                  <a:pt x="304752" y="309610"/>
                </a:lnTo>
                <a:lnTo>
                  <a:pt x="306943" y="301076"/>
                </a:lnTo>
                <a:lnTo>
                  <a:pt x="306648" y="298294"/>
                </a:lnTo>
                <a:lnTo>
                  <a:pt x="305419" y="293922"/>
                </a:lnTo>
                <a:lnTo>
                  <a:pt x="301066" y="290513"/>
                </a:lnTo>
                <a:lnTo>
                  <a:pt x="297570" y="291160"/>
                </a:lnTo>
                <a:lnTo>
                  <a:pt x="295580" y="290255"/>
                </a:lnTo>
                <a:lnTo>
                  <a:pt x="288407" y="284445"/>
                </a:lnTo>
                <a:lnTo>
                  <a:pt x="284502" y="284035"/>
                </a:lnTo>
                <a:lnTo>
                  <a:pt x="280187" y="285207"/>
                </a:lnTo>
                <a:lnTo>
                  <a:pt x="278596" y="284359"/>
                </a:lnTo>
                <a:lnTo>
                  <a:pt x="277425" y="282330"/>
                </a:lnTo>
                <a:lnTo>
                  <a:pt x="285978" y="275139"/>
                </a:lnTo>
                <a:lnTo>
                  <a:pt x="294379" y="269186"/>
                </a:lnTo>
                <a:lnTo>
                  <a:pt x="298066" y="268576"/>
                </a:lnTo>
                <a:lnTo>
                  <a:pt x="303037" y="265795"/>
                </a:lnTo>
                <a:lnTo>
                  <a:pt x="308353" y="261623"/>
                </a:lnTo>
                <a:lnTo>
                  <a:pt x="307600" y="258337"/>
                </a:lnTo>
                <a:lnTo>
                  <a:pt x="306457" y="255899"/>
                </a:lnTo>
                <a:lnTo>
                  <a:pt x="303914" y="256565"/>
                </a:lnTo>
                <a:lnTo>
                  <a:pt x="302066" y="257375"/>
                </a:lnTo>
                <a:lnTo>
                  <a:pt x="297618" y="254765"/>
                </a:lnTo>
                <a:lnTo>
                  <a:pt x="295989" y="252841"/>
                </a:lnTo>
                <a:lnTo>
                  <a:pt x="289027" y="254841"/>
                </a:lnTo>
                <a:lnTo>
                  <a:pt x="285149" y="254546"/>
                </a:lnTo>
                <a:lnTo>
                  <a:pt x="276596" y="256384"/>
                </a:lnTo>
                <a:lnTo>
                  <a:pt x="272662" y="254593"/>
                </a:lnTo>
                <a:lnTo>
                  <a:pt x="264804" y="249564"/>
                </a:lnTo>
                <a:lnTo>
                  <a:pt x="261851" y="248555"/>
                </a:lnTo>
                <a:lnTo>
                  <a:pt x="259337" y="248774"/>
                </a:lnTo>
                <a:lnTo>
                  <a:pt x="257965" y="247117"/>
                </a:lnTo>
                <a:lnTo>
                  <a:pt x="259642" y="246288"/>
                </a:lnTo>
                <a:lnTo>
                  <a:pt x="261595" y="246193"/>
                </a:lnTo>
                <a:lnTo>
                  <a:pt x="263623" y="245583"/>
                </a:lnTo>
                <a:lnTo>
                  <a:pt x="264195" y="244707"/>
                </a:lnTo>
                <a:lnTo>
                  <a:pt x="264071" y="243049"/>
                </a:lnTo>
                <a:lnTo>
                  <a:pt x="259985" y="241792"/>
                </a:lnTo>
                <a:lnTo>
                  <a:pt x="256184" y="241430"/>
                </a:lnTo>
                <a:lnTo>
                  <a:pt x="253774" y="239944"/>
                </a:lnTo>
                <a:lnTo>
                  <a:pt x="251936" y="238239"/>
                </a:lnTo>
                <a:lnTo>
                  <a:pt x="256241" y="238210"/>
                </a:lnTo>
                <a:lnTo>
                  <a:pt x="260575" y="239506"/>
                </a:lnTo>
                <a:lnTo>
                  <a:pt x="267348" y="239982"/>
                </a:lnTo>
                <a:lnTo>
                  <a:pt x="273501" y="241316"/>
                </a:lnTo>
                <a:lnTo>
                  <a:pt x="275034" y="239658"/>
                </a:lnTo>
                <a:lnTo>
                  <a:pt x="278606" y="236782"/>
                </a:lnTo>
                <a:lnTo>
                  <a:pt x="279282" y="235868"/>
                </a:lnTo>
                <a:lnTo>
                  <a:pt x="273301" y="237839"/>
                </a:lnTo>
                <a:lnTo>
                  <a:pt x="267233" y="236582"/>
                </a:lnTo>
                <a:lnTo>
                  <a:pt x="265023" y="234829"/>
                </a:lnTo>
                <a:lnTo>
                  <a:pt x="263147" y="232248"/>
                </a:lnTo>
                <a:lnTo>
                  <a:pt x="262356" y="229305"/>
                </a:lnTo>
                <a:lnTo>
                  <a:pt x="262871" y="226561"/>
                </a:lnTo>
                <a:lnTo>
                  <a:pt x="262214" y="221599"/>
                </a:lnTo>
                <a:lnTo>
                  <a:pt x="260213" y="217170"/>
                </a:lnTo>
                <a:lnTo>
                  <a:pt x="259509" y="214741"/>
                </a:lnTo>
                <a:lnTo>
                  <a:pt x="257394" y="212560"/>
                </a:lnTo>
                <a:lnTo>
                  <a:pt x="259470" y="217494"/>
                </a:lnTo>
                <a:lnTo>
                  <a:pt x="260242" y="220770"/>
                </a:lnTo>
                <a:lnTo>
                  <a:pt x="261489" y="223780"/>
                </a:lnTo>
                <a:lnTo>
                  <a:pt x="261195" y="231743"/>
                </a:lnTo>
                <a:lnTo>
                  <a:pt x="260422" y="234534"/>
                </a:lnTo>
                <a:lnTo>
                  <a:pt x="257927" y="235239"/>
                </a:lnTo>
                <a:lnTo>
                  <a:pt x="254651" y="234820"/>
                </a:lnTo>
                <a:lnTo>
                  <a:pt x="251317" y="233953"/>
                </a:lnTo>
                <a:lnTo>
                  <a:pt x="252146" y="229581"/>
                </a:lnTo>
                <a:lnTo>
                  <a:pt x="250364" y="231095"/>
                </a:lnTo>
                <a:lnTo>
                  <a:pt x="247859" y="235353"/>
                </a:lnTo>
                <a:lnTo>
                  <a:pt x="245650" y="235982"/>
                </a:lnTo>
                <a:lnTo>
                  <a:pt x="240744" y="235515"/>
                </a:lnTo>
                <a:lnTo>
                  <a:pt x="231638" y="238325"/>
                </a:lnTo>
                <a:lnTo>
                  <a:pt x="231010" y="241382"/>
                </a:lnTo>
                <a:lnTo>
                  <a:pt x="229638" y="245507"/>
                </a:lnTo>
                <a:lnTo>
                  <a:pt x="228314" y="247907"/>
                </a:lnTo>
                <a:lnTo>
                  <a:pt x="227904" y="249355"/>
                </a:lnTo>
                <a:lnTo>
                  <a:pt x="224028" y="255556"/>
                </a:lnTo>
                <a:lnTo>
                  <a:pt x="223532" y="256146"/>
                </a:lnTo>
                <a:lnTo>
                  <a:pt x="216208" y="264709"/>
                </a:lnTo>
                <a:lnTo>
                  <a:pt x="215274" y="265347"/>
                </a:lnTo>
                <a:lnTo>
                  <a:pt x="210531" y="267338"/>
                </a:lnTo>
                <a:lnTo>
                  <a:pt x="207721" y="269081"/>
                </a:lnTo>
                <a:lnTo>
                  <a:pt x="205568" y="269862"/>
                </a:lnTo>
                <a:lnTo>
                  <a:pt x="201930" y="268996"/>
                </a:lnTo>
                <a:lnTo>
                  <a:pt x="200415" y="270224"/>
                </a:lnTo>
                <a:lnTo>
                  <a:pt x="199701" y="271748"/>
                </a:lnTo>
                <a:lnTo>
                  <a:pt x="199691" y="274901"/>
                </a:lnTo>
                <a:lnTo>
                  <a:pt x="201539" y="277158"/>
                </a:lnTo>
                <a:lnTo>
                  <a:pt x="203054" y="284654"/>
                </a:lnTo>
                <a:lnTo>
                  <a:pt x="202492" y="287817"/>
                </a:lnTo>
                <a:lnTo>
                  <a:pt x="201053" y="285769"/>
                </a:lnTo>
                <a:lnTo>
                  <a:pt x="198796" y="283607"/>
                </a:lnTo>
                <a:lnTo>
                  <a:pt x="194414" y="281759"/>
                </a:lnTo>
                <a:lnTo>
                  <a:pt x="189604" y="282397"/>
                </a:lnTo>
                <a:lnTo>
                  <a:pt x="184356" y="285521"/>
                </a:lnTo>
                <a:lnTo>
                  <a:pt x="180794" y="286683"/>
                </a:lnTo>
                <a:lnTo>
                  <a:pt x="178927" y="285883"/>
                </a:lnTo>
                <a:lnTo>
                  <a:pt x="177784" y="285931"/>
                </a:lnTo>
                <a:lnTo>
                  <a:pt x="177384" y="286826"/>
                </a:lnTo>
                <a:lnTo>
                  <a:pt x="177469" y="287560"/>
                </a:lnTo>
                <a:lnTo>
                  <a:pt x="178041" y="288131"/>
                </a:lnTo>
                <a:lnTo>
                  <a:pt x="177965" y="288541"/>
                </a:lnTo>
                <a:lnTo>
                  <a:pt x="177222" y="288798"/>
                </a:lnTo>
                <a:lnTo>
                  <a:pt x="168954" y="286598"/>
                </a:lnTo>
                <a:lnTo>
                  <a:pt x="165382" y="284512"/>
                </a:lnTo>
                <a:lnTo>
                  <a:pt x="162573" y="280597"/>
                </a:lnTo>
                <a:lnTo>
                  <a:pt x="163973" y="279330"/>
                </a:lnTo>
                <a:lnTo>
                  <a:pt x="165192" y="278768"/>
                </a:lnTo>
                <a:lnTo>
                  <a:pt x="169497" y="278444"/>
                </a:lnTo>
                <a:lnTo>
                  <a:pt x="170240" y="278044"/>
                </a:lnTo>
                <a:lnTo>
                  <a:pt x="170316" y="277139"/>
                </a:lnTo>
                <a:lnTo>
                  <a:pt x="170640" y="275958"/>
                </a:lnTo>
                <a:lnTo>
                  <a:pt x="170526" y="274234"/>
                </a:lnTo>
                <a:lnTo>
                  <a:pt x="170050" y="272405"/>
                </a:lnTo>
                <a:lnTo>
                  <a:pt x="171935" y="269729"/>
                </a:lnTo>
                <a:lnTo>
                  <a:pt x="174745" y="267519"/>
                </a:lnTo>
                <a:lnTo>
                  <a:pt x="176393" y="265300"/>
                </a:lnTo>
                <a:lnTo>
                  <a:pt x="176641" y="262042"/>
                </a:lnTo>
                <a:lnTo>
                  <a:pt x="179603" y="260452"/>
                </a:lnTo>
                <a:lnTo>
                  <a:pt x="182223" y="257718"/>
                </a:lnTo>
                <a:lnTo>
                  <a:pt x="182870" y="254736"/>
                </a:lnTo>
                <a:lnTo>
                  <a:pt x="183794" y="252860"/>
                </a:lnTo>
                <a:lnTo>
                  <a:pt x="182118" y="248545"/>
                </a:lnTo>
                <a:lnTo>
                  <a:pt x="181765" y="245697"/>
                </a:lnTo>
                <a:lnTo>
                  <a:pt x="181689" y="243306"/>
                </a:lnTo>
                <a:lnTo>
                  <a:pt x="182508" y="241983"/>
                </a:lnTo>
                <a:lnTo>
                  <a:pt x="184956" y="240487"/>
                </a:lnTo>
                <a:lnTo>
                  <a:pt x="187528" y="239325"/>
                </a:lnTo>
                <a:lnTo>
                  <a:pt x="188595" y="239439"/>
                </a:lnTo>
                <a:lnTo>
                  <a:pt x="188985" y="240173"/>
                </a:lnTo>
                <a:lnTo>
                  <a:pt x="189080" y="245030"/>
                </a:lnTo>
                <a:lnTo>
                  <a:pt x="189595" y="245126"/>
                </a:lnTo>
                <a:lnTo>
                  <a:pt x="190414" y="244526"/>
                </a:lnTo>
                <a:lnTo>
                  <a:pt x="191757" y="241668"/>
                </a:lnTo>
                <a:lnTo>
                  <a:pt x="192681" y="242497"/>
                </a:lnTo>
                <a:lnTo>
                  <a:pt x="194110" y="242811"/>
                </a:lnTo>
                <a:lnTo>
                  <a:pt x="195176" y="242068"/>
                </a:lnTo>
                <a:lnTo>
                  <a:pt x="195872" y="242154"/>
                </a:lnTo>
                <a:lnTo>
                  <a:pt x="196729" y="242888"/>
                </a:lnTo>
                <a:lnTo>
                  <a:pt x="198444" y="243926"/>
                </a:lnTo>
                <a:lnTo>
                  <a:pt x="200044" y="244269"/>
                </a:lnTo>
                <a:lnTo>
                  <a:pt x="201368" y="243583"/>
                </a:lnTo>
                <a:lnTo>
                  <a:pt x="202501" y="242345"/>
                </a:lnTo>
                <a:lnTo>
                  <a:pt x="203711" y="242764"/>
                </a:lnTo>
                <a:lnTo>
                  <a:pt x="206007" y="246135"/>
                </a:lnTo>
                <a:lnTo>
                  <a:pt x="207073" y="245764"/>
                </a:lnTo>
                <a:lnTo>
                  <a:pt x="212360" y="245088"/>
                </a:lnTo>
                <a:lnTo>
                  <a:pt x="213207" y="244173"/>
                </a:lnTo>
                <a:lnTo>
                  <a:pt x="213836" y="243344"/>
                </a:lnTo>
                <a:lnTo>
                  <a:pt x="208312" y="238868"/>
                </a:lnTo>
                <a:lnTo>
                  <a:pt x="208588" y="235525"/>
                </a:lnTo>
                <a:lnTo>
                  <a:pt x="208797" y="231686"/>
                </a:lnTo>
                <a:lnTo>
                  <a:pt x="208140" y="229400"/>
                </a:lnTo>
                <a:lnTo>
                  <a:pt x="207064" y="227590"/>
                </a:lnTo>
                <a:lnTo>
                  <a:pt x="202844" y="225485"/>
                </a:lnTo>
                <a:lnTo>
                  <a:pt x="199577" y="223304"/>
                </a:lnTo>
                <a:lnTo>
                  <a:pt x="198891" y="222313"/>
                </a:lnTo>
                <a:lnTo>
                  <a:pt x="198805" y="221037"/>
                </a:lnTo>
                <a:lnTo>
                  <a:pt x="198663" y="219056"/>
                </a:lnTo>
                <a:lnTo>
                  <a:pt x="197367" y="217351"/>
                </a:lnTo>
                <a:lnTo>
                  <a:pt x="197262" y="215903"/>
                </a:lnTo>
                <a:lnTo>
                  <a:pt x="198082" y="213646"/>
                </a:lnTo>
                <a:lnTo>
                  <a:pt x="198282" y="211245"/>
                </a:lnTo>
                <a:lnTo>
                  <a:pt x="198005" y="210293"/>
                </a:lnTo>
                <a:lnTo>
                  <a:pt x="197243" y="209512"/>
                </a:lnTo>
                <a:lnTo>
                  <a:pt x="195776" y="209435"/>
                </a:lnTo>
                <a:lnTo>
                  <a:pt x="193843" y="208045"/>
                </a:lnTo>
                <a:lnTo>
                  <a:pt x="192519" y="206169"/>
                </a:lnTo>
                <a:lnTo>
                  <a:pt x="188956" y="203463"/>
                </a:lnTo>
                <a:lnTo>
                  <a:pt x="187871" y="203025"/>
                </a:lnTo>
                <a:lnTo>
                  <a:pt x="187204" y="201682"/>
                </a:lnTo>
                <a:lnTo>
                  <a:pt x="186880" y="200082"/>
                </a:lnTo>
                <a:lnTo>
                  <a:pt x="187633" y="198091"/>
                </a:lnTo>
                <a:lnTo>
                  <a:pt x="188576" y="195015"/>
                </a:lnTo>
                <a:lnTo>
                  <a:pt x="189233" y="192129"/>
                </a:lnTo>
                <a:lnTo>
                  <a:pt x="189243" y="190405"/>
                </a:lnTo>
                <a:lnTo>
                  <a:pt x="188814" y="186137"/>
                </a:lnTo>
                <a:lnTo>
                  <a:pt x="186957" y="182870"/>
                </a:lnTo>
                <a:lnTo>
                  <a:pt x="186090" y="182442"/>
                </a:lnTo>
                <a:lnTo>
                  <a:pt x="184594" y="183356"/>
                </a:lnTo>
                <a:lnTo>
                  <a:pt x="182889" y="184128"/>
                </a:lnTo>
                <a:lnTo>
                  <a:pt x="181546" y="183404"/>
                </a:lnTo>
                <a:lnTo>
                  <a:pt x="180013" y="181632"/>
                </a:lnTo>
                <a:lnTo>
                  <a:pt x="177555" y="176689"/>
                </a:lnTo>
                <a:lnTo>
                  <a:pt x="172955" y="175698"/>
                </a:lnTo>
                <a:lnTo>
                  <a:pt x="171049" y="175460"/>
                </a:lnTo>
                <a:lnTo>
                  <a:pt x="169250" y="177841"/>
                </a:lnTo>
                <a:lnTo>
                  <a:pt x="168687" y="177117"/>
                </a:lnTo>
                <a:lnTo>
                  <a:pt x="168183" y="175593"/>
                </a:lnTo>
                <a:lnTo>
                  <a:pt x="167230" y="174993"/>
                </a:lnTo>
                <a:lnTo>
                  <a:pt x="165973" y="175698"/>
                </a:lnTo>
                <a:lnTo>
                  <a:pt x="165611" y="175022"/>
                </a:lnTo>
                <a:lnTo>
                  <a:pt x="166154" y="172955"/>
                </a:lnTo>
                <a:lnTo>
                  <a:pt x="164659" y="171936"/>
                </a:lnTo>
                <a:lnTo>
                  <a:pt x="161124" y="171955"/>
                </a:lnTo>
                <a:lnTo>
                  <a:pt x="159239" y="171193"/>
                </a:lnTo>
                <a:lnTo>
                  <a:pt x="159019" y="169640"/>
                </a:lnTo>
                <a:lnTo>
                  <a:pt x="157905" y="168621"/>
                </a:lnTo>
                <a:lnTo>
                  <a:pt x="155905" y="168126"/>
                </a:lnTo>
                <a:lnTo>
                  <a:pt x="153952" y="166859"/>
                </a:lnTo>
                <a:lnTo>
                  <a:pt x="152066" y="164811"/>
                </a:lnTo>
                <a:lnTo>
                  <a:pt x="149237" y="163478"/>
                </a:lnTo>
                <a:lnTo>
                  <a:pt x="145475" y="162858"/>
                </a:lnTo>
                <a:lnTo>
                  <a:pt x="145170" y="162639"/>
                </a:lnTo>
                <a:lnTo>
                  <a:pt x="144818" y="162344"/>
                </a:lnTo>
                <a:lnTo>
                  <a:pt x="142389" y="163735"/>
                </a:lnTo>
                <a:lnTo>
                  <a:pt x="140932" y="164840"/>
                </a:lnTo>
                <a:lnTo>
                  <a:pt x="139141" y="164154"/>
                </a:lnTo>
                <a:lnTo>
                  <a:pt x="136245" y="166611"/>
                </a:lnTo>
                <a:lnTo>
                  <a:pt x="130359" y="166735"/>
                </a:lnTo>
                <a:lnTo>
                  <a:pt x="127473" y="166583"/>
                </a:lnTo>
                <a:lnTo>
                  <a:pt x="126044" y="165973"/>
                </a:lnTo>
                <a:lnTo>
                  <a:pt x="120519" y="169707"/>
                </a:lnTo>
                <a:lnTo>
                  <a:pt x="119939" y="171079"/>
                </a:lnTo>
                <a:lnTo>
                  <a:pt x="118700" y="171535"/>
                </a:lnTo>
                <a:lnTo>
                  <a:pt x="115224" y="172278"/>
                </a:lnTo>
                <a:lnTo>
                  <a:pt x="111566" y="173326"/>
                </a:lnTo>
                <a:lnTo>
                  <a:pt x="110794" y="176936"/>
                </a:lnTo>
                <a:lnTo>
                  <a:pt x="109708" y="178889"/>
                </a:lnTo>
                <a:lnTo>
                  <a:pt x="107746" y="181746"/>
                </a:lnTo>
                <a:lnTo>
                  <a:pt x="100955" y="182737"/>
                </a:lnTo>
                <a:lnTo>
                  <a:pt x="95088" y="184128"/>
                </a:lnTo>
                <a:lnTo>
                  <a:pt x="89078" y="184995"/>
                </a:lnTo>
                <a:lnTo>
                  <a:pt x="81200" y="188481"/>
                </a:lnTo>
                <a:lnTo>
                  <a:pt x="78638" y="191548"/>
                </a:lnTo>
                <a:lnTo>
                  <a:pt x="76105" y="192405"/>
                </a:lnTo>
                <a:lnTo>
                  <a:pt x="73809" y="192662"/>
                </a:lnTo>
                <a:lnTo>
                  <a:pt x="72323" y="190948"/>
                </a:lnTo>
                <a:lnTo>
                  <a:pt x="67323" y="186357"/>
                </a:lnTo>
                <a:lnTo>
                  <a:pt x="65398" y="184185"/>
                </a:lnTo>
                <a:lnTo>
                  <a:pt x="62865" y="183547"/>
                </a:lnTo>
                <a:lnTo>
                  <a:pt x="60112" y="183909"/>
                </a:lnTo>
                <a:lnTo>
                  <a:pt x="57464" y="184975"/>
                </a:lnTo>
                <a:lnTo>
                  <a:pt x="54683" y="185175"/>
                </a:lnTo>
                <a:lnTo>
                  <a:pt x="51530" y="183632"/>
                </a:lnTo>
                <a:lnTo>
                  <a:pt x="51197" y="183785"/>
                </a:lnTo>
                <a:lnTo>
                  <a:pt x="49987" y="183994"/>
                </a:lnTo>
                <a:lnTo>
                  <a:pt x="42157" y="182128"/>
                </a:lnTo>
                <a:lnTo>
                  <a:pt x="41434" y="181813"/>
                </a:lnTo>
                <a:lnTo>
                  <a:pt x="41091" y="181737"/>
                </a:lnTo>
                <a:lnTo>
                  <a:pt x="40014" y="181594"/>
                </a:lnTo>
                <a:lnTo>
                  <a:pt x="34118" y="181823"/>
                </a:lnTo>
                <a:lnTo>
                  <a:pt x="28622" y="178051"/>
                </a:lnTo>
                <a:lnTo>
                  <a:pt x="26936" y="177937"/>
                </a:lnTo>
                <a:lnTo>
                  <a:pt x="25632" y="179460"/>
                </a:lnTo>
                <a:lnTo>
                  <a:pt x="24669" y="181156"/>
                </a:lnTo>
                <a:lnTo>
                  <a:pt x="20878" y="182842"/>
                </a:lnTo>
                <a:lnTo>
                  <a:pt x="19907" y="183518"/>
                </a:lnTo>
                <a:lnTo>
                  <a:pt x="19355" y="182994"/>
                </a:lnTo>
                <a:lnTo>
                  <a:pt x="19097" y="181537"/>
                </a:lnTo>
                <a:lnTo>
                  <a:pt x="19383" y="180241"/>
                </a:lnTo>
                <a:lnTo>
                  <a:pt x="18821" y="179022"/>
                </a:lnTo>
                <a:lnTo>
                  <a:pt x="17383" y="177632"/>
                </a:lnTo>
                <a:lnTo>
                  <a:pt x="17030" y="177051"/>
                </a:lnTo>
                <a:lnTo>
                  <a:pt x="15221" y="177155"/>
                </a:lnTo>
                <a:lnTo>
                  <a:pt x="14725" y="177289"/>
                </a:lnTo>
                <a:lnTo>
                  <a:pt x="14544" y="177260"/>
                </a:lnTo>
                <a:lnTo>
                  <a:pt x="12029" y="176079"/>
                </a:lnTo>
                <a:lnTo>
                  <a:pt x="10373" y="173231"/>
                </a:lnTo>
                <a:lnTo>
                  <a:pt x="7791" y="171717"/>
                </a:lnTo>
                <a:lnTo>
                  <a:pt x="5819" y="171202"/>
                </a:lnTo>
                <a:lnTo>
                  <a:pt x="4924" y="169974"/>
                </a:lnTo>
                <a:lnTo>
                  <a:pt x="4343" y="168345"/>
                </a:lnTo>
                <a:lnTo>
                  <a:pt x="3733" y="167116"/>
                </a:lnTo>
                <a:lnTo>
                  <a:pt x="3667" y="166992"/>
                </a:lnTo>
                <a:lnTo>
                  <a:pt x="3247" y="165125"/>
                </a:lnTo>
                <a:lnTo>
                  <a:pt x="2648" y="164935"/>
                </a:lnTo>
                <a:lnTo>
                  <a:pt x="2543" y="164887"/>
                </a:lnTo>
                <a:lnTo>
                  <a:pt x="0" y="165211"/>
                </a:lnTo>
                <a:lnTo>
                  <a:pt x="295" y="158648"/>
                </a:lnTo>
                <a:lnTo>
                  <a:pt x="4362" y="153914"/>
                </a:lnTo>
                <a:lnTo>
                  <a:pt x="5362" y="151524"/>
                </a:lnTo>
                <a:lnTo>
                  <a:pt x="6886" y="146332"/>
                </a:lnTo>
                <a:lnTo>
                  <a:pt x="8029" y="143894"/>
                </a:lnTo>
                <a:lnTo>
                  <a:pt x="9401" y="141875"/>
                </a:lnTo>
                <a:lnTo>
                  <a:pt x="10496" y="139922"/>
                </a:lnTo>
                <a:lnTo>
                  <a:pt x="10887" y="138246"/>
                </a:lnTo>
                <a:lnTo>
                  <a:pt x="11992" y="138055"/>
                </a:lnTo>
                <a:lnTo>
                  <a:pt x="15230" y="139570"/>
                </a:lnTo>
                <a:lnTo>
                  <a:pt x="18136" y="140351"/>
                </a:lnTo>
                <a:lnTo>
                  <a:pt x="18935" y="139608"/>
                </a:lnTo>
                <a:lnTo>
                  <a:pt x="19269" y="138636"/>
                </a:lnTo>
                <a:lnTo>
                  <a:pt x="19135" y="137884"/>
                </a:lnTo>
                <a:lnTo>
                  <a:pt x="16811" y="135646"/>
                </a:lnTo>
                <a:lnTo>
                  <a:pt x="15354" y="134217"/>
                </a:lnTo>
                <a:lnTo>
                  <a:pt x="15259" y="133340"/>
                </a:lnTo>
                <a:lnTo>
                  <a:pt x="15783" y="131369"/>
                </a:lnTo>
                <a:lnTo>
                  <a:pt x="16068" y="129159"/>
                </a:lnTo>
                <a:lnTo>
                  <a:pt x="15735" y="126759"/>
                </a:lnTo>
                <a:lnTo>
                  <a:pt x="14144" y="121434"/>
                </a:lnTo>
                <a:lnTo>
                  <a:pt x="13849" y="119167"/>
                </a:lnTo>
                <a:lnTo>
                  <a:pt x="15364" y="116405"/>
                </a:lnTo>
                <a:lnTo>
                  <a:pt x="20298" y="109814"/>
                </a:lnTo>
                <a:lnTo>
                  <a:pt x="21945" y="107327"/>
                </a:lnTo>
                <a:lnTo>
                  <a:pt x="24193" y="104327"/>
                </a:lnTo>
                <a:lnTo>
                  <a:pt x="30299" y="97126"/>
                </a:lnTo>
                <a:lnTo>
                  <a:pt x="34147" y="92926"/>
                </a:lnTo>
                <a:lnTo>
                  <a:pt x="36756" y="90592"/>
                </a:lnTo>
                <a:lnTo>
                  <a:pt x="40576" y="86544"/>
                </a:lnTo>
                <a:lnTo>
                  <a:pt x="42253" y="84439"/>
                </a:lnTo>
                <a:lnTo>
                  <a:pt x="49225" y="83067"/>
                </a:lnTo>
                <a:lnTo>
                  <a:pt x="50092" y="81096"/>
                </a:lnTo>
                <a:lnTo>
                  <a:pt x="51368" y="78943"/>
                </a:lnTo>
                <a:lnTo>
                  <a:pt x="52358" y="78019"/>
                </a:lnTo>
                <a:lnTo>
                  <a:pt x="52492" y="74390"/>
                </a:lnTo>
                <a:lnTo>
                  <a:pt x="51197" y="69942"/>
                </a:lnTo>
                <a:lnTo>
                  <a:pt x="50159" y="68370"/>
                </a:lnTo>
                <a:lnTo>
                  <a:pt x="49387" y="67294"/>
                </a:lnTo>
                <a:lnTo>
                  <a:pt x="49892" y="66294"/>
                </a:lnTo>
                <a:lnTo>
                  <a:pt x="50663" y="66008"/>
                </a:lnTo>
                <a:lnTo>
                  <a:pt x="51615" y="65865"/>
                </a:lnTo>
                <a:lnTo>
                  <a:pt x="52797" y="64789"/>
                </a:lnTo>
                <a:lnTo>
                  <a:pt x="52530" y="63617"/>
                </a:lnTo>
                <a:lnTo>
                  <a:pt x="49587" y="60760"/>
                </a:lnTo>
                <a:lnTo>
                  <a:pt x="48310" y="58560"/>
                </a:lnTo>
                <a:lnTo>
                  <a:pt x="46320" y="52883"/>
                </a:lnTo>
                <a:lnTo>
                  <a:pt x="42281" y="46977"/>
                </a:lnTo>
                <a:lnTo>
                  <a:pt x="41005" y="45063"/>
                </a:lnTo>
                <a:lnTo>
                  <a:pt x="40824" y="43253"/>
                </a:lnTo>
                <a:lnTo>
                  <a:pt x="41414" y="41443"/>
                </a:lnTo>
                <a:lnTo>
                  <a:pt x="40852" y="39129"/>
                </a:lnTo>
                <a:lnTo>
                  <a:pt x="39424" y="36176"/>
                </a:lnTo>
                <a:lnTo>
                  <a:pt x="39652" y="35852"/>
                </a:lnTo>
                <a:lnTo>
                  <a:pt x="39509" y="32204"/>
                </a:lnTo>
                <a:lnTo>
                  <a:pt x="40528" y="31413"/>
                </a:lnTo>
                <a:lnTo>
                  <a:pt x="42138" y="30880"/>
                </a:lnTo>
                <a:lnTo>
                  <a:pt x="44405" y="31061"/>
                </a:lnTo>
                <a:lnTo>
                  <a:pt x="46348" y="31623"/>
                </a:lnTo>
                <a:lnTo>
                  <a:pt x="48673" y="33290"/>
                </a:lnTo>
                <a:lnTo>
                  <a:pt x="49396" y="33023"/>
                </a:lnTo>
                <a:lnTo>
                  <a:pt x="53368" y="29880"/>
                </a:lnTo>
                <a:lnTo>
                  <a:pt x="57464" y="25136"/>
                </a:lnTo>
                <a:lnTo>
                  <a:pt x="58635" y="22384"/>
                </a:lnTo>
                <a:lnTo>
                  <a:pt x="59655" y="21126"/>
                </a:lnTo>
                <a:lnTo>
                  <a:pt x="63217" y="20460"/>
                </a:lnTo>
                <a:lnTo>
                  <a:pt x="66322" y="20183"/>
                </a:lnTo>
                <a:lnTo>
                  <a:pt x="68294" y="20231"/>
                </a:lnTo>
                <a:lnTo>
                  <a:pt x="73142" y="19764"/>
                </a:lnTo>
                <a:lnTo>
                  <a:pt x="76009" y="19240"/>
                </a:lnTo>
                <a:lnTo>
                  <a:pt x="78495" y="18402"/>
                </a:lnTo>
                <a:lnTo>
                  <a:pt x="83858" y="18088"/>
                </a:lnTo>
                <a:lnTo>
                  <a:pt x="92221" y="18650"/>
                </a:lnTo>
                <a:lnTo>
                  <a:pt x="97717" y="18688"/>
                </a:lnTo>
                <a:lnTo>
                  <a:pt x="101450" y="19135"/>
                </a:lnTo>
                <a:lnTo>
                  <a:pt x="110585" y="21660"/>
                </a:lnTo>
                <a:lnTo>
                  <a:pt x="113985" y="22117"/>
                </a:lnTo>
                <a:lnTo>
                  <a:pt x="115567" y="23460"/>
                </a:lnTo>
                <a:lnTo>
                  <a:pt x="118605" y="23955"/>
                </a:lnTo>
                <a:lnTo>
                  <a:pt x="124130" y="25298"/>
                </a:lnTo>
                <a:lnTo>
                  <a:pt x="128921" y="26022"/>
                </a:lnTo>
                <a:lnTo>
                  <a:pt x="132159" y="25727"/>
                </a:lnTo>
                <a:lnTo>
                  <a:pt x="133969" y="26108"/>
                </a:lnTo>
                <a:lnTo>
                  <a:pt x="137398" y="32061"/>
                </a:lnTo>
                <a:lnTo>
                  <a:pt x="138103" y="32756"/>
                </a:lnTo>
                <a:lnTo>
                  <a:pt x="139474" y="32899"/>
                </a:lnTo>
                <a:lnTo>
                  <a:pt x="142274" y="32385"/>
                </a:lnTo>
                <a:lnTo>
                  <a:pt x="146256" y="32585"/>
                </a:lnTo>
                <a:lnTo>
                  <a:pt x="148618" y="33833"/>
                </a:lnTo>
                <a:lnTo>
                  <a:pt x="148275" y="37366"/>
                </a:lnTo>
                <a:lnTo>
                  <a:pt x="148894" y="37881"/>
                </a:lnTo>
                <a:lnTo>
                  <a:pt x="150000" y="37681"/>
                </a:lnTo>
                <a:lnTo>
                  <a:pt x="151266" y="35690"/>
                </a:lnTo>
                <a:lnTo>
                  <a:pt x="152333" y="33623"/>
                </a:lnTo>
                <a:lnTo>
                  <a:pt x="153124" y="32975"/>
                </a:lnTo>
                <a:lnTo>
                  <a:pt x="157191" y="34376"/>
                </a:lnTo>
                <a:lnTo>
                  <a:pt x="159048" y="34147"/>
                </a:lnTo>
                <a:lnTo>
                  <a:pt x="160763" y="32575"/>
                </a:lnTo>
                <a:lnTo>
                  <a:pt x="161810" y="32309"/>
                </a:lnTo>
                <a:lnTo>
                  <a:pt x="164696" y="33423"/>
                </a:lnTo>
                <a:lnTo>
                  <a:pt x="168249" y="34204"/>
                </a:lnTo>
                <a:lnTo>
                  <a:pt x="171126" y="34252"/>
                </a:lnTo>
                <a:lnTo>
                  <a:pt x="172917" y="35100"/>
                </a:lnTo>
                <a:lnTo>
                  <a:pt x="174221" y="38786"/>
                </a:lnTo>
                <a:lnTo>
                  <a:pt x="175355" y="39548"/>
                </a:lnTo>
                <a:lnTo>
                  <a:pt x="176450" y="39776"/>
                </a:lnTo>
                <a:lnTo>
                  <a:pt x="178108" y="36481"/>
                </a:lnTo>
                <a:lnTo>
                  <a:pt x="179613" y="35204"/>
                </a:lnTo>
                <a:lnTo>
                  <a:pt x="181699" y="34261"/>
                </a:lnTo>
                <a:lnTo>
                  <a:pt x="183042" y="33852"/>
                </a:lnTo>
                <a:lnTo>
                  <a:pt x="183994" y="32680"/>
                </a:lnTo>
                <a:lnTo>
                  <a:pt x="185271" y="31547"/>
                </a:lnTo>
                <a:lnTo>
                  <a:pt x="186375" y="31452"/>
                </a:lnTo>
                <a:lnTo>
                  <a:pt x="187271" y="31890"/>
                </a:lnTo>
                <a:lnTo>
                  <a:pt x="188300" y="33461"/>
                </a:lnTo>
                <a:lnTo>
                  <a:pt x="189804" y="37043"/>
                </a:lnTo>
                <a:lnTo>
                  <a:pt x="191633" y="40634"/>
                </a:lnTo>
                <a:lnTo>
                  <a:pt x="192910" y="41938"/>
                </a:lnTo>
                <a:lnTo>
                  <a:pt x="196205" y="40834"/>
                </a:lnTo>
                <a:lnTo>
                  <a:pt x="198434" y="39709"/>
                </a:lnTo>
                <a:lnTo>
                  <a:pt x="202520" y="39500"/>
                </a:lnTo>
                <a:lnTo>
                  <a:pt x="207940" y="38710"/>
                </a:lnTo>
                <a:lnTo>
                  <a:pt x="212084" y="37681"/>
                </a:lnTo>
                <a:lnTo>
                  <a:pt x="214674" y="37862"/>
                </a:lnTo>
                <a:lnTo>
                  <a:pt x="216246" y="39005"/>
                </a:lnTo>
                <a:lnTo>
                  <a:pt x="218637" y="41205"/>
                </a:lnTo>
                <a:lnTo>
                  <a:pt x="219284" y="44367"/>
                </a:lnTo>
                <a:lnTo>
                  <a:pt x="222389" y="46549"/>
                </a:lnTo>
                <a:lnTo>
                  <a:pt x="224933" y="46949"/>
                </a:lnTo>
                <a:lnTo>
                  <a:pt x="225800" y="44682"/>
                </a:lnTo>
                <a:lnTo>
                  <a:pt x="227286" y="43101"/>
                </a:lnTo>
                <a:lnTo>
                  <a:pt x="226723" y="40919"/>
                </a:lnTo>
                <a:lnTo>
                  <a:pt x="226476" y="38138"/>
                </a:lnTo>
                <a:lnTo>
                  <a:pt x="225361" y="35557"/>
                </a:lnTo>
                <a:lnTo>
                  <a:pt x="224618" y="32775"/>
                </a:lnTo>
                <a:lnTo>
                  <a:pt x="225980" y="28794"/>
                </a:lnTo>
                <a:lnTo>
                  <a:pt x="227466" y="25308"/>
                </a:lnTo>
                <a:lnTo>
                  <a:pt x="228209" y="23412"/>
                </a:lnTo>
                <a:lnTo>
                  <a:pt x="230562" y="19907"/>
                </a:lnTo>
                <a:lnTo>
                  <a:pt x="232972" y="17402"/>
                </a:lnTo>
                <a:lnTo>
                  <a:pt x="236581" y="13373"/>
                </a:lnTo>
                <a:lnTo>
                  <a:pt x="239220" y="12039"/>
                </a:lnTo>
                <a:lnTo>
                  <a:pt x="241602" y="12649"/>
                </a:lnTo>
                <a:lnTo>
                  <a:pt x="242925" y="13202"/>
                </a:lnTo>
                <a:lnTo>
                  <a:pt x="246345" y="10811"/>
                </a:lnTo>
                <a:lnTo>
                  <a:pt x="252431" y="10687"/>
                </a:lnTo>
                <a:lnTo>
                  <a:pt x="257499" y="10992"/>
                </a:lnTo>
                <a:lnTo>
                  <a:pt x="258013" y="11068"/>
                </a:lnTo>
                <a:lnTo>
                  <a:pt x="260509" y="12306"/>
                </a:lnTo>
                <a:lnTo>
                  <a:pt x="263128" y="13354"/>
                </a:lnTo>
                <a:lnTo>
                  <a:pt x="264937" y="13421"/>
                </a:lnTo>
                <a:lnTo>
                  <a:pt x="267090" y="13182"/>
                </a:lnTo>
                <a:lnTo>
                  <a:pt x="269624" y="11782"/>
                </a:lnTo>
                <a:lnTo>
                  <a:pt x="271386" y="10430"/>
                </a:lnTo>
                <a:lnTo>
                  <a:pt x="273529" y="3553"/>
                </a:lnTo>
                <a:lnTo>
                  <a:pt x="274291" y="2562"/>
                </a:lnTo>
                <a:lnTo>
                  <a:pt x="275472" y="2019"/>
                </a:lnTo>
                <a:lnTo>
                  <a:pt x="277406" y="1962"/>
                </a:lnTo>
                <a:lnTo>
                  <a:pt x="281082" y="3248"/>
                </a:lnTo>
                <a:lnTo>
                  <a:pt x="285388" y="4400"/>
                </a:lnTo>
                <a:lnTo>
                  <a:pt x="287884" y="4238"/>
                </a:lnTo>
                <a:lnTo>
                  <a:pt x="294532" y="571"/>
                </a:lnTo>
                <a:lnTo>
                  <a:pt x="298237" y="0"/>
                </a:lnTo>
                <a:lnTo>
                  <a:pt x="302637" y="857"/>
                </a:lnTo>
                <a:lnTo>
                  <a:pt x="306962" y="905"/>
                </a:lnTo>
                <a:lnTo>
                  <a:pt x="310219" y="371"/>
                </a:lnTo>
                <a:lnTo>
                  <a:pt x="312458" y="1638"/>
                </a:lnTo>
                <a:lnTo>
                  <a:pt x="315220" y="4438"/>
                </a:lnTo>
                <a:lnTo>
                  <a:pt x="317716" y="8591"/>
                </a:lnTo>
                <a:lnTo>
                  <a:pt x="320325" y="16240"/>
                </a:lnTo>
                <a:lnTo>
                  <a:pt x="327936" y="24841"/>
                </a:lnTo>
                <a:lnTo>
                  <a:pt x="328060" y="26518"/>
                </a:lnTo>
                <a:lnTo>
                  <a:pt x="327440" y="27594"/>
                </a:lnTo>
                <a:lnTo>
                  <a:pt x="323697" y="28632"/>
                </a:lnTo>
                <a:lnTo>
                  <a:pt x="320535" y="29194"/>
                </a:lnTo>
                <a:lnTo>
                  <a:pt x="320383" y="30661"/>
                </a:lnTo>
                <a:lnTo>
                  <a:pt x="321221" y="32252"/>
                </a:lnTo>
                <a:lnTo>
                  <a:pt x="322669" y="34576"/>
                </a:lnTo>
                <a:lnTo>
                  <a:pt x="322888" y="37567"/>
                </a:lnTo>
                <a:lnTo>
                  <a:pt x="322812" y="40310"/>
                </a:lnTo>
                <a:lnTo>
                  <a:pt x="323431" y="42729"/>
                </a:lnTo>
                <a:lnTo>
                  <a:pt x="324640" y="43720"/>
                </a:lnTo>
                <a:lnTo>
                  <a:pt x="324793" y="44929"/>
                </a:lnTo>
                <a:lnTo>
                  <a:pt x="323402" y="46415"/>
                </a:lnTo>
                <a:lnTo>
                  <a:pt x="323012" y="47330"/>
                </a:lnTo>
                <a:lnTo>
                  <a:pt x="323555" y="47825"/>
                </a:lnTo>
                <a:lnTo>
                  <a:pt x="330422" y="48111"/>
                </a:lnTo>
                <a:lnTo>
                  <a:pt x="333784" y="49549"/>
                </a:lnTo>
                <a:lnTo>
                  <a:pt x="336337" y="50863"/>
                </a:lnTo>
                <a:lnTo>
                  <a:pt x="337623" y="50987"/>
                </a:lnTo>
                <a:lnTo>
                  <a:pt x="340519" y="50149"/>
                </a:lnTo>
                <a:lnTo>
                  <a:pt x="343776" y="49616"/>
                </a:lnTo>
                <a:lnTo>
                  <a:pt x="345748" y="49539"/>
                </a:lnTo>
                <a:lnTo>
                  <a:pt x="346510" y="50511"/>
                </a:lnTo>
                <a:lnTo>
                  <a:pt x="347120" y="53054"/>
                </a:lnTo>
                <a:lnTo>
                  <a:pt x="348262" y="55597"/>
                </a:lnTo>
                <a:lnTo>
                  <a:pt x="349329" y="56321"/>
                </a:lnTo>
                <a:lnTo>
                  <a:pt x="351234" y="56197"/>
                </a:lnTo>
                <a:lnTo>
                  <a:pt x="352377" y="56321"/>
                </a:lnTo>
                <a:lnTo>
                  <a:pt x="352987" y="57283"/>
                </a:lnTo>
                <a:lnTo>
                  <a:pt x="352301" y="58731"/>
                </a:lnTo>
                <a:lnTo>
                  <a:pt x="352454" y="60303"/>
                </a:lnTo>
                <a:lnTo>
                  <a:pt x="353291" y="62227"/>
                </a:lnTo>
                <a:lnTo>
                  <a:pt x="354282" y="66675"/>
                </a:lnTo>
                <a:lnTo>
                  <a:pt x="355196" y="67999"/>
                </a:lnTo>
                <a:lnTo>
                  <a:pt x="355806" y="69675"/>
                </a:lnTo>
                <a:lnTo>
                  <a:pt x="355806" y="71599"/>
                </a:lnTo>
                <a:lnTo>
                  <a:pt x="355044" y="73276"/>
                </a:lnTo>
                <a:lnTo>
                  <a:pt x="354511" y="74590"/>
                </a:lnTo>
                <a:lnTo>
                  <a:pt x="355044" y="77581"/>
                </a:lnTo>
                <a:lnTo>
                  <a:pt x="357101" y="80924"/>
                </a:lnTo>
                <a:lnTo>
                  <a:pt x="358625" y="81753"/>
                </a:lnTo>
                <a:lnTo>
                  <a:pt x="359845" y="84734"/>
                </a:lnTo>
                <a:lnTo>
                  <a:pt x="362055" y="85687"/>
                </a:lnTo>
                <a:lnTo>
                  <a:pt x="365331" y="83182"/>
                </a:lnTo>
                <a:lnTo>
                  <a:pt x="367846" y="81867"/>
                </a:lnTo>
                <a:lnTo>
                  <a:pt x="370989" y="82601"/>
                </a:lnTo>
                <a:lnTo>
                  <a:pt x="373894" y="83067"/>
                </a:lnTo>
                <a:lnTo>
                  <a:pt x="375847" y="84772"/>
                </a:lnTo>
                <a:lnTo>
                  <a:pt x="377285" y="87116"/>
                </a:lnTo>
                <a:lnTo>
                  <a:pt x="378961" y="88420"/>
                </a:lnTo>
                <a:lnTo>
                  <a:pt x="380638" y="87735"/>
                </a:lnTo>
                <a:lnTo>
                  <a:pt x="384134" y="88420"/>
                </a:lnTo>
                <a:lnTo>
                  <a:pt x="385733" y="90316"/>
                </a:lnTo>
                <a:lnTo>
                  <a:pt x="387334" y="91383"/>
                </a:lnTo>
                <a:lnTo>
                  <a:pt x="389391" y="89840"/>
                </a:lnTo>
                <a:lnTo>
                  <a:pt x="391067" y="87935"/>
                </a:lnTo>
                <a:lnTo>
                  <a:pt x="397202" y="85944"/>
                </a:lnTo>
                <a:lnTo>
                  <a:pt x="401012" y="85449"/>
                </a:lnTo>
                <a:lnTo>
                  <a:pt x="402078" y="85058"/>
                </a:lnTo>
                <a:lnTo>
                  <a:pt x="404317" y="83629"/>
                </a:lnTo>
                <a:lnTo>
                  <a:pt x="406679" y="82677"/>
                </a:lnTo>
                <a:lnTo>
                  <a:pt x="408803" y="82934"/>
                </a:lnTo>
                <a:lnTo>
                  <a:pt x="410899" y="85896"/>
                </a:lnTo>
                <a:lnTo>
                  <a:pt x="413070" y="87935"/>
                </a:lnTo>
                <a:lnTo>
                  <a:pt x="413680" y="91145"/>
                </a:lnTo>
                <a:lnTo>
                  <a:pt x="416328" y="95545"/>
                </a:lnTo>
                <a:lnTo>
                  <a:pt x="422910" y="101555"/>
                </a:lnTo>
                <a:lnTo>
                  <a:pt x="425491" y="103384"/>
                </a:lnTo>
                <a:lnTo>
                  <a:pt x="427244" y="103060"/>
                </a:lnTo>
                <a:lnTo>
                  <a:pt x="428158" y="102584"/>
                </a:lnTo>
                <a:lnTo>
                  <a:pt x="428587" y="101955"/>
                </a:lnTo>
                <a:lnTo>
                  <a:pt x="428987" y="99012"/>
                </a:lnTo>
                <a:lnTo>
                  <a:pt x="429816" y="97926"/>
                </a:lnTo>
                <a:lnTo>
                  <a:pt x="431149" y="97898"/>
                </a:lnTo>
                <a:lnTo>
                  <a:pt x="436302" y="101555"/>
                </a:lnTo>
                <a:lnTo>
                  <a:pt x="438998" y="101955"/>
                </a:lnTo>
                <a:lnTo>
                  <a:pt x="441560" y="102022"/>
                </a:lnTo>
                <a:lnTo>
                  <a:pt x="445008" y="104860"/>
                </a:lnTo>
                <a:lnTo>
                  <a:pt x="448789" y="107327"/>
                </a:lnTo>
                <a:lnTo>
                  <a:pt x="451713" y="107585"/>
                </a:lnTo>
                <a:lnTo>
                  <a:pt x="454047" y="106613"/>
                </a:lnTo>
                <a:lnTo>
                  <a:pt x="455647" y="106023"/>
                </a:lnTo>
                <a:lnTo>
                  <a:pt x="456638" y="106966"/>
                </a:lnTo>
                <a:lnTo>
                  <a:pt x="457552" y="109090"/>
                </a:lnTo>
                <a:lnTo>
                  <a:pt x="459076" y="110737"/>
                </a:lnTo>
                <a:lnTo>
                  <a:pt x="460829" y="111204"/>
                </a:lnTo>
                <a:lnTo>
                  <a:pt x="463353" y="111309"/>
                </a:lnTo>
                <a:lnTo>
                  <a:pt x="467734" y="114490"/>
                </a:lnTo>
                <a:lnTo>
                  <a:pt x="471849" y="117729"/>
                </a:lnTo>
                <a:lnTo>
                  <a:pt x="474421" y="117910"/>
                </a:lnTo>
                <a:lnTo>
                  <a:pt x="476602" y="116957"/>
                </a:lnTo>
                <a:lnTo>
                  <a:pt x="478526" y="116710"/>
                </a:lnTo>
                <a:lnTo>
                  <a:pt x="479869" y="117529"/>
                </a:lnTo>
                <a:lnTo>
                  <a:pt x="480250" y="118929"/>
                </a:lnTo>
                <a:lnTo>
                  <a:pt x="479260" y="120805"/>
                </a:lnTo>
                <a:lnTo>
                  <a:pt x="479260" y="123492"/>
                </a:lnTo>
                <a:lnTo>
                  <a:pt x="481089" y="126063"/>
                </a:lnTo>
                <a:lnTo>
                  <a:pt x="481146" y="128588"/>
                </a:lnTo>
                <a:lnTo>
                  <a:pt x="480622" y="130864"/>
                </a:lnTo>
                <a:lnTo>
                  <a:pt x="479584" y="132959"/>
                </a:lnTo>
                <a:lnTo>
                  <a:pt x="477078" y="135836"/>
                </a:lnTo>
                <a:lnTo>
                  <a:pt x="474764" y="138512"/>
                </a:lnTo>
                <a:lnTo>
                  <a:pt x="471287" y="139627"/>
                </a:lnTo>
                <a:lnTo>
                  <a:pt x="469335" y="140798"/>
                </a:lnTo>
                <a:lnTo>
                  <a:pt x="469849" y="142760"/>
                </a:lnTo>
                <a:lnTo>
                  <a:pt x="471125" y="144589"/>
                </a:lnTo>
                <a:lnTo>
                  <a:pt x="474078" y="146066"/>
                </a:lnTo>
                <a:lnTo>
                  <a:pt x="477431" y="147142"/>
                </a:lnTo>
                <a:lnTo>
                  <a:pt x="477821" y="148333"/>
                </a:lnTo>
                <a:lnTo>
                  <a:pt x="477307" y="148933"/>
                </a:lnTo>
                <a:lnTo>
                  <a:pt x="475154" y="149485"/>
                </a:lnTo>
                <a:lnTo>
                  <a:pt x="472183" y="148923"/>
                </a:lnTo>
                <a:lnTo>
                  <a:pt x="471192" y="149961"/>
                </a:lnTo>
                <a:lnTo>
                  <a:pt x="469820" y="151686"/>
                </a:lnTo>
                <a:lnTo>
                  <a:pt x="468906" y="154791"/>
                </a:lnTo>
                <a:lnTo>
                  <a:pt x="468220" y="157667"/>
                </a:lnTo>
                <a:lnTo>
                  <a:pt x="471449" y="158448"/>
                </a:lnTo>
                <a:lnTo>
                  <a:pt x="473326" y="159620"/>
                </a:lnTo>
                <a:lnTo>
                  <a:pt x="473916" y="161972"/>
                </a:lnTo>
                <a:lnTo>
                  <a:pt x="474583" y="164592"/>
                </a:lnTo>
                <a:lnTo>
                  <a:pt x="474783" y="166944"/>
                </a:lnTo>
                <a:lnTo>
                  <a:pt x="473716" y="168087"/>
                </a:lnTo>
                <a:lnTo>
                  <a:pt x="473650" y="169259"/>
                </a:lnTo>
                <a:lnTo>
                  <a:pt x="474154" y="169840"/>
                </a:lnTo>
                <a:lnTo>
                  <a:pt x="475545" y="170097"/>
                </a:lnTo>
                <a:lnTo>
                  <a:pt x="476602" y="170621"/>
                </a:lnTo>
                <a:lnTo>
                  <a:pt x="476688" y="171860"/>
                </a:lnTo>
                <a:lnTo>
                  <a:pt x="474659" y="174641"/>
                </a:lnTo>
                <a:lnTo>
                  <a:pt x="472764" y="179956"/>
                </a:lnTo>
                <a:lnTo>
                  <a:pt x="471744" y="182775"/>
                </a:lnTo>
                <a:lnTo>
                  <a:pt x="471821" y="185833"/>
                </a:lnTo>
                <a:lnTo>
                  <a:pt x="470678" y="187528"/>
                </a:lnTo>
                <a:lnTo>
                  <a:pt x="468573" y="187747"/>
                </a:lnTo>
                <a:lnTo>
                  <a:pt x="461429" y="188042"/>
                </a:lnTo>
                <a:lnTo>
                  <a:pt x="455209" y="187890"/>
                </a:lnTo>
                <a:lnTo>
                  <a:pt x="452523" y="187452"/>
                </a:lnTo>
                <a:lnTo>
                  <a:pt x="448313" y="187185"/>
                </a:lnTo>
                <a:lnTo>
                  <a:pt x="446227" y="187909"/>
                </a:lnTo>
                <a:lnTo>
                  <a:pt x="443465" y="192786"/>
                </a:lnTo>
                <a:lnTo>
                  <a:pt x="441369" y="194691"/>
                </a:lnTo>
                <a:lnTo>
                  <a:pt x="437912" y="196415"/>
                </a:lnTo>
                <a:lnTo>
                  <a:pt x="434111" y="196910"/>
                </a:lnTo>
                <a:lnTo>
                  <a:pt x="431930" y="198911"/>
                </a:lnTo>
                <a:lnTo>
                  <a:pt x="431159" y="202054"/>
                </a:lnTo>
                <a:lnTo>
                  <a:pt x="431101" y="204835"/>
                </a:lnTo>
                <a:lnTo>
                  <a:pt x="430749" y="206226"/>
                </a:lnTo>
                <a:lnTo>
                  <a:pt x="429930" y="207445"/>
                </a:lnTo>
                <a:lnTo>
                  <a:pt x="429634" y="208312"/>
                </a:lnTo>
                <a:lnTo>
                  <a:pt x="429816" y="209264"/>
                </a:lnTo>
                <a:lnTo>
                  <a:pt x="430701" y="209607"/>
                </a:lnTo>
                <a:lnTo>
                  <a:pt x="431759" y="210045"/>
                </a:lnTo>
                <a:lnTo>
                  <a:pt x="431759" y="210731"/>
                </a:lnTo>
                <a:lnTo>
                  <a:pt x="431349" y="211598"/>
                </a:lnTo>
                <a:lnTo>
                  <a:pt x="430168" y="212550"/>
                </a:lnTo>
                <a:lnTo>
                  <a:pt x="429634" y="214017"/>
                </a:lnTo>
                <a:lnTo>
                  <a:pt x="429758" y="215579"/>
                </a:lnTo>
                <a:lnTo>
                  <a:pt x="429977" y="217303"/>
                </a:lnTo>
                <a:close/>
                <a:moveTo>
                  <a:pt x="264185" y="251755"/>
                </a:moveTo>
                <a:lnTo>
                  <a:pt x="267871" y="253651"/>
                </a:lnTo>
                <a:lnTo>
                  <a:pt x="264109" y="253146"/>
                </a:lnTo>
                <a:lnTo>
                  <a:pt x="255851" y="251365"/>
                </a:lnTo>
                <a:lnTo>
                  <a:pt x="252203" y="249679"/>
                </a:lnTo>
                <a:lnTo>
                  <a:pt x="251260" y="247793"/>
                </a:lnTo>
                <a:lnTo>
                  <a:pt x="250727" y="245221"/>
                </a:lnTo>
                <a:lnTo>
                  <a:pt x="252765" y="247917"/>
                </a:lnTo>
                <a:lnTo>
                  <a:pt x="254193" y="249098"/>
                </a:lnTo>
                <a:lnTo>
                  <a:pt x="264185" y="251755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4" name="Forme libre : forme 54">
            <a:extLst>
              <a:ext uri="{FF2B5EF4-FFF2-40B4-BE49-F238E27FC236}">
                <a16:creationId xmlns:a16="http://schemas.microsoft.com/office/drawing/2014/main" id="{9FE6CE3B-8DE3-2CEC-6851-8FC0D1021F4E}"/>
              </a:ext>
            </a:extLst>
          </p:cNvPr>
          <p:cNvSpPr/>
          <p:nvPr/>
        </p:nvSpPr>
        <p:spPr>
          <a:xfrm>
            <a:off x="5954841" y="3962635"/>
            <a:ext cx="409" cy="409"/>
          </a:xfrm>
          <a:custGeom>
            <a:avLst/>
            <a:gdLst>
              <a:gd name="connsiteX0" fmla="*/ 314 w 314"/>
              <a:gd name="connsiteY0" fmla="*/ 286 h 314"/>
              <a:gd name="connsiteX1" fmla="*/ 86 w 314"/>
              <a:gd name="connsiteY1" fmla="*/ 314 h 314"/>
              <a:gd name="connsiteX2" fmla="*/ 0 w 314"/>
              <a:gd name="connsiteY2" fmla="*/ 190 h 314"/>
              <a:gd name="connsiteX3" fmla="*/ 86 w 314"/>
              <a:gd name="connsiteY3" fmla="*/ 28 h 314"/>
              <a:gd name="connsiteX4" fmla="*/ 286 w 314"/>
              <a:gd name="connsiteY4" fmla="*/ 0 h 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4" h="314">
                <a:moveTo>
                  <a:pt x="314" y="286"/>
                </a:moveTo>
                <a:lnTo>
                  <a:pt x="86" y="314"/>
                </a:lnTo>
                <a:lnTo>
                  <a:pt x="0" y="190"/>
                </a:lnTo>
                <a:lnTo>
                  <a:pt x="86" y="28"/>
                </a:lnTo>
                <a:lnTo>
                  <a:pt x="286" y="0"/>
                </a:ln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9" name="Rectangle : avec coins arrondis en haut 5">
            <a:extLst>
              <a:ext uri="{FF2B5EF4-FFF2-40B4-BE49-F238E27FC236}">
                <a16:creationId xmlns:a16="http://schemas.microsoft.com/office/drawing/2014/main" id="{0911E4D5-4FEE-3F33-AF00-EEF8E9E898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 rot="16200000">
            <a:off x="8310136" y="2192909"/>
            <a:ext cx="4448530" cy="3333248"/>
          </a:xfrm>
          <a:prstGeom prst="round2SameRect">
            <a:avLst>
              <a:gd name="adj1" fmla="val 7834"/>
              <a:gd name="adj2" fmla="val 0"/>
            </a:avLst>
          </a:prstGeom>
          <a:solidFill>
            <a:schemeClr val="bg1"/>
          </a:solidFill>
          <a:ln w="3175">
            <a:noFill/>
          </a:ln>
          <a:effectLst>
            <a:outerShdw blurRad="165100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EEEEE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" name="Espace réservé du texte 310">
            <a:extLst>
              <a:ext uri="{FF2B5EF4-FFF2-40B4-BE49-F238E27FC236}">
                <a16:creationId xmlns:a16="http://schemas.microsoft.com/office/drawing/2014/main" id="{5C900DE7-11C0-E903-0AA9-A5E33A0FDF21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250014" y="2624914"/>
            <a:ext cx="2391124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gradFill flip="none" rotWithShape="1">
                  <a:gsLst>
                    <a:gs pos="0">
                      <a:schemeClr val="accent6"/>
                    </a:gs>
                    <a:gs pos="10000">
                      <a:schemeClr val="accent5"/>
                    </a:gs>
                    <a:gs pos="60000">
                      <a:schemeClr val="accent3"/>
                    </a:gs>
                    <a:gs pos="100000">
                      <a:schemeClr val="accent4"/>
                    </a:gs>
                  </a:gsLst>
                  <a:lin ang="18900000" scaled="1"/>
                  <a:tileRect/>
                </a:gra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8" name="Espace réservé du texte 310">
            <a:extLst>
              <a:ext uri="{FF2B5EF4-FFF2-40B4-BE49-F238E27FC236}">
                <a16:creationId xmlns:a16="http://schemas.microsoft.com/office/drawing/2014/main" id="{9E18CF05-9562-33D1-D8BC-87CA4BB2C8EC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250014" y="3001619"/>
            <a:ext cx="2386039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en-GB" noProof="0"/>
              <a:t>Modify text</a:t>
            </a:r>
          </a:p>
        </p:txBody>
      </p:sp>
      <p:sp>
        <p:nvSpPr>
          <p:cNvPr id="14" name="Espace réservé du texte 310">
            <a:extLst>
              <a:ext uri="{FF2B5EF4-FFF2-40B4-BE49-F238E27FC236}">
                <a16:creationId xmlns:a16="http://schemas.microsoft.com/office/drawing/2014/main" id="{237F6453-8691-66D5-82E8-13302280FE61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9250014" y="3456174"/>
            <a:ext cx="2364656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gradFill flip="none" rotWithShape="1">
                  <a:gsLst>
                    <a:gs pos="0">
                      <a:schemeClr val="accent6"/>
                    </a:gs>
                    <a:gs pos="10000">
                      <a:schemeClr val="accent5"/>
                    </a:gs>
                    <a:gs pos="60000">
                      <a:schemeClr val="accent3"/>
                    </a:gs>
                    <a:gs pos="100000">
                      <a:schemeClr val="accent4"/>
                    </a:gs>
                  </a:gsLst>
                  <a:lin ang="18900000" scaled="1"/>
                  <a:tileRect/>
                </a:gra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15" name="Espace réservé du texte 310">
            <a:extLst>
              <a:ext uri="{FF2B5EF4-FFF2-40B4-BE49-F238E27FC236}">
                <a16:creationId xmlns:a16="http://schemas.microsoft.com/office/drawing/2014/main" id="{06D8847A-C6AA-06FC-A2C6-5A3A558AC9FE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250014" y="3813002"/>
            <a:ext cx="2364656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en-GB" noProof="0"/>
              <a:t>Modify text</a:t>
            </a:r>
          </a:p>
        </p:txBody>
      </p:sp>
      <p:sp>
        <p:nvSpPr>
          <p:cNvPr id="16" name="Espace réservé du texte 310">
            <a:extLst>
              <a:ext uri="{FF2B5EF4-FFF2-40B4-BE49-F238E27FC236}">
                <a16:creationId xmlns:a16="http://schemas.microsoft.com/office/drawing/2014/main" id="{398A0F56-BCFD-02F0-F867-A66D1733F808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9250014" y="4280906"/>
            <a:ext cx="2364541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gradFill flip="none" rotWithShape="1">
                  <a:gsLst>
                    <a:gs pos="0">
                      <a:schemeClr val="accent6"/>
                    </a:gs>
                    <a:gs pos="10000">
                      <a:schemeClr val="accent5"/>
                    </a:gs>
                    <a:gs pos="60000">
                      <a:schemeClr val="accent3"/>
                    </a:gs>
                    <a:gs pos="100000">
                      <a:schemeClr val="accent4"/>
                    </a:gs>
                  </a:gsLst>
                  <a:lin ang="18900000" scaled="1"/>
                  <a:tileRect/>
                </a:gra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17" name="Espace réservé du texte 310">
            <a:extLst>
              <a:ext uri="{FF2B5EF4-FFF2-40B4-BE49-F238E27FC236}">
                <a16:creationId xmlns:a16="http://schemas.microsoft.com/office/drawing/2014/main" id="{1AF87C81-BE57-8F9B-FC96-EEB31547788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9250014" y="4637734"/>
            <a:ext cx="2361998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en-GB" noProof="0"/>
              <a:t>Modify text</a:t>
            </a:r>
          </a:p>
        </p:txBody>
      </p:sp>
      <p:sp>
        <p:nvSpPr>
          <p:cNvPr id="18" name="Espace réservé du texte 310">
            <a:extLst>
              <a:ext uri="{FF2B5EF4-FFF2-40B4-BE49-F238E27FC236}">
                <a16:creationId xmlns:a16="http://schemas.microsoft.com/office/drawing/2014/main" id="{9CDED49B-61E2-FFB2-6841-5EDE796B0F3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9256453" y="5079966"/>
            <a:ext cx="2340616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gradFill flip="none" rotWithShape="1">
                  <a:gsLst>
                    <a:gs pos="0">
                      <a:schemeClr val="accent6"/>
                    </a:gs>
                    <a:gs pos="10000">
                      <a:schemeClr val="accent5"/>
                    </a:gs>
                    <a:gs pos="60000">
                      <a:schemeClr val="accent3"/>
                    </a:gs>
                    <a:gs pos="100000">
                      <a:schemeClr val="accent4"/>
                    </a:gs>
                  </a:gsLst>
                  <a:lin ang="18900000" scaled="1"/>
                  <a:tileRect/>
                </a:gra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19" name="Espace réservé du texte 310">
            <a:extLst>
              <a:ext uri="{FF2B5EF4-FFF2-40B4-BE49-F238E27FC236}">
                <a16:creationId xmlns:a16="http://schemas.microsoft.com/office/drawing/2014/main" id="{4F819AD0-4194-191F-D73F-C651F8BFBF0D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9256453" y="5436792"/>
            <a:ext cx="2338073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en-GB" noProof="0"/>
              <a:t>Modify text</a:t>
            </a:r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405C4D1C-D8EC-4F14-44C0-85C34452EB65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79576336-090A-1F6D-1789-E55236C8F7F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0863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E5953945-B213-76E6-3BC8-974909A0CE0E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50863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3" name="Espace réservé du texte 14">
            <a:extLst>
              <a:ext uri="{FF2B5EF4-FFF2-40B4-BE49-F238E27FC236}">
                <a16:creationId xmlns:a16="http://schemas.microsoft.com/office/drawing/2014/main" id="{47562CE3-A9ED-E03A-2DC9-2FED6C29542D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9250015" y="2021408"/>
            <a:ext cx="2391124" cy="35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Key figur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65A0420-3910-50C9-F6F7-F2BE1A12031E}"/>
              </a:ext>
            </a:extLst>
          </p:cNvPr>
          <p:cNvCxnSpPr>
            <a:cxnSpLocks/>
          </p:cNvCxnSpPr>
          <p:nvPr userDrawn="1"/>
        </p:nvCxnSpPr>
        <p:spPr>
          <a:xfrm>
            <a:off x="9330528" y="2380500"/>
            <a:ext cx="248652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535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 : avec coins arrondis en haut 6">
            <a:extLst>
              <a:ext uri="{FF2B5EF4-FFF2-40B4-BE49-F238E27FC236}">
                <a16:creationId xmlns:a16="http://schemas.microsoft.com/office/drawing/2014/main" id="{83108B7F-69DD-5D6F-9F51-E6D20E1AF8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 rot="5400000" flipH="1">
            <a:off x="-565385" y="2212179"/>
            <a:ext cx="4457556" cy="3303739"/>
          </a:xfrm>
          <a:prstGeom prst="round2SameRect">
            <a:avLst>
              <a:gd name="adj1" fmla="val 7834"/>
              <a:gd name="adj2" fmla="val 0"/>
            </a:avLst>
          </a:prstGeom>
          <a:solidFill>
            <a:schemeClr val="bg2"/>
          </a:solidFill>
          <a:ln w="3175">
            <a:noFill/>
          </a:ln>
          <a:effectLst>
            <a:outerShdw blurRad="165100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EEEEE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13" name="Espace réservé du texte 59">
            <a:extLst>
              <a:ext uri="{FF2B5EF4-FFF2-40B4-BE49-F238E27FC236}">
                <a16:creationId xmlns:a16="http://schemas.microsoft.com/office/drawing/2014/main" id="{EB61D8EF-FE3A-9477-F8BA-43DC30D6AE13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43384" y="3060734"/>
            <a:ext cx="2626770" cy="718747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change the mask text styles:</a:t>
            </a:r>
            <a:endParaRPr lang="fr-FR"/>
          </a:p>
        </p:txBody>
      </p:sp>
      <p:sp>
        <p:nvSpPr>
          <p:cNvPr id="311" name="Espace réservé du texte 310">
            <a:extLst>
              <a:ext uri="{FF2B5EF4-FFF2-40B4-BE49-F238E27FC236}">
                <a16:creationId xmlns:a16="http://schemas.microsoft.com/office/drawing/2014/main" id="{3C2B1A0B-102F-6383-8960-DD6FEF949E44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343384" y="3923877"/>
            <a:ext cx="2773362" cy="1991711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0" name="Rectangle : coins arrondis 7">
            <a:extLst>
              <a:ext uri="{FF2B5EF4-FFF2-40B4-BE49-F238E27FC236}">
                <a16:creationId xmlns:a16="http://schemas.microsoft.com/office/drawing/2014/main" id="{22277B75-ECEF-6125-C9F7-CA319A67F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715032" y="1628774"/>
            <a:ext cx="4752975" cy="4465637"/>
          </a:xfrm>
          <a:prstGeom prst="roundRect">
            <a:avLst>
              <a:gd name="adj" fmla="val 5991"/>
            </a:avLst>
          </a:prstGeom>
          <a:solidFill>
            <a:schemeClr val="bg1"/>
          </a:solidFill>
          <a:ln w="3175">
            <a:noFill/>
          </a:ln>
          <a:effectLst>
            <a:outerShdw blurRad="165100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EEEEE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938B5640-8D79-3F4A-E7F4-0B16881CA39E}"/>
              </a:ext>
            </a:extLst>
          </p:cNvPr>
          <p:cNvSpPr/>
          <p:nvPr/>
        </p:nvSpPr>
        <p:spPr>
          <a:xfrm>
            <a:off x="4143879" y="2210765"/>
            <a:ext cx="3927392" cy="3704823"/>
          </a:xfrm>
          <a:prstGeom prst="ellipse">
            <a:avLst/>
          </a:prstGeom>
          <a:solidFill>
            <a:schemeClr val="bg1"/>
          </a:solidFill>
          <a:ln w="12700">
            <a:gradFill>
              <a:gsLst>
                <a:gs pos="0">
                  <a:schemeClr val="accent6"/>
                </a:gs>
                <a:gs pos="10000">
                  <a:srgbClr val="8C1E8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252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EEEEE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18911B6-73F5-B65A-B2D3-0A34309BD958}"/>
              </a:ext>
            </a:extLst>
          </p:cNvPr>
          <p:cNvGrpSpPr/>
          <p:nvPr userDrawn="1"/>
        </p:nvGrpSpPr>
        <p:grpSpPr>
          <a:xfrm>
            <a:off x="4501997" y="1454932"/>
            <a:ext cx="3520308" cy="4385814"/>
            <a:chOff x="4501997" y="1454932"/>
            <a:chExt cx="3520308" cy="4385814"/>
          </a:xfrm>
          <a:effectLst>
            <a:outerShdw blurRad="165100" dist="20483" dir="2700000" algn="tl" rotWithShape="0">
              <a:srgbClr val="4C1F82">
                <a:alpha val="50000"/>
              </a:srgbClr>
            </a:outerShdw>
          </a:effectLst>
        </p:grpSpPr>
        <p:sp>
          <p:nvSpPr>
            <p:cNvPr id="7" name="Forme libre : forme 4">
              <a:extLst>
                <a:ext uri="{FF2B5EF4-FFF2-40B4-BE49-F238E27FC236}">
                  <a16:creationId xmlns:a16="http://schemas.microsoft.com/office/drawing/2014/main" id="{3C5C8C65-B236-23A7-36C3-4079B80B782F}"/>
                </a:ext>
              </a:extLst>
            </p:cNvPr>
            <p:cNvSpPr/>
            <p:nvPr/>
          </p:nvSpPr>
          <p:spPr>
            <a:xfrm>
              <a:off x="5324535" y="5179092"/>
              <a:ext cx="22669" cy="18877"/>
            </a:xfrm>
            <a:custGeom>
              <a:avLst/>
              <a:gdLst>
                <a:gd name="connsiteX0" fmla="*/ 7782 w 8696"/>
                <a:gd name="connsiteY0" fmla="*/ 5039 h 7524"/>
                <a:gd name="connsiteX1" fmla="*/ 7048 w 8696"/>
                <a:gd name="connsiteY1" fmla="*/ 5277 h 7524"/>
                <a:gd name="connsiteX2" fmla="*/ 4591 w 8696"/>
                <a:gd name="connsiteY2" fmla="*/ 6753 h 7524"/>
                <a:gd name="connsiteX3" fmla="*/ 3191 w 8696"/>
                <a:gd name="connsiteY3" fmla="*/ 7268 h 7524"/>
                <a:gd name="connsiteX4" fmla="*/ 1914 w 8696"/>
                <a:gd name="connsiteY4" fmla="*/ 7525 h 7524"/>
                <a:gd name="connsiteX5" fmla="*/ 914 w 8696"/>
                <a:gd name="connsiteY5" fmla="*/ 7420 h 7524"/>
                <a:gd name="connsiteX6" fmla="*/ 362 w 8696"/>
                <a:gd name="connsiteY6" fmla="*/ 6553 h 7524"/>
                <a:gd name="connsiteX7" fmla="*/ 419 w 8696"/>
                <a:gd name="connsiteY7" fmla="*/ 5229 h 7524"/>
                <a:gd name="connsiteX8" fmla="*/ 190 w 8696"/>
                <a:gd name="connsiteY8" fmla="*/ 4048 h 7524"/>
                <a:gd name="connsiteX9" fmla="*/ 0 w 8696"/>
                <a:gd name="connsiteY9" fmla="*/ 3410 h 7524"/>
                <a:gd name="connsiteX10" fmla="*/ 362 w 8696"/>
                <a:gd name="connsiteY10" fmla="*/ 1686 h 7524"/>
                <a:gd name="connsiteX11" fmla="*/ 1181 w 8696"/>
                <a:gd name="connsiteY11" fmla="*/ 762 h 7524"/>
                <a:gd name="connsiteX12" fmla="*/ 2314 w 8696"/>
                <a:gd name="connsiteY12" fmla="*/ 0 h 7524"/>
                <a:gd name="connsiteX13" fmla="*/ 4105 w 8696"/>
                <a:gd name="connsiteY13" fmla="*/ 276 h 7524"/>
                <a:gd name="connsiteX14" fmla="*/ 7896 w 8696"/>
                <a:gd name="connsiteY14" fmla="*/ 1381 h 7524"/>
                <a:gd name="connsiteX15" fmla="*/ 8687 w 8696"/>
                <a:gd name="connsiteY15" fmla="*/ 2420 h 7524"/>
                <a:gd name="connsiteX16" fmla="*/ 8696 w 8696"/>
                <a:gd name="connsiteY16" fmla="*/ 3105 h 7524"/>
                <a:gd name="connsiteX17" fmla="*/ 8001 w 8696"/>
                <a:gd name="connsiteY17" fmla="*/ 4239 h 7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6" h="7524">
                  <a:moveTo>
                    <a:pt x="7782" y="5039"/>
                  </a:moveTo>
                  <a:lnTo>
                    <a:pt x="7048" y="5277"/>
                  </a:lnTo>
                  <a:lnTo>
                    <a:pt x="4591" y="6753"/>
                  </a:lnTo>
                  <a:lnTo>
                    <a:pt x="3191" y="7268"/>
                  </a:lnTo>
                  <a:lnTo>
                    <a:pt x="1914" y="7525"/>
                  </a:lnTo>
                  <a:lnTo>
                    <a:pt x="914" y="7420"/>
                  </a:lnTo>
                  <a:lnTo>
                    <a:pt x="362" y="6553"/>
                  </a:lnTo>
                  <a:lnTo>
                    <a:pt x="419" y="5229"/>
                  </a:lnTo>
                  <a:lnTo>
                    <a:pt x="190" y="4048"/>
                  </a:lnTo>
                  <a:lnTo>
                    <a:pt x="0" y="3410"/>
                  </a:lnTo>
                  <a:lnTo>
                    <a:pt x="362" y="1686"/>
                  </a:lnTo>
                  <a:lnTo>
                    <a:pt x="1181" y="762"/>
                  </a:lnTo>
                  <a:lnTo>
                    <a:pt x="2314" y="0"/>
                  </a:lnTo>
                  <a:lnTo>
                    <a:pt x="4105" y="276"/>
                  </a:lnTo>
                  <a:lnTo>
                    <a:pt x="7896" y="1381"/>
                  </a:lnTo>
                  <a:lnTo>
                    <a:pt x="8687" y="2420"/>
                  </a:lnTo>
                  <a:lnTo>
                    <a:pt x="8696" y="3105"/>
                  </a:lnTo>
                  <a:lnTo>
                    <a:pt x="8001" y="4239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0" name="Forme libre : forme 5">
              <a:extLst>
                <a:ext uri="{FF2B5EF4-FFF2-40B4-BE49-F238E27FC236}">
                  <a16:creationId xmlns:a16="http://schemas.microsoft.com/office/drawing/2014/main" id="{62A79A64-4A32-2C3D-87A7-02248EE6F6A6}"/>
                </a:ext>
              </a:extLst>
            </p:cNvPr>
            <p:cNvSpPr/>
            <p:nvPr/>
          </p:nvSpPr>
          <p:spPr>
            <a:xfrm>
              <a:off x="6569534" y="5178615"/>
              <a:ext cx="121965" cy="265746"/>
            </a:xfrm>
            <a:custGeom>
              <a:avLst/>
              <a:gdLst>
                <a:gd name="connsiteX0" fmla="*/ 20936 w 46787"/>
                <a:gd name="connsiteY0" fmla="*/ 3639 h 105927"/>
                <a:gd name="connsiteX1" fmla="*/ 21993 w 46787"/>
                <a:gd name="connsiteY1" fmla="*/ 4458 h 105927"/>
                <a:gd name="connsiteX2" fmla="*/ 24194 w 46787"/>
                <a:gd name="connsiteY2" fmla="*/ 8020 h 105927"/>
                <a:gd name="connsiteX3" fmla="*/ 25651 w 46787"/>
                <a:gd name="connsiteY3" fmla="*/ 11163 h 105927"/>
                <a:gd name="connsiteX4" fmla="*/ 28537 w 46787"/>
                <a:gd name="connsiteY4" fmla="*/ 12249 h 105927"/>
                <a:gd name="connsiteX5" fmla="*/ 30137 w 46787"/>
                <a:gd name="connsiteY5" fmla="*/ 13468 h 105927"/>
                <a:gd name="connsiteX6" fmla="*/ 32204 w 46787"/>
                <a:gd name="connsiteY6" fmla="*/ 15326 h 105927"/>
                <a:gd name="connsiteX7" fmla="*/ 33195 w 46787"/>
                <a:gd name="connsiteY7" fmla="*/ 17183 h 105927"/>
                <a:gd name="connsiteX8" fmla="*/ 34604 w 46787"/>
                <a:gd name="connsiteY8" fmla="*/ 22870 h 105927"/>
                <a:gd name="connsiteX9" fmla="*/ 34766 w 46787"/>
                <a:gd name="connsiteY9" fmla="*/ 26299 h 105927"/>
                <a:gd name="connsiteX10" fmla="*/ 34357 w 46787"/>
                <a:gd name="connsiteY10" fmla="*/ 27861 h 105927"/>
                <a:gd name="connsiteX11" fmla="*/ 34014 w 46787"/>
                <a:gd name="connsiteY11" fmla="*/ 28270 h 105927"/>
                <a:gd name="connsiteX12" fmla="*/ 32728 w 46787"/>
                <a:gd name="connsiteY12" fmla="*/ 33833 h 105927"/>
                <a:gd name="connsiteX13" fmla="*/ 33033 w 46787"/>
                <a:gd name="connsiteY13" fmla="*/ 36662 h 105927"/>
                <a:gd name="connsiteX14" fmla="*/ 33024 w 46787"/>
                <a:gd name="connsiteY14" fmla="*/ 38529 h 105927"/>
                <a:gd name="connsiteX15" fmla="*/ 31938 w 46787"/>
                <a:gd name="connsiteY15" fmla="*/ 39262 h 105927"/>
                <a:gd name="connsiteX16" fmla="*/ 31214 w 46787"/>
                <a:gd name="connsiteY16" fmla="*/ 40434 h 105927"/>
                <a:gd name="connsiteX17" fmla="*/ 32385 w 46787"/>
                <a:gd name="connsiteY17" fmla="*/ 45044 h 105927"/>
                <a:gd name="connsiteX18" fmla="*/ 32242 w 46787"/>
                <a:gd name="connsiteY18" fmla="*/ 47015 h 105927"/>
                <a:gd name="connsiteX19" fmla="*/ 32300 w 46787"/>
                <a:gd name="connsiteY19" fmla="*/ 49263 h 105927"/>
                <a:gd name="connsiteX20" fmla="*/ 34404 w 46787"/>
                <a:gd name="connsiteY20" fmla="*/ 54388 h 105927"/>
                <a:gd name="connsiteX21" fmla="*/ 35652 w 46787"/>
                <a:gd name="connsiteY21" fmla="*/ 55969 h 105927"/>
                <a:gd name="connsiteX22" fmla="*/ 36757 w 46787"/>
                <a:gd name="connsiteY22" fmla="*/ 56722 h 105927"/>
                <a:gd name="connsiteX23" fmla="*/ 38186 w 46787"/>
                <a:gd name="connsiteY23" fmla="*/ 61427 h 105927"/>
                <a:gd name="connsiteX24" fmla="*/ 39024 w 46787"/>
                <a:gd name="connsiteY24" fmla="*/ 62236 h 105927"/>
                <a:gd name="connsiteX25" fmla="*/ 42482 w 46787"/>
                <a:gd name="connsiteY25" fmla="*/ 61789 h 105927"/>
                <a:gd name="connsiteX26" fmla="*/ 44177 w 46787"/>
                <a:gd name="connsiteY26" fmla="*/ 62312 h 105927"/>
                <a:gd name="connsiteX27" fmla="*/ 44854 w 46787"/>
                <a:gd name="connsiteY27" fmla="*/ 63427 h 105927"/>
                <a:gd name="connsiteX28" fmla="*/ 45006 w 46787"/>
                <a:gd name="connsiteY28" fmla="*/ 64189 h 105927"/>
                <a:gd name="connsiteX29" fmla="*/ 44778 w 46787"/>
                <a:gd name="connsiteY29" fmla="*/ 66818 h 105927"/>
                <a:gd name="connsiteX30" fmla="*/ 45634 w 46787"/>
                <a:gd name="connsiteY30" fmla="*/ 68837 h 105927"/>
                <a:gd name="connsiteX31" fmla="*/ 46787 w 46787"/>
                <a:gd name="connsiteY31" fmla="*/ 70914 h 105927"/>
                <a:gd name="connsiteX32" fmla="*/ 46787 w 46787"/>
                <a:gd name="connsiteY32" fmla="*/ 72180 h 105927"/>
                <a:gd name="connsiteX33" fmla="*/ 46006 w 46787"/>
                <a:gd name="connsiteY33" fmla="*/ 74257 h 105927"/>
                <a:gd name="connsiteX34" fmla="*/ 44625 w 46787"/>
                <a:gd name="connsiteY34" fmla="*/ 76667 h 105927"/>
                <a:gd name="connsiteX35" fmla="*/ 42796 w 46787"/>
                <a:gd name="connsiteY35" fmla="*/ 77600 h 105927"/>
                <a:gd name="connsiteX36" fmla="*/ 40777 w 46787"/>
                <a:gd name="connsiteY36" fmla="*/ 78381 h 105927"/>
                <a:gd name="connsiteX37" fmla="*/ 39805 w 46787"/>
                <a:gd name="connsiteY37" fmla="*/ 80258 h 105927"/>
                <a:gd name="connsiteX38" fmla="*/ 39320 w 46787"/>
                <a:gd name="connsiteY38" fmla="*/ 82248 h 105927"/>
                <a:gd name="connsiteX39" fmla="*/ 38415 w 46787"/>
                <a:gd name="connsiteY39" fmla="*/ 83725 h 105927"/>
                <a:gd name="connsiteX40" fmla="*/ 37862 w 46787"/>
                <a:gd name="connsiteY40" fmla="*/ 85344 h 105927"/>
                <a:gd name="connsiteX41" fmla="*/ 36995 w 46787"/>
                <a:gd name="connsiteY41" fmla="*/ 88640 h 105927"/>
                <a:gd name="connsiteX42" fmla="*/ 36795 w 46787"/>
                <a:gd name="connsiteY42" fmla="*/ 89830 h 105927"/>
                <a:gd name="connsiteX43" fmla="*/ 35433 w 46787"/>
                <a:gd name="connsiteY43" fmla="*/ 91040 h 105927"/>
                <a:gd name="connsiteX44" fmla="*/ 33319 w 46787"/>
                <a:gd name="connsiteY44" fmla="*/ 91535 h 105927"/>
                <a:gd name="connsiteX45" fmla="*/ 31414 w 46787"/>
                <a:gd name="connsiteY45" fmla="*/ 91640 h 105927"/>
                <a:gd name="connsiteX46" fmla="*/ 30137 w 46787"/>
                <a:gd name="connsiteY46" fmla="*/ 92202 h 105927"/>
                <a:gd name="connsiteX47" fmla="*/ 29480 w 46787"/>
                <a:gd name="connsiteY47" fmla="*/ 93326 h 105927"/>
                <a:gd name="connsiteX48" fmla="*/ 28270 w 46787"/>
                <a:gd name="connsiteY48" fmla="*/ 94231 h 105927"/>
                <a:gd name="connsiteX49" fmla="*/ 27547 w 46787"/>
                <a:gd name="connsiteY49" fmla="*/ 94631 h 105927"/>
                <a:gd name="connsiteX50" fmla="*/ 27547 w 46787"/>
                <a:gd name="connsiteY50" fmla="*/ 95631 h 105927"/>
                <a:gd name="connsiteX51" fmla="*/ 28423 w 46787"/>
                <a:gd name="connsiteY51" fmla="*/ 97717 h 105927"/>
                <a:gd name="connsiteX52" fmla="*/ 29423 w 46787"/>
                <a:gd name="connsiteY52" fmla="*/ 99413 h 105927"/>
                <a:gd name="connsiteX53" fmla="*/ 29452 w 46787"/>
                <a:gd name="connsiteY53" fmla="*/ 100765 h 105927"/>
                <a:gd name="connsiteX54" fmla="*/ 28956 w 46787"/>
                <a:gd name="connsiteY54" fmla="*/ 101146 h 105927"/>
                <a:gd name="connsiteX55" fmla="*/ 27404 w 46787"/>
                <a:gd name="connsiteY55" fmla="*/ 100975 h 105927"/>
                <a:gd name="connsiteX56" fmla="*/ 27080 w 46787"/>
                <a:gd name="connsiteY56" fmla="*/ 101470 h 105927"/>
                <a:gd name="connsiteX57" fmla="*/ 26908 w 46787"/>
                <a:gd name="connsiteY57" fmla="*/ 102994 h 105927"/>
                <a:gd name="connsiteX58" fmla="*/ 26499 w 46787"/>
                <a:gd name="connsiteY58" fmla="*/ 104280 h 105927"/>
                <a:gd name="connsiteX59" fmla="*/ 25861 w 46787"/>
                <a:gd name="connsiteY59" fmla="*/ 105070 h 105927"/>
                <a:gd name="connsiteX60" fmla="*/ 24755 w 46787"/>
                <a:gd name="connsiteY60" fmla="*/ 105928 h 105927"/>
                <a:gd name="connsiteX61" fmla="*/ 22727 w 46787"/>
                <a:gd name="connsiteY61" fmla="*/ 105651 h 105927"/>
                <a:gd name="connsiteX62" fmla="*/ 20822 w 46787"/>
                <a:gd name="connsiteY62" fmla="*/ 104356 h 105927"/>
                <a:gd name="connsiteX63" fmla="*/ 19831 w 46787"/>
                <a:gd name="connsiteY63" fmla="*/ 103956 h 105927"/>
                <a:gd name="connsiteX64" fmla="*/ 19260 w 46787"/>
                <a:gd name="connsiteY64" fmla="*/ 103994 h 105927"/>
                <a:gd name="connsiteX65" fmla="*/ 19108 w 46787"/>
                <a:gd name="connsiteY65" fmla="*/ 100822 h 105927"/>
                <a:gd name="connsiteX66" fmla="*/ 18279 w 46787"/>
                <a:gd name="connsiteY66" fmla="*/ 98355 h 105927"/>
                <a:gd name="connsiteX67" fmla="*/ 15269 w 46787"/>
                <a:gd name="connsiteY67" fmla="*/ 92402 h 105927"/>
                <a:gd name="connsiteX68" fmla="*/ 5449 w 46787"/>
                <a:gd name="connsiteY68" fmla="*/ 86611 h 105927"/>
                <a:gd name="connsiteX69" fmla="*/ 3134 w 46787"/>
                <a:gd name="connsiteY69" fmla="*/ 84001 h 105927"/>
                <a:gd name="connsiteX70" fmla="*/ 2124 w 46787"/>
                <a:gd name="connsiteY70" fmla="*/ 81801 h 105927"/>
                <a:gd name="connsiteX71" fmla="*/ 1105 w 46787"/>
                <a:gd name="connsiteY71" fmla="*/ 79724 h 105927"/>
                <a:gd name="connsiteX72" fmla="*/ 2077 w 46787"/>
                <a:gd name="connsiteY72" fmla="*/ 79667 h 105927"/>
                <a:gd name="connsiteX73" fmla="*/ 3039 w 46787"/>
                <a:gd name="connsiteY73" fmla="*/ 80191 h 105927"/>
                <a:gd name="connsiteX74" fmla="*/ 4267 w 46787"/>
                <a:gd name="connsiteY74" fmla="*/ 80829 h 105927"/>
                <a:gd name="connsiteX75" fmla="*/ 4772 w 46787"/>
                <a:gd name="connsiteY75" fmla="*/ 79791 h 105927"/>
                <a:gd name="connsiteX76" fmla="*/ 4239 w 46787"/>
                <a:gd name="connsiteY76" fmla="*/ 77514 h 105927"/>
                <a:gd name="connsiteX77" fmla="*/ 1705 w 46787"/>
                <a:gd name="connsiteY77" fmla="*/ 72200 h 105927"/>
                <a:gd name="connsiteX78" fmla="*/ 1514 w 46787"/>
                <a:gd name="connsiteY78" fmla="*/ 70733 h 105927"/>
                <a:gd name="connsiteX79" fmla="*/ 2753 w 46787"/>
                <a:gd name="connsiteY79" fmla="*/ 66275 h 105927"/>
                <a:gd name="connsiteX80" fmla="*/ 4820 w 46787"/>
                <a:gd name="connsiteY80" fmla="*/ 61255 h 105927"/>
                <a:gd name="connsiteX81" fmla="*/ 4686 w 46787"/>
                <a:gd name="connsiteY81" fmla="*/ 55159 h 105927"/>
                <a:gd name="connsiteX82" fmla="*/ 5325 w 46787"/>
                <a:gd name="connsiteY82" fmla="*/ 50540 h 105927"/>
                <a:gd name="connsiteX83" fmla="*/ 4610 w 46787"/>
                <a:gd name="connsiteY83" fmla="*/ 47539 h 105927"/>
                <a:gd name="connsiteX84" fmla="*/ 4267 w 46787"/>
                <a:gd name="connsiteY84" fmla="*/ 43863 h 105927"/>
                <a:gd name="connsiteX85" fmla="*/ 5782 w 46787"/>
                <a:gd name="connsiteY85" fmla="*/ 38957 h 105927"/>
                <a:gd name="connsiteX86" fmla="*/ 7087 w 46787"/>
                <a:gd name="connsiteY86" fmla="*/ 37748 h 105927"/>
                <a:gd name="connsiteX87" fmla="*/ 7887 w 46787"/>
                <a:gd name="connsiteY87" fmla="*/ 36186 h 105927"/>
                <a:gd name="connsiteX88" fmla="*/ 7934 w 46787"/>
                <a:gd name="connsiteY88" fmla="*/ 30947 h 105927"/>
                <a:gd name="connsiteX89" fmla="*/ 5010 w 46787"/>
                <a:gd name="connsiteY89" fmla="*/ 28489 h 105927"/>
                <a:gd name="connsiteX90" fmla="*/ 1648 w 46787"/>
                <a:gd name="connsiteY90" fmla="*/ 28032 h 105927"/>
                <a:gd name="connsiteX91" fmla="*/ 1724 w 46787"/>
                <a:gd name="connsiteY91" fmla="*/ 26251 h 105927"/>
                <a:gd name="connsiteX92" fmla="*/ 2143 w 46787"/>
                <a:gd name="connsiteY92" fmla="*/ 23422 h 105927"/>
                <a:gd name="connsiteX93" fmla="*/ 1905 w 46787"/>
                <a:gd name="connsiteY93" fmla="*/ 22479 h 105927"/>
                <a:gd name="connsiteX94" fmla="*/ 2153 w 46787"/>
                <a:gd name="connsiteY94" fmla="*/ 20860 h 105927"/>
                <a:gd name="connsiteX95" fmla="*/ 1334 w 46787"/>
                <a:gd name="connsiteY95" fmla="*/ 18707 h 105927"/>
                <a:gd name="connsiteX96" fmla="*/ 0 w 46787"/>
                <a:gd name="connsiteY96" fmla="*/ 17145 h 105927"/>
                <a:gd name="connsiteX97" fmla="*/ 1286 w 46787"/>
                <a:gd name="connsiteY97" fmla="*/ 14392 h 105927"/>
                <a:gd name="connsiteX98" fmla="*/ 3172 w 46787"/>
                <a:gd name="connsiteY98" fmla="*/ 11049 h 105927"/>
                <a:gd name="connsiteX99" fmla="*/ 4925 w 46787"/>
                <a:gd name="connsiteY99" fmla="*/ 8401 h 105927"/>
                <a:gd name="connsiteX100" fmla="*/ 7049 w 46787"/>
                <a:gd name="connsiteY100" fmla="*/ 5639 h 105927"/>
                <a:gd name="connsiteX101" fmla="*/ 8468 w 46787"/>
                <a:gd name="connsiteY101" fmla="*/ 2991 h 105927"/>
                <a:gd name="connsiteX102" fmla="*/ 9983 w 46787"/>
                <a:gd name="connsiteY102" fmla="*/ 695 h 105927"/>
                <a:gd name="connsiteX103" fmla="*/ 11297 w 46787"/>
                <a:gd name="connsiteY103" fmla="*/ 0 h 105927"/>
                <a:gd name="connsiteX104" fmla="*/ 11945 w 46787"/>
                <a:gd name="connsiteY104" fmla="*/ 486 h 105927"/>
                <a:gd name="connsiteX105" fmla="*/ 12297 w 46787"/>
                <a:gd name="connsiteY105" fmla="*/ 1486 h 105927"/>
                <a:gd name="connsiteX106" fmla="*/ 12211 w 46787"/>
                <a:gd name="connsiteY106" fmla="*/ 4439 h 105927"/>
                <a:gd name="connsiteX107" fmla="*/ 12659 w 46787"/>
                <a:gd name="connsiteY107" fmla="*/ 5458 h 105927"/>
                <a:gd name="connsiteX108" fmla="*/ 13564 w 46787"/>
                <a:gd name="connsiteY108" fmla="*/ 6210 h 105927"/>
                <a:gd name="connsiteX109" fmla="*/ 15478 w 46787"/>
                <a:gd name="connsiteY109" fmla="*/ 5839 h 105927"/>
                <a:gd name="connsiteX110" fmla="*/ 17593 w 46787"/>
                <a:gd name="connsiteY110" fmla="*/ 5106 h 105927"/>
                <a:gd name="connsiteX111" fmla="*/ 20450 w 46787"/>
                <a:gd name="connsiteY111" fmla="*/ 3543 h 105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46787" h="105927">
                  <a:moveTo>
                    <a:pt x="20936" y="3639"/>
                  </a:moveTo>
                  <a:lnTo>
                    <a:pt x="21993" y="4458"/>
                  </a:lnTo>
                  <a:lnTo>
                    <a:pt x="24194" y="8020"/>
                  </a:lnTo>
                  <a:lnTo>
                    <a:pt x="25651" y="11163"/>
                  </a:lnTo>
                  <a:lnTo>
                    <a:pt x="28537" y="12249"/>
                  </a:lnTo>
                  <a:lnTo>
                    <a:pt x="30137" y="13468"/>
                  </a:lnTo>
                  <a:lnTo>
                    <a:pt x="32204" y="15326"/>
                  </a:lnTo>
                  <a:lnTo>
                    <a:pt x="33195" y="17183"/>
                  </a:lnTo>
                  <a:lnTo>
                    <a:pt x="34604" y="22870"/>
                  </a:lnTo>
                  <a:lnTo>
                    <a:pt x="34766" y="26299"/>
                  </a:lnTo>
                  <a:lnTo>
                    <a:pt x="34357" y="27861"/>
                  </a:lnTo>
                  <a:lnTo>
                    <a:pt x="34014" y="28270"/>
                  </a:lnTo>
                  <a:lnTo>
                    <a:pt x="32728" y="33833"/>
                  </a:lnTo>
                  <a:lnTo>
                    <a:pt x="33033" y="36662"/>
                  </a:lnTo>
                  <a:lnTo>
                    <a:pt x="33024" y="38529"/>
                  </a:lnTo>
                  <a:lnTo>
                    <a:pt x="31938" y="39262"/>
                  </a:lnTo>
                  <a:lnTo>
                    <a:pt x="31214" y="40434"/>
                  </a:lnTo>
                  <a:lnTo>
                    <a:pt x="32385" y="45044"/>
                  </a:lnTo>
                  <a:lnTo>
                    <a:pt x="32242" y="47015"/>
                  </a:lnTo>
                  <a:lnTo>
                    <a:pt x="32300" y="49263"/>
                  </a:lnTo>
                  <a:lnTo>
                    <a:pt x="34404" y="54388"/>
                  </a:lnTo>
                  <a:lnTo>
                    <a:pt x="35652" y="55969"/>
                  </a:lnTo>
                  <a:lnTo>
                    <a:pt x="36757" y="56722"/>
                  </a:lnTo>
                  <a:lnTo>
                    <a:pt x="38186" y="61427"/>
                  </a:lnTo>
                  <a:lnTo>
                    <a:pt x="39024" y="62236"/>
                  </a:lnTo>
                  <a:lnTo>
                    <a:pt x="42482" y="61789"/>
                  </a:lnTo>
                  <a:lnTo>
                    <a:pt x="44177" y="62312"/>
                  </a:lnTo>
                  <a:lnTo>
                    <a:pt x="44854" y="63427"/>
                  </a:lnTo>
                  <a:lnTo>
                    <a:pt x="45006" y="64189"/>
                  </a:lnTo>
                  <a:lnTo>
                    <a:pt x="44778" y="66818"/>
                  </a:lnTo>
                  <a:lnTo>
                    <a:pt x="45634" y="68837"/>
                  </a:lnTo>
                  <a:lnTo>
                    <a:pt x="46787" y="70914"/>
                  </a:lnTo>
                  <a:lnTo>
                    <a:pt x="46787" y="72180"/>
                  </a:lnTo>
                  <a:lnTo>
                    <a:pt x="46006" y="74257"/>
                  </a:lnTo>
                  <a:lnTo>
                    <a:pt x="44625" y="76667"/>
                  </a:lnTo>
                  <a:lnTo>
                    <a:pt x="42796" y="77600"/>
                  </a:lnTo>
                  <a:lnTo>
                    <a:pt x="40777" y="78381"/>
                  </a:lnTo>
                  <a:lnTo>
                    <a:pt x="39805" y="80258"/>
                  </a:lnTo>
                  <a:lnTo>
                    <a:pt x="39320" y="82248"/>
                  </a:lnTo>
                  <a:lnTo>
                    <a:pt x="38415" y="83725"/>
                  </a:lnTo>
                  <a:lnTo>
                    <a:pt x="37862" y="85344"/>
                  </a:lnTo>
                  <a:lnTo>
                    <a:pt x="36995" y="88640"/>
                  </a:lnTo>
                  <a:lnTo>
                    <a:pt x="36795" y="89830"/>
                  </a:lnTo>
                  <a:lnTo>
                    <a:pt x="35433" y="91040"/>
                  </a:lnTo>
                  <a:lnTo>
                    <a:pt x="33319" y="91535"/>
                  </a:lnTo>
                  <a:lnTo>
                    <a:pt x="31414" y="91640"/>
                  </a:lnTo>
                  <a:lnTo>
                    <a:pt x="30137" y="92202"/>
                  </a:lnTo>
                  <a:lnTo>
                    <a:pt x="29480" y="93326"/>
                  </a:lnTo>
                  <a:lnTo>
                    <a:pt x="28270" y="94231"/>
                  </a:lnTo>
                  <a:lnTo>
                    <a:pt x="27547" y="94631"/>
                  </a:lnTo>
                  <a:lnTo>
                    <a:pt x="27547" y="95631"/>
                  </a:lnTo>
                  <a:lnTo>
                    <a:pt x="28423" y="97717"/>
                  </a:lnTo>
                  <a:lnTo>
                    <a:pt x="29423" y="99413"/>
                  </a:lnTo>
                  <a:lnTo>
                    <a:pt x="29452" y="100765"/>
                  </a:lnTo>
                  <a:lnTo>
                    <a:pt x="28956" y="101146"/>
                  </a:lnTo>
                  <a:lnTo>
                    <a:pt x="27404" y="100975"/>
                  </a:lnTo>
                  <a:lnTo>
                    <a:pt x="27080" y="101470"/>
                  </a:lnTo>
                  <a:lnTo>
                    <a:pt x="26908" y="102994"/>
                  </a:lnTo>
                  <a:lnTo>
                    <a:pt x="26499" y="104280"/>
                  </a:lnTo>
                  <a:lnTo>
                    <a:pt x="25861" y="105070"/>
                  </a:lnTo>
                  <a:lnTo>
                    <a:pt x="24755" y="105928"/>
                  </a:lnTo>
                  <a:lnTo>
                    <a:pt x="22727" y="105651"/>
                  </a:lnTo>
                  <a:lnTo>
                    <a:pt x="20822" y="104356"/>
                  </a:lnTo>
                  <a:lnTo>
                    <a:pt x="19831" y="103956"/>
                  </a:lnTo>
                  <a:lnTo>
                    <a:pt x="19260" y="103994"/>
                  </a:lnTo>
                  <a:lnTo>
                    <a:pt x="19108" y="100822"/>
                  </a:lnTo>
                  <a:lnTo>
                    <a:pt x="18279" y="98355"/>
                  </a:lnTo>
                  <a:lnTo>
                    <a:pt x="15269" y="92402"/>
                  </a:lnTo>
                  <a:lnTo>
                    <a:pt x="5449" y="86611"/>
                  </a:lnTo>
                  <a:lnTo>
                    <a:pt x="3134" y="84001"/>
                  </a:lnTo>
                  <a:lnTo>
                    <a:pt x="2124" y="81801"/>
                  </a:lnTo>
                  <a:lnTo>
                    <a:pt x="1105" y="79724"/>
                  </a:lnTo>
                  <a:lnTo>
                    <a:pt x="2077" y="79667"/>
                  </a:lnTo>
                  <a:lnTo>
                    <a:pt x="3039" y="80191"/>
                  </a:lnTo>
                  <a:lnTo>
                    <a:pt x="4267" y="80829"/>
                  </a:lnTo>
                  <a:lnTo>
                    <a:pt x="4772" y="79791"/>
                  </a:lnTo>
                  <a:lnTo>
                    <a:pt x="4239" y="77514"/>
                  </a:lnTo>
                  <a:lnTo>
                    <a:pt x="1705" y="72200"/>
                  </a:lnTo>
                  <a:lnTo>
                    <a:pt x="1514" y="70733"/>
                  </a:lnTo>
                  <a:lnTo>
                    <a:pt x="2753" y="66275"/>
                  </a:lnTo>
                  <a:lnTo>
                    <a:pt x="4820" y="61255"/>
                  </a:lnTo>
                  <a:lnTo>
                    <a:pt x="4686" y="55159"/>
                  </a:lnTo>
                  <a:lnTo>
                    <a:pt x="5325" y="50540"/>
                  </a:lnTo>
                  <a:lnTo>
                    <a:pt x="4610" y="47539"/>
                  </a:lnTo>
                  <a:lnTo>
                    <a:pt x="4267" y="43863"/>
                  </a:lnTo>
                  <a:lnTo>
                    <a:pt x="5782" y="38957"/>
                  </a:lnTo>
                  <a:lnTo>
                    <a:pt x="7087" y="37748"/>
                  </a:lnTo>
                  <a:lnTo>
                    <a:pt x="7887" y="36186"/>
                  </a:lnTo>
                  <a:lnTo>
                    <a:pt x="7934" y="30947"/>
                  </a:lnTo>
                  <a:lnTo>
                    <a:pt x="5010" y="28489"/>
                  </a:lnTo>
                  <a:lnTo>
                    <a:pt x="1648" y="28032"/>
                  </a:lnTo>
                  <a:lnTo>
                    <a:pt x="1724" y="26251"/>
                  </a:lnTo>
                  <a:lnTo>
                    <a:pt x="2143" y="23422"/>
                  </a:lnTo>
                  <a:lnTo>
                    <a:pt x="1905" y="22479"/>
                  </a:lnTo>
                  <a:lnTo>
                    <a:pt x="2153" y="20860"/>
                  </a:lnTo>
                  <a:lnTo>
                    <a:pt x="1334" y="18707"/>
                  </a:lnTo>
                  <a:lnTo>
                    <a:pt x="0" y="17145"/>
                  </a:lnTo>
                  <a:lnTo>
                    <a:pt x="1286" y="14392"/>
                  </a:lnTo>
                  <a:lnTo>
                    <a:pt x="3172" y="11049"/>
                  </a:lnTo>
                  <a:lnTo>
                    <a:pt x="4925" y="8401"/>
                  </a:lnTo>
                  <a:lnTo>
                    <a:pt x="7049" y="5639"/>
                  </a:lnTo>
                  <a:lnTo>
                    <a:pt x="8468" y="2991"/>
                  </a:lnTo>
                  <a:lnTo>
                    <a:pt x="9983" y="695"/>
                  </a:lnTo>
                  <a:lnTo>
                    <a:pt x="11297" y="0"/>
                  </a:lnTo>
                  <a:lnTo>
                    <a:pt x="11945" y="486"/>
                  </a:lnTo>
                  <a:lnTo>
                    <a:pt x="12297" y="1486"/>
                  </a:lnTo>
                  <a:lnTo>
                    <a:pt x="12211" y="4439"/>
                  </a:lnTo>
                  <a:lnTo>
                    <a:pt x="12659" y="5458"/>
                  </a:lnTo>
                  <a:lnTo>
                    <a:pt x="13564" y="6210"/>
                  </a:lnTo>
                  <a:lnTo>
                    <a:pt x="15478" y="5839"/>
                  </a:lnTo>
                  <a:lnTo>
                    <a:pt x="17593" y="5106"/>
                  </a:lnTo>
                  <a:lnTo>
                    <a:pt x="20450" y="3543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2" name="Forme libre : forme 6">
              <a:extLst>
                <a:ext uri="{FF2B5EF4-FFF2-40B4-BE49-F238E27FC236}">
                  <a16:creationId xmlns:a16="http://schemas.microsoft.com/office/drawing/2014/main" id="{E8CF375C-69AF-2B2D-6DED-262C26F23984}"/>
                </a:ext>
              </a:extLst>
            </p:cNvPr>
            <p:cNvSpPr/>
            <p:nvPr/>
          </p:nvSpPr>
          <p:spPr>
            <a:xfrm>
              <a:off x="5889641" y="4568215"/>
              <a:ext cx="531209" cy="258504"/>
            </a:xfrm>
            <a:custGeom>
              <a:avLst/>
              <a:gdLst>
                <a:gd name="connsiteX0" fmla="*/ 198587 w 203777"/>
                <a:gd name="connsiteY0" fmla="*/ 16278 h 103041"/>
                <a:gd name="connsiteX1" fmla="*/ 198482 w 203777"/>
                <a:gd name="connsiteY1" fmla="*/ 16688 h 103041"/>
                <a:gd name="connsiteX2" fmla="*/ 198329 w 203777"/>
                <a:gd name="connsiteY2" fmla="*/ 18202 h 103041"/>
                <a:gd name="connsiteX3" fmla="*/ 197292 w 203777"/>
                <a:gd name="connsiteY3" fmla="*/ 20117 h 103041"/>
                <a:gd name="connsiteX4" fmla="*/ 196167 w 203777"/>
                <a:gd name="connsiteY4" fmla="*/ 22613 h 103041"/>
                <a:gd name="connsiteX5" fmla="*/ 196244 w 203777"/>
                <a:gd name="connsiteY5" fmla="*/ 24803 h 103041"/>
                <a:gd name="connsiteX6" fmla="*/ 199111 w 203777"/>
                <a:gd name="connsiteY6" fmla="*/ 32366 h 103041"/>
                <a:gd name="connsiteX7" fmla="*/ 201664 w 203777"/>
                <a:gd name="connsiteY7" fmla="*/ 36947 h 103041"/>
                <a:gd name="connsiteX8" fmla="*/ 202140 w 203777"/>
                <a:gd name="connsiteY8" fmla="*/ 38691 h 103041"/>
                <a:gd name="connsiteX9" fmla="*/ 203778 w 203777"/>
                <a:gd name="connsiteY9" fmla="*/ 40034 h 103041"/>
                <a:gd name="connsiteX10" fmla="*/ 202225 w 203777"/>
                <a:gd name="connsiteY10" fmla="*/ 41720 h 103041"/>
                <a:gd name="connsiteX11" fmla="*/ 201921 w 203777"/>
                <a:gd name="connsiteY11" fmla="*/ 44215 h 103041"/>
                <a:gd name="connsiteX12" fmla="*/ 200911 w 203777"/>
                <a:gd name="connsiteY12" fmla="*/ 45330 h 103041"/>
                <a:gd name="connsiteX13" fmla="*/ 200644 w 203777"/>
                <a:gd name="connsiteY13" fmla="*/ 46749 h 103041"/>
                <a:gd name="connsiteX14" fmla="*/ 201073 w 203777"/>
                <a:gd name="connsiteY14" fmla="*/ 48044 h 103041"/>
                <a:gd name="connsiteX15" fmla="*/ 201064 w 203777"/>
                <a:gd name="connsiteY15" fmla="*/ 49664 h 103041"/>
                <a:gd name="connsiteX16" fmla="*/ 201625 w 203777"/>
                <a:gd name="connsiteY16" fmla="*/ 51883 h 103041"/>
                <a:gd name="connsiteX17" fmla="*/ 199130 w 203777"/>
                <a:gd name="connsiteY17" fmla="*/ 52369 h 103041"/>
                <a:gd name="connsiteX18" fmla="*/ 196167 w 203777"/>
                <a:gd name="connsiteY18" fmla="*/ 52292 h 103041"/>
                <a:gd name="connsiteX19" fmla="*/ 195110 w 203777"/>
                <a:gd name="connsiteY19" fmla="*/ 52426 h 103041"/>
                <a:gd name="connsiteX20" fmla="*/ 194120 w 203777"/>
                <a:gd name="connsiteY20" fmla="*/ 53035 h 103041"/>
                <a:gd name="connsiteX21" fmla="*/ 193101 w 203777"/>
                <a:gd name="connsiteY21" fmla="*/ 52731 h 103041"/>
                <a:gd name="connsiteX22" fmla="*/ 190414 w 203777"/>
                <a:gd name="connsiteY22" fmla="*/ 50645 h 103041"/>
                <a:gd name="connsiteX23" fmla="*/ 188910 w 203777"/>
                <a:gd name="connsiteY23" fmla="*/ 50178 h 103041"/>
                <a:gd name="connsiteX24" fmla="*/ 187843 w 203777"/>
                <a:gd name="connsiteY24" fmla="*/ 50302 h 103041"/>
                <a:gd name="connsiteX25" fmla="*/ 187042 w 203777"/>
                <a:gd name="connsiteY25" fmla="*/ 51216 h 103041"/>
                <a:gd name="connsiteX26" fmla="*/ 185662 w 203777"/>
                <a:gd name="connsiteY26" fmla="*/ 52378 h 103041"/>
                <a:gd name="connsiteX27" fmla="*/ 184376 w 203777"/>
                <a:gd name="connsiteY27" fmla="*/ 53197 h 103041"/>
                <a:gd name="connsiteX28" fmla="*/ 184661 w 203777"/>
                <a:gd name="connsiteY28" fmla="*/ 53912 h 103041"/>
                <a:gd name="connsiteX29" fmla="*/ 190214 w 203777"/>
                <a:gd name="connsiteY29" fmla="*/ 55788 h 103041"/>
                <a:gd name="connsiteX30" fmla="*/ 191196 w 203777"/>
                <a:gd name="connsiteY30" fmla="*/ 58664 h 103041"/>
                <a:gd name="connsiteX31" fmla="*/ 190129 w 203777"/>
                <a:gd name="connsiteY31" fmla="*/ 61008 h 103041"/>
                <a:gd name="connsiteX32" fmla="*/ 189767 w 203777"/>
                <a:gd name="connsiteY32" fmla="*/ 62160 h 103041"/>
                <a:gd name="connsiteX33" fmla="*/ 188462 w 203777"/>
                <a:gd name="connsiteY33" fmla="*/ 63056 h 103041"/>
                <a:gd name="connsiteX34" fmla="*/ 186871 w 203777"/>
                <a:gd name="connsiteY34" fmla="*/ 63846 h 103041"/>
                <a:gd name="connsiteX35" fmla="*/ 184947 w 203777"/>
                <a:gd name="connsiteY35" fmla="*/ 64046 h 103041"/>
                <a:gd name="connsiteX36" fmla="*/ 184719 w 203777"/>
                <a:gd name="connsiteY36" fmla="*/ 65313 h 103041"/>
                <a:gd name="connsiteX37" fmla="*/ 185471 w 203777"/>
                <a:gd name="connsiteY37" fmla="*/ 69018 h 103041"/>
                <a:gd name="connsiteX38" fmla="*/ 184861 w 203777"/>
                <a:gd name="connsiteY38" fmla="*/ 69818 h 103041"/>
                <a:gd name="connsiteX39" fmla="*/ 184252 w 203777"/>
                <a:gd name="connsiteY39" fmla="*/ 70971 h 103041"/>
                <a:gd name="connsiteX40" fmla="*/ 184823 w 203777"/>
                <a:gd name="connsiteY40" fmla="*/ 74009 h 103041"/>
                <a:gd name="connsiteX41" fmla="*/ 186014 w 203777"/>
                <a:gd name="connsiteY41" fmla="*/ 74228 h 103041"/>
                <a:gd name="connsiteX42" fmla="*/ 186281 w 203777"/>
                <a:gd name="connsiteY42" fmla="*/ 74914 h 103041"/>
                <a:gd name="connsiteX43" fmla="*/ 186071 w 203777"/>
                <a:gd name="connsiteY43" fmla="*/ 76153 h 103041"/>
                <a:gd name="connsiteX44" fmla="*/ 185862 w 203777"/>
                <a:gd name="connsiteY44" fmla="*/ 77457 h 103041"/>
                <a:gd name="connsiteX45" fmla="*/ 185442 w 203777"/>
                <a:gd name="connsiteY45" fmla="*/ 78839 h 103041"/>
                <a:gd name="connsiteX46" fmla="*/ 185233 w 203777"/>
                <a:gd name="connsiteY46" fmla="*/ 79458 h 103041"/>
                <a:gd name="connsiteX47" fmla="*/ 184443 w 203777"/>
                <a:gd name="connsiteY47" fmla="*/ 79839 h 103041"/>
                <a:gd name="connsiteX48" fmla="*/ 181985 w 203777"/>
                <a:gd name="connsiteY48" fmla="*/ 79639 h 103041"/>
                <a:gd name="connsiteX49" fmla="*/ 179861 w 203777"/>
                <a:gd name="connsiteY49" fmla="*/ 80820 h 103041"/>
                <a:gd name="connsiteX50" fmla="*/ 175594 w 203777"/>
                <a:gd name="connsiteY50" fmla="*/ 85049 h 103041"/>
                <a:gd name="connsiteX51" fmla="*/ 174108 w 203777"/>
                <a:gd name="connsiteY51" fmla="*/ 85773 h 103041"/>
                <a:gd name="connsiteX52" fmla="*/ 172489 w 203777"/>
                <a:gd name="connsiteY52" fmla="*/ 87468 h 103041"/>
                <a:gd name="connsiteX53" fmla="*/ 172583 w 203777"/>
                <a:gd name="connsiteY53" fmla="*/ 91174 h 103041"/>
                <a:gd name="connsiteX54" fmla="*/ 172365 w 203777"/>
                <a:gd name="connsiteY54" fmla="*/ 91516 h 103041"/>
                <a:gd name="connsiteX55" fmla="*/ 171974 w 203777"/>
                <a:gd name="connsiteY55" fmla="*/ 92278 h 103041"/>
                <a:gd name="connsiteX56" fmla="*/ 166878 w 203777"/>
                <a:gd name="connsiteY56" fmla="*/ 90964 h 103041"/>
                <a:gd name="connsiteX57" fmla="*/ 166707 w 203777"/>
                <a:gd name="connsiteY57" fmla="*/ 90992 h 103041"/>
                <a:gd name="connsiteX58" fmla="*/ 163287 w 203777"/>
                <a:gd name="connsiteY58" fmla="*/ 91469 h 103041"/>
                <a:gd name="connsiteX59" fmla="*/ 160954 w 203777"/>
                <a:gd name="connsiteY59" fmla="*/ 93164 h 103041"/>
                <a:gd name="connsiteX60" fmla="*/ 158125 w 203777"/>
                <a:gd name="connsiteY60" fmla="*/ 94145 h 103041"/>
                <a:gd name="connsiteX61" fmla="*/ 152181 w 203777"/>
                <a:gd name="connsiteY61" fmla="*/ 93621 h 103041"/>
                <a:gd name="connsiteX62" fmla="*/ 146400 w 203777"/>
                <a:gd name="connsiteY62" fmla="*/ 94279 h 103041"/>
                <a:gd name="connsiteX63" fmla="*/ 145028 w 203777"/>
                <a:gd name="connsiteY63" fmla="*/ 94774 h 103041"/>
                <a:gd name="connsiteX64" fmla="*/ 143532 w 203777"/>
                <a:gd name="connsiteY64" fmla="*/ 95060 h 103041"/>
                <a:gd name="connsiteX65" fmla="*/ 142122 w 203777"/>
                <a:gd name="connsiteY65" fmla="*/ 96050 h 103041"/>
                <a:gd name="connsiteX66" fmla="*/ 141313 w 203777"/>
                <a:gd name="connsiteY66" fmla="*/ 97441 h 103041"/>
                <a:gd name="connsiteX67" fmla="*/ 139875 w 203777"/>
                <a:gd name="connsiteY67" fmla="*/ 99193 h 103041"/>
                <a:gd name="connsiteX68" fmla="*/ 137827 w 203777"/>
                <a:gd name="connsiteY68" fmla="*/ 100575 h 103041"/>
                <a:gd name="connsiteX69" fmla="*/ 135608 w 203777"/>
                <a:gd name="connsiteY69" fmla="*/ 101641 h 103041"/>
                <a:gd name="connsiteX70" fmla="*/ 135074 w 203777"/>
                <a:gd name="connsiteY70" fmla="*/ 102527 h 103041"/>
                <a:gd name="connsiteX71" fmla="*/ 134350 w 203777"/>
                <a:gd name="connsiteY71" fmla="*/ 103042 h 103041"/>
                <a:gd name="connsiteX72" fmla="*/ 133103 w 203777"/>
                <a:gd name="connsiteY72" fmla="*/ 102375 h 103041"/>
                <a:gd name="connsiteX73" fmla="*/ 132102 w 203777"/>
                <a:gd name="connsiteY73" fmla="*/ 102413 h 103041"/>
                <a:gd name="connsiteX74" fmla="*/ 130874 w 203777"/>
                <a:gd name="connsiteY74" fmla="*/ 101956 h 103041"/>
                <a:gd name="connsiteX75" fmla="*/ 126787 w 203777"/>
                <a:gd name="connsiteY75" fmla="*/ 101460 h 103041"/>
                <a:gd name="connsiteX76" fmla="*/ 122311 w 203777"/>
                <a:gd name="connsiteY76" fmla="*/ 100641 h 103041"/>
                <a:gd name="connsiteX77" fmla="*/ 120167 w 203777"/>
                <a:gd name="connsiteY77" fmla="*/ 99860 h 103041"/>
                <a:gd name="connsiteX78" fmla="*/ 117748 w 203777"/>
                <a:gd name="connsiteY78" fmla="*/ 99231 h 103041"/>
                <a:gd name="connsiteX79" fmla="*/ 115139 w 203777"/>
                <a:gd name="connsiteY79" fmla="*/ 98727 h 103041"/>
                <a:gd name="connsiteX80" fmla="*/ 112804 w 203777"/>
                <a:gd name="connsiteY80" fmla="*/ 98612 h 103041"/>
                <a:gd name="connsiteX81" fmla="*/ 111624 w 203777"/>
                <a:gd name="connsiteY81" fmla="*/ 98374 h 103041"/>
                <a:gd name="connsiteX82" fmla="*/ 106014 w 203777"/>
                <a:gd name="connsiteY82" fmla="*/ 97012 h 103041"/>
                <a:gd name="connsiteX83" fmla="*/ 102308 w 203777"/>
                <a:gd name="connsiteY83" fmla="*/ 96917 h 103041"/>
                <a:gd name="connsiteX84" fmla="*/ 97422 w 203777"/>
                <a:gd name="connsiteY84" fmla="*/ 96346 h 103041"/>
                <a:gd name="connsiteX85" fmla="*/ 87716 w 203777"/>
                <a:gd name="connsiteY85" fmla="*/ 94288 h 103041"/>
                <a:gd name="connsiteX86" fmla="*/ 84887 w 203777"/>
                <a:gd name="connsiteY86" fmla="*/ 93450 h 103041"/>
                <a:gd name="connsiteX87" fmla="*/ 82191 w 203777"/>
                <a:gd name="connsiteY87" fmla="*/ 93193 h 103041"/>
                <a:gd name="connsiteX88" fmla="*/ 78991 w 203777"/>
                <a:gd name="connsiteY88" fmla="*/ 92478 h 103041"/>
                <a:gd name="connsiteX89" fmla="*/ 76562 w 203777"/>
                <a:gd name="connsiteY89" fmla="*/ 91307 h 103041"/>
                <a:gd name="connsiteX90" fmla="*/ 75009 w 203777"/>
                <a:gd name="connsiteY90" fmla="*/ 89078 h 103041"/>
                <a:gd name="connsiteX91" fmla="*/ 73343 w 203777"/>
                <a:gd name="connsiteY91" fmla="*/ 86125 h 103041"/>
                <a:gd name="connsiteX92" fmla="*/ 70304 w 203777"/>
                <a:gd name="connsiteY92" fmla="*/ 82248 h 103041"/>
                <a:gd name="connsiteX93" fmla="*/ 69675 w 203777"/>
                <a:gd name="connsiteY93" fmla="*/ 80315 h 103041"/>
                <a:gd name="connsiteX94" fmla="*/ 70609 w 203777"/>
                <a:gd name="connsiteY94" fmla="*/ 78619 h 103041"/>
                <a:gd name="connsiteX95" fmla="*/ 71561 w 203777"/>
                <a:gd name="connsiteY95" fmla="*/ 77334 h 103041"/>
                <a:gd name="connsiteX96" fmla="*/ 71457 w 203777"/>
                <a:gd name="connsiteY96" fmla="*/ 76791 h 103041"/>
                <a:gd name="connsiteX97" fmla="*/ 70714 w 203777"/>
                <a:gd name="connsiteY97" fmla="*/ 76505 h 103041"/>
                <a:gd name="connsiteX98" fmla="*/ 65370 w 203777"/>
                <a:gd name="connsiteY98" fmla="*/ 78162 h 103041"/>
                <a:gd name="connsiteX99" fmla="*/ 60188 w 203777"/>
                <a:gd name="connsiteY99" fmla="*/ 80258 h 103041"/>
                <a:gd name="connsiteX100" fmla="*/ 58150 w 203777"/>
                <a:gd name="connsiteY100" fmla="*/ 80315 h 103041"/>
                <a:gd name="connsiteX101" fmla="*/ 56179 w 203777"/>
                <a:gd name="connsiteY101" fmla="*/ 79858 h 103041"/>
                <a:gd name="connsiteX102" fmla="*/ 53550 w 203777"/>
                <a:gd name="connsiteY102" fmla="*/ 79820 h 103041"/>
                <a:gd name="connsiteX103" fmla="*/ 51035 w 203777"/>
                <a:gd name="connsiteY103" fmla="*/ 80381 h 103041"/>
                <a:gd name="connsiteX104" fmla="*/ 45987 w 203777"/>
                <a:gd name="connsiteY104" fmla="*/ 80667 h 103041"/>
                <a:gd name="connsiteX105" fmla="*/ 43034 w 203777"/>
                <a:gd name="connsiteY105" fmla="*/ 82210 h 103041"/>
                <a:gd name="connsiteX106" fmla="*/ 41148 w 203777"/>
                <a:gd name="connsiteY106" fmla="*/ 85211 h 103041"/>
                <a:gd name="connsiteX107" fmla="*/ 40129 w 203777"/>
                <a:gd name="connsiteY107" fmla="*/ 87630 h 103041"/>
                <a:gd name="connsiteX108" fmla="*/ 39272 w 203777"/>
                <a:gd name="connsiteY108" fmla="*/ 88411 h 103041"/>
                <a:gd name="connsiteX109" fmla="*/ 37510 w 203777"/>
                <a:gd name="connsiteY109" fmla="*/ 88707 h 103041"/>
                <a:gd name="connsiteX110" fmla="*/ 34881 w 203777"/>
                <a:gd name="connsiteY110" fmla="*/ 88478 h 103041"/>
                <a:gd name="connsiteX111" fmla="*/ 33033 w 203777"/>
                <a:gd name="connsiteY111" fmla="*/ 87782 h 103041"/>
                <a:gd name="connsiteX112" fmla="*/ 31147 w 203777"/>
                <a:gd name="connsiteY112" fmla="*/ 85716 h 103041"/>
                <a:gd name="connsiteX113" fmla="*/ 28223 w 203777"/>
                <a:gd name="connsiteY113" fmla="*/ 85420 h 103041"/>
                <a:gd name="connsiteX114" fmla="*/ 25537 w 203777"/>
                <a:gd name="connsiteY114" fmla="*/ 85373 h 103041"/>
                <a:gd name="connsiteX115" fmla="*/ 24822 w 203777"/>
                <a:gd name="connsiteY115" fmla="*/ 84992 h 103041"/>
                <a:gd name="connsiteX116" fmla="*/ 24870 w 203777"/>
                <a:gd name="connsiteY116" fmla="*/ 83639 h 103041"/>
                <a:gd name="connsiteX117" fmla="*/ 23813 w 203777"/>
                <a:gd name="connsiteY117" fmla="*/ 81106 h 103041"/>
                <a:gd name="connsiteX118" fmla="*/ 22060 w 203777"/>
                <a:gd name="connsiteY118" fmla="*/ 80315 h 103041"/>
                <a:gd name="connsiteX119" fmla="*/ 17526 w 203777"/>
                <a:gd name="connsiteY119" fmla="*/ 85087 h 103041"/>
                <a:gd name="connsiteX120" fmla="*/ 16288 w 203777"/>
                <a:gd name="connsiteY120" fmla="*/ 85515 h 103041"/>
                <a:gd name="connsiteX121" fmla="*/ 12640 w 203777"/>
                <a:gd name="connsiteY121" fmla="*/ 84192 h 103041"/>
                <a:gd name="connsiteX122" fmla="*/ 9449 w 203777"/>
                <a:gd name="connsiteY122" fmla="*/ 82153 h 103041"/>
                <a:gd name="connsiteX123" fmla="*/ 9106 w 203777"/>
                <a:gd name="connsiteY123" fmla="*/ 80658 h 103041"/>
                <a:gd name="connsiteX124" fmla="*/ 8582 w 203777"/>
                <a:gd name="connsiteY124" fmla="*/ 79429 h 103041"/>
                <a:gd name="connsiteX125" fmla="*/ 5906 w 203777"/>
                <a:gd name="connsiteY125" fmla="*/ 78267 h 103041"/>
                <a:gd name="connsiteX126" fmla="*/ 2562 w 203777"/>
                <a:gd name="connsiteY126" fmla="*/ 77476 h 103041"/>
                <a:gd name="connsiteX127" fmla="*/ 1496 w 203777"/>
                <a:gd name="connsiteY127" fmla="*/ 77476 h 103041"/>
                <a:gd name="connsiteX128" fmla="*/ 1915 w 203777"/>
                <a:gd name="connsiteY128" fmla="*/ 76753 h 103041"/>
                <a:gd name="connsiteX129" fmla="*/ 2305 w 203777"/>
                <a:gd name="connsiteY129" fmla="*/ 75524 h 103041"/>
                <a:gd name="connsiteX130" fmla="*/ 2057 w 203777"/>
                <a:gd name="connsiteY130" fmla="*/ 74552 h 103041"/>
                <a:gd name="connsiteX131" fmla="*/ 1276 w 203777"/>
                <a:gd name="connsiteY131" fmla="*/ 73533 h 103041"/>
                <a:gd name="connsiteX132" fmla="*/ 848 w 203777"/>
                <a:gd name="connsiteY132" fmla="*/ 72457 h 103041"/>
                <a:gd name="connsiteX133" fmla="*/ 714 w 203777"/>
                <a:gd name="connsiteY133" fmla="*/ 71409 h 103041"/>
                <a:gd name="connsiteX134" fmla="*/ 476 w 203777"/>
                <a:gd name="connsiteY134" fmla="*/ 70552 h 103041"/>
                <a:gd name="connsiteX135" fmla="*/ 333 w 203777"/>
                <a:gd name="connsiteY135" fmla="*/ 69742 h 103041"/>
                <a:gd name="connsiteX136" fmla="*/ 86 w 203777"/>
                <a:gd name="connsiteY136" fmla="*/ 69114 h 103041"/>
                <a:gd name="connsiteX137" fmla="*/ 2267 w 203777"/>
                <a:gd name="connsiteY137" fmla="*/ 64351 h 103041"/>
                <a:gd name="connsiteX138" fmla="*/ 2715 w 203777"/>
                <a:gd name="connsiteY138" fmla="*/ 61389 h 103041"/>
                <a:gd name="connsiteX139" fmla="*/ 810 w 203777"/>
                <a:gd name="connsiteY139" fmla="*/ 59646 h 103041"/>
                <a:gd name="connsiteX140" fmla="*/ 0 w 203777"/>
                <a:gd name="connsiteY140" fmla="*/ 59131 h 103041"/>
                <a:gd name="connsiteX141" fmla="*/ 667 w 203777"/>
                <a:gd name="connsiteY141" fmla="*/ 58741 h 103041"/>
                <a:gd name="connsiteX142" fmla="*/ 3381 w 203777"/>
                <a:gd name="connsiteY142" fmla="*/ 59065 h 103041"/>
                <a:gd name="connsiteX143" fmla="*/ 5106 w 203777"/>
                <a:gd name="connsiteY143" fmla="*/ 58084 h 103041"/>
                <a:gd name="connsiteX144" fmla="*/ 6010 w 203777"/>
                <a:gd name="connsiteY144" fmla="*/ 57103 h 103041"/>
                <a:gd name="connsiteX145" fmla="*/ 8420 w 203777"/>
                <a:gd name="connsiteY145" fmla="*/ 58026 h 103041"/>
                <a:gd name="connsiteX146" fmla="*/ 11964 w 203777"/>
                <a:gd name="connsiteY146" fmla="*/ 59874 h 103041"/>
                <a:gd name="connsiteX147" fmla="*/ 13630 w 203777"/>
                <a:gd name="connsiteY147" fmla="*/ 61131 h 103041"/>
                <a:gd name="connsiteX148" fmla="*/ 14316 w 203777"/>
                <a:gd name="connsiteY148" fmla="*/ 62094 h 103041"/>
                <a:gd name="connsiteX149" fmla="*/ 14707 w 203777"/>
                <a:gd name="connsiteY149" fmla="*/ 62903 h 103041"/>
                <a:gd name="connsiteX150" fmla="*/ 14497 w 203777"/>
                <a:gd name="connsiteY150" fmla="*/ 64294 h 103041"/>
                <a:gd name="connsiteX151" fmla="*/ 15297 w 203777"/>
                <a:gd name="connsiteY151" fmla="*/ 64837 h 103041"/>
                <a:gd name="connsiteX152" fmla="*/ 16964 w 203777"/>
                <a:gd name="connsiteY152" fmla="*/ 65037 h 103041"/>
                <a:gd name="connsiteX153" fmla="*/ 18079 w 203777"/>
                <a:gd name="connsiteY153" fmla="*/ 65465 h 103041"/>
                <a:gd name="connsiteX154" fmla="*/ 17688 w 203777"/>
                <a:gd name="connsiteY154" fmla="*/ 67294 h 103041"/>
                <a:gd name="connsiteX155" fmla="*/ 17612 w 203777"/>
                <a:gd name="connsiteY155" fmla="*/ 68790 h 103041"/>
                <a:gd name="connsiteX156" fmla="*/ 19145 w 203777"/>
                <a:gd name="connsiteY156" fmla="*/ 68580 h 103041"/>
                <a:gd name="connsiteX157" fmla="*/ 21079 w 203777"/>
                <a:gd name="connsiteY157" fmla="*/ 67437 h 103041"/>
                <a:gd name="connsiteX158" fmla="*/ 22584 w 203777"/>
                <a:gd name="connsiteY158" fmla="*/ 65370 h 103041"/>
                <a:gd name="connsiteX159" fmla="*/ 23517 w 203777"/>
                <a:gd name="connsiteY159" fmla="*/ 63360 h 103041"/>
                <a:gd name="connsiteX160" fmla="*/ 24222 w 203777"/>
                <a:gd name="connsiteY160" fmla="*/ 58464 h 103041"/>
                <a:gd name="connsiteX161" fmla="*/ 24470 w 203777"/>
                <a:gd name="connsiteY161" fmla="*/ 58055 h 103041"/>
                <a:gd name="connsiteX162" fmla="*/ 25632 w 203777"/>
                <a:gd name="connsiteY162" fmla="*/ 58436 h 103041"/>
                <a:gd name="connsiteX163" fmla="*/ 30328 w 203777"/>
                <a:gd name="connsiteY163" fmla="*/ 58226 h 103041"/>
                <a:gd name="connsiteX164" fmla="*/ 32547 w 203777"/>
                <a:gd name="connsiteY164" fmla="*/ 59141 h 103041"/>
                <a:gd name="connsiteX165" fmla="*/ 36062 w 203777"/>
                <a:gd name="connsiteY165" fmla="*/ 59293 h 103041"/>
                <a:gd name="connsiteX166" fmla="*/ 35995 w 203777"/>
                <a:gd name="connsiteY166" fmla="*/ 60055 h 103041"/>
                <a:gd name="connsiteX167" fmla="*/ 36614 w 203777"/>
                <a:gd name="connsiteY167" fmla="*/ 61255 h 103041"/>
                <a:gd name="connsiteX168" fmla="*/ 38176 w 203777"/>
                <a:gd name="connsiteY168" fmla="*/ 62979 h 103041"/>
                <a:gd name="connsiteX169" fmla="*/ 38938 w 203777"/>
                <a:gd name="connsiteY169" fmla="*/ 64103 h 103041"/>
                <a:gd name="connsiteX170" fmla="*/ 40567 w 203777"/>
                <a:gd name="connsiteY170" fmla="*/ 64303 h 103041"/>
                <a:gd name="connsiteX171" fmla="*/ 43091 w 203777"/>
                <a:gd name="connsiteY171" fmla="*/ 63684 h 103041"/>
                <a:gd name="connsiteX172" fmla="*/ 44558 w 203777"/>
                <a:gd name="connsiteY172" fmla="*/ 63037 h 103041"/>
                <a:gd name="connsiteX173" fmla="*/ 45120 w 203777"/>
                <a:gd name="connsiteY173" fmla="*/ 63494 h 103041"/>
                <a:gd name="connsiteX174" fmla="*/ 47416 w 203777"/>
                <a:gd name="connsiteY174" fmla="*/ 63046 h 103041"/>
                <a:gd name="connsiteX175" fmla="*/ 49454 w 203777"/>
                <a:gd name="connsiteY175" fmla="*/ 61656 h 103041"/>
                <a:gd name="connsiteX176" fmla="*/ 49959 w 203777"/>
                <a:gd name="connsiteY176" fmla="*/ 60598 h 103041"/>
                <a:gd name="connsiteX177" fmla="*/ 52016 w 203777"/>
                <a:gd name="connsiteY177" fmla="*/ 59846 h 103041"/>
                <a:gd name="connsiteX178" fmla="*/ 54798 w 203777"/>
                <a:gd name="connsiteY178" fmla="*/ 58122 h 103041"/>
                <a:gd name="connsiteX179" fmla="*/ 58617 w 203777"/>
                <a:gd name="connsiteY179" fmla="*/ 56798 h 103041"/>
                <a:gd name="connsiteX180" fmla="*/ 71142 w 203777"/>
                <a:gd name="connsiteY180" fmla="*/ 55369 h 103041"/>
                <a:gd name="connsiteX181" fmla="*/ 71628 w 203777"/>
                <a:gd name="connsiteY181" fmla="*/ 54293 h 103041"/>
                <a:gd name="connsiteX182" fmla="*/ 71447 w 203777"/>
                <a:gd name="connsiteY182" fmla="*/ 51826 h 103041"/>
                <a:gd name="connsiteX183" fmla="*/ 71781 w 203777"/>
                <a:gd name="connsiteY183" fmla="*/ 51464 h 103041"/>
                <a:gd name="connsiteX184" fmla="*/ 73352 w 203777"/>
                <a:gd name="connsiteY184" fmla="*/ 52073 h 103041"/>
                <a:gd name="connsiteX185" fmla="*/ 75886 w 203777"/>
                <a:gd name="connsiteY185" fmla="*/ 52654 h 103041"/>
                <a:gd name="connsiteX186" fmla="*/ 77839 w 203777"/>
                <a:gd name="connsiteY186" fmla="*/ 53521 h 103041"/>
                <a:gd name="connsiteX187" fmla="*/ 79086 w 203777"/>
                <a:gd name="connsiteY187" fmla="*/ 54664 h 103041"/>
                <a:gd name="connsiteX188" fmla="*/ 80258 w 203777"/>
                <a:gd name="connsiteY188" fmla="*/ 54712 h 103041"/>
                <a:gd name="connsiteX189" fmla="*/ 82068 w 203777"/>
                <a:gd name="connsiteY189" fmla="*/ 53912 h 103041"/>
                <a:gd name="connsiteX190" fmla="*/ 84515 w 203777"/>
                <a:gd name="connsiteY190" fmla="*/ 53397 h 103041"/>
                <a:gd name="connsiteX191" fmla="*/ 86801 w 203777"/>
                <a:gd name="connsiteY191" fmla="*/ 54588 h 103041"/>
                <a:gd name="connsiteX192" fmla="*/ 87468 w 203777"/>
                <a:gd name="connsiteY192" fmla="*/ 55864 h 103041"/>
                <a:gd name="connsiteX193" fmla="*/ 87068 w 203777"/>
                <a:gd name="connsiteY193" fmla="*/ 56522 h 103041"/>
                <a:gd name="connsiteX194" fmla="*/ 87106 w 203777"/>
                <a:gd name="connsiteY194" fmla="*/ 57560 h 103041"/>
                <a:gd name="connsiteX195" fmla="*/ 87821 w 203777"/>
                <a:gd name="connsiteY195" fmla="*/ 58426 h 103041"/>
                <a:gd name="connsiteX196" fmla="*/ 89678 w 203777"/>
                <a:gd name="connsiteY196" fmla="*/ 59836 h 103041"/>
                <a:gd name="connsiteX197" fmla="*/ 92059 w 203777"/>
                <a:gd name="connsiteY197" fmla="*/ 61046 h 103041"/>
                <a:gd name="connsiteX198" fmla="*/ 93298 w 203777"/>
                <a:gd name="connsiteY198" fmla="*/ 60951 h 103041"/>
                <a:gd name="connsiteX199" fmla="*/ 93754 w 203777"/>
                <a:gd name="connsiteY199" fmla="*/ 59779 h 103041"/>
                <a:gd name="connsiteX200" fmla="*/ 94193 w 203777"/>
                <a:gd name="connsiteY200" fmla="*/ 56969 h 103041"/>
                <a:gd name="connsiteX201" fmla="*/ 94355 w 203777"/>
                <a:gd name="connsiteY201" fmla="*/ 53959 h 103041"/>
                <a:gd name="connsiteX202" fmla="*/ 93812 w 203777"/>
                <a:gd name="connsiteY202" fmla="*/ 52235 h 103041"/>
                <a:gd name="connsiteX203" fmla="*/ 92526 w 203777"/>
                <a:gd name="connsiteY203" fmla="*/ 51816 h 103041"/>
                <a:gd name="connsiteX204" fmla="*/ 90992 w 203777"/>
                <a:gd name="connsiteY204" fmla="*/ 51673 h 103041"/>
                <a:gd name="connsiteX205" fmla="*/ 90173 w 203777"/>
                <a:gd name="connsiteY205" fmla="*/ 51311 h 103041"/>
                <a:gd name="connsiteX206" fmla="*/ 90469 w 203777"/>
                <a:gd name="connsiteY206" fmla="*/ 50368 h 103041"/>
                <a:gd name="connsiteX207" fmla="*/ 91688 w 203777"/>
                <a:gd name="connsiteY207" fmla="*/ 47911 h 103041"/>
                <a:gd name="connsiteX208" fmla="*/ 91678 w 203777"/>
                <a:gd name="connsiteY208" fmla="*/ 44625 h 103041"/>
                <a:gd name="connsiteX209" fmla="*/ 88906 w 203777"/>
                <a:gd name="connsiteY209" fmla="*/ 40872 h 103041"/>
                <a:gd name="connsiteX210" fmla="*/ 86497 w 203777"/>
                <a:gd name="connsiteY210" fmla="*/ 37243 h 103041"/>
                <a:gd name="connsiteX211" fmla="*/ 86506 w 203777"/>
                <a:gd name="connsiteY211" fmla="*/ 36004 h 103041"/>
                <a:gd name="connsiteX212" fmla="*/ 87954 w 203777"/>
                <a:gd name="connsiteY212" fmla="*/ 33852 h 103041"/>
                <a:gd name="connsiteX213" fmla="*/ 90173 w 203777"/>
                <a:gd name="connsiteY213" fmla="*/ 32138 h 103041"/>
                <a:gd name="connsiteX214" fmla="*/ 95117 w 203777"/>
                <a:gd name="connsiteY214" fmla="*/ 29280 h 103041"/>
                <a:gd name="connsiteX215" fmla="*/ 96669 w 203777"/>
                <a:gd name="connsiteY215" fmla="*/ 28690 h 103041"/>
                <a:gd name="connsiteX216" fmla="*/ 98670 w 203777"/>
                <a:gd name="connsiteY216" fmla="*/ 28213 h 103041"/>
                <a:gd name="connsiteX217" fmla="*/ 101546 w 203777"/>
                <a:gd name="connsiteY217" fmla="*/ 27032 h 103041"/>
                <a:gd name="connsiteX218" fmla="*/ 102927 w 203777"/>
                <a:gd name="connsiteY218" fmla="*/ 25822 h 103041"/>
                <a:gd name="connsiteX219" fmla="*/ 103861 w 203777"/>
                <a:gd name="connsiteY219" fmla="*/ 24508 h 103041"/>
                <a:gd name="connsiteX220" fmla="*/ 105213 w 203777"/>
                <a:gd name="connsiteY220" fmla="*/ 17659 h 103041"/>
                <a:gd name="connsiteX221" fmla="*/ 105528 w 203777"/>
                <a:gd name="connsiteY221" fmla="*/ 17364 h 103041"/>
                <a:gd name="connsiteX222" fmla="*/ 105928 w 203777"/>
                <a:gd name="connsiteY222" fmla="*/ 16964 h 103041"/>
                <a:gd name="connsiteX223" fmla="*/ 110966 w 203777"/>
                <a:gd name="connsiteY223" fmla="*/ 19336 h 103041"/>
                <a:gd name="connsiteX224" fmla="*/ 111414 w 203777"/>
                <a:gd name="connsiteY224" fmla="*/ 18936 h 103041"/>
                <a:gd name="connsiteX225" fmla="*/ 112271 w 203777"/>
                <a:gd name="connsiteY225" fmla="*/ 18555 h 103041"/>
                <a:gd name="connsiteX226" fmla="*/ 113910 w 203777"/>
                <a:gd name="connsiteY226" fmla="*/ 16736 h 103041"/>
                <a:gd name="connsiteX227" fmla="*/ 114272 w 203777"/>
                <a:gd name="connsiteY227" fmla="*/ 15364 h 103041"/>
                <a:gd name="connsiteX228" fmla="*/ 114233 w 203777"/>
                <a:gd name="connsiteY228" fmla="*/ 12745 h 103041"/>
                <a:gd name="connsiteX229" fmla="*/ 114386 w 203777"/>
                <a:gd name="connsiteY229" fmla="*/ 10278 h 103041"/>
                <a:gd name="connsiteX230" fmla="*/ 114700 w 203777"/>
                <a:gd name="connsiteY230" fmla="*/ 9487 h 103041"/>
                <a:gd name="connsiteX231" fmla="*/ 115453 w 203777"/>
                <a:gd name="connsiteY231" fmla="*/ 9782 h 103041"/>
                <a:gd name="connsiteX232" fmla="*/ 117625 w 203777"/>
                <a:gd name="connsiteY232" fmla="*/ 11059 h 103041"/>
                <a:gd name="connsiteX233" fmla="*/ 119348 w 203777"/>
                <a:gd name="connsiteY233" fmla="*/ 12507 h 103041"/>
                <a:gd name="connsiteX234" fmla="*/ 120958 w 203777"/>
                <a:gd name="connsiteY234" fmla="*/ 16135 h 103041"/>
                <a:gd name="connsiteX235" fmla="*/ 124721 w 203777"/>
                <a:gd name="connsiteY235" fmla="*/ 17098 h 103041"/>
                <a:gd name="connsiteX236" fmla="*/ 129473 w 203777"/>
                <a:gd name="connsiteY236" fmla="*/ 17193 h 103041"/>
                <a:gd name="connsiteX237" fmla="*/ 131169 w 203777"/>
                <a:gd name="connsiteY237" fmla="*/ 15573 h 103041"/>
                <a:gd name="connsiteX238" fmla="*/ 132712 w 203777"/>
                <a:gd name="connsiteY238" fmla="*/ 15202 h 103041"/>
                <a:gd name="connsiteX239" fmla="*/ 134455 w 203777"/>
                <a:gd name="connsiteY239" fmla="*/ 15697 h 103041"/>
                <a:gd name="connsiteX240" fmla="*/ 138132 w 203777"/>
                <a:gd name="connsiteY240" fmla="*/ 16259 h 103041"/>
                <a:gd name="connsiteX241" fmla="*/ 138541 w 203777"/>
                <a:gd name="connsiteY241" fmla="*/ 13335 h 103041"/>
                <a:gd name="connsiteX242" fmla="*/ 140656 w 203777"/>
                <a:gd name="connsiteY242" fmla="*/ 10278 h 103041"/>
                <a:gd name="connsiteX243" fmla="*/ 141618 w 203777"/>
                <a:gd name="connsiteY243" fmla="*/ 9211 h 103041"/>
                <a:gd name="connsiteX244" fmla="*/ 144314 w 203777"/>
                <a:gd name="connsiteY244" fmla="*/ 9315 h 103041"/>
                <a:gd name="connsiteX245" fmla="*/ 144971 w 203777"/>
                <a:gd name="connsiteY245" fmla="*/ 7030 h 103041"/>
                <a:gd name="connsiteX246" fmla="*/ 145637 w 203777"/>
                <a:gd name="connsiteY246" fmla="*/ 695 h 103041"/>
                <a:gd name="connsiteX247" fmla="*/ 146200 w 203777"/>
                <a:gd name="connsiteY247" fmla="*/ 0 h 103041"/>
                <a:gd name="connsiteX248" fmla="*/ 148162 w 203777"/>
                <a:gd name="connsiteY248" fmla="*/ 133 h 103041"/>
                <a:gd name="connsiteX249" fmla="*/ 150114 w 203777"/>
                <a:gd name="connsiteY249" fmla="*/ 1286 h 103041"/>
                <a:gd name="connsiteX250" fmla="*/ 150695 w 203777"/>
                <a:gd name="connsiteY250" fmla="*/ 2229 h 103041"/>
                <a:gd name="connsiteX251" fmla="*/ 151714 w 203777"/>
                <a:gd name="connsiteY251" fmla="*/ 2153 h 103041"/>
                <a:gd name="connsiteX252" fmla="*/ 153133 w 203777"/>
                <a:gd name="connsiteY252" fmla="*/ 1505 h 103041"/>
                <a:gd name="connsiteX253" fmla="*/ 154686 w 203777"/>
                <a:gd name="connsiteY253" fmla="*/ 1096 h 103041"/>
                <a:gd name="connsiteX254" fmla="*/ 157153 w 203777"/>
                <a:gd name="connsiteY254" fmla="*/ 1772 h 103041"/>
                <a:gd name="connsiteX255" fmla="*/ 162401 w 203777"/>
                <a:gd name="connsiteY255" fmla="*/ 4648 h 103041"/>
                <a:gd name="connsiteX256" fmla="*/ 165116 w 203777"/>
                <a:gd name="connsiteY256" fmla="*/ 5705 h 103041"/>
                <a:gd name="connsiteX257" fmla="*/ 166830 w 203777"/>
                <a:gd name="connsiteY257" fmla="*/ 5505 h 103041"/>
                <a:gd name="connsiteX258" fmla="*/ 168440 w 203777"/>
                <a:gd name="connsiteY258" fmla="*/ 5544 h 103041"/>
                <a:gd name="connsiteX259" fmla="*/ 174641 w 203777"/>
                <a:gd name="connsiteY259" fmla="*/ 9982 h 103041"/>
                <a:gd name="connsiteX260" fmla="*/ 178975 w 203777"/>
                <a:gd name="connsiteY260" fmla="*/ 10601 h 103041"/>
                <a:gd name="connsiteX261" fmla="*/ 182928 w 203777"/>
                <a:gd name="connsiteY261" fmla="*/ 10621 h 103041"/>
                <a:gd name="connsiteX262" fmla="*/ 184204 w 203777"/>
                <a:gd name="connsiteY262" fmla="*/ 9287 h 103041"/>
                <a:gd name="connsiteX263" fmla="*/ 185880 w 203777"/>
                <a:gd name="connsiteY263" fmla="*/ 8154 h 103041"/>
                <a:gd name="connsiteX264" fmla="*/ 187643 w 203777"/>
                <a:gd name="connsiteY264" fmla="*/ 8306 h 103041"/>
                <a:gd name="connsiteX265" fmla="*/ 189176 w 203777"/>
                <a:gd name="connsiteY265" fmla="*/ 8887 h 103041"/>
                <a:gd name="connsiteX266" fmla="*/ 192167 w 203777"/>
                <a:gd name="connsiteY266" fmla="*/ 10811 h 103041"/>
                <a:gd name="connsiteX267" fmla="*/ 193548 w 203777"/>
                <a:gd name="connsiteY267" fmla="*/ 11306 h 103041"/>
                <a:gd name="connsiteX268" fmla="*/ 195387 w 203777"/>
                <a:gd name="connsiteY268" fmla="*/ 11621 h 103041"/>
                <a:gd name="connsiteX269" fmla="*/ 196730 w 203777"/>
                <a:gd name="connsiteY269" fmla="*/ 12049 h 103041"/>
                <a:gd name="connsiteX270" fmla="*/ 197920 w 203777"/>
                <a:gd name="connsiteY270" fmla="*/ 15383 h 10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</a:cxnLst>
              <a:rect l="l" t="t" r="r" b="b"/>
              <a:pathLst>
                <a:path w="203777" h="103041">
                  <a:moveTo>
                    <a:pt x="198587" y="16278"/>
                  </a:moveTo>
                  <a:lnTo>
                    <a:pt x="198482" y="16688"/>
                  </a:lnTo>
                  <a:lnTo>
                    <a:pt x="198329" y="18202"/>
                  </a:lnTo>
                  <a:lnTo>
                    <a:pt x="197292" y="20117"/>
                  </a:lnTo>
                  <a:lnTo>
                    <a:pt x="196167" y="22613"/>
                  </a:lnTo>
                  <a:lnTo>
                    <a:pt x="196244" y="24803"/>
                  </a:lnTo>
                  <a:lnTo>
                    <a:pt x="199111" y="32366"/>
                  </a:lnTo>
                  <a:lnTo>
                    <a:pt x="201664" y="36947"/>
                  </a:lnTo>
                  <a:lnTo>
                    <a:pt x="202140" y="38691"/>
                  </a:lnTo>
                  <a:lnTo>
                    <a:pt x="203778" y="40034"/>
                  </a:lnTo>
                  <a:lnTo>
                    <a:pt x="202225" y="41720"/>
                  </a:lnTo>
                  <a:lnTo>
                    <a:pt x="201921" y="44215"/>
                  </a:lnTo>
                  <a:lnTo>
                    <a:pt x="200911" y="45330"/>
                  </a:lnTo>
                  <a:lnTo>
                    <a:pt x="200644" y="46749"/>
                  </a:lnTo>
                  <a:lnTo>
                    <a:pt x="201073" y="48044"/>
                  </a:lnTo>
                  <a:lnTo>
                    <a:pt x="201064" y="49664"/>
                  </a:lnTo>
                  <a:lnTo>
                    <a:pt x="201625" y="51883"/>
                  </a:lnTo>
                  <a:lnTo>
                    <a:pt x="199130" y="52369"/>
                  </a:lnTo>
                  <a:lnTo>
                    <a:pt x="196167" y="52292"/>
                  </a:lnTo>
                  <a:lnTo>
                    <a:pt x="195110" y="52426"/>
                  </a:lnTo>
                  <a:lnTo>
                    <a:pt x="194120" y="53035"/>
                  </a:lnTo>
                  <a:lnTo>
                    <a:pt x="193101" y="52731"/>
                  </a:lnTo>
                  <a:lnTo>
                    <a:pt x="190414" y="50645"/>
                  </a:lnTo>
                  <a:lnTo>
                    <a:pt x="188910" y="50178"/>
                  </a:lnTo>
                  <a:lnTo>
                    <a:pt x="187843" y="50302"/>
                  </a:lnTo>
                  <a:lnTo>
                    <a:pt x="187042" y="51216"/>
                  </a:lnTo>
                  <a:lnTo>
                    <a:pt x="185662" y="52378"/>
                  </a:lnTo>
                  <a:lnTo>
                    <a:pt x="184376" y="53197"/>
                  </a:lnTo>
                  <a:lnTo>
                    <a:pt x="184661" y="53912"/>
                  </a:lnTo>
                  <a:lnTo>
                    <a:pt x="190214" y="55788"/>
                  </a:lnTo>
                  <a:lnTo>
                    <a:pt x="191196" y="58664"/>
                  </a:lnTo>
                  <a:lnTo>
                    <a:pt x="190129" y="61008"/>
                  </a:lnTo>
                  <a:lnTo>
                    <a:pt x="189767" y="62160"/>
                  </a:lnTo>
                  <a:lnTo>
                    <a:pt x="188462" y="63056"/>
                  </a:lnTo>
                  <a:lnTo>
                    <a:pt x="186871" y="63846"/>
                  </a:lnTo>
                  <a:lnTo>
                    <a:pt x="184947" y="64046"/>
                  </a:lnTo>
                  <a:lnTo>
                    <a:pt x="184719" y="65313"/>
                  </a:lnTo>
                  <a:lnTo>
                    <a:pt x="185471" y="69018"/>
                  </a:lnTo>
                  <a:lnTo>
                    <a:pt x="184861" y="69818"/>
                  </a:lnTo>
                  <a:lnTo>
                    <a:pt x="184252" y="70971"/>
                  </a:lnTo>
                  <a:lnTo>
                    <a:pt x="184823" y="74009"/>
                  </a:lnTo>
                  <a:lnTo>
                    <a:pt x="186014" y="74228"/>
                  </a:lnTo>
                  <a:lnTo>
                    <a:pt x="186281" y="74914"/>
                  </a:lnTo>
                  <a:lnTo>
                    <a:pt x="186071" y="76153"/>
                  </a:lnTo>
                  <a:lnTo>
                    <a:pt x="185862" y="77457"/>
                  </a:lnTo>
                  <a:lnTo>
                    <a:pt x="185442" y="78839"/>
                  </a:lnTo>
                  <a:lnTo>
                    <a:pt x="185233" y="79458"/>
                  </a:lnTo>
                  <a:lnTo>
                    <a:pt x="184443" y="79839"/>
                  </a:lnTo>
                  <a:lnTo>
                    <a:pt x="181985" y="79639"/>
                  </a:lnTo>
                  <a:lnTo>
                    <a:pt x="179861" y="80820"/>
                  </a:lnTo>
                  <a:lnTo>
                    <a:pt x="175594" y="85049"/>
                  </a:lnTo>
                  <a:lnTo>
                    <a:pt x="174108" y="85773"/>
                  </a:lnTo>
                  <a:lnTo>
                    <a:pt x="172489" y="87468"/>
                  </a:lnTo>
                  <a:lnTo>
                    <a:pt x="172583" y="91174"/>
                  </a:lnTo>
                  <a:lnTo>
                    <a:pt x="172365" y="91516"/>
                  </a:lnTo>
                  <a:lnTo>
                    <a:pt x="171974" y="92278"/>
                  </a:lnTo>
                  <a:lnTo>
                    <a:pt x="166878" y="90964"/>
                  </a:lnTo>
                  <a:lnTo>
                    <a:pt x="166707" y="90992"/>
                  </a:lnTo>
                  <a:lnTo>
                    <a:pt x="163287" y="91469"/>
                  </a:lnTo>
                  <a:lnTo>
                    <a:pt x="160954" y="93164"/>
                  </a:lnTo>
                  <a:lnTo>
                    <a:pt x="158125" y="94145"/>
                  </a:lnTo>
                  <a:lnTo>
                    <a:pt x="152181" y="93621"/>
                  </a:lnTo>
                  <a:lnTo>
                    <a:pt x="146400" y="94279"/>
                  </a:lnTo>
                  <a:lnTo>
                    <a:pt x="145028" y="94774"/>
                  </a:lnTo>
                  <a:lnTo>
                    <a:pt x="143532" y="95060"/>
                  </a:lnTo>
                  <a:lnTo>
                    <a:pt x="142122" y="96050"/>
                  </a:lnTo>
                  <a:lnTo>
                    <a:pt x="141313" y="97441"/>
                  </a:lnTo>
                  <a:lnTo>
                    <a:pt x="139875" y="99193"/>
                  </a:lnTo>
                  <a:lnTo>
                    <a:pt x="137827" y="100575"/>
                  </a:lnTo>
                  <a:lnTo>
                    <a:pt x="135608" y="101641"/>
                  </a:lnTo>
                  <a:lnTo>
                    <a:pt x="135074" y="102527"/>
                  </a:lnTo>
                  <a:lnTo>
                    <a:pt x="134350" y="103042"/>
                  </a:lnTo>
                  <a:lnTo>
                    <a:pt x="133103" y="102375"/>
                  </a:lnTo>
                  <a:lnTo>
                    <a:pt x="132102" y="102413"/>
                  </a:lnTo>
                  <a:lnTo>
                    <a:pt x="130874" y="101956"/>
                  </a:lnTo>
                  <a:lnTo>
                    <a:pt x="126787" y="101460"/>
                  </a:lnTo>
                  <a:lnTo>
                    <a:pt x="122311" y="100641"/>
                  </a:lnTo>
                  <a:lnTo>
                    <a:pt x="120167" y="99860"/>
                  </a:lnTo>
                  <a:lnTo>
                    <a:pt x="117748" y="99231"/>
                  </a:lnTo>
                  <a:lnTo>
                    <a:pt x="115139" y="98727"/>
                  </a:lnTo>
                  <a:lnTo>
                    <a:pt x="112804" y="98612"/>
                  </a:lnTo>
                  <a:lnTo>
                    <a:pt x="111624" y="98374"/>
                  </a:lnTo>
                  <a:lnTo>
                    <a:pt x="106014" y="97012"/>
                  </a:lnTo>
                  <a:lnTo>
                    <a:pt x="102308" y="96917"/>
                  </a:lnTo>
                  <a:lnTo>
                    <a:pt x="97422" y="96346"/>
                  </a:lnTo>
                  <a:lnTo>
                    <a:pt x="87716" y="94288"/>
                  </a:lnTo>
                  <a:lnTo>
                    <a:pt x="84887" y="93450"/>
                  </a:lnTo>
                  <a:lnTo>
                    <a:pt x="82191" y="93193"/>
                  </a:lnTo>
                  <a:lnTo>
                    <a:pt x="78991" y="92478"/>
                  </a:lnTo>
                  <a:lnTo>
                    <a:pt x="76562" y="91307"/>
                  </a:lnTo>
                  <a:lnTo>
                    <a:pt x="75009" y="89078"/>
                  </a:lnTo>
                  <a:lnTo>
                    <a:pt x="73343" y="86125"/>
                  </a:lnTo>
                  <a:lnTo>
                    <a:pt x="70304" y="82248"/>
                  </a:lnTo>
                  <a:lnTo>
                    <a:pt x="69675" y="80315"/>
                  </a:lnTo>
                  <a:lnTo>
                    <a:pt x="70609" y="78619"/>
                  </a:lnTo>
                  <a:lnTo>
                    <a:pt x="71561" y="77334"/>
                  </a:lnTo>
                  <a:lnTo>
                    <a:pt x="71457" y="76791"/>
                  </a:lnTo>
                  <a:lnTo>
                    <a:pt x="70714" y="76505"/>
                  </a:lnTo>
                  <a:lnTo>
                    <a:pt x="65370" y="78162"/>
                  </a:lnTo>
                  <a:lnTo>
                    <a:pt x="60188" y="80258"/>
                  </a:lnTo>
                  <a:lnTo>
                    <a:pt x="58150" y="80315"/>
                  </a:lnTo>
                  <a:lnTo>
                    <a:pt x="56179" y="79858"/>
                  </a:lnTo>
                  <a:lnTo>
                    <a:pt x="53550" y="79820"/>
                  </a:lnTo>
                  <a:lnTo>
                    <a:pt x="51035" y="80381"/>
                  </a:lnTo>
                  <a:lnTo>
                    <a:pt x="45987" y="80667"/>
                  </a:lnTo>
                  <a:lnTo>
                    <a:pt x="43034" y="82210"/>
                  </a:lnTo>
                  <a:lnTo>
                    <a:pt x="41148" y="85211"/>
                  </a:lnTo>
                  <a:lnTo>
                    <a:pt x="40129" y="87630"/>
                  </a:lnTo>
                  <a:lnTo>
                    <a:pt x="39272" y="88411"/>
                  </a:lnTo>
                  <a:lnTo>
                    <a:pt x="37510" y="88707"/>
                  </a:lnTo>
                  <a:lnTo>
                    <a:pt x="34881" y="88478"/>
                  </a:lnTo>
                  <a:lnTo>
                    <a:pt x="33033" y="87782"/>
                  </a:lnTo>
                  <a:lnTo>
                    <a:pt x="31147" y="85716"/>
                  </a:lnTo>
                  <a:lnTo>
                    <a:pt x="28223" y="85420"/>
                  </a:lnTo>
                  <a:lnTo>
                    <a:pt x="25537" y="85373"/>
                  </a:lnTo>
                  <a:lnTo>
                    <a:pt x="24822" y="84992"/>
                  </a:lnTo>
                  <a:lnTo>
                    <a:pt x="24870" y="83639"/>
                  </a:lnTo>
                  <a:lnTo>
                    <a:pt x="23813" y="81106"/>
                  </a:lnTo>
                  <a:lnTo>
                    <a:pt x="22060" y="80315"/>
                  </a:lnTo>
                  <a:lnTo>
                    <a:pt x="17526" y="85087"/>
                  </a:lnTo>
                  <a:lnTo>
                    <a:pt x="16288" y="85515"/>
                  </a:lnTo>
                  <a:lnTo>
                    <a:pt x="12640" y="84192"/>
                  </a:lnTo>
                  <a:lnTo>
                    <a:pt x="9449" y="82153"/>
                  </a:lnTo>
                  <a:lnTo>
                    <a:pt x="9106" y="80658"/>
                  </a:lnTo>
                  <a:lnTo>
                    <a:pt x="8582" y="79429"/>
                  </a:lnTo>
                  <a:lnTo>
                    <a:pt x="5906" y="78267"/>
                  </a:lnTo>
                  <a:lnTo>
                    <a:pt x="2562" y="77476"/>
                  </a:lnTo>
                  <a:lnTo>
                    <a:pt x="1496" y="77476"/>
                  </a:lnTo>
                  <a:lnTo>
                    <a:pt x="1915" y="76753"/>
                  </a:lnTo>
                  <a:lnTo>
                    <a:pt x="2305" y="75524"/>
                  </a:lnTo>
                  <a:lnTo>
                    <a:pt x="2057" y="74552"/>
                  </a:lnTo>
                  <a:lnTo>
                    <a:pt x="1276" y="73533"/>
                  </a:lnTo>
                  <a:lnTo>
                    <a:pt x="848" y="72457"/>
                  </a:lnTo>
                  <a:lnTo>
                    <a:pt x="714" y="71409"/>
                  </a:lnTo>
                  <a:lnTo>
                    <a:pt x="476" y="70552"/>
                  </a:lnTo>
                  <a:lnTo>
                    <a:pt x="333" y="69742"/>
                  </a:lnTo>
                  <a:lnTo>
                    <a:pt x="86" y="69114"/>
                  </a:lnTo>
                  <a:lnTo>
                    <a:pt x="2267" y="64351"/>
                  </a:lnTo>
                  <a:lnTo>
                    <a:pt x="2715" y="61389"/>
                  </a:lnTo>
                  <a:lnTo>
                    <a:pt x="810" y="59646"/>
                  </a:lnTo>
                  <a:lnTo>
                    <a:pt x="0" y="59131"/>
                  </a:lnTo>
                  <a:lnTo>
                    <a:pt x="667" y="58741"/>
                  </a:lnTo>
                  <a:lnTo>
                    <a:pt x="3381" y="59065"/>
                  </a:lnTo>
                  <a:lnTo>
                    <a:pt x="5106" y="58084"/>
                  </a:lnTo>
                  <a:lnTo>
                    <a:pt x="6010" y="57103"/>
                  </a:lnTo>
                  <a:lnTo>
                    <a:pt x="8420" y="58026"/>
                  </a:lnTo>
                  <a:lnTo>
                    <a:pt x="11964" y="59874"/>
                  </a:lnTo>
                  <a:lnTo>
                    <a:pt x="13630" y="61131"/>
                  </a:lnTo>
                  <a:lnTo>
                    <a:pt x="14316" y="62094"/>
                  </a:lnTo>
                  <a:lnTo>
                    <a:pt x="14707" y="62903"/>
                  </a:lnTo>
                  <a:lnTo>
                    <a:pt x="14497" y="64294"/>
                  </a:lnTo>
                  <a:lnTo>
                    <a:pt x="15297" y="64837"/>
                  </a:lnTo>
                  <a:lnTo>
                    <a:pt x="16964" y="65037"/>
                  </a:lnTo>
                  <a:lnTo>
                    <a:pt x="18079" y="65465"/>
                  </a:lnTo>
                  <a:lnTo>
                    <a:pt x="17688" y="67294"/>
                  </a:lnTo>
                  <a:lnTo>
                    <a:pt x="17612" y="68790"/>
                  </a:lnTo>
                  <a:lnTo>
                    <a:pt x="19145" y="68580"/>
                  </a:lnTo>
                  <a:lnTo>
                    <a:pt x="21079" y="67437"/>
                  </a:lnTo>
                  <a:lnTo>
                    <a:pt x="22584" y="65370"/>
                  </a:lnTo>
                  <a:lnTo>
                    <a:pt x="23517" y="63360"/>
                  </a:lnTo>
                  <a:lnTo>
                    <a:pt x="24222" y="58464"/>
                  </a:lnTo>
                  <a:lnTo>
                    <a:pt x="24470" y="58055"/>
                  </a:lnTo>
                  <a:lnTo>
                    <a:pt x="25632" y="58436"/>
                  </a:lnTo>
                  <a:lnTo>
                    <a:pt x="30328" y="58226"/>
                  </a:lnTo>
                  <a:lnTo>
                    <a:pt x="32547" y="59141"/>
                  </a:lnTo>
                  <a:lnTo>
                    <a:pt x="36062" y="59293"/>
                  </a:lnTo>
                  <a:lnTo>
                    <a:pt x="35995" y="60055"/>
                  </a:lnTo>
                  <a:lnTo>
                    <a:pt x="36614" y="61255"/>
                  </a:lnTo>
                  <a:lnTo>
                    <a:pt x="38176" y="62979"/>
                  </a:lnTo>
                  <a:lnTo>
                    <a:pt x="38938" y="64103"/>
                  </a:lnTo>
                  <a:lnTo>
                    <a:pt x="40567" y="64303"/>
                  </a:lnTo>
                  <a:lnTo>
                    <a:pt x="43091" y="63684"/>
                  </a:lnTo>
                  <a:lnTo>
                    <a:pt x="44558" y="63037"/>
                  </a:lnTo>
                  <a:lnTo>
                    <a:pt x="45120" y="63494"/>
                  </a:lnTo>
                  <a:lnTo>
                    <a:pt x="47416" y="63046"/>
                  </a:lnTo>
                  <a:lnTo>
                    <a:pt x="49454" y="61656"/>
                  </a:lnTo>
                  <a:lnTo>
                    <a:pt x="49959" y="60598"/>
                  </a:lnTo>
                  <a:lnTo>
                    <a:pt x="52016" y="59846"/>
                  </a:lnTo>
                  <a:lnTo>
                    <a:pt x="54798" y="58122"/>
                  </a:lnTo>
                  <a:lnTo>
                    <a:pt x="58617" y="56798"/>
                  </a:lnTo>
                  <a:lnTo>
                    <a:pt x="71142" y="55369"/>
                  </a:lnTo>
                  <a:lnTo>
                    <a:pt x="71628" y="54293"/>
                  </a:lnTo>
                  <a:lnTo>
                    <a:pt x="71447" y="51826"/>
                  </a:lnTo>
                  <a:lnTo>
                    <a:pt x="71781" y="51464"/>
                  </a:lnTo>
                  <a:lnTo>
                    <a:pt x="73352" y="52073"/>
                  </a:lnTo>
                  <a:lnTo>
                    <a:pt x="75886" y="52654"/>
                  </a:lnTo>
                  <a:lnTo>
                    <a:pt x="77839" y="53521"/>
                  </a:lnTo>
                  <a:lnTo>
                    <a:pt x="79086" y="54664"/>
                  </a:lnTo>
                  <a:lnTo>
                    <a:pt x="80258" y="54712"/>
                  </a:lnTo>
                  <a:lnTo>
                    <a:pt x="82068" y="53912"/>
                  </a:lnTo>
                  <a:lnTo>
                    <a:pt x="84515" y="53397"/>
                  </a:lnTo>
                  <a:lnTo>
                    <a:pt x="86801" y="54588"/>
                  </a:lnTo>
                  <a:lnTo>
                    <a:pt x="87468" y="55864"/>
                  </a:lnTo>
                  <a:lnTo>
                    <a:pt x="87068" y="56522"/>
                  </a:lnTo>
                  <a:lnTo>
                    <a:pt x="87106" y="57560"/>
                  </a:lnTo>
                  <a:lnTo>
                    <a:pt x="87821" y="58426"/>
                  </a:lnTo>
                  <a:lnTo>
                    <a:pt x="89678" y="59836"/>
                  </a:lnTo>
                  <a:lnTo>
                    <a:pt x="92059" y="61046"/>
                  </a:lnTo>
                  <a:lnTo>
                    <a:pt x="93298" y="60951"/>
                  </a:lnTo>
                  <a:lnTo>
                    <a:pt x="93754" y="59779"/>
                  </a:lnTo>
                  <a:lnTo>
                    <a:pt x="94193" y="56969"/>
                  </a:lnTo>
                  <a:lnTo>
                    <a:pt x="94355" y="53959"/>
                  </a:lnTo>
                  <a:lnTo>
                    <a:pt x="93812" y="52235"/>
                  </a:lnTo>
                  <a:lnTo>
                    <a:pt x="92526" y="51816"/>
                  </a:lnTo>
                  <a:lnTo>
                    <a:pt x="90992" y="51673"/>
                  </a:lnTo>
                  <a:lnTo>
                    <a:pt x="90173" y="51311"/>
                  </a:lnTo>
                  <a:lnTo>
                    <a:pt x="90469" y="50368"/>
                  </a:lnTo>
                  <a:lnTo>
                    <a:pt x="91688" y="47911"/>
                  </a:lnTo>
                  <a:lnTo>
                    <a:pt x="91678" y="44625"/>
                  </a:lnTo>
                  <a:lnTo>
                    <a:pt x="88906" y="40872"/>
                  </a:lnTo>
                  <a:lnTo>
                    <a:pt x="86497" y="37243"/>
                  </a:lnTo>
                  <a:lnTo>
                    <a:pt x="86506" y="36004"/>
                  </a:lnTo>
                  <a:lnTo>
                    <a:pt x="87954" y="33852"/>
                  </a:lnTo>
                  <a:lnTo>
                    <a:pt x="90173" y="32138"/>
                  </a:lnTo>
                  <a:lnTo>
                    <a:pt x="95117" y="29280"/>
                  </a:lnTo>
                  <a:lnTo>
                    <a:pt x="96669" y="28690"/>
                  </a:lnTo>
                  <a:lnTo>
                    <a:pt x="98670" y="28213"/>
                  </a:lnTo>
                  <a:lnTo>
                    <a:pt x="101546" y="27032"/>
                  </a:lnTo>
                  <a:lnTo>
                    <a:pt x="102927" y="25822"/>
                  </a:lnTo>
                  <a:lnTo>
                    <a:pt x="103861" y="24508"/>
                  </a:lnTo>
                  <a:lnTo>
                    <a:pt x="105213" y="17659"/>
                  </a:lnTo>
                  <a:lnTo>
                    <a:pt x="105528" y="17364"/>
                  </a:lnTo>
                  <a:lnTo>
                    <a:pt x="105928" y="16964"/>
                  </a:lnTo>
                  <a:lnTo>
                    <a:pt x="110966" y="19336"/>
                  </a:lnTo>
                  <a:lnTo>
                    <a:pt x="111414" y="18936"/>
                  </a:lnTo>
                  <a:lnTo>
                    <a:pt x="112271" y="18555"/>
                  </a:lnTo>
                  <a:lnTo>
                    <a:pt x="113910" y="16736"/>
                  </a:lnTo>
                  <a:lnTo>
                    <a:pt x="114272" y="15364"/>
                  </a:lnTo>
                  <a:lnTo>
                    <a:pt x="114233" y="12745"/>
                  </a:lnTo>
                  <a:lnTo>
                    <a:pt x="114386" y="10278"/>
                  </a:lnTo>
                  <a:lnTo>
                    <a:pt x="114700" y="9487"/>
                  </a:lnTo>
                  <a:lnTo>
                    <a:pt x="115453" y="9782"/>
                  </a:lnTo>
                  <a:lnTo>
                    <a:pt x="117625" y="11059"/>
                  </a:lnTo>
                  <a:lnTo>
                    <a:pt x="119348" y="12507"/>
                  </a:lnTo>
                  <a:lnTo>
                    <a:pt x="120958" y="16135"/>
                  </a:lnTo>
                  <a:lnTo>
                    <a:pt x="124721" y="17098"/>
                  </a:lnTo>
                  <a:lnTo>
                    <a:pt x="129473" y="17193"/>
                  </a:lnTo>
                  <a:lnTo>
                    <a:pt x="131169" y="15573"/>
                  </a:lnTo>
                  <a:lnTo>
                    <a:pt x="132712" y="15202"/>
                  </a:lnTo>
                  <a:lnTo>
                    <a:pt x="134455" y="15697"/>
                  </a:lnTo>
                  <a:lnTo>
                    <a:pt x="138132" y="16259"/>
                  </a:lnTo>
                  <a:lnTo>
                    <a:pt x="138541" y="13335"/>
                  </a:lnTo>
                  <a:lnTo>
                    <a:pt x="140656" y="10278"/>
                  </a:lnTo>
                  <a:lnTo>
                    <a:pt x="141618" y="9211"/>
                  </a:lnTo>
                  <a:lnTo>
                    <a:pt x="144314" y="9315"/>
                  </a:lnTo>
                  <a:lnTo>
                    <a:pt x="144971" y="7030"/>
                  </a:lnTo>
                  <a:lnTo>
                    <a:pt x="145637" y="695"/>
                  </a:lnTo>
                  <a:lnTo>
                    <a:pt x="146200" y="0"/>
                  </a:lnTo>
                  <a:lnTo>
                    <a:pt x="148162" y="133"/>
                  </a:lnTo>
                  <a:lnTo>
                    <a:pt x="150114" y="1286"/>
                  </a:lnTo>
                  <a:lnTo>
                    <a:pt x="150695" y="2229"/>
                  </a:lnTo>
                  <a:lnTo>
                    <a:pt x="151714" y="2153"/>
                  </a:lnTo>
                  <a:lnTo>
                    <a:pt x="153133" y="1505"/>
                  </a:lnTo>
                  <a:lnTo>
                    <a:pt x="154686" y="1096"/>
                  </a:lnTo>
                  <a:lnTo>
                    <a:pt x="157153" y="1772"/>
                  </a:lnTo>
                  <a:lnTo>
                    <a:pt x="162401" y="4648"/>
                  </a:lnTo>
                  <a:lnTo>
                    <a:pt x="165116" y="5705"/>
                  </a:lnTo>
                  <a:lnTo>
                    <a:pt x="166830" y="5505"/>
                  </a:lnTo>
                  <a:lnTo>
                    <a:pt x="168440" y="5544"/>
                  </a:lnTo>
                  <a:lnTo>
                    <a:pt x="174641" y="9982"/>
                  </a:lnTo>
                  <a:lnTo>
                    <a:pt x="178975" y="10601"/>
                  </a:lnTo>
                  <a:lnTo>
                    <a:pt x="182928" y="10621"/>
                  </a:lnTo>
                  <a:lnTo>
                    <a:pt x="184204" y="9287"/>
                  </a:lnTo>
                  <a:lnTo>
                    <a:pt x="185880" y="8154"/>
                  </a:lnTo>
                  <a:lnTo>
                    <a:pt x="187643" y="8306"/>
                  </a:lnTo>
                  <a:lnTo>
                    <a:pt x="189176" y="8887"/>
                  </a:lnTo>
                  <a:lnTo>
                    <a:pt x="192167" y="10811"/>
                  </a:lnTo>
                  <a:lnTo>
                    <a:pt x="193548" y="11306"/>
                  </a:lnTo>
                  <a:lnTo>
                    <a:pt x="195387" y="11621"/>
                  </a:lnTo>
                  <a:lnTo>
                    <a:pt x="196730" y="12049"/>
                  </a:lnTo>
                  <a:lnTo>
                    <a:pt x="197920" y="15383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3" name="Forme libre : forme 7">
              <a:extLst>
                <a:ext uri="{FF2B5EF4-FFF2-40B4-BE49-F238E27FC236}">
                  <a16:creationId xmlns:a16="http://schemas.microsoft.com/office/drawing/2014/main" id="{6C0981B8-6285-6EDC-6E25-D643D818FFD4}"/>
                </a:ext>
              </a:extLst>
            </p:cNvPr>
            <p:cNvSpPr/>
            <p:nvPr/>
          </p:nvSpPr>
          <p:spPr>
            <a:xfrm>
              <a:off x="6586119" y="3236399"/>
              <a:ext cx="76126" cy="53096"/>
            </a:xfrm>
            <a:custGeom>
              <a:avLst/>
              <a:gdLst>
                <a:gd name="connsiteX0" fmla="*/ 12582 w 29203"/>
                <a:gd name="connsiteY0" fmla="*/ 2953 h 21164"/>
                <a:gd name="connsiteX1" fmla="*/ 13402 w 29203"/>
                <a:gd name="connsiteY1" fmla="*/ 2962 h 21164"/>
                <a:gd name="connsiteX2" fmla="*/ 13773 w 29203"/>
                <a:gd name="connsiteY2" fmla="*/ 2505 h 21164"/>
                <a:gd name="connsiteX3" fmla="*/ 15202 w 29203"/>
                <a:gd name="connsiteY3" fmla="*/ 2829 h 21164"/>
                <a:gd name="connsiteX4" fmla="*/ 17355 w 29203"/>
                <a:gd name="connsiteY4" fmla="*/ 4915 h 21164"/>
                <a:gd name="connsiteX5" fmla="*/ 17793 w 29203"/>
                <a:gd name="connsiteY5" fmla="*/ 6048 h 21164"/>
                <a:gd name="connsiteX6" fmla="*/ 19269 w 29203"/>
                <a:gd name="connsiteY6" fmla="*/ 6629 h 21164"/>
                <a:gd name="connsiteX7" fmla="*/ 19784 w 29203"/>
                <a:gd name="connsiteY7" fmla="*/ 7801 h 21164"/>
                <a:gd name="connsiteX8" fmla="*/ 18069 w 29203"/>
                <a:gd name="connsiteY8" fmla="*/ 11440 h 21164"/>
                <a:gd name="connsiteX9" fmla="*/ 17012 w 29203"/>
                <a:gd name="connsiteY9" fmla="*/ 11506 h 21164"/>
                <a:gd name="connsiteX10" fmla="*/ 16221 w 29203"/>
                <a:gd name="connsiteY10" fmla="*/ 11049 h 21164"/>
                <a:gd name="connsiteX11" fmla="*/ 14821 w 29203"/>
                <a:gd name="connsiteY11" fmla="*/ 11449 h 21164"/>
                <a:gd name="connsiteX12" fmla="*/ 14001 w 29203"/>
                <a:gd name="connsiteY12" fmla="*/ 12135 h 21164"/>
                <a:gd name="connsiteX13" fmla="*/ 13725 w 29203"/>
                <a:gd name="connsiteY13" fmla="*/ 13649 h 21164"/>
                <a:gd name="connsiteX14" fmla="*/ 13773 w 29203"/>
                <a:gd name="connsiteY14" fmla="*/ 16812 h 21164"/>
                <a:gd name="connsiteX15" fmla="*/ 7515 w 29203"/>
                <a:gd name="connsiteY15" fmla="*/ 17440 h 21164"/>
                <a:gd name="connsiteX16" fmla="*/ 6077 w 29203"/>
                <a:gd name="connsiteY16" fmla="*/ 16516 h 21164"/>
                <a:gd name="connsiteX17" fmla="*/ 4105 w 29203"/>
                <a:gd name="connsiteY17" fmla="*/ 9325 h 21164"/>
                <a:gd name="connsiteX18" fmla="*/ 4506 w 29203"/>
                <a:gd name="connsiteY18" fmla="*/ 7458 h 21164"/>
                <a:gd name="connsiteX19" fmla="*/ 5829 w 29203"/>
                <a:gd name="connsiteY19" fmla="*/ 6667 h 21164"/>
                <a:gd name="connsiteX20" fmla="*/ 6963 w 29203"/>
                <a:gd name="connsiteY20" fmla="*/ 6496 h 21164"/>
                <a:gd name="connsiteX21" fmla="*/ 7134 w 29203"/>
                <a:gd name="connsiteY21" fmla="*/ 10382 h 21164"/>
                <a:gd name="connsiteX22" fmla="*/ 8801 w 29203"/>
                <a:gd name="connsiteY22" fmla="*/ 9992 h 21164"/>
                <a:gd name="connsiteX23" fmla="*/ 9325 w 29203"/>
                <a:gd name="connsiteY23" fmla="*/ 7429 h 21164"/>
                <a:gd name="connsiteX24" fmla="*/ 9439 w 29203"/>
                <a:gd name="connsiteY24" fmla="*/ 5629 h 21164"/>
                <a:gd name="connsiteX25" fmla="*/ 8991 w 29203"/>
                <a:gd name="connsiteY25" fmla="*/ 4715 h 21164"/>
                <a:gd name="connsiteX26" fmla="*/ 7858 w 29203"/>
                <a:gd name="connsiteY26" fmla="*/ 4010 h 21164"/>
                <a:gd name="connsiteX27" fmla="*/ 7201 w 29203"/>
                <a:gd name="connsiteY27" fmla="*/ 2800 h 21164"/>
                <a:gd name="connsiteX28" fmla="*/ 8144 w 29203"/>
                <a:gd name="connsiteY28" fmla="*/ 848 h 21164"/>
                <a:gd name="connsiteX29" fmla="*/ 9887 w 29203"/>
                <a:gd name="connsiteY29" fmla="*/ 0 h 21164"/>
                <a:gd name="connsiteX30" fmla="*/ 11392 w 29203"/>
                <a:gd name="connsiteY30" fmla="*/ 2610 h 21164"/>
                <a:gd name="connsiteX31" fmla="*/ 12582 w 29203"/>
                <a:gd name="connsiteY31" fmla="*/ 2953 h 21164"/>
                <a:gd name="connsiteX32" fmla="*/ 3829 w 29203"/>
                <a:gd name="connsiteY32" fmla="*/ 11782 h 21164"/>
                <a:gd name="connsiteX33" fmla="*/ 3972 w 29203"/>
                <a:gd name="connsiteY33" fmla="*/ 12983 h 21164"/>
                <a:gd name="connsiteX34" fmla="*/ 2953 w 29203"/>
                <a:gd name="connsiteY34" fmla="*/ 12678 h 21164"/>
                <a:gd name="connsiteX35" fmla="*/ 2162 w 29203"/>
                <a:gd name="connsiteY35" fmla="*/ 13087 h 21164"/>
                <a:gd name="connsiteX36" fmla="*/ 1629 w 29203"/>
                <a:gd name="connsiteY36" fmla="*/ 14564 h 21164"/>
                <a:gd name="connsiteX37" fmla="*/ 467 w 29203"/>
                <a:gd name="connsiteY37" fmla="*/ 14030 h 21164"/>
                <a:gd name="connsiteX38" fmla="*/ 0 w 29203"/>
                <a:gd name="connsiteY38" fmla="*/ 11906 h 21164"/>
                <a:gd name="connsiteX39" fmla="*/ 867 w 29203"/>
                <a:gd name="connsiteY39" fmla="*/ 8725 h 21164"/>
                <a:gd name="connsiteX40" fmla="*/ 2934 w 29203"/>
                <a:gd name="connsiteY40" fmla="*/ 8601 h 21164"/>
                <a:gd name="connsiteX41" fmla="*/ 3829 w 29203"/>
                <a:gd name="connsiteY41" fmla="*/ 11782 h 21164"/>
                <a:gd name="connsiteX42" fmla="*/ 29203 w 29203"/>
                <a:gd name="connsiteY42" fmla="*/ 19621 h 21164"/>
                <a:gd name="connsiteX43" fmla="*/ 28994 w 29203"/>
                <a:gd name="connsiteY43" fmla="*/ 20888 h 21164"/>
                <a:gd name="connsiteX44" fmla="*/ 26813 w 29203"/>
                <a:gd name="connsiteY44" fmla="*/ 21165 h 21164"/>
                <a:gd name="connsiteX45" fmla="*/ 25898 w 29203"/>
                <a:gd name="connsiteY45" fmla="*/ 20041 h 21164"/>
                <a:gd name="connsiteX46" fmla="*/ 23860 w 29203"/>
                <a:gd name="connsiteY46" fmla="*/ 20184 h 21164"/>
                <a:gd name="connsiteX47" fmla="*/ 23508 w 29203"/>
                <a:gd name="connsiteY47" fmla="*/ 19621 h 21164"/>
                <a:gd name="connsiteX48" fmla="*/ 24355 w 29203"/>
                <a:gd name="connsiteY48" fmla="*/ 18498 h 21164"/>
                <a:gd name="connsiteX49" fmla="*/ 25975 w 29203"/>
                <a:gd name="connsiteY49" fmla="*/ 17793 h 21164"/>
                <a:gd name="connsiteX50" fmla="*/ 28089 w 29203"/>
                <a:gd name="connsiteY50" fmla="*/ 18079 h 21164"/>
                <a:gd name="connsiteX51" fmla="*/ 29203 w 29203"/>
                <a:gd name="connsiteY51" fmla="*/ 19621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9203" h="21164">
                  <a:moveTo>
                    <a:pt x="12582" y="2953"/>
                  </a:moveTo>
                  <a:lnTo>
                    <a:pt x="13402" y="2962"/>
                  </a:lnTo>
                  <a:lnTo>
                    <a:pt x="13773" y="2505"/>
                  </a:lnTo>
                  <a:lnTo>
                    <a:pt x="15202" y="2829"/>
                  </a:lnTo>
                  <a:lnTo>
                    <a:pt x="17355" y="4915"/>
                  </a:lnTo>
                  <a:lnTo>
                    <a:pt x="17793" y="6048"/>
                  </a:lnTo>
                  <a:lnTo>
                    <a:pt x="19269" y="6629"/>
                  </a:lnTo>
                  <a:lnTo>
                    <a:pt x="19784" y="7801"/>
                  </a:lnTo>
                  <a:lnTo>
                    <a:pt x="18069" y="11440"/>
                  </a:lnTo>
                  <a:lnTo>
                    <a:pt x="17012" y="11506"/>
                  </a:lnTo>
                  <a:lnTo>
                    <a:pt x="16221" y="11049"/>
                  </a:lnTo>
                  <a:lnTo>
                    <a:pt x="14821" y="11449"/>
                  </a:lnTo>
                  <a:lnTo>
                    <a:pt x="14001" y="12135"/>
                  </a:lnTo>
                  <a:lnTo>
                    <a:pt x="13725" y="13649"/>
                  </a:lnTo>
                  <a:lnTo>
                    <a:pt x="13773" y="16812"/>
                  </a:lnTo>
                  <a:lnTo>
                    <a:pt x="7515" y="17440"/>
                  </a:lnTo>
                  <a:lnTo>
                    <a:pt x="6077" y="16516"/>
                  </a:lnTo>
                  <a:lnTo>
                    <a:pt x="4105" y="9325"/>
                  </a:lnTo>
                  <a:lnTo>
                    <a:pt x="4506" y="7458"/>
                  </a:lnTo>
                  <a:lnTo>
                    <a:pt x="5829" y="6667"/>
                  </a:lnTo>
                  <a:lnTo>
                    <a:pt x="6963" y="6496"/>
                  </a:lnTo>
                  <a:lnTo>
                    <a:pt x="7134" y="10382"/>
                  </a:lnTo>
                  <a:lnTo>
                    <a:pt x="8801" y="9992"/>
                  </a:lnTo>
                  <a:lnTo>
                    <a:pt x="9325" y="7429"/>
                  </a:lnTo>
                  <a:lnTo>
                    <a:pt x="9439" y="5629"/>
                  </a:lnTo>
                  <a:lnTo>
                    <a:pt x="8991" y="4715"/>
                  </a:lnTo>
                  <a:lnTo>
                    <a:pt x="7858" y="4010"/>
                  </a:lnTo>
                  <a:lnTo>
                    <a:pt x="7201" y="2800"/>
                  </a:lnTo>
                  <a:lnTo>
                    <a:pt x="8144" y="848"/>
                  </a:lnTo>
                  <a:lnTo>
                    <a:pt x="9887" y="0"/>
                  </a:lnTo>
                  <a:lnTo>
                    <a:pt x="11392" y="2610"/>
                  </a:lnTo>
                  <a:lnTo>
                    <a:pt x="12582" y="2953"/>
                  </a:lnTo>
                  <a:close/>
                  <a:moveTo>
                    <a:pt x="3829" y="11782"/>
                  </a:moveTo>
                  <a:lnTo>
                    <a:pt x="3972" y="12983"/>
                  </a:lnTo>
                  <a:lnTo>
                    <a:pt x="2953" y="12678"/>
                  </a:lnTo>
                  <a:lnTo>
                    <a:pt x="2162" y="13087"/>
                  </a:lnTo>
                  <a:lnTo>
                    <a:pt x="1629" y="14564"/>
                  </a:lnTo>
                  <a:lnTo>
                    <a:pt x="467" y="14030"/>
                  </a:lnTo>
                  <a:lnTo>
                    <a:pt x="0" y="11906"/>
                  </a:lnTo>
                  <a:lnTo>
                    <a:pt x="867" y="8725"/>
                  </a:lnTo>
                  <a:lnTo>
                    <a:pt x="2934" y="8601"/>
                  </a:lnTo>
                  <a:lnTo>
                    <a:pt x="3829" y="11782"/>
                  </a:lnTo>
                  <a:close/>
                  <a:moveTo>
                    <a:pt x="29203" y="19621"/>
                  </a:moveTo>
                  <a:lnTo>
                    <a:pt x="28994" y="20888"/>
                  </a:lnTo>
                  <a:lnTo>
                    <a:pt x="26813" y="21165"/>
                  </a:lnTo>
                  <a:lnTo>
                    <a:pt x="25898" y="20041"/>
                  </a:lnTo>
                  <a:lnTo>
                    <a:pt x="23860" y="20184"/>
                  </a:lnTo>
                  <a:lnTo>
                    <a:pt x="23508" y="19621"/>
                  </a:lnTo>
                  <a:lnTo>
                    <a:pt x="24355" y="18498"/>
                  </a:lnTo>
                  <a:lnTo>
                    <a:pt x="25975" y="17793"/>
                  </a:lnTo>
                  <a:lnTo>
                    <a:pt x="28089" y="18079"/>
                  </a:lnTo>
                  <a:lnTo>
                    <a:pt x="29203" y="19621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" name="Forme libre : forme 8">
              <a:extLst>
                <a:ext uri="{FF2B5EF4-FFF2-40B4-BE49-F238E27FC236}">
                  <a16:creationId xmlns:a16="http://schemas.microsoft.com/office/drawing/2014/main" id="{6FBDE2DB-6DED-92E7-8549-C188C4EBCAB9}"/>
                </a:ext>
              </a:extLst>
            </p:cNvPr>
            <p:cNvSpPr/>
            <p:nvPr/>
          </p:nvSpPr>
          <p:spPr>
            <a:xfrm>
              <a:off x="6322550" y="4934492"/>
              <a:ext cx="268087" cy="252125"/>
            </a:xfrm>
            <a:custGeom>
              <a:avLst/>
              <a:gdLst>
                <a:gd name="connsiteX0" fmla="*/ 31604 w 102841"/>
                <a:gd name="connsiteY0" fmla="*/ 0 h 100498"/>
                <a:gd name="connsiteX1" fmla="*/ 37129 w 102841"/>
                <a:gd name="connsiteY1" fmla="*/ 3963 h 100498"/>
                <a:gd name="connsiteX2" fmla="*/ 39405 w 102841"/>
                <a:gd name="connsiteY2" fmla="*/ 4553 h 100498"/>
                <a:gd name="connsiteX3" fmla="*/ 40691 w 102841"/>
                <a:gd name="connsiteY3" fmla="*/ 4010 h 100498"/>
                <a:gd name="connsiteX4" fmla="*/ 42433 w 102841"/>
                <a:gd name="connsiteY4" fmla="*/ 4258 h 100498"/>
                <a:gd name="connsiteX5" fmla="*/ 46320 w 102841"/>
                <a:gd name="connsiteY5" fmla="*/ 5420 h 100498"/>
                <a:gd name="connsiteX6" fmla="*/ 47206 w 102841"/>
                <a:gd name="connsiteY6" fmla="*/ 5905 h 100498"/>
                <a:gd name="connsiteX7" fmla="*/ 48377 w 102841"/>
                <a:gd name="connsiteY7" fmla="*/ 5820 h 100498"/>
                <a:gd name="connsiteX8" fmla="*/ 51245 w 102841"/>
                <a:gd name="connsiteY8" fmla="*/ 4277 h 100498"/>
                <a:gd name="connsiteX9" fmla="*/ 52225 w 102841"/>
                <a:gd name="connsiteY9" fmla="*/ 4467 h 100498"/>
                <a:gd name="connsiteX10" fmla="*/ 55502 w 102841"/>
                <a:gd name="connsiteY10" fmla="*/ 7496 h 100498"/>
                <a:gd name="connsiteX11" fmla="*/ 57150 w 102841"/>
                <a:gd name="connsiteY11" fmla="*/ 7534 h 100498"/>
                <a:gd name="connsiteX12" fmla="*/ 59131 w 102841"/>
                <a:gd name="connsiteY12" fmla="*/ 6230 h 100498"/>
                <a:gd name="connsiteX13" fmla="*/ 60407 w 102841"/>
                <a:gd name="connsiteY13" fmla="*/ 5096 h 100498"/>
                <a:gd name="connsiteX14" fmla="*/ 64179 w 102841"/>
                <a:gd name="connsiteY14" fmla="*/ 5944 h 100498"/>
                <a:gd name="connsiteX15" fmla="*/ 66332 w 102841"/>
                <a:gd name="connsiteY15" fmla="*/ 5429 h 100498"/>
                <a:gd name="connsiteX16" fmla="*/ 68123 w 102841"/>
                <a:gd name="connsiteY16" fmla="*/ 5382 h 100498"/>
                <a:gd name="connsiteX17" fmla="*/ 70065 w 102841"/>
                <a:gd name="connsiteY17" fmla="*/ 5896 h 100498"/>
                <a:gd name="connsiteX18" fmla="*/ 71837 w 102841"/>
                <a:gd name="connsiteY18" fmla="*/ 6601 h 100498"/>
                <a:gd name="connsiteX19" fmla="*/ 73561 w 102841"/>
                <a:gd name="connsiteY19" fmla="*/ 7211 h 100498"/>
                <a:gd name="connsiteX20" fmla="*/ 78219 w 102841"/>
                <a:gd name="connsiteY20" fmla="*/ 7525 h 100498"/>
                <a:gd name="connsiteX21" fmla="*/ 80448 w 102841"/>
                <a:gd name="connsiteY21" fmla="*/ 9449 h 100498"/>
                <a:gd name="connsiteX22" fmla="*/ 81343 w 102841"/>
                <a:gd name="connsiteY22" fmla="*/ 11306 h 100498"/>
                <a:gd name="connsiteX23" fmla="*/ 81362 w 102841"/>
                <a:gd name="connsiteY23" fmla="*/ 12440 h 100498"/>
                <a:gd name="connsiteX24" fmla="*/ 81582 w 102841"/>
                <a:gd name="connsiteY24" fmla="*/ 13649 h 100498"/>
                <a:gd name="connsiteX25" fmla="*/ 82858 w 102841"/>
                <a:gd name="connsiteY25" fmla="*/ 14840 h 100498"/>
                <a:gd name="connsiteX26" fmla="*/ 85667 w 102841"/>
                <a:gd name="connsiteY26" fmla="*/ 15516 h 100498"/>
                <a:gd name="connsiteX27" fmla="*/ 87430 w 102841"/>
                <a:gd name="connsiteY27" fmla="*/ 15373 h 100498"/>
                <a:gd name="connsiteX28" fmla="*/ 88363 w 102841"/>
                <a:gd name="connsiteY28" fmla="*/ 15288 h 100498"/>
                <a:gd name="connsiteX29" fmla="*/ 90754 w 102841"/>
                <a:gd name="connsiteY29" fmla="*/ 14221 h 100498"/>
                <a:gd name="connsiteX30" fmla="*/ 93573 w 102841"/>
                <a:gd name="connsiteY30" fmla="*/ 13668 h 100498"/>
                <a:gd name="connsiteX31" fmla="*/ 95593 w 102841"/>
                <a:gd name="connsiteY31" fmla="*/ 14307 h 100498"/>
                <a:gd name="connsiteX32" fmla="*/ 96555 w 102841"/>
                <a:gd name="connsiteY32" fmla="*/ 14926 h 100498"/>
                <a:gd name="connsiteX33" fmla="*/ 96774 w 102841"/>
                <a:gd name="connsiteY33" fmla="*/ 15773 h 100498"/>
                <a:gd name="connsiteX34" fmla="*/ 96174 w 102841"/>
                <a:gd name="connsiteY34" fmla="*/ 18698 h 100498"/>
                <a:gd name="connsiteX35" fmla="*/ 95040 w 102841"/>
                <a:gd name="connsiteY35" fmla="*/ 21841 h 100498"/>
                <a:gd name="connsiteX36" fmla="*/ 93202 w 102841"/>
                <a:gd name="connsiteY36" fmla="*/ 25108 h 100498"/>
                <a:gd name="connsiteX37" fmla="*/ 91278 w 102841"/>
                <a:gd name="connsiteY37" fmla="*/ 28185 h 100498"/>
                <a:gd name="connsiteX38" fmla="*/ 90783 w 102841"/>
                <a:gd name="connsiteY38" fmla="*/ 29804 h 100498"/>
                <a:gd name="connsiteX39" fmla="*/ 90640 w 102841"/>
                <a:gd name="connsiteY39" fmla="*/ 32395 h 100498"/>
                <a:gd name="connsiteX40" fmla="*/ 90401 w 102841"/>
                <a:gd name="connsiteY40" fmla="*/ 34423 h 100498"/>
                <a:gd name="connsiteX41" fmla="*/ 90668 w 102841"/>
                <a:gd name="connsiteY41" fmla="*/ 35528 h 100498"/>
                <a:gd name="connsiteX42" fmla="*/ 91297 w 102841"/>
                <a:gd name="connsiteY42" fmla="*/ 36567 h 100498"/>
                <a:gd name="connsiteX43" fmla="*/ 93421 w 102841"/>
                <a:gd name="connsiteY43" fmla="*/ 37386 h 100498"/>
                <a:gd name="connsiteX44" fmla="*/ 96298 w 102841"/>
                <a:gd name="connsiteY44" fmla="*/ 39424 h 100498"/>
                <a:gd name="connsiteX45" fmla="*/ 98736 w 102841"/>
                <a:gd name="connsiteY45" fmla="*/ 42072 h 100498"/>
                <a:gd name="connsiteX46" fmla="*/ 101870 w 102841"/>
                <a:gd name="connsiteY46" fmla="*/ 45072 h 100498"/>
                <a:gd name="connsiteX47" fmla="*/ 102841 w 102841"/>
                <a:gd name="connsiteY47" fmla="*/ 46187 h 100498"/>
                <a:gd name="connsiteX48" fmla="*/ 102841 w 102841"/>
                <a:gd name="connsiteY48" fmla="*/ 47387 h 100498"/>
                <a:gd name="connsiteX49" fmla="*/ 101927 w 102841"/>
                <a:gd name="connsiteY49" fmla="*/ 48273 h 100498"/>
                <a:gd name="connsiteX50" fmla="*/ 99250 w 102841"/>
                <a:gd name="connsiteY50" fmla="*/ 48616 h 100498"/>
                <a:gd name="connsiteX51" fmla="*/ 96469 w 102841"/>
                <a:gd name="connsiteY51" fmla="*/ 48349 h 100498"/>
                <a:gd name="connsiteX52" fmla="*/ 95402 w 102841"/>
                <a:gd name="connsiteY52" fmla="*/ 48044 h 100498"/>
                <a:gd name="connsiteX53" fmla="*/ 94402 w 102841"/>
                <a:gd name="connsiteY53" fmla="*/ 48406 h 100498"/>
                <a:gd name="connsiteX54" fmla="*/ 93783 w 102841"/>
                <a:gd name="connsiteY54" fmla="*/ 49092 h 100498"/>
                <a:gd name="connsiteX55" fmla="*/ 94116 w 102841"/>
                <a:gd name="connsiteY55" fmla="*/ 49902 h 100498"/>
                <a:gd name="connsiteX56" fmla="*/ 96964 w 102841"/>
                <a:gd name="connsiteY56" fmla="*/ 53540 h 100498"/>
                <a:gd name="connsiteX57" fmla="*/ 100289 w 102841"/>
                <a:gd name="connsiteY57" fmla="*/ 58750 h 100498"/>
                <a:gd name="connsiteX58" fmla="*/ 100469 w 102841"/>
                <a:gd name="connsiteY58" fmla="*/ 60989 h 100498"/>
                <a:gd name="connsiteX59" fmla="*/ 100069 w 102841"/>
                <a:gd name="connsiteY59" fmla="*/ 62741 h 100498"/>
                <a:gd name="connsiteX60" fmla="*/ 99298 w 102841"/>
                <a:gd name="connsiteY60" fmla="*/ 63960 h 100498"/>
                <a:gd name="connsiteX61" fmla="*/ 97927 w 102841"/>
                <a:gd name="connsiteY61" fmla="*/ 63751 h 100498"/>
                <a:gd name="connsiteX62" fmla="*/ 96869 w 102841"/>
                <a:gd name="connsiteY62" fmla="*/ 62798 h 100498"/>
                <a:gd name="connsiteX63" fmla="*/ 95278 w 102841"/>
                <a:gd name="connsiteY63" fmla="*/ 62865 h 100498"/>
                <a:gd name="connsiteX64" fmla="*/ 94040 w 102841"/>
                <a:gd name="connsiteY64" fmla="*/ 63132 h 100498"/>
                <a:gd name="connsiteX65" fmla="*/ 92430 w 102841"/>
                <a:gd name="connsiteY65" fmla="*/ 65018 h 100498"/>
                <a:gd name="connsiteX66" fmla="*/ 91630 w 102841"/>
                <a:gd name="connsiteY66" fmla="*/ 64932 h 100498"/>
                <a:gd name="connsiteX67" fmla="*/ 90249 w 102841"/>
                <a:gd name="connsiteY67" fmla="*/ 65218 h 100498"/>
                <a:gd name="connsiteX68" fmla="*/ 89382 w 102841"/>
                <a:gd name="connsiteY68" fmla="*/ 65589 h 100498"/>
                <a:gd name="connsiteX69" fmla="*/ 88002 w 102841"/>
                <a:gd name="connsiteY69" fmla="*/ 65037 h 100498"/>
                <a:gd name="connsiteX70" fmla="*/ 86544 w 102841"/>
                <a:gd name="connsiteY70" fmla="*/ 64675 h 100498"/>
                <a:gd name="connsiteX71" fmla="*/ 85915 w 102841"/>
                <a:gd name="connsiteY71" fmla="*/ 65256 h 100498"/>
                <a:gd name="connsiteX72" fmla="*/ 85639 w 102841"/>
                <a:gd name="connsiteY72" fmla="*/ 66361 h 100498"/>
                <a:gd name="connsiteX73" fmla="*/ 86534 w 102841"/>
                <a:gd name="connsiteY73" fmla="*/ 68351 h 100498"/>
                <a:gd name="connsiteX74" fmla="*/ 88220 w 102841"/>
                <a:gd name="connsiteY74" fmla="*/ 71466 h 100498"/>
                <a:gd name="connsiteX75" fmla="*/ 87954 w 102841"/>
                <a:gd name="connsiteY75" fmla="*/ 73848 h 100498"/>
                <a:gd name="connsiteX76" fmla="*/ 86668 w 102841"/>
                <a:gd name="connsiteY76" fmla="*/ 74104 h 100498"/>
                <a:gd name="connsiteX77" fmla="*/ 85487 w 102841"/>
                <a:gd name="connsiteY77" fmla="*/ 72124 h 100498"/>
                <a:gd name="connsiteX78" fmla="*/ 84448 w 102841"/>
                <a:gd name="connsiteY78" fmla="*/ 71799 h 100498"/>
                <a:gd name="connsiteX79" fmla="*/ 83258 w 102841"/>
                <a:gd name="connsiteY79" fmla="*/ 71876 h 100498"/>
                <a:gd name="connsiteX80" fmla="*/ 80533 w 102841"/>
                <a:gd name="connsiteY80" fmla="*/ 74171 h 100498"/>
                <a:gd name="connsiteX81" fmla="*/ 78524 w 102841"/>
                <a:gd name="connsiteY81" fmla="*/ 76105 h 100498"/>
                <a:gd name="connsiteX82" fmla="*/ 78067 w 102841"/>
                <a:gd name="connsiteY82" fmla="*/ 77448 h 100498"/>
                <a:gd name="connsiteX83" fmla="*/ 77343 w 102841"/>
                <a:gd name="connsiteY83" fmla="*/ 78915 h 100498"/>
                <a:gd name="connsiteX84" fmla="*/ 77124 w 102841"/>
                <a:gd name="connsiteY84" fmla="*/ 79981 h 100498"/>
                <a:gd name="connsiteX85" fmla="*/ 77171 w 102841"/>
                <a:gd name="connsiteY85" fmla="*/ 83515 h 100498"/>
                <a:gd name="connsiteX86" fmla="*/ 73561 w 102841"/>
                <a:gd name="connsiteY86" fmla="*/ 84077 h 100498"/>
                <a:gd name="connsiteX87" fmla="*/ 72809 w 102841"/>
                <a:gd name="connsiteY87" fmla="*/ 84601 h 100498"/>
                <a:gd name="connsiteX88" fmla="*/ 72371 w 102841"/>
                <a:gd name="connsiteY88" fmla="*/ 85668 h 100498"/>
                <a:gd name="connsiteX89" fmla="*/ 72666 w 102841"/>
                <a:gd name="connsiteY89" fmla="*/ 90192 h 100498"/>
                <a:gd name="connsiteX90" fmla="*/ 72961 w 102841"/>
                <a:gd name="connsiteY90" fmla="*/ 92621 h 100498"/>
                <a:gd name="connsiteX91" fmla="*/ 75029 w 102841"/>
                <a:gd name="connsiteY91" fmla="*/ 96355 h 100498"/>
                <a:gd name="connsiteX92" fmla="*/ 75105 w 102841"/>
                <a:gd name="connsiteY92" fmla="*/ 97536 h 100498"/>
                <a:gd name="connsiteX93" fmla="*/ 74809 w 102841"/>
                <a:gd name="connsiteY93" fmla="*/ 98317 h 100498"/>
                <a:gd name="connsiteX94" fmla="*/ 73333 w 102841"/>
                <a:gd name="connsiteY94" fmla="*/ 99794 h 100498"/>
                <a:gd name="connsiteX95" fmla="*/ 72637 w 102841"/>
                <a:gd name="connsiteY95" fmla="*/ 100327 h 100498"/>
                <a:gd name="connsiteX96" fmla="*/ 72171 w 102841"/>
                <a:gd name="connsiteY96" fmla="*/ 100498 h 100498"/>
                <a:gd name="connsiteX97" fmla="*/ 69771 w 102841"/>
                <a:gd name="connsiteY97" fmla="*/ 99527 h 100498"/>
                <a:gd name="connsiteX98" fmla="*/ 68627 w 102841"/>
                <a:gd name="connsiteY98" fmla="*/ 99060 h 100498"/>
                <a:gd name="connsiteX99" fmla="*/ 63818 w 102841"/>
                <a:gd name="connsiteY99" fmla="*/ 95765 h 100498"/>
                <a:gd name="connsiteX100" fmla="*/ 61693 w 102841"/>
                <a:gd name="connsiteY100" fmla="*/ 93926 h 100498"/>
                <a:gd name="connsiteX101" fmla="*/ 58331 w 102841"/>
                <a:gd name="connsiteY101" fmla="*/ 91526 h 100498"/>
                <a:gd name="connsiteX102" fmla="*/ 56264 w 102841"/>
                <a:gd name="connsiteY102" fmla="*/ 90154 h 100498"/>
                <a:gd name="connsiteX103" fmla="*/ 55216 w 102841"/>
                <a:gd name="connsiteY103" fmla="*/ 88078 h 100498"/>
                <a:gd name="connsiteX104" fmla="*/ 53559 w 102841"/>
                <a:gd name="connsiteY104" fmla="*/ 87602 h 100498"/>
                <a:gd name="connsiteX105" fmla="*/ 51616 w 102841"/>
                <a:gd name="connsiteY105" fmla="*/ 88268 h 100498"/>
                <a:gd name="connsiteX106" fmla="*/ 49416 w 102841"/>
                <a:gd name="connsiteY106" fmla="*/ 86763 h 100498"/>
                <a:gd name="connsiteX107" fmla="*/ 50978 w 102841"/>
                <a:gd name="connsiteY107" fmla="*/ 85992 h 100498"/>
                <a:gd name="connsiteX108" fmla="*/ 51358 w 102841"/>
                <a:gd name="connsiteY108" fmla="*/ 85249 h 100498"/>
                <a:gd name="connsiteX109" fmla="*/ 51159 w 102841"/>
                <a:gd name="connsiteY109" fmla="*/ 84277 h 100498"/>
                <a:gd name="connsiteX110" fmla="*/ 50473 w 102841"/>
                <a:gd name="connsiteY110" fmla="*/ 82963 h 100498"/>
                <a:gd name="connsiteX111" fmla="*/ 44529 w 102841"/>
                <a:gd name="connsiteY111" fmla="*/ 77267 h 100498"/>
                <a:gd name="connsiteX112" fmla="*/ 41605 w 102841"/>
                <a:gd name="connsiteY112" fmla="*/ 73362 h 100498"/>
                <a:gd name="connsiteX113" fmla="*/ 41138 w 102841"/>
                <a:gd name="connsiteY113" fmla="*/ 71961 h 100498"/>
                <a:gd name="connsiteX114" fmla="*/ 41091 w 102841"/>
                <a:gd name="connsiteY114" fmla="*/ 68228 h 100498"/>
                <a:gd name="connsiteX115" fmla="*/ 40405 w 102841"/>
                <a:gd name="connsiteY115" fmla="*/ 67332 h 100498"/>
                <a:gd name="connsiteX116" fmla="*/ 36033 w 102841"/>
                <a:gd name="connsiteY116" fmla="*/ 65627 h 100498"/>
                <a:gd name="connsiteX117" fmla="*/ 31156 w 102841"/>
                <a:gd name="connsiteY117" fmla="*/ 60760 h 100498"/>
                <a:gd name="connsiteX118" fmla="*/ 26108 w 102841"/>
                <a:gd name="connsiteY118" fmla="*/ 55969 h 100498"/>
                <a:gd name="connsiteX119" fmla="*/ 25422 w 102841"/>
                <a:gd name="connsiteY119" fmla="*/ 54635 h 100498"/>
                <a:gd name="connsiteX120" fmla="*/ 22831 w 102841"/>
                <a:gd name="connsiteY120" fmla="*/ 51006 h 100498"/>
                <a:gd name="connsiteX121" fmla="*/ 19659 w 102841"/>
                <a:gd name="connsiteY121" fmla="*/ 47701 h 100498"/>
                <a:gd name="connsiteX122" fmla="*/ 17136 w 102841"/>
                <a:gd name="connsiteY122" fmla="*/ 45587 h 100498"/>
                <a:gd name="connsiteX123" fmla="*/ 15068 w 102841"/>
                <a:gd name="connsiteY123" fmla="*/ 43186 h 100498"/>
                <a:gd name="connsiteX124" fmla="*/ 12773 w 102841"/>
                <a:gd name="connsiteY124" fmla="*/ 39814 h 100498"/>
                <a:gd name="connsiteX125" fmla="*/ 11582 w 102841"/>
                <a:gd name="connsiteY125" fmla="*/ 34719 h 100498"/>
                <a:gd name="connsiteX126" fmla="*/ 10525 w 102841"/>
                <a:gd name="connsiteY126" fmla="*/ 30185 h 100498"/>
                <a:gd name="connsiteX127" fmla="*/ 9810 w 102841"/>
                <a:gd name="connsiteY127" fmla="*/ 28423 h 100498"/>
                <a:gd name="connsiteX128" fmla="*/ 8354 w 102841"/>
                <a:gd name="connsiteY128" fmla="*/ 27794 h 100498"/>
                <a:gd name="connsiteX129" fmla="*/ 3839 w 102841"/>
                <a:gd name="connsiteY129" fmla="*/ 22393 h 100498"/>
                <a:gd name="connsiteX130" fmla="*/ 0 w 102841"/>
                <a:gd name="connsiteY130" fmla="*/ 19250 h 100498"/>
                <a:gd name="connsiteX131" fmla="*/ 38 w 102841"/>
                <a:gd name="connsiteY131" fmla="*/ 15850 h 100498"/>
                <a:gd name="connsiteX132" fmla="*/ 667 w 102841"/>
                <a:gd name="connsiteY132" fmla="*/ 10163 h 100498"/>
                <a:gd name="connsiteX133" fmla="*/ 1381 w 102841"/>
                <a:gd name="connsiteY133" fmla="*/ 3696 h 100498"/>
                <a:gd name="connsiteX134" fmla="*/ 2305 w 102841"/>
                <a:gd name="connsiteY134" fmla="*/ 2791 h 100498"/>
                <a:gd name="connsiteX135" fmla="*/ 4057 w 102841"/>
                <a:gd name="connsiteY135" fmla="*/ 2305 h 100498"/>
                <a:gd name="connsiteX136" fmla="*/ 6058 w 102841"/>
                <a:gd name="connsiteY136" fmla="*/ 2486 h 100498"/>
                <a:gd name="connsiteX137" fmla="*/ 7801 w 102841"/>
                <a:gd name="connsiteY137" fmla="*/ 3296 h 100498"/>
                <a:gd name="connsiteX138" fmla="*/ 11249 w 102841"/>
                <a:gd name="connsiteY138" fmla="*/ 7725 h 100498"/>
                <a:gd name="connsiteX139" fmla="*/ 13221 w 102841"/>
                <a:gd name="connsiteY139" fmla="*/ 9449 h 100498"/>
                <a:gd name="connsiteX140" fmla="*/ 14887 w 102841"/>
                <a:gd name="connsiteY140" fmla="*/ 10116 h 100498"/>
                <a:gd name="connsiteX141" fmla="*/ 16802 w 102841"/>
                <a:gd name="connsiteY141" fmla="*/ 8249 h 100498"/>
                <a:gd name="connsiteX142" fmla="*/ 19164 w 102841"/>
                <a:gd name="connsiteY142" fmla="*/ 4334 h 100498"/>
                <a:gd name="connsiteX143" fmla="*/ 21231 w 102841"/>
                <a:gd name="connsiteY143" fmla="*/ 2267 h 100498"/>
                <a:gd name="connsiteX144" fmla="*/ 28184 w 102841"/>
                <a:gd name="connsiteY144" fmla="*/ 3020 h 10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102841" h="100498">
                  <a:moveTo>
                    <a:pt x="31604" y="0"/>
                  </a:moveTo>
                  <a:lnTo>
                    <a:pt x="37129" y="3963"/>
                  </a:lnTo>
                  <a:lnTo>
                    <a:pt x="39405" y="4553"/>
                  </a:lnTo>
                  <a:lnTo>
                    <a:pt x="40691" y="4010"/>
                  </a:lnTo>
                  <a:lnTo>
                    <a:pt x="42433" y="4258"/>
                  </a:lnTo>
                  <a:lnTo>
                    <a:pt x="46320" y="5420"/>
                  </a:lnTo>
                  <a:lnTo>
                    <a:pt x="47206" y="5905"/>
                  </a:lnTo>
                  <a:lnTo>
                    <a:pt x="48377" y="5820"/>
                  </a:lnTo>
                  <a:lnTo>
                    <a:pt x="51245" y="4277"/>
                  </a:lnTo>
                  <a:lnTo>
                    <a:pt x="52225" y="4467"/>
                  </a:lnTo>
                  <a:lnTo>
                    <a:pt x="55502" y="7496"/>
                  </a:lnTo>
                  <a:lnTo>
                    <a:pt x="57150" y="7534"/>
                  </a:lnTo>
                  <a:lnTo>
                    <a:pt x="59131" y="6230"/>
                  </a:lnTo>
                  <a:lnTo>
                    <a:pt x="60407" y="5096"/>
                  </a:lnTo>
                  <a:lnTo>
                    <a:pt x="64179" y="5944"/>
                  </a:lnTo>
                  <a:lnTo>
                    <a:pt x="66332" y="5429"/>
                  </a:lnTo>
                  <a:lnTo>
                    <a:pt x="68123" y="5382"/>
                  </a:lnTo>
                  <a:lnTo>
                    <a:pt x="70065" y="5896"/>
                  </a:lnTo>
                  <a:lnTo>
                    <a:pt x="71837" y="6601"/>
                  </a:lnTo>
                  <a:lnTo>
                    <a:pt x="73561" y="7211"/>
                  </a:lnTo>
                  <a:lnTo>
                    <a:pt x="78219" y="7525"/>
                  </a:lnTo>
                  <a:lnTo>
                    <a:pt x="80448" y="9449"/>
                  </a:lnTo>
                  <a:lnTo>
                    <a:pt x="81343" y="11306"/>
                  </a:lnTo>
                  <a:lnTo>
                    <a:pt x="81362" y="12440"/>
                  </a:lnTo>
                  <a:lnTo>
                    <a:pt x="81582" y="13649"/>
                  </a:lnTo>
                  <a:lnTo>
                    <a:pt x="82858" y="14840"/>
                  </a:lnTo>
                  <a:lnTo>
                    <a:pt x="85667" y="15516"/>
                  </a:lnTo>
                  <a:lnTo>
                    <a:pt x="87430" y="15373"/>
                  </a:lnTo>
                  <a:lnTo>
                    <a:pt x="88363" y="15288"/>
                  </a:lnTo>
                  <a:lnTo>
                    <a:pt x="90754" y="14221"/>
                  </a:lnTo>
                  <a:lnTo>
                    <a:pt x="93573" y="13668"/>
                  </a:lnTo>
                  <a:lnTo>
                    <a:pt x="95593" y="14307"/>
                  </a:lnTo>
                  <a:lnTo>
                    <a:pt x="96555" y="14926"/>
                  </a:lnTo>
                  <a:lnTo>
                    <a:pt x="96774" y="15773"/>
                  </a:lnTo>
                  <a:lnTo>
                    <a:pt x="96174" y="18698"/>
                  </a:lnTo>
                  <a:lnTo>
                    <a:pt x="95040" y="21841"/>
                  </a:lnTo>
                  <a:lnTo>
                    <a:pt x="93202" y="25108"/>
                  </a:lnTo>
                  <a:lnTo>
                    <a:pt x="91278" y="28185"/>
                  </a:lnTo>
                  <a:lnTo>
                    <a:pt x="90783" y="29804"/>
                  </a:lnTo>
                  <a:lnTo>
                    <a:pt x="90640" y="32395"/>
                  </a:lnTo>
                  <a:lnTo>
                    <a:pt x="90401" y="34423"/>
                  </a:lnTo>
                  <a:lnTo>
                    <a:pt x="90668" y="35528"/>
                  </a:lnTo>
                  <a:lnTo>
                    <a:pt x="91297" y="36567"/>
                  </a:lnTo>
                  <a:lnTo>
                    <a:pt x="93421" y="37386"/>
                  </a:lnTo>
                  <a:lnTo>
                    <a:pt x="96298" y="39424"/>
                  </a:lnTo>
                  <a:lnTo>
                    <a:pt x="98736" y="42072"/>
                  </a:lnTo>
                  <a:lnTo>
                    <a:pt x="101870" y="45072"/>
                  </a:lnTo>
                  <a:lnTo>
                    <a:pt x="102841" y="46187"/>
                  </a:lnTo>
                  <a:lnTo>
                    <a:pt x="102841" y="47387"/>
                  </a:lnTo>
                  <a:lnTo>
                    <a:pt x="101927" y="48273"/>
                  </a:lnTo>
                  <a:lnTo>
                    <a:pt x="99250" y="48616"/>
                  </a:lnTo>
                  <a:lnTo>
                    <a:pt x="96469" y="48349"/>
                  </a:lnTo>
                  <a:lnTo>
                    <a:pt x="95402" y="48044"/>
                  </a:lnTo>
                  <a:lnTo>
                    <a:pt x="94402" y="48406"/>
                  </a:lnTo>
                  <a:lnTo>
                    <a:pt x="93783" y="49092"/>
                  </a:lnTo>
                  <a:lnTo>
                    <a:pt x="94116" y="49902"/>
                  </a:lnTo>
                  <a:lnTo>
                    <a:pt x="96964" y="53540"/>
                  </a:lnTo>
                  <a:lnTo>
                    <a:pt x="100289" y="58750"/>
                  </a:lnTo>
                  <a:lnTo>
                    <a:pt x="100469" y="60989"/>
                  </a:lnTo>
                  <a:lnTo>
                    <a:pt x="100069" y="62741"/>
                  </a:lnTo>
                  <a:lnTo>
                    <a:pt x="99298" y="63960"/>
                  </a:lnTo>
                  <a:lnTo>
                    <a:pt x="97927" y="63751"/>
                  </a:lnTo>
                  <a:lnTo>
                    <a:pt x="96869" y="62798"/>
                  </a:lnTo>
                  <a:lnTo>
                    <a:pt x="95278" y="62865"/>
                  </a:lnTo>
                  <a:lnTo>
                    <a:pt x="94040" y="63132"/>
                  </a:lnTo>
                  <a:lnTo>
                    <a:pt x="92430" y="65018"/>
                  </a:lnTo>
                  <a:lnTo>
                    <a:pt x="91630" y="64932"/>
                  </a:lnTo>
                  <a:lnTo>
                    <a:pt x="90249" y="65218"/>
                  </a:lnTo>
                  <a:lnTo>
                    <a:pt x="89382" y="65589"/>
                  </a:lnTo>
                  <a:lnTo>
                    <a:pt x="88002" y="65037"/>
                  </a:lnTo>
                  <a:lnTo>
                    <a:pt x="86544" y="64675"/>
                  </a:lnTo>
                  <a:lnTo>
                    <a:pt x="85915" y="65256"/>
                  </a:lnTo>
                  <a:lnTo>
                    <a:pt x="85639" y="66361"/>
                  </a:lnTo>
                  <a:lnTo>
                    <a:pt x="86534" y="68351"/>
                  </a:lnTo>
                  <a:lnTo>
                    <a:pt x="88220" y="71466"/>
                  </a:lnTo>
                  <a:lnTo>
                    <a:pt x="87954" y="73848"/>
                  </a:lnTo>
                  <a:lnTo>
                    <a:pt x="86668" y="74104"/>
                  </a:lnTo>
                  <a:lnTo>
                    <a:pt x="85487" y="72124"/>
                  </a:lnTo>
                  <a:lnTo>
                    <a:pt x="84448" y="71799"/>
                  </a:lnTo>
                  <a:lnTo>
                    <a:pt x="83258" y="71876"/>
                  </a:lnTo>
                  <a:lnTo>
                    <a:pt x="80533" y="74171"/>
                  </a:lnTo>
                  <a:lnTo>
                    <a:pt x="78524" y="76105"/>
                  </a:lnTo>
                  <a:lnTo>
                    <a:pt x="78067" y="77448"/>
                  </a:lnTo>
                  <a:lnTo>
                    <a:pt x="77343" y="78915"/>
                  </a:lnTo>
                  <a:lnTo>
                    <a:pt x="77124" y="79981"/>
                  </a:lnTo>
                  <a:lnTo>
                    <a:pt x="77171" y="83515"/>
                  </a:lnTo>
                  <a:lnTo>
                    <a:pt x="73561" y="84077"/>
                  </a:lnTo>
                  <a:lnTo>
                    <a:pt x="72809" y="84601"/>
                  </a:lnTo>
                  <a:lnTo>
                    <a:pt x="72371" y="85668"/>
                  </a:lnTo>
                  <a:lnTo>
                    <a:pt x="72666" y="90192"/>
                  </a:lnTo>
                  <a:lnTo>
                    <a:pt x="72961" y="92621"/>
                  </a:lnTo>
                  <a:lnTo>
                    <a:pt x="75029" y="96355"/>
                  </a:lnTo>
                  <a:lnTo>
                    <a:pt x="75105" y="97536"/>
                  </a:lnTo>
                  <a:lnTo>
                    <a:pt x="74809" y="98317"/>
                  </a:lnTo>
                  <a:lnTo>
                    <a:pt x="73333" y="99794"/>
                  </a:lnTo>
                  <a:lnTo>
                    <a:pt x="72637" y="100327"/>
                  </a:lnTo>
                  <a:lnTo>
                    <a:pt x="72171" y="100498"/>
                  </a:lnTo>
                  <a:lnTo>
                    <a:pt x="69771" y="99527"/>
                  </a:lnTo>
                  <a:lnTo>
                    <a:pt x="68627" y="99060"/>
                  </a:lnTo>
                  <a:lnTo>
                    <a:pt x="63818" y="95765"/>
                  </a:lnTo>
                  <a:lnTo>
                    <a:pt x="61693" y="93926"/>
                  </a:lnTo>
                  <a:lnTo>
                    <a:pt x="58331" y="91526"/>
                  </a:lnTo>
                  <a:lnTo>
                    <a:pt x="56264" y="90154"/>
                  </a:lnTo>
                  <a:lnTo>
                    <a:pt x="55216" y="88078"/>
                  </a:lnTo>
                  <a:lnTo>
                    <a:pt x="53559" y="87602"/>
                  </a:lnTo>
                  <a:lnTo>
                    <a:pt x="51616" y="88268"/>
                  </a:lnTo>
                  <a:lnTo>
                    <a:pt x="49416" y="86763"/>
                  </a:lnTo>
                  <a:lnTo>
                    <a:pt x="50978" y="85992"/>
                  </a:lnTo>
                  <a:lnTo>
                    <a:pt x="51358" y="85249"/>
                  </a:lnTo>
                  <a:lnTo>
                    <a:pt x="51159" y="84277"/>
                  </a:lnTo>
                  <a:lnTo>
                    <a:pt x="50473" y="82963"/>
                  </a:lnTo>
                  <a:lnTo>
                    <a:pt x="44529" y="77267"/>
                  </a:lnTo>
                  <a:lnTo>
                    <a:pt x="41605" y="73362"/>
                  </a:lnTo>
                  <a:lnTo>
                    <a:pt x="41138" y="71961"/>
                  </a:lnTo>
                  <a:lnTo>
                    <a:pt x="41091" y="68228"/>
                  </a:lnTo>
                  <a:lnTo>
                    <a:pt x="40405" y="67332"/>
                  </a:lnTo>
                  <a:lnTo>
                    <a:pt x="36033" y="65627"/>
                  </a:lnTo>
                  <a:lnTo>
                    <a:pt x="31156" y="60760"/>
                  </a:lnTo>
                  <a:lnTo>
                    <a:pt x="26108" y="55969"/>
                  </a:lnTo>
                  <a:lnTo>
                    <a:pt x="25422" y="54635"/>
                  </a:lnTo>
                  <a:lnTo>
                    <a:pt x="22831" y="51006"/>
                  </a:lnTo>
                  <a:lnTo>
                    <a:pt x="19659" y="47701"/>
                  </a:lnTo>
                  <a:lnTo>
                    <a:pt x="17136" y="45587"/>
                  </a:lnTo>
                  <a:lnTo>
                    <a:pt x="15068" y="43186"/>
                  </a:lnTo>
                  <a:lnTo>
                    <a:pt x="12773" y="39814"/>
                  </a:lnTo>
                  <a:lnTo>
                    <a:pt x="11582" y="34719"/>
                  </a:lnTo>
                  <a:lnTo>
                    <a:pt x="10525" y="30185"/>
                  </a:lnTo>
                  <a:lnTo>
                    <a:pt x="9810" y="28423"/>
                  </a:lnTo>
                  <a:lnTo>
                    <a:pt x="8354" y="27794"/>
                  </a:lnTo>
                  <a:lnTo>
                    <a:pt x="3839" y="22393"/>
                  </a:lnTo>
                  <a:lnTo>
                    <a:pt x="0" y="19250"/>
                  </a:lnTo>
                  <a:lnTo>
                    <a:pt x="38" y="15850"/>
                  </a:lnTo>
                  <a:lnTo>
                    <a:pt x="667" y="10163"/>
                  </a:lnTo>
                  <a:lnTo>
                    <a:pt x="1381" y="3696"/>
                  </a:lnTo>
                  <a:lnTo>
                    <a:pt x="2305" y="2791"/>
                  </a:lnTo>
                  <a:lnTo>
                    <a:pt x="4057" y="2305"/>
                  </a:lnTo>
                  <a:lnTo>
                    <a:pt x="6058" y="2486"/>
                  </a:lnTo>
                  <a:lnTo>
                    <a:pt x="7801" y="3296"/>
                  </a:lnTo>
                  <a:lnTo>
                    <a:pt x="11249" y="7725"/>
                  </a:lnTo>
                  <a:lnTo>
                    <a:pt x="13221" y="9449"/>
                  </a:lnTo>
                  <a:lnTo>
                    <a:pt x="14887" y="10116"/>
                  </a:lnTo>
                  <a:lnTo>
                    <a:pt x="16802" y="8249"/>
                  </a:lnTo>
                  <a:lnTo>
                    <a:pt x="19164" y="4334"/>
                  </a:lnTo>
                  <a:lnTo>
                    <a:pt x="21231" y="2267"/>
                  </a:lnTo>
                  <a:lnTo>
                    <a:pt x="28184" y="3020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" name="Forme libre : forme 9">
              <a:extLst>
                <a:ext uri="{FF2B5EF4-FFF2-40B4-BE49-F238E27FC236}">
                  <a16:creationId xmlns:a16="http://schemas.microsoft.com/office/drawing/2014/main" id="{D2B1ECCE-ECED-46FE-F8E1-AC483027F54F}"/>
                </a:ext>
              </a:extLst>
            </p:cNvPr>
            <p:cNvSpPr/>
            <p:nvPr/>
          </p:nvSpPr>
          <p:spPr>
            <a:xfrm>
              <a:off x="5401906" y="4307727"/>
              <a:ext cx="267566" cy="208252"/>
            </a:xfrm>
            <a:custGeom>
              <a:avLst/>
              <a:gdLst>
                <a:gd name="connsiteX0" fmla="*/ 61246 w 102641"/>
                <a:gd name="connsiteY0" fmla="*/ 2496 h 83010"/>
                <a:gd name="connsiteX1" fmla="*/ 61370 w 102641"/>
                <a:gd name="connsiteY1" fmla="*/ 3381 h 83010"/>
                <a:gd name="connsiteX2" fmla="*/ 62103 w 102641"/>
                <a:gd name="connsiteY2" fmla="*/ 3753 h 83010"/>
                <a:gd name="connsiteX3" fmla="*/ 64665 w 102641"/>
                <a:gd name="connsiteY3" fmla="*/ 3563 h 83010"/>
                <a:gd name="connsiteX4" fmla="*/ 65961 w 102641"/>
                <a:gd name="connsiteY4" fmla="*/ 1953 h 83010"/>
                <a:gd name="connsiteX5" fmla="*/ 66989 w 102641"/>
                <a:gd name="connsiteY5" fmla="*/ 943 h 83010"/>
                <a:gd name="connsiteX6" fmla="*/ 67751 w 102641"/>
                <a:gd name="connsiteY6" fmla="*/ 1629 h 83010"/>
                <a:gd name="connsiteX7" fmla="*/ 68123 w 102641"/>
                <a:gd name="connsiteY7" fmla="*/ 3610 h 83010"/>
                <a:gd name="connsiteX8" fmla="*/ 68827 w 102641"/>
                <a:gd name="connsiteY8" fmla="*/ 6182 h 83010"/>
                <a:gd name="connsiteX9" fmla="*/ 71885 w 102641"/>
                <a:gd name="connsiteY9" fmla="*/ 9058 h 83010"/>
                <a:gd name="connsiteX10" fmla="*/ 74466 w 102641"/>
                <a:gd name="connsiteY10" fmla="*/ 9878 h 83010"/>
                <a:gd name="connsiteX11" fmla="*/ 77648 w 102641"/>
                <a:gd name="connsiteY11" fmla="*/ 9315 h 83010"/>
                <a:gd name="connsiteX12" fmla="*/ 78905 w 102641"/>
                <a:gd name="connsiteY12" fmla="*/ 8801 h 83010"/>
                <a:gd name="connsiteX13" fmla="*/ 79762 w 102641"/>
                <a:gd name="connsiteY13" fmla="*/ 9230 h 83010"/>
                <a:gd name="connsiteX14" fmla="*/ 80610 w 102641"/>
                <a:gd name="connsiteY14" fmla="*/ 10754 h 83010"/>
                <a:gd name="connsiteX15" fmla="*/ 82429 w 102641"/>
                <a:gd name="connsiteY15" fmla="*/ 12487 h 83010"/>
                <a:gd name="connsiteX16" fmla="*/ 86277 w 102641"/>
                <a:gd name="connsiteY16" fmla="*/ 13726 h 83010"/>
                <a:gd name="connsiteX17" fmla="*/ 87449 w 102641"/>
                <a:gd name="connsiteY17" fmla="*/ 14421 h 83010"/>
                <a:gd name="connsiteX18" fmla="*/ 88268 w 102641"/>
                <a:gd name="connsiteY18" fmla="*/ 15593 h 83010"/>
                <a:gd name="connsiteX19" fmla="*/ 88030 w 102641"/>
                <a:gd name="connsiteY19" fmla="*/ 17250 h 83010"/>
                <a:gd name="connsiteX20" fmla="*/ 86201 w 102641"/>
                <a:gd name="connsiteY20" fmla="*/ 21393 h 83010"/>
                <a:gd name="connsiteX21" fmla="*/ 85963 w 102641"/>
                <a:gd name="connsiteY21" fmla="*/ 22613 h 83010"/>
                <a:gd name="connsiteX22" fmla="*/ 86211 w 102641"/>
                <a:gd name="connsiteY22" fmla="*/ 23022 h 83010"/>
                <a:gd name="connsiteX23" fmla="*/ 85849 w 102641"/>
                <a:gd name="connsiteY23" fmla="*/ 23784 h 83010"/>
                <a:gd name="connsiteX24" fmla="*/ 83468 w 102641"/>
                <a:gd name="connsiteY24" fmla="*/ 26556 h 83010"/>
                <a:gd name="connsiteX25" fmla="*/ 83258 w 102641"/>
                <a:gd name="connsiteY25" fmla="*/ 27527 h 83010"/>
                <a:gd name="connsiteX26" fmla="*/ 84048 w 102641"/>
                <a:gd name="connsiteY26" fmla="*/ 29118 h 83010"/>
                <a:gd name="connsiteX27" fmla="*/ 84706 w 102641"/>
                <a:gd name="connsiteY27" fmla="*/ 30432 h 83010"/>
                <a:gd name="connsiteX28" fmla="*/ 84725 w 102641"/>
                <a:gd name="connsiteY28" fmla="*/ 30175 h 83010"/>
                <a:gd name="connsiteX29" fmla="*/ 88373 w 102641"/>
                <a:gd name="connsiteY29" fmla="*/ 28985 h 83010"/>
                <a:gd name="connsiteX30" fmla="*/ 90021 w 102641"/>
                <a:gd name="connsiteY30" fmla="*/ 31375 h 83010"/>
                <a:gd name="connsiteX31" fmla="*/ 92726 w 102641"/>
                <a:gd name="connsiteY31" fmla="*/ 31461 h 83010"/>
                <a:gd name="connsiteX32" fmla="*/ 93050 w 102641"/>
                <a:gd name="connsiteY32" fmla="*/ 32233 h 83010"/>
                <a:gd name="connsiteX33" fmla="*/ 96088 w 102641"/>
                <a:gd name="connsiteY33" fmla="*/ 34462 h 83010"/>
                <a:gd name="connsiteX34" fmla="*/ 97021 w 102641"/>
                <a:gd name="connsiteY34" fmla="*/ 36224 h 83010"/>
                <a:gd name="connsiteX35" fmla="*/ 99203 w 102641"/>
                <a:gd name="connsiteY35" fmla="*/ 37929 h 83010"/>
                <a:gd name="connsiteX36" fmla="*/ 97393 w 102641"/>
                <a:gd name="connsiteY36" fmla="*/ 40081 h 83010"/>
                <a:gd name="connsiteX37" fmla="*/ 97669 w 102641"/>
                <a:gd name="connsiteY37" fmla="*/ 41043 h 83010"/>
                <a:gd name="connsiteX38" fmla="*/ 98317 w 102641"/>
                <a:gd name="connsiteY38" fmla="*/ 42024 h 83010"/>
                <a:gd name="connsiteX39" fmla="*/ 100774 w 102641"/>
                <a:gd name="connsiteY39" fmla="*/ 42596 h 83010"/>
                <a:gd name="connsiteX40" fmla="*/ 102003 w 102641"/>
                <a:gd name="connsiteY40" fmla="*/ 44006 h 83010"/>
                <a:gd name="connsiteX41" fmla="*/ 102079 w 102641"/>
                <a:gd name="connsiteY41" fmla="*/ 46168 h 83010"/>
                <a:gd name="connsiteX42" fmla="*/ 102641 w 102641"/>
                <a:gd name="connsiteY42" fmla="*/ 49673 h 83010"/>
                <a:gd name="connsiteX43" fmla="*/ 97574 w 102641"/>
                <a:gd name="connsiteY43" fmla="*/ 53159 h 83010"/>
                <a:gd name="connsiteX44" fmla="*/ 96136 w 102641"/>
                <a:gd name="connsiteY44" fmla="*/ 57045 h 83010"/>
                <a:gd name="connsiteX45" fmla="*/ 96002 w 102641"/>
                <a:gd name="connsiteY45" fmla="*/ 57807 h 83010"/>
                <a:gd name="connsiteX46" fmla="*/ 95831 w 102641"/>
                <a:gd name="connsiteY46" fmla="*/ 57693 h 83010"/>
                <a:gd name="connsiteX47" fmla="*/ 95278 w 102641"/>
                <a:gd name="connsiteY47" fmla="*/ 56407 h 83010"/>
                <a:gd name="connsiteX48" fmla="*/ 94354 w 102641"/>
                <a:gd name="connsiteY48" fmla="*/ 56426 h 83010"/>
                <a:gd name="connsiteX49" fmla="*/ 92259 w 102641"/>
                <a:gd name="connsiteY49" fmla="*/ 55883 h 83010"/>
                <a:gd name="connsiteX50" fmla="*/ 89335 w 102641"/>
                <a:gd name="connsiteY50" fmla="*/ 59389 h 83010"/>
                <a:gd name="connsiteX51" fmla="*/ 88011 w 102641"/>
                <a:gd name="connsiteY51" fmla="*/ 62303 h 83010"/>
                <a:gd name="connsiteX52" fmla="*/ 87230 w 102641"/>
                <a:gd name="connsiteY52" fmla="*/ 64437 h 83010"/>
                <a:gd name="connsiteX53" fmla="*/ 86049 w 102641"/>
                <a:gd name="connsiteY53" fmla="*/ 66161 h 83010"/>
                <a:gd name="connsiteX54" fmla="*/ 85811 w 102641"/>
                <a:gd name="connsiteY54" fmla="*/ 67980 h 83010"/>
                <a:gd name="connsiteX55" fmla="*/ 85963 w 102641"/>
                <a:gd name="connsiteY55" fmla="*/ 68752 h 83010"/>
                <a:gd name="connsiteX56" fmla="*/ 85563 w 102641"/>
                <a:gd name="connsiteY56" fmla="*/ 69733 h 83010"/>
                <a:gd name="connsiteX57" fmla="*/ 85544 w 102641"/>
                <a:gd name="connsiteY57" fmla="*/ 70771 h 83010"/>
                <a:gd name="connsiteX58" fmla="*/ 87220 w 102641"/>
                <a:gd name="connsiteY58" fmla="*/ 72800 h 83010"/>
                <a:gd name="connsiteX59" fmla="*/ 87649 w 102641"/>
                <a:gd name="connsiteY59" fmla="*/ 73905 h 83010"/>
                <a:gd name="connsiteX60" fmla="*/ 89697 w 102641"/>
                <a:gd name="connsiteY60" fmla="*/ 77514 h 83010"/>
                <a:gd name="connsiteX61" fmla="*/ 89059 w 102641"/>
                <a:gd name="connsiteY61" fmla="*/ 78820 h 83010"/>
                <a:gd name="connsiteX62" fmla="*/ 88554 w 102641"/>
                <a:gd name="connsiteY62" fmla="*/ 80239 h 83010"/>
                <a:gd name="connsiteX63" fmla="*/ 87963 w 102641"/>
                <a:gd name="connsiteY63" fmla="*/ 81248 h 83010"/>
                <a:gd name="connsiteX64" fmla="*/ 87268 w 102641"/>
                <a:gd name="connsiteY64" fmla="*/ 81887 h 83010"/>
                <a:gd name="connsiteX65" fmla="*/ 85154 w 102641"/>
                <a:gd name="connsiteY65" fmla="*/ 81848 h 83010"/>
                <a:gd name="connsiteX66" fmla="*/ 82467 w 102641"/>
                <a:gd name="connsiteY66" fmla="*/ 82296 h 83010"/>
                <a:gd name="connsiteX67" fmla="*/ 80658 w 102641"/>
                <a:gd name="connsiteY67" fmla="*/ 83010 h 83010"/>
                <a:gd name="connsiteX68" fmla="*/ 79724 w 102641"/>
                <a:gd name="connsiteY68" fmla="*/ 83010 h 83010"/>
                <a:gd name="connsiteX69" fmla="*/ 77781 w 102641"/>
                <a:gd name="connsiteY69" fmla="*/ 81220 h 83010"/>
                <a:gd name="connsiteX70" fmla="*/ 75609 w 102641"/>
                <a:gd name="connsiteY70" fmla="*/ 78534 h 83010"/>
                <a:gd name="connsiteX71" fmla="*/ 74238 w 102641"/>
                <a:gd name="connsiteY71" fmla="*/ 77248 h 83010"/>
                <a:gd name="connsiteX72" fmla="*/ 73609 w 102641"/>
                <a:gd name="connsiteY72" fmla="*/ 76143 h 83010"/>
                <a:gd name="connsiteX73" fmla="*/ 71904 w 102641"/>
                <a:gd name="connsiteY73" fmla="*/ 75676 h 83010"/>
                <a:gd name="connsiteX74" fmla="*/ 69475 w 102641"/>
                <a:gd name="connsiteY74" fmla="*/ 74352 h 83010"/>
                <a:gd name="connsiteX75" fmla="*/ 67789 w 102641"/>
                <a:gd name="connsiteY75" fmla="*/ 72905 h 83010"/>
                <a:gd name="connsiteX76" fmla="*/ 66342 w 102641"/>
                <a:gd name="connsiteY76" fmla="*/ 72000 h 83010"/>
                <a:gd name="connsiteX77" fmla="*/ 64303 w 102641"/>
                <a:gd name="connsiteY77" fmla="*/ 71552 h 83010"/>
                <a:gd name="connsiteX78" fmla="*/ 62617 w 102641"/>
                <a:gd name="connsiteY78" fmla="*/ 71599 h 83010"/>
                <a:gd name="connsiteX79" fmla="*/ 62131 w 102641"/>
                <a:gd name="connsiteY79" fmla="*/ 69161 h 83010"/>
                <a:gd name="connsiteX80" fmla="*/ 61922 w 102641"/>
                <a:gd name="connsiteY80" fmla="*/ 66380 h 83010"/>
                <a:gd name="connsiteX81" fmla="*/ 60550 w 102641"/>
                <a:gd name="connsiteY81" fmla="*/ 64503 h 83010"/>
                <a:gd name="connsiteX82" fmla="*/ 62436 w 102641"/>
                <a:gd name="connsiteY82" fmla="*/ 57188 h 83010"/>
                <a:gd name="connsiteX83" fmla="*/ 61312 w 102641"/>
                <a:gd name="connsiteY83" fmla="*/ 56474 h 83010"/>
                <a:gd name="connsiteX84" fmla="*/ 60093 w 102641"/>
                <a:gd name="connsiteY84" fmla="*/ 57055 h 83010"/>
                <a:gd name="connsiteX85" fmla="*/ 58321 w 102641"/>
                <a:gd name="connsiteY85" fmla="*/ 58807 h 83010"/>
                <a:gd name="connsiteX86" fmla="*/ 57474 w 102641"/>
                <a:gd name="connsiteY86" fmla="*/ 60884 h 83010"/>
                <a:gd name="connsiteX87" fmla="*/ 56969 w 102641"/>
                <a:gd name="connsiteY87" fmla="*/ 62732 h 83010"/>
                <a:gd name="connsiteX88" fmla="*/ 53997 w 102641"/>
                <a:gd name="connsiteY88" fmla="*/ 64475 h 83010"/>
                <a:gd name="connsiteX89" fmla="*/ 49282 w 102641"/>
                <a:gd name="connsiteY89" fmla="*/ 65113 h 83010"/>
                <a:gd name="connsiteX90" fmla="*/ 44129 w 102641"/>
                <a:gd name="connsiteY90" fmla="*/ 64475 h 83010"/>
                <a:gd name="connsiteX91" fmla="*/ 43424 w 102641"/>
                <a:gd name="connsiteY91" fmla="*/ 64008 h 83010"/>
                <a:gd name="connsiteX92" fmla="*/ 43091 w 102641"/>
                <a:gd name="connsiteY92" fmla="*/ 63475 h 83010"/>
                <a:gd name="connsiteX93" fmla="*/ 43091 w 102641"/>
                <a:gd name="connsiteY93" fmla="*/ 62837 h 83010"/>
                <a:gd name="connsiteX94" fmla="*/ 43443 w 102641"/>
                <a:gd name="connsiteY94" fmla="*/ 61846 h 83010"/>
                <a:gd name="connsiteX95" fmla="*/ 44339 w 102641"/>
                <a:gd name="connsiteY95" fmla="*/ 60636 h 83010"/>
                <a:gd name="connsiteX96" fmla="*/ 44567 w 102641"/>
                <a:gd name="connsiteY96" fmla="*/ 58922 h 83010"/>
                <a:gd name="connsiteX97" fmla="*/ 43644 w 102641"/>
                <a:gd name="connsiteY97" fmla="*/ 57436 h 83010"/>
                <a:gd name="connsiteX98" fmla="*/ 43043 w 102641"/>
                <a:gd name="connsiteY98" fmla="*/ 56855 h 83010"/>
                <a:gd name="connsiteX99" fmla="*/ 43281 w 102641"/>
                <a:gd name="connsiteY99" fmla="*/ 55417 h 83010"/>
                <a:gd name="connsiteX100" fmla="*/ 43958 w 102641"/>
                <a:gd name="connsiteY100" fmla="*/ 53616 h 83010"/>
                <a:gd name="connsiteX101" fmla="*/ 44101 w 102641"/>
                <a:gd name="connsiteY101" fmla="*/ 52578 h 83010"/>
                <a:gd name="connsiteX102" fmla="*/ 40605 w 102641"/>
                <a:gd name="connsiteY102" fmla="*/ 49464 h 83010"/>
                <a:gd name="connsiteX103" fmla="*/ 38081 w 102641"/>
                <a:gd name="connsiteY103" fmla="*/ 48854 h 83010"/>
                <a:gd name="connsiteX104" fmla="*/ 35633 w 102641"/>
                <a:gd name="connsiteY104" fmla="*/ 48739 h 83010"/>
                <a:gd name="connsiteX105" fmla="*/ 33776 w 102641"/>
                <a:gd name="connsiteY105" fmla="*/ 48387 h 83010"/>
                <a:gd name="connsiteX106" fmla="*/ 32690 w 102641"/>
                <a:gd name="connsiteY106" fmla="*/ 48539 h 83010"/>
                <a:gd name="connsiteX107" fmla="*/ 31918 w 102641"/>
                <a:gd name="connsiteY107" fmla="*/ 49444 h 83010"/>
                <a:gd name="connsiteX108" fmla="*/ 31127 w 102641"/>
                <a:gd name="connsiteY108" fmla="*/ 50102 h 83010"/>
                <a:gd name="connsiteX109" fmla="*/ 30537 w 102641"/>
                <a:gd name="connsiteY109" fmla="*/ 49321 h 83010"/>
                <a:gd name="connsiteX110" fmla="*/ 29451 w 102641"/>
                <a:gd name="connsiteY110" fmla="*/ 43777 h 83010"/>
                <a:gd name="connsiteX111" fmla="*/ 28613 w 102641"/>
                <a:gd name="connsiteY111" fmla="*/ 42939 h 83010"/>
                <a:gd name="connsiteX112" fmla="*/ 25451 w 102641"/>
                <a:gd name="connsiteY112" fmla="*/ 42005 h 83010"/>
                <a:gd name="connsiteX113" fmla="*/ 21146 w 102641"/>
                <a:gd name="connsiteY113" fmla="*/ 41672 h 83010"/>
                <a:gd name="connsiteX114" fmla="*/ 20002 w 102641"/>
                <a:gd name="connsiteY114" fmla="*/ 40662 h 83010"/>
                <a:gd name="connsiteX115" fmla="*/ 19374 w 102641"/>
                <a:gd name="connsiteY115" fmla="*/ 38157 h 83010"/>
                <a:gd name="connsiteX116" fmla="*/ 18974 w 102641"/>
                <a:gd name="connsiteY116" fmla="*/ 35147 h 83010"/>
                <a:gd name="connsiteX117" fmla="*/ 17564 w 102641"/>
                <a:gd name="connsiteY117" fmla="*/ 32252 h 83010"/>
                <a:gd name="connsiteX118" fmla="*/ 16840 w 102641"/>
                <a:gd name="connsiteY118" fmla="*/ 31518 h 83010"/>
                <a:gd name="connsiteX119" fmla="*/ 15554 w 102641"/>
                <a:gd name="connsiteY119" fmla="*/ 30242 h 83010"/>
                <a:gd name="connsiteX120" fmla="*/ 13306 w 102641"/>
                <a:gd name="connsiteY120" fmla="*/ 30766 h 83010"/>
                <a:gd name="connsiteX121" fmla="*/ 10611 w 102641"/>
                <a:gd name="connsiteY121" fmla="*/ 32452 h 83010"/>
                <a:gd name="connsiteX122" fmla="*/ 9020 w 102641"/>
                <a:gd name="connsiteY122" fmla="*/ 32909 h 83010"/>
                <a:gd name="connsiteX123" fmla="*/ 8411 w 102641"/>
                <a:gd name="connsiteY123" fmla="*/ 33090 h 83010"/>
                <a:gd name="connsiteX124" fmla="*/ 6267 w 102641"/>
                <a:gd name="connsiteY124" fmla="*/ 31452 h 83010"/>
                <a:gd name="connsiteX125" fmla="*/ 3848 w 102641"/>
                <a:gd name="connsiteY125" fmla="*/ 28890 h 83010"/>
                <a:gd name="connsiteX126" fmla="*/ 1914 w 102641"/>
                <a:gd name="connsiteY126" fmla="*/ 26165 h 83010"/>
                <a:gd name="connsiteX127" fmla="*/ 1448 w 102641"/>
                <a:gd name="connsiteY127" fmla="*/ 24651 h 83010"/>
                <a:gd name="connsiteX128" fmla="*/ 2038 w 102641"/>
                <a:gd name="connsiteY128" fmla="*/ 22813 h 83010"/>
                <a:gd name="connsiteX129" fmla="*/ 1333 w 102641"/>
                <a:gd name="connsiteY129" fmla="*/ 21403 h 83010"/>
                <a:gd name="connsiteX130" fmla="*/ 295 w 102641"/>
                <a:gd name="connsiteY130" fmla="*/ 18822 h 83010"/>
                <a:gd name="connsiteX131" fmla="*/ 0 w 102641"/>
                <a:gd name="connsiteY131" fmla="*/ 16802 h 83010"/>
                <a:gd name="connsiteX132" fmla="*/ 11630 w 102641"/>
                <a:gd name="connsiteY132" fmla="*/ 9640 h 83010"/>
                <a:gd name="connsiteX133" fmla="*/ 18717 w 102641"/>
                <a:gd name="connsiteY133" fmla="*/ 5963 h 83010"/>
                <a:gd name="connsiteX134" fmla="*/ 22060 w 102641"/>
                <a:gd name="connsiteY134" fmla="*/ 4848 h 83010"/>
                <a:gd name="connsiteX135" fmla="*/ 22860 w 102641"/>
                <a:gd name="connsiteY135" fmla="*/ 8544 h 83010"/>
                <a:gd name="connsiteX136" fmla="*/ 23469 w 102641"/>
                <a:gd name="connsiteY136" fmla="*/ 9716 h 83010"/>
                <a:gd name="connsiteX137" fmla="*/ 24260 w 102641"/>
                <a:gd name="connsiteY137" fmla="*/ 10478 h 83010"/>
                <a:gd name="connsiteX138" fmla="*/ 25308 w 102641"/>
                <a:gd name="connsiteY138" fmla="*/ 10630 h 83010"/>
                <a:gd name="connsiteX139" fmla="*/ 26518 w 102641"/>
                <a:gd name="connsiteY139" fmla="*/ 9716 h 83010"/>
                <a:gd name="connsiteX140" fmla="*/ 28213 w 102641"/>
                <a:gd name="connsiteY140" fmla="*/ 8754 h 83010"/>
                <a:gd name="connsiteX141" fmla="*/ 30927 w 102641"/>
                <a:gd name="connsiteY141" fmla="*/ 9201 h 83010"/>
                <a:gd name="connsiteX142" fmla="*/ 32899 w 102641"/>
                <a:gd name="connsiteY142" fmla="*/ 10087 h 83010"/>
                <a:gd name="connsiteX143" fmla="*/ 33594 w 102641"/>
                <a:gd name="connsiteY143" fmla="*/ 11011 h 83010"/>
                <a:gd name="connsiteX144" fmla="*/ 34909 w 102641"/>
                <a:gd name="connsiteY144" fmla="*/ 11887 h 83010"/>
                <a:gd name="connsiteX145" fmla="*/ 36814 w 102641"/>
                <a:gd name="connsiteY145" fmla="*/ 12097 h 83010"/>
                <a:gd name="connsiteX146" fmla="*/ 40500 w 102641"/>
                <a:gd name="connsiteY146" fmla="*/ 10421 h 83010"/>
                <a:gd name="connsiteX147" fmla="*/ 44044 w 102641"/>
                <a:gd name="connsiteY147" fmla="*/ 7868 h 83010"/>
                <a:gd name="connsiteX148" fmla="*/ 45082 w 102641"/>
                <a:gd name="connsiteY148" fmla="*/ 6087 h 83010"/>
                <a:gd name="connsiteX149" fmla="*/ 45472 w 102641"/>
                <a:gd name="connsiteY149" fmla="*/ 4477 h 83010"/>
                <a:gd name="connsiteX150" fmla="*/ 47568 w 102641"/>
                <a:gd name="connsiteY150" fmla="*/ 5544 h 83010"/>
                <a:gd name="connsiteX151" fmla="*/ 49416 w 102641"/>
                <a:gd name="connsiteY151" fmla="*/ 5772 h 83010"/>
                <a:gd name="connsiteX152" fmla="*/ 50235 w 102641"/>
                <a:gd name="connsiteY152" fmla="*/ 5296 h 83010"/>
                <a:gd name="connsiteX153" fmla="*/ 49711 w 102641"/>
                <a:gd name="connsiteY153" fmla="*/ 2715 h 83010"/>
                <a:gd name="connsiteX154" fmla="*/ 51216 w 102641"/>
                <a:gd name="connsiteY154" fmla="*/ 1334 h 83010"/>
                <a:gd name="connsiteX155" fmla="*/ 52883 w 102641"/>
                <a:gd name="connsiteY155" fmla="*/ 705 h 83010"/>
                <a:gd name="connsiteX156" fmla="*/ 53635 w 102641"/>
                <a:gd name="connsiteY156" fmla="*/ 1819 h 83010"/>
                <a:gd name="connsiteX157" fmla="*/ 55169 w 102641"/>
                <a:gd name="connsiteY157" fmla="*/ 2962 h 83010"/>
                <a:gd name="connsiteX158" fmla="*/ 56378 w 102641"/>
                <a:gd name="connsiteY158" fmla="*/ 2972 h 83010"/>
                <a:gd name="connsiteX159" fmla="*/ 59626 w 102641"/>
                <a:gd name="connsiteY159" fmla="*/ 0 h 83010"/>
                <a:gd name="connsiteX160" fmla="*/ 60388 w 102641"/>
                <a:gd name="connsiteY160" fmla="*/ 591 h 83010"/>
                <a:gd name="connsiteX161" fmla="*/ 61093 w 102641"/>
                <a:gd name="connsiteY161" fmla="*/ 1648 h 83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102641" h="83010">
                  <a:moveTo>
                    <a:pt x="61246" y="2496"/>
                  </a:moveTo>
                  <a:lnTo>
                    <a:pt x="61370" y="3381"/>
                  </a:lnTo>
                  <a:lnTo>
                    <a:pt x="62103" y="3753"/>
                  </a:lnTo>
                  <a:lnTo>
                    <a:pt x="64665" y="3563"/>
                  </a:lnTo>
                  <a:lnTo>
                    <a:pt x="65961" y="1953"/>
                  </a:lnTo>
                  <a:lnTo>
                    <a:pt x="66989" y="943"/>
                  </a:lnTo>
                  <a:lnTo>
                    <a:pt x="67751" y="1629"/>
                  </a:lnTo>
                  <a:lnTo>
                    <a:pt x="68123" y="3610"/>
                  </a:lnTo>
                  <a:lnTo>
                    <a:pt x="68827" y="6182"/>
                  </a:lnTo>
                  <a:lnTo>
                    <a:pt x="71885" y="9058"/>
                  </a:lnTo>
                  <a:lnTo>
                    <a:pt x="74466" y="9878"/>
                  </a:lnTo>
                  <a:lnTo>
                    <a:pt x="77648" y="9315"/>
                  </a:lnTo>
                  <a:lnTo>
                    <a:pt x="78905" y="8801"/>
                  </a:lnTo>
                  <a:lnTo>
                    <a:pt x="79762" y="9230"/>
                  </a:lnTo>
                  <a:lnTo>
                    <a:pt x="80610" y="10754"/>
                  </a:lnTo>
                  <a:lnTo>
                    <a:pt x="82429" y="12487"/>
                  </a:lnTo>
                  <a:lnTo>
                    <a:pt x="86277" y="13726"/>
                  </a:lnTo>
                  <a:lnTo>
                    <a:pt x="87449" y="14421"/>
                  </a:lnTo>
                  <a:lnTo>
                    <a:pt x="88268" y="15593"/>
                  </a:lnTo>
                  <a:lnTo>
                    <a:pt x="88030" y="17250"/>
                  </a:lnTo>
                  <a:lnTo>
                    <a:pt x="86201" y="21393"/>
                  </a:lnTo>
                  <a:lnTo>
                    <a:pt x="85963" y="22613"/>
                  </a:lnTo>
                  <a:lnTo>
                    <a:pt x="86211" y="23022"/>
                  </a:lnTo>
                  <a:lnTo>
                    <a:pt x="85849" y="23784"/>
                  </a:lnTo>
                  <a:lnTo>
                    <a:pt x="83468" y="26556"/>
                  </a:lnTo>
                  <a:lnTo>
                    <a:pt x="83258" y="27527"/>
                  </a:lnTo>
                  <a:lnTo>
                    <a:pt x="84048" y="29118"/>
                  </a:lnTo>
                  <a:lnTo>
                    <a:pt x="84706" y="30432"/>
                  </a:lnTo>
                  <a:lnTo>
                    <a:pt x="84725" y="30175"/>
                  </a:lnTo>
                  <a:lnTo>
                    <a:pt x="88373" y="28985"/>
                  </a:lnTo>
                  <a:lnTo>
                    <a:pt x="90021" y="31375"/>
                  </a:lnTo>
                  <a:lnTo>
                    <a:pt x="92726" y="31461"/>
                  </a:lnTo>
                  <a:lnTo>
                    <a:pt x="93050" y="32233"/>
                  </a:lnTo>
                  <a:lnTo>
                    <a:pt x="96088" y="34462"/>
                  </a:lnTo>
                  <a:lnTo>
                    <a:pt x="97021" y="36224"/>
                  </a:lnTo>
                  <a:lnTo>
                    <a:pt x="99203" y="37929"/>
                  </a:lnTo>
                  <a:lnTo>
                    <a:pt x="97393" y="40081"/>
                  </a:lnTo>
                  <a:lnTo>
                    <a:pt x="97669" y="41043"/>
                  </a:lnTo>
                  <a:lnTo>
                    <a:pt x="98317" y="42024"/>
                  </a:lnTo>
                  <a:lnTo>
                    <a:pt x="100774" y="42596"/>
                  </a:lnTo>
                  <a:lnTo>
                    <a:pt x="102003" y="44006"/>
                  </a:lnTo>
                  <a:lnTo>
                    <a:pt x="102079" y="46168"/>
                  </a:lnTo>
                  <a:lnTo>
                    <a:pt x="102641" y="49673"/>
                  </a:lnTo>
                  <a:lnTo>
                    <a:pt x="97574" y="53159"/>
                  </a:lnTo>
                  <a:lnTo>
                    <a:pt x="96136" y="57045"/>
                  </a:lnTo>
                  <a:lnTo>
                    <a:pt x="96002" y="57807"/>
                  </a:lnTo>
                  <a:lnTo>
                    <a:pt x="95831" y="57693"/>
                  </a:lnTo>
                  <a:lnTo>
                    <a:pt x="95278" y="56407"/>
                  </a:lnTo>
                  <a:lnTo>
                    <a:pt x="94354" y="56426"/>
                  </a:lnTo>
                  <a:lnTo>
                    <a:pt x="92259" y="55883"/>
                  </a:lnTo>
                  <a:lnTo>
                    <a:pt x="89335" y="59389"/>
                  </a:lnTo>
                  <a:lnTo>
                    <a:pt x="88011" y="62303"/>
                  </a:lnTo>
                  <a:lnTo>
                    <a:pt x="87230" y="64437"/>
                  </a:lnTo>
                  <a:lnTo>
                    <a:pt x="86049" y="66161"/>
                  </a:lnTo>
                  <a:lnTo>
                    <a:pt x="85811" y="67980"/>
                  </a:lnTo>
                  <a:lnTo>
                    <a:pt x="85963" y="68752"/>
                  </a:lnTo>
                  <a:lnTo>
                    <a:pt x="85563" y="69733"/>
                  </a:lnTo>
                  <a:lnTo>
                    <a:pt x="85544" y="70771"/>
                  </a:lnTo>
                  <a:lnTo>
                    <a:pt x="87220" y="72800"/>
                  </a:lnTo>
                  <a:lnTo>
                    <a:pt x="87649" y="73905"/>
                  </a:lnTo>
                  <a:lnTo>
                    <a:pt x="89697" y="77514"/>
                  </a:lnTo>
                  <a:lnTo>
                    <a:pt x="89059" y="78820"/>
                  </a:lnTo>
                  <a:lnTo>
                    <a:pt x="88554" y="80239"/>
                  </a:lnTo>
                  <a:lnTo>
                    <a:pt x="87963" y="81248"/>
                  </a:lnTo>
                  <a:lnTo>
                    <a:pt x="87268" y="81887"/>
                  </a:lnTo>
                  <a:lnTo>
                    <a:pt x="85154" y="81848"/>
                  </a:lnTo>
                  <a:lnTo>
                    <a:pt x="82467" y="82296"/>
                  </a:lnTo>
                  <a:lnTo>
                    <a:pt x="80658" y="83010"/>
                  </a:lnTo>
                  <a:lnTo>
                    <a:pt x="79724" y="83010"/>
                  </a:lnTo>
                  <a:lnTo>
                    <a:pt x="77781" y="81220"/>
                  </a:lnTo>
                  <a:lnTo>
                    <a:pt x="75609" y="78534"/>
                  </a:lnTo>
                  <a:lnTo>
                    <a:pt x="74238" y="77248"/>
                  </a:lnTo>
                  <a:lnTo>
                    <a:pt x="73609" y="76143"/>
                  </a:lnTo>
                  <a:lnTo>
                    <a:pt x="71904" y="75676"/>
                  </a:lnTo>
                  <a:lnTo>
                    <a:pt x="69475" y="74352"/>
                  </a:lnTo>
                  <a:lnTo>
                    <a:pt x="67789" y="72905"/>
                  </a:lnTo>
                  <a:lnTo>
                    <a:pt x="66342" y="72000"/>
                  </a:lnTo>
                  <a:lnTo>
                    <a:pt x="64303" y="71552"/>
                  </a:lnTo>
                  <a:lnTo>
                    <a:pt x="62617" y="71599"/>
                  </a:lnTo>
                  <a:lnTo>
                    <a:pt x="62131" y="69161"/>
                  </a:lnTo>
                  <a:lnTo>
                    <a:pt x="61922" y="66380"/>
                  </a:lnTo>
                  <a:lnTo>
                    <a:pt x="60550" y="64503"/>
                  </a:lnTo>
                  <a:lnTo>
                    <a:pt x="62436" y="57188"/>
                  </a:lnTo>
                  <a:lnTo>
                    <a:pt x="61312" y="56474"/>
                  </a:lnTo>
                  <a:lnTo>
                    <a:pt x="60093" y="57055"/>
                  </a:lnTo>
                  <a:lnTo>
                    <a:pt x="58321" y="58807"/>
                  </a:lnTo>
                  <a:lnTo>
                    <a:pt x="57474" y="60884"/>
                  </a:lnTo>
                  <a:lnTo>
                    <a:pt x="56969" y="62732"/>
                  </a:lnTo>
                  <a:lnTo>
                    <a:pt x="53997" y="64475"/>
                  </a:lnTo>
                  <a:lnTo>
                    <a:pt x="49282" y="65113"/>
                  </a:lnTo>
                  <a:lnTo>
                    <a:pt x="44129" y="64475"/>
                  </a:lnTo>
                  <a:lnTo>
                    <a:pt x="43424" y="64008"/>
                  </a:lnTo>
                  <a:lnTo>
                    <a:pt x="43091" y="63475"/>
                  </a:lnTo>
                  <a:lnTo>
                    <a:pt x="43091" y="62837"/>
                  </a:lnTo>
                  <a:lnTo>
                    <a:pt x="43443" y="61846"/>
                  </a:lnTo>
                  <a:lnTo>
                    <a:pt x="44339" y="60636"/>
                  </a:lnTo>
                  <a:lnTo>
                    <a:pt x="44567" y="58922"/>
                  </a:lnTo>
                  <a:lnTo>
                    <a:pt x="43644" y="57436"/>
                  </a:lnTo>
                  <a:lnTo>
                    <a:pt x="43043" y="56855"/>
                  </a:lnTo>
                  <a:lnTo>
                    <a:pt x="43281" y="55417"/>
                  </a:lnTo>
                  <a:lnTo>
                    <a:pt x="43958" y="53616"/>
                  </a:lnTo>
                  <a:lnTo>
                    <a:pt x="44101" y="52578"/>
                  </a:lnTo>
                  <a:lnTo>
                    <a:pt x="40605" y="49464"/>
                  </a:lnTo>
                  <a:lnTo>
                    <a:pt x="38081" y="48854"/>
                  </a:lnTo>
                  <a:lnTo>
                    <a:pt x="35633" y="48739"/>
                  </a:lnTo>
                  <a:lnTo>
                    <a:pt x="33776" y="48387"/>
                  </a:lnTo>
                  <a:lnTo>
                    <a:pt x="32690" y="48539"/>
                  </a:lnTo>
                  <a:lnTo>
                    <a:pt x="31918" y="49444"/>
                  </a:lnTo>
                  <a:lnTo>
                    <a:pt x="31127" y="50102"/>
                  </a:lnTo>
                  <a:lnTo>
                    <a:pt x="30537" y="49321"/>
                  </a:lnTo>
                  <a:lnTo>
                    <a:pt x="29451" y="43777"/>
                  </a:lnTo>
                  <a:lnTo>
                    <a:pt x="28613" y="42939"/>
                  </a:lnTo>
                  <a:lnTo>
                    <a:pt x="25451" y="42005"/>
                  </a:lnTo>
                  <a:lnTo>
                    <a:pt x="21146" y="41672"/>
                  </a:lnTo>
                  <a:lnTo>
                    <a:pt x="20002" y="40662"/>
                  </a:lnTo>
                  <a:lnTo>
                    <a:pt x="19374" y="38157"/>
                  </a:lnTo>
                  <a:lnTo>
                    <a:pt x="18974" y="35147"/>
                  </a:lnTo>
                  <a:lnTo>
                    <a:pt x="17564" y="32252"/>
                  </a:lnTo>
                  <a:lnTo>
                    <a:pt x="16840" y="31518"/>
                  </a:lnTo>
                  <a:lnTo>
                    <a:pt x="15554" y="30242"/>
                  </a:lnTo>
                  <a:lnTo>
                    <a:pt x="13306" y="30766"/>
                  </a:lnTo>
                  <a:lnTo>
                    <a:pt x="10611" y="32452"/>
                  </a:lnTo>
                  <a:lnTo>
                    <a:pt x="9020" y="32909"/>
                  </a:lnTo>
                  <a:lnTo>
                    <a:pt x="8411" y="33090"/>
                  </a:lnTo>
                  <a:lnTo>
                    <a:pt x="6267" y="31452"/>
                  </a:lnTo>
                  <a:lnTo>
                    <a:pt x="3848" y="28890"/>
                  </a:lnTo>
                  <a:lnTo>
                    <a:pt x="1914" y="26165"/>
                  </a:lnTo>
                  <a:lnTo>
                    <a:pt x="1448" y="24651"/>
                  </a:lnTo>
                  <a:lnTo>
                    <a:pt x="2038" y="22813"/>
                  </a:lnTo>
                  <a:lnTo>
                    <a:pt x="1333" y="21403"/>
                  </a:lnTo>
                  <a:lnTo>
                    <a:pt x="295" y="18822"/>
                  </a:lnTo>
                  <a:lnTo>
                    <a:pt x="0" y="16802"/>
                  </a:lnTo>
                  <a:lnTo>
                    <a:pt x="11630" y="9640"/>
                  </a:lnTo>
                  <a:lnTo>
                    <a:pt x="18717" y="5963"/>
                  </a:lnTo>
                  <a:lnTo>
                    <a:pt x="22060" y="4848"/>
                  </a:lnTo>
                  <a:lnTo>
                    <a:pt x="22860" y="8544"/>
                  </a:lnTo>
                  <a:lnTo>
                    <a:pt x="23469" y="9716"/>
                  </a:lnTo>
                  <a:lnTo>
                    <a:pt x="24260" y="10478"/>
                  </a:lnTo>
                  <a:lnTo>
                    <a:pt x="25308" y="10630"/>
                  </a:lnTo>
                  <a:lnTo>
                    <a:pt x="26518" y="9716"/>
                  </a:lnTo>
                  <a:lnTo>
                    <a:pt x="28213" y="8754"/>
                  </a:lnTo>
                  <a:lnTo>
                    <a:pt x="30927" y="9201"/>
                  </a:lnTo>
                  <a:lnTo>
                    <a:pt x="32899" y="10087"/>
                  </a:lnTo>
                  <a:lnTo>
                    <a:pt x="33594" y="11011"/>
                  </a:lnTo>
                  <a:lnTo>
                    <a:pt x="34909" y="11887"/>
                  </a:lnTo>
                  <a:lnTo>
                    <a:pt x="36814" y="12097"/>
                  </a:lnTo>
                  <a:lnTo>
                    <a:pt x="40500" y="10421"/>
                  </a:lnTo>
                  <a:lnTo>
                    <a:pt x="44044" y="7868"/>
                  </a:lnTo>
                  <a:lnTo>
                    <a:pt x="45082" y="6087"/>
                  </a:lnTo>
                  <a:lnTo>
                    <a:pt x="45472" y="4477"/>
                  </a:lnTo>
                  <a:lnTo>
                    <a:pt x="47568" y="5544"/>
                  </a:lnTo>
                  <a:lnTo>
                    <a:pt x="49416" y="5772"/>
                  </a:lnTo>
                  <a:lnTo>
                    <a:pt x="50235" y="5296"/>
                  </a:lnTo>
                  <a:lnTo>
                    <a:pt x="49711" y="2715"/>
                  </a:lnTo>
                  <a:lnTo>
                    <a:pt x="51216" y="1334"/>
                  </a:lnTo>
                  <a:lnTo>
                    <a:pt x="52883" y="705"/>
                  </a:lnTo>
                  <a:lnTo>
                    <a:pt x="53635" y="1819"/>
                  </a:lnTo>
                  <a:lnTo>
                    <a:pt x="55169" y="2962"/>
                  </a:lnTo>
                  <a:lnTo>
                    <a:pt x="56378" y="2972"/>
                  </a:lnTo>
                  <a:lnTo>
                    <a:pt x="59626" y="0"/>
                  </a:lnTo>
                  <a:lnTo>
                    <a:pt x="60388" y="591"/>
                  </a:lnTo>
                  <a:lnTo>
                    <a:pt x="61093" y="1648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" name="Forme libre : forme 10">
              <a:extLst>
                <a:ext uri="{FF2B5EF4-FFF2-40B4-BE49-F238E27FC236}">
                  <a16:creationId xmlns:a16="http://schemas.microsoft.com/office/drawing/2014/main" id="{FAB53C1D-BC97-05E6-DAC1-5A8A6DFC663A}"/>
                </a:ext>
              </a:extLst>
            </p:cNvPr>
            <p:cNvSpPr/>
            <p:nvPr/>
          </p:nvSpPr>
          <p:spPr>
            <a:xfrm>
              <a:off x="6782996" y="5032277"/>
              <a:ext cx="434919" cy="272509"/>
            </a:xfrm>
            <a:custGeom>
              <a:avLst/>
              <a:gdLst>
                <a:gd name="connsiteX0" fmla="*/ 166840 w 166839"/>
                <a:gd name="connsiteY0" fmla="*/ 18345 h 108623"/>
                <a:gd name="connsiteX1" fmla="*/ 166211 w 166839"/>
                <a:gd name="connsiteY1" fmla="*/ 27213 h 108623"/>
                <a:gd name="connsiteX2" fmla="*/ 163630 w 166839"/>
                <a:gd name="connsiteY2" fmla="*/ 31318 h 108623"/>
                <a:gd name="connsiteX3" fmla="*/ 159734 w 166839"/>
                <a:gd name="connsiteY3" fmla="*/ 29946 h 108623"/>
                <a:gd name="connsiteX4" fmla="*/ 154762 w 166839"/>
                <a:gd name="connsiteY4" fmla="*/ 31090 h 108623"/>
                <a:gd name="connsiteX5" fmla="*/ 152133 w 166839"/>
                <a:gd name="connsiteY5" fmla="*/ 35757 h 108623"/>
                <a:gd name="connsiteX6" fmla="*/ 150638 w 166839"/>
                <a:gd name="connsiteY6" fmla="*/ 37138 h 108623"/>
                <a:gd name="connsiteX7" fmla="*/ 149294 w 166839"/>
                <a:gd name="connsiteY7" fmla="*/ 38757 h 108623"/>
                <a:gd name="connsiteX8" fmla="*/ 148428 w 166839"/>
                <a:gd name="connsiteY8" fmla="*/ 44796 h 108623"/>
                <a:gd name="connsiteX9" fmla="*/ 148218 w 166839"/>
                <a:gd name="connsiteY9" fmla="*/ 54645 h 108623"/>
                <a:gd name="connsiteX10" fmla="*/ 146332 w 166839"/>
                <a:gd name="connsiteY10" fmla="*/ 55836 h 108623"/>
                <a:gd name="connsiteX11" fmla="*/ 144609 w 166839"/>
                <a:gd name="connsiteY11" fmla="*/ 56207 h 108623"/>
                <a:gd name="connsiteX12" fmla="*/ 137417 w 166839"/>
                <a:gd name="connsiteY12" fmla="*/ 64837 h 108623"/>
                <a:gd name="connsiteX13" fmla="*/ 141561 w 166839"/>
                <a:gd name="connsiteY13" fmla="*/ 67256 h 108623"/>
                <a:gd name="connsiteX14" fmla="*/ 143389 w 166839"/>
                <a:gd name="connsiteY14" fmla="*/ 69094 h 108623"/>
                <a:gd name="connsiteX15" fmla="*/ 146418 w 166839"/>
                <a:gd name="connsiteY15" fmla="*/ 74209 h 108623"/>
                <a:gd name="connsiteX16" fmla="*/ 150723 w 166839"/>
                <a:gd name="connsiteY16" fmla="*/ 79972 h 108623"/>
                <a:gd name="connsiteX17" fmla="*/ 151581 w 166839"/>
                <a:gd name="connsiteY17" fmla="*/ 82782 h 108623"/>
                <a:gd name="connsiteX18" fmla="*/ 147961 w 166839"/>
                <a:gd name="connsiteY18" fmla="*/ 82153 h 108623"/>
                <a:gd name="connsiteX19" fmla="*/ 146704 w 166839"/>
                <a:gd name="connsiteY19" fmla="*/ 82344 h 108623"/>
                <a:gd name="connsiteX20" fmla="*/ 145894 w 166839"/>
                <a:gd name="connsiteY20" fmla="*/ 83230 h 108623"/>
                <a:gd name="connsiteX21" fmla="*/ 144208 w 166839"/>
                <a:gd name="connsiteY21" fmla="*/ 83048 h 108623"/>
                <a:gd name="connsiteX22" fmla="*/ 142132 w 166839"/>
                <a:gd name="connsiteY22" fmla="*/ 83058 h 108623"/>
                <a:gd name="connsiteX23" fmla="*/ 139960 w 166839"/>
                <a:gd name="connsiteY23" fmla="*/ 84077 h 108623"/>
                <a:gd name="connsiteX24" fmla="*/ 138760 w 166839"/>
                <a:gd name="connsiteY24" fmla="*/ 84506 h 108623"/>
                <a:gd name="connsiteX25" fmla="*/ 137160 w 166839"/>
                <a:gd name="connsiteY25" fmla="*/ 83572 h 108623"/>
                <a:gd name="connsiteX26" fmla="*/ 134159 w 166839"/>
                <a:gd name="connsiteY26" fmla="*/ 80772 h 108623"/>
                <a:gd name="connsiteX27" fmla="*/ 132340 w 166839"/>
                <a:gd name="connsiteY27" fmla="*/ 78819 h 108623"/>
                <a:gd name="connsiteX28" fmla="*/ 130997 w 166839"/>
                <a:gd name="connsiteY28" fmla="*/ 78324 h 108623"/>
                <a:gd name="connsiteX29" fmla="*/ 129635 w 166839"/>
                <a:gd name="connsiteY29" fmla="*/ 78905 h 108623"/>
                <a:gd name="connsiteX30" fmla="*/ 124777 w 166839"/>
                <a:gd name="connsiteY30" fmla="*/ 79572 h 108623"/>
                <a:gd name="connsiteX31" fmla="*/ 123625 w 166839"/>
                <a:gd name="connsiteY31" fmla="*/ 80705 h 108623"/>
                <a:gd name="connsiteX32" fmla="*/ 121377 w 166839"/>
                <a:gd name="connsiteY32" fmla="*/ 81963 h 108623"/>
                <a:gd name="connsiteX33" fmla="*/ 119129 w 166839"/>
                <a:gd name="connsiteY33" fmla="*/ 82563 h 108623"/>
                <a:gd name="connsiteX34" fmla="*/ 115881 w 166839"/>
                <a:gd name="connsiteY34" fmla="*/ 82991 h 108623"/>
                <a:gd name="connsiteX35" fmla="*/ 114176 w 166839"/>
                <a:gd name="connsiteY35" fmla="*/ 82934 h 108623"/>
                <a:gd name="connsiteX36" fmla="*/ 113223 w 166839"/>
                <a:gd name="connsiteY36" fmla="*/ 83534 h 108623"/>
                <a:gd name="connsiteX37" fmla="*/ 112423 w 166839"/>
                <a:gd name="connsiteY37" fmla="*/ 85372 h 108623"/>
                <a:gd name="connsiteX38" fmla="*/ 111880 w 166839"/>
                <a:gd name="connsiteY38" fmla="*/ 87163 h 108623"/>
                <a:gd name="connsiteX39" fmla="*/ 111404 w 166839"/>
                <a:gd name="connsiteY39" fmla="*/ 87887 h 108623"/>
                <a:gd name="connsiteX40" fmla="*/ 107366 w 166839"/>
                <a:gd name="connsiteY40" fmla="*/ 88773 h 108623"/>
                <a:gd name="connsiteX41" fmla="*/ 106470 w 166839"/>
                <a:gd name="connsiteY41" fmla="*/ 89802 h 108623"/>
                <a:gd name="connsiteX42" fmla="*/ 106232 w 166839"/>
                <a:gd name="connsiteY42" fmla="*/ 90802 h 108623"/>
                <a:gd name="connsiteX43" fmla="*/ 106308 w 166839"/>
                <a:gd name="connsiteY43" fmla="*/ 91802 h 108623"/>
                <a:gd name="connsiteX44" fmla="*/ 103089 w 166839"/>
                <a:gd name="connsiteY44" fmla="*/ 90831 h 108623"/>
                <a:gd name="connsiteX45" fmla="*/ 100603 w 166839"/>
                <a:gd name="connsiteY45" fmla="*/ 91488 h 108623"/>
                <a:gd name="connsiteX46" fmla="*/ 100013 w 166839"/>
                <a:gd name="connsiteY46" fmla="*/ 92250 h 108623"/>
                <a:gd name="connsiteX47" fmla="*/ 99498 w 166839"/>
                <a:gd name="connsiteY47" fmla="*/ 93354 h 108623"/>
                <a:gd name="connsiteX48" fmla="*/ 99783 w 166839"/>
                <a:gd name="connsiteY48" fmla="*/ 94526 h 108623"/>
                <a:gd name="connsiteX49" fmla="*/ 100698 w 166839"/>
                <a:gd name="connsiteY49" fmla="*/ 95669 h 108623"/>
                <a:gd name="connsiteX50" fmla="*/ 101565 w 166839"/>
                <a:gd name="connsiteY50" fmla="*/ 98755 h 108623"/>
                <a:gd name="connsiteX51" fmla="*/ 101879 w 166839"/>
                <a:gd name="connsiteY51" fmla="*/ 101832 h 108623"/>
                <a:gd name="connsiteX52" fmla="*/ 101346 w 166839"/>
                <a:gd name="connsiteY52" fmla="*/ 103584 h 108623"/>
                <a:gd name="connsiteX53" fmla="*/ 99498 w 166839"/>
                <a:gd name="connsiteY53" fmla="*/ 104823 h 108623"/>
                <a:gd name="connsiteX54" fmla="*/ 95678 w 166839"/>
                <a:gd name="connsiteY54" fmla="*/ 106204 h 108623"/>
                <a:gd name="connsiteX55" fmla="*/ 91973 w 166839"/>
                <a:gd name="connsiteY55" fmla="*/ 105546 h 108623"/>
                <a:gd name="connsiteX56" fmla="*/ 90354 w 166839"/>
                <a:gd name="connsiteY56" fmla="*/ 106089 h 108623"/>
                <a:gd name="connsiteX57" fmla="*/ 87611 w 166839"/>
                <a:gd name="connsiteY57" fmla="*/ 106261 h 108623"/>
                <a:gd name="connsiteX58" fmla="*/ 85087 w 166839"/>
                <a:gd name="connsiteY58" fmla="*/ 106623 h 108623"/>
                <a:gd name="connsiteX59" fmla="*/ 81210 w 166839"/>
                <a:gd name="connsiteY59" fmla="*/ 107880 h 108623"/>
                <a:gd name="connsiteX60" fmla="*/ 77705 w 166839"/>
                <a:gd name="connsiteY60" fmla="*/ 108623 h 108623"/>
                <a:gd name="connsiteX61" fmla="*/ 74562 w 166839"/>
                <a:gd name="connsiteY61" fmla="*/ 106061 h 108623"/>
                <a:gd name="connsiteX62" fmla="*/ 70828 w 166839"/>
                <a:gd name="connsiteY62" fmla="*/ 104318 h 108623"/>
                <a:gd name="connsiteX63" fmla="*/ 66903 w 166839"/>
                <a:gd name="connsiteY63" fmla="*/ 103279 h 108623"/>
                <a:gd name="connsiteX64" fmla="*/ 65541 w 166839"/>
                <a:gd name="connsiteY64" fmla="*/ 104032 h 108623"/>
                <a:gd name="connsiteX65" fmla="*/ 64951 w 166839"/>
                <a:gd name="connsiteY65" fmla="*/ 104632 h 108623"/>
                <a:gd name="connsiteX66" fmla="*/ 61665 w 166839"/>
                <a:gd name="connsiteY66" fmla="*/ 102365 h 108623"/>
                <a:gd name="connsiteX67" fmla="*/ 60198 w 166839"/>
                <a:gd name="connsiteY67" fmla="*/ 101555 h 108623"/>
                <a:gd name="connsiteX68" fmla="*/ 59484 w 166839"/>
                <a:gd name="connsiteY68" fmla="*/ 100679 h 108623"/>
                <a:gd name="connsiteX69" fmla="*/ 58121 w 166839"/>
                <a:gd name="connsiteY69" fmla="*/ 97650 h 108623"/>
                <a:gd name="connsiteX70" fmla="*/ 57312 w 166839"/>
                <a:gd name="connsiteY70" fmla="*/ 97555 h 108623"/>
                <a:gd name="connsiteX71" fmla="*/ 54607 w 166839"/>
                <a:gd name="connsiteY71" fmla="*/ 98679 h 108623"/>
                <a:gd name="connsiteX72" fmla="*/ 51997 w 166839"/>
                <a:gd name="connsiteY72" fmla="*/ 98631 h 108623"/>
                <a:gd name="connsiteX73" fmla="*/ 50425 w 166839"/>
                <a:gd name="connsiteY73" fmla="*/ 98422 h 108623"/>
                <a:gd name="connsiteX74" fmla="*/ 45758 w 166839"/>
                <a:gd name="connsiteY74" fmla="*/ 98555 h 108623"/>
                <a:gd name="connsiteX75" fmla="*/ 45139 w 166839"/>
                <a:gd name="connsiteY75" fmla="*/ 100622 h 108623"/>
                <a:gd name="connsiteX76" fmla="*/ 44567 w 166839"/>
                <a:gd name="connsiteY76" fmla="*/ 100936 h 108623"/>
                <a:gd name="connsiteX77" fmla="*/ 43558 w 166839"/>
                <a:gd name="connsiteY77" fmla="*/ 101213 h 108623"/>
                <a:gd name="connsiteX78" fmla="*/ 41081 w 166839"/>
                <a:gd name="connsiteY78" fmla="*/ 101079 h 108623"/>
                <a:gd name="connsiteX79" fmla="*/ 37909 w 166839"/>
                <a:gd name="connsiteY79" fmla="*/ 102613 h 108623"/>
                <a:gd name="connsiteX80" fmla="*/ 34509 w 166839"/>
                <a:gd name="connsiteY80" fmla="*/ 103546 h 108623"/>
                <a:gd name="connsiteX81" fmla="*/ 31852 w 166839"/>
                <a:gd name="connsiteY81" fmla="*/ 103565 h 108623"/>
                <a:gd name="connsiteX82" fmla="*/ 29118 w 166839"/>
                <a:gd name="connsiteY82" fmla="*/ 103118 h 108623"/>
                <a:gd name="connsiteX83" fmla="*/ 27480 w 166839"/>
                <a:gd name="connsiteY83" fmla="*/ 103441 h 108623"/>
                <a:gd name="connsiteX84" fmla="*/ 23946 w 166839"/>
                <a:gd name="connsiteY84" fmla="*/ 103603 h 108623"/>
                <a:gd name="connsiteX85" fmla="*/ 21707 w 166839"/>
                <a:gd name="connsiteY85" fmla="*/ 105832 h 108623"/>
                <a:gd name="connsiteX86" fmla="*/ 18221 w 166839"/>
                <a:gd name="connsiteY86" fmla="*/ 105708 h 108623"/>
                <a:gd name="connsiteX87" fmla="*/ 15287 w 166839"/>
                <a:gd name="connsiteY87" fmla="*/ 105337 h 108623"/>
                <a:gd name="connsiteX88" fmla="*/ 15650 w 166839"/>
                <a:gd name="connsiteY88" fmla="*/ 104632 h 108623"/>
                <a:gd name="connsiteX89" fmla="*/ 16240 w 166839"/>
                <a:gd name="connsiteY89" fmla="*/ 95764 h 108623"/>
                <a:gd name="connsiteX90" fmla="*/ 17688 w 166839"/>
                <a:gd name="connsiteY90" fmla="*/ 91792 h 108623"/>
                <a:gd name="connsiteX91" fmla="*/ 17630 w 166839"/>
                <a:gd name="connsiteY91" fmla="*/ 90973 h 108623"/>
                <a:gd name="connsiteX92" fmla="*/ 17316 w 166839"/>
                <a:gd name="connsiteY92" fmla="*/ 90354 h 108623"/>
                <a:gd name="connsiteX93" fmla="*/ 16030 w 166839"/>
                <a:gd name="connsiteY93" fmla="*/ 89716 h 108623"/>
                <a:gd name="connsiteX94" fmla="*/ 15107 w 166839"/>
                <a:gd name="connsiteY94" fmla="*/ 87563 h 108623"/>
                <a:gd name="connsiteX95" fmla="*/ 13173 w 166839"/>
                <a:gd name="connsiteY95" fmla="*/ 81896 h 108623"/>
                <a:gd name="connsiteX96" fmla="*/ 12078 w 166839"/>
                <a:gd name="connsiteY96" fmla="*/ 80753 h 108623"/>
                <a:gd name="connsiteX97" fmla="*/ 9039 w 166839"/>
                <a:gd name="connsiteY97" fmla="*/ 79553 h 108623"/>
                <a:gd name="connsiteX98" fmla="*/ 6382 w 166839"/>
                <a:gd name="connsiteY98" fmla="*/ 77914 h 108623"/>
                <a:gd name="connsiteX99" fmla="*/ 4124 w 166839"/>
                <a:gd name="connsiteY99" fmla="*/ 75743 h 108623"/>
                <a:gd name="connsiteX100" fmla="*/ 0 w 166839"/>
                <a:gd name="connsiteY100" fmla="*/ 70390 h 108623"/>
                <a:gd name="connsiteX101" fmla="*/ 2086 w 166839"/>
                <a:gd name="connsiteY101" fmla="*/ 69856 h 108623"/>
                <a:gd name="connsiteX102" fmla="*/ 2714 w 166839"/>
                <a:gd name="connsiteY102" fmla="*/ 68761 h 108623"/>
                <a:gd name="connsiteX103" fmla="*/ 4800 w 166839"/>
                <a:gd name="connsiteY103" fmla="*/ 65808 h 108623"/>
                <a:gd name="connsiteX104" fmla="*/ 5039 w 166839"/>
                <a:gd name="connsiteY104" fmla="*/ 64360 h 108623"/>
                <a:gd name="connsiteX105" fmla="*/ 4819 w 166839"/>
                <a:gd name="connsiteY105" fmla="*/ 63541 h 108623"/>
                <a:gd name="connsiteX106" fmla="*/ 3420 w 166839"/>
                <a:gd name="connsiteY106" fmla="*/ 62122 h 108623"/>
                <a:gd name="connsiteX107" fmla="*/ 2467 w 166839"/>
                <a:gd name="connsiteY107" fmla="*/ 59007 h 108623"/>
                <a:gd name="connsiteX108" fmla="*/ 3181 w 166839"/>
                <a:gd name="connsiteY108" fmla="*/ 56102 h 108623"/>
                <a:gd name="connsiteX109" fmla="*/ 3248 w 166839"/>
                <a:gd name="connsiteY109" fmla="*/ 54607 h 108623"/>
                <a:gd name="connsiteX110" fmla="*/ 2543 w 166839"/>
                <a:gd name="connsiteY110" fmla="*/ 53121 h 108623"/>
                <a:gd name="connsiteX111" fmla="*/ 3277 w 166839"/>
                <a:gd name="connsiteY111" fmla="*/ 51273 h 108623"/>
                <a:gd name="connsiteX112" fmla="*/ 4781 w 166839"/>
                <a:gd name="connsiteY112" fmla="*/ 50264 h 108623"/>
                <a:gd name="connsiteX113" fmla="*/ 5724 w 166839"/>
                <a:gd name="connsiteY113" fmla="*/ 49968 h 108623"/>
                <a:gd name="connsiteX114" fmla="*/ 9677 w 166839"/>
                <a:gd name="connsiteY114" fmla="*/ 49768 h 108623"/>
                <a:gd name="connsiteX115" fmla="*/ 12182 w 166839"/>
                <a:gd name="connsiteY115" fmla="*/ 46063 h 108623"/>
                <a:gd name="connsiteX116" fmla="*/ 13706 w 166839"/>
                <a:gd name="connsiteY116" fmla="*/ 44882 h 108623"/>
                <a:gd name="connsiteX117" fmla="*/ 15268 w 166839"/>
                <a:gd name="connsiteY117" fmla="*/ 42777 h 108623"/>
                <a:gd name="connsiteX118" fmla="*/ 15992 w 166839"/>
                <a:gd name="connsiteY118" fmla="*/ 42005 h 108623"/>
                <a:gd name="connsiteX119" fmla="*/ 16678 w 166839"/>
                <a:gd name="connsiteY119" fmla="*/ 40367 h 108623"/>
                <a:gd name="connsiteX120" fmla="*/ 16916 w 166839"/>
                <a:gd name="connsiteY120" fmla="*/ 38691 h 108623"/>
                <a:gd name="connsiteX121" fmla="*/ 13782 w 166839"/>
                <a:gd name="connsiteY121" fmla="*/ 36338 h 108623"/>
                <a:gd name="connsiteX122" fmla="*/ 12716 w 166839"/>
                <a:gd name="connsiteY122" fmla="*/ 34566 h 108623"/>
                <a:gd name="connsiteX123" fmla="*/ 11316 w 166839"/>
                <a:gd name="connsiteY123" fmla="*/ 32604 h 108623"/>
                <a:gd name="connsiteX124" fmla="*/ 9430 w 166839"/>
                <a:gd name="connsiteY124" fmla="*/ 31252 h 108623"/>
                <a:gd name="connsiteX125" fmla="*/ 5629 w 166839"/>
                <a:gd name="connsiteY125" fmla="*/ 28927 h 108623"/>
                <a:gd name="connsiteX126" fmla="*/ 4143 w 166839"/>
                <a:gd name="connsiteY126" fmla="*/ 26565 h 108623"/>
                <a:gd name="connsiteX127" fmla="*/ 3477 w 166839"/>
                <a:gd name="connsiteY127" fmla="*/ 23498 h 108623"/>
                <a:gd name="connsiteX128" fmla="*/ 2467 w 166839"/>
                <a:gd name="connsiteY128" fmla="*/ 21174 h 108623"/>
                <a:gd name="connsiteX129" fmla="*/ 1352 w 166839"/>
                <a:gd name="connsiteY129" fmla="*/ 19660 h 108623"/>
                <a:gd name="connsiteX130" fmla="*/ 1143 w 166839"/>
                <a:gd name="connsiteY130" fmla="*/ 18421 h 108623"/>
                <a:gd name="connsiteX131" fmla="*/ 676 w 166839"/>
                <a:gd name="connsiteY131" fmla="*/ 16907 h 108623"/>
                <a:gd name="connsiteX132" fmla="*/ 571 w 166839"/>
                <a:gd name="connsiteY132" fmla="*/ 13926 h 108623"/>
                <a:gd name="connsiteX133" fmla="*/ 1476 w 166839"/>
                <a:gd name="connsiteY133" fmla="*/ 9953 h 108623"/>
                <a:gd name="connsiteX134" fmla="*/ 2057 w 166839"/>
                <a:gd name="connsiteY134" fmla="*/ 8544 h 108623"/>
                <a:gd name="connsiteX135" fmla="*/ 3343 w 166839"/>
                <a:gd name="connsiteY135" fmla="*/ 8153 h 108623"/>
                <a:gd name="connsiteX136" fmla="*/ 6772 w 166839"/>
                <a:gd name="connsiteY136" fmla="*/ 6029 h 108623"/>
                <a:gd name="connsiteX137" fmla="*/ 6934 w 166839"/>
                <a:gd name="connsiteY137" fmla="*/ 3315 h 108623"/>
                <a:gd name="connsiteX138" fmla="*/ 7553 w 166839"/>
                <a:gd name="connsiteY138" fmla="*/ 1619 h 108623"/>
                <a:gd name="connsiteX139" fmla="*/ 8639 w 166839"/>
                <a:gd name="connsiteY139" fmla="*/ 648 h 108623"/>
                <a:gd name="connsiteX140" fmla="*/ 9649 w 166839"/>
                <a:gd name="connsiteY140" fmla="*/ 0 h 108623"/>
                <a:gd name="connsiteX141" fmla="*/ 11525 w 166839"/>
                <a:gd name="connsiteY141" fmla="*/ 1581 h 108623"/>
                <a:gd name="connsiteX142" fmla="*/ 16078 w 166839"/>
                <a:gd name="connsiteY142" fmla="*/ 4105 h 108623"/>
                <a:gd name="connsiteX143" fmla="*/ 18297 w 166839"/>
                <a:gd name="connsiteY143" fmla="*/ 5934 h 108623"/>
                <a:gd name="connsiteX144" fmla="*/ 18183 w 166839"/>
                <a:gd name="connsiteY144" fmla="*/ 7068 h 108623"/>
                <a:gd name="connsiteX145" fmla="*/ 17145 w 166839"/>
                <a:gd name="connsiteY145" fmla="*/ 8191 h 108623"/>
                <a:gd name="connsiteX146" fmla="*/ 15164 w 166839"/>
                <a:gd name="connsiteY146" fmla="*/ 9296 h 108623"/>
                <a:gd name="connsiteX147" fmla="*/ 14011 w 166839"/>
                <a:gd name="connsiteY147" fmla="*/ 10754 h 108623"/>
                <a:gd name="connsiteX148" fmla="*/ 13697 w 166839"/>
                <a:gd name="connsiteY148" fmla="*/ 12554 h 108623"/>
                <a:gd name="connsiteX149" fmla="*/ 13992 w 166839"/>
                <a:gd name="connsiteY149" fmla="*/ 13830 h 108623"/>
                <a:gd name="connsiteX150" fmla="*/ 15364 w 166839"/>
                <a:gd name="connsiteY150" fmla="*/ 14945 h 108623"/>
                <a:gd name="connsiteX151" fmla="*/ 23536 w 166839"/>
                <a:gd name="connsiteY151" fmla="*/ 13487 h 108623"/>
                <a:gd name="connsiteX152" fmla="*/ 31823 w 166839"/>
                <a:gd name="connsiteY152" fmla="*/ 14240 h 108623"/>
                <a:gd name="connsiteX153" fmla="*/ 42948 w 166839"/>
                <a:gd name="connsiteY153" fmla="*/ 16707 h 108623"/>
                <a:gd name="connsiteX154" fmla="*/ 50320 w 166839"/>
                <a:gd name="connsiteY154" fmla="*/ 17564 h 108623"/>
                <a:gd name="connsiteX155" fmla="*/ 55778 w 166839"/>
                <a:gd name="connsiteY155" fmla="*/ 16421 h 108623"/>
                <a:gd name="connsiteX156" fmla="*/ 65865 w 166839"/>
                <a:gd name="connsiteY156" fmla="*/ 18488 h 108623"/>
                <a:gd name="connsiteX157" fmla="*/ 75266 w 166839"/>
                <a:gd name="connsiteY157" fmla="*/ 20412 h 108623"/>
                <a:gd name="connsiteX158" fmla="*/ 84287 w 166839"/>
                <a:gd name="connsiteY158" fmla="*/ 20974 h 108623"/>
                <a:gd name="connsiteX159" fmla="*/ 89335 w 166839"/>
                <a:gd name="connsiteY159" fmla="*/ 19469 h 108623"/>
                <a:gd name="connsiteX160" fmla="*/ 92887 w 166839"/>
                <a:gd name="connsiteY160" fmla="*/ 17440 h 108623"/>
                <a:gd name="connsiteX161" fmla="*/ 95945 w 166839"/>
                <a:gd name="connsiteY161" fmla="*/ 13611 h 108623"/>
                <a:gd name="connsiteX162" fmla="*/ 103498 w 166839"/>
                <a:gd name="connsiteY162" fmla="*/ 8554 h 108623"/>
                <a:gd name="connsiteX163" fmla="*/ 110804 w 166839"/>
                <a:gd name="connsiteY163" fmla="*/ 5705 h 108623"/>
                <a:gd name="connsiteX164" fmla="*/ 120386 w 166839"/>
                <a:gd name="connsiteY164" fmla="*/ 3400 h 108623"/>
                <a:gd name="connsiteX165" fmla="*/ 126787 w 166839"/>
                <a:gd name="connsiteY165" fmla="*/ 2619 h 108623"/>
                <a:gd name="connsiteX166" fmla="*/ 127682 w 166839"/>
                <a:gd name="connsiteY166" fmla="*/ 3400 h 108623"/>
                <a:gd name="connsiteX167" fmla="*/ 135827 w 166839"/>
                <a:gd name="connsiteY167" fmla="*/ 8058 h 108623"/>
                <a:gd name="connsiteX168" fmla="*/ 139455 w 166839"/>
                <a:gd name="connsiteY168" fmla="*/ 8077 h 108623"/>
                <a:gd name="connsiteX169" fmla="*/ 142389 w 166839"/>
                <a:gd name="connsiteY169" fmla="*/ 8906 h 108623"/>
                <a:gd name="connsiteX170" fmla="*/ 143465 w 166839"/>
                <a:gd name="connsiteY170" fmla="*/ 10135 h 108623"/>
                <a:gd name="connsiteX171" fmla="*/ 144199 w 166839"/>
                <a:gd name="connsiteY171" fmla="*/ 10439 h 108623"/>
                <a:gd name="connsiteX172" fmla="*/ 148104 w 166839"/>
                <a:gd name="connsiteY172" fmla="*/ 9287 h 108623"/>
                <a:gd name="connsiteX173" fmla="*/ 149828 w 166839"/>
                <a:gd name="connsiteY173" fmla="*/ 11830 h 108623"/>
                <a:gd name="connsiteX174" fmla="*/ 152524 w 166839"/>
                <a:gd name="connsiteY174" fmla="*/ 15392 h 108623"/>
                <a:gd name="connsiteX175" fmla="*/ 157124 w 166839"/>
                <a:gd name="connsiteY175" fmla="*/ 17221 h 108623"/>
                <a:gd name="connsiteX176" fmla="*/ 161220 w 166839"/>
                <a:gd name="connsiteY176" fmla="*/ 18250 h 108623"/>
                <a:gd name="connsiteX177" fmla="*/ 162515 w 166839"/>
                <a:gd name="connsiteY177" fmla="*/ 18412 h 108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</a:cxnLst>
              <a:rect l="l" t="t" r="r" b="b"/>
              <a:pathLst>
                <a:path w="166839" h="108623">
                  <a:moveTo>
                    <a:pt x="166840" y="18345"/>
                  </a:moveTo>
                  <a:lnTo>
                    <a:pt x="166211" y="27213"/>
                  </a:lnTo>
                  <a:lnTo>
                    <a:pt x="163630" y="31318"/>
                  </a:lnTo>
                  <a:lnTo>
                    <a:pt x="159734" y="29946"/>
                  </a:lnTo>
                  <a:lnTo>
                    <a:pt x="154762" y="31090"/>
                  </a:lnTo>
                  <a:lnTo>
                    <a:pt x="152133" y="35757"/>
                  </a:lnTo>
                  <a:lnTo>
                    <a:pt x="150638" y="37138"/>
                  </a:lnTo>
                  <a:lnTo>
                    <a:pt x="149294" y="38757"/>
                  </a:lnTo>
                  <a:lnTo>
                    <a:pt x="148428" y="44796"/>
                  </a:lnTo>
                  <a:lnTo>
                    <a:pt x="148218" y="54645"/>
                  </a:lnTo>
                  <a:lnTo>
                    <a:pt x="146332" y="55836"/>
                  </a:lnTo>
                  <a:lnTo>
                    <a:pt x="144609" y="56207"/>
                  </a:lnTo>
                  <a:lnTo>
                    <a:pt x="137417" y="64837"/>
                  </a:lnTo>
                  <a:lnTo>
                    <a:pt x="141561" y="67256"/>
                  </a:lnTo>
                  <a:lnTo>
                    <a:pt x="143389" y="69094"/>
                  </a:lnTo>
                  <a:lnTo>
                    <a:pt x="146418" y="74209"/>
                  </a:lnTo>
                  <a:lnTo>
                    <a:pt x="150723" y="79972"/>
                  </a:lnTo>
                  <a:lnTo>
                    <a:pt x="151581" y="82782"/>
                  </a:lnTo>
                  <a:lnTo>
                    <a:pt x="147961" y="82153"/>
                  </a:lnTo>
                  <a:lnTo>
                    <a:pt x="146704" y="82344"/>
                  </a:lnTo>
                  <a:lnTo>
                    <a:pt x="145894" y="83230"/>
                  </a:lnTo>
                  <a:lnTo>
                    <a:pt x="144208" y="83048"/>
                  </a:lnTo>
                  <a:lnTo>
                    <a:pt x="142132" y="83058"/>
                  </a:lnTo>
                  <a:lnTo>
                    <a:pt x="139960" y="84077"/>
                  </a:lnTo>
                  <a:lnTo>
                    <a:pt x="138760" y="84506"/>
                  </a:lnTo>
                  <a:lnTo>
                    <a:pt x="137160" y="83572"/>
                  </a:lnTo>
                  <a:lnTo>
                    <a:pt x="134159" y="80772"/>
                  </a:lnTo>
                  <a:lnTo>
                    <a:pt x="132340" y="78819"/>
                  </a:lnTo>
                  <a:lnTo>
                    <a:pt x="130997" y="78324"/>
                  </a:lnTo>
                  <a:lnTo>
                    <a:pt x="129635" y="78905"/>
                  </a:lnTo>
                  <a:lnTo>
                    <a:pt x="124777" y="79572"/>
                  </a:lnTo>
                  <a:lnTo>
                    <a:pt x="123625" y="80705"/>
                  </a:lnTo>
                  <a:lnTo>
                    <a:pt x="121377" y="81963"/>
                  </a:lnTo>
                  <a:lnTo>
                    <a:pt x="119129" y="82563"/>
                  </a:lnTo>
                  <a:lnTo>
                    <a:pt x="115881" y="82991"/>
                  </a:lnTo>
                  <a:lnTo>
                    <a:pt x="114176" y="82934"/>
                  </a:lnTo>
                  <a:lnTo>
                    <a:pt x="113223" y="83534"/>
                  </a:lnTo>
                  <a:lnTo>
                    <a:pt x="112423" y="85372"/>
                  </a:lnTo>
                  <a:lnTo>
                    <a:pt x="111880" y="87163"/>
                  </a:lnTo>
                  <a:lnTo>
                    <a:pt x="111404" y="87887"/>
                  </a:lnTo>
                  <a:lnTo>
                    <a:pt x="107366" y="88773"/>
                  </a:lnTo>
                  <a:lnTo>
                    <a:pt x="106470" y="89802"/>
                  </a:lnTo>
                  <a:lnTo>
                    <a:pt x="106232" y="90802"/>
                  </a:lnTo>
                  <a:lnTo>
                    <a:pt x="106308" y="91802"/>
                  </a:lnTo>
                  <a:lnTo>
                    <a:pt x="103089" y="90831"/>
                  </a:lnTo>
                  <a:lnTo>
                    <a:pt x="100603" y="91488"/>
                  </a:lnTo>
                  <a:lnTo>
                    <a:pt x="100013" y="92250"/>
                  </a:lnTo>
                  <a:lnTo>
                    <a:pt x="99498" y="93354"/>
                  </a:lnTo>
                  <a:lnTo>
                    <a:pt x="99783" y="94526"/>
                  </a:lnTo>
                  <a:lnTo>
                    <a:pt x="100698" y="95669"/>
                  </a:lnTo>
                  <a:lnTo>
                    <a:pt x="101565" y="98755"/>
                  </a:lnTo>
                  <a:lnTo>
                    <a:pt x="101879" y="101832"/>
                  </a:lnTo>
                  <a:lnTo>
                    <a:pt x="101346" y="103584"/>
                  </a:lnTo>
                  <a:lnTo>
                    <a:pt x="99498" y="104823"/>
                  </a:lnTo>
                  <a:lnTo>
                    <a:pt x="95678" y="106204"/>
                  </a:lnTo>
                  <a:lnTo>
                    <a:pt x="91973" y="105546"/>
                  </a:lnTo>
                  <a:lnTo>
                    <a:pt x="90354" y="106089"/>
                  </a:lnTo>
                  <a:lnTo>
                    <a:pt x="87611" y="106261"/>
                  </a:lnTo>
                  <a:lnTo>
                    <a:pt x="85087" y="106623"/>
                  </a:lnTo>
                  <a:lnTo>
                    <a:pt x="81210" y="107880"/>
                  </a:lnTo>
                  <a:lnTo>
                    <a:pt x="77705" y="108623"/>
                  </a:lnTo>
                  <a:lnTo>
                    <a:pt x="74562" y="106061"/>
                  </a:lnTo>
                  <a:lnTo>
                    <a:pt x="70828" y="104318"/>
                  </a:lnTo>
                  <a:lnTo>
                    <a:pt x="66903" y="103279"/>
                  </a:lnTo>
                  <a:lnTo>
                    <a:pt x="65541" y="104032"/>
                  </a:lnTo>
                  <a:lnTo>
                    <a:pt x="64951" y="104632"/>
                  </a:lnTo>
                  <a:lnTo>
                    <a:pt x="61665" y="102365"/>
                  </a:lnTo>
                  <a:lnTo>
                    <a:pt x="60198" y="101555"/>
                  </a:lnTo>
                  <a:lnTo>
                    <a:pt x="59484" y="100679"/>
                  </a:lnTo>
                  <a:lnTo>
                    <a:pt x="58121" y="97650"/>
                  </a:lnTo>
                  <a:lnTo>
                    <a:pt x="57312" y="97555"/>
                  </a:lnTo>
                  <a:lnTo>
                    <a:pt x="54607" y="98679"/>
                  </a:lnTo>
                  <a:lnTo>
                    <a:pt x="51997" y="98631"/>
                  </a:lnTo>
                  <a:lnTo>
                    <a:pt x="50425" y="98422"/>
                  </a:lnTo>
                  <a:lnTo>
                    <a:pt x="45758" y="98555"/>
                  </a:lnTo>
                  <a:lnTo>
                    <a:pt x="45139" y="100622"/>
                  </a:lnTo>
                  <a:lnTo>
                    <a:pt x="44567" y="100936"/>
                  </a:lnTo>
                  <a:lnTo>
                    <a:pt x="43558" y="101213"/>
                  </a:lnTo>
                  <a:lnTo>
                    <a:pt x="41081" y="101079"/>
                  </a:lnTo>
                  <a:lnTo>
                    <a:pt x="37909" y="102613"/>
                  </a:lnTo>
                  <a:lnTo>
                    <a:pt x="34509" y="103546"/>
                  </a:lnTo>
                  <a:lnTo>
                    <a:pt x="31852" y="103565"/>
                  </a:lnTo>
                  <a:lnTo>
                    <a:pt x="29118" y="103118"/>
                  </a:lnTo>
                  <a:lnTo>
                    <a:pt x="27480" y="103441"/>
                  </a:lnTo>
                  <a:lnTo>
                    <a:pt x="23946" y="103603"/>
                  </a:lnTo>
                  <a:lnTo>
                    <a:pt x="21707" y="105832"/>
                  </a:lnTo>
                  <a:lnTo>
                    <a:pt x="18221" y="105708"/>
                  </a:lnTo>
                  <a:lnTo>
                    <a:pt x="15287" y="105337"/>
                  </a:lnTo>
                  <a:lnTo>
                    <a:pt x="15650" y="104632"/>
                  </a:lnTo>
                  <a:lnTo>
                    <a:pt x="16240" y="95764"/>
                  </a:lnTo>
                  <a:lnTo>
                    <a:pt x="17688" y="91792"/>
                  </a:lnTo>
                  <a:lnTo>
                    <a:pt x="17630" y="90973"/>
                  </a:lnTo>
                  <a:lnTo>
                    <a:pt x="17316" y="90354"/>
                  </a:lnTo>
                  <a:lnTo>
                    <a:pt x="16030" y="89716"/>
                  </a:lnTo>
                  <a:lnTo>
                    <a:pt x="15107" y="87563"/>
                  </a:lnTo>
                  <a:lnTo>
                    <a:pt x="13173" y="81896"/>
                  </a:lnTo>
                  <a:lnTo>
                    <a:pt x="12078" y="80753"/>
                  </a:lnTo>
                  <a:lnTo>
                    <a:pt x="9039" y="79553"/>
                  </a:lnTo>
                  <a:lnTo>
                    <a:pt x="6382" y="77914"/>
                  </a:lnTo>
                  <a:lnTo>
                    <a:pt x="4124" y="75743"/>
                  </a:lnTo>
                  <a:lnTo>
                    <a:pt x="0" y="70390"/>
                  </a:lnTo>
                  <a:lnTo>
                    <a:pt x="2086" y="69856"/>
                  </a:lnTo>
                  <a:lnTo>
                    <a:pt x="2714" y="68761"/>
                  </a:lnTo>
                  <a:lnTo>
                    <a:pt x="4800" y="65808"/>
                  </a:lnTo>
                  <a:lnTo>
                    <a:pt x="5039" y="64360"/>
                  </a:lnTo>
                  <a:lnTo>
                    <a:pt x="4819" y="63541"/>
                  </a:lnTo>
                  <a:lnTo>
                    <a:pt x="3420" y="62122"/>
                  </a:lnTo>
                  <a:lnTo>
                    <a:pt x="2467" y="59007"/>
                  </a:lnTo>
                  <a:lnTo>
                    <a:pt x="3181" y="56102"/>
                  </a:lnTo>
                  <a:lnTo>
                    <a:pt x="3248" y="54607"/>
                  </a:lnTo>
                  <a:lnTo>
                    <a:pt x="2543" y="53121"/>
                  </a:lnTo>
                  <a:lnTo>
                    <a:pt x="3277" y="51273"/>
                  </a:lnTo>
                  <a:lnTo>
                    <a:pt x="4781" y="50264"/>
                  </a:lnTo>
                  <a:lnTo>
                    <a:pt x="5724" y="49968"/>
                  </a:lnTo>
                  <a:lnTo>
                    <a:pt x="9677" y="49768"/>
                  </a:lnTo>
                  <a:lnTo>
                    <a:pt x="12182" y="46063"/>
                  </a:lnTo>
                  <a:lnTo>
                    <a:pt x="13706" y="44882"/>
                  </a:lnTo>
                  <a:lnTo>
                    <a:pt x="15268" y="42777"/>
                  </a:lnTo>
                  <a:lnTo>
                    <a:pt x="15992" y="42005"/>
                  </a:lnTo>
                  <a:lnTo>
                    <a:pt x="16678" y="40367"/>
                  </a:lnTo>
                  <a:lnTo>
                    <a:pt x="16916" y="38691"/>
                  </a:lnTo>
                  <a:lnTo>
                    <a:pt x="13782" y="36338"/>
                  </a:lnTo>
                  <a:lnTo>
                    <a:pt x="12716" y="34566"/>
                  </a:lnTo>
                  <a:lnTo>
                    <a:pt x="11316" y="32604"/>
                  </a:lnTo>
                  <a:lnTo>
                    <a:pt x="9430" y="31252"/>
                  </a:lnTo>
                  <a:lnTo>
                    <a:pt x="5629" y="28927"/>
                  </a:lnTo>
                  <a:lnTo>
                    <a:pt x="4143" y="26565"/>
                  </a:lnTo>
                  <a:lnTo>
                    <a:pt x="3477" y="23498"/>
                  </a:lnTo>
                  <a:lnTo>
                    <a:pt x="2467" y="21174"/>
                  </a:lnTo>
                  <a:lnTo>
                    <a:pt x="1352" y="19660"/>
                  </a:lnTo>
                  <a:lnTo>
                    <a:pt x="1143" y="18421"/>
                  </a:lnTo>
                  <a:lnTo>
                    <a:pt x="676" y="16907"/>
                  </a:lnTo>
                  <a:lnTo>
                    <a:pt x="571" y="13926"/>
                  </a:lnTo>
                  <a:lnTo>
                    <a:pt x="1476" y="9953"/>
                  </a:lnTo>
                  <a:lnTo>
                    <a:pt x="2057" y="8544"/>
                  </a:lnTo>
                  <a:lnTo>
                    <a:pt x="3343" y="8153"/>
                  </a:lnTo>
                  <a:lnTo>
                    <a:pt x="6772" y="6029"/>
                  </a:lnTo>
                  <a:lnTo>
                    <a:pt x="6934" y="3315"/>
                  </a:lnTo>
                  <a:lnTo>
                    <a:pt x="7553" y="1619"/>
                  </a:lnTo>
                  <a:lnTo>
                    <a:pt x="8639" y="648"/>
                  </a:lnTo>
                  <a:lnTo>
                    <a:pt x="9649" y="0"/>
                  </a:lnTo>
                  <a:lnTo>
                    <a:pt x="11525" y="1581"/>
                  </a:lnTo>
                  <a:lnTo>
                    <a:pt x="16078" y="4105"/>
                  </a:lnTo>
                  <a:lnTo>
                    <a:pt x="18297" y="5934"/>
                  </a:lnTo>
                  <a:lnTo>
                    <a:pt x="18183" y="7068"/>
                  </a:lnTo>
                  <a:lnTo>
                    <a:pt x="17145" y="8191"/>
                  </a:lnTo>
                  <a:lnTo>
                    <a:pt x="15164" y="9296"/>
                  </a:lnTo>
                  <a:lnTo>
                    <a:pt x="14011" y="10754"/>
                  </a:lnTo>
                  <a:lnTo>
                    <a:pt x="13697" y="12554"/>
                  </a:lnTo>
                  <a:lnTo>
                    <a:pt x="13992" y="13830"/>
                  </a:lnTo>
                  <a:lnTo>
                    <a:pt x="15364" y="14945"/>
                  </a:lnTo>
                  <a:lnTo>
                    <a:pt x="23536" y="13487"/>
                  </a:lnTo>
                  <a:lnTo>
                    <a:pt x="31823" y="14240"/>
                  </a:lnTo>
                  <a:lnTo>
                    <a:pt x="42948" y="16707"/>
                  </a:lnTo>
                  <a:lnTo>
                    <a:pt x="50320" y="17564"/>
                  </a:lnTo>
                  <a:lnTo>
                    <a:pt x="55778" y="16421"/>
                  </a:lnTo>
                  <a:lnTo>
                    <a:pt x="65865" y="18488"/>
                  </a:lnTo>
                  <a:lnTo>
                    <a:pt x="75266" y="20412"/>
                  </a:lnTo>
                  <a:lnTo>
                    <a:pt x="84287" y="20974"/>
                  </a:lnTo>
                  <a:lnTo>
                    <a:pt x="89335" y="19469"/>
                  </a:lnTo>
                  <a:lnTo>
                    <a:pt x="92887" y="17440"/>
                  </a:lnTo>
                  <a:lnTo>
                    <a:pt x="95945" y="13611"/>
                  </a:lnTo>
                  <a:lnTo>
                    <a:pt x="103498" y="8554"/>
                  </a:lnTo>
                  <a:lnTo>
                    <a:pt x="110804" y="5705"/>
                  </a:lnTo>
                  <a:lnTo>
                    <a:pt x="120386" y="3400"/>
                  </a:lnTo>
                  <a:lnTo>
                    <a:pt x="126787" y="2619"/>
                  </a:lnTo>
                  <a:lnTo>
                    <a:pt x="127682" y="3400"/>
                  </a:lnTo>
                  <a:lnTo>
                    <a:pt x="135827" y="8058"/>
                  </a:lnTo>
                  <a:lnTo>
                    <a:pt x="139455" y="8077"/>
                  </a:lnTo>
                  <a:lnTo>
                    <a:pt x="142389" y="8906"/>
                  </a:lnTo>
                  <a:lnTo>
                    <a:pt x="143465" y="10135"/>
                  </a:lnTo>
                  <a:lnTo>
                    <a:pt x="144199" y="10439"/>
                  </a:lnTo>
                  <a:lnTo>
                    <a:pt x="148104" y="9287"/>
                  </a:lnTo>
                  <a:lnTo>
                    <a:pt x="149828" y="11830"/>
                  </a:lnTo>
                  <a:lnTo>
                    <a:pt x="152524" y="15392"/>
                  </a:lnTo>
                  <a:lnTo>
                    <a:pt x="157124" y="17221"/>
                  </a:lnTo>
                  <a:lnTo>
                    <a:pt x="161220" y="18250"/>
                  </a:lnTo>
                  <a:lnTo>
                    <a:pt x="162515" y="18412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" name="Forme libre : forme 11">
              <a:extLst>
                <a:ext uri="{FF2B5EF4-FFF2-40B4-BE49-F238E27FC236}">
                  <a16:creationId xmlns:a16="http://schemas.microsoft.com/office/drawing/2014/main" id="{12396784-0882-1642-9944-6A7ABF6CB33B}"/>
                </a:ext>
              </a:extLst>
            </p:cNvPr>
            <p:cNvSpPr/>
            <p:nvPr/>
          </p:nvSpPr>
          <p:spPr>
            <a:xfrm>
              <a:off x="6840899" y="3779481"/>
              <a:ext cx="664448" cy="552472"/>
            </a:xfrm>
            <a:custGeom>
              <a:avLst/>
              <a:gdLst>
                <a:gd name="connsiteX0" fmla="*/ 132931 w 254889"/>
                <a:gd name="connsiteY0" fmla="*/ 143 h 220217"/>
                <a:gd name="connsiteX1" fmla="*/ 136579 w 254889"/>
                <a:gd name="connsiteY1" fmla="*/ 4305 h 220217"/>
                <a:gd name="connsiteX2" fmla="*/ 137436 w 254889"/>
                <a:gd name="connsiteY2" fmla="*/ 4467 h 220217"/>
                <a:gd name="connsiteX3" fmla="*/ 139465 w 254889"/>
                <a:gd name="connsiteY3" fmla="*/ 2829 h 220217"/>
                <a:gd name="connsiteX4" fmla="*/ 139865 w 254889"/>
                <a:gd name="connsiteY4" fmla="*/ 2724 h 220217"/>
                <a:gd name="connsiteX5" fmla="*/ 144056 w 254889"/>
                <a:gd name="connsiteY5" fmla="*/ 2581 h 220217"/>
                <a:gd name="connsiteX6" fmla="*/ 145999 w 254889"/>
                <a:gd name="connsiteY6" fmla="*/ 4029 h 220217"/>
                <a:gd name="connsiteX7" fmla="*/ 147447 w 254889"/>
                <a:gd name="connsiteY7" fmla="*/ 6848 h 220217"/>
                <a:gd name="connsiteX8" fmla="*/ 148780 w 254889"/>
                <a:gd name="connsiteY8" fmla="*/ 9096 h 220217"/>
                <a:gd name="connsiteX9" fmla="*/ 150229 w 254889"/>
                <a:gd name="connsiteY9" fmla="*/ 9706 h 220217"/>
                <a:gd name="connsiteX10" fmla="*/ 154305 w 254889"/>
                <a:gd name="connsiteY10" fmla="*/ 6877 h 220217"/>
                <a:gd name="connsiteX11" fmla="*/ 156563 w 254889"/>
                <a:gd name="connsiteY11" fmla="*/ 5934 h 220217"/>
                <a:gd name="connsiteX12" fmla="*/ 158049 w 254889"/>
                <a:gd name="connsiteY12" fmla="*/ 5963 h 220217"/>
                <a:gd name="connsiteX13" fmla="*/ 163278 w 254889"/>
                <a:gd name="connsiteY13" fmla="*/ 8506 h 220217"/>
                <a:gd name="connsiteX14" fmla="*/ 165735 w 254889"/>
                <a:gd name="connsiteY14" fmla="*/ 9896 h 220217"/>
                <a:gd name="connsiteX15" fmla="*/ 166297 w 254889"/>
                <a:gd name="connsiteY15" fmla="*/ 11154 h 220217"/>
                <a:gd name="connsiteX16" fmla="*/ 166354 w 254889"/>
                <a:gd name="connsiteY16" fmla="*/ 12640 h 220217"/>
                <a:gd name="connsiteX17" fmla="*/ 165688 w 254889"/>
                <a:gd name="connsiteY17" fmla="*/ 14840 h 220217"/>
                <a:gd name="connsiteX18" fmla="*/ 165164 w 254889"/>
                <a:gd name="connsiteY18" fmla="*/ 17231 h 220217"/>
                <a:gd name="connsiteX19" fmla="*/ 166754 w 254889"/>
                <a:gd name="connsiteY19" fmla="*/ 20050 h 220217"/>
                <a:gd name="connsiteX20" fmla="*/ 168602 w 254889"/>
                <a:gd name="connsiteY20" fmla="*/ 21965 h 220217"/>
                <a:gd name="connsiteX21" fmla="*/ 172555 w 254889"/>
                <a:gd name="connsiteY21" fmla="*/ 18802 h 220217"/>
                <a:gd name="connsiteX22" fmla="*/ 174012 w 254889"/>
                <a:gd name="connsiteY22" fmla="*/ 17926 h 220217"/>
                <a:gd name="connsiteX23" fmla="*/ 175603 w 254889"/>
                <a:gd name="connsiteY23" fmla="*/ 17897 h 220217"/>
                <a:gd name="connsiteX24" fmla="*/ 177737 w 254889"/>
                <a:gd name="connsiteY24" fmla="*/ 16726 h 220217"/>
                <a:gd name="connsiteX25" fmla="*/ 179280 w 254889"/>
                <a:gd name="connsiteY25" fmla="*/ 14954 h 220217"/>
                <a:gd name="connsiteX26" fmla="*/ 180756 w 254889"/>
                <a:gd name="connsiteY26" fmla="*/ 14345 h 220217"/>
                <a:gd name="connsiteX27" fmla="*/ 183585 w 254889"/>
                <a:gd name="connsiteY27" fmla="*/ 14764 h 220217"/>
                <a:gd name="connsiteX28" fmla="*/ 188690 w 254889"/>
                <a:gd name="connsiteY28" fmla="*/ 14345 h 220217"/>
                <a:gd name="connsiteX29" fmla="*/ 194643 w 254889"/>
                <a:gd name="connsiteY29" fmla="*/ 17116 h 220217"/>
                <a:gd name="connsiteX30" fmla="*/ 195158 w 254889"/>
                <a:gd name="connsiteY30" fmla="*/ 17974 h 220217"/>
                <a:gd name="connsiteX31" fmla="*/ 198130 w 254889"/>
                <a:gd name="connsiteY31" fmla="*/ 21212 h 220217"/>
                <a:gd name="connsiteX32" fmla="*/ 199168 w 254889"/>
                <a:gd name="connsiteY32" fmla="*/ 22822 h 220217"/>
                <a:gd name="connsiteX33" fmla="*/ 200149 w 254889"/>
                <a:gd name="connsiteY33" fmla="*/ 23336 h 220217"/>
                <a:gd name="connsiteX34" fmla="*/ 201730 w 254889"/>
                <a:gd name="connsiteY34" fmla="*/ 24917 h 220217"/>
                <a:gd name="connsiteX35" fmla="*/ 203854 w 254889"/>
                <a:gd name="connsiteY35" fmla="*/ 25908 h 220217"/>
                <a:gd name="connsiteX36" fmla="*/ 205321 w 254889"/>
                <a:gd name="connsiteY36" fmla="*/ 25603 h 220217"/>
                <a:gd name="connsiteX37" fmla="*/ 206026 w 254889"/>
                <a:gd name="connsiteY37" fmla="*/ 26127 h 220217"/>
                <a:gd name="connsiteX38" fmla="*/ 206683 w 254889"/>
                <a:gd name="connsiteY38" fmla="*/ 27365 h 220217"/>
                <a:gd name="connsiteX39" fmla="*/ 206730 w 254889"/>
                <a:gd name="connsiteY39" fmla="*/ 29480 h 220217"/>
                <a:gd name="connsiteX40" fmla="*/ 206521 w 254889"/>
                <a:gd name="connsiteY40" fmla="*/ 35500 h 220217"/>
                <a:gd name="connsiteX41" fmla="*/ 205483 w 254889"/>
                <a:gd name="connsiteY41" fmla="*/ 37233 h 220217"/>
                <a:gd name="connsiteX42" fmla="*/ 204388 w 254889"/>
                <a:gd name="connsiteY42" fmla="*/ 38643 h 220217"/>
                <a:gd name="connsiteX43" fmla="*/ 204111 w 254889"/>
                <a:gd name="connsiteY43" fmla="*/ 39738 h 220217"/>
                <a:gd name="connsiteX44" fmla="*/ 204216 w 254889"/>
                <a:gd name="connsiteY44" fmla="*/ 41062 h 220217"/>
                <a:gd name="connsiteX45" fmla="*/ 205902 w 254889"/>
                <a:gd name="connsiteY45" fmla="*/ 43653 h 220217"/>
                <a:gd name="connsiteX46" fmla="*/ 208074 w 254889"/>
                <a:gd name="connsiteY46" fmla="*/ 47663 h 220217"/>
                <a:gd name="connsiteX47" fmla="*/ 208579 w 254889"/>
                <a:gd name="connsiteY47" fmla="*/ 49978 h 220217"/>
                <a:gd name="connsiteX48" fmla="*/ 208579 w 254889"/>
                <a:gd name="connsiteY48" fmla="*/ 51721 h 220217"/>
                <a:gd name="connsiteX49" fmla="*/ 205617 w 254889"/>
                <a:gd name="connsiteY49" fmla="*/ 56826 h 220217"/>
                <a:gd name="connsiteX50" fmla="*/ 204635 w 254889"/>
                <a:gd name="connsiteY50" fmla="*/ 58017 h 220217"/>
                <a:gd name="connsiteX51" fmla="*/ 203949 w 254889"/>
                <a:gd name="connsiteY51" fmla="*/ 60522 h 220217"/>
                <a:gd name="connsiteX52" fmla="*/ 203588 w 254889"/>
                <a:gd name="connsiteY52" fmla="*/ 63065 h 220217"/>
                <a:gd name="connsiteX53" fmla="*/ 203797 w 254889"/>
                <a:gd name="connsiteY53" fmla="*/ 64122 h 220217"/>
                <a:gd name="connsiteX54" fmla="*/ 208750 w 254889"/>
                <a:gd name="connsiteY54" fmla="*/ 68161 h 220217"/>
                <a:gd name="connsiteX55" fmla="*/ 212417 w 254889"/>
                <a:gd name="connsiteY55" fmla="*/ 70342 h 220217"/>
                <a:gd name="connsiteX56" fmla="*/ 213236 w 254889"/>
                <a:gd name="connsiteY56" fmla="*/ 71409 h 220217"/>
                <a:gd name="connsiteX57" fmla="*/ 213313 w 254889"/>
                <a:gd name="connsiteY57" fmla="*/ 72076 h 220217"/>
                <a:gd name="connsiteX58" fmla="*/ 211370 w 254889"/>
                <a:gd name="connsiteY58" fmla="*/ 76390 h 220217"/>
                <a:gd name="connsiteX59" fmla="*/ 211179 w 254889"/>
                <a:gd name="connsiteY59" fmla="*/ 77553 h 220217"/>
                <a:gd name="connsiteX60" fmla="*/ 214113 w 254889"/>
                <a:gd name="connsiteY60" fmla="*/ 79334 h 220217"/>
                <a:gd name="connsiteX61" fmla="*/ 215741 w 254889"/>
                <a:gd name="connsiteY61" fmla="*/ 82144 h 220217"/>
                <a:gd name="connsiteX62" fmla="*/ 217170 w 254889"/>
                <a:gd name="connsiteY62" fmla="*/ 86716 h 220217"/>
                <a:gd name="connsiteX63" fmla="*/ 219961 w 254889"/>
                <a:gd name="connsiteY63" fmla="*/ 91087 h 220217"/>
                <a:gd name="connsiteX64" fmla="*/ 225971 w 254889"/>
                <a:gd name="connsiteY64" fmla="*/ 94955 h 220217"/>
                <a:gd name="connsiteX65" fmla="*/ 230343 w 254889"/>
                <a:gd name="connsiteY65" fmla="*/ 97469 h 220217"/>
                <a:gd name="connsiteX66" fmla="*/ 231257 w 254889"/>
                <a:gd name="connsiteY66" fmla="*/ 98612 h 220217"/>
                <a:gd name="connsiteX67" fmla="*/ 231572 w 254889"/>
                <a:gd name="connsiteY67" fmla="*/ 99965 h 220217"/>
                <a:gd name="connsiteX68" fmla="*/ 231239 w 254889"/>
                <a:gd name="connsiteY68" fmla="*/ 102946 h 220217"/>
                <a:gd name="connsiteX69" fmla="*/ 230105 w 254889"/>
                <a:gd name="connsiteY69" fmla="*/ 106575 h 220217"/>
                <a:gd name="connsiteX70" fmla="*/ 229334 w 254889"/>
                <a:gd name="connsiteY70" fmla="*/ 108585 h 220217"/>
                <a:gd name="connsiteX71" fmla="*/ 231115 w 254889"/>
                <a:gd name="connsiteY71" fmla="*/ 109423 h 220217"/>
                <a:gd name="connsiteX72" fmla="*/ 235696 w 254889"/>
                <a:gd name="connsiteY72" fmla="*/ 109195 h 220217"/>
                <a:gd name="connsiteX73" fmla="*/ 241268 w 254889"/>
                <a:gd name="connsiteY73" fmla="*/ 109899 h 220217"/>
                <a:gd name="connsiteX74" fmla="*/ 247945 w 254889"/>
                <a:gd name="connsiteY74" fmla="*/ 113881 h 220217"/>
                <a:gd name="connsiteX75" fmla="*/ 247965 w 254889"/>
                <a:gd name="connsiteY75" fmla="*/ 115662 h 220217"/>
                <a:gd name="connsiteX76" fmla="*/ 247279 w 254889"/>
                <a:gd name="connsiteY76" fmla="*/ 117291 h 220217"/>
                <a:gd name="connsiteX77" fmla="*/ 247736 w 254889"/>
                <a:gd name="connsiteY77" fmla="*/ 118996 h 220217"/>
                <a:gd name="connsiteX78" fmla="*/ 248460 w 254889"/>
                <a:gd name="connsiteY78" fmla="*/ 120444 h 220217"/>
                <a:gd name="connsiteX79" fmla="*/ 254241 w 254889"/>
                <a:gd name="connsiteY79" fmla="*/ 124873 h 220217"/>
                <a:gd name="connsiteX80" fmla="*/ 254794 w 254889"/>
                <a:gd name="connsiteY80" fmla="*/ 126159 h 220217"/>
                <a:gd name="connsiteX81" fmla="*/ 254889 w 254889"/>
                <a:gd name="connsiteY81" fmla="*/ 128311 h 220217"/>
                <a:gd name="connsiteX82" fmla="*/ 254737 w 254889"/>
                <a:gd name="connsiteY82" fmla="*/ 129883 h 220217"/>
                <a:gd name="connsiteX83" fmla="*/ 253136 w 254889"/>
                <a:gd name="connsiteY83" fmla="*/ 130207 h 220217"/>
                <a:gd name="connsiteX84" fmla="*/ 251356 w 254889"/>
                <a:gd name="connsiteY84" fmla="*/ 130940 h 220217"/>
                <a:gd name="connsiteX85" fmla="*/ 248450 w 254889"/>
                <a:gd name="connsiteY85" fmla="*/ 132826 h 220217"/>
                <a:gd name="connsiteX86" fmla="*/ 247307 w 254889"/>
                <a:gd name="connsiteY86" fmla="*/ 135484 h 220217"/>
                <a:gd name="connsiteX87" fmla="*/ 242602 w 254889"/>
                <a:gd name="connsiteY87" fmla="*/ 139141 h 220217"/>
                <a:gd name="connsiteX88" fmla="*/ 239706 w 254889"/>
                <a:gd name="connsiteY88" fmla="*/ 140799 h 220217"/>
                <a:gd name="connsiteX89" fmla="*/ 237392 w 254889"/>
                <a:gd name="connsiteY89" fmla="*/ 140865 h 220217"/>
                <a:gd name="connsiteX90" fmla="*/ 231886 w 254889"/>
                <a:gd name="connsiteY90" fmla="*/ 140122 h 220217"/>
                <a:gd name="connsiteX91" fmla="*/ 229953 w 254889"/>
                <a:gd name="connsiteY91" fmla="*/ 138322 h 220217"/>
                <a:gd name="connsiteX92" fmla="*/ 229152 w 254889"/>
                <a:gd name="connsiteY92" fmla="*/ 136665 h 220217"/>
                <a:gd name="connsiteX93" fmla="*/ 227038 w 254889"/>
                <a:gd name="connsiteY93" fmla="*/ 135912 h 220217"/>
                <a:gd name="connsiteX94" fmla="*/ 224228 w 254889"/>
                <a:gd name="connsiteY94" fmla="*/ 135845 h 220217"/>
                <a:gd name="connsiteX95" fmla="*/ 220352 w 254889"/>
                <a:gd name="connsiteY95" fmla="*/ 136131 h 220217"/>
                <a:gd name="connsiteX96" fmla="*/ 219561 w 254889"/>
                <a:gd name="connsiteY96" fmla="*/ 136636 h 220217"/>
                <a:gd name="connsiteX97" fmla="*/ 218923 w 254889"/>
                <a:gd name="connsiteY97" fmla="*/ 138665 h 220217"/>
                <a:gd name="connsiteX98" fmla="*/ 217275 w 254889"/>
                <a:gd name="connsiteY98" fmla="*/ 142142 h 220217"/>
                <a:gd name="connsiteX99" fmla="*/ 216094 w 254889"/>
                <a:gd name="connsiteY99" fmla="*/ 144094 h 220217"/>
                <a:gd name="connsiteX100" fmla="*/ 217065 w 254889"/>
                <a:gd name="connsiteY100" fmla="*/ 145294 h 220217"/>
                <a:gd name="connsiteX101" fmla="*/ 218608 w 254889"/>
                <a:gd name="connsiteY101" fmla="*/ 147790 h 220217"/>
                <a:gd name="connsiteX102" fmla="*/ 221009 w 254889"/>
                <a:gd name="connsiteY102" fmla="*/ 150952 h 220217"/>
                <a:gd name="connsiteX103" fmla="*/ 223485 w 254889"/>
                <a:gd name="connsiteY103" fmla="*/ 153762 h 220217"/>
                <a:gd name="connsiteX104" fmla="*/ 224276 w 254889"/>
                <a:gd name="connsiteY104" fmla="*/ 155477 h 220217"/>
                <a:gd name="connsiteX105" fmla="*/ 224237 w 254889"/>
                <a:gd name="connsiteY105" fmla="*/ 156705 h 220217"/>
                <a:gd name="connsiteX106" fmla="*/ 223066 w 254889"/>
                <a:gd name="connsiteY106" fmla="*/ 158144 h 220217"/>
                <a:gd name="connsiteX107" fmla="*/ 223238 w 254889"/>
                <a:gd name="connsiteY107" fmla="*/ 161039 h 220217"/>
                <a:gd name="connsiteX108" fmla="*/ 225638 w 254889"/>
                <a:gd name="connsiteY108" fmla="*/ 164840 h 220217"/>
                <a:gd name="connsiteX109" fmla="*/ 224828 w 254889"/>
                <a:gd name="connsiteY109" fmla="*/ 165449 h 220217"/>
                <a:gd name="connsiteX110" fmla="*/ 224580 w 254889"/>
                <a:gd name="connsiteY110" fmla="*/ 170107 h 220217"/>
                <a:gd name="connsiteX111" fmla="*/ 224609 w 254889"/>
                <a:gd name="connsiteY111" fmla="*/ 175070 h 220217"/>
                <a:gd name="connsiteX112" fmla="*/ 225257 w 254889"/>
                <a:gd name="connsiteY112" fmla="*/ 176270 h 220217"/>
                <a:gd name="connsiteX113" fmla="*/ 226543 w 254889"/>
                <a:gd name="connsiteY113" fmla="*/ 177260 h 220217"/>
                <a:gd name="connsiteX114" fmla="*/ 227638 w 254889"/>
                <a:gd name="connsiteY114" fmla="*/ 179070 h 220217"/>
                <a:gd name="connsiteX115" fmla="*/ 229458 w 254889"/>
                <a:gd name="connsiteY115" fmla="*/ 183185 h 220217"/>
                <a:gd name="connsiteX116" fmla="*/ 229581 w 254889"/>
                <a:gd name="connsiteY116" fmla="*/ 184261 h 220217"/>
                <a:gd name="connsiteX117" fmla="*/ 224514 w 254889"/>
                <a:gd name="connsiteY117" fmla="*/ 183956 h 220217"/>
                <a:gd name="connsiteX118" fmla="*/ 218427 w 254889"/>
                <a:gd name="connsiteY118" fmla="*/ 184080 h 220217"/>
                <a:gd name="connsiteX119" fmla="*/ 215008 w 254889"/>
                <a:gd name="connsiteY119" fmla="*/ 186471 h 220217"/>
                <a:gd name="connsiteX120" fmla="*/ 213674 w 254889"/>
                <a:gd name="connsiteY120" fmla="*/ 185919 h 220217"/>
                <a:gd name="connsiteX121" fmla="*/ 211293 w 254889"/>
                <a:gd name="connsiteY121" fmla="*/ 185309 h 220217"/>
                <a:gd name="connsiteX122" fmla="*/ 208655 w 254889"/>
                <a:gd name="connsiteY122" fmla="*/ 186642 h 220217"/>
                <a:gd name="connsiteX123" fmla="*/ 205054 w 254889"/>
                <a:gd name="connsiteY123" fmla="*/ 190672 h 220217"/>
                <a:gd name="connsiteX124" fmla="*/ 202635 w 254889"/>
                <a:gd name="connsiteY124" fmla="*/ 193177 h 220217"/>
                <a:gd name="connsiteX125" fmla="*/ 200283 w 254889"/>
                <a:gd name="connsiteY125" fmla="*/ 196682 h 220217"/>
                <a:gd name="connsiteX126" fmla="*/ 199540 w 254889"/>
                <a:gd name="connsiteY126" fmla="*/ 198577 h 220217"/>
                <a:gd name="connsiteX127" fmla="*/ 198054 w 254889"/>
                <a:gd name="connsiteY127" fmla="*/ 202063 h 220217"/>
                <a:gd name="connsiteX128" fmla="*/ 196691 w 254889"/>
                <a:gd name="connsiteY128" fmla="*/ 206045 h 220217"/>
                <a:gd name="connsiteX129" fmla="*/ 197434 w 254889"/>
                <a:gd name="connsiteY129" fmla="*/ 208826 h 220217"/>
                <a:gd name="connsiteX130" fmla="*/ 198549 w 254889"/>
                <a:gd name="connsiteY130" fmla="*/ 211407 h 220217"/>
                <a:gd name="connsiteX131" fmla="*/ 198797 w 254889"/>
                <a:gd name="connsiteY131" fmla="*/ 214189 h 220217"/>
                <a:gd name="connsiteX132" fmla="*/ 199349 w 254889"/>
                <a:gd name="connsiteY132" fmla="*/ 216360 h 220217"/>
                <a:gd name="connsiteX133" fmla="*/ 197863 w 254889"/>
                <a:gd name="connsiteY133" fmla="*/ 217942 h 220217"/>
                <a:gd name="connsiteX134" fmla="*/ 196996 w 254889"/>
                <a:gd name="connsiteY134" fmla="*/ 220218 h 220217"/>
                <a:gd name="connsiteX135" fmla="*/ 194463 w 254889"/>
                <a:gd name="connsiteY135" fmla="*/ 219818 h 220217"/>
                <a:gd name="connsiteX136" fmla="*/ 191358 w 254889"/>
                <a:gd name="connsiteY136" fmla="*/ 217637 h 220217"/>
                <a:gd name="connsiteX137" fmla="*/ 190700 w 254889"/>
                <a:gd name="connsiteY137" fmla="*/ 214474 h 220217"/>
                <a:gd name="connsiteX138" fmla="*/ 188309 w 254889"/>
                <a:gd name="connsiteY138" fmla="*/ 212274 h 220217"/>
                <a:gd name="connsiteX139" fmla="*/ 186737 w 254889"/>
                <a:gd name="connsiteY139" fmla="*/ 211122 h 220217"/>
                <a:gd name="connsiteX140" fmla="*/ 184147 w 254889"/>
                <a:gd name="connsiteY140" fmla="*/ 210950 h 220217"/>
                <a:gd name="connsiteX141" fmla="*/ 180004 w 254889"/>
                <a:gd name="connsiteY141" fmla="*/ 211979 h 220217"/>
                <a:gd name="connsiteX142" fmla="*/ 174584 w 254889"/>
                <a:gd name="connsiteY142" fmla="*/ 212770 h 220217"/>
                <a:gd name="connsiteX143" fmla="*/ 170498 w 254889"/>
                <a:gd name="connsiteY143" fmla="*/ 212979 h 220217"/>
                <a:gd name="connsiteX144" fmla="*/ 168269 w 254889"/>
                <a:gd name="connsiteY144" fmla="*/ 214103 h 220217"/>
                <a:gd name="connsiteX145" fmla="*/ 164973 w 254889"/>
                <a:gd name="connsiteY145" fmla="*/ 215208 h 220217"/>
                <a:gd name="connsiteX146" fmla="*/ 163697 w 254889"/>
                <a:gd name="connsiteY146" fmla="*/ 213893 h 220217"/>
                <a:gd name="connsiteX147" fmla="*/ 161868 w 254889"/>
                <a:gd name="connsiteY147" fmla="*/ 210303 h 220217"/>
                <a:gd name="connsiteX148" fmla="*/ 160373 w 254889"/>
                <a:gd name="connsiteY148" fmla="*/ 206721 h 220217"/>
                <a:gd name="connsiteX149" fmla="*/ 159334 w 254889"/>
                <a:gd name="connsiteY149" fmla="*/ 205149 h 220217"/>
                <a:gd name="connsiteX150" fmla="*/ 158439 w 254889"/>
                <a:gd name="connsiteY150" fmla="*/ 204711 h 220217"/>
                <a:gd name="connsiteX151" fmla="*/ 157334 w 254889"/>
                <a:gd name="connsiteY151" fmla="*/ 204797 h 220217"/>
                <a:gd name="connsiteX152" fmla="*/ 156067 w 254889"/>
                <a:gd name="connsiteY152" fmla="*/ 205930 h 220217"/>
                <a:gd name="connsiteX153" fmla="*/ 155115 w 254889"/>
                <a:gd name="connsiteY153" fmla="*/ 207102 h 220217"/>
                <a:gd name="connsiteX154" fmla="*/ 153771 w 254889"/>
                <a:gd name="connsiteY154" fmla="*/ 207512 h 220217"/>
                <a:gd name="connsiteX155" fmla="*/ 151695 w 254889"/>
                <a:gd name="connsiteY155" fmla="*/ 208455 h 220217"/>
                <a:gd name="connsiteX156" fmla="*/ 150181 w 254889"/>
                <a:gd name="connsiteY156" fmla="*/ 209731 h 220217"/>
                <a:gd name="connsiteX157" fmla="*/ 148524 w 254889"/>
                <a:gd name="connsiteY157" fmla="*/ 213027 h 220217"/>
                <a:gd name="connsiteX158" fmla="*/ 147428 w 254889"/>
                <a:gd name="connsiteY158" fmla="*/ 212798 h 220217"/>
                <a:gd name="connsiteX159" fmla="*/ 146295 w 254889"/>
                <a:gd name="connsiteY159" fmla="*/ 212036 h 220217"/>
                <a:gd name="connsiteX160" fmla="*/ 144989 w 254889"/>
                <a:gd name="connsiteY160" fmla="*/ 208350 h 220217"/>
                <a:gd name="connsiteX161" fmla="*/ 143199 w 254889"/>
                <a:gd name="connsiteY161" fmla="*/ 207502 h 220217"/>
                <a:gd name="connsiteX162" fmla="*/ 140332 w 254889"/>
                <a:gd name="connsiteY162" fmla="*/ 207454 h 220217"/>
                <a:gd name="connsiteX163" fmla="*/ 136779 w 254889"/>
                <a:gd name="connsiteY163" fmla="*/ 206673 h 220217"/>
                <a:gd name="connsiteX164" fmla="*/ 133893 w 254889"/>
                <a:gd name="connsiteY164" fmla="*/ 205549 h 220217"/>
                <a:gd name="connsiteX165" fmla="*/ 132845 w 254889"/>
                <a:gd name="connsiteY165" fmla="*/ 205816 h 220217"/>
                <a:gd name="connsiteX166" fmla="*/ 131121 w 254889"/>
                <a:gd name="connsiteY166" fmla="*/ 207388 h 220217"/>
                <a:gd name="connsiteX167" fmla="*/ 129274 w 254889"/>
                <a:gd name="connsiteY167" fmla="*/ 207616 h 220217"/>
                <a:gd name="connsiteX168" fmla="*/ 125196 w 254889"/>
                <a:gd name="connsiteY168" fmla="*/ 206216 h 220217"/>
                <a:gd name="connsiteX169" fmla="*/ 124406 w 254889"/>
                <a:gd name="connsiteY169" fmla="*/ 206864 h 220217"/>
                <a:gd name="connsiteX170" fmla="*/ 123330 w 254889"/>
                <a:gd name="connsiteY170" fmla="*/ 208931 h 220217"/>
                <a:gd name="connsiteX171" fmla="*/ 122063 w 254889"/>
                <a:gd name="connsiteY171" fmla="*/ 210922 h 220217"/>
                <a:gd name="connsiteX172" fmla="*/ 120958 w 254889"/>
                <a:gd name="connsiteY172" fmla="*/ 211122 h 220217"/>
                <a:gd name="connsiteX173" fmla="*/ 120339 w 254889"/>
                <a:gd name="connsiteY173" fmla="*/ 210607 h 220217"/>
                <a:gd name="connsiteX174" fmla="*/ 120682 w 254889"/>
                <a:gd name="connsiteY174" fmla="*/ 207073 h 220217"/>
                <a:gd name="connsiteX175" fmla="*/ 118320 w 254889"/>
                <a:gd name="connsiteY175" fmla="*/ 205826 h 220217"/>
                <a:gd name="connsiteX176" fmla="*/ 114338 w 254889"/>
                <a:gd name="connsiteY176" fmla="*/ 205626 h 220217"/>
                <a:gd name="connsiteX177" fmla="*/ 111538 w 254889"/>
                <a:gd name="connsiteY177" fmla="*/ 206140 h 220217"/>
                <a:gd name="connsiteX178" fmla="*/ 110176 w 254889"/>
                <a:gd name="connsiteY178" fmla="*/ 205997 h 220217"/>
                <a:gd name="connsiteX179" fmla="*/ 109471 w 254889"/>
                <a:gd name="connsiteY179" fmla="*/ 205311 h 220217"/>
                <a:gd name="connsiteX180" fmla="*/ 106042 w 254889"/>
                <a:gd name="connsiteY180" fmla="*/ 199358 h 220217"/>
                <a:gd name="connsiteX181" fmla="*/ 104232 w 254889"/>
                <a:gd name="connsiteY181" fmla="*/ 198977 h 220217"/>
                <a:gd name="connsiteX182" fmla="*/ 100984 w 254889"/>
                <a:gd name="connsiteY182" fmla="*/ 199272 h 220217"/>
                <a:gd name="connsiteX183" fmla="*/ 96193 w 254889"/>
                <a:gd name="connsiteY183" fmla="*/ 198549 h 220217"/>
                <a:gd name="connsiteX184" fmla="*/ 90668 w 254889"/>
                <a:gd name="connsiteY184" fmla="*/ 197206 h 220217"/>
                <a:gd name="connsiteX185" fmla="*/ 87630 w 254889"/>
                <a:gd name="connsiteY185" fmla="*/ 196710 h 220217"/>
                <a:gd name="connsiteX186" fmla="*/ 86059 w 254889"/>
                <a:gd name="connsiteY186" fmla="*/ 195367 h 220217"/>
                <a:gd name="connsiteX187" fmla="*/ 82658 w 254889"/>
                <a:gd name="connsiteY187" fmla="*/ 194910 h 220217"/>
                <a:gd name="connsiteX188" fmla="*/ 73514 w 254889"/>
                <a:gd name="connsiteY188" fmla="*/ 192386 h 220217"/>
                <a:gd name="connsiteX189" fmla="*/ 69790 w 254889"/>
                <a:gd name="connsiteY189" fmla="*/ 191938 h 220217"/>
                <a:gd name="connsiteX190" fmla="*/ 64294 w 254889"/>
                <a:gd name="connsiteY190" fmla="*/ 191900 h 220217"/>
                <a:gd name="connsiteX191" fmla="*/ 55931 w 254889"/>
                <a:gd name="connsiteY191" fmla="*/ 191338 h 220217"/>
                <a:gd name="connsiteX192" fmla="*/ 50568 w 254889"/>
                <a:gd name="connsiteY192" fmla="*/ 191653 h 220217"/>
                <a:gd name="connsiteX193" fmla="*/ 48083 w 254889"/>
                <a:gd name="connsiteY193" fmla="*/ 192491 h 220217"/>
                <a:gd name="connsiteX194" fmla="*/ 45215 w 254889"/>
                <a:gd name="connsiteY194" fmla="*/ 193015 h 220217"/>
                <a:gd name="connsiteX195" fmla="*/ 40367 w 254889"/>
                <a:gd name="connsiteY195" fmla="*/ 193472 h 220217"/>
                <a:gd name="connsiteX196" fmla="*/ 38395 w 254889"/>
                <a:gd name="connsiteY196" fmla="*/ 193424 h 220217"/>
                <a:gd name="connsiteX197" fmla="*/ 35290 w 254889"/>
                <a:gd name="connsiteY197" fmla="*/ 193700 h 220217"/>
                <a:gd name="connsiteX198" fmla="*/ 31728 w 254889"/>
                <a:gd name="connsiteY198" fmla="*/ 194377 h 220217"/>
                <a:gd name="connsiteX199" fmla="*/ 30709 w 254889"/>
                <a:gd name="connsiteY199" fmla="*/ 195624 h 220217"/>
                <a:gd name="connsiteX200" fmla="*/ 29537 w 254889"/>
                <a:gd name="connsiteY200" fmla="*/ 198377 h 220217"/>
                <a:gd name="connsiteX201" fmla="*/ 25441 w 254889"/>
                <a:gd name="connsiteY201" fmla="*/ 203121 h 220217"/>
                <a:gd name="connsiteX202" fmla="*/ 21470 w 254889"/>
                <a:gd name="connsiteY202" fmla="*/ 206264 h 220217"/>
                <a:gd name="connsiteX203" fmla="*/ 20746 w 254889"/>
                <a:gd name="connsiteY203" fmla="*/ 206531 h 220217"/>
                <a:gd name="connsiteX204" fmla="*/ 18422 w 254889"/>
                <a:gd name="connsiteY204" fmla="*/ 204864 h 220217"/>
                <a:gd name="connsiteX205" fmla="*/ 16488 w 254889"/>
                <a:gd name="connsiteY205" fmla="*/ 204302 h 220217"/>
                <a:gd name="connsiteX206" fmla="*/ 14211 w 254889"/>
                <a:gd name="connsiteY206" fmla="*/ 204121 h 220217"/>
                <a:gd name="connsiteX207" fmla="*/ 12602 w 254889"/>
                <a:gd name="connsiteY207" fmla="*/ 204654 h 220217"/>
                <a:gd name="connsiteX208" fmla="*/ 11592 w 254889"/>
                <a:gd name="connsiteY208" fmla="*/ 205445 h 220217"/>
                <a:gd name="connsiteX209" fmla="*/ 11725 w 254889"/>
                <a:gd name="connsiteY209" fmla="*/ 209093 h 220217"/>
                <a:gd name="connsiteX210" fmla="*/ 11497 w 254889"/>
                <a:gd name="connsiteY210" fmla="*/ 209407 h 220217"/>
                <a:gd name="connsiteX211" fmla="*/ 9744 w 254889"/>
                <a:gd name="connsiteY211" fmla="*/ 205083 h 220217"/>
                <a:gd name="connsiteX212" fmla="*/ 9887 w 254889"/>
                <a:gd name="connsiteY212" fmla="*/ 201158 h 220217"/>
                <a:gd name="connsiteX213" fmla="*/ 10859 w 254889"/>
                <a:gd name="connsiteY213" fmla="*/ 198911 h 220217"/>
                <a:gd name="connsiteX214" fmla="*/ 12049 w 254889"/>
                <a:gd name="connsiteY214" fmla="*/ 196882 h 220217"/>
                <a:gd name="connsiteX215" fmla="*/ 11563 w 254889"/>
                <a:gd name="connsiteY215" fmla="*/ 193843 h 220217"/>
                <a:gd name="connsiteX216" fmla="*/ 12725 w 254889"/>
                <a:gd name="connsiteY216" fmla="*/ 189814 h 220217"/>
                <a:gd name="connsiteX217" fmla="*/ 12764 w 254889"/>
                <a:gd name="connsiteY217" fmla="*/ 186890 h 220217"/>
                <a:gd name="connsiteX218" fmla="*/ 12249 w 254889"/>
                <a:gd name="connsiteY218" fmla="*/ 185633 h 220217"/>
                <a:gd name="connsiteX219" fmla="*/ 11306 w 254889"/>
                <a:gd name="connsiteY219" fmla="*/ 184175 h 220217"/>
                <a:gd name="connsiteX220" fmla="*/ 8716 w 254889"/>
                <a:gd name="connsiteY220" fmla="*/ 182556 h 220217"/>
                <a:gd name="connsiteX221" fmla="*/ 7572 w 254889"/>
                <a:gd name="connsiteY221" fmla="*/ 181289 h 220217"/>
                <a:gd name="connsiteX222" fmla="*/ 4067 w 254889"/>
                <a:gd name="connsiteY222" fmla="*/ 179594 h 220217"/>
                <a:gd name="connsiteX223" fmla="*/ 591 w 254889"/>
                <a:gd name="connsiteY223" fmla="*/ 177489 h 220217"/>
                <a:gd name="connsiteX224" fmla="*/ 0 w 254889"/>
                <a:gd name="connsiteY224" fmla="*/ 176193 h 220217"/>
                <a:gd name="connsiteX225" fmla="*/ 162 w 254889"/>
                <a:gd name="connsiteY225" fmla="*/ 175308 h 220217"/>
                <a:gd name="connsiteX226" fmla="*/ 771 w 254889"/>
                <a:gd name="connsiteY226" fmla="*/ 173955 h 220217"/>
                <a:gd name="connsiteX227" fmla="*/ 3429 w 254889"/>
                <a:gd name="connsiteY227" fmla="*/ 170002 h 220217"/>
                <a:gd name="connsiteX228" fmla="*/ 6305 w 254889"/>
                <a:gd name="connsiteY228" fmla="*/ 166154 h 220217"/>
                <a:gd name="connsiteX229" fmla="*/ 8144 w 254889"/>
                <a:gd name="connsiteY229" fmla="*/ 164611 h 220217"/>
                <a:gd name="connsiteX230" fmla="*/ 17907 w 254889"/>
                <a:gd name="connsiteY230" fmla="*/ 159658 h 220217"/>
                <a:gd name="connsiteX231" fmla="*/ 19412 w 254889"/>
                <a:gd name="connsiteY231" fmla="*/ 157924 h 220217"/>
                <a:gd name="connsiteX232" fmla="*/ 19793 w 254889"/>
                <a:gd name="connsiteY232" fmla="*/ 154991 h 220217"/>
                <a:gd name="connsiteX233" fmla="*/ 19812 w 254889"/>
                <a:gd name="connsiteY233" fmla="*/ 152857 h 220217"/>
                <a:gd name="connsiteX234" fmla="*/ 19631 w 254889"/>
                <a:gd name="connsiteY234" fmla="*/ 149047 h 220217"/>
                <a:gd name="connsiteX235" fmla="*/ 19031 w 254889"/>
                <a:gd name="connsiteY235" fmla="*/ 143618 h 220217"/>
                <a:gd name="connsiteX236" fmla="*/ 18288 w 254889"/>
                <a:gd name="connsiteY236" fmla="*/ 139865 h 220217"/>
                <a:gd name="connsiteX237" fmla="*/ 16421 w 254889"/>
                <a:gd name="connsiteY237" fmla="*/ 132797 h 220217"/>
                <a:gd name="connsiteX238" fmla="*/ 11335 w 254889"/>
                <a:gd name="connsiteY238" fmla="*/ 118100 h 220217"/>
                <a:gd name="connsiteX239" fmla="*/ 8277 w 254889"/>
                <a:gd name="connsiteY239" fmla="*/ 102737 h 220217"/>
                <a:gd name="connsiteX240" fmla="*/ 10268 w 254889"/>
                <a:gd name="connsiteY240" fmla="*/ 103642 h 220217"/>
                <a:gd name="connsiteX241" fmla="*/ 14935 w 254889"/>
                <a:gd name="connsiteY241" fmla="*/ 103975 h 220217"/>
                <a:gd name="connsiteX242" fmla="*/ 18641 w 254889"/>
                <a:gd name="connsiteY242" fmla="*/ 102918 h 220217"/>
                <a:gd name="connsiteX243" fmla="*/ 20564 w 254889"/>
                <a:gd name="connsiteY243" fmla="*/ 102765 h 220217"/>
                <a:gd name="connsiteX244" fmla="*/ 22279 w 254889"/>
                <a:gd name="connsiteY244" fmla="*/ 103108 h 220217"/>
                <a:gd name="connsiteX245" fmla="*/ 24832 w 254889"/>
                <a:gd name="connsiteY245" fmla="*/ 102498 h 220217"/>
                <a:gd name="connsiteX246" fmla="*/ 27165 w 254889"/>
                <a:gd name="connsiteY246" fmla="*/ 102251 h 220217"/>
                <a:gd name="connsiteX247" fmla="*/ 28375 w 254889"/>
                <a:gd name="connsiteY247" fmla="*/ 103632 h 220217"/>
                <a:gd name="connsiteX248" fmla="*/ 30547 w 254889"/>
                <a:gd name="connsiteY248" fmla="*/ 104851 h 220217"/>
                <a:gd name="connsiteX249" fmla="*/ 34843 w 254889"/>
                <a:gd name="connsiteY249" fmla="*/ 103099 h 220217"/>
                <a:gd name="connsiteX250" fmla="*/ 38643 w 254889"/>
                <a:gd name="connsiteY250" fmla="*/ 100917 h 220217"/>
                <a:gd name="connsiteX251" fmla="*/ 42586 w 254889"/>
                <a:gd name="connsiteY251" fmla="*/ 101155 h 220217"/>
                <a:gd name="connsiteX252" fmla="*/ 43149 w 254889"/>
                <a:gd name="connsiteY252" fmla="*/ 100079 h 220217"/>
                <a:gd name="connsiteX253" fmla="*/ 44129 w 254889"/>
                <a:gd name="connsiteY253" fmla="*/ 94602 h 220217"/>
                <a:gd name="connsiteX254" fmla="*/ 45301 w 254889"/>
                <a:gd name="connsiteY254" fmla="*/ 93402 h 220217"/>
                <a:gd name="connsiteX255" fmla="*/ 50016 w 254889"/>
                <a:gd name="connsiteY255" fmla="*/ 93955 h 220217"/>
                <a:gd name="connsiteX256" fmla="*/ 51759 w 254889"/>
                <a:gd name="connsiteY256" fmla="*/ 92964 h 220217"/>
                <a:gd name="connsiteX257" fmla="*/ 53588 w 254889"/>
                <a:gd name="connsiteY257" fmla="*/ 90259 h 220217"/>
                <a:gd name="connsiteX258" fmla="*/ 56369 w 254889"/>
                <a:gd name="connsiteY258" fmla="*/ 88563 h 220217"/>
                <a:gd name="connsiteX259" fmla="*/ 58693 w 254889"/>
                <a:gd name="connsiteY259" fmla="*/ 88573 h 220217"/>
                <a:gd name="connsiteX260" fmla="*/ 61113 w 254889"/>
                <a:gd name="connsiteY260" fmla="*/ 86668 h 220217"/>
                <a:gd name="connsiteX261" fmla="*/ 62303 w 254889"/>
                <a:gd name="connsiteY261" fmla="*/ 87944 h 220217"/>
                <a:gd name="connsiteX262" fmla="*/ 62884 w 254889"/>
                <a:gd name="connsiteY262" fmla="*/ 90221 h 220217"/>
                <a:gd name="connsiteX263" fmla="*/ 62084 w 254889"/>
                <a:gd name="connsiteY263" fmla="*/ 92030 h 220217"/>
                <a:gd name="connsiteX264" fmla="*/ 62427 w 254889"/>
                <a:gd name="connsiteY264" fmla="*/ 92745 h 220217"/>
                <a:gd name="connsiteX265" fmla="*/ 64103 w 254889"/>
                <a:gd name="connsiteY265" fmla="*/ 93640 h 220217"/>
                <a:gd name="connsiteX266" fmla="*/ 66970 w 254889"/>
                <a:gd name="connsiteY266" fmla="*/ 93612 h 220217"/>
                <a:gd name="connsiteX267" fmla="*/ 68809 w 254889"/>
                <a:gd name="connsiteY267" fmla="*/ 92869 h 220217"/>
                <a:gd name="connsiteX268" fmla="*/ 69237 w 254889"/>
                <a:gd name="connsiteY268" fmla="*/ 91830 h 220217"/>
                <a:gd name="connsiteX269" fmla="*/ 69237 w 254889"/>
                <a:gd name="connsiteY269" fmla="*/ 89945 h 220217"/>
                <a:gd name="connsiteX270" fmla="*/ 68780 w 254889"/>
                <a:gd name="connsiteY270" fmla="*/ 88182 h 220217"/>
                <a:gd name="connsiteX271" fmla="*/ 67561 w 254889"/>
                <a:gd name="connsiteY271" fmla="*/ 86668 h 220217"/>
                <a:gd name="connsiteX272" fmla="*/ 65275 w 254889"/>
                <a:gd name="connsiteY272" fmla="*/ 85877 h 220217"/>
                <a:gd name="connsiteX273" fmla="*/ 63684 w 254889"/>
                <a:gd name="connsiteY273" fmla="*/ 85858 h 220217"/>
                <a:gd name="connsiteX274" fmla="*/ 63418 w 254889"/>
                <a:gd name="connsiteY274" fmla="*/ 84887 h 220217"/>
                <a:gd name="connsiteX275" fmla="*/ 63961 w 254889"/>
                <a:gd name="connsiteY275" fmla="*/ 82820 h 220217"/>
                <a:gd name="connsiteX276" fmla="*/ 65370 w 254889"/>
                <a:gd name="connsiteY276" fmla="*/ 78991 h 220217"/>
                <a:gd name="connsiteX277" fmla="*/ 67103 w 254889"/>
                <a:gd name="connsiteY277" fmla="*/ 75533 h 220217"/>
                <a:gd name="connsiteX278" fmla="*/ 68161 w 254889"/>
                <a:gd name="connsiteY278" fmla="*/ 74228 h 220217"/>
                <a:gd name="connsiteX279" fmla="*/ 68342 w 254889"/>
                <a:gd name="connsiteY279" fmla="*/ 73019 h 220217"/>
                <a:gd name="connsiteX280" fmla="*/ 68142 w 254889"/>
                <a:gd name="connsiteY280" fmla="*/ 70923 h 220217"/>
                <a:gd name="connsiteX281" fmla="*/ 68104 w 254889"/>
                <a:gd name="connsiteY281" fmla="*/ 67142 h 220217"/>
                <a:gd name="connsiteX282" fmla="*/ 69656 w 254889"/>
                <a:gd name="connsiteY282" fmla="*/ 61808 h 220217"/>
                <a:gd name="connsiteX283" fmla="*/ 71752 w 254889"/>
                <a:gd name="connsiteY283" fmla="*/ 57826 h 220217"/>
                <a:gd name="connsiteX284" fmla="*/ 74562 w 254889"/>
                <a:gd name="connsiteY284" fmla="*/ 56521 h 220217"/>
                <a:gd name="connsiteX285" fmla="*/ 78000 w 254889"/>
                <a:gd name="connsiteY285" fmla="*/ 55826 h 220217"/>
                <a:gd name="connsiteX286" fmla="*/ 80200 w 254889"/>
                <a:gd name="connsiteY286" fmla="*/ 53921 h 220217"/>
                <a:gd name="connsiteX287" fmla="*/ 81286 w 254889"/>
                <a:gd name="connsiteY287" fmla="*/ 51730 h 220217"/>
                <a:gd name="connsiteX288" fmla="*/ 81696 w 254889"/>
                <a:gd name="connsiteY288" fmla="*/ 49873 h 220217"/>
                <a:gd name="connsiteX289" fmla="*/ 82220 w 254889"/>
                <a:gd name="connsiteY289" fmla="*/ 48273 h 220217"/>
                <a:gd name="connsiteX290" fmla="*/ 83315 w 254889"/>
                <a:gd name="connsiteY290" fmla="*/ 47568 h 220217"/>
                <a:gd name="connsiteX291" fmla="*/ 91583 w 254889"/>
                <a:gd name="connsiteY291" fmla="*/ 48006 h 220217"/>
                <a:gd name="connsiteX292" fmla="*/ 92850 w 254889"/>
                <a:gd name="connsiteY292" fmla="*/ 44548 h 220217"/>
                <a:gd name="connsiteX293" fmla="*/ 93564 w 254889"/>
                <a:gd name="connsiteY293" fmla="*/ 43586 h 220217"/>
                <a:gd name="connsiteX294" fmla="*/ 95145 w 254889"/>
                <a:gd name="connsiteY294" fmla="*/ 42558 h 220217"/>
                <a:gd name="connsiteX295" fmla="*/ 96250 w 254889"/>
                <a:gd name="connsiteY295" fmla="*/ 41329 h 220217"/>
                <a:gd name="connsiteX296" fmla="*/ 95841 w 254889"/>
                <a:gd name="connsiteY296" fmla="*/ 40377 h 220217"/>
                <a:gd name="connsiteX297" fmla="*/ 93726 w 254889"/>
                <a:gd name="connsiteY297" fmla="*/ 39767 h 220217"/>
                <a:gd name="connsiteX298" fmla="*/ 88754 w 254889"/>
                <a:gd name="connsiteY298" fmla="*/ 39224 h 220217"/>
                <a:gd name="connsiteX299" fmla="*/ 87754 w 254889"/>
                <a:gd name="connsiteY299" fmla="*/ 38072 h 220217"/>
                <a:gd name="connsiteX300" fmla="*/ 88068 w 254889"/>
                <a:gd name="connsiteY300" fmla="*/ 36690 h 220217"/>
                <a:gd name="connsiteX301" fmla="*/ 89392 w 254889"/>
                <a:gd name="connsiteY301" fmla="*/ 33109 h 220217"/>
                <a:gd name="connsiteX302" fmla="*/ 90659 w 254889"/>
                <a:gd name="connsiteY302" fmla="*/ 28480 h 220217"/>
                <a:gd name="connsiteX303" fmla="*/ 91317 w 254889"/>
                <a:gd name="connsiteY303" fmla="*/ 24889 h 220217"/>
                <a:gd name="connsiteX304" fmla="*/ 91383 w 254889"/>
                <a:gd name="connsiteY304" fmla="*/ 22765 h 220217"/>
                <a:gd name="connsiteX305" fmla="*/ 92097 w 254889"/>
                <a:gd name="connsiteY305" fmla="*/ 22193 h 220217"/>
                <a:gd name="connsiteX306" fmla="*/ 96145 w 254889"/>
                <a:gd name="connsiteY306" fmla="*/ 21517 h 220217"/>
                <a:gd name="connsiteX307" fmla="*/ 97507 w 254889"/>
                <a:gd name="connsiteY307" fmla="*/ 20793 h 220217"/>
                <a:gd name="connsiteX308" fmla="*/ 100994 w 254889"/>
                <a:gd name="connsiteY308" fmla="*/ 15878 h 220217"/>
                <a:gd name="connsiteX309" fmla="*/ 103651 w 254889"/>
                <a:gd name="connsiteY309" fmla="*/ 15040 h 220217"/>
                <a:gd name="connsiteX310" fmla="*/ 110519 w 254889"/>
                <a:gd name="connsiteY310" fmla="*/ 16307 h 220217"/>
                <a:gd name="connsiteX311" fmla="*/ 113662 w 254889"/>
                <a:gd name="connsiteY311" fmla="*/ 16212 h 220217"/>
                <a:gd name="connsiteX312" fmla="*/ 114519 w 254889"/>
                <a:gd name="connsiteY312" fmla="*/ 16326 h 220217"/>
                <a:gd name="connsiteX313" fmla="*/ 117663 w 254889"/>
                <a:gd name="connsiteY313" fmla="*/ 16545 h 220217"/>
                <a:gd name="connsiteX314" fmla="*/ 118006 w 254889"/>
                <a:gd name="connsiteY314" fmla="*/ 16050 h 220217"/>
                <a:gd name="connsiteX315" fmla="*/ 119415 w 254889"/>
                <a:gd name="connsiteY315" fmla="*/ 11182 h 220217"/>
                <a:gd name="connsiteX316" fmla="*/ 120805 w 254889"/>
                <a:gd name="connsiteY316" fmla="*/ 9763 h 220217"/>
                <a:gd name="connsiteX317" fmla="*/ 126206 w 254889"/>
                <a:gd name="connsiteY317" fmla="*/ 3334 h 220217"/>
                <a:gd name="connsiteX318" fmla="*/ 129835 w 254889"/>
                <a:gd name="connsiteY318" fmla="*/ 600 h 220217"/>
                <a:gd name="connsiteX319" fmla="*/ 132131 w 254889"/>
                <a:gd name="connsiteY319" fmla="*/ 0 h 22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</a:cxnLst>
              <a:rect l="l" t="t" r="r" b="b"/>
              <a:pathLst>
                <a:path w="254889" h="220217">
                  <a:moveTo>
                    <a:pt x="132931" y="143"/>
                  </a:moveTo>
                  <a:lnTo>
                    <a:pt x="136579" y="4305"/>
                  </a:lnTo>
                  <a:lnTo>
                    <a:pt x="137436" y="4467"/>
                  </a:lnTo>
                  <a:lnTo>
                    <a:pt x="139465" y="2829"/>
                  </a:lnTo>
                  <a:lnTo>
                    <a:pt x="139865" y="2724"/>
                  </a:lnTo>
                  <a:lnTo>
                    <a:pt x="144056" y="2581"/>
                  </a:lnTo>
                  <a:lnTo>
                    <a:pt x="145999" y="4029"/>
                  </a:lnTo>
                  <a:lnTo>
                    <a:pt x="147447" y="6848"/>
                  </a:lnTo>
                  <a:lnTo>
                    <a:pt x="148780" y="9096"/>
                  </a:lnTo>
                  <a:lnTo>
                    <a:pt x="150229" y="9706"/>
                  </a:lnTo>
                  <a:lnTo>
                    <a:pt x="154305" y="6877"/>
                  </a:lnTo>
                  <a:lnTo>
                    <a:pt x="156563" y="5934"/>
                  </a:lnTo>
                  <a:lnTo>
                    <a:pt x="158049" y="5963"/>
                  </a:lnTo>
                  <a:lnTo>
                    <a:pt x="163278" y="8506"/>
                  </a:lnTo>
                  <a:lnTo>
                    <a:pt x="165735" y="9896"/>
                  </a:lnTo>
                  <a:lnTo>
                    <a:pt x="166297" y="11154"/>
                  </a:lnTo>
                  <a:lnTo>
                    <a:pt x="166354" y="12640"/>
                  </a:lnTo>
                  <a:lnTo>
                    <a:pt x="165688" y="14840"/>
                  </a:lnTo>
                  <a:lnTo>
                    <a:pt x="165164" y="17231"/>
                  </a:lnTo>
                  <a:lnTo>
                    <a:pt x="166754" y="20050"/>
                  </a:lnTo>
                  <a:lnTo>
                    <a:pt x="168602" y="21965"/>
                  </a:lnTo>
                  <a:lnTo>
                    <a:pt x="172555" y="18802"/>
                  </a:lnTo>
                  <a:lnTo>
                    <a:pt x="174012" y="17926"/>
                  </a:lnTo>
                  <a:lnTo>
                    <a:pt x="175603" y="17897"/>
                  </a:lnTo>
                  <a:lnTo>
                    <a:pt x="177737" y="16726"/>
                  </a:lnTo>
                  <a:lnTo>
                    <a:pt x="179280" y="14954"/>
                  </a:lnTo>
                  <a:lnTo>
                    <a:pt x="180756" y="14345"/>
                  </a:lnTo>
                  <a:lnTo>
                    <a:pt x="183585" y="14764"/>
                  </a:lnTo>
                  <a:lnTo>
                    <a:pt x="188690" y="14345"/>
                  </a:lnTo>
                  <a:lnTo>
                    <a:pt x="194643" y="17116"/>
                  </a:lnTo>
                  <a:lnTo>
                    <a:pt x="195158" y="17974"/>
                  </a:lnTo>
                  <a:lnTo>
                    <a:pt x="198130" y="21212"/>
                  </a:lnTo>
                  <a:lnTo>
                    <a:pt x="199168" y="22822"/>
                  </a:lnTo>
                  <a:lnTo>
                    <a:pt x="200149" y="23336"/>
                  </a:lnTo>
                  <a:lnTo>
                    <a:pt x="201730" y="24917"/>
                  </a:lnTo>
                  <a:lnTo>
                    <a:pt x="203854" y="25908"/>
                  </a:lnTo>
                  <a:lnTo>
                    <a:pt x="205321" y="25603"/>
                  </a:lnTo>
                  <a:lnTo>
                    <a:pt x="206026" y="26127"/>
                  </a:lnTo>
                  <a:lnTo>
                    <a:pt x="206683" y="27365"/>
                  </a:lnTo>
                  <a:lnTo>
                    <a:pt x="206730" y="29480"/>
                  </a:lnTo>
                  <a:lnTo>
                    <a:pt x="206521" y="35500"/>
                  </a:lnTo>
                  <a:lnTo>
                    <a:pt x="205483" y="37233"/>
                  </a:lnTo>
                  <a:lnTo>
                    <a:pt x="204388" y="38643"/>
                  </a:lnTo>
                  <a:lnTo>
                    <a:pt x="204111" y="39738"/>
                  </a:lnTo>
                  <a:lnTo>
                    <a:pt x="204216" y="41062"/>
                  </a:lnTo>
                  <a:lnTo>
                    <a:pt x="205902" y="43653"/>
                  </a:lnTo>
                  <a:lnTo>
                    <a:pt x="208074" y="47663"/>
                  </a:lnTo>
                  <a:lnTo>
                    <a:pt x="208579" y="49978"/>
                  </a:lnTo>
                  <a:lnTo>
                    <a:pt x="208579" y="51721"/>
                  </a:lnTo>
                  <a:lnTo>
                    <a:pt x="205617" y="56826"/>
                  </a:lnTo>
                  <a:lnTo>
                    <a:pt x="204635" y="58017"/>
                  </a:lnTo>
                  <a:lnTo>
                    <a:pt x="203949" y="60522"/>
                  </a:lnTo>
                  <a:lnTo>
                    <a:pt x="203588" y="63065"/>
                  </a:lnTo>
                  <a:lnTo>
                    <a:pt x="203797" y="64122"/>
                  </a:lnTo>
                  <a:lnTo>
                    <a:pt x="208750" y="68161"/>
                  </a:lnTo>
                  <a:lnTo>
                    <a:pt x="212417" y="70342"/>
                  </a:lnTo>
                  <a:lnTo>
                    <a:pt x="213236" y="71409"/>
                  </a:lnTo>
                  <a:lnTo>
                    <a:pt x="213313" y="72076"/>
                  </a:lnTo>
                  <a:lnTo>
                    <a:pt x="211370" y="76390"/>
                  </a:lnTo>
                  <a:lnTo>
                    <a:pt x="211179" y="77553"/>
                  </a:lnTo>
                  <a:lnTo>
                    <a:pt x="214113" y="79334"/>
                  </a:lnTo>
                  <a:lnTo>
                    <a:pt x="215741" y="82144"/>
                  </a:lnTo>
                  <a:lnTo>
                    <a:pt x="217170" y="86716"/>
                  </a:lnTo>
                  <a:lnTo>
                    <a:pt x="219961" y="91087"/>
                  </a:lnTo>
                  <a:lnTo>
                    <a:pt x="225971" y="94955"/>
                  </a:lnTo>
                  <a:lnTo>
                    <a:pt x="230343" y="97469"/>
                  </a:lnTo>
                  <a:lnTo>
                    <a:pt x="231257" y="98612"/>
                  </a:lnTo>
                  <a:lnTo>
                    <a:pt x="231572" y="99965"/>
                  </a:lnTo>
                  <a:lnTo>
                    <a:pt x="231239" y="102946"/>
                  </a:lnTo>
                  <a:lnTo>
                    <a:pt x="230105" y="106575"/>
                  </a:lnTo>
                  <a:lnTo>
                    <a:pt x="229334" y="108585"/>
                  </a:lnTo>
                  <a:lnTo>
                    <a:pt x="231115" y="109423"/>
                  </a:lnTo>
                  <a:lnTo>
                    <a:pt x="235696" y="109195"/>
                  </a:lnTo>
                  <a:lnTo>
                    <a:pt x="241268" y="109899"/>
                  </a:lnTo>
                  <a:lnTo>
                    <a:pt x="247945" y="113881"/>
                  </a:lnTo>
                  <a:lnTo>
                    <a:pt x="247965" y="115662"/>
                  </a:lnTo>
                  <a:lnTo>
                    <a:pt x="247279" y="117291"/>
                  </a:lnTo>
                  <a:lnTo>
                    <a:pt x="247736" y="118996"/>
                  </a:lnTo>
                  <a:lnTo>
                    <a:pt x="248460" y="120444"/>
                  </a:lnTo>
                  <a:lnTo>
                    <a:pt x="254241" y="124873"/>
                  </a:lnTo>
                  <a:lnTo>
                    <a:pt x="254794" y="126159"/>
                  </a:lnTo>
                  <a:lnTo>
                    <a:pt x="254889" y="128311"/>
                  </a:lnTo>
                  <a:lnTo>
                    <a:pt x="254737" y="129883"/>
                  </a:lnTo>
                  <a:lnTo>
                    <a:pt x="253136" y="130207"/>
                  </a:lnTo>
                  <a:lnTo>
                    <a:pt x="251356" y="130940"/>
                  </a:lnTo>
                  <a:lnTo>
                    <a:pt x="248450" y="132826"/>
                  </a:lnTo>
                  <a:lnTo>
                    <a:pt x="247307" y="135484"/>
                  </a:lnTo>
                  <a:lnTo>
                    <a:pt x="242602" y="139141"/>
                  </a:lnTo>
                  <a:lnTo>
                    <a:pt x="239706" y="140799"/>
                  </a:lnTo>
                  <a:lnTo>
                    <a:pt x="237392" y="140865"/>
                  </a:lnTo>
                  <a:lnTo>
                    <a:pt x="231886" y="140122"/>
                  </a:lnTo>
                  <a:lnTo>
                    <a:pt x="229953" y="138322"/>
                  </a:lnTo>
                  <a:lnTo>
                    <a:pt x="229152" y="136665"/>
                  </a:lnTo>
                  <a:lnTo>
                    <a:pt x="227038" y="135912"/>
                  </a:lnTo>
                  <a:lnTo>
                    <a:pt x="224228" y="135845"/>
                  </a:lnTo>
                  <a:lnTo>
                    <a:pt x="220352" y="136131"/>
                  </a:lnTo>
                  <a:lnTo>
                    <a:pt x="219561" y="136636"/>
                  </a:lnTo>
                  <a:lnTo>
                    <a:pt x="218923" y="138665"/>
                  </a:lnTo>
                  <a:lnTo>
                    <a:pt x="217275" y="142142"/>
                  </a:lnTo>
                  <a:lnTo>
                    <a:pt x="216094" y="144094"/>
                  </a:lnTo>
                  <a:lnTo>
                    <a:pt x="217065" y="145294"/>
                  </a:lnTo>
                  <a:lnTo>
                    <a:pt x="218608" y="147790"/>
                  </a:lnTo>
                  <a:lnTo>
                    <a:pt x="221009" y="150952"/>
                  </a:lnTo>
                  <a:lnTo>
                    <a:pt x="223485" y="153762"/>
                  </a:lnTo>
                  <a:lnTo>
                    <a:pt x="224276" y="155477"/>
                  </a:lnTo>
                  <a:lnTo>
                    <a:pt x="224237" y="156705"/>
                  </a:lnTo>
                  <a:lnTo>
                    <a:pt x="223066" y="158144"/>
                  </a:lnTo>
                  <a:lnTo>
                    <a:pt x="223238" y="161039"/>
                  </a:lnTo>
                  <a:lnTo>
                    <a:pt x="225638" y="164840"/>
                  </a:lnTo>
                  <a:lnTo>
                    <a:pt x="224828" y="165449"/>
                  </a:lnTo>
                  <a:lnTo>
                    <a:pt x="224580" y="170107"/>
                  </a:lnTo>
                  <a:lnTo>
                    <a:pt x="224609" y="175070"/>
                  </a:lnTo>
                  <a:lnTo>
                    <a:pt x="225257" y="176270"/>
                  </a:lnTo>
                  <a:lnTo>
                    <a:pt x="226543" y="177260"/>
                  </a:lnTo>
                  <a:lnTo>
                    <a:pt x="227638" y="179070"/>
                  </a:lnTo>
                  <a:lnTo>
                    <a:pt x="229458" y="183185"/>
                  </a:lnTo>
                  <a:lnTo>
                    <a:pt x="229581" y="184261"/>
                  </a:lnTo>
                  <a:lnTo>
                    <a:pt x="224514" y="183956"/>
                  </a:lnTo>
                  <a:lnTo>
                    <a:pt x="218427" y="184080"/>
                  </a:lnTo>
                  <a:lnTo>
                    <a:pt x="215008" y="186471"/>
                  </a:lnTo>
                  <a:lnTo>
                    <a:pt x="213674" y="185919"/>
                  </a:lnTo>
                  <a:lnTo>
                    <a:pt x="211293" y="185309"/>
                  </a:lnTo>
                  <a:lnTo>
                    <a:pt x="208655" y="186642"/>
                  </a:lnTo>
                  <a:lnTo>
                    <a:pt x="205054" y="190672"/>
                  </a:lnTo>
                  <a:lnTo>
                    <a:pt x="202635" y="193177"/>
                  </a:lnTo>
                  <a:lnTo>
                    <a:pt x="200283" y="196682"/>
                  </a:lnTo>
                  <a:lnTo>
                    <a:pt x="199540" y="198577"/>
                  </a:lnTo>
                  <a:lnTo>
                    <a:pt x="198054" y="202063"/>
                  </a:lnTo>
                  <a:lnTo>
                    <a:pt x="196691" y="206045"/>
                  </a:lnTo>
                  <a:lnTo>
                    <a:pt x="197434" y="208826"/>
                  </a:lnTo>
                  <a:lnTo>
                    <a:pt x="198549" y="211407"/>
                  </a:lnTo>
                  <a:lnTo>
                    <a:pt x="198797" y="214189"/>
                  </a:lnTo>
                  <a:lnTo>
                    <a:pt x="199349" y="216360"/>
                  </a:lnTo>
                  <a:lnTo>
                    <a:pt x="197863" y="217942"/>
                  </a:lnTo>
                  <a:lnTo>
                    <a:pt x="196996" y="220218"/>
                  </a:lnTo>
                  <a:lnTo>
                    <a:pt x="194463" y="219818"/>
                  </a:lnTo>
                  <a:lnTo>
                    <a:pt x="191358" y="217637"/>
                  </a:lnTo>
                  <a:lnTo>
                    <a:pt x="190700" y="214474"/>
                  </a:lnTo>
                  <a:lnTo>
                    <a:pt x="188309" y="212274"/>
                  </a:lnTo>
                  <a:lnTo>
                    <a:pt x="186737" y="211122"/>
                  </a:lnTo>
                  <a:lnTo>
                    <a:pt x="184147" y="210950"/>
                  </a:lnTo>
                  <a:lnTo>
                    <a:pt x="180004" y="211979"/>
                  </a:lnTo>
                  <a:lnTo>
                    <a:pt x="174584" y="212770"/>
                  </a:lnTo>
                  <a:lnTo>
                    <a:pt x="170498" y="212979"/>
                  </a:lnTo>
                  <a:lnTo>
                    <a:pt x="168269" y="214103"/>
                  </a:lnTo>
                  <a:lnTo>
                    <a:pt x="164973" y="215208"/>
                  </a:lnTo>
                  <a:lnTo>
                    <a:pt x="163697" y="213893"/>
                  </a:lnTo>
                  <a:lnTo>
                    <a:pt x="161868" y="210303"/>
                  </a:lnTo>
                  <a:lnTo>
                    <a:pt x="160373" y="206721"/>
                  </a:lnTo>
                  <a:lnTo>
                    <a:pt x="159334" y="205149"/>
                  </a:lnTo>
                  <a:lnTo>
                    <a:pt x="158439" y="204711"/>
                  </a:lnTo>
                  <a:lnTo>
                    <a:pt x="157334" y="204797"/>
                  </a:lnTo>
                  <a:lnTo>
                    <a:pt x="156067" y="205930"/>
                  </a:lnTo>
                  <a:lnTo>
                    <a:pt x="155115" y="207102"/>
                  </a:lnTo>
                  <a:lnTo>
                    <a:pt x="153771" y="207512"/>
                  </a:lnTo>
                  <a:lnTo>
                    <a:pt x="151695" y="208455"/>
                  </a:lnTo>
                  <a:lnTo>
                    <a:pt x="150181" y="209731"/>
                  </a:lnTo>
                  <a:lnTo>
                    <a:pt x="148524" y="213027"/>
                  </a:lnTo>
                  <a:lnTo>
                    <a:pt x="147428" y="212798"/>
                  </a:lnTo>
                  <a:lnTo>
                    <a:pt x="146295" y="212036"/>
                  </a:lnTo>
                  <a:lnTo>
                    <a:pt x="144989" y="208350"/>
                  </a:lnTo>
                  <a:lnTo>
                    <a:pt x="143199" y="207502"/>
                  </a:lnTo>
                  <a:lnTo>
                    <a:pt x="140332" y="207454"/>
                  </a:lnTo>
                  <a:lnTo>
                    <a:pt x="136779" y="206673"/>
                  </a:lnTo>
                  <a:lnTo>
                    <a:pt x="133893" y="205549"/>
                  </a:lnTo>
                  <a:lnTo>
                    <a:pt x="132845" y="205816"/>
                  </a:lnTo>
                  <a:lnTo>
                    <a:pt x="131121" y="207388"/>
                  </a:lnTo>
                  <a:lnTo>
                    <a:pt x="129274" y="207616"/>
                  </a:lnTo>
                  <a:lnTo>
                    <a:pt x="125196" y="206216"/>
                  </a:lnTo>
                  <a:lnTo>
                    <a:pt x="124406" y="206864"/>
                  </a:lnTo>
                  <a:lnTo>
                    <a:pt x="123330" y="208931"/>
                  </a:lnTo>
                  <a:lnTo>
                    <a:pt x="122063" y="210922"/>
                  </a:lnTo>
                  <a:lnTo>
                    <a:pt x="120958" y="211122"/>
                  </a:lnTo>
                  <a:lnTo>
                    <a:pt x="120339" y="210607"/>
                  </a:lnTo>
                  <a:lnTo>
                    <a:pt x="120682" y="207073"/>
                  </a:lnTo>
                  <a:lnTo>
                    <a:pt x="118320" y="205826"/>
                  </a:lnTo>
                  <a:lnTo>
                    <a:pt x="114338" y="205626"/>
                  </a:lnTo>
                  <a:lnTo>
                    <a:pt x="111538" y="206140"/>
                  </a:lnTo>
                  <a:lnTo>
                    <a:pt x="110176" y="205997"/>
                  </a:lnTo>
                  <a:lnTo>
                    <a:pt x="109471" y="205311"/>
                  </a:lnTo>
                  <a:lnTo>
                    <a:pt x="106042" y="199358"/>
                  </a:lnTo>
                  <a:lnTo>
                    <a:pt x="104232" y="198977"/>
                  </a:lnTo>
                  <a:lnTo>
                    <a:pt x="100984" y="199272"/>
                  </a:lnTo>
                  <a:lnTo>
                    <a:pt x="96193" y="198549"/>
                  </a:lnTo>
                  <a:lnTo>
                    <a:pt x="90668" y="197206"/>
                  </a:lnTo>
                  <a:lnTo>
                    <a:pt x="87630" y="196710"/>
                  </a:lnTo>
                  <a:lnTo>
                    <a:pt x="86059" y="195367"/>
                  </a:lnTo>
                  <a:lnTo>
                    <a:pt x="82658" y="194910"/>
                  </a:lnTo>
                  <a:lnTo>
                    <a:pt x="73514" y="192386"/>
                  </a:lnTo>
                  <a:lnTo>
                    <a:pt x="69790" y="191938"/>
                  </a:lnTo>
                  <a:lnTo>
                    <a:pt x="64294" y="191900"/>
                  </a:lnTo>
                  <a:lnTo>
                    <a:pt x="55931" y="191338"/>
                  </a:lnTo>
                  <a:lnTo>
                    <a:pt x="50568" y="191653"/>
                  </a:lnTo>
                  <a:lnTo>
                    <a:pt x="48083" y="192491"/>
                  </a:lnTo>
                  <a:lnTo>
                    <a:pt x="45215" y="193015"/>
                  </a:lnTo>
                  <a:lnTo>
                    <a:pt x="40367" y="193472"/>
                  </a:lnTo>
                  <a:lnTo>
                    <a:pt x="38395" y="193424"/>
                  </a:lnTo>
                  <a:lnTo>
                    <a:pt x="35290" y="193700"/>
                  </a:lnTo>
                  <a:lnTo>
                    <a:pt x="31728" y="194377"/>
                  </a:lnTo>
                  <a:lnTo>
                    <a:pt x="30709" y="195624"/>
                  </a:lnTo>
                  <a:lnTo>
                    <a:pt x="29537" y="198377"/>
                  </a:lnTo>
                  <a:lnTo>
                    <a:pt x="25441" y="203121"/>
                  </a:lnTo>
                  <a:lnTo>
                    <a:pt x="21470" y="206264"/>
                  </a:lnTo>
                  <a:lnTo>
                    <a:pt x="20746" y="206531"/>
                  </a:lnTo>
                  <a:lnTo>
                    <a:pt x="18422" y="204864"/>
                  </a:lnTo>
                  <a:lnTo>
                    <a:pt x="16488" y="204302"/>
                  </a:lnTo>
                  <a:lnTo>
                    <a:pt x="14211" y="204121"/>
                  </a:lnTo>
                  <a:lnTo>
                    <a:pt x="12602" y="204654"/>
                  </a:lnTo>
                  <a:lnTo>
                    <a:pt x="11592" y="205445"/>
                  </a:lnTo>
                  <a:lnTo>
                    <a:pt x="11725" y="209093"/>
                  </a:lnTo>
                  <a:lnTo>
                    <a:pt x="11497" y="209407"/>
                  </a:lnTo>
                  <a:lnTo>
                    <a:pt x="9744" y="205083"/>
                  </a:lnTo>
                  <a:lnTo>
                    <a:pt x="9887" y="201158"/>
                  </a:lnTo>
                  <a:lnTo>
                    <a:pt x="10859" y="198911"/>
                  </a:lnTo>
                  <a:lnTo>
                    <a:pt x="12049" y="196882"/>
                  </a:lnTo>
                  <a:lnTo>
                    <a:pt x="11563" y="193843"/>
                  </a:lnTo>
                  <a:lnTo>
                    <a:pt x="12725" y="189814"/>
                  </a:lnTo>
                  <a:lnTo>
                    <a:pt x="12764" y="186890"/>
                  </a:lnTo>
                  <a:lnTo>
                    <a:pt x="12249" y="185633"/>
                  </a:lnTo>
                  <a:lnTo>
                    <a:pt x="11306" y="184175"/>
                  </a:lnTo>
                  <a:lnTo>
                    <a:pt x="8716" y="182556"/>
                  </a:lnTo>
                  <a:lnTo>
                    <a:pt x="7572" y="181289"/>
                  </a:lnTo>
                  <a:lnTo>
                    <a:pt x="4067" y="179594"/>
                  </a:lnTo>
                  <a:lnTo>
                    <a:pt x="591" y="177489"/>
                  </a:lnTo>
                  <a:lnTo>
                    <a:pt x="0" y="176193"/>
                  </a:lnTo>
                  <a:lnTo>
                    <a:pt x="162" y="175308"/>
                  </a:lnTo>
                  <a:lnTo>
                    <a:pt x="771" y="173955"/>
                  </a:lnTo>
                  <a:lnTo>
                    <a:pt x="3429" y="170002"/>
                  </a:lnTo>
                  <a:lnTo>
                    <a:pt x="6305" y="166154"/>
                  </a:lnTo>
                  <a:lnTo>
                    <a:pt x="8144" y="164611"/>
                  </a:lnTo>
                  <a:lnTo>
                    <a:pt x="17907" y="159658"/>
                  </a:lnTo>
                  <a:lnTo>
                    <a:pt x="19412" y="157924"/>
                  </a:lnTo>
                  <a:lnTo>
                    <a:pt x="19793" y="154991"/>
                  </a:lnTo>
                  <a:lnTo>
                    <a:pt x="19812" y="152857"/>
                  </a:lnTo>
                  <a:lnTo>
                    <a:pt x="19631" y="149047"/>
                  </a:lnTo>
                  <a:lnTo>
                    <a:pt x="19031" y="143618"/>
                  </a:lnTo>
                  <a:lnTo>
                    <a:pt x="18288" y="139865"/>
                  </a:lnTo>
                  <a:lnTo>
                    <a:pt x="16421" y="132797"/>
                  </a:lnTo>
                  <a:lnTo>
                    <a:pt x="11335" y="118100"/>
                  </a:lnTo>
                  <a:lnTo>
                    <a:pt x="8277" y="102737"/>
                  </a:lnTo>
                  <a:lnTo>
                    <a:pt x="10268" y="103642"/>
                  </a:lnTo>
                  <a:lnTo>
                    <a:pt x="14935" y="103975"/>
                  </a:lnTo>
                  <a:lnTo>
                    <a:pt x="18641" y="102918"/>
                  </a:lnTo>
                  <a:lnTo>
                    <a:pt x="20564" y="102765"/>
                  </a:lnTo>
                  <a:lnTo>
                    <a:pt x="22279" y="103108"/>
                  </a:lnTo>
                  <a:lnTo>
                    <a:pt x="24832" y="102498"/>
                  </a:lnTo>
                  <a:lnTo>
                    <a:pt x="27165" y="102251"/>
                  </a:lnTo>
                  <a:lnTo>
                    <a:pt x="28375" y="103632"/>
                  </a:lnTo>
                  <a:lnTo>
                    <a:pt x="30547" y="104851"/>
                  </a:lnTo>
                  <a:lnTo>
                    <a:pt x="34843" y="103099"/>
                  </a:lnTo>
                  <a:lnTo>
                    <a:pt x="38643" y="100917"/>
                  </a:lnTo>
                  <a:lnTo>
                    <a:pt x="42586" y="101155"/>
                  </a:lnTo>
                  <a:lnTo>
                    <a:pt x="43149" y="100079"/>
                  </a:lnTo>
                  <a:lnTo>
                    <a:pt x="44129" y="94602"/>
                  </a:lnTo>
                  <a:lnTo>
                    <a:pt x="45301" y="93402"/>
                  </a:lnTo>
                  <a:lnTo>
                    <a:pt x="50016" y="93955"/>
                  </a:lnTo>
                  <a:lnTo>
                    <a:pt x="51759" y="92964"/>
                  </a:lnTo>
                  <a:lnTo>
                    <a:pt x="53588" y="90259"/>
                  </a:lnTo>
                  <a:lnTo>
                    <a:pt x="56369" y="88563"/>
                  </a:lnTo>
                  <a:lnTo>
                    <a:pt x="58693" y="88573"/>
                  </a:lnTo>
                  <a:lnTo>
                    <a:pt x="61113" y="86668"/>
                  </a:lnTo>
                  <a:lnTo>
                    <a:pt x="62303" y="87944"/>
                  </a:lnTo>
                  <a:lnTo>
                    <a:pt x="62884" y="90221"/>
                  </a:lnTo>
                  <a:lnTo>
                    <a:pt x="62084" y="92030"/>
                  </a:lnTo>
                  <a:lnTo>
                    <a:pt x="62427" y="92745"/>
                  </a:lnTo>
                  <a:lnTo>
                    <a:pt x="64103" y="93640"/>
                  </a:lnTo>
                  <a:lnTo>
                    <a:pt x="66970" y="93612"/>
                  </a:lnTo>
                  <a:lnTo>
                    <a:pt x="68809" y="92869"/>
                  </a:lnTo>
                  <a:lnTo>
                    <a:pt x="69237" y="91830"/>
                  </a:lnTo>
                  <a:lnTo>
                    <a:pt x="69237" y="89945"/>
                  </a:lnTo>
                  <a:lnTo>
                    <a:pt x="68780" y="88182"/>
                  </a:lnTo>
                  <a:lnTo>
                    <a:pt x="67561" y="86668"/>
                  </a:lnTo>
                  <a:lnTo>
                    <a:pt x="65275" y="85877"/>
                  </a:lnTo>
                  <a:lnTo>
                    <a:pt x="63684" y="85858"/>
                  </a:lnTo>
                  <a:lnTo>
                    <a:pt x="63418" y="84887"/>
                  </a:lnTo>
                  <a:lnTo>
                    <a:pt x="63961" y="82820"/>
                  </a:lnTo>
                  <a:lnTo>
                    <a:pt x="65370" y="78991"/>
                  </a:lnTo>
                  <a:lnTo>
                    <a:pt x="67103" y="75533"/>
                  </a:lnTo>
                  <a:lnTo>
                    <a:pt x="68161" y="74228"/>
                  </a:lnTo>
                  <a:lnTo>
                    <a:pt x="68342" y="73019"/>
                  </a:lnTo>
                  <a:lnTo>
                    <a:pt x="68142" y="70923"/>
                  </a:lnTo>
                  <a:lnTo>
                    <a:pt x="68104" y="67142"/>
                  </a:lnTo>
                  <a:lnTo>
                    <a:pt x="69656" y="61808"/>
                  </a:lnTo>
                  <a:lnTo>
                    <a:pt x="71752" y="57826"/>
                  </a:lnTo>
                  <a:lnTo>
                    <a:pt x="74562" y="56521"/>
                  </a:lnTo>
                  <a:lnTo>
                    <a:pt x="78000" y="55826"/>
                  </a:lnTo>
                  <a:lnTo>
                    <a:pt x="80200" y="53921"/>
                  </a:lnTo>
                  <a:lnTo>
                    <a:pt x="81286" y="51730"/>
                  </a:lnTo>
                  <a:lnTo>
                    <a:pt x="81696" y="49873"/>
                  </a:lnTo>
                  <a:lnTo>
                    <a:pt x="82220" y="48273"/>
                  </a:lnTo>
                  <a:lnTo>
                    <a:pt x="83315" y="47568"/>
                  </a:lnTo>
                  <a:lnTo>
                    <a:pt x="91583" y="48006"/>
                  </a:lnTo>
                  <a:lnTo>
                    <a:pt x="92850" y="44548"/>
                  </a:lnTo>
                  <a:lnTo>
                    <a:pt x="93564" y="43586"/>
                  </a:lnTo>
                  <a:lnTo>
                    <a:pt x="95145" y="42558"/>
                  </a:lnTo>
                  <a:lnTo>
                    <a:pt x="96250" y="41329"/>
                  </a:lnTo>
                  <a:lnTo>
                    <a:pt x="95841" y="40377"/>
                  </a:lnTo>
                  <a:lnTo>
                    <a:pt x="93726" y="39767"/>
                  </a:lnTo>
                  <a:lnTo>
                    <a:pt x="88754" y="39224"/>
                  </a:lnTo>
                  <a:lnTo>
                    <a:pt x="87754" y="38072"/>
                  </a:lnTo>
                  <a:lnTo>
                    <a:pt x="88068" y="36690"/>
                  </a:lnTo>
                  <a:lnTo>
                    <a:pt x="89392" y="33109"/>
                  </a:lnTo>
                  <a:lnTo>
                    <a:pt x="90659" y="28480"/>
                  </a:lnTo>
                  <a:lnTo>
                    <a:pt x="91317" y="24889"/>
                  </a:lnTo>
                  <a:lnTo>
                    <a:pt x="91383" y="22765"/>
                  </a:lnTo>
                  <a:lnTo>
                    <a:pt x="92097" y="22193"/>
                  </a:lnTo>
                  <a:lnTo>
                    <a:pt x="96145" y="21517"/>
                  </a:lnTo>
                  <a:lnTo>
                    <a:pt x="97507" y="20793"/>
                  </a:lnTo>
                  <a:lnTo>
                    <a:pt x="100994" y="15878"/>
                  </a:lnTo>
                  <a:lnTo>
                    <a:pt x="103651" y="15040"/>
                  </a:lnTo>
                  <a:lnTo>
                    <a:pt x="110519" y="16307"/>
                  </a:lnTo>
                  <a:lnTo>
                    <a:pt x="113662" y="16212"/>
                  </a:lnTo>
                  <a:lnTo>
                    <a:pt x="114519" y="16326"/>
                  </a:lnTo>
                  <a:lnTo>
                    <a:pt x="117663" y="16545"/>
                  </a:lnTo>
                  <a:lnTo>
                    <a:pt x="118006" y="16050"/>
                  </a:lnTo>
                  <a:lnTo>
                    <a:pt x="119415" y="11182"/>
                  </a:lnTo>
                  <a:lnTo>
                    <a:pt x="120805" y="9763"/>
                  </a:lnTo>
                  <a:lnTo>
                    <a:pt x="126206" y="3334"/>
                  </a:lnTo>
                  <a:lnTo>
                    <a:pt x="129835" y="600"/>
                  </a:lnTo>
                  <a:lnTo>
                    <a:pt x="132131" y="0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" name="Forme libre : forme 12">
              <a:extLst>
                <a:ext uri="{FF2B5EF4-FFF2-40B4-BE49-F238E27FC236}">
                  <a16:creationId xmlns:a16="http://schemas.microsoft.com/office/drawing/2014/main" id="{E5D11811-6AD9-234D-4C34-4D93F7E872BC}"/>
                </a:ext>
              </a:extLst>
            </p:cNvPr>
            <p:cNvSpPr/>
            <p:nvPr/>
          </p:nvSpPr>
          <p:spPr>
            <a:xfrm>
              <a:off x="5641962" y="4691614"/>
              <a:ext cx="312507" cy="190043"/>
            </a:xfrm>
            <a:custGeom>
              <a:avLst/>
              <a:gdLst>
                <a:gd name="connsiteX0" fmla="*/ 95012 w 119881"/>
                <a:gd name="connsiteY0" fmla="*/ 9944 h 75752"/>
                <a:gd name="connsiteX1" fmla="*/ 95821 w 119881"/>
                <a:gd name="connsiteY1" fmla="*/ 10459 h 75752"/>
                <a:gd name="connsiteX2" fmla="*/ 97726 w 119881"/>
                <a:gd name="connsiteY2" fmla="*/ 12202 h 75752"/>
                <a:gd name="connsiteX3" fmla="*/ 97279 w 119881"/>
                <a:gd name="connsiteY3" fmla="*/ 15164 h 75752"/>
                <a:gd name="connsiteX4" fmla="*/ 95097 w 119881"/>
                <a:gd name="connsiteY4" fmla="*/ 19926 h 75752"/>
                <a:gd name="connsiteX5" fmla="*/ 93945 w 119881"/>
                <a:gd name="connsiteY5" fmla="*/ 23774 h 75752"/>
                <a:gd name="connsiteX6" fmla="*/ 93821 w 119881"/>
                <a:gd name="connsiteY6" fmla="*/ 26718 h 75752"/>
                <a:gd name="connsiteX7" fmla="*/ 94040 w 119881"/>
                <a:gd name="connsiteY7" fmla="*/ 28099 h 75752"/>
                <a:gd name="connsiteX8" fmla="*/ 94431 w 119881"/>
                <a:gd name="connsiteY8" fmla="*/ 28080 h 75752"/>
                <a:gd name="connsiteX9" fmla="*/ 96507 w 119881"/>
                <a:gd name="connsiteY9" fmla="*/ 28289 h 75752"/>
                <a:gd name="connsiteX10" fmla="*/ 97574 w 119881"/>
                <a:gd name="connsiteY10" fmla="*/ 28289 h 75752"/>
                <a:gd name="connsiteX11" fmla="*/ 100917 w 119881"/>
                <a:gd name="connsiteY11" fmla="*/ 29080 h 75752"/>
                <a:gd name="connsiteX12" fmla="*/ 103594 w 119881"/>
                <a:gd name="connsiteY12" fmla="*/ 30242 h 75752"/>
                <a:gd name="connsiteX13" fmla="*/ 104118 w 119881"/>
                <a:gd name="connsiteY13" fmla="*/ 31471 h 75752"/>
                <a:gd name="connsiteX14" fmla="*/ 104460 w 119881"/>
                <a:gd name="connsiteY14" fmla="*/ 32966 h 75752"/>
                <a:gd name="connsiteX15" fmla="*/ 107652 w 119881"/>
                <a:gd name="connsiteY15" fmla="*/ 35005 h 75752"/>
                <a:gd name="connsiteX16" fmla="*/ 111300 w 119881"/>
                <a:gd name="connsiteY16" fmla="*/ 36328 h 75752"/>
                <a:gd name="connsiteX17" fmla="*/ 112538 w 119881"/>
                <a:gd name="connsiteY17" fmla="*/ 35900 h 75752"/>
                <a:gd name="connsiteX18" fmla="*/ 117072 w 119881"/>
                <a:gd name="connsiteY18" fmla="*/ 31128 h 75752"/>
                <a:gd name="connsiteX19" fmla="*/ 118824 w 119881"/>
                <a:gd name="connsiteY19" fmla="*/ 31918 h 75752"/>
                <a:gd name="connsiteX20" fmla="*/ 119882 w 119881"/>
                <a:gd name="connsiteY20" fmla="*/ 34452 h 75752"/>
                <a:gd name="connsiteX21" fmla="*/ 119834 w 119881"/>
                <a:gd name="connsiteY21" fmla="*/ 35805 h 75752"/>
                <a:gd name="connsiteX22" fmla="*/ 118586 w 119881"/>
                <a:gd name="connsiteY22" fmla="*/ 40862 h 75752"/>
                <a:gd name="connsiteX23" fmla="*/ 118367 w 119881"/>
                <a:gd name="connsiteY23" fmla="*/ 43577 h 75752"/>
                <a:gd name="connsiteX24" fmla="*/ 119443 w 119881"/>
                <a:gd name="connsiteY24" fmla="*/ 45368 h 75752"/>
                <a:gd name="connsiteX25" fmla="*/ 119558 w 119881"/>
                <a:gd name="connsiteY25" fmla="*/ 46768 h 75752"/>
                <a:gd name="connsiteX26" fmla="*/ 119243 w 119881"/>
                <a:gd name="connsiteY26" fmla="*/ 48035 h 75752"/>
                <a:gd name="connsiteX27" fmla="*/ 117434 w 119881"/>
                <a:gd name="connsiteY27" fmla="*/ 48149 h 75752"/>
                <a:gd name="connsiteX28" fmla="*/ 115005 w 119881"/>
                <a:gd name="connsiteY28" fmla="*/ 47463 h 75752"/>
                <a:gd name="connsiteX29" fmla="*/ 112957 w 119881"/>
                <a:gd name="connsiteY29" fmla="*/ 45282 h 75752"/>
                <a:gd name="connsiteX30" fmla="*/ 111404 w 119881"/>
                <a:gd name="connsiteY30" fmla="*/ 45549 h 75752"/>
                <a:gd name="connsiteX31" fmla="*/ 110061 w 119881"/>
                <a:gd name="connsiteY31" fmla="*/ 46111 h 75752"/>
                <a:gd name="connsiteX32" fmla="*/ 109366 w 119881"/>
                <a:gd name="connsiteY32" fmla="*/ 48168 h 75752"/>
                <a:gd name="connsiteX33" fmla="*/ 108756 w 119881"/>
                <a:gd name="connsiteY33" fmla="*/ 50625 h 75752"/>
                <a:gd name="connsiteX34" fmla="*/ 108956 w 119881"/>
                <a:gd name="connsiteY34" fmla="*/ 51988 h 75752"/>
                <a:gd name="connsiteX35" fmla="*/ 109918 w 119881"/>
                <a:gd name="connsiteY35" fmla="*/ 53045 h 75752"/>
                <a:gd name="connsiteX36" fmla="*/ 110661 w 119881"/>
                <a:gd name="connsiteY36" fmla="*/ 55274 h 75752"/>
                <a:gd name="connsiteX37" fmla="*/ 111204 w 119881"/>
                <a:gd name="connsiteY37" fmla="*/ 58169 h 75752"/>
                <a:gd name="connsiteX38" fmla="*/ 111614 w 119881"/>
                <a:gd name="connsiteY38" fmla="*/ 59493 h 75752"/>
                <a:gd name="connsiteX39" fmla="*/ 111166 w 119881"/>
                <a:gd name="connsiteY39" fmla="*/ 60084 h 75752"/>
                <a:gd name="connsiteX40" fmla="*/ 109890 w 119881"/>
                <a:gd name="connsiteY40" fmla="*/ 60484 h 75752"/>
                <a:gd name="connsiteX41" fmla="*/ 108823 w 119881"/>
                <a:gd name="connsiteY41" fmla="*/ 60093 h 75752"/>
                <a:gd name="connsiteX42" fmla="*/ 106975 w 119881"/>
                <a:gd name="connsiteY42" fmla="*/ 56636 h 75752"/>
                <a:gd name="connsiteX43" fmla="*/ 106108 w 119881"/>
                <a:gd name="connsiteY43" fmla="*/ 55321 h 75752"/>
                <a:gd name="connsiteX44" fmla="*/ 104642 w 119881"/>
                <a:gd name="connsiteY44" fmla="*/ 55083 h 75752"/>
                <a:gd name="connsiteX45" fmla="*/ 102060 w 119881"/>
                <a:gd name="connsiteY45" fmla="*/ 55931 h 75752"/>
                <a:gd name="connsiteX46" fmla="*/ 98098 w 119881"/>
                <a:gd name="connsiteY46" fmla="*/ 57864 h 75752"/>
                <a:gd name="connsiteX47" fmla="*/ 96488 w 119881"/>
                <a:gd name="connsiteY47" fmla="*/ 57855 h 75752"/>
                <a:gd name="connsiteX48" fmla="*/ 95135 w 119881"/>
                <a:gd name="connsiteY48" fmla="*/ 57465 h 75752"/>
                <a:gd name="connsiteX49" fmla="*/ 93859 w 119881"/>
                <a:gd name="connsiteY49" fmla="*/ 55826 h 75752"/>
                <a:gd name="connsiteX50" fmla="*/ 92773 w 119881"/>
                <a:gd name="connsiteY50" fmla="*/ 52654 h 75752"/>
                <a:gd name="connsiteX51" fmla="*/ 92430 w 119881"/>
                <a:gd name="connsiteY51" fmla="*/ 50663 h 75752"/>
                <a:gd name="connsiteX52" fmla="*/ 91678 w 119881"/>
                <a:gd name="connsiteY52" fmla="*/ 50721 h 75752"/>
                <a:gd name="connsiteX53" fmla="*/ 89135 w 119881"/>
                <a:gd name="connsiteY53" fmla="*/ 50149 h 75752"/>
                <a:gd name="connsiteX54" fmla="*/ 87954 w 119881"/>
                <a:gd name="connsiteY54" fmla="*/ 50940 h 75752"/>
                <a:gd name="connsiteX55" fmla="*/ 87944 w 119881"/>
                <a:gd name="connsiteY55" fmla="*/ 54178 h 75752"/>
                <a:gd name="connsiteX56" fmla="*/ 87716 w 119881"/>
                <a:gd name="connsiteY56" fmla="*/ 58217 h 75752"/>
                <a:gd name="connsiteX57" fmla="*/ 86439 w 119881"/>
                <a:gd name="connsiteY57" fmla="*/ 60817 h 75752"/>
                <a:gd name="connsiteX58" fmla="*/ 82896 w 119881"/>
                <a:gd name="connsiteY58" fmla="*/ 65313 h 75752"/>
                <a:gd name="connsiteX59" fmla="*/ 81601 w 119881"/>
                <a:gd name="connsiteY59" fmla="*/ 67266 h 75752"/>
                <a:gd name="connsiteX60" fmla="*/ 81077 w 119881"/>
                <a:gd name="connsiteY60" fmla="*/ 68675 h 75752"/>
                <a:gd name="connsiteX61" fmla="*/ 80972 w 119881"/>
                <a:gd name="connsiteY61" fmla="*/ 69895 h 75752"/>
                <a:gd name="connsiteX62" fmla="*/ 81515 w 119881"/>
                <a:gd name="connsiteY62" fmla="*/ 72000 h 75752"/>
                <a:gd name="connsiteX63" fmla="*/ 82248 w 119881"/>
                <a:gd name="connsiteY63" fmla="*/ 74009 h 75752"/>
                <a:gd name="connsiteX64" fmla="*/ 81629 w 119881"/>
                <a:gd name="connsiteY64" fmla="*/ 75152 h 75752"/>
                <a:gd name="connsiteX65" fmla="*/ 79762 w 119881"/>
                <a:gd name="connsiteY65" fmla="*/ 75752 h 75752"/>
                <a:gd name="connsiteX66" fmla="*/ 78438 w 119881"/>
                <a:gd name="connsiteY66" fmla="*/ 74533 h 75752"/>
                <a:gd name="connsiteX67" fmla="*/ 77933 w 119881"/>
                <a:gd name="connsiteY67" fmla="*/ 72362 h 75752"/>
                <a:gd name="connsiteX68" fmla="*/ 75066 w 119881"/>
                <a:gd name="connsiteY68" fmla="*/ 69390 h 75752"/>
                <a:gd name="connsiteX69" fmla="*/ 76371 w 119881"/>
                <a:gd name="connsiteY69" fmla="*/ 66904 h 75752"/>
                <a:gd name="connsiteX70" fmla="*/ 76152 w 119881"/>
                <a:gd name="connsiteY70" fmla="*/ 66285 h 75752"/>
                <a:gd name="connsiteX71" fmla="*/ 71418 w 119881"/>
                <a:gd name="connsiteY71" fmla="*/ 64989 h 75752"/>
                <a:gd name="connsiteX72" fmla="*/ 69380 w 119881"/>
                <a:gd name="connsiteY72" fmla="*/ 63103 h 75752"/>
                <a:gd name="connsiteX73" fmla="*/ 66522 w 119881"/>
                <a:gd name="connsiteY73" fmla="*/ 59789 h 75752"/>
                <a:gd name="connsiteX74" fmla="*/ 65989 w 119881"/>
                <a:gd name="connsiteY74" fmla="*/ 58369 h 75752"/>
                <a:gd name="connsiteX75" fmla="*/ 66113 w 119881"/>
                <a:gd name="connsiteY75" fmla="*/ 53740 h 75752"/>
                <a:gd name="connsiteX76" fmla="*/ 65942 w 119881"/>
                <a:gd name="connsiteY76" fmla="*/ 52616 h 75752"/>
                <a:gd name="connsiteX77" fmla="*/ 65561 w 119881"/>
                <a:gd name="connsiteY77" fmla="*/ 52064 h 75752"/>
                <a:gd name="connsiteX78" fmla="*/ 64179 w 119881"/>
                <a:gd name="connsiteY78" fmla="*/ 52102 h 75752"/>
                <a:gd name="connsiteX79" fmla="*/ 62246 w 119881"/>
                <a:gd name="connsiteY79" fmla="*/ 53712 h 75752"/>
                <a:gd name="connsiteX80" fmla="*/ 60465 w 119881"/>
                <a:gd name="connsiteY80" fmla="*/ 56112 h 75752"/>
                <a:gd name="connsiteX81" fmla="*/ 56826 w 119881"/>
                <a:gd name="connsiteY81" fmla="*/ 58826 h 75752"/>
                <a:gd name="connsiteX82" fmla="*/ 56445 w 119881"/>
                <a:gd name="connsiteY82" fmla="*/ 59398 h 75752"/>
                <a:gd name="connsiteX83" fmla="*/ 57674 w 119881"/>
                <a:gd name="connsiteY83" fmla="*/ 62036 h 75752"/>
                <a:gd name="connsiteX84" fmla="*/ 57617 w 119881"/>
                <a:gd name="connsiteY84" fmla="*/ 63055 h 75752"/>
                <a:gd name="connsiteX85" fmla="*/ 54645 w 119881"/>
                <a:gd name="connsiteY85" fmla="*/ 67256 h 75752"/>
                <a:gd name="connsiteX86" fmla="*/ 54083 w 119881"/>
                <a:gd name="connsiteY86" fmla="*/ 68637 h 75752"/>
                <a:gd name="connsiteX87" fmla="*/ 50320 w 119881"/>
                <a:gd name="connsiteY87" fmla="*/ 71257 h 75752"/>
                <a:gd name="connsiteX88" fmla="*/ 48596 w 119881"/>
                <a:gd name="connsiteY88" fmla="*/ 72238 h 75752"/>
                <a:gd name="connsiteX89" fmla="*/ 43377 w 119881"/>
                <a:gd name="connsiteY89" fmla="*/ 70314 h 75752"/>
                <a:gd name="connsiteX90" fmla="*/ 41929 w 119881"/>
                <a:gd name="connsiteY90" fmla="*/ 70085 h 75752"/>
                <a:gd name="connsiteX91" fmla="*/ 39605 w 119881"/>
                <a:gd name="connsiteY91" fmla="*/ 71371 h 75752"/>
                <a:gd name="connsiteX92" fmla="*/ 36309 w 119881"/>
                <a:gd name="connsiteY92" fmla="*/ 72600 h 75752"/>
                <a:gd name="connsiteX93" fmla="*/ 30985 w 119881"/>
                <a:gd name="connsiteY93" fmla="*/ 73828 h 75752"/>
                <a:gd name="connsiteX94" fmla="*/ 29023 w 119881"/>
                <a:gd name="connsiteY94" fmla="*/ 72933 h 75752"/>
                <a:gd name="connsiteX95" fmla="*/ 28099 w 119881"/>
                <a:gd name="connsiteY95" fmla="*/ 72095 h 75752"/>
                <a:gd name="connsiteX96" fmla="*/ 27641 w 119881"/>
                <a:gd name="connsiteY96" fmla="*/ 70818 h 75752"/>
                <a:gd name="connsiteX97" fmla="*/ 26298 w 119881"/>
                <a:gd name="connsiteY97" fmla="*/ 68580 h 75752"/>
                <a:gd name="connsiteX98" fmla="*/ 24794 w 119881"/>
                <a:gd name="connsiteY98" fmla="*/ 67256 h 75752"/>
                <a:gd name="connsiteX99" fmla="*/ 23746 w 119881"/>
                <a:gd name="connsiteY99" fmla="*/ 65808 h 75752"/>
                <a:gd name="connsiteX100" fmla="*/ 22345 w 119881"/>
                <a:gd name="connsiteY100" fmla="*/ 64227 h 75752"/>
                <a:gd name="connsiteX101" fmla="*/ 21441 w 119881"/>
                <a:gd name="connsiteY101" fmla="*/ 62903 h 75752"/>
                <a:gd name="connsiteX102" fmla="*/ 22641 w 119881"/>
                <a:gd name="connsiteY102" fmla="*/ 58655 h 75752"/>
                <a:gd name="connsiteX103" fmla="*/ 21765 w 119881"/>
                <a:gd name="connsiteY103" fmla="*/ 57169 h 75752"/>
                <a:gd name="connsiteX104" fmla="*/ 21317 w 119881"/>
                <a:gd name="connsiteY104" fmla="*/ 55036 h 75752"/>
                <a:gd name="connsiteX105" fmla="*/ 21545 w 119881"/>
                <a:gd name="connsiteY105" fmla="*/ 53588 h 75752"/>
                <a:gd name="connsiteX106" fmla="*/ 21069 w 119881"/>
                <a:gd name="connsiteY106" fmla="*/ 53235 h 75752"/>
                <a:gd name="connsiteX107" fmla="*/ 16259 w 119881"/>
                <a:gd name="connsiteY107" fmla="*/ 52397 h 75752"/>
                <a:gd name="connsiteX108" fmla="*/ 12268 w 119881"/>
                <a:gd name="connsiteY108" fmla="*/ 52664 h 75752"/>
                <a:gd name="connsiteX109" fmla="*/ 9410 w 119881"/>
                <a:gd name="connsiteY109" fmla="*/ 54083 h 75752"/>
                <a:gd name="connsiteX110" fmla="*/ 7077 w 119881"/>
                <a:gd name="connsiteY110" fmla="*/ 56445 h 75752"/>
                <a:gd name="connsiteX111" fmla="*/ 6791 w 119881"/>
                <a:gd name="connsiteY111" fmla="*/ 56960 h 75752"/>
                <a:gd name="connsiteX112" fmla="*/ 6944 w 119881"/>
                <a:gd name="connsiteY112" fmla="*/ 57379 h 75752"/>
                <a:gd name="connsiteX113" fmla="*/ 8106 w 119881"/>
                <a:gd name="connsiteY113" fmla="*/ 59541 h 75752"/>
                <a:gd name="connsiteX114" fmla="*/ 6134 w 119881"/>
                <a:gd name="connsiteY114" fmla="*/ 61827 h 75752"/>
                <a:gd name="connsiteX115" fmla="*/ 3115 w 119881"/>
                <a:gd name="connsiteY115" fmla="*/ 63598 h 75752"/>
                <a:gd name="connsiteX116" fmla="*/ 981 w 119881"/>
                <a:gd name="connsiteY116" fmla="*/ 63780 h 75752"/>
                <a:gd name="connsiteX117" fmla="*/ 38 w 119881"/>
                <a:gd name="connsiteY117" fmla="*/ 63437 h 75752"/>
                <a:gd name="connsiteX118" fmla="*/ 0 w 119881"/>
                <a:gd name="connsiteY118" fmla="*/ 60998 h 75752"/>
                <a:gd name="connsiteX119" fmla="*/ 1772 w 119881"/>
                <a:gd name="connsiteY119" fmla="*/ 60093 h 75752"/>
                <a:gd name="connsiteX120" fmla="*/ 3372 w 119881"/>
                <a:gd name="connsiteY120" fmla="*/ 58503 h 75752"/>
                <a:gd name="connsiteX121" fmla="*/ 3905 w 119881"/>
                <a:gd name="connsiteY121" fmla="*/ 56255 h 75752"/>
                <a:gd name="connsiteX122" fmla="*/ 4096 w 119881"/>
                <a:gd name="connsiteY122" fmla="*/ 54674 h 75752"/>
                <a:gd name="connsiteX123" fmla="*/ 2419 w 119881"/>
                <a:gd name="connsiteY123" fmla="*/ 52759 h 75752"/>
                <a:gd name="connsiteX124" fmla="*/ 2619 w 119881"/>
                <a:gd name="connsiteY124" fmla="*/ 51578 h 75752"/>
                <a:gd name="connsiteX125" fmla="*/ 3667 w 119881"/>
                <a:gd name="connsiteY125" fmla="*/ 49349 h 75752"/>
                <a:gd name="connsiteX126" fmla="*/ 4267 w 119881"/>
                <a:gd name="connsiteY126" fmla="*/ 47377 h 75752"/>
                <a:gd name="connsiteX127" fmla="*/ 5105 w 119881"/>
                <a:gd name="connsiteY127" fmla="*/ 45673 h 75752"/>
                <a:gd name="connsiteX128" fmla="*/ 8429 w 119881"/>
                <a:gd name="connsiteY128" fmla="*/ 42882 h 75752"/>
                <a:gd name="connsiteX129" fmla="*/ 11763 w 119881"/>
                <a:gd name="connsiteY129" fmla="*/ 40062 h 75752"/>
                <a:gd name="connsiteX130" fmla="*/ 12268 w 119881"/>
                <a:gd name="connsiteY130" fmla="*/ 37071 h 75752"/>
                <a:gd name="connsiteX131" fmla="*/ 12535 w 119881"/>
                <a:gd name="connsiteY131" fmla="*/ 33423 h 75752"/>
                <a:gd name="connsiteX132" fmla="*/ 13002 w 119881"/>
                <a:gd name="connsiteY132" fmla="*/ 32547 h 75752"/>
                <a:gd name="connsiteX133" fmla="*/ 17507 w 119881"/>
                <a:gd name="connsiteY133" fmla="*/ 30356 h 75752"/>
                <a:gd name="connsiteX134" fmla="*/ 18631 w 119881"/>
                <a:gd name="connsiteY134" fmla="*/ 29489 h 75752"/>
                <a:gd name="connsiteX135" fmla="*/ 19202 w 119881"/>
                <a:gd name="connsiteY135" fmla="*/ 28251 h 75752"/>
                <a:gd name="connsiteX136" fmla="*/ 22746 w 119881"/>
                <a:gd name="connsiteY136" fmla="*/ 24146 h 75752"/>
                <a:gd name="connsiteX137" fmla="*/ 26251 w 119881"/>
                <a:gd name="connsiteY137" fmla="*/ 20069 h 75752"/>
                <a:gd name="connsiteX138" fmla="*/ 26965 w 119881"/>
                <a:gd name="connsiteY138" fmla="*/ 18698 h 75752"/>
                <a:gd name="connsiteX139" fmla="*/ 27556 w 119881"/>
                <a:gd name="connsiteY139" fmla="*/ 17888 h 75752"/>
                <a:gd name="connsiteX140" fmla="*/ 27556 w 119881"/>
                <a:gd name="connsiteY140" fmla="*/ 17221 h 75752"/>
                <a:gd name="connsiteX141" fmla="*/ 27108 w 119881"/>
                <a:gd name="connsiteY141" fmla="*/ 16707 h 75752"/>
                <a:gd name="connsiteX142" fmla="*/ 25441 w 119881"/>
                <a:gd name="connsiteY142" fmla="*/ 16373 h 75752"/>
                <a:gd name="connsiteX143" fmla="*/ 24870 w 119881"/>
                <a:gd name="connsiteY143" fmla="*/ 15069 h 75752"/>
                <a:gd name="connsiteX144" fmla="*/ 26689 w 119881"/>
                <a:gd name="connsiteY144" fmla="*/ 12745 h 75752"/>
                <a:gd name="connsiteX145" fmla="*/ 28965 w 119881"/>
                <a:gd name="connsiteY145" fmla="*/ 11325 h 75752"/>
                <a:gd name="connsiteX146" fmla="*/ 31175 w 119881"/>
                <a:gd name="connsiteY146" fmla="*/ 11297 h 75752"/>
                <a:gd name="connsiteX147" fmla="*/ 32061 w 119881"/>
                <a:gd name="connsiteY147" fmla="*/ 11954 h 75752"/>
                <a:gd name="connsiteX148" fmla="*/ 32013 w 119881"/>
                <a:gd name="connsiteY148" fmla="*/ 12725 h 75752"/>
                <a:gd name="connsiteX149" fmla="*/ 32966 w 119881"/>
                <a:gd name="connsiteY149" fmla="*/ 13554 h 75752"/>
                <a:gd name="connsiteX150" fmla="*/ 34642 w 119881"/>
                <a:gd name="connsiteY150" fmla="*/ 13821 h 75752"/>
                <a:gd name="connsiteX151" fmla="*/ 36709 w 119881"/>
                <a:gd name="connsiteY151" fmla="*/ 13535 h 75752"/>
                <a:gd name="connsiteX152" fmla="*/ 38767 w 119881"/>
                <a:gd name="connsiteY152" fmla="*/ 12668 h 75752"/>
                <a:gd name="connsiteX153" fmla="*/ 40034 w 119881"/>
                <a:gd name="connsiteY153" fmla="*/ 10601 h 75752"/>
                <a:gd name="connsiteX154" fmla="*/ 40767 w 119881"/>
                <a:gd name="connsiteY154" fmla="*/ 9030 h 75752"/>
                <a:gd name="connsiteX155" fmla="*/ 43996 w 119881"/>
                <a:gd name="connsiteY155" fmla="*/ 7239 h 75752"/>
                <a:gd name="connsiteX156" fmla="*/ 46196 w 119881"/>
                <a:gd name="connsiteY156" fmla="*/ 8144 h 75752"/>
                <a:gd name="connsiteX157" fmla="*/ 52321 w 119881"/>
                <a:gd name="connsiteY157" fmla="*/ 8382 h 75752"/>
                <a:gd name="connsiteX158" fmla="*/ 56779 w 119881"/>
                <a:gd name="connsiteY158" fmla="*/ 7896 h 75752"/>
                <a:gd name="connsiteX159" fmla="*/ 59569 w 119881"/>
                <a:gd name="connsiteY159" fmla="*/ 6677 h 75752"/>
                <a:gd name="connsiteX160" fmla="*/ 63027 w 119881"/>
                <a:gd name="connsiteY160" fmla="*/ 6677 h 75752"/>
                <a:gd name="connsiteX161" fmla="*/ 65351 w 119881"/>
                <a:gd name="connsiteY161" fmla="*/ 7363 h 75752"/>
                <a:gd name="connsiteX162" fmla="*/ 65761 w 119881"/>
                <a:gd name="connsiteY162" fmla="*/ 7258 h 75752"/>
                <a:gd name="connsiteX163" fmla="*/ 66408 w 119881"/>
                <a:gd name="connsiteY163" fmla="*/ 7106 h 75752"/>
                <a:gd name="connsiteX164" fmla="*/ 67037 w 119881"/>
                <a:gd name="connsiteY164" fmla="*/ 6448 h 75752"/>
                <a:gd name="connsiteX165" fmla="*/ 69227 w 119881"/>
                <a:gd name="connsiteY165" fmla="*/ 6001 h 75752"/>
                <a:gd name="connsiteX166" fmla="*/ 69513 w 119881"/>
                <a:gd name="connsiteY166" fmla="*/ 5458 h 75752"/>
                <a:gd name="connsiteX167" fmla="*/ 69428 w 119881"/>
                <a:gd name="connsiteY167" fmla="*/ 4896 h 75752"/>
                <a:gd name="connsiteX168" fmla="*/ 69037 w 119881"/>
                <a:gd name="connsiteY168" fmla="*/ 4620 h 75752"/>
                <a:gd name="connsiteX169" fmla="*/ 66342 w 119881"/>
                <a:gd name="connsiteY169" fmla="*/ 4906 h 75752"/>
                <a:gd name="connsiteX170" fmla="*/ 65322 w 119881"/>
                <a:gd name="connsiteY170" fmla="*/ 4477 h 75752"/>
                <a:gd name="connsiteX171" fmla="*/ 65056 w 119881"/>
                <a:gd name="connsiteY171" fmla="*/ 3486 h 75752"/>
                <a:gd name="connsiteX172" fmla="*/ 65922 w 119881"/>
                <a:gd name="connsiteY172" fmla="*/ 1753 h 75752"/>
                <a:gd name="connsiteX173" fmla="*/ 67904 w 119881"/>
                <a:gd name="connsiteY173" fmla="*/ 343 h 75752"/>
                <a:gd name="connsiteX174" fmla="*/ 69580 w 119881"/>
                <a:gd name="connsiteY174" fmla="*/ 0 h 75752"/>
                <a:gd name="connsiteX175" fmla="*/ 70790 w 119881"/>
                <a:gd name="connsiteY175" fmla="*/ 381 h 75752"/>
                <a:gd name="connsiteX176" fmla="*/ 73733 w 119881"/>
                <a:gd name="connsiteY176" fmla="*/ 2991 h 75752"/>
                <a:gd name="connsiteX177" fmla="*/ 74447 w 119881"/>
                <a:gd name="connsiteY177" fmla="*/ 3077 h 75752"/>
                <a:gd name="connsiteX178" fmla="*/ 74857 w 119881"/>
                <a:gd name="connsiteY178" fmla="*/ 2610 h 75752"/>
                <a:gd name="connsiteX179" fmla="*/ 75467 w 119881"/>
                <a:gd name="connsiteY179" fmla="*/ 2343 h 75752"/>
                <a:gd name="connsiteX180" fmla="*/ 76486 w 119881"/>
                <a:gd name="connsiteY180" fmla="*/ 2858 h 75752"/>
                <a:gd name="connsiteX181" fmla="*/ 77629 w 119881"/>
                <a:gd name="connsiteY181" fmla="*/ 4477 h 75752"/>
                <a:gd name="connsiteX182" fmla="*/ 77829 w 119881"/>
                <a:gd name="connsiteY182" fmla="*/ 4724 h 75752"/>
                <a:gd name="connsiteX183" fmla="*/ 84411 w 119881"/>
                <a:gd name="connsiteY183" fmla="*/ 4153 h 75752"/>
                <a:gd name="connsiteX184" fmla="*/ 85887 w 119881"/>
                <a:gd name="connsiteY184" fmla="*/ 4153 h 75752"/>
                <a:gd name="connsiteX185" fmla="*/ 90354 w 119881"/>
                <a:gd name="connsiteY185" fmla="*/ 7001 h 7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</a:cxnLst>
              <a:rect l="l" t="t" r="r" b="b"/>
              <a:pathLst>
                <a:path w="119881" h="75752">
                  <a:moveTo>
                    <a:pt x="95012" y="9944"/>
                  </a:moveTo>
                  <a:lnTo>
                    <a:pt x="95821" y="10459"/>
                  </a:lnTo>
                  <a:lnTo>
                    <a:pt x="97726" y="12202"/>
                  </a:lnTo>
                  <a:lnTo>
                    <a:pt x="97279" y="15164"/>
                  </a:lnTo>
                  <a:lnTo>
                    <a:pt x="95097" y="19926"/>
                  </a:lnTo>
                  <a:lnTo>
                    <a:pt x="93945" y="23774"/>
                  </a:lnTo>
                  <a:lnTo>
                    <a:pt x="93821" y="26718"/>
                  </a:lnTo>
                  <a:lnTo>
                    <a:pt x="94040" y="28099"/>
                  </a:lnTo>
                  <a:lnTo>
                    <a:pt x="94431" y="28080"/>
                  </a:lnTo>
                  <a:lnTo>
                    <a:pt x="96507" y="28289"/>
                  </a:lnTo>
                  <a:lnTo>
                    <a:pt x="97574" y="28289"/>
                  </a:lnTo>
                  <a:lnTo>
                    <a:pt x="100917" y="29080"/>
                  </a:lnTo>
                  <a:lnTo>
                    <a:pt x="103594" y="30242"/>
                  </a:lnTo>
                  <a:lnTo>
                    <a:pt x="104118" y="31471"/>
                  </a:lnTo>
                  <a:lnTo>
                    <a:pt x="104460" y="32966"/>
                  </a:lnTo>
                  <a:lnTo>
                    <a:pt x="107652" y="35005"/>
                  </a:lnTo>
                  <a:lnTo>
                    <a:pt x="111300" y="36328"/>
                  </a:lnTo>
                  <a:lnTo>
                    <a:pt x="112538" y="35900"/>
                  </a:lnTo>
                  <a:lnTo>
                    <a:pt x="117072" y="31128"/>
                  </a:lnTo>
                  <a:lnTo>
                    <a:pt x="118824" y="31918"/>
                  </a:lnTo>
                  <a:lnTo>
                    <a:pt x="119882" y="34452"/>
                  </a:lnTo>
                  <a:lnTo>
                    <a:pt x="119834" y="35805"/>
                  </a:lnTo>
                  <a:lnTo>
                    <a:pt x="118586" y="40862"/>
                  </a:lnTo>
                  <a:lnTo>
                    <a:pt x="118367" y="43577"/>
                  </a:lnTo>
                  <a:lnTo>
                    <a:pt x="119443" y="45368"/>
                  </a:lnTo>
                  <a:lnTo>
                    <a:pt x="119558" y="46768"/>
                  </a:lnTo>
                  <a:lnTo>
                    <a:pt x="119243" y="48035"/>
                  </a:lnTo>
                  <a:lnTo>
                    <a:pt x="117434" y="48149"/>
                  </a:lnTo>
                  <a:lnTo>
                    <a:pt x="115005" y="47463"/>
                  </a:lnTo>
                  <a:lnTo>
                    <a:pt x="112957" y="45282"/>
                  </a:lnTo>
                  <a:lnTo>
                    <a:pt x="111404" y="45549"/>
                  </a:lnTo>
                  <a:lnTo>
                    <a:pt x="110061" y="46111"/>
                  </a:lnTo>
                  <a:lnTo>
                    <a:pt x="109366" y="48168"/>
                  </a:lnTo>
                  <a:lnTo>
                    <a:pt x="108756" y="50625"/>
                  </a:lnTo>
                  <a:lnTo>
                    <a:pt x="108956" y="51988"/>
                  </a:lnTo>
                  <a:lnTo>
                    <a:pt x="109918" y="53045"/>
                  </a:lnTo>
                  <a:lnTo>
                    <a:pt x="110661" y="55274"/>
                  </a:lnTo>
                  <a:lnTo>
                    <a:pt x="111204" y="58169"/>
                  </a:lnTo>
                  <a:lnTo>
                    <a:pt x="111614" y="59493"/>
                  </a:lnTo>
                  <a:lnTo>
                    <a:pt x="111166" y="60084"/>
                  </a:lnTo>
                  <a:lnTo>
                    <a:pt x="109890" y="60484"/>
                  </a:lnTo>
                  <a:lnTo>
                    <a:pt x="108823" y="60093"/>
                  </a:lnTo>
                  <a:lnTo>
                    <a:pt x="106975" y="56636"/>
                  </a:lnTo>
                  <a:lnTo>
                    <a:pt x="106108" y="55321"/>
                  </a:lnTo>
                  <a:lnTo>
                    <a:pt x="104642" y="55083"/>
                  </a:lnTo>
                  <a:lnTo>
                    <a:pt x="102060" y="55931"/>
                  </a:lnTo>
                  <a:lnTo>
                    <a:pt x="98098" y="57864"/>
                  </a:lnTo>
                  <a:lnTo>
                    <a:pt x="96488" y="57855"/>
                  </a:lnTo>
                  <a:lnTo>
                    <a:pt x="95135" y="57465"/>
                  </a:lnTo>
                  <a:lnTo>
                    <a:pt x="93859" y="55826"/>
                  </a:lnTo>
                  <a:lnTo>
                    <a:pt x="92773" y="52654"/>
                  </a:lnTo>
                  <a:lnTo>
                    <a:pt x="92430" y="50663"/>
                  </a:lnTo>
                  <a:lnTo>
                    <a:pt x="91678" y="50721"/>
                  </a:lnTo>
                  <a:lnTo>
                    <a:pt x="89135" y="50149"/>
                  </a:lnTo>
                  <a:lnTo>
                    <a:pt x="87954" y="50940"/>
                  </a:lnTo>
                  <a:lnTo>
                    <a:pt x="87944" y="54178"/>
                  </a:lnTo>
                  <a:lnTo>
                    <a:pt x="87716" y="58217"/>
                  </a:lnTo>
                  <a:lnTo>
                    <a:pt x="86439" y="60817"/>
                  </a:lnTo>
                  <a:lnTo>
                    <a:pt x="82896" y="65313"/>
                  </a:lnTo>
                  <a:lnTo>
                    <a:pt x="81601" y="67266"/>
                  </a:lnTo>
                  <a:lnTo>
                    <a:pt x="81077" y="68675"/>
                  </a:lnTo>
                  <a:lnTo>
                    <a:pt x="80972" y="69895"/>
                  </a:lnTo>
                  <a:lnTo>
                    <a:pt x="81515" y="72000"/>
                  </a:lnTo>
                  <a:lnTo>
                    <a:pt x="82248" y="74009"/>
                  </a:lnTo>
                  <a:lnTo>
                    <a:pt x="81629" y="75152"/>
                  </a:lnTo>
                  <a:lnTo>
                    <a:pt x="79762" y="75752"/>
                  </a:lnTo>
                  <a:lnTo>
                    <a:pt x="78438" y="74533"/>
                  </a:lnTo>
                  <a:lnTo>
                    <a:pt x="77933" y="72362"/>
                  </a:lnTo>
                  <a:lnTo>
                    <a:pt x="75066" y="69390"/>
                  </a:lnTo>
                  <a:lnTo>
                    <a:pt x="76371" y="66904"/>
                  </a:lnTo>
                  <a:lnTo>
                    <a:pt x="76152" y="66285"/>
                  </a:lnTo>
                  <a:lnTo>
                    <a:pt x="71418" y="64989"/>
                  </a:lnTo>
                  <a:lnTo>
                    <a:pt x="69380" y="63103"/>
                  </a:lnTo>
                  <a:lnTo>
                    <a:pt x="66522" y="59789"/>
                  </a:lnTo>
                  <a:lnTo>
                    <a:pt x="65989" y="58369"/>
                  </a:lnTo>
                  <a:lnTo>
                    <a:pt x="66113" y="53740"/>
                  </a:lnTo>
                  <a:lnTo>
                    <a:pt x="65942" y="52616"/>
                  </a:lnTo>
                  <a:lnTo>
                    <a:pt x="65561" y="52064"/>
                  </a:lnTo>
                  <a:lnTo>
                    <a:pt x="64179" y="52102"/>
                  </a:lnTo>
                  <a:lnTo>
                    <a:pt x="62246" y="53712"/>
                  </a:lnTo>
                  <a:lnTo>
                    <a:pt x="60465" y="56112"/>
                  </a:lnTo>
                  <a:lnTo>
                    <a:pt x="56826" y="58826"/>
                  </a:lnTo>
                  <a:lnTo>
                    <a:pt x="56445" y="59398"/>
                  </a:lnTo>
                  <a:lnTo>
                    <a:pt x="57674" y="62036"/>
                  </a:lnTo>
                  <a:lnTo>
                    <a:pt x="57617" y="63055"/>
                  </a:lnTo>
                  <a:lnTo>
                    <a:pt x="54645" y="67256"/>
                  </a:lnTo>
                  <a:lnTo>
                    <a:pt x="54083" y="68637"/>
                  </a:lnTo>
                  <a:lnTo>
                    <a:pt x="50320" y="71257"/>
                  </a:lnTo>
                  <a:lnTo>
                    <a:pt x="48596" y="72238"/>
                  </a:lnTo>
                  <a:lnTo>
                    <a:pt x="43377" y="70314"/>
                  </a:lnTo>
                  <a:lnTo>
                    <a:pt x="41929" y="70085"/>
                  </a:lnTo>
                  <a:lnTo>
                    <a:pt x="39605" y="71371"/>
                  </a:lnTo>
                  <a:lnTo>
                    <a:pt x="36309" y="72600"/>
                  </a:lnTo>
                  <a:lnTo>
                    <a:pt x="30985" y="73828"/>
                  </a:lnTo>
                  <a:lnTo>
                    <a:pt x="29023" y="72933"/>
                  </a:lnTo>
                  <a:lnTo>
                    <a:pt x="28099" y="72095"/>
                  </a:lnTo>
                  <a:lnTo>
                    <a:pt x="27641" y="70818"/>
                  </a:lnTo>
                  <a:lnTo>
                    <a:pt x="26298" y="68580"/>
                  </a:lnTo>
                  <a:lnTo>
                    <a:pt x="24794" y="67256"/>
                  </a:lnTo>
                  <a:lnTo>
                    <a:pt x="23746" y="65808"/>
                  </a:lnTo>
                  <a:lnTo>
                    <a:pt x="22345" y="64227"/>
                  </a:lnTo>
                  <a:lnTo>
                    <a:pt x="21441" y="62903"/>
                  </a:lnTo>
                  <a:lnTo>
                    <a:pt x="22641" y="58655"/>
                  </a:lnTo>
                  <a:lnTo>
                    <a:pt x="21765" y="57169"/>
                  </a:lnTo>
                  <a:lnTo>
                    <a:pt x="21317" y="55036"/>
                  </a:lnTo>
                  <a:lnTo>
                    <a:pt x="21545" y="53588"/>
                  </a:lnTo>
                  <a:lnTo>
                    <a:pt x="21069" y="53235"/>
                  </a:lnTo>
                  <a:lnTo>
                    <a:pt x="16259" y="52397"/>
                  </a:lnTo>
                  <a:lnTo>
                    <a:pt x="12268" y="52664"/>
                  </a:lnTo>
                  <a:lnTo>
                    <a:pt x="9410" y="54083"/>
                  </a:lnTo>
                  <a:lnTo>
                    <a:pt x="7077" y="56445"/>
                  </a:lnTo>
                  <a:lnTo>
                    <a:pt x="6791" y="56960"/>
                  </a:lnTo>
                  <a:lnTo>
                    <a:pt x="6944" y="57379"/>
                  </a:lnTo>
                  <a:lnTo>
                    <a:pt x="8106" y="59541"/>
                  </a:lnTo>
                  <a:lnTo>
                    <a:pt x="6134" y="61827"/>
                  </a:lnTo>
                  <a:lnTo>
                    <a:pt x="3115" y="63598"/>
                  </a:lnTo>
                  <a:lnTo>
                    <a:pt x="981" y="63780"/>
                  </a:lnTo>
                  <a:lnTo>
                    <a:pt x="38" y="63437"/>
                  </a:lnTo>
                  <a:lnTo>
                    <a:pt x="0" y="60998"/>
                  </a:lnTo>
                  <a:lnTo>
                    <a:pt x="1772" y="60093"/>
                  </a:lnTo>
                  <a:lnTo>
                    <a:pt x="3372" y="58503"/>
                  </a:lnTo>
                  <a:lnTo>
                    <a:pt x="3905" y="56255"/>
                  </a:lnTo>
                  <a:lnTo>
                    <a:pt x="4096" y="54674"/>
                  </a:lnTo>
                  <a:lnTo>
                    <a:pt x="2419" y="52759"/>
                  </a:lnTo>
                  <a:lnTo>
                    <a:pt x="2619" y="51578"/>
                  </a:lnTo>
                  <a:lnTo>
                    <a:pt x="3667" y="49349"/>
                  </a:lnTo>
                  <a:lnTo>
                    <a:pt x="4267" y="47377"/>
                  </a:lnTo>
                  <a:lnTo>
                    <a:pt x="5105" y="45673"/>
                  </a:lnTo>
                  <a:lnTo>
                    <a:pt x="8429" y="42882"/>
                  </a:lnTo>
                  <a:lnTo>
                    <a:pt x="11763" y="40062"/>
                  </a:lnTo>
                  <a:lnTo>
                    <a:pt x="12268" y="37071"/>
                  </a:lnTo>
                  <a:lnTo>
                    <a:pt x="12535" y="33423"/>
                  </a:lnTo>
                  <a:lnTo>
                    <a:pt x="13002" y="32547"/>
                  </a:lnTo>
                  <a:lnTo>
                    <a:pt x="17507" y="30356"/>
                  </a:lnTo>
                  <a:lnTo>
                    <a:pt x="18631" y="29489"/>
                  </a:lnTo>
                  <a:lnTo>
                    <a:pt x="19202" y="28251"/>
                  </a:lnTo>
                  <a:lnTo>
                    <a:pt x="22746" y="24146"/>
                  </a:lnTo>
                  <a:lnTo>
                    <a:pt x="26251" y="20069"/>
                  </a:lnTo>
                  <a:lnTo>
                    <a:pt x="26965" y="18698"/>
                  </a:lnTo>
                  <a:lnTo>
                    <a:pt x="27556" y="17888"/>
                  </a:lnTo>
                  <a:lnTo>
                    <a:pt x="27556" y="17221"/>
                  </a:lnTo>
                  <a:lnTo>
                    <a:pt x="27108" y="16707"/>
                  </a:lnTo>
                  <a:lnTo>
                    <a:pt x="25441" y="16373"/>
                  </a:lnTo>
                  <a:lnTo>
                    <a:pt x="24870" y="15069"/>
                  </a:lnTo>
                  <a:lnTo>
                    <a:pt x="26689" y="12745"/>
                  </a:lnTo>
                  <a:lnTo>
                    <a:pt x="28965" y="11325"/>
                  </a:lnTo>
                  <a:lnTo>
                    <a:pt x="31175" y="11297"/>
                  </a:lnTo>
                  <a:lnTo>
                    <a:pt x="32061" y="11954"/>
                  </a:lnTo>
                  <a:lnTo>
                    <a:pt x="32013" y="12725"/>
                  </a:lnTo>
                  <a:lnTo>
                    <a:pt x="32966" y="13554"/>
                  </a:lnTo>
                  <a:lnTo>
                    <a:pt x="34642" y="13821"/>
                  </a:lnTo>
                  <a:lnTo>
                    <a:pt x="36709" y="13535"/>
                  </a:lnTo>
                  <a:lnTo>
                    <a:pt x="38767" y="12668"/>
                  </a:lnTo>
                  <a:lnTo>
                    <a:pt x="40034" y="10601"/>
                  </a:lnTo>
                  <a:lnTo>
                    <a:pt x="40767" y="9030"/>
                  </a:lnTo>
                  <a:lnTo>
                    <a:pt x="43996" y="7239"/>
                  </a:lnTo>
                  <a:lnTo>
                    <a:pt x="46196" y="8144"/>
                  </a:lnTo>
                  <a:lnTo>
                    <a:pt x="52321" y="8382"/>
                  </a:lnTo>
                  <a:lnTo>
                    <a:pt x="56779" y="7896"/>
                  </a:lnTo>
                  <a:lnTo>
                    <a:pt x="59569" y="6677"/>
                  </a:lnTo>
                  <a:lnTo>
                    <a:pt x="63027" y="6677"/>
                  </a:lnTo>
                  <a:lnTo>
                    <a:pt x="65351" y="7363"/>
                  </a:lnTo>
                  <a:lnTo>
                    <a:pt x="65761" y="7258"/>
                  </a:lnTo>
                  <a:lnTo>
                    <a:pt x="66408" y="7106"/>
                  </a:lnTo>
                  <a:lnTo>
                    <a:pt x="67037" y="6448"/>
                  </a:lnTo>
                  <a:lnTo>
                    <a:pt x="69227" y="6001"/>
                  </a:lnTo>
                  <a:lnTo>
                    <a:pt x="69513" y="5458"/>
                  </a:lnTo>
                  <a:lnTo>
                    <a:pt x="69428" y="4896"/>
                  </a:lnTo>
                  <a:lnTo>
                    <a:pt x="69037" y="4620"/>
                  </a:lnTo>
                  <a:lnTo>
                    <a:pt x="66342" y="4906"/>
                  </a:lnTo>
                  <a:lnTo>
                    <a:pt x="65322" y="4477"/>
                  </a:lnTo>
                  <a:lnTo>
                    <a:pt x="65056" y="3486"/>
                  </a:lnTo>
                  <a:lnTo>
                    <a:pt x="65922" y="1753"/>
                  </a:lnTo>
                  <a:lnTo>
                    <a:pt x="67904" y="343"/>
                  </a:lnTo>
                  <a:lnTo>
                    <a:pt x="69580" y="0"/>
                  </a:lnTo>
                  <a:lnTo>
                    <a:pt x="70790" y="381"/>
                  </a:lnTo>
                  <a:lnTo>
                    <a:pt x="73733" y="2991"/>
                  </a:lnTo>
                  <a:lnTo>
                    <a:pt x="74447" y="3077"/>
                  </a:lnTo>
                  <a:lnTo>
                    <a:pt x="74857" y="2610"/>
                  </a:lnTo>
                  <a:lnTo>
                    <a:pt x="75467" y="2343"/>
                  </a:lnTo>
                  <a:lnTo>
                    <a:pt x="76486" y="2858"/>
                  </a:lnTo>
                  <a:lnTo>
                    <a:pt x="77629" y="4477"/>
                  </a:lnTo>
                  <a:lnTo>
                    <a:pt x="77829" y="4724"/>
                  </a:lnTo>
                  <a:lnTo>
                    <a:pt x="84411" y="4153"/>
                  </a:lnTo>
                  <a:lnTo>
                    <a:pt x="85887" y="4153"/>
                  </a:lnTo>
                  <a:lnTo>
                    <a:pt x="90354" y="7001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" name="Forme libre : forme 13">
              <a:extLst>
                <a:ext uri="{FF2B5EF4-FFF2-40B4-BE49-F238E27FC236}">
                  <a16:creationId xmlns:a16="http://schemas.microsoft.com/office/drawing/2014/main" id="{0D4DB9E9-42C5-4365-7721-3AA924AFE91D}"/>
                </a:ext>
              </a:extLst>
            </p:cNvPr>
            <p:cNvSpPr/>
            <p:nvPr/>
          </p:nvSpPr>
          <p:spPr>
            <a:xfrm>
              <a:off x="6068416" y="4356187"/>
              <a:ext cx="469854" cy="255161"/>
            </a:xfrm>
            <a:custGeom>
              <a:avLst/>
              <a:gdLst>
                <a:gd name="connsiteX0" fmla="*/ 72705 w 180241"/>
                <a:gd name="connsiteY0" fmla="*/ 7563 h 101708"/>
                <a:gd name="connsiteX1" fmla="*/ 75010 w 180241"/>
                <a:gd name="connsiteY1" fmla="*/ 7458 h 101708"/>
                <a:gd name="connsiteX2" fmla="*/ 77343 w 180241"/>
                <a:gd name="connsiteY2" fmla="*/ 6401 h 101708"/>
                <a:gd name="connsiteX3" fmla="*/ 77533 w 180241"/>
                <a:gd name="connsiteY3" fmla="*/ 4677 h 101708"/>
                <a:gd name="connsiteX4" fmla="*/ 77381 w 180241"/>
                <a:gd name="connsiteY4" fmla="*/ 1457 h 101708"/>
                <a:gd name="connsiteX5" fmla="*/ 77629 w 180241"/>
                <a:gd name="connsiteY5" fmla="*/ 991 h 101708"/>
                <a:gd name="connsiteX6" fmla="*/ 81163 w 180241"/>
                <a:gd name="connsiteY6" fmla="*/ 1905 h 101708"/>
                <a:gd name="connsiteX7" fmla="*/ 84706 w 180241"/>
                <a:gd name="connsiteY7" fmla="*/ 3353 h 101708"/>
                <a:gd name="connsiteX8" fmla="*/ 85201 w 180241"/>
                <a:gd name="connsiteY8" fmla="*/ 6553 h 101708"/>
                <a:gd name="connsiteX9" fmla="*/ 86154 w 180241"/>
                <a:gd name="connsiteY9" fmla="*/ 8125 h 101708"/>
                <a:gd name="connsiteX10" fmla="*/ 87278 w 180241"/>
                <a:gd name="connsiteY10" fmla="*/ 9563 h 101708"/>
                <a:gd name="connsiteX11" fmla="*/ 88344 w 180241"/>
                <a:gd name="connsiteY11" fmla="*/ 10211 h 101708"/>
                <a:gd name="connsiteX12" fmla="*/ 90202 w 180241"/>
                <a:gd name="connsiteY12" fmla="*/ 10316 h 101708"/>
                <a:gd name="connsiteX13" fmla="*/ 95012 w 180241"/>
                <a:gd name="connsiteY13" fmla="*/ 12211 h 101708"/>
                <a:gd name="connsiteX14" fmla="*/ 97326 w 180241"/>
                <a:gd name="connsiteY14" fmla="*/ 12592 h 101708"/>
                <a:gd name="connsiteX15" fmla="*/ 99698 w 180241"/>
                <a:gd name="connsiteY15" fmla="*/ 13906 h 101708"/>
                <a:gd name="connsiteX16" fmla="*/ 101699 w 180241"/>
                <a:gd name="connsiteY16" fmla="*/ 15240 h 101708"/>
                <a:gd name="connsiteX17" fmla="*/ 103156 w 180241"/>
                <a:gd name="connsiteY17" fmla="*/ 15526 h 101708"/>
                <a:gd name="connsiteX18" fmla="*/ 103832 w 180241"/>
                <a:gd name="connsiteY18" fmla="*/ 16983 h 101708"/>
                <a:gd name="connsiteX19" fmla="*/ 104728 w 180241"/>
                <a:gd name="connsiteY19" fmla="*/ 17983 h 101708"/>
                <a:gd name="connsiteX20" fmla="*/ 106308 w 180241"/>
                <a:gd name="connsiteY20" fmla="*/ 17212 h 101708"/>
                <a:gd name="connsiteX21" fmla="*/ 112081 w 180241"/>
                <a:gd name="connsiteY21" fmla="*/ 16135 h 101708"/>
                <a:gd name="connsiteX22" fmla="*/ 114157 w 180241"/>
                <a:gd name="connsiteY22" fmla="*/ 17574 h 101708"/>
                <a:gd name="connsiteX23" fmla="*/ 115557 w 180241"/>
                <a:gd name="connsiteY23" fmla="*/ 19098 h 101708"/>
                <a:gd name="connsiteX24" fmla="*/ 115748 w 180241"/>
                <a:gd name="connsiteY24" fmla="*/ 19574 h 101708"/>
                <a:gd name="connsiteX25" fmla="*/ 115014 w 180241"/>
                <a:gd name="connsiteY25" fmla="*/ 20917 h 101708"/>
                <a:gd name="connsiteX26" fmla="*/ 114662 w 180241"/>
                <a:gd name="connsiteY26" fmla="*/ 21955 h 101708"/>
                <a:gd name="connsiteX27" fmla="*/ 114062 w 180241"/>
                <a:gd name="connsiteY27" fmla="*/ 22650 h 101708"/>
                <a:gd name="connsiteX28" fmla="*/ 112081 w 180241"/>
                <a:gd name="connsiteY28" fmla="*/ 23384 h 101708"/>
                <a:gd name="connsiteX29" fmla="*/ 110966 w 180241"/>
                <a:gd name="connsiteY29" fmla="*/ 24565 h 101708"/>
                <a:gd name="connsiteX30" fmla="*/ 110147 w 180241"/>
                <a:gd name="connsiteY30" fmla="*/ 25860 h 101708"/>
                <a:gd name="connsiteX31" fmla="*/ 110699 w 180241"/>
                <a:gd name="connsiteY31" fmla="*/ 27099 h 101708"/>
                <a:gd name="connsiteX32" fmla="*/ 112319 w 180241"/>
                <a:gd name="connsiteY32" fmla="*/ 28032 h 101708"/>
                <a:gd name="connsiteX33" fmla="*/ 113462 w 180241"/>
                <a:gd name="connsiteY33" fmla="*/ 28242 h 101708"/>
                <a:gd name="connsiteX34" fmla="*/ 113900 w 180241"/>
                <a:gd name="connsiteY34" fmla="*/ 29146 h 101708"/>
                <a:gd name="connsiteX35" fmla="*/ 117567 w 180241"/>
                <a:gd name="connsiteY35" fmla="*/ 33185 h 101708"/>
                <a:gd name="connsiteX36" fmla="*/ 120482 w 180241"/>
                <a:gd name="connsiteY36" fmla="*/ 38452 h 101708"/>
                <a:gd name="connsiteX37" fmla="*/ 121615 w 180241"/>
                <a:gd name="connsiteY37" fmla="*/ 39271 h 101708"/>
                <a:gd name="connsiteX38" fmla="*/ 122682 w 180241"/>
                <a:gd name="connsiteY38" fmla="*/ 39471 h 101708"/>
                <a:gd name="connsiteX39" fmla="*/ 123920 w 180241"/>
                <a:gd name="connsiteY39" fmla="*/ 38700 h 101708"/>
                <a:gd name="connsiteX40" fmla="*/ 125349 w 180241"/>
                <a:gd name="connsiteY40" fmla="*/ 36986 h 101708"/>
                <a:gd name="connsiteX41" fmla="*/ 127035 w 180241"/>
                <a:gd name="connsiteY41" fmla="*/ 35757 h 101708"/>
                <a:gd name="connsiteX42" fmla="*/ 128464 w 180241"/>
                <a:gd name="connsiteY42" fmla="*/ 35118 h 101708"/>
                <a:gd name="connsiteX43" fmla="*/ 130988 w 180241"/>
                <a:gd name="connsiteY43" fmla="*/ 33661 h 101708"/>
                <a:gd name="connsiteX44" fmla="*/ 131093 w 180241"/>
                <a:gd name="connsiteY44" fmla="*/ 32718 h 101708"/>
                <a:gd name="connsiteX45" fmla="*/ 128978 w 180241"/>
                <a:gd name="connsiteY45" fmla="*/ 29146 h 101708"/>
                <a:gd name="connsiteX46" fmla="*/ 127769 w 180241"/>
                <a:gd name="connsiteY46" fmla="*/ 26251 h 101708"/>
                <a:gd name="connsiteX47" fmla="*/ 128054 w 180241"/>
                <a:gd name="connsiteY47" fmla="*/ 25727 h 101708"/>
                <a:gd name="connsiteX48" fmla="*/ 130750 w 180241"/>
                <a:gd name="connsiteY48" fmla="*/ 26184 h 101708"/>
                <a:gd name="connsiteX49" fmla="*/ 135322 w 180241"/>
                <a:gd name="connsiteY49" fmla="*/ 27765 h 101708"/>
                <a:gd name="connsiteX50" fmla="*/ 142361 w 180241"/>
                <a:gd name="connsiteY50" fmla="*/ 32918 h 101708"/>
                <a:gd name="connsiteX51" fmla="*/ 143628 w 180241"/>
                <a:gd name="connsiteY51" fmla="*/ 32918 h 101708"/>
                <a:gd name="connsiteX52" fmla="*/ 146085 w 180241"/>
                <a:gd name="connsiteY52" fmla="*/ 32528 h 101708"/>
                <a:gd name="connsiteX53" fmla="*/ 148762 w 180241"/>
                <a:gd name="connsiteY53" fmla="*/ 31690 h 101708"/>
                <a:gd name="connsiteX54" fmla="*/ 150038 w 180241"/>
                <a:gd name="connsiteY54" fmla="*/ 30737 h 101708"/>
                <a:gd name="connsiteX55" fmla="*/ 150514 w 180241"/>
                <a:gd name="connsiteY55" fmla="*/ 31090 h 101708"/>
                <a:gd name="connsiteX56" fmla="*/ 150924 w 180241"/>
                <a:gd name="connsiteY56" fmla="*/ 33919 h 101708"/>
                <a:gd name="connsiteX57" fmla="*/ 150219 w 180241"/>
                <a:gd name="connsiteY57" fmla="*/ 35471 h 101708"/>
                <a:gd name="connsiteX58" fmla="*/ 147019 w 180241"/>
                <a:gd name="connsiteY58" fmla="*/ 36976 h 101708"/>
                <a:gd name="connsiteX59" fmla="*/ 147199 w 180241"/>
                <a:gd name="connsiteY59" fmla="*/ 37719 h 101708"/>
                <a:gd name="connsiteX60" fmla="*/ 148028 w 180241"/>
                <a:gd name="connsiteY60" fmla="*/ 38681 h 101708"/>
                <a:gd name="connsiteX61" fmla="*/ 149466 w 180241"/>
                <a:gd name="connsiteY61" fmla="*/ 39329 h 101708"/>
                <a:gd name="connsiteX62" fmla="*/ 151219 w 180241"/>
                <a:gd name="connsiteY62" fmla="*/ 41157 h 101708"/>
                <a:gd name="connsiteX63" fmla="*/ 152429 w 180241"/>
                <a:gd name="connsiteY63" fmla="*/ 43244 h 101708"/>
                <a:gd name="connsiteX64" fmla="*/ 153486 w 180241"/>
                <a:gd name="connsiteY64" fmla="*/ 44205 h 101708"/>
                <a:gd name="connsiteX65" fmla="*/ 154648 w 180241"/>
                <a:gd name="connsiteY65" fmla="*/ 44663 h 101708"/>
                <a:gd name="connsiteX66" fmla="*/ 157563 w 180241"/>
                <a:gd name="connsiteY66" fmla="*/ 43548 h 101708"/>
                <a:gd name="connsiteX67" fmla="*/ 158382 w 180241"/>
                <a:gd name="connsiteY67" fmla="*/ 42672 h 101708"/>
                <a:gd name="connsiteX68" fmla="*/ 158753 w 180241"/>
                <a:gd name="connsiteY68" fmla="*/ 42053 h 101708"/>
                <a:gd name="connsiteX69" fmla="*/ 159315 w 180241"/>
                <a:gd name="connsiteY69" fmla="*/ 42186 h 101708"/>
                <a:gd name="connsiteX70" fmla="*/ 160334 w 180241"/>
                <a:gd name="connsiteY70" fmla="*/ 43215 h 101708"/>
                <a:gd name="connsiteX71" fmla="*/ 160649 w 180241"/>
                <a:gd name="connsiteY71" fmla="*/ 43815 h 101708"/>
                <a:gd name="connsiteX72" fmla="*/ 163478 w 180241"/>
                <a:gd name="connsiteY72" fmla="*/ 44977 h 101708"/>
                <a:gd name="connsiteX73" fmla="*/ 165116 w 180241"/>
                <a:gd name="connsiteY73" fmla="*/ 46406 h 101708"/>
                <a:gd name="connsiteX74" fmla="*/ 166154 w 180241"/>
                <a:gd name="connsiteY74" fmla="*/ 47072 h 101708"/>
                <a:gd name="connsiteX75" fmla="*/ 167306 w 180241"/>
                <a:gd name="connsiteY75" fmla="*/ 46425 h 101708"/>
                <a:gd name="connsiteX76" fmla="*/ 171793 w 180241"/>
                <a:gd name="connsiteY76" fmla="*/ 47558 h 101708"/>
                <a:gd name="connsiteX77" fmla="*/ 173031 w 180241"/>
                <a:gd name="connsiteY77" fmla="*/ 48511 h 101708"/>
                <a:gd name="connsiteX78" fmla="*/ 173422 w 180241"/>
                <a:gd name="connsiteY78" fmla="*/ 50092 h 101708"/>
                <a:gd name="connsiteX79" fmla="*/ 173203 w 180241"/>
                <a:gd name="connsiteY79" fmla="*/ 51054 h 101708"/>
                <a:gd name="connsiteX80" fmla="*/ 173889 w 180241"/>
                <a:gd name="connsiteY80" fmla="*/ 53530 h 101708"/>
                <a:gd name="connsiteX81" fmla="*/ 179566 w 180241"/>
                <a:gd name="connsiteY81" fmla="*/ 59465 h 101708"/>
                <a:gd name="connsiteX82" fmla="*/ 180156 w 180241"/>
                <a:gd name="connsiteY82" fmla="*/ 62494 h 101708"/>
                <a:gd name="connsiteX83" fmla="*/ 180242 w 180241"/>
                <a:gd name="connsiteY83" fmla="*/ 63703 h 101708"/>
                <a:gd name="connsiteX84" fmla="*/ 179566 w 180241"/>
                <a:gd name="connsiteY84" fmla="*/ 63760 h 101708"/>
                <a:gd name="connsiteX85" fmla="*/ 178032 w 180241"/>
                <a:gd name="connsiteY85" fmla="*/ 64389 h 101708"/>
                <a:gd name="connsiteX86" fmla="*/ 176070 w 180241"/>
                <a:gd name="connsiteY86" fmla="*/ 64618 h 101708"/>
                <a:gd name="connsiteX87" fmla="*/ 173945 w 180241"/>
                <a:gd name="connsiteY87" fmla="*/ 64494 h 101708"/>
                <a:gd name="connsiteX88" fmla="*/ 172288 w 180241"/>
                <a:gd name="connsiteY88" fmla="*/ 65589 h 101708"/>
                <a:gd name="connsiteX89" fmla="*/ 170726 w 180241"/>
                <a:gd name="connsiteY89" fmla="*/ 67380 h 101708"/>
                <a:gd name="connsiteX90" fmla="*/ 169107 w 180241"/>
                <a:gd name="connsiteY90" fmla="*/ 68618 h 101708"/>
                <a:gd name="connsiteX91" fmla="*/ 168240 w 180241"/>
                <a:gd name="connsiteY91" fmla="*/ 69713 h 101708"/>
                <a:gd name="connsiteX92" fmla="*/ 167745 w 180241"/>
                <a:gd name="connsiteY92" fmla="*/ 70856 h 101708"/>
                <a:gd name="connsiteX93" fmla="*/ 162297 w 180241"/>
                <a:gd name="connsiteY93" fmla="*/ 74076 h 101708"/>
                <a:gd name="connsiteX94" fmla="*/ 161535 w 180241"/>
                <a:gd name="connsiteY94" fmla="*/ 75419 h 101708"/>
                <a:gd name="connsiteX95" fmla="*/ 160935 w 180241"/>
                <a:gd name="connsiteY95" fmla="*/ 77248 h 101708"/>
                <a:gd name="connsiteX96" fmla="*/ 160677 w 180241"/>
                <a:gd name="connsiteY96" fmla="*/ 79705 h 101708"/>
                <a:gd name="connsiteX97" fmla="*/ 160296 w 180241"/>
                <a:gd name="connsiteY97" fmla="*/ 81915 h 101708"/>
                <a:gd name="connsiteX98" fmla="*/ 159353 w 180241"/>
                <a:gd name="connsiteY98" fmla="*/ 83077 h 101708"/>
                <a:gd name="connsiteX99" fmla="*/ 156410 w 180241"/>
                <a:gd name="connsiteY99" fmla="*/ 84077 h 101708"/>
                <a:gd name="connsiteX100" fmla="*/ 155677 w 180241"/>
                <a:gd name="connsiteY100" fmla="*/ 84611 h 101708"/>
                <a:gd name="connsiteX101" fmla="*/ 155124 w 180241"/>
                <a:gd name="connsiteY101" fmla="*/ 85735 h 101708"/>
                <a:gd name="connsiteX102" fmla="*/ 153476 w 180241"/>
                <a:gd name="connsiteY102" fmla="*/ 87459 h 101708"/>
                <a:gd name="connsiteX103" fmla="*/ 151543 w 180241"/>
                <a:gd name="connsiteY103" fmla="*/ 89097 h 101708"/>
                <a:gd name="connsiteX104" fmla="*/ 147980 w 180241"/>
                <a:gd name="connsiteY104" fmla="*/ 90973 h 101708"/>
                <a:gd name="connsiteX105" fmla="*/ 144161 w 180241"/>
                <a:gd name="connsiteY105" fmla="*/ 91545 h 101708"/>
                <a:gd name="connsiteX106" fmla="*/ 139198 w 180241"/>
                <a:gd name="connsiteY106" fmla="*/ 90935 h 101708"/>
                <a:gd name="connsiteX107" fmla="*/ 136293 w 180241"/>
                <a:gd name="connsiteY107" fmla="*/ 90202 h 101708"/>
                <a:gd name="connsiteX108" fmla="*/ 134893 w 180241"/>
                <a:gd name="connsiteY108" fmla="*/ 91011 h 101708"/>
                <a:gd name="connsiteX109" fmla="*/ 132950 w 180241"/>
                <a:gd name="connsiteY109" fmla="*/ 93450 h 101708"/>
                <a:gd name="connsiteX110" fmla="*/ 130874 w 180241"/>
                <a:gd name="connsiteY110" fmla="*/ 97641 h 101708"/>
                <a:gd name="connsiteX111" fmla="*/ 130007 w 180241"/>
                <a:gd name="connsiteY111" fmla="*/ 100794 h 101708"/>
                <a:gd name="connsiteX112" fmla="*/ 129340 w 180241"/>
                <a:gd name="connsiteY112" fmla="*/ 99898 h 101708"/>
                <a:gd name="connsiteX113" fmla="*/ 128149 w 180241"/>
                <a:gd name="connsiteY113" fmla="*/ 96564 h 101708"/>
                <a:gd name="connsiteX114" fmla="*/ 126807 w 180241"/>
                <a:gd name="connsiteY114" fmla="*/ 96136 h 101708"/>
                <a:gd name="connsiteX115" fmla="*/ 124968 w 180241"/>
                <a:gd name="connsiteY115" fmla="*/ 95821 h 101708"/>
                <a:gd name="connsiteX116" fmla="*/ 123587 w 180241"/>
                <a:gd name="connsiteY116" fmla="*/ 95326 h 101708"/>
                <a:gd name="connsiteX117" fmla="*/ 120596 w 180241"/>
                <a:gd name="connsiteY117" fmla="*/ 93402 h 101708"/>
                <a:gd name="connsiteX118" fmla="*/ 119063 w 180241"/>
                <a:gd name="connsiteY118" fmla="*/ 92821 h 101708"/>
                <a:gd name="connsiteX119" fmla="*/ 117300 w 180241"/>
                <a:gd name="connsiteY119" fmla="*/ 92669 h 101708"/>
                <a:gd name="connsiteX120" fmla="*/ 115624 w 180241"/>
                <a:gd name="connsiteY120" fmla="*/ 93802 h 101708"/>
                <a:gd name="connsiteX121" fmla="*/ 114347 w 180241"/>
                <a:gd name="connsiteY121" fmla="*/ 95136 h 101708"/>
                <a:gd name="connsiteX122" fmla="*/ 110395 w 180241"/>
                <a:gd name="connsiteY122" fmla="*/ 95117 h 101708"/>
                <a:gd name="connsiteX123" fmla="*/ 106061 w 180241"/>
                <a:gd name="connsiteY123" fmla="*/ 94497 h 101708"/>
                <a:gd name="connsiteX124" fmla="*/ 99860 w 180241"/>
                <a:gd name="connsiteY124" fmla="*/ 90059 h 101708"/>
                <a:gd name="connsiteX125" fmla="*/ 98250 w 180241"/>
                <a:gd name="connsiteY125" fmla="*/ 90021 h 101708"/>
                <a:gd name="connsiteX126" fmla="*/ 96536 w 180241"/>
                <a:gd name="connsiteY126" fmla="*/ 90221 h 101708"/>
                <a:gd name="connsiteX127" fmla="*/ 93821 w 180241"/>
                <a:gd name="connsiteY127" fmla="*/ 89163 h 101708"/>
                <a:gd name="connsiteX128" fmla="*/ 88573 w 180241"/>
                <a:gd name="connsiteY128" fmla="*/ 86287 h 101708"/>
                <a:gd name="connsiteX129" fmla="*/ 86106 w 180241"/>
                <a:gd name="connsiteY129" fmla="*/ 85611 h 101708"/>
                <a:gd name="connsiteX130" fmla="*/ 84553 w 180241"/>
                <a:gd name="connsiteY130" fmla="*/ 86020 h 101708"/>
                <a:gd name="connsiteX131" fmla="*/ 83134 w 180241"/>
                <a:gd name="connsiteY131" fmla="*/ 86668 h 101708"/>
                <a:gd name="connsiteX132" fmla="*/ 82115 w 180241"/>
                <a:gd name="connsiteY132" fmla="*/ 86744 h 101708"/>
                <a:gd name="connsiteX133" fmla="*/ 81534 w 180241"/>
                <a:gd name="connsiteY133" fmla="*/ 85801 h 101708"/>
                <a:gd name="connsiteX134" fmla="*/ 79581 w 180241"/>
                <a:gd name="connsiteY134" fmla="*/ 84649 h 101708"/>
                <a:gd name="connsiteX135" fmla="*/ 77619 w 180241"/>
                <a:gd name="connsiteY135" fmla="*/ 84515 h 101708"/>
                <a:gd name="connsiteX136" fmla="*/ 77057 w 180241"/>
                <a:gd name="connsiteY136" fmla="*/ 85211 h 101708"/>
                <a:gd name="connsiteX137" fmla="*/ 76390 w 180241"/>
                <a:gd name="connsiteY137" fmla="*/ 91545 h 101708"/>
                <a:gd name="connsiteX138" fmla="*/ 75733 w 180241"/>
                <a:gd name="connsiteY138" fmla="*/ 93831 h 101708"/>
                <a:gd name="connsiteX139" fmla="*/ 73038 w 180241"/>
                <a:gd name="connsiteY139" fmla="*/ 93726 h 101708"/>
                <a:gd name="connsiteX140" fmla="*/ 72076 w 180241"/>
                <a:gd name="connsiteY140" fmla="*/ 94793 h 101708"/>
                <a:gd name="connsiteX141" fmla="*/ 69961 w 180241"/>
                <a:gd name="connsiteY141" fmla="*/ 97850 h 101708"/>
                <a:gd name="connsiteX142" fmla="*/ 69552 w 180241"/>
                <a:gd name="connsiteY142" fmla="*/ 100774 h 101708"/>
                <a:gd name="connsiteX143" fmla="*/ 65875 w 180241"/>
                <a:gd name="connsiteY143" fmla="*/ 100212 h 101708"/>
                <a:gd name="connsiteX144" fmla="*/ 64132 w 180241"/>
                <a:gd name="connsiteY144" fmla="*/ 99717 h 101708"/>
                <a:gd name="connsiteX145" fmla="*/ 62589 w 180241"/>
                <a:gd name="connsiteY145" fmla="*/ 100089 h 101708"/>
                <a:gd name="connsiteX146" fmla="*/ 60893 w 180241"/>
                <a:gd name="connsiteY146" fmla="*/ 101708 h 101708"/>
                <a:gd name="connsiteX147" fmla="*/ 56140 w 180241"/>
                <a:gd name="connsiteY147" fmla="*/ 101613 h 101708"/>
                <a:gd name="connsiteX148" fmla="*/ 52378 w 180241"/>
                <a:gd name="connsiteY148" fmla="*/ 100651 h 101708"/>
                <a:gd name="connsiteX149" fmla="*/ 50768 w 180241"/>
                <a:gd name="connsiteY149" fmla="*/ 97022 h 101708"/>
                <a:gd name="connsiteX150" fmla="*/ 49044 w 180241"/>
                <a:gd name="connsiteY150" fmla="*/ 95574 h 101708"/>
                <a:gd name="connsiteX151" fmla="*/ 46872 w 180241"/>
                <a:gd name="connsiteY151" fmla="*/ 94297 h 101708"/>
                <a:gd name="connsiteX152" fmla="*/ 46120 w 180241"/>
                <a:gd name="connsiteY152" fmla="*/ 94002 h 101708"/>
                <a:gd name="connsiteX153" fmla="*/ 44920 w 180241"/>
                <a:gd name="connsiteY153" fmla="*/ 92021 h 101708"/>
                <a:gd name="connsiteX154" fmla="*/ 42644 w 180241"/>
                <a:gd name="connsiteY154" fmla="*/ 89563 h 101708"/>
                <a:gd name="connsiteX155" fmla="*/ 38976 w 180241"/>
                <a:gd name="connsiteY155" fmla="*/ 86192 h 101708"/>
                <a:gd name="connsiteX156" fmla="*/ 36119 w 180241"/>
                <a:gd name="connsiteY156" fmla="*/ 86363 h 101708"/>
                <a:gd name="connsiteX157" fmla="*/ 35062 w 180241"/>
                <a:gd name="connsiteY157" fmla="*/ 85468 h 101708"/>
                <a:gd name="connsiteX158" fmla="*/ 34595 w 180241"/>
                <a:gd name="connsiteY158" fmla="*/ 84229 h 101708"/>
                <a:gd name="connsiteX159" fmla="*/ 33404 w 180241"/>
                <a:gd name="connsiteY159" fmla="*/ 82087 h 101708"/>
                <a:gd name="connsiteX160" fmla="*/ 32052 w 180241"/>
                <a:gd name="connsiteY160" fmla="*/ 80601 h 101708"/>
                <a:gd name="connsiteX161" fmla="*/ 30423 w 180241"/>
                <a:gd name="connsiteY161" fmla="*/ 80020 h 101708"/>
                <a:gd name="connsiteX162" fmla="*/ 28089 w 180241"/>
                <a:gd name="connsiteY162" fmla="*/ 78114 h 101708"/>
                <a:gd name="connsiteX163" fmla="*/ 24965 w 180241"/>
                <a:gd name="connsiteY163" fmla="*/ 73961 h 101708"/>
                <a:gd name="connsiteX164" fmla="*/ 22108 w 180241"/>
                <a:gd name="connsiteY164" fmla="*/ 71085 h 101708"/>
                <a:gd name="connsiteX165" fmla="*/ 19345 w 180241"/>
                <a:gd name="connsiteY165" fmla="*/ 71133 h 101708"/>
                <a:gd name="connsiteX166" fmla="*/ 17602 w 180241"/>
                <a:gd name="connsiteY166" fmla="*/ 69628 h 101708"/>
                <a:gd name="connsiteX167" fmla="*/ 15812 w 180241"/>
                <a:gd name="connsiteY167" fmla="*/ 67646 h 101708"/>
                <a:gd name="connsiteX168" fmla="*/ 14497 w 180241"/>
                <a:gd name="connsiteY168" fmla="*/ 65732 h 101708"/>
                <a:gd name="connsiteX169" fmla="*/ 12459 w 180241"/>
                <a:gd name="connsiteY169" fmla="*/ 61065 h 101708"/>
                <a:gd name="connsiteX170" fmla="*/ 10973 w 180241"/>
                <a:gd name="connsiteY170" fmla="*/ 58398 h 101708"/>
                <a:gd name="connsiteX171" fmla="*/ 9820 w 180241"/>
                <a:gd name="connsiteY171" fmla="*/ 56750 h 101708"/>
                <a:gd name="connsiteX172" fmla="*/ 8515 w 180241"/>
                <a:gd name="connsiteY172" fmla="*/ 55378 h 101708"/>
                <a:gd name="connsiteX173" fmla="*/ 8039 w 180241"/>
                <a:gd name="connsiteY173" fmla="*/ 54283 h 101708"/>
                <a:gd name="connsiteX174" fmla="*/ 9639 w 180241"/>
                <a:gd name="connsiteY174" fmla="*/ 51787 h 101708"/>
                <a:gd name="connsiteX175" fmla="*/ 10220 w 180241"/>
                <a:gd name="connsiteY175" fmla="*/ 50549 h 101708"/>
                <a:gd name="connsiteX176" fmla="*/ 10906 w 180241"/>
                <a:gd name="connsiteY176" fmla="*/ 49597 h 101708"/>
                <a:gd name="connsiteX177" fmla="*/ 11306 w 180241"/>
                <a:gd name="connsiteY177" fmla="*/ 48587 h 101708"/>
                <a:gd name="connsiteX178" fmla="*/ 11287 w 180241"/>
                <a:gd name="connsiteY178" fmla="*/ 47835 h 101708"/>
                <a:gd name="connsiteX179" fmla="*/ 9839 w 180241"/>
                <a:gd name="connsiteY179" fmla="*/ 45358 h 101708"/>
                <a:gd name="connsiteX180" fmla="*/ 7877 w 180241"/>
                <a:gd name="connsiteY180" fmla="*/ 43567 h 101708"/>
                <a:gd name="connsiteX181" fmla="*/ 4991 w 180241"/>
                <a:gd name="connsiteY181" fmla="*/ 41758 h 101708"/>
                <a:gd name="connsiteX182" fmla="*/ 3153 w 180241"/>
                <a:gd name="connsiteY182" fmla="*/ 39462 h 101708"/>
                <a:gd name="connsiteX183" fmla="*/ 2486 w 180241"/>
                <a:gd name="connsiteY183" fmla="*/ 37367 h 101708"/>
                <a:gd name="connsiteX184" fmla="*/ 2286 w 180241"/>
                <a:gd name="connsiteY184" fmla="*/ 36204 h 101708"/>
                <a:gd name="connsiteX185" fmla="*/ 1019 w 180241"/>
                <a:gd name="connsiteY185" fmla="*/ 34642 h 101708"/>
                <a:gd name="connsiteX186" fmla="*/ 0 w 180241"/>
                <a:gd name="connsiteY186" fmla="*/ 32347 h 101708"/>
                <a:gd name="connsiteX187" fmla="*/ 0 w 180241"/>
                <a:gd name="connsiteY187" fmla="*/ 30966 h 101708"/>
                <a:gd name="connsiteX188" fmla="*/ 257 w 180241"/>
                <a:gd name="connsiteY188" fmla="*/ 30575 h 101708"/>
                <a:gd name="connsiteX189" fmla="*/ 1210 w 180241"/>
                <a:gd name="connsiteY189" fmla="*/ 30575 h 101708"/>
                <a:gd name="connsiteX190" fmla="*/ 2277 w 180241"/>
                <a:gd name="connsiteY190" fmla="*/ 31518 h 101708"/>
                <a:gd name="connsiteX191" fmla="*/ 3781 w 180241"/>
                <a:gd name="connsiteY191" fmla="*/ 33328 h 101708"/>
                <a:gd name="connsiteX192" fmla="*/ 5020 w 180241"/>
                <a:gd name="connsiteY192" fmla="*/ 35976 h 101708"/>
                <a:gd name="connsiteX193" fmla="*/ 5772 w 180241"/>
                <a:gd name="connsiteY193" fmla="*/ 34966 h 101708"/>
                <a:gd name="connsiteX194" fmla="*/ 7191 w 180241"/>
                <a:gd name="connsiteY194" fmla="*/ 32147 h 101708"/>
                <a:gd name="connsiteX195" fmla="*/ 9706 w 180241"/>
                <a:gd name="connsiteY195" fmla="*/ 28956 h 101708"/>
                <a:gd name="connsiteX196" fmla="*/ 12278 w 180241"/>
                <a:gd name="connsiteY196" fmla="*/ 27127 h 101708"/>
                <a:gd name="connsiteX197" fmla="*/ 14592 w 180241"/>
                <a:gd name="connsiteY197" fmla="*/ 26975 h 101708"/>
                <a:gd name="connsiteX198" fmla="*/ 16488 w 180241"/>
                <a:gd name="connsiteY198" fmla="*/ 26470 h 101708"/>
                <a:gd name="connsiteX199" fmla="*/ 18059 w 180241"/>
                <a:gd name="connsiteY199" fmla="*/ 25555 h 101708"/>
                <a:gd name="connsiteX200" fmla="*/ 20812 w 180241"/>
                <a:gd name="connsiteY200" fmla="*/ 25927 h 101708"/>
                <a:gd name="connsiteX201" fmla="*/ 22803 w 180241"/>
                <a:gd name="connsiteY201" fmla="*/ 26584 h 101708"/>
                <a:gd name="connsiteX202" fmla="*/ 23451 w 180241"/>
                <a:gd name="connsiteY202" fmla="*/ 26175 h 101708"/>
                <a:gd name="connsiteX203" fmla="*/ 24260 w 180241"/>
                <a:gd name="connsiteY203" fmla="*/ 24508 h 101708"/>
                <a:gd name="connsiteX204" fmla="*/ 24774 w 180241"/>
                <a:gd name="connsiteY204" fmla="*/ 23070 h 101708"/>
                <a:gd name="connsiteX205" fmla="*/ 29175 w 180241"/>
                <a:gd name="connsiteY205" fmla="*/ 22231 h 101708"/>
                <a:gd name="connsiteX206" fmla="*/ 30690 w 180241"/>
                <a:gd name="connsiteY206" fmla="*/ 19450 h 101708"/>
                <a:gd name="connsiteX207" fmla="*/ 31537 w 180241"/>
                <a:gd name="connsiteY207" fmla="*/ 19460 h 101708"/>
                <a:gd name="connsiteX208" fmla="*/ 32519 w 180241"/>
                <a:gd name="connsiteY208" fmla="*/ 19050 h 101708"/>
                <a:gd name="connsiteX209" fmla="*/ 33452 w 180241"/>
                <a:gd name="connsiteY209" fmla="*/ 17993 h 101708"/>
                <a:gd name="connsiteX210" fmla="*/ 34347 w 180241"/>
                <a:gd name="connsiteY210" fmla="*/ 17554 h 101708"/>
                <a:gd name="connsiteX211" fmla="*/ 35062 w 180241"/>
                <a:gd name="connsiteY211" fmla="*/ 18088 h 101708"/>
                <a:gd name="connsiteX212" fmla="*/ 35995 w 180241"/>
                <a:gd name="connsiteY212" fmla="*/ 18431 h 101708"/>
                <a:gd name="connsiteX213" fmla="*/ 36967 w 180241"/>
                <a:gd name="connsiteY213" fmla="*/ 17764 h 101708"/>
                <a:gd name="connsiteX214" fmla="*/ 38414 w 180241"/>
                <a:gd name="connsiteY214" fmla="*/ 14564 h 101708"/>
                <a:gd name="connsiteX215" fmla="*/ 39214 w 180241"/>
                <a:gd name="connsiteY215" fmla="*/ 14068 h 101708"/>
                <a:gd name="connsiteX216" fmla="*/ 43081 w 180241"/>
                <a:gd name="connsiteY216" fmla="*/ 13573 h 101708"/>
                <a:gd name="connsiteX217" fmla="*/ 48358 w 180241"/>
                <a:gd name="connsiteY217" fmla="*/ 11687 h 101708"/>
                <a:gd name="connsiteX218" fmla="*/ 51026 w 180241"/>
                <a:gd name="connsiteY218" fmla="*/ 10011 h 101708"/>
                <a:gd name="connsiteX219" fmla="*/ 53645 w 180241"/>
                <a:gd name="connsiteY219" fmla="*/ 9096 h 101708"/>
                <a:gd name="connsiteX220" fmla="*/ 56464 w 180241"/>
                <a:gd name="connsiteY220" fmla="*/ 7468 h 101708"/>
                <a:gd name="connsiteX221" fmla="*/ 60931 w 180241"/>
                <a:gd name="connsiteY221" fmla="*/ 5887 h 101708"/>
                <a:gd name="connsiteX222" fmla="*/ 61141 w 180241"/>
                <a:gd name="connsiteY222" fmla="*/ 5239 h 101708"/>
                <a:gd name="connsiteX223" fmla="*/ 59074 w 180241"/>
                <a:gd name="connsiteY223" fmla="*/ 3610 h 101708"/>
                <a:gd name="connsiteX224" fmla="*/ 58379 w 180241"/>
                <a:gd name="connsiteY224" fmla="*/ 2581 h 101708"/>
                <a:gd name="connsiteX225" fmla="*/ 57903 w 180241"/>
                <a:gd name="connsiteY225" fmla="*/ 1524 h 101708"/>
                <a:gd name="connsiteX226" fmla="*/ 58636 w 180241"/>
                <a:gd name="connsiteY226" fmla="*/ 352 h 101708"/>
                <a:gd name="connsiteX227" fmla="*/ 59617 w 180241"/>
                <a:gd name="connsiteY227" fmla="*/ 0 h 101708"/>
                <a:gd name="connsiteX228" fmla="*/ 60884 w 180241"/>
                <a:gd name="connsiteY228" fmla="*/ 486 h 101708"/>
                <a:gd name="connsiteX229" fmla="*/ 64627 w 180241"/>
                <a:gd name="connsiteY229" fmla="*/ 1181 h 101708"/>
                <a:gd name="connsiteX230" fmla="*/ 65656 w 180241"/>
                <a:gd name="connsiteY230" fmla="*/ 1857 h 101708"/>
                <a:gd name="connsiteX231" fmla="*/ 66027 w 180241"/>
                <a:gd name="connsiteY231" fmla="*/ 3505 h 101708"/>
                <a:gd name="connsiteX232" fmla="*/ 66980 w 180241"/>
                <a:gd name="connsiteY232" fmla="*/ 5039 h 101708"/>
                <a:gd name="connsiteX233" fmla="*/ 67742 w 180241"/>
                <a:gd name="connsiteY233" fmla="*/ 5210 h 101708"/>
                <a:gd name="connsiteX234" fmla="*/ 67465 w 180241"/>
                <a:gd name="connsiteY234" fmla="*/ 7706 h 101708"/>
                <a:gd name="connsiteX235" fmla="*/ 68656 w 180241"/>
                <a:gd name="connsiteY235" fmla="*/ 8677 h 101708"/>
                <a:gd name="connsiteX236" fmla="*/ 70409 w 180241"/>
                <a:gd name="connsiteY236" fmla="*/ 9430 h 101708"/>
                <a:gd name="connsiteX237" fmla="*/ 71562 w 180241"/>
                <a:gd name="connsiteY237" fmla="*/ 9277 h 101708"/>
                <a:gd name="connsiteX238" fmla="*/ 72390 w 180241"/>
                <a:gd name="connsiteY238" fmla="*/ 8268 h 101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</a:cxnLst>
              <a:rect l="l" t="t" r="r" b="b"/>
              <a:pathLst>
                <a:path w="180241" h="101708">
                  <a:moveTo>
                    <a:pt x="72705" y="7563"/>
                  </a:moveTo>
                  <a:lnTo>
                    <a:pt x="75010" y="7458"/>
                  </a:lnTo>
                  <a:lnTo>
                    <a:pt x="77343" y="6401"/>
                  </a:lnTo>
                  <a:lnTo>
                    <a:pt x="77533" y="4677"/>
                  </a:lnTo>
                  <a:lnTo>
                    <a:pt x="77381" y="1457"/>
                  </a:lnTo>
                  <a:lnTo>
                    <a:pt x="77629" y="991"/>
                  </a:lnTo>
                  <a:lnTo>
                    <a:pt x="81163" y="1905"/>
                  </a:lnTo>
                  <a:lnTo>
                    <a:pt x="84706" y="3353"/>
                  </a:lnTo>
                  <a:lnTo>
                    <a:pt x="85201" y="6553"/>
                  </a:lnTo>
                  <a:lnTo>
                    <a:pt x="86154" y="8125"/>
                  </a:lnTo>
                  <a:lnTo>
                    <a:pt x="87278" y="9563"/>
                  </a:lnTo>
                  <a:lnTo>
                    <a:pt x="88344" y="10211"/>
                  </a:lnTo>
                  <a:lnTo>
                    <a:pt x="90202" y="10316"/>
                  </a:lnTo>
                  <a:lnTo>
                    <a:pt x="95012" y="12211"/>
                  </a:lnTo>
                  <a:lnTo>
                    <a:pt x="97326" y="12592"/>
                  </a:lnTo>
                  <a:lnTo>
                    <a:pt x="99698" y="13906"/>
                  </a:lnTo>
                  <a:lnTo>
                    <a:pt x="101699" y="15240"/>
                  </a:lnTo>
                  <a:lnTo>
                    <a:pt x="103156" y="15526"/>
                  </a:lnTo>
                  <a:lnTo>
                    <a:pt x="103832" y="16983"/>
                  </a:lnTo>
                  <a:lnTo>
                    <a:pt x="104728" y="17983"/>
                  </a:lnTo>
                  <a:lnTo>
                    <a:pt x="106308" y="17212"/>
                  </a:lnTo>
                  <a:lnTo>
                    <a:pt x="112081" y="16135"/>
                  </a:lnTo>
                  <a:lnTo>
                    <a:pt x="114157" y="17574"/>
                  </a:lnTo>
                  <a:lnTo>
                    <a:pt x="115557" y="19098"/>
                  </a:lnTo>
                  <a:lnTo>
                    <a:pt x="115748" y="19574"/>
                  </a:lnTo>
                  <a:lnTo>
                    <a:pt x="115014" y="20917"/>
                  </a:lnTo>
                  <a:lnTo>
                    <a:pt x="114662" y="21955"/>
                  </a:lnTo>
                  <a:lnTo>
                    <a:pt x="114062" y="22650"/>
                  </a:lnTo>
                  <a:lnTo>
                    <a:pt x="112081" y="23384"/>
                  </a:lnTo>
                  <a:lnTo>
                    <a:pt x="110966" y="24565"/>
                  </a:lnTo>
                  <a:lnTo>
                    <a:pt x="110147" y="25860"/>
                  </a:lnTo>
                  <a:lnTo>
                    <a:pt x="110699" y="27099"/>
                  </a:lnTo>
                  <a:lnTo>
                    <a:pt x="112319" y="28032"/>
                  </a:lnTo>
                  <a:lnTo>
                    <a:pt x="113462" y="28242"/>
                  </a:lnTo>
                  <a:lnTo>
                    <a:pt x="113900" y="29146"/>
                  </a:lnTo>
                  <a:lnTo>
                    <a:pt x="117567" y="33185"/>
                  </a:lnTo>
                  <a:lnTo>
                    <a:pt x="120482" y="38452"/>
                  </a:lnTo>
                  <a:lnTo>
                    <a:pt x="121615" y="39271"/>
                  </a:lnTo>
                  <a:lnTo>
                    <a:pt x="122682" y="39471"/>
                  </a:lnTo>
                  <a:lnTo>
                    <a:pt x="123920" y="38700"/>
                  </a:lnTo>
                  <a:lnTo>
                    <a:pt x="125349" y="36986"/>
                  </a:lnTo>
                  <a:lnTo>
                    <a:pt x="127035" y="35757"/>
                  </a:lnTo>
                  <a:lnTo>
                    <a:pt x="128464" y="35118"/>
                  </a:lnTo>
                  <a:lnTo>
                    <a:pt x="130988" y="33661"/>
                  </a:lnTo>
                  <a:lnTo>
                    <a:pt x="131093" y="32718"/>
                  </a:lnTo>
                  <a:lnTo>
                    <a:pt x="128978" y="29146"/>
                  </a:lnTo>
                  <a:lnTo>
                    <a:pt x="127769" y="26251"/>
                  </a:lnTo>
                  <a:lnTo>
                    <a:pt x="128054" y="25727"/>
                  </a:lnTo>
                  <a:lnTo>
                    <a:pt x="130750" y="26184"/>
                  </a:lnTo>
                  <a:lnTo>
                    <a:pt x="135322" y="27765"/>
                  </a:lnTo>
                  <a:lnTo>
                    <a:pt x="142361" y="32918"/>
                  </a:lnTo>
                  <a:lnTo>
                    <a:pt x="143628" y="32918"/>
                  </a:lnTo>
                  <a:lnTo>
                    <a:pt x="146085" y="32528"/>
                  </a:lnTo>
                  <a:lnTo>
                    <a:pt x="148762" y="31690"/>
                  </a:lnTo>
                  <a:lnTo>
                    <a:pt x="150038" y="30737"/>
                  </a:lnTo>
                  <a:lnTo>
                    <a:pt x="150514" y="31090"/>
                  </a:lnTo>
                  <a:lnTo>
                    <a:pt x="150924" y="33919"/>
                  </a:lnTo>
                  <a:lnTo>
                    <a:pt x="150219" y="35471"/>
                  </a:lnTo>
                  <a:lnTo>
                    <a:pt x="147019" y="36976"/>
                  </a:lnTo>
                  <a:lnTo>
                    <a:pt x="147199" y="37719"/>
                  </a:lnTo>
                  <a:lnTo>
                    <a:pt x="148028" y="38681"/>
                  </a:lnTo>
                  <a:lnTo>
                    <a:pt x="149466" y="39329"/>
                  </a:lnTo>
                  <a:lnTo>
                    <a:pt x="151219" y="41157"/>
                  </a:lnTo>
                  <a:lnTo>
                    <a:pt x="152429" y="43244"/>
                  </a:lnTo>
                  <a:lnTo>
                    <a:pt x="153486" y="44205"/>
                  </a:lnTo>
                  <a:lnTo>
                    <a:pt x="154648" y="44663"/>
                  </a:lnTo>
                  <a:lnTo>
                    <a:pt x="157563" y="43548"/>
                  </a:lnTo>
                  <a:lnTo>
                    <a:pt x="158382" y="42672"/>
                  </a:lnTo>
                  <a:lnTo>
                    <a:pt x="158753" y="42053"/>
                  </a:lnTo>
                  <a:lnTo>
                    <a:pt x="159315" y="42186"/>
                  </a:lnTo>
                  <a:lnTo>
                    <a:pt x="160334" y="43215"/>
                  </a:lnTo>
                  <a:lnTo>
                    <a:pt x="160649" y="43815"/>
                  </a:lnTo>
                  <a:lnTo>
                    <a:pt x="163478" y="44977"/>
                  </a:lnTo>
                  <a:lnTo>
                    <a:pt x="165116" y="46406"/>
                  </a:lnTo>
                  <a:lnTo>
                    <a:pt x="166154" y="47072"/>
                  </a:lnTo>
                  <a:lnTo>
                    <a:pt x="167306" y="46425"/>
                  </a:lnTo>
                  <a:lnTo>
                    <a:pt x="171793" y="47558"/>
                  </a:lnTo>
                  <a:lnTo>
                    <a:pt x="173031" y="48511"/>
                  </a:lnTo>
                  <a:lnTo>
                    <a:pt x="173422" y="50092"/>
                  </a:lnTo>
                  <a:lnTo>
                    <a:pt x="173203" y="51054"/>
                  </a:lnTo>
                  <a:lnTo>
                    <a:pt x="173889" y="53530"/>
                  </a:lnTo>
                  <a:lnTo>
                    <a:pt x="179566" y="59465"/>
                  </a:lnTo>
                  <a:lnTo>
                    <a:pt x="180156" y="62494"/>
                  </a:lnTo>
                  <a:lnTo>
                    <a:pt x="180242" y="63703"/>
                  </a:lnTo>
                  <a:lnTo>
                    <a:pt x="179566" y="63760"/>
                  </a:lnTo>
                  <a:lnTo>
                    <a:pt x="178032" y="64389"/>
                  </a:lnTo>
                  <a:lnTo>
                    <a:pt x="176070" y="64618"/>
                  </a:lnTo>
                  <a:lnTo>
                    <a:pt x="173945" y="64494"/>
                  </a:lnTo>
                  <a:lnTo>
                    <a:pt x="172288" y="65589"/>
                  </a:lnTo>
                  <a:lnTo>
                    <a:pt x="170726" y="67380"/>
                  </a:lnTo>
                  <a:lnTo>
                    <a:pt x="169107" y="68618"/>
                  </a:lnTo>
                  <a:lnTo>
                    <a:pt x="168240" y="69713"/>
                  </a:lnTo>
                  <a:lnTo>
                    <a:pt x="167745" y="70856"/>
                  </a:lnTo>
                  <a:lnTo>
                    <a:pt x="162297" y="74076"/>
                  </a:lnTo>
                  <a:lnTo>
                    <a:pt x="161535" y="75419"/>
                  </a:lnTo>
                  <a:lnTo>
                    <a:pt x="160935" y="77248"/>
                  </a:lnTo>
                  <a:lnTo>
                    <a:pt x="160677" y="79705"/>
                  </a:lnTo>
                  <a:lnTo>
                    <a:pt x="160296" y="81915"/>
                  </a:lnTo>
                  <a:lnTo>
                    <a:pt x="159353" y="83077"/>
                  </a:lnTo>
                  <a:lnTo>
                    <a:pt x="156410" y="84077"/>
                  </a:lnTo>
                  <a:lnTo>
                    <a:pt x="155677" y="84611"/>
                  </a:lnTo>
                  <a:lnTo>
                    <a:pt x="155124" y="85735"/>
                  </a:lnTo>
                  <a:lnTo>
                    <a:pt x="153476" y="87459"/>
                  </a:lnTo>
                  <a:lnTo>
                    <a:pt x="151543" y="89097"/>
                  </a:lnTo>
                  <a:lnTo>
                    <a:pt x="147980" y="90973"/>
                  </a:lnTo>
                  <a:lnTo>
                    <a:pt x="144161" y="91545"/>
                  </a:lnTo>
                  <a:lnTo>
                    <a:pt x="139198" y="90935"/>
                  </a:lnTo>
                  <a:lnTo>
                    <a:pt x="136293" y="90202"/>
                  </a:lnTo>
                  <a:lnTo>
                    <a:pt x="134893" y="91011"/>
                  </a:lnTo>
                  <a:lnTo>
                    <a:pt x="132950" y="93450"/>
                  </a:lnTo>
                  <a:lnTo>
                    <a:pt x="130874" y="97641"/>
                  </a:lnTo>
                  <a:lnTo>
                    <a:pt x="130007" y="100794"/>
                  </a:lnTo>
                  <a:lnTo>
                    <a:pt x="129340" y="99898"/>
                  </a:lnTo>
                  <a:lnTo>
                    <a:pt x="128149" y="96564"/>
                  </a:lnTo>
                  <a:lnTo>
                    <a:pt x="126807" y="96136"/>
                  </a:lnTo>
                  <a:lnTo>
                    <a:pt x="124968" y="95821"/>
                  </a:lnTo>
                  <a:lnTo>
                    <a:pt x="123587" y="95326"/>
                  </a:lnTo>
                  <a:lnTo>
                    <a:pt x="120596" y="93402"/>
                  </a:lnTo>
                  <a:lnTo>
                    <a:pt x="119063" y="92821"/>
                  </a:lnTo>
                  <a:lnTo>
                    <a:pt x="117300" y="92669"/>
                  </a:lnTo>
                  <a:lnTo>
                    <a:pt x="115624" y="93802"/>
                  </a:lnTo>
                  <a:lnTo>
                    <a:pt x="114347" y="95136"/>
                  </a:lnTo>
                  <a:lnTo>
                    <a:pt x="110395" y="95117"/>
                  </a:lnTo>
                  <a:lnTo>
                    <a:pt x="106061" y="94497"/>
                  </a:lnTo>
                  <a:lnTo>
                    <a:pt x="99860" y="90059"/>
                  </a:lnTo>
                  <a:lnTo>
                    <a:pt x="98250" y="90021"/>
                  </a:lnTo>
                  <a:lnTo>
                    <a:pt x="96536" y="90221"/>
                  </a:lnTo>
                  <a:lnTo>
                    <a:pt x="93821" y="89163"/>
                  </a:lnTo>
                  <a:lnTo>
                    <a:pt x="88573" y="86287"/>
                  </a:lnTo>
                  <a:lnTo>
                    <a:pt x="86106" y="85611"/>
                  </a:lnTo>
                  <a:lnTo>
                    <a:pt x="84553" y="86020"/>
                  </a:lnTo>
                  <a:lnTo>
                    <a:pt x="83134" y="86668"/>
                  </a:lnTo>
                  <a:lnTo>
                    <a:pt x="82115" y="86744"/>
                  </a:lnTo>
                  <a:lnTo>
                    <a:pt x="81534" y="85801"/>
                  </a:lnTo>
                  <a:lnTo>
                    <a:pt x="79581" y="84649"/>
                  </a:lnTo>
                  <a:lnTo>
                    <a:pt x="77619" y="84515"/>
                  </a:lnTo>
                  <a:lnTo>
                    <a:pt x="77057" y="85211"/>
                  </a:lnTo>
                  <a:lnTo>
                    <a:pt x="76390" y="91545"/>
                  </a:lnTo>
                  <a:lnTo>
                    <a:pt x="75733" y="93831"/>
                  </a:lnTo>
                  <a:lnTo>
                    <a:pt x="73038" y="93726"/>
                  </a:lnTo>
                  <a:lnTo>
                    <a:pt x="72076" y="94793"/>
                  </a:lnTo>
                  <a:lnTo>
                    <a:pt x="69961" y="97850"/>
                  </a:lnTo>
                  <a:lnTo>
                    <a:pt x="69552" y="100774"/>
                  </a:lnTo>
                  <a:lnTo>
                    <a:pt x="65875" y="100212"/>
                  </a:lnTo>
                  <a:lnTo>
                    <a:pt x="64132" y="99717"/>
                  </a:lnTo>
                  <a:lnTo>
                    <a:pt x="62589" y="100089"/>
                  </a:lnTo>
                  <a:lnTo>
                    <a:pt x="60893" y="101708"/>
                  </a:lnTo>
                  <a:lnTo>
                    <a:pt x="56140" y="101613"/>
                  </a:lnTo>
                  <a:lnTo>
                    <a:pt x="52378" y="100651"/>
                  </a:lnTo>
                  <a:lnTo>
                    <a:pt x="50768" y="97022"/>
                  </a:lnTo>
                  <a:lnTo>
                    <a:pt x="49044" y="95574"/>
                  </a:lnTo>
                  <a:lnTo>
                    <a:pt x="46872" y="94297"/>
                  </a:lnTo>
                  <a:lnTo>
                    <a:pt x="46120" y="94002"/>
                  </a:lnTo>
                  <a:lnTo>
                    <a:pt x="44920" y="92021"/>
                  </a:lnTo>
                  <a:lnTo>
                    <a:pt x="42644" y="89563"/>
                  </a:lnTo>
                  <a:lnTo>
                    <a:pt x="38976" y="86192"/>
                  </a:lnTo>
                  <a:lnTo>
                    <a:pt x="36119" y="86363"/>
                  </a:lnTo>
                  <a:lnTo>
                    <a:pt x="35062" y="85468"/>
                  </a:lnTo>
                  <a:lnTo>
                    <a:pt x="34595" y="84229"/>
                  </a:lnTo>
                  <a:lnTo>
                    <a:pt x="33404" y="82087"/>
                  </a:lnTo>
                  <a:lnTo>
                    <a:pt x="32052" y="80601"/>
                  </a:lnTo>
                  <a:lnTo>
                    <a:pt x="30423" y="80020"/>
                  </a:lnTo>
                  <a:lnTo>
                    <a:pt x="28089" y="78114"/>
                  </a:lnTo>
                  <a:lnTo>
                    <a:pt x="24965" y="73961"/>
                  </a:lnTo>
                  <a:lnTo>
                    <a:pt x="22108" y="71085"/>
                  </a:lnTo>
                  <a:lnTo>
                    <a:pt x="19345" y="71133"/>
                  </a:lnTo>
                  <a:lnTo>
                    <a:pt x="17602" y="69628"/>
                  </a:lnTo>
                  <a:lnTo>
                    <a:pt x="15812" y="67646"/>
                  </a:lnTo>
                  <a:lnTo>
                    <a:pt x="14497" y="65732"/>
                  </a:lnTo>
                  <a:lnTo>
                    <a:pt x="12459" y="61065"/>
                  </a:lnTo>
                  <a:lnTo>
                    <a:pt x="10973" y="58398"/>
                  </a:lnTo>
                  <a:lnTo>
                    <a:pt x="9820" y="56750"/>
                  </a:lnTo>
                  <a:lnTo>
                    <a:pt x="8515" y="55378"/>
                  </a:lnTo>
                  <a:lnTo>
                    <a:pt x="8039" y="54283"/>
                  </a:lnTo>
                  <a:lnTo>
                    <a:pt x="9639" y="51787"/>
                  </a:lnTo>
                  <a:lnTo>
                    <a:pt x="10220" y="50549"/>
                  </a:lnTo>
                  <a:lnTo>
                    <a:pt x="10906" y="49597"/>
                  </a:lnTo>
                  <a:lnTo>
                    <a:pt x="11306" y="48587"/>
                  </a:lnTo>
                  <a:lnTo>
                    <a:pt x="11287" y="47835"/>
                  </a:lnTo>
                  <a:lnTo>
                    <a:pt x="9839" y="45358"/>
                  </a:lnTo>
                  <a:lnTo>
                    <a:pt x="7877" y="43567"/>
                  </a:lnTo>
                  <a:lnTo>
                    <a:pt x="4991" y="41758"/>
                  </a:lnTo>
                  <a:lnTo>
                    <a:pt x="3153" y="39462"/>
                  </a:lnTo>
                  <a:lnTo>
                    <a:pt x="2486" y="37367"/>
                  </a:lnTo>
                  <a:lnTo>
                    <a:pt x="2286" y="36204"/>
                  </a:lnTo>
                  <a:lnTo>
                    <a:pt x="1019" y="34642"/>
                  </a:lnTo>
                  <a:lnTo>
                    <a:pt x="0" y="32347"/>
                  </a:lnTo>
                  <a:lnTo>
                    <a:pt x="0" y="30966"/>
                  </a:lnTo>
                  <a:lnTo>
                    <a:pt x="257" y="30575"/>
                  </a:lnTo>
                  <a:lnTo>
                    <a:pt x="1210" y="30575"/>
                  </a:lnTo>
                  <a:lnTo>
                    <a:pt x="2277" y="31518"/>
                  </a:lnTo>
                  <a:lnTo>
                    <a:pt x="3781" y="33328"/>
                  </a:lnTo>
                  <a:lnTo>
                    <a:pt x="5020" y="35976"/>
                  </a:lnTo>
                  <a:lnTo>
                    <a:pt x="5772" y="34966"/>
                  </a:lnTo>
                  <a:lnTo>
                    <a:pt x="7191" y="32147"/>
                  </a:lnTo>
                  <a:lnTo>
                    <a:pt x="9706" y="28956"/>
                  </a:lnTo>
                  <a:lnTo>
                    <a:pt x="12278" y="27127"/>
                  </a:lnTo>
                  <a:lnTo>
                    <a:pt x="14592" y="26975"/>
                  </a:lnTo>
                  <a:lnTo>
                    <a:pt x="16488" y="26470"/>
                  </a:lnTo>
                  <a:lnTo>
                    <a:pt x="18059" y="25555"/>
                  </a:lnTo>
                  <a:lnTo>
                    <a:pt x="20812" y="25927"/>
                  </a:lnTo>
                  <a:lnTo>
                    <a:pt x="22803" y="26584"/>
                  </a:lnTo>
                  <a:lnTo>
                    <a:pt x="23451" y="26175"/>
                  </a:lnTo>
                  <a:lnTo>
                    <a:pt x="24260" y="24508"/>
                  </a:lnTo>
                  <a:lnTo>
                    <a:pt x="24774" y="23070"/>
                  </a:lnTo>
                  <a:lnTo>
                    <a:pt x="29175" y="22231"/>
                  </a:lnTo>
                  <a:lnTo>
                    <a:pt x="30690" y="19450"/>
                  </a:lnTo>
                  <a:lnTo>
                    <a:pt x="31537" y="19460"/>
                  </a:lnTo>
                  <a:lnTo>
                    <a:pt x="32519" y="19050"/>
                  </a:lnTo>
                  <a:lnTo>
                    <a:pt x="33452" y="17993"/>
                  </a:lnTo>
                  <a:lnTo>
                    <a:pt x="34347" y="17554"/>
                  </a:lnTo>
                  <a:lnTo>
                    <a:pt x="35062" y="18088"/>
                  </a:lnTo>
                  <a:lnTo>
                    <a:pt x="35995" y="18431"/>
                  </a:lnTo>
                  <a:lnTo>
                    <a:pt x="36967" y="17764"/>
                  </a:lnTo>
                  <a:lnTo>
                    <a:pt x="38414" y="14564"/>
                  </a:lnTo>
                  <a:lnTo>
                    <a:pt x="39214" y="14068"/>
                  </a:lnTo>
                  <a:lnTo>
                    <a:pt x="43081" y="13573"/>
                  </a:lnTo>
                  <a:lnTo>
                    <a:pt x="48358" y="11687"/>
                  </a:lnTo>
                  <a:lnTo>
                    <a:pt x="51026" y="10011"/>
                  </a:lnTo>
                  <a:lnTo>
                    <a:pt x="53645" y="9096"/>
                  </a:lnTo>
                  <a:lnTo>
                    <a:pt x="56464" y="7468"/>
                  </a:lnTo>
                  <a:lnTo>
                    <a:pt x="60931" y="5887"/>
                  </a:lnTo>
                  <a:lnTo>
                    <a:pt x="61141" y="5239"/>
                  </a:lnTo>
                  <a:lnTo>
                    <a:pt x="59074" y="3610"/>
                  </a:lnTo>
                  <a:lnTo>
                    <a:pt x="58379" y="2581"/>
                  </a:lnTo>
                  <a:lnTo>
                    <a:pt x="57903" y="1524"/>
                  </a:lnTo>
                  <a:lnTo>
                    <a:pt x="58636" y="352"/>
                  </a:lnTo>
                  <a:lnTo>
                    <a:pt x="59617" y="0"/>
                  </a:lnTo>
                  <a:lnTo>
                    <a:pt x="60884" y="486"/>
                  </a:lnTo>
                  <a:lnTo>
                    <a:pt x="64627" y="1181"/>
                  </a:lnTo>
                  <a:lnTo>
                    <a:pt x="65656" y="1857"/>
                  </a:lnTo>
                  <a:lnTo>
                    <a:pt x="66027" y="3505"/>
                  </a:lnTo>
                  <a:lnTo>
                    <a:pt x="66980" y="5039"/>
                  </a:lnTo>
                  <a:lnTo>
                    <a:pt x="67742" y="5210"/>
                  </a:lnTo>
                  <a:lnTo>
                    <a:pt x="67465" y="7706"/>
                  </a:lnTo>
                  <a:lnTo>
                    <a:pt x="68656" y="8677"/>
                  </a:lnTo>
                  <a:lnTo>
                    <a:pt x="70409" y="9430"/>
                  </a:lnTo>
                  <a:lnTo>
                    <a:pt x="71562" y="9277"/>
                  </a:lnTo>
                  <a:lnTo>
                    <a:pt x="72390" y="8268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" name="Forme libre : forme 14">
              <a:extLst>
                <a:ext uri="{FF2B5EF4-FFF2-40B4-BE49-F238E27FC236}">
                  <a16:creationId xmlns:a16="http://schemas.microsoft.com/office/drawing/2014/main" id="{CFEA3EA5-585E-EB25-8BDF-9A15E5447CC9}"/>
                </a:ext>
              </a:extLst>
            </p:cNvPr>
            <p:cNvSpPr/>
            <p:nvPr/>
          </p:nvSpPr>
          <p:spPr>
            <a:xfrm>
              <a:off x="5634142" y="3908259"/>
              <a:ext cx="638352" cy="832463"/>
            </a:xfrm>
            <a:custGeom>
              <a:avLst/>
              <a:gdLst>
                <a:gd name="connsiteX0" fmla="*/ 65494 w 244878"/>
                <a:gd name="connsiteY0" fmla="*/ 12620 h 331822"/>
                <a:gd name="connsiteX1" fmla="*/ 64875 w 244878"/>
                <a:gd name="connsiteY1" fmla="*/ 13535 h 331822"/>
                <a:gd name="connsiteX2" fmla="*/ 65170 w 244878"/>
                <a:gd name="connsiteY2" fmla="*/ 6991 h 331822"/>
                <a:gd name="connsiteX3" fmla="*/ 68094 w 244878"/>
                <a:gd name="connsiteY3" fmla="*/ 0 h 331822"/>
                <a:gd name="connsiteX4" fmla="*/ 69332 w 244878"/>
                <a:gd name="connsiteY4" fmla="*/ 162 h 331822"/>
                <a:gd name="connsiteX5" fmla="*/ 68066 w 244878"/>
                <a:gd name="connsiteY5" fmla="*/ 2057 h 331822"/>
                <a:gd name="connsiteX6" fmla="*/ 67694 w 244878"/>
                <a:gd name="connsiteY6" fmla="*/ 3381 h 331822"/>
                <a:gd name="connsiteX7" fmla="*/ 67180 w 244878"/>
                <a:gd name="connsiteY7" fmla="*/ 6020 h 331822"/>
                <a:gd name="connsiteX8" fmla="*/ 67408 w 244878"/>
                <a:gd name="connsiteY8" fmla="*/ 7391 h 331822"/>
                <a:gd name="connsiteX9" fmla="*/ 74085 w 244878"/>
                <a:gd name="connsiteY9" fmla="*/ 7772 h 331822"/>
                <a:gd name="connsiteX10" fmla="*/ 73304 w 244878"/>
                <a:gd name="connsiteY10" fmla="*/ 8992 h 331822"/>
                <a:gd name="connsiteX11" fmla="*/ 66532 w 244878"/>
                <a:gd name="connsiteY11" fmla="*/ 9811 h 331822"/>
                <a:gd name="connsiteX12" fmla="*/ 65494 w 244878"/>
                <a:gd name="connsiteY12" fmla="*/ 12620 h 331822"/>
                <a:gd name="connsiteX13" fmla="*/ 103775 w 244878"/>
                <a:gd name="connsiteY13" fmla="*/ 10839 h 331822"/>
                <a:gd name="connsiteX14" fmla="*/ 103937 w 244878"/>
                <a:gd name="connsiteY14" fmla="*/ 11687 h 331822"/>
                <a:gd name="connsiteX15" fmla="*/ 107852 w 244878"/>
                <a:gd name="connsiteY15" fmla="*/ 12916 h 331822"/>
                <a:gd name="connsiteX16" fmla="*/ 109499 w 244878"/>
                <a:gd name="connsiteY16" fmla="*/ 14878 h 331822"/>
                <a:gd name="connsiteX17" fmla="*/ 111328 w 244878"/>
                <a:gd name="connsiteY17" fmla="*/ 17850 h 331822"/>
                <a:gd name="connsiteX18" fmla="*/ 111509 w 244878"/>
                <a:gd name="connsiteY18" fmla="*/ 22117 h 331822"/>
                <a:gd name="connsiteX19" fmla="*/ 109166 w 244878"/>
                <a:gd name="connsiteY19" fmla="*/ 25184 h 331822"/>
                <a:gd name="connsiteX20" fmla="*/ 107223 w 244878"/>
                <a:gd name="connsiteY20" fmla="*/ 27127 h 331822"/>
                <a:gd name="connsiteX21" fmla="*/ 114567 w 244878"/>
                <a:gd name="connsiteY21" fmla="*/ 26394 h 331822"/>
                <a:gd name="connsiteX22" fmla="*/ 115300 w 244878"/>
                <a:gd name="connsiteY22" fmla="*/ 28146 h 331822"/>
                <a:gd name="connsiteX23" fmla="*/ 116414 w 244878"/>
                <a:gd name="connsiteY23" fmla="*/ 30042 h 331822"/>
                <a:gd name="connsiteX24" fmla="*/ 120367 w 244878"/>
                <a:gd name="connsiteY24" fmla="*/ 28689 h 331822"/>
                <a:gd name="connsiteX25" fmla="*/ 130292 w 244878"/>
                <a:gd name="connsiteY25" fmla="*/ 34280 h 331822"/>
                <a:gd name="connsiteX26" fmla="*/ 136293 w 244878"/>
                <a:gd name="connsiteY26" fmla="*/ 31556 h 331822"/>
                <a:gd name="connsiteX27" fmla="*/ 137827 w 244878"/>
                <a:gd name="connsiteY27" fmla="*/ 31394 h 331822"/>
                <a:gd name="connsiteX28" fmla="*/ 139189 w 244878"/>
                <a:gd name="connsiteY28" fmla="*/ 35909 h 331822"/>
                <a:gd name="connsiteX29" fmla="*/ 137693 w 244878"/>
                <a:gd name="connsiteY29" fmla="*/ 40443 h 331822"/>
                <a:gd name="connsiteX30" fmla="*/ 132407 w 244878"/>
                <a:gd name="connsiteY30" fmla="*/ 45263 h 331822"/>
                <a:gd name="connsiteX31" fmla="*/ 133578 w 244878"/>
                <a:gd name="connsiteY31" fmla="*/ 48235 h 331822"/>
                <a:gd name="connsiteX32" fmla="*/ 135274 w 244878"/>
                <a:gd name="connsiteY32" fmla="*/ 48892 h 331822"/>
                <a:gd name="connsiteX33" fmla="*/ 140256 w 244878"/>
                <a:gd name="connsiteY33" fmla="*/ 48263 h 331822"/>
                <a:gd name="connsiteX34" fmla="*/ 148152 w 244878"/>
                <a:gd name="connsiteY34" fmla="*/ 51187 h 331822"/>
                <a:gd name="connsiteX35" fmla="*/ 149800 w 244878"/>
                <a:gd name="connsiteY35" fmla="*/ 50273 h 331822"/>
                <a:gd name="connsiteX36" fmla="*/ 156200 w 244878"/>
                <a:gd name="connsiteY36" fmla="*/ 43520 h 331822"/>
                <a:gd name="connsiteX37" fmla="*/ 158763 w 244878"/>
                <a:gd name="connsiteY37" fmla="*/ 42062 h 331822"/>
                <a:gd name="connsiteX38" fmla="*/ 167183 w 244878"/>
                <a:gd name="connsiteY38" fmla="*/ 41024 h 331822"/>
                <a:gd name="connsiteX39" fmla="*/ 168716 w 244878"/>
                <a:gd name="connsiteY39" fmla="*/ 38395 h 331822"/>
                <a:gd name="connsiteX40" fmla="*/ 172126 w 244878"/>
                <a:gd name="connsiteY40" fmla="*/ 35757 h 331822"/>
                <a:gd name="connsiteX41" fmla="*/ 174317 w 244878"/>
                <a:gd name="connsiteY41" fmla="*/ 32871 h 331822"/>
                <a:gd name="connsiteX42" fmla="*/ 179584 w 244878"/>
                <a:gd name="connsiteY42" fmla="*/ 27356 h 331822"/>
                <a:gd name="connsiteX43" fmla="*/ 185033 w 244878"/>
                <a:gd name="connsiteY43" fmla="*/ 28346 h 331822"/>
                <a:gd name="connsiteX44" fmla="*/ 188214 w 244878"/>
                <a:gd name="connsiteY44" fmla="*/ 29404 h 331822"/>
                <a:gd name="connsiteX45" fmla="*/ 191700 w 244878"/>
                <a:gd name="connsiteY45" fmla="*/ 29937 h 331822"/>
                <a:gd name="connsiteX46" fmla="*/ 194872 w 244878"/>
                <a:gd name="connsiteY46" fmla="*/ 35814 h 331822"/>
                <a:gd name="connsiteX47" fmla="*/ 202911 w 244878"/>
                <a:gd name="connsiteY47" fmla="*/ 42281 h 331822"/>
                <a:gd name="connsiteX48" fmla="*/ 210293 w 244878"/>
                <a:gd name="connsiteY48" fmla="*/ 41720 h 331822"/>
                <a:gd name="connsiteX49" fmla="*/ 212912 w 244878"/>
                <a:gd name="connsiteY49" fmla="*/ 47825 h 331822"/>
                <a:gd name="connsiteX50" fmla="*/ 214074 w 244878"/>
                <a:gd name="connsiteY50" fmla="*/ 55331 h 331822"/>
                <a:gd name="connsiteX51" fmla="*/ 216341 w 244878"/>
                <a:gd name="connsiteY51" fmla="*/ 57683 h 331822"/>
                <a:gd name="connsiteX52" fmla="*/ 218332 w 244878"/>
                <a:gd name="connsiteY52" fmla="*/ 59217 h 331822"/>
                <a:gd name="connsiteX53" fmla="*/ 224342 w 244878"/>
                <a:gd name="connsiteY53" fmla="*/ 60817 h 331822"/>
                <a:gd name="connsiteX54" fmla="*/ 224580 w 244878"/>
                <a:gd name="connsiteY54" fmla="*/ 60912 h 331822"/>
                <a:gd name="connsiteX55" fmla="*/ 224780 w 244878"/>
                <a:gd name="connsiteY55" fmla="*/ 61922 h 331822"/>
                <a:gd name="connsiteX56" fmla="*/ 225152 w 244878"/>
                <a:gd name="connsiteY56" fmla="*/ 65637 h 331822"/>
                <a:gd name="connsiteX57" fmla="*/ 225657 w 244878"/>
                <a:gd name="connsiteY57" fmla="*/ 68704 h 331822"/>
                <a:gd name="connsiteX58" fmla="*/ 228753 w 244878"/>
                <a:gd name="connsiteY58" fmla="*/ 80915 h 331822"/>
                <a:gd name="connsiteX59" fmla="*/ 228695 w 244878"/>
                <a:gd name="connsiteY59" fmla="*/ 83886 h 331822"/>
                <a:gd name="connsiteX60" fmla="*/ 228657 w 244878"/>
                <a:gd name="connsiteY60" fmla="*/ 84677 h 331822"/>
                <a:gd name="connsiteX61" fmla="*/ 227524 w 244878"/>
                <a:gd name="connsiteY61" fmla="*/ 88840 h 331822"/>
                <a:gd name="connsiteX62" fmla="*/ 225514 w 244878"/>
                <a:gd name="connsiteY62" fmla="*/ 92335 h 331822"/>
                <a:gd name="connsiteX63" fmla="*/ 222856 w 244878"/>
                <a:gd name="connsiteY63" fmla="*/ 94307 h 331822"/>
                <a:gd name="connsiteX64" fmla="*/ 221390 w 244878"/>
                <a:gd name="connsiteY64" fmla="*/ 96498 h 331822"/>
                <a:gd name="connsiteX65" fmla="*/ 221123 w 244878"/>
                <a:gd name="connsiteY65" fmla="*/ 98908 h 331822"/>
                <a:gd name="connsiteX66" fmla="*/ 224466 w 244878"/>
                <a:gd name="connsiteY66" fmla="*/ 103127 h 331822"/>
                <a:gd name="connsiteX67" fmla="*/ 231429 w 244878"/>
                <a:gd name="connsiteY67" fmla="*/ 109156 h 331822"/>
                <a:gd name="connsiteX68" fmla="*/ 234239 w 244878"/>
                <a:gd name="connsiteY68" fmla="*/ 114300 h 331822"/>
                <a:gd name="connsiteX69" fmla="*/ 232915 w 244878"/>
                <a:gd name="connsiteY69" fmla="*/ 118567 h 331822"/>
                <a:gd name="connsiteX70" fmla="*/ 232515 w 244878"/>
                <a:gd name="connsiteY70" fmla="*/ 121691 h 331822"/>
                <a:gd name="connsiteX71" fmla="*/ 233029 w 244878"/>
                <a:gd name="connsiteY71" fmla="*/ 123672 h 331822"/>
                <a:gd name="connsiteX72" fmla="*/ 234144 w 244878"/>
                <a:gd name="connsiteY72" fmla="*/ 125263 h 331822"/>
                <a:gd name="connsiteX73" fmla="*/ 235858 w 244878"/>
                <a:gd name="connsiteY73" fmla="*/ 126463 h 331822"/>
                <a:gd name="connsiteX74" fmla="*/ 236544 w 244878"/>
                <a:gd name="connsiteY74" fmla="*/ 128311 h 331822"/>
                <a:gd name="connsiteX75" fmla="*/ 236191 w 244878"/>
                <a:gd name="connsiteY75" fmla="*/ 130807 h 331822"/>
                <a:gd name="connsiteX76" fmla="*/ 236515 w 244878"/>
                <a:gd name="connsiteY76" fmla="*/ 132540 h 331822"/>
                <a:gd name="connsiteX77" fmla="*/ 237801 w 244878"/>
                <a:gd name="connsiteY77" fmla="*/ 133769 h 331822"/>
                <a:gd name="connsiteX78" fmla="*/ 237677 w 244878"/>
                <a:gd name="connsiteY78" fmla="*/ 134245 h 331822"/>
                <a:gd name="connsiteX79" fmla="*/ 237058 w 244878"/>
                <a:gd name="connsiteY79" fmla="*/ 135979 h 331822"/>
                <a:gd name="connsiteX80" fmla="*/ 236210 w 244878"/>
                <a:gd name="connsiteY80" fmla="*/ 139132 h 331822"/>
                <a:gd name="connsiteX81" fmla="*/ 235725 w 244878"/>
                <a:gd name="connsiteY81" fmla="*/ 141437 h 331822"/>
                <a:gd name="connsiteX82" fmla="*/ 233763 w 244878"/>
                <a:gd name="connsiteY82" fmla="*/ 144561 h 331822"/>
                <a:gd name="connsiteX83" fmla="*/ 234363 w 244878"/>
                <a:gd name="connsiteY83" fmla="*/ 147218 h 331822"/>
                <a:gd name="connsiteX84" fmla="*/ 235896 w 244878"/>
                <a:gd name="connsiteY84" fmla="*/ 150343 h 331822"/>
                <a:gd name="connsiteX85" fmla="*/ 237068 w 244878"/>
                <a:gd name="connsiteY85" fmla="*/ 151914 h 331822"/>
                <a:gd name="connsiteX86" fmla="*/ 237439 w 244878"/>
                <a:gd name="connsiteY86" fmla="*/ 153400 h 331822"/>
                <a:gd name="connsiteX87" fmla="*/ 236696 w 244878"/>
                <a:gd name="connsiteY87" fmla="*/ 156924 h 331822"/>
                <a:gd name="connsiteX88" fmla="*/ 237068 w 244878"/>
                <a:gd name="connsiteY88" fmla="*/ 157829 h 331822"/>
                <a:gd name="connsiteX89" fmla="*/ 241916 w 244878"/>
                <a:gd name="connsiteY89" fmla="*/ 160420 h 331822"/>
                <a:gd name="connsiteX90" fmla="*/ 242706 w 244878"/>
                <a:gd name="connsiteY90" fmla="*/ 161610 h 331822"/>
                <a:gd name="connsiteX91" fmla="*/ 243173 w 244878"/>
                <a:gd name="connsiteY91" fmla="*/ 164097 h 331822"/>
                <a:gd name="connsiteX92" fmla="*/ 244878 w 244878"/>
                <a:gd name="connsiteY92" fmla="*/ 169402 h 331822"/>
                <a:gd name="connsiteX93" fmla="*/ 243469 w 244878"/>
                <a:gd name="connsiteY93" fmla="*/ 176108 h 331822"/>
                <a:gd name="connsiteX94" fmla="*/ 242230 w 244878"/>
                <a:gd name="connsiteY94" fmla="*/ 179775 h 331822"/>
                <a:gd name="connsiteX95" fmla="*/ 239468 w 244878"/>
                <a:gd name="connsiteY95" fmla="*/ 185576 h 331822"/>
                <a:gd name="connsiteX96" fmla="*/ 239335 w 244878"/>
                <a:gd name="connsiteY96" fmla="*/ 186109 h 331822"/>
                <a:gd name="connsiteX97" fmla="*/ 239020 w 244878"/>
                <a:gd name="connsiteY97" fmla="*/ 186814 h 331822"/>
                <a:gd name="connsiteX98" fmla="*/ 238192 w 244878"/>
                <a:gd name="connsiteY98" fmla="*/ 187823 h 331822"/>
                <a:gd name="connsiteX99" fmla="*/ 237039 w 244878"/>
                <a:gd name="connsiteY99" fmla="*/ 187976 h 331822"/>
                <a:gd name="connsiteX100" fmla="*/ 235296 w 244878"/>
                <a:gd name="connsiteY100" fmla="*/ 187223 h 331822"/>
                <a:gd name="connsiteX101" fmla="*/ 234105 w 244878"/>
                <a:gd name="connsiteY101" fmla="*/ 186252 h 331822"/>
                <a:gd name="connsiteX102" fmla="*/ 234381 w 244878"/>
                <a:gd name="connsiteY102" fmla="*/ 183756 h 331822"/>
                <a:gd name="connsiteX103" fmla="*/ 233610 w 244878"/>
                <a:gd name="connsiteY103" fmla="*/ 183585 h 331822"/>
                <a:gd name="connsiteX104" fmla="*/ 232658 w 244878"/>
                <a:gd name="connsiteY104" fmla="*/ 182051 h 331822"/>
                <a:gd name="connsiteX105" fmla="*/ 232286 w 244878"/>
                <a:gd name="connsiteY105" fmla="*/ 180404 h 331822"/>
                <a:gd name="connsiteX106" fmla="*/ 231258 w 244878"/>
                <a:gd name="connsiteY106" fmla="*/ 179727 h 331822"/>
                <a:gd name="connsiteX107" fmla="*/ 227514 w 244878"/>
                <a:gd name="connsiteY107" fmla="*/ 179032 h 331822"/>
                <a:gd name="connsiteX108" fmla="*/ 226238 w 244878"/>
                <a:gd name="connsiteY108" fmla="*/ 178546 h 331822"/>
                <a:gd name="connsiteX109" fmla="*/ 225257 w 244878"/>
                <a:gd name="connsiteY109" fmla="*/ 178898 h 331822"/>
                <a:gd name="connsiteX110" fmla="*/ 224523 w 244878"/>
                <a:gd name="connsiteY110" fmla="*/ 180070 h 331822"/>
                <a:gd name="connsiteX111" fmla="*/ 224990 w 244878"/>
                <a:gd name="connsiteY111" fmla="*/ 181127 h 331822"/>
                <a:gd name="connsiteX112" fmla="*/ 225685 w 244878"/>
                <a:gd name="connsiteY112" fmla="*/ 182156 h 331822"/>
                <a:gd name="connsiteX113" fmla="*/ 227762 w 244878"/>
                <a:gd name="connsiteY113" fmla="*/ 183785 h 331822"/>
                <a:gd name="connsiteX114" fmla="*/ 227552 w 244878"/>
                <a:gd name="connsiteY114" fmla="*/ 184433 h 331822"/>
                <a:gd name="connsiteX115" fmla="*/ 223076 w 244878"/>
                <a:gd name="connsiteY115" fmla="*/ 186023 h 331822"/>
                <a:gd name="connsiteX116" fmla="*/ 220265 w 244878"/>
                <a:gd name="connsiteY116" fmla="*/ 187642 h 331822"/>
                <a:gd name="connsiteX117" fmla="*/ 217646 w 244878"/>
                <a:gd name="connsiteY117" fmla="*/ 188557 h 331822"/>
                <a:gd name="connsiteX118" fmla="*/ 214979 w 244878"/>
                <a:gd name="connsiteY118" fmla="*/ 190233 h 331822"/>
                <a:gd name="connsiteX119" fmla="*/ 209712 w 244878"/>
                <a:gd name="connsiteY119" fmla="*/ 192119 h 331822"/>
                <a:gd name="connsiteX120" fmla="*/ 205845 w 244878"/>
                <a:gd name="connsiteY120" fmla="*/ 192614 h 331822"/>
                <a:gd name="connsiteX121" fmla="*/ 205045 w 244878"/>
                <a:gd name="connsiteY121" fmla="*/ 193110 h 331822"/>
                <a:gd name="connsiteX122" fmla="*/ 203606 w 244878"/>
                <a:gd name="connsiteY122" fmla="*/ 196301 h 331822"/>
                <a:gd name="connsiteX123" fmla="*/ 202635 w 244878"/>
                <a:gd name="connsiteY123" fmla="*/ 196967 h 331822"/>
                <a:gd name="connsiteX124" fmla="*/ 201692 w 244878"/>
                <a:gd name="connsiteY124" fmla="*/ 196625 h 331822"/>
                <a:gd name="connsiteX125" fmla="*/ 200987 w 244878"/>
                <a:gd name="connsiteY125" fmla="*/ 196101 h 331822"/>
                <a:gd name="connsiteX126" fmla="*/ 200092 w 244878"/>
                <a:gd name="connsiteY126" fmla="*/ 196529 h 331822"/>
                <a:gd name="connsiteX127" fmla="*/ 199158 w 244878"/>
                <a:gd name="connsiteY127" fmla="*/ 197586 h 331822"/>
                <a:gd name="connsiteX128" fmla="*/ 198177 w 244878"/>
                <a:gd name="connsiteY128" fmla="*/ 197996 h 331822"/>
                <a:gd name="connsiteX129" fmla="*/ 197330 w 244878"/>
                <a:gd name="connsiteY129" fmla="*/ 197986 h 331822"/>
                <a:gd name="connsiteX130" fmla="*/ 195815 w 244878"/>
                <a:gd name="connsiteY130" fmla="*/ 200768 h 331822"/>
                <a:gd name="connsiteX131" fmla="*/ 191414 w 244878"/>
                <a:gd name="connsiteY131" fmla="*/ 201606 h 331822"/>
                <a:gd name="connsiteX132" fmla="*/ 190900 w 244878"/>
                <a:gd name="connsiteY132" fmla="*/ 203044 h 331822"/>
                <a:gd name="connsiteX133" fmla="*/ 190090 w 244878"/>
                <a:gd name="connsiteY133" fmla="*/ 204711 h 331822"/>
                <a:gd name="connsiteX134" fmla="*/ 189443 w 244878"/>
                <a:gd name="connsiteY134" fmla="*/ 205121 h 331822"/>
                <a:gd name="connsiteX135" fmla="*/ 187462 w 244878"/>
                <a:gd name="connsiteY135" fmla="*/ 204464 h 331822"/>
                <a:gd name="connsiteX136" fmla="*/ 184709 w 244878"/>
                <a:gd name="connsiteY136" fmla="*/ 204092 h 331822"/>
                <a:gd name="connsiteX137" fmla="*/ 183127 w 244878"/>
                <a:gd name="connsiteY137" fmla="*/ 205006 h 331822"/>
                <a:gd name="connsiteX138" fmla="*/ 181232 w 244878"/>
                <a:gd name="connsiteY138" fmla="*/ 205511 h 331822"/>
                <a:gd name="connsiteX139" fmla="*/ 178918 w 244878"/>
                <a:gd name="connsiteY139" fmla="*/ 205664 h 331822"/>
                <a:gd name="connsiteX140" fmla="*/ 176336 w 244878"/>
                <a:gd name="connsiteY140" fmla="*/ 207483 h 331822"/>
                <a:gd name="connsiteX141" fmla="*/ 173822 w 244878"/>
                <a:gd name="connsiteY141" fmla="*/ 210674 h 331822"/>
                <a:gd name="connsiteX142" fmla="*/ 172412 w 244878"/>
                <a:gd name="connsiteY142" fmla="*/ 213493 h 331822"/>
                <a:gd name="connsiteX143" fmla="*/ 171650 w 244878"/>
                <a:gd name="connsiteY143" fmla="*/ 214503 h 331822"/>
                <a:gd name="connsiteX144" fmla="*/ 170421 w 244878"/>
                <a:gd name="connsiteY144" fmla="*/ 211855 h 331822"/>
                <a:gd name="connsiteX145" fmla="*/ 168916 w 244878"/>
                <a:gd name="connsiteY145" fmla="*/ 210045 h 331822"/>
                <a:gd name="connsiteX146" fmla="*/ 167849 w 244878"/>
                <a:gd name="connsiteY146" fmla="*/ 209102 h 331822"/>
                <a:gd name="connsiteX147" fmla="*/ 166897 w 244878"/>
                <a:gd name="connsiteY147" fmla="*/ 209102 h 331822"/>
                <a:gd name="connsiteX148" fmla="*/ 166649 w 244878"/>
                <a:gd name="connsiteY148" fmla="*/ 209493 h 331822"/>
                <a:gd name="connsiteX149" fmla="*/ 166649 w 244878"/>
                <a:gd name="connsiteY149" fmla="*/ 210874 h 331822"/>
                <a:gd name="connsiteX150" fmla="*/ 167669 w 244878"/>
                <a:gd name="connsiteY150" fmla="*/ 213170 h 331822"/>
                <a:gd name="connsiteX151" fmla="*/ 168926 w 244878"/>
                <a:gd name="connsiteY151" fmla="*/ 214741 h 331822"/>
                <a:gd name="connsiteX152" fmla="*/ 169126 w 244878"/>
                <a:gd name="connsiteY152" fmla="*/ 215903 h 331822"/>
                <a:gd name="connsiteX153" fmla="*/ 169802 w 244878"/>
                <a:gd name="connsiteY153" fmla="*/ 217999 h 331822"/>
                <a:gd name="connsiteX154" fmla="*/ 171640 w 244878"/>
                <a:gd name="connsiteY154" fmla="*/ 220294 h 331822"/>
                <a:gd name="connsiteX155" fmla="*/ 174517 w 244878"/>
                <a:gd name="connsiteY155" fmla="*/ 222104 h 331822"/>
                <a:gd name="connsiteX156" fmla="*/ 176479 w 244878"/>
                <a:gd name="connsiteY156" fmla="*/ 223894 h 331822"/>
                <a:gd name="connsiteX157" fmla="*/ 177937 w 244878"/>
                <a:gd name="connsiteY157" fmla="*/ 226371 h 331822"/>
                <a:gd name="connsiteX158" fmla="*/ 177946 w 244878"/>
                <a:gd name="connsiteY158" fmla="*/ 227133 h 331822"/>
                <a:gd name="connsiteX159" fmla="*/ 177546 w 244878"/>
                <a:gd name="connsiteY159" fmla="*/ 228143 h 331822"/>
                <a:gd name="connsiteX160" fmla="*/ 176860 w 244878"/>
                <a:gd name="connsiteY160" fmla="*/ 229095 h 331822"/>
                <a:gd name="connsiteX161" fmla="*/ 176279 w 244878"/>
                <a:gd name="connsiteY161" fmla="*/ 230333 h 331822"/>
                <a:gd name="connsiteX162" fmla="*/ 174679 w 244878"/>
                <a:gd name="connsiteY162" fmla="*/ 232829 h 331822"/>
                <a:gd name="connsiteX163" fmla="*/ 175155 w 244878"/>
                <a:gd name="connsiteY163" fmla="*/ 233924 h 331822"/>
                <a:gd name="connsiteX164" fmla="*/ 176460 w 244878"/>
                <a:gd name="connsiteY164" fmla="*/ 235296 h 331822"/>
                <a:gd name="connsiteX165" fmla="*/ 177613 w 244878"/>
                <a:gd name="connsiteY165" fmla="*/ 236944 h 331822"/>
                <a:gd name="connsiteX166" fmla="*/ 179098 w 244878"/>
                <a:gd name="connsiteY166" fmla="*/ 239611 h 331822"/>
                <a:gd name="connsiteX167" fmla="*/ 181137 w 244878"/>
                <a:gd name="connsiteY167" fmla="*/ 244278 h 331822"/>
                <a:gd name="connsiteX168" fmla="*/ 182451 w 244878"/>
                <a:gd name="connsiteY168" fmla="*/ 246193 h 331822"/>
                <a:gd name="connsiteX169" fmla="*/ 184242 w 244878"/>
                <a:gd name="connsiteY169" fmla="*/ 248174 h 331822"/>
                <a:gd name="connsiteX170" fmla="*/ 185994 w 244878"/>
                <a:gd name="connsiteY170" fmla="*/ 249679 h 331822"/>
                <a:gd name="connsiteX171" fmla="*/ 188757 w 244878"/>
                <a:gd name="connsiteY171" fmla="*/ 249631 h 331822"/>
                <a:gd name="connsiteX172" fmla="*/ 191614 w 244878"/>
                <a:gd name="connsiteY172" fmla="*/ 252508 h 331822"/>
                <a:gd name="connsiteX173" fmla="*/ 194738 w 244878"/>
                <a:gd name="connsiteY173" fmla="*/ 256661 h 331822"/>
                <a:gd name="connsiteX174" fmla="*/ 197072 w 244878"/>
                <a:gd name="connsiteY174" fmla="*/ 258556 h 331822"/>
                <a:gd name="connsiteX175" fmla="*/ 198701 w 244878"/>
                <a:gd name="connsiteY175" fmla="*/ 259137 h 331822"/>
                <a:gd name="connsiteX176" fmla="*/ 200054 w 244878"/>
                <a:gd name="connsiteY176" fmla="*/ 260633 h 331822"/>
                <a:gd name="connsiteX177" fmla="*/ 201244 w 244878"/>
                <a:gd name="connsiteY177" fmla="*/ 262776 h 331822"/>
                <a:gd name="connsiteX178" fmla="*/ 201711 w 244878"/>
                <a:gd name="connsiteY178" fmla="*/ 264014 h 331822"/>
                <a:gd name="connsiteX179" fmla="*/ 202768 w 244878"/>
                <a:gd name="connsiteY179" fmla="*/ 264909 h 331822"/>
                <a:gd name="connsiteX180" fmla="*/ 205626 w 244878"/>
                <a:gd name="connsiteY180" fmla="*/ 264738 h 331822"/>
                <a:gd name="connsiteX181" fmla="*/ 209302 w 244878"/>
                <a:gd name="connsiteY181" fmla="*/ 268110 h 331822"/>
                <a:gd name="connsiteX182" fmla="*/ 211569 w 244878"/>
                <a:gd name="connsiteY182" fmla="*/ 270567 h 331822"/>
                <a:gd name="connsiteX183" fmla="*/ 212769 w 244878"/>
                <a:gd name="connsiteY183" fmla="*/ 272548 h 331822"/>
                <a:gd name="connsiteX184" fmla="*/ 212455 w 244878"/>
                <a:gd name="connsiteY184" fmla="*/ 273339 h 331822"/>
                <a:gd name="connsiteX185" fmla="*/ 212302 w 244878"/>
                <a:gd name="connsiteY185" fmla="*/ 275806 h 331822"/>
                <a:gd name="connsiteX186" fmla="*/ 212341 w 244878"/>
                <a:gd name="connsiteY186" fmla="*/ 278416 h 331822"/>
                <a:gd name="connsiteX187" fmla="*/ 211979 w 244878"/>
                <a:gd name="connsiteY187" fmla="*/ 279797 h 331822"/>
                <a:gd name="connsiteX188" fmla="*/ 210340 w 244878"/>
                <a:gd name="connsiteY188" fmla="*/ 281616 h 331822"/>
                <a:gd name="connsiteX189" fmla="*/ 209493 w 244878"/>
                <a:gd name="connsiteY189" fmla="*/ 282007 h 331822"/>
                <a:gd name="connsiteX190" fmla="*/ 209036 w 244878"/>
                <a:gd name="connsiteY190" fmla="*/ 282397 h 331822"/>
                <a:gd name="connsiteX191" fmla="*/ 203997 w 244878"/>
                <a:gd name="connsiteY191" fmla="*/ 280025 h 331822"/>
                <a:gd name="connsiteX192" fmla="*/ 203597 w 244878"/>
                <a:gd name="connsiteY192" fmla="*/ 280425 h 331822"/>
                <a:gd name="connsiteX193" fmla="*/ 203283 w 244878"/>
                <a:gd name="connsiteY193" fmla="*/ 280721 h 331822"/>
                <a:gd name="connsiteX194" fmla="*/ 201930 w 244878"/>
                <a:gd name="connsiteY194" fmla="*/ 287569 h 331822"/>
                <a:gd name="connsiteX195" fmla="*/ 201006 w 244878"/>
                <a:gd name="connsiteY195" fmla="*/ 288884 h 331822"/>
                <a:gd name="connsiteX196" fmla="*/ 199615 w 244878"/>
                <a:gd name="connsiteY196" fmla="*/ 290093 h 331822"/>
                <a:gd name="connsiteX197" fmla="*/ 196739 w 244878"/>
                <a:gd name="connsiteY197" fmla="*/ 291274 h 331822"/>
                <a:gd name="connsiteX198" fmla="*/ 194738 w 244878"/>
                <a:gd name="connsiteY198" fmla="*/ 291751 h 331822"/>
                <a:gd name="connsiteX199" fmla="*/ 193176 w 244878"/>
                <a:gd name="connsiteY199" fmla="*/ 292351 h 331822"/>
                <a:gd name="connsiteX200" fmla="*/ 188233 w 244878"/>
                <a:gd name="connsiteY200" fmla="*/ 295208 h 331822"/>
                <a:gd name="connsiteX201" fmla="*/ 186014 w 244878"/>
                <a:gd name="connsiteY201" fmla="*/ 296923 h 331822"/>
                <a:gd name="connsiteX202" fmla="*/ 184575 w 244878"/>
                <a:gd name="connsiteY202" fmla="*/ 299075 h 331822"/>
                <a:gd name="connsiteX203" fmla="*/ 184566 w 244878"/>
                <a:gd name="connsiteY203" fmla="*/ 300314 h 331822"/>
                <a:gd name="connsiteX204" fmla="*/ 186966 w 244878"/>
                <a:gd name="connsiteY204" fmla="*/ 303943 h 331822"/>
                <a:gd name="connsiteX205" fmla="*/ 189738 w 244878"/>
                <a:gd name="connsiteY205" fmla="*/ 307695 h 331822"/>
                <a:gd name="connsiteX206" fmla="*/ 189747 w 244878"/>
                <a:gd name="connsiteY206" fmla="*/ 310982 h 331822"/>
                <a:gd name="connsiteX207" fmla="*/ 188528 w 244878"/>
                <a:gd name="connsiteY207" fmla="*/ 313439 h 331822"/>
                <a:gd name="connsiteX208" fmla="*/ 188243 w 244878"/>
                <a:gd name="connsiteY208" fmla="*/ 314382 h 331822"/>
                <a:gd name="connsiteX209" fmla="*/ 189062 w 244878"/>
                <a:gd name="connsiteY209" fmla="*/ 314744 h 331822"/>
                <a:gd name="connsiteX210" fmla="*/ 190595 w 244878"/>
                <a:gd name="connsiteY210" fmla="*/ 314877 h 331822"/>
                <a:gd name="connsiteX211" fmla="*/ 191881 w 244878"/>
                <a:gd name="connsiteY211" fmla="*/ 315296 h 331822"/>
                <a:gd name="connsiteX212" fmla="*/ 192424 w 244878"/>
                <a:gd name="connsiteY212" fmla="*/ 317030 h 331822"/>
                <a:gd name="connsiteX213" fmla="*/ 192262 w 244878"/>
                <a:gd name="connsiteY213" fmla="*/ 320030 h 331822"/>
                <a:gd name="connsiteX214" fmla="*/ 191824 w 244878"/>
                <a:gd name="connsiteY214" fmla="*/ 322840 h 331822"/>
                <a:gd name="connsiteX215" fmla="*/ 191367 w 244878"/>
                <a:gd name="connsiteY215" fmla="*/ 324022 h 331822"/>
                <a:gd name="connsiteX216" fmla="*/ 190128 w 244878"/>
                <a:gd name="connsiteY216" fmla="*/ 324117 h 331822"/>
                <a:gd name="connsiteX217" fmla="*/ 187747 w 244878"/>
                <a:gd name="connsiteY217" fmla="*/ 322907 h 331822"/>
                <a:gd name="connsiteX218" fmla="*/ 185890 w 244878"/>
                <a:gd name="connsiteY218" fmla="*/ 321497 h 331822"/>
                <a:gd name="connsiteX219" fmla="*/ 185175 w 244878"/>
                <a:gd name="connsiteY219" fmla="*/ 320630 h 331822"/>
                <a:gd name="connsiteX220" fmla="*/ 185137 w 244878"/>
                <a:gd name="connsiteY220" fmla="*/ 319592 h 331822"/>
                <a:gd name="connsiteX221" fmla="*/ 185538 w 244878"/>
                <a:gd name="connsiteY221" fmla="*/ 318935 h 331822"/>
                <a:gd name="connsiteX222" fmla="*/ 184880 w 244878"/>
                <a:gd name="connsiteY222" fmla="*/ 317659 h 331822"/>
                <a:gd name="connsiteX223" fmla="*/ 182594 w 244878"/>
                <a:gd name="connsiteY223" fmla="*/ 316468 h 331822"/>
                <a:gd name="connsiteX224" fmla="*/ 180146 w 244878"/>
                <a:gd name="connsiteY224" fmla="*/ 316982 h 331822"/>
                <a:gd name="connsiteX225" fmla="*/ 178346 w 244878"/>
                <a:gd name="connsiteY225" fmla="*/ 317773 h 331822"/>
                <a:gd name="connsiteX226" fmla="*/ 177174 w 244878"/>
                <a:gd name="connsiteY226" fmla="*/ 317725 h 331822"/>
                <a:gd name="connsiteX227" fmla="*/ 175917 w 244878"/>
                <a:gd name="connsiteY227" fmla="*/ 316582 h 331822"/>
                <a:gd name="connsiteX228" fmla="*/ 173974 w 244878"/>
                <a:gd name="connsiteY228" fmla="*/ 315706 h 331822"/>
                <a:gd name="connsiteX229" fmla="*/ 171440 w 244878"/>
                <a:gd name="connsiteY229" fmla="*/ 315125 h 331822"/>
                <a:gd name="connsiteX230" fmla="*/ 169859 w 244878"/>
                <a:gd name="connsiteY230" fmla="*/ 314515 h 331822"/>
                <a:gd name="connsiteX231" fmla="*/ 169526 w 244878"/>
                <a:gd name="connsiteY231" fmla="*/ 314877 h 331822"/>
                <a:gd name="connsiteX232" fmla="*/ 169707 w 244878"/>
                <a:gd name="connsiteY232" fmla="*/ 317344 h 331822"/>
                <a:gd name="connsiteX233" fmla="*/ 169221 w 244878"/>
                <a:gd name="connsiteY233" fmla="*/ 318421 h 331822"/>
                <a:gd name="connsiteX234" fmla="*/ 156686 w 244878"/>
                <a:gd name="connsiteY234" fmla="*/ 319849 h 331822"/>
                <a:gd name="connsiteX235" fmla="*/ 152867 w 244878"/>
                <a:gd name="connsiteY235" fmla="*/ 321183 h 331822"/>
                <a:gd name="connsiteX236" fmla="*/ 150085 w 244878"/>
                <a:gd name="connsiteY236" fmla="*/ 322907 h 331822"/>
                <a:gd name="connsiteX237" fmla="*/ 148028 w 244878"/>
                <a:gd name="connsiteY237" fmla="*/ 323650 h 331822"/>
                <a:gd name="connsiteX238" fmla="*/ 147523 w 244878"/>
                <a:gd name="connsiteY238" fmla="*/ 324707 h 331822"/>
                <a:gd name="connsiteX239" fmla="*/ 145485 w 244878"/>
                <a:gd name="connsiteY239" fmla="*/ 326098 h 331822"/>
                <a:gd name="connsiteX240" fmla="*/ 143189 w 244878"/>
                <a:gd name="connsiteY240" fmla="*/ 326536 h 331822"/>
                <a:gd name="connsiteX241" fmla="*/ 142627 w 244878"/>
                <a:gd name="connsiteY241" fmla="*/ 326088 h 331822"/>
                <a:gd name="connsiteX242" fmla="*/ 141151 w 244878"/>
                <a:gd name="connsiteY242" fmla="*/ 326727 h 331822"/>
                <a:gd name="connsiteX243" fmla="*/ 138636 w 244878"/>
                <a:gd name="connsiteY243" fmla="*/ 327346 h 331822"/>
                <a:gd name="connsiteX244" fmla="*/ 137008 w 244878"/>
                <a:gd name="connsiteY244" fmla="*/ 327145 h 331822"/>
                <a:gd name="connsiteX245" fmla="*/ 136236 w 244878"/>
                <a:gd name="connsiteY245" fmla="*/ 326022 h 331822"/>
                <a:gd name="connsiteX246" fmla="*/ 134683 w 244878"/>
                <a:gd name="connsiteY246" fmla="*/ 324298 h 331822"/>
                <a:gd name="connsiteX247" fmla="*/ 134055 w 244878"/>
                <a:gd name="connsiteY247" fmla="*/ 323107 h 331822"/>
                <a:gd name="connsiteX248" fmla="*/ 134121 w 244878"/>
                <a:gd name="connsiteY248" fmla="*/ 322336 h 331822"/>
                <a:gd name="connsiteX249" fmla="*/ 130607 w 244878"/>
                <a:gd name="connsiteY249" fmla="*/ 322183 h 331822"/>
                <a:gd name="connsiteX250" fmla="*/ 128397 w 244878"/>
                <a:gd name="connsiteY250" fmla="*/ 321269 h 331822"/>
                <a:gd name="connsiteX251" fmla="*/ 123692 w 244878"/>
                <a:gd name="connsiteY251" fmla="*/ 321478 h 331822"/>
                <a:gd name="connsiteX252" fmla="*/ 122529 w 244878"/>
                <a:gd name="connsiteY252" fmla="*/ 321088 h 331822"/>
                <a:gd name="connsiteX253" fmla="*/ 122291 w 244878"/>
                <a:gd name="connsiteY253" fmla="*/ 321497 h 331822"/>
                <a:gd name="connsiteX254" fmla="*/ 121586 w 244878"/>
                <a:gd name="connsiteY254" fmla="*/ 326393 h 331822"/>
                <a:gd name="connsiteX255" fmla="*/ 120653 w 244878"/>
                <a:gd name="connsiteY255" fmla="*/ 328393 h 331822"/>
                <a:gd name="connsiteX256" fmla="*/ 119148 w 244878"/>
                <a:gd name="connsiteY256" fmla="*/ 330460 h 331822"/>
                <a:gd name="connsiteX257" fmla="*/ 117215 w 244878"/>
                <a:gd name="connsiteY257" fmla="*/ 331613 h 331822"/>
                <a:gd name="connsiteX258" fmla="*/ 115681 w 244878"/>
                <a:gd name="connsiteY258" fmla="*/ 331822 h 331822"/>
                <a:gd name="connsiteX259" fmla="*/ 115748 w 244878"/>
                <a:gd name="connsiteY259" fmla="*/ 330317 h 331822"/>
                <a:gd name="connsiteX260" fmla="*/ 116138 w 244878"/>
                <a:gd name="connsiteY260" fmla="*/ 328498 h 331822"/>
                <a:gd name="connsiteX261" fmla="*/ 115024 w 244878"/>
                <a:gd name="connsiteY261" fmla="*/ 328070 h 331822"/>
                <a:gd name="connsiteX262" fmla="*/ 113357 w 244878"/>
                <a:gd name="connsiteY262" fmla="*/ 327870 h 331822"/>
                <a:gd name="connsiteX263" fmla="*/ 112557 w 244878"/>
                <a:gd name="connsiteY263" fmla="*/ 327327 h 331822"/>
                <a:gd name="connsiteX264" fmla="*/ 112766 w 244878"/>
                <a:gd name="connsiteY264" fmla="*/ 325936 h 331822"/>
                <a:gd name="connsiteX265" fmla="*/ 112376 w 244878"/>
                <a:gd name="connsiteY265" fmla="*/ 325126 h 331822"/>
                <a:gd name="connsiteX266" fmla="*/ 111690 w 244878"/>
                <a:gd name="connsiteY266" fmla="*/ 324155 h 331822"/>
                <a:gd name="connsiteX267" fmla="*/ 110014 w 244878"/>
                <a:gd name="connsiteY267" fmla="*/ 322907 h 331822"/>
                <a:gd name="connsiteX268" fmla="*/ 106470 w 244878"/>
                <a:gd name="connsiteY268" fmla="*/ 321059 h 331822"/>
                <a:gd name="connsiteX269" fmla="*/ 104061 w 244878"/>
                <a:gd name="connsiteY269" fmla="*/ 320135 h 331822"/>
                <a:gd name="connsiteX270" fmla="*/ 103156 w 244878"/>
                <a:gd name="connsiteY270" fmla="*/ 321116 h 331822"/>
                <a:gd name="connsiteX271" fmla="*/ 101432 w 244878"/>
                <a:gd name="connsiteY271" fmla="*/ 322097 h 331822"/>
                <a:gd name="connsiteX272" fmla="*/ 98717 w 244878"/>
                <a:gd name="connsiteY272" fmla="*/ 321773 h 331822"/>
                <a:gd name="connsiteX273" fmla="*/ 98050 w 244878"/>
                <a:gd name="connsiteY273" fmla="*/ 322164 h 331822"/>
                <a:gd name="connsiteX274" fmla="*/ 93393 w 244878"/>
                <a:gd name="connsiteY274" fmla="*/ 319211 h 331822"/>
                <a:gd name="connsiteX275" fmla="*/ 88925 w 244878"/>
                <a:gd name="connsiteY275" fmla="*/ 316373 h 331822"/>
                <a:gd name="connsiteX276" fmla="*/ 87449 w 244878"/>
                <a:gd name="connsiteY276" fmla="*/ 316373 h 331822"/>
                <a:gd name="connsiteX277" fmla="*/ 80867 w 244878"/>
                <a:gd name="connsiteY277" fmla="*/ 316944 h 331822"/>
                <a:gd name="connsiteX278" fmla="*/ 80677 w 244878"/>
                <a:gd name="connsiteY278" fmla="*/ 316697 h 331822"/>
                <a:gd name="connsiteX279" fmla="*/ 79524 w 244878"/>
                <a:gd name="connsiteY279" fmla="*/ 315077 h 331822"/>
                <a:gd name="connsiteX280" fmla="*/ 78514 w 244878"/>
                <a:gd name="connsiteY280" fmla="*/ 314563 h 331822"/>
                <a:gd name="connsiteX281" fmla="*/ 77905 w 244878"/>
                <a:gd name="connsiteY281" fmla="*/ 314830 h 331822"/>
                <a:gd name="connsiteX282" fmla="*/ 77495 w 244878"/>
                <a:gd name="connsiteY282" fmla="*/ 315296 h 331822"/>
                <a:gd name="connsiteX283" fmla="*/ 76790 w 244878"/>
                <a:gd name="connsiteY283" fmla="*/ 315220 h 331822"/>
                <a:gd name="connsiteX284" fmla="*/ 73838 w 244878"/>
                <a:gd name="connsiteY284" fmla="*/ 312610 h 331822"/>
                <a:gd name="connsiteX285" fmla="*/ 72628 w 244878"/>
                <a:gd name="connsiteY285" fmla="*/ 312230 h 331822"/>
                <a:gd name="connsiteX286" fmla="*/ 70952 w 244878"/>
                <a:gd name="connsiteY286" fmla="*/ 312582 h 331822"/>
                <a:gd name="connsiteX287" fmla="*/ 68971 w 244878"/>
                <a:gd name="connsiteY287" fmla="*/ 313992 h 331822"/>
                <a:gd name="connsiteX288" fmla="*/ 68104 w 244878"/>
                <a:gd name="connsiteY288" fmla="*/ 315716 h 331822"/>
                <a:gd name="connsiteX289" fmla="*/ 68370 w 244878"/>
                <a:gd name="connsiteY289" fmla="*/ 316706 h 331822"/>
                <a:gd name="connsiteX290" fmla="*/ 69390 w 244878"/>
                <a:gd name="connsiteY290" fmla="*/ 317135 h 331822"/>
                <a:gd name="connsiteX291" fmla="*/ 72085 w 244878"/>
                <a:gd name="connsiteY291" fmla="*/ 316849 h 331822"/>
                <a:gd name="connsiteX292" fmla="*/ 72476 w 244878"/>
                <a:gd name="connsiteY292" fmla="*/ 317135 h 331822"/>
                <a:gd name="connsiteX293" fmla="*/ 72571 w 244878"/>
                <a:gd name="connsiteY293" fmla="*/ 317697 h 331822"/>
                <a:gd name="connsiteX294" fmla="*/ 72276 w 244878"/>
                <a:gd name="connsiteY294" fmla="*/ 318240 h 331822"/>
                <a:gd name="connsiteX295" fmla="*/ 70094 w 244878"/>
                <a:gd name="connsiteY295" fmla="*/ 318687 h 331822"/>
                <a:gd name="connsiteX296" fmla="*/ 69466 w 244878"/>
                <a:gd name="connsiteY296" fmla="*/ 319344 h 331822"/>
                <a:gd name="connsiteX297" fmla="*/ 68827 w 244878"/>
                <a:gd name="connsiteY297" fmla="*/ 319507 h 331822"/>
                <a:gd name="connsiteX298" fmla="*/ 68418 w 244878"/>
                <a:gd name="connsiteY298" fmla="*/ 319611 h 331822"/>
                <a:gd name="connsiteX299" fmla="*/ 66094 w 244878"/>
                <a:gd name="connsiteY299" fmla="*/ 318926 h 331822"/>
                <a:gd name="connsiteX300" fmla="*/ 62636 w 244878"/>
                <a:gd name="connsiteY300" fmla="*/ 318926 h 331822"/>
                <a:gd name="connsiteX301" fmla="*/ 59845 w 244878"/>
                <a:gd name="connsiteY301" fmla="*/ 320135 h 331822"/>
                <a:gd name="connsiteX302" fmla="*/ 55388 w 244878"/>
                <a:gd name="connsiteY302" fmla="*/ 320621 h 331822"/>
                <a:gd name="connsiteX303" fmla="*/ 49263 w 244878"/>
                <a:gd name="connsiteY303" fmla="*/ 320383 h 331822"/>
                <a:gd name="connsiteX304" fmla="*/ 47063 w 244878"/>
                <a:gd name="connsiteY304" fmla="*/ 319478 h 331822"/>
                <a:gd name="connsiteX305" fmla="*/ 45720 w 244878"/>
                <a:gd name="connsiteY305" fmla="*/ 318935 h 331822"/>
                <a:gd name="connsiteX306" fmla="*/ 44748 w 244878"/>
                <a:gd name="connsiteY306" fmla="*/ 316268 h 331822"/>
                <a:gd name="connsiteX307" fmla="*/ 44996 w 244878"/>
                <a:gd name="connsiteY307" fmla="*/ 312315 h 331822"/>
                <a:gd name="connsiteX308" fmla="*/ 46453 w 244878"/>
                <a:gd name="connsiteY308" fmla="*/ 307067 h 331822"/>
                <a:gd name="connsiteX309" fmla="*/ 46863 w 244878"/>
                <a:gd name="connsiteY309" fmla="*/ 303209 h 331822"/>
                <a:gd name="connsiteX310" fmla="*/ 46215 w 244878"/>
                <a:gd name="connsiteY310" fmla="*/ 300752 h 331822"/>
                <a:gd name="connsiteX311" fmla="*/ 47082 w 244878"/>
                <a:gd name="connsiteY311" fmla="*/ 297056 h 331822"/>
                <a:gd name="connsiteX312" fmla="*/ 49463 w 244878"/>
                <a:gd name="connsiteY312" fmla="*/ 292122 h 331822"/>
                <a:gd name="connsiteX313" fmla="*/ 51054 w 244878"/>
                <a:gd name="connsiteY313" fmla="*/ 286912 h 331822"/>
                <a:gd name="connsiteX314" fmla="*/ 51845 w 244878"/>
                <a:gd name="connsiteY314" fmla="*/ 281407 h 331822"/>
                <a:gd name="connsiteX315" fmla="*/ 52997 w 244878"/>
                <a:gd name="connsiteY315" fmla="*/ 277816 h 331822"/>
                <a:gd name="connsiteX316" fmla="*/ 55264 w 244878"/>
                <a:gd name="connsiteY316" fmla="*/ 275291 h 331822"/>
                <a:gd name="connsiteX317" fmla="*/ 60646 w 244878"/>
                <a:gd name="connsiteY317" fmla="*/ 268224 h 331822"/>
                <a:gd name="connsiteX318" fmla="*/ 61084 w 244878"/>
                <a:gd name="connsiteY318" fmla="*/ 267691 h 331822"/>
                <a:gd name="connsiteX319" fmla="*/ 60931 w 244878"/>
                <a:gd name="connsiteY319" fmla="*/ 264157 h 331822"/>
                <a:gd name="connsiteX320" fmla="*/ 59484 w 244878"/>
                <a:gd name="connsiteY320" fmla="*/ 263652 h 331822"/>
                <a:gd name="connsiteX321" fmla="*/ 57360 w 244878"/>
                <a:gd name="connsiteY321" fmla="*/ 262633 h 331822"/>
                <a:gd name="connsiteX322" fmla="*/ 51959 w 244878"/>
                <a:gd name="connsiteY322" fmla="*/ 261375 h 331822"/>
                <a:gd name="connsiteX323" fmla="*/ 46930 w 244878"/>
                <a:gd name="connsiteY323" fmla="*/ 260566 h 331822"/>
                <a:gd name="connsiteX324" fmla="*/ 44643 w 244878"/>
                <a:gd name="connsiteY324" fmla="*/ 259566 h 331822"/>
                <a:gd name="connsiteX325" fmla="*/ 42643 w 244878"/>
                <a:gd name="connsiteY325" fmla="*/ 256889 h 331822"/>
                <a:gd name="connsiteX326" fmla="*/ 41405 w 244878"/>
                <a:gd name="connsiteY326" fmla="*/ 256851 h 331822"/>
                <a:gd name="connsiteX327" fmla="*/ 38976 w 244878"/>
                <a:gd name="connsiteY327" fmla="*/ 257813 h 331822"/>
                <a:gd name="connsiteX328" fmla="*/ 35947 w 244878"/>
                <a:gd name="connsiteY328" fmla="*/ 258461 h 331822"/>
                <a:gd name="connsiteX329" fmla="*/ 33737 w 244878"/>
                <a:gd name="connsiteY329" fmla="*/ 257899 h 331822"/>
                <a:gd name="connsiteX330" fmla="*/ 32356 w 244878"/>
                <a:gd name="connsiteY330" fmla="*/ 258004 h 331822"/>
                <a:gd name="connsiteX331" fmla="*/ 31585 w 244878"/>
                <a:gd name="connsiteY331" fmla="*/ 258499 h 331822"/>
                <a:gd name="connsiteX332" fmla="*/ 31194 w 244878"/>
                <a:gd name="connsiteY332" fmla="*/ 258061 h 331822"/>
                <a:gd name="connsiteX333" fmla="*/ 30642 w 244878"/>
                <a:gd name="connsiteY333" fmla="*/ 255765 h 331822"/>
                <a:gd name="connsiteX334" fmla="*/ 29489 w 244878"/>
                <a:gd name="connsiteY334" fmla="*/ 255165 h 331822"/>
                <a:gd name="connsiteX335" fmla="*/ 27699 w 244878"/>
                <a:gd name="connsiteY335" fmla="*/ 254632 h 331822"/>
                <a:gd name="connsiteX336" fmla="*/ 26584 w 244878"/>
                <a:gd name="connsiteY336" fmla="*/ 254860 h 331822"/>
                <a:gd name="connsiteX337" fmla="*/ 25813 w 244878"/>
                <a:gd name="connsiteY337" fmla="*/ 256003 h 331822"/>
                <a:gd name="connsiteX338" fmla="*/ 24622 w 244878"/>
                <a:gd name="connsiteY338" fmla="*/ 256804 h 331822"/>
                <a:gd name="connsiteX339" fmla="*/ 23536 w 244878"/>
                <a:gd name="connsiteY339" fmla="*/ 256546 h 331822"/>
                <a:gd name="connsiteX340" fmla="*/ 20117 w 244878"/>
                <a:gd name="connsiteY340" fmla="*/ 251231 h 331822"/>
                <a:gd name="connsiteX341" fmla="*/ 19240 w 244878"/>
                <a:gd name="connsiteY341" fmla="*/ 250050 h 331822"/>
                <a:gd name="connsiteX342" fmla="*/ 19021 w 244878"/>
                <a:gd name="connsiteY342" fmla="*/ 248964 h 331822"/>
                <a:gd name="connsiteX343" fmla="*/ 18164 w 244878"/>
                <a:gd name="connsiteY343" fmla="*/ 246983 h 331822"/>
                <a:gd name="connsiteX344" fmla="*/ 16126 w 244878"/>
                <a:gd name="connsiteY344" fmla="*/ 245002 h 331822"/>
                <a:gd name="connsiteX345" fmla="*/ 14097 w 244878"/>
                <a:gd name="connsiteY345" fmla="*/ 244373 h 331822"/>
                <a:gd name="connsiteX346" fmla="*/ 13087 w 244878"/>
                <a:gd name="connsiteY346" fmla="*/ 244592 h 331822"/>
                <a:gd name="connsiteX347" fmla="*/ 13202 w 244878"/>
                <a:gd name="connsiteY347" fmla="*/ 242135 h 331822"/>
                <a:gd name="connsiteX348" fmla="*/ 13992 w 244878"/>
                <a:gd name="connsiteY348" fmla="*/ 238563 h 331822"/>
                <a:gd name="connsiteX349" fmla="*/ 14754 w 244878"/>
                <a:gd name="connsiteY349" fmla="*/ 236696 h 331822"/>
                <a:gd name="connsiteX350" fmla="*/ 15764 w 244878"/>
                <a:gd name="connsiteY350" fmla="*/ 235172 h 331822"/>
                <a:gd name="connsiteX351" fmla="*/ 16840 w 244878"/>
                <a:gd name="connsiteY351" fmla="*/ 234105 h 331822"/>
                <a:gd name="connsiteX352" fmla="*/ 17078 w 244878"/>
                <a:gd name="connsiteY352" fmla="*/ 232181 h 331822"/>
                <a:gd name="connsiteX353" fmla="*/ 16907 w 244878"/>
                <a:gd name="connsiteY353" fmla="*/ 230362 h 331822"/>
                <a:gd name="connsiteX354" fmla="*/ 15669 w 244878"/>
                <a:gd name="connsiteY354" fmla="*/ 230076 h 331822"/>
                <a:gd name="connsiteX355" fmla="*/ 12563 w 244878"/>
                <a:gd name="connsiteY355" fmla="*/ 228733 h 331822"/>
                <a:gd name="connsiteX356" fmla="*/ 10725 w 244878"/>
                <a:gd name="connsiteY356" fmla="*/ 227314 h 331822"/>
                <a:gd name="connsiteX357" fmla="*/ 9363 w 244878"/>
                <a:gd name="connsiteY357" fmla="*/ 225533 h 331822"/>
                <a:gd name="connsiteX358" fmla="*/ 7572 w 244878"/>
                <a:gd name="connsiteY358" fmla="*/ 223085 h 331822"/>
                <a:gd name="connsiteX359" fmla="*/ 6810 w 244878"/>
                <a:gd name="connsiteY359" fmla="*/ 220589 h 331822"/>
                <a:gd name="connsiteX360" fmla="*/ 6772 w 244878"/>
                <a:gd name="connsiteY360" fmla="*/ 218103 h 331822"/>
                <a:gd name="connsiteX361" fmla="*/ 6982 w 244878"/>
                <a:gd name="connsiteY361" fmla="*/ 216989 h 331822"/>
                <a:gd name="connsiteX362" fmla="*/ 7115 w 244878"/>
                <a:gd name="connsiteY362" fmla="*/ 216217 h 331822"/>
                <a:gd name="connsiteX363" fmla="*/ 8553 w 244878"/>
                <a:gd name="connsiteY363" fmla="*/ 212331 h 331822"/>
                <a:gd name="connsiteX364" fmla="*/ 13621 w 244878"/>
                <a:gd name="connsiteY364" fmla="*/ 208845 h 331822"/>
                <a:gd name="connsiteX365" fmla="*/ 13059 w 244878"/>
                <a:gd name="connsiteY365" fmla="*/ 205330 h 331822"/>
                <a:gd name="connsiteX366" fmla="*/ 12983 w 244878"/>
                <a:gd name="connsiteY366" fmla="*/ 203168 h 331822"/>
                <a:gd name="connsiteX367" fmla="*/ 11754 w 244878"/>
                <a:gd name="connsiteY367" fmla="*/ 201758 h 331822"/>
                <a:gd name="connsiteX368" fmla="*/ 9296 w 244878"/>
                <a:gd name="connsiteY368" fmla="*/ 201187 h 331822"/>
                <a:gd name="connsiteX369" fmla="*/ 8649 w 244878"/>
                <a:gd name="connsiteY369" fmla="*/ 200206 h 331822"/>
                <a:gd name="connsiteX370" fmla="*/ 8372 w 244878"/>
                <a:gd name="connsiteY370" fmla="*/ 199244 h 331822"/>
                <a:gd name="connsiteX371" fmla="*/ 10173 w 244878"/>
                <a:gd name="connsiteY371" fmla="*/ 197082 h 331822"/>
                <a:gd name="connsiteX372" fmla="*/ 7991 w 244878"/>
                <a:gd name="connsiteY372" fmla="*/ 195377 h 331822"/>
                <a:gd name="connsiteX373" fmla="*/ 7001 w 244878"/>
                <a:gd name="connsiteY373" fmla="*/ 193691 h 331822"/>
                <a:gd name="connsiteX374" fmla="*/ 3972 w 244878"/>
                <a:gd name="connsiteY374" fmla="*/ 191462 h 331822"/>
                <a:gd name="connsiteX375" fmla="*/ 3648 w 244878"/>
                <a:gd name="connsiteY375" fmla="*/ 190690 h 331822"/>
                <a:gd name="connsiteX376" fmla="*/ 5105 w 244878"/>
                <a:gd name="connsiteY376" fmla="*/ 184166 h 331822"/>
                <a:gd name="connsiteX377" fmla="*/ 3991 w 244878"/>
                <a:gd name="connsiteY377" fmla="*/ 182261 h 331822"/>
                <a:gd name="connsiteX378" fmla="*/ 2610 w 244878"/>
                <a:gd name="connsiteY378" fmla="*/ 181289 h 331822"/>
                <a:gd name="connsiteX379" fmla="*/ 1000 w 244878"/>
                <a:gd name="connsiteY379" fmla="*/ 180813 h 331822"/>
                <a:gd name="connsiteX380" fmla="*/ 257 w 244878"/>
                <a:gd name="connsiteY380" fmla="*/ 179908 h 331822"/>
                <a:gd name="connsiteX381" fmla="*/ 0 w 244878"/>
                <a:gd name="connsiteY381" fmla="*/ 178870 h 331822"/>
                <a:gd name="connsiteX382" fmla="*/ 286 w 244878"/>
                <a:gd name="connsiteY382" fmla="*/ 178232 h 331822"/>
                <a:gd name="connsiteX383" fmla="*/ 2181 w 244878"/>
                <a:gd name="connsiteY383" fmla="*/ 178422 h 331822"/>
                <a:gd name="connsiteX384" fmla="*/ 2772 w 244878"/>
                <a:gd name="connsiteY384" fmla="*/ 177746 h 331822"/>
                <a:gd name="connsiteX385" fmla="*/ 7286 w 244878"/>
                <a:gd name="connsiteY385" fmla="*/ 173898 h 331822"/>
                <a:gd name="connsiteX386" fmla="*/ 7477 w 244878"/>
                <a:gd name="connsiteY386" fmla="*/ 173155 h 331822"/>
                <a:gd name="connsiteX387" fmla="*/ 6848 w 244878"/>
                <a:gd name="connsiteY387" fmla="*/ 172736 h 331822"/>
                <a:gd name="connsiteX388" fmla="*/ 6029 w 244878"/>
                <a:gd name="connsiteY388" fmla="*/ 172517 h 331822"/>
                <a:gd name="connsiteX389" fmla="*/ 5820 w 244878"/>
                <a:gd name="connsiteY389" fmla="*/ 171707 h 331822"/>
                <a:gd name="connsiteX390" fmla="*/ 5848 w 244878"/>
                <a:gd name="connsiteY390" fmla="*/ 170640 h 331822"/>
                <a:gd name="connsiteX391" fmla="*/ 8258 w 244878"/>
                <a:gd name="connsiteY391" fmla="*/ 165068 h 331822"/>
                <a:gd name="connsiteX392" fmla="*/ 8972 w 244878"/>
                <a:gd name="connsiteY392" fmla="*/ 162687 h 331822"/>
                <a:gd name="connsiteX393" fmla="*/ 9134 w 244878"/>
                <a:gd name="connsiteY393" fmla="*/ 161001 h 331822"/>
                <a:gd name="connsiteX394" fmla="*/ 8982 w 244878"/>
                <a:gd name="connsiteY394" fmla="*/ 159334 h 331822"/>
                <a:gd name="connsiteX395" fmla="*/ 7591 w 244878"/>
                <a:gd name="connsiteY395" fmla="*/ 156715 h 331822"/>
                <a:gd name="connsiteX396" fmla="*/ 6248 w 244878"/>
                <a:gd name="connsiteY396" fmla="*/ 154619 h 331822"/>
                <a:gd name="connsiteX397" fmla="*/ 6201 w 244878"/>
                <a:gd name="connsiteY397" fmla="*/ 152952 h 331822"/>
                <a:gd name="connsiteX398" fmla="*/ 5220 w 244878"/>
                <a:gd name="connsiteY398" fmla="*/ 152076 h 331822"/>
                <a:gd name="connsiteX399" fmla="*/ 2438 w 244878"/>
                <a:gd name="connsiteY399" fmla="*/ 147590 h 331822"/>
                <a:gd name="connsiteX400" fmla="*/ 2438 w 244878"/>
                <a:gd name="connsiteY400" fmla="*/ 145856 h 331822"/>
                <a:gd name="connsiteX401" fmla="*/ 4010 w 244878"/>
                <a:gd name="connsiteY401" fmla="*/ 144504 h 331822"/>
                <a:gd name="connsiteX402" fmla="*/ 6210 w 244878"/>
                <a:gd name="connsiteY402" fmla="*/ 143646 h 331822"/>
                <a:gd name="connsiteX403" fmla="*/ 6944 w 244878"/>
                <a:gd name="connsiteY403" fmla="*/ 142932 h 331822"/>
                <a:gd name="connsiteX404" fmla="*/ 8258 w 244878"/>
                <a:gd name="connsiteY404" fmla="*/ 142484 h 331822"/>
                <a:gd name="connsiteX405" fmla="*/ 11754 w 244878"/>
                <a:gd name="connsiteY405" fmla="*/ 143780 h 331822"/>
                <a:gd name="connsiteX406" fmla="*/ 13316 w 244878"/>
                <a:gd name="connsiteY406" fmla="*/ 144904 h 331822"/>
                <a:gd name="connsiteX407" fmla="*/ 13754 w 244878"/>
                <a:gd name="connsiteY407" fmla="*/ 144675 h 331822"/>
                <a:gd name="connsiteX408" fmla="*/ 15164 w 244878"/>
                <a:gd name="connsiteY408" fmla="*/ 143456 h 331822"/>
                <a:gd name="connsiteX409" fmla="*/ 17640 w 244878"/>
                <a:gd name="connsiteY409" fmla="*/ 143646 h 331822"/>
                <a:gd name="connsiteX410" fmla="*/ 23631 w 244878"/>
                <a:gd name="connsiteY410" fmla="*/ 141189 h 331822"/>
                <a:gd name="connsiteX411" fmla="*/ 24527 w 244878"/>
                <a:gd name="connsiteY411" fmla="*/ 140008 h 331822"/>
                <a:gd name="connsiteX412" fmla="*/ 25194 w 244878"/>
                <a:gd name="connsiteY412" fmla="*/ 138751 h 331822"/>
                <a:gd name="connsiteX413" fmla="*/ 25251 w 244878"/>
                <a:gd name="connsiteY413" fmla="*/ 138198 h 331822"/>
                <a:gd name="connsiteX414" fmla="*/ 22927 w 244878"/>
                <a:gd name="connsiteY414" fmla="*/ 135769 h 331822"/>
                <a:gd name="connsiteX415" fmla="*/ 22860 w 244878"/>
                <a:gd name="connsiteY415" fmla="*/ 134874 h 331822"/>
                <a:gd name="connsiteX416" fmla="*/ 23165 w 244878"/>
                <a:gd name="connsiteY416" fmla="*/ 133864 h 331822"/>
                <a:gd name="connsiteX417" fmla="*/ 23822 w 244878"/>
                <a:gd name="connsiteY417" fmla="*/ 133064 h 331822"/>
                <a:gd name="connsiteX418" fmla="*/ 25194 w 244878"/>
                <a:gd name="connsiteY418" fmla="*/ 132521 h 331822"/>
                <a:gd name="connsiteX419" fmla="*/ 26651 w 244878"/>
                <a:gd name="connsiteY419" fmla="*/ 131454 h 331822"/>
                <a:gd name="connsiteX420" fmla="*/ 29918 w 244878"/>
                <a:gd name="connsiteY420" fmla="*/ 128426 h 331822"/>
                <a:gd name="connsiteX421" fmla="*/ 31051 w 244878"/>
                <a:gd name="connsiteY421" fmla="*/ 125797 h 331822"/>
                <a:gd name="connsiteX422" fmla="*/ 31404 w 244878"/>
                <a:gd name="connsiteY422" fmla="*/ 122939 h 331822"/>
                <a:gd name="connsiteX423" fmla="*/ 31470 w 244878"/>
                <a:gd name="connsiteY423" fmla="*/ 120805 h 331822"/>
                <a:gd name="connsiteX424" fmla="*/ 30575 w 244878"/>
                <a:gd name="connsiteY424" fmla="*/ 119110 h 331822"/>
                <a:gd name="connsiteX425" fmla="*/ 29670 w 244878"/>
                <a:gd name="connsiteY425" fmla="*/ 118015 h 331822"/>
                <a:gd name="connsiteX426" fmla="*/ 28442 w 244878"/>
                <a:gd name="connsiteY426" fmla="*/ 118186 h 331822"/>
                <a:gd name="connsiteX427" fmla="*/ 26051 w 244878"/>
                <a:gd name="connsiteY427" fmla="*/ 118100 h 331822"/>
                <a:gd name="connsiteX428" fmla="*/ 23813 w 244878"/>
                <a:gd name="connsiteY428" fmla="*/ 117148 h 331822"/>
                <a:gd name="connsiteX429" fmla="*/ 22584 w 244878"/>
                <a:gd name="connsiteY429" fmla="*/ 115605 h 331822"/>
                <a:gd name="connsiteX430" fmla="*/ 22279 w 244878"/>
                <a:gd name="connsiteY430" fmla="*/ 114252 h 331822"/>
                <a:gd name="connsiteX431" fmla="*/ 22841 w 244878"/>
                <a:gd name="connsiteY431" fmla="*/ 113395 h 331822"/>
                <a:gd name="connsiteX432" fmla="*/ 23012 w 244878"/>
                <a:gd name="connsiteY432" fmla="*/ 112347 h 331822"/>
                <a:gd name="connsiteX433" fmla="*/ 22650 w 244878"/>
                <a:gd name="connsiteY433" fmla="*/ 111290 h 331822"/>
                <a:gd name="connsiteX434" fmla="*/ 22793 w 244878"/>
                <a:gd name="connsiteY434" fmla="*/ 110404 h 331822"/>
                <a:gd name="connsiteX435" fmla="*/ 23803 w 244878"/>
                <a:gd name="connsiteY435" fmla="*/ 109690 h 331822"/>
                <a:gd name="connsiteX436" fmla="*/ 30880 w 244878"/>
                <a:gd name="connsiteY436" fmla="*/ 109709 h 331822"/>
                <a:gd name="connsiteX437" fmla="*/ 31413 w 244878"/>
                <a:gd name="connsiteY437" fmla="*/ 108928 h 331822"/>
                <a:gd name="connsiteX438" fmla="*/ 31890 w 244878"/>
                <a:gd name="connsiteY438" fmla="*/ 104813 h 331822"/>
                <a:gd name="connsiteX439" fmla="*/ 33661 w 244878"/>
                <a:gd name="connsiteY439" fmla="*/ 98536 h 331822"/>
                <a:gd name="connsiteX440" fmla="*/ 35328 w 244878"/>
                <a:gd name="connsiteY440" fmla="*/ 95031 h 331822"/>
                <a:gd name="connsiteX441" fmla="*/ 35605 w 244878"/>
                <a:gd name="connsiteY441" fmla="*/ 93554 h 331822"/>
                <a:gd name="connsiteX442" fmla="*/ 35576 w 244878"/>
                <a:gd name="connsiteY442" fmla="*/ 85220 h 331822"/>
                <a:gd name="connsiteX443" fmla="*/ 35805 w 244878"/>
                <a:gd name="connsiteY443" fmla="*/ 80981 h 331822"/>
                <a:gd name="connsiteX444" fmla="*/ 34595 w 244878"/>
                <a:gd name="connsiteY444" fmla="*/ 78991 h 331822"/>
                <a:gd name="connsiteX445" fmla="*/ 31956 w 244878"/>
                <a:gd name="connsiteY445" fmla="*/ 76810 h 331822"/>
                <a:gd name="connsiteX446" fmla="*/ 32518 w 244878"/>
                <a:gd name="connsiteY446" fmla="*/ 72257 h 331822"/>
                <a:gd name="connsiteX447" fmla="*/ 33394 w 244878"/>
                <a:gd name="connsiteY447" fmla="*/ 68694 h 331822"/>
                <a:gd name="connsiteX448" fmla="*/ 36052 w 244878"/>
                <a:gd name="connsiteY448" fmla="*/ 64313 h 331822"/>
                <a:gd name="connsiteX449" fmla="*/ 38157 w 244878"/>
                <a:gd name="connsiteY449" fmla="*/ 63112 h 331822"/>
                <a:gd name="connsiteX450" fmla="*/ 47349 w 244878"/>
                <a:gd name="connsiteY450" fmla="*/ 62398 h 331822"/>
                <a:gd name="connsiteX451" fmla="*/ 57502 w 244878"/>
                <a:gd name="connsiteY451" fmla="*/ 62694 h 331822"/>
                <a:gd name="connsiteX452" fmla="*/ 61722 w 244878"/>
                <a:gd name="connsiteY452" fmla="*/ 69313 h 331822"/>
                <a:gd name="connsiteX453" fmla="*/ 60160 w 244878"/>
                <a:gd name="connsiteY453" fmla="*/ 72704 h 331822"/>
                <a:gd name="connsiteX454" fmla="*/ 62627 w 244878"/>
                <a:gd name="connsiteY454" fmla="*/ 74285 h 331822"/>
                <a:gd name="connsiteX455" fmla="*/ 63817 w 244878"/>
                <a:gd name="connsiteY455" fmla="*/ 73705 h 331822"/>
                <a:gd name="connsiteX456" fmla="*/ 64722 w 244878"/>
                <a:gd name="connsiteY456" fmla="*/ 70751 h 331822"/>
                <a:gd name="connsiteX457" fmla="*/ 65322 w 244878"/>
                <a:gd name="connsiteY457" fmla="*/ 67475 h 331822"/>
                <a:gd name="connsiteX458" fmla="*/ 66189 w 244878"/>
                <a:gd name="connsiteY458" fmla="*/ 66484 h 331822"/>
                <a:gd name="connsiteX459" fmla="*/ 69332 w 244878"/>
                <a:gd name="connsiteY459" fmla="*/ 68932 h 331822"/>
                <a:gd name="connsiteX460" fmla="*/ 70437 w 244878"/>
                <a:gd name="connsiteY460" fmla="*/ 70609 h 331822"/>
                <a:gd name="connsiteX461" fmla="*/ 70504 w 244878"/>
                <a:gd name="connsiteY461" fmla="*/ 75981 h 331822"/>
                <a:gd name="connsiteX462" fmla="*/ 71666 w 244878"/>
                <a:gd name="connsiteY462" fmla="*/ 68694 h 331822"/>
                <a:gd name="connsiteX463" fmla="*/ 70799 w 244878"/>
                <a:gd name="connsiteY463" fmla="*/ 63579 h 331822"/>
                <a:gd name="connsiteX464" fmla="*/ 71390 w 244878"/>
                <a:gd name="connsiteY464" fmla="*/ 58607 h 331822"/>
                <a:gd name="connsiteX465" fmla="*/ 72657 w 244878"/>
                <a:gd name="connsiteY465" fmla="*/ 56016 h 331822"/>
                <a:gd name="connsiteX466" fmla="*/ 73819 w 244878"/>
                <a:gd name="connsiteY466" fmla="*/ 54368 h 331822"/>
                <a:gd name="connsiteX467" fmla="*/ 81267 w 244878"/>
                <a:gd name="connsiteY467" fmla="*/ 56150 h 331822"/>
                <a:gd name="connsiteX468" fmla="*/ 89497 w 244878"/>
                <a:gd name="connsiteY468" fmla="*/ 55235 h 331822"/>
                <a:gd name="connsiteX469" fmla="*/ 92612 w 244878"/>
                <a:gd name="connsiteY469" fmla="*/ 57159 h 331822"/>
                <a:gd name="connsiteX470" fmla="*/ 99651 w 244878"/>
                <a:gd name="connsiteY470" fmla="*/ 66751 h 331822"/>
                <a:gd name="connsiteX471" fmla="*/ 102003 w 244878"/>
                <a:gd name="connsiteY471" fmla="*/ 68323 h 331822"/>
                <a:gd name="connsiteX472" fmla="*/ 104965 w 244878"/>
                <a:gd name="connsiteY472" fmla="*/ 68818 h 331822"/>
                <a:gd name="connsiteX473" fmla="*/ 100879 w 244878"/>
                <a:gd name="connsiteY473" fmla="*/ 66770 h 331822"/>
                <a:gd name="connsiteX474" fmla="*/ 92345 w 244878"/>
                <a:gd name="connsiteY474" fmla="*/ 55093 h 331822"/>
                <a:gd name="connsiteX475" fmla="*/ 89792 w 244878"/>
                <a:gd name="connsiteY475" fmla="*/ 53645 h 331822"/>
                <a:gd name="connsiteX476" fmla="*/ 85868 w 244878"/>
                <a:gd name="connsiteY476" fmla="*/ 53207 h 331822"/>
                <a:gd name="connsiteX477" fmla="*/ 83420 w 244878"/>
                <a:gd name="connsiteY477" fmla="*/ 52064 h 331822"/>
                <a:gd name="connsiteX478" fmla="*/ 81877 w 244878"/>
                <a:gd name="connsiteY478" fmla="*/ 50292 h 331822"/>
                <a:gd name="connsiteX479" fmla="*/ 81429 w 244878"/>
                <a:gd name="connsiteY479" fmla="*/ 48701 h 331822"/>
                <a:gd name="connsiteX480" fmla="*/ 81515 w 244878"/>
                <a:gd name="connsiteY480" fmla="*/ 36843 h 331822"/>
                <a:gd name="connsiteX481" fmla="*/ 80048 w 244878"/>
                <a:gd name="connsiteY481" fmla="*/ 35071 h 331822"/>
                <a:gd name="connsiteX482" fmla="*/ 78143 w 244878"/>
                <a:gd name="connsiteY482" fmla="*/ 34461 h 331822"/>
                <a:gd name="connsiteX483" fmla="*/ 76952 w 244878"/>
                <a:gd name="connsiteY483" fmla="*/ 35271 h 331822"/>
                <a:gd name="connsiteX484" fmla="*/ 74514 w 244878"/>
                <a:gd name="connsiteY484" fmla="*/ 35280 h 331822"/>
                <a:gd name="connsiteX485" fmla="*/ 74000 w 244878"/>
                <a:gd name="connsiteY485" fmla="*/ 32585 h 331822"/>
                <a:gd name="connsiteX486" fmla="*/ 74600 w 244878"/>
                <a:gd name="connsiteY486" fmla="*/ 30585 h 331822"/>
                <a:gd name="connsiteX487" fmla="*/ 79495 w 244878"/>
                <a:gd name="connsiteY487" fmla="*/ 29213 h 331822"/>
                <a:gd name="connsiteX488" fmla="*/ 82725 w 244878"/>
                <a:gd name="connsiteY488" fmla="*/ 27375 h 331822"/>
                <a:gd name="connsiteX489" fmla="*/ 82867 w 244878"/>
                <a:gd name="connsiteY489" fmla="*/ 24127 h 331822"/>
                <a:gd name="connsiteX490" fmla="*/ 80829 w 244878"/>
                <a:gd name="connsiteY490" fmla="*/ 21564 h 331822"/>
                <a:gd name="connsiteX491" fmla="*/ 78391 w 244878"/>
                <a:gd name="connsiteY491" fmla="*/ 16859 h 331822"/>
                <a:gd name="connsiteX492" fmla="*/ 75524 w 244878"/>
                <a:gd name="connsiteY492" fmla="*/ 12430 h 331822"/>
                <a:gd name="connsiteX493" fmla="*/ 75200 w 244878"/>
                <a:gd name="connsiteY493" fmla="*/ 7268 h 331822"/>
                <a:gd name="connsiteX494" fmla="*/ 75209 w 244878"/>
                <a:gd name="connsiteY494" fmla="*/ 7268 h 331822"/>
                <a:gd name="connsiteX495" fmla="*/ 80200 w 244878"/>
                <a:gd name="connsiteY495" fmla="*/ 7363 h 331822"/>
                <a:gd name="connsiteX496" fmla="*/ 81420 w 244878"/>
                <a:gd name="connsiteY496" fmla="*/ 7563 h 331822"/>
                <a:gd name="connsiteX497" fmla="*/ 88982 w 244878"/>
                <a:gd name="connsiteY497" fmla="*/ 9982 h 331822"/>
                <a:gd name="connsiteX498" fmla="*/ 90830 w 244878"/>
                <a:gd name="connsiteY498" fmla="*/ 11677 h 331822"/>
                <a:gd name="connsiteX499" fmla="*/ 93154 w 244878"/>
                <a:gd name="connsiteY499" fmla="*/ 11754 h 331822"/>
                <a:gd name="connsiteX500" fmla="*/ 97346 w 244878"/>
                <a:gd name="connsiteY500" fmla="*/ 10173 h 331822"/>
                <a:gd name="connsiteX501" fmla="*/ 100479 w 244878"/>
                <a:gd name="connsiteY501" fmla="*/ 9477 h 331822"/>
                <a:gd name="connsiteX502" fmla="*/ 101689 w 244878"/>
                <a:gd name="connsiteY502" fmla="*/ 10458 h 331822"/>
                <a:gd name="connsiteX503" fmla="*/ 103394 w 244878"/>
                <a:gd name="connsiteY503" fmla="*/ 10868 h 331822"/>
                <a:gd name="connsiteX504" fmla="*/ 103775 w 244878"/>
                <a:gd name="connsiteY504" fmla="*/ 10868 h 331822"/>
                <a:gd name="connsiteX505" fmla="*/ 72980 w 244878"/>
                <a:gd name="connsiteY505" fmla="*/ 16059 h 331822"/>
                <a:gd name="connsiteX506" fmla="*/ 71942 w 244878"/>
                <a:gd name="connsiteY506" fmla="*/ 17193 h 331822"/>
                <a:gd name="connsiteX507" fmla="*/ 69390 w 244878"/>
                <a:gd name="connsiteY507" fmla="*/ 17059 h 331822"/>
                <a:gd name="connsiteX508" fmla="*/ 67961 w 244878"/>
                <a:gd name="connsiteY508" fmla="*/ 15992 h 331822"/>
                <a:gd name="connsiteX509" fmla="*/ 68428 w 244878"/>
                <a:gd name="connsiteY509" fmla="*/ 14859 h 331822"/>
                <a:gd name="connsiteX510" fmla="*/ 69780 w 244878"/>
                <a:gd name="connsiteY510" fmla="*/ 13992 h 331822"/>
                <a:gd name="connsiteX511" fmla="*/ 70904 w 244878"/>
                <a:gd name="connsiteY511" fmla="*/ 13859 h 331822"/>
                <a:gd name="connsiteX512" fmla="*/ 72599 w 244878"/>
                <a:gd name="connsiteY512" fmla="*/ 14392 h 331822"/>
                <a:gd name="connsiteX513" fmla="*/ 72980 w 244878"/>
                <a:gd name="connsiteY513" fmla="*/ 16059 h 331822"/>
                <a:gd name="connsiteX514" fmla="*/ 209883 w 244878"/>
                <a:gd name="connsiteY514" fmla="*/ 31223 h 331822"/>
                <a:gd name="connsiteX515" fmla="*/ 210550 w 244878"/>
                <a:gd name="connsiteY515" fmla="*/ 34299 h 331822"/>
                <a:gd name="connsiteX516" fmla="*/ 209836 w 244878"/>
                <a:gd name="connsiteY516" fmla="*/ 35871 h 331822"/>
                <a:gd name="connsiteX517" fmla="*/ 206835 w 244878"/>
                <a:gd name="connsiteY517" fmla="*/ 33261 h 331822"/>
                <a:gd name="connsiteX518" fmla="*/ 203816 w 244878"/>
                <a:gd name="connsiteY518" fmla="*/ 33299 h 331822"/>
                <a:gd name="connsiteX519" fmla="*/ 202016 w 244878"/>
                <a:gd name="connsiteY519" fmla="*/ 37309 h 331822"/>
                <a:gd name="connsiteX520" fmla="*/ 200672 w 244878"/>
                <a:gd name="connsiteY520" fmla="*/ 37481 h 331822"/>
                <a:gd name="connsiteX521" fmla="*/ 196015 w 244878"/>
                <a:gd name="connsiteY521" fmla="*/ 33833 h 331822"/>
                <a:gd name="connsiteX522" fmla="*/ 195262 w 244878"/>
                <a:gd name="connsiteY522" fmla="*/ 32052 h 331822"/>
                <a:gd name="connsiteX523" fmla="*/ 195110 w 244878"/>
                <a:gd name="connsiteY523" fmla="*/ 30566 h 331822"/>
                <a:gd name="connsiteX524" fmla="*/ 195777 w 244878"/>
                <a:gd name="connsiteY524" fmla="*/ 25422 h 331822"/>
                <a:gd name="connsiteX525" fmla="*/ 195653 w 244878"/>
                <a:gd name="connsiteY525" fmla="*/ 23803 h 331822"/>
                <a:gd name="connsiteX526" fmla="*/ 197120 w 244878"/>
                <a:gd name="connsiteY526" fmla="*/ 22031 h 331822"/>
                <a:gd name="connsiteX527" fmla="*/ 197348 w 244878"/>
                <a:gd name="connsiteY527" fmla="*/ 19460 h 331822"/>
                <a:gd name="connsiteX528" fmla="*/ 199930 w 244878"/>
                <a:gd name="connsiteY528" fmla="*/ 16755 h 331822"/>
                <a:gd name="connsiteX529" fmla="*/ 202234 w 244878"/>
                <a:gd name="connsiteY529" fmla="*/ 16650 h 331822"/>
                <a:gd name="connsiteX530" fmla="*/ 202959 w 244878"/>
                <a:gd name="connsiteY530" fmla="*/ 18945 h 331822"/>
                <a:gd name="connsiteX531" fmla="*/ 204063 w 244878"/>
                <a:gd name="connsiteY531" fmla="*/ 20526 h 331822"/>
                <a:gd name="connsiteX532" fmla="*/ 207931 w 244878"/>
                <a:gd name="connsiteY532" fmla="*/ 22298 h 331822"/>
                <a:gd name="connsiteX533" fmla="*/ 208512 w 244878"/>
                <a:gd name="connsiteY533" fmla="*/ 23098 h 331822"/>
                <a:gd name="connsiteX534" fmla="*/ 208864 w 244878"/>
                <a:gd name="connsiteY534" fmla="*/ 24212 h 331822"/>
                <a:gd name="connsiteX535" fmla="*/ 207064 w 244878"/>
                <a:gd name="connsiteY535" fmla="*/ 26384 h 331822"/>
                <a:gd name="connsiteX536" fmla="*/ 206455 w 244878"/>
                <a:gd name="connsiteY536" fmla="*/ 27499 h 331822"/>
                <a:gd name="connsiteX537" fmla="*/ 207026 w 244878"/>
                <a:gd name="connsiteY537" fmla="*/ 29280 h 331822"/>
                <a:gd name="connsiteX538" fmla="*/ 209883 w 244878"/>
                <a:gd name="connsiteY538" fmla="*/ 31223 h 331822"/>
                <a:gd name="connsiteX539" fmla="*/ 145027 w 244878"/>
                <a:gd name="connsiteY539" fmla="*/ 29613 h 331822"/>
                <a:gd name="connsiteX540" fmla="*/ 140922 w 244878"/>
                <a:gd name="connsiteY540" fmla="*/ 29699 h 331822"/>
                <a:gd name="connsiteX541" fmla="*/ 139351 w 244878"/>
                <a:gd name="connsiteY541" fmla="*/ 27870 h 331822"/>
                <a:gd name="connsiteX542" fmla="*/ 137779 w 244878"/>
                <a:gd name="connsiteY542" fmla="*/ 27403 h 331822"/>
                <a:gd name="connsiteX543" fmla="*/ 138627 w 244878"/>
                <a:gd name="connsiteY543" fmla="*/ 25146 h 331822"/>
                <a:gd name="connsiteX544" fmla="*/ 139732 w 244878"/>
                <a:gd name="connsiteY544" fmla="*/ 24317 h 331822"/>
                <a:gd name="connsiteX545" fmla="*/ 143704 w 244878"/>
                <a:gd name="connsiteY545" fmla="*/ 25793 h 331822"/>
                <a:gd name="connsiteX546" fmla="*/ 144951 w 244878"/>
                <a:gd name="connsiteY546" fmla="*/ 28680 h 331822"/>
                <a:gd name="connsiteX547" fmla="*/ 145027 w 244878"/>
                <a:gd name="connsiteY547" fmla="*/ 29613 h 331822"/>
                <a:gd name="connsiteX548" fmla="*/ 223304 w 244878"/>
                <a:gd name="connsiteY548" fmla="*/ 50920 h 331822"/>
                <a:gd name="connsiteX549" fmla="*/ 222952 w 244878"/>
                <a:gd name="connsiteY549" fmla="*/ 52340 h 331822"/>
                <a:gd name="connsiteX550" fmla="*/ 223361 w 244878"/>
                <a:gd name="connsiteY550" fmla="*/ 54521 h 331822"/>
                <a:gd name="connsiteX551" fmla="*/ 222256 w 244878"/>
                <a:gd name="connsiteY551" fmla="*/ 54359 h 331822"/>
                <a:gd name="connsiteX552" fmla="*/ 218942 w 244878"/>
                <a:gd name="connsiteY552" fmla="*/ 54873 h 331822"/>
                <a:gd name="connsiteX553" fmla="*/ 215665 w 244878"/>
                <a:gd name="connsiteY553" fmla="*/ 54150 h 331822"/>
                <a:gd name="connsiteX554" fmla="*/ 215037 w 244878"/>
                <a:gd name="connsiteY554" fmla="*/ 51435 h 331822"/>
                <a:gd name="connsiteX555" fmla="*/ 215560 w 244878"/>
                <a:gd name="connsiteY555" fmla="*/ 48825 h 331822"/>
                <a:gd name="connsiteX556" fmla="*/ 214246 w 244878"/>
                <a:gd name="connsiteY556" fmla="*/ 47025 h 331822"/>
                <a:gd name="connsiteX557" fmla="*/ 213036 w 244878"/>
                <a:gd name="connsiteY557" fmla="*/ 45968 h 331822"/>
                <a:gd name="connsiteX558" fmla="*/ 212855 w 244878"/>
                <a:gd name="connsiteY558" fmla="*/ 44463 h 331822"/>
                <a:gd name="connsiteX559" fmla="*/ 213055 w 244878"/>
                <a:gd name="connsiteY559" fmla="*/ 42891 h 331822"/>
                <a:gd name="connsiteX560" fmla="*/ 218703 w 244878"/>
                <a:gd name="connsiteY560" fmla="*/ 47101 h 331822"/>
                <a:gd name="connsiteX561" fmla="*/ 223304 w 244878"/>
                <a:gd name="connsiteY561" fmla="*/ 50920 h 331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</a:cxnLst>
              <a:rect l="l" t="t" r="r" b="b"/>
              <a:pathLst>
                <a:path w="244878" h="331822">
                  <a:moveTo>
                    <a:pt x="65494" y="12620"/>
                  </a:moveTo>
                  <a:lnTo>
                    <a:pt x="64875" y="13535"/>
                  </a:lnTo>
                  <a:lnTo>
                    <a:pt x="65170" y="6991"/>
                  </a:lnTo>
                  <a:lnTo>
                    <a:pt x="68094" y="0"/>
                  </a:lnTo>
                  <a:lnTo>
                    <a:pt x="69332" y="162"/>
                  </a:lnTo>
                  <a:lnTo>
                    <a:pt x="68066" y="2057"/>
                  </a:lnTo>
                  <a:lnTo>
                    <a:pt x="67694" y="3381"/>
                  </a:lnTo>
                  <a:lnTo>
                    <a:pt x="67180" y="6020"/>
                  </a:lnTo>
                  <a:lnTo>
                    <a:pt x="67408" y="7391"/>
                  </a:lnTo>
                  <a:lnTo>
                    <a:pt x="74085" y="7772"/>
                  </a:lnTo>
                  <a:lnTo>
                    <a:pt x="73304" y="8992"/>
                  </a:lnTo>
                  <a:lnTo>
                    <a:pt x="66532" y="9811"/>
                  </a:lnTo>
                  <a:lnTo>
                    <a:pt x="65494" y="12620"/>
                  </a:lnTo>
                  <a:close/>
                  <a:moveTo>
                    <a:pt x="103775" y="10839"/>
                  </a:moveTo>
                  <a:lnTo>
                    <a:pt x="103937" y="11687"/>
                  </a:lnTo>
                  <a:lnTo>
                    <a:pt x="107852" y="12916"/>
                  </a:lnTo>
                  <a:lnTo>
                    <a:pt x="109499" y="14878"/>
                  </a:lnTo>
                  <a:lnTo>
                    <a:pt x="111328" y="17850"/>
                  </a:lnTo>
                  <a:lnTo>
                    <a:pt x="111509" y="22117"/>
                  </a:lnTo>
                  <a:lnTo>
                    <a:pt x="109166" y="25184"/>
                  </a:lnTo>
                  <a:lnTo>
                    <a:pt x="107223" y="27127"/>
                  </a:lnTo>
                  <a:lnTo>
                    <a:pt x="114567" y="26394"/>
                  </a:lnTo>
                  <a:lnTo>
                    <a:pt x="115300" y="28146"/>
                  </a:lnTo>
                  <a:lnTo>
                    <a:pt x="116414" y="30042"/>
                  </a:lnTo>
                  <a:lnTo>
                    <a:pt x="120367" y="28689"/>
                  </a:lnTo>
                  <a:lnTo>
                    <a:pt x="130292" y="34280"/>
                  </a:lnTo>
                  <a:lnTo>
                    <a:pt x="136293" y="31556"/>
                  </a:lnTo>
                  <a:lnTo>
                    <a:pt x="137827" y="31394"/>
                  </a:lnTo>
                  <a:lnTo>
                    <a:pt x="139189" y="35909"/>
                  </a:lnTo>
                  <a:lnTo>
                    <a:pt x="137693" y="40443"/>
                  </a:lnTo>
                  <a:lnTo>
                    <a:pt x="132407" y="45263"/>
                  </a:lnTo>
                  <a:lnTo>
                    <a:pt x="133578" y="48235"/>
                  </a:lnTo>
                  <a:lnTo>
                    <a:pt x="135274" y="48892"/>
                  </a:lnTo>
                  <a:lnTo>
                    <a:pt x="140256" y="48263"/>
                  </a:lnTo>
                  <a:lnTo>
                    <a:pt x="148152" y="51187"/>
                  </a:lnTo>
                  <a:lnTo>
                    <a:pt x="149800" y="50273"/>
                  </a:lnTo>
                  <a:lnTo>
                    <a:pt x="156200" y="43520"/>
                  </a:lnTo>
                  <a:lnTo>
                    <a:pt x="158763" y="42062"/>
                  </a:lnTo>
                  <a:lnTo>
                    <a:pt x="167183" y="41024"/>
                  </a:lnTo>
                  <a:lnTo>
                    <a:pt x="168716" y="38395"/>
                  </a:lnTo>
                  <a:lnTo>
                    <a:pt x="172126" y="35757"/>
                  </a:lnTo>
                  <a:lnTo>
                    <a:pt x="174317" y="32871"/>
                  </a:lnTo>
                  <a:lnTo>
                    <a:pt x="179584" y="27356"/>
                  </a:lnTo>
                  <a:lnTo>
                    <a:pt x="185033" y="28346"/>
                  </a:lnTo>
                  <a:lnTo>
                    <a:pt x="188214" y="29404"/>
                  </a:lnTo>
                  <a:lnTo>
                    <a:pt x="191700" y="29937"/>
                  </a:lnTo>
                  <a:lnTo>
                    <a:pt x="194872" y="35814"/>
                  </a:lnTo>
                  <a:lnTo>
                    <a:pt x="202911" y="42281"/>
                  </a:lnTo>
                  <a:lnTo>
                    <a:pt x="210293" y="41720"/>
                  </a:lnTo>
                  <a:lnTo>
                    <a:pt x="212912" y="47825"/>
                  </a:lnTo>
                  <a:lnTo>
                    <a:pt x="214074" y="55331"/>
                  </a:lnTo>
                  <a:lnTo>
                    <a:pt x="216341" y="57683"/>
                  </a:lnTo>
                  <a:lnTo>
                    <a:pt x="218332" y="59217"/>
                  </a:lnTo>
                  <a:lnTo>
                    <a:pt x="224342" y="60817"/>
                  </a:lnTo>
                  <a:lnTo>
                    <a:pt x="224580" y="60912"/>
                  </a:lnTo>
                  <a:lnTo>
                    <a:pt x="224780" y="61922"/>
                  </a:lnTo>
                  <a:lnTo>
                    <a:pt x="225152" y="65637"/>
                  </a:lnTo>
                  <a:lnTo>
                    <a:pt x="225657" y="68704"/>
                  </a:lnTo>
                  <a:lnTo>
                    <a:pt x="228753" y="80915"/>
                  </a:lnTo>
                  <a:lnTo>
                    <a:pt x="228695" y="83886"/>
                  </a:lnTo>
                  <a:lnTo>
                    <a:pt x="228657" y="84677"/>
                  </a:lnTo>
                  <a:lnTo>
                    <a:pt x="227524" y="88840"/>
                  </a:lnTo>
                  <a:lnTo>
                    <a:pt x="225514" y="92335"/>
                  </a:lnTo>
                  <a:lnTo>
                    <a:pt x="222856" y="94307"/>
                  </a:lnTo>
                  <a:lnTo>
                    <a:pt x="221390" y="96498"/>
                  </a:lnTo>
                  <a:lnTo>
                    <a:pt x="221123" y="98908"/>
                  </a:lnTo>
                  <a:lnTo>
                    <a:pt x="224466" y="103127"/>
                  </a:lnTo>
                  <a:lnTo>
                    <a:pt x="231429" y="109156"/>
                  </a:lnTo>
                  <a:lnTo>
                    <a:pt x="234239" y="114300"/>
                  </a:lnTo>
                  <a:lnTo>
                    <a:pt x="232915" y="118567"/>
                  </a:lnTo>
                  <a:lnTo>
                    <a:pt x="232515" y="121691"/>
                  </a:lnTo>
                  <a:lnTo>
                    <a:pt x="233029" y="123672"/>
                  </a:lnTo>
                  <a:lnTo>
                    <a:pt x="234144" y="125263"/>
                  </a:lnTo>
                  <a:lnTo>
                    <a:pt x="235858" y="126463"/>
                  </a:lnTo>
                  <a:lnTo>
                    <a:pt x="236544" y="128311"/>
                  </a:lnTo>
                  <a:lnTo>
                    <a:pt x="236191" y="130807"/>
                  </a:lnTo>
                  <a:lnTo>
                    <a:pt x="236515" y="132540"/>
                  </a:lnTo>
                  <a:lnTo>
                    <a:pt x="237801" y="133769"/>
                  </a:lnTo>
                  <a:lnTo>
                    <a:pt x="237677" y="134245"/>
                  </a:lnTo>
                  <a:lnTo>
                    <a:pt x="237058" y="135979"/>
                  </a:lnTo>
                  <a:lnTo>
                    <a:pt x="236210" y="139132"/>
                  </a:lnTo>
                  <a:lnTo>
                    <a:pt x="235725" y="141437"/>
                  </a:lnTo>
                  <a:lnTo>
                    <a:pt x="233763" y="144561"/>
                  </a:lnTo>
                  <a:lnTo>
                    <a:pt x="234363" y="147218"/>
                  </a:lnTo>
                  <a:lnTo>
                    <a:pt x="235896" y="150343"/>
                  </a:lnTo>
                  <a:lnTo>
                    <a:pt x="237068" y="151914"/>
                  </a:lnTo>
                  <a:lnTo>
                    <a:pt x="237439" y="153400"/>
                  </a:lnTo>
                  <a:lnTo>
                    <a:pt x="236696" y="156924"/>
                  </a:lnTo>
                  <a:lnTo>
                    <a:pt x="237068" y="157829"/>
                  </a:lnTo>
                  <a:lnTo>
                    <a:pt x="241916" y="160420"/>
                  </a:lnTo>
                  <a:lnTo>
                    <a:pt x="242706" y="161610"/>
                  </a:lnTo>
                  <a:lnTo>
                    <a:pt x="243173" y="164097"/>
                  </a:lnTo>
                  <a:lnTo>
                    <a:pt x="244878" y="169402"/>
                  </a:lnTo>
                  <a:lnTo>
                    <a:pt x="243469" y="176108"/>
                  </a:lnTo>
                  <a:lnTo>
                    <a:pt x="242230" y="179775"/>
                  </a:lnTo>
                  <a:lnTo>
                    <a:pt x="239468" y="185576"/>
                  </a:lnTo>
                  <a:lnTo>
                    <a:pt x="239335" y="186109"/>
                  </a:lnTo>
                  <a:lnTo>
                    <a:pt x="239020" y="186814"/>
                  </a:lnTo>
                  <a:lnTo>
                    <a:pt x="238192" y="187823"/>
                  </a:lnTo>
                  <a:lnTo>
                    <a:pt x="237039" y="187976"/>
                  </a:lnTo>
                  <a:lnTo>
                    <a:pt x="235296" y="187223"/>
                  </a:lnTo>
                  <a:lnTo>
                    <a:pt x="234105" y="186252"/>
                  </a:lnTo>
                  <a:lnTo>
                    <a:pt x="234381" y="183756"/>
                  </a:lnTo>
                  <a:lnTo>
                    <a:pt x="233610" y="183585"/>
                  </a:lnTo>
                  <a:lnTo>
                    <a:pt x="232658" y="182051"/>
                  </a:lnTo>
                  <a:lnTo>
                    <a:pt x="232286" y="180404"/>
                  </a:lnTo>
                  <a:lnTo>
                    <a:pt x="231258" y="179727"/>
                  </a:lnTo>
                  <a:lnTo>
                    <a:pt x="227514" y="179032"/>
                  </a:lnTo>
                  <a:lnTo>
                    <a:pt x="226238" y="178546"/>
                  </a:lnTo>
                  <a:lnTo>
                    <a:pt x="225257" y="178898"/>
                  </a:lnTo>
                  <a:lnTo>
                    <a:pt x="224523" y="180070"/>
                  </a:lnTo>
                  <a:lnTo>
                    <a:pt x="224990" y="181127"/>
                  </a:lnTo>
                  <a:lnTo>
                    <a:pt x="225685" y="182156"/>
                  </a:lnTo>
                  <a:lnTo>
                    <a:pt x="227762" y="183785"/>
                  </a:lnTo>
                  <a:lnTo>
                    <a:pt x="227552" y="184433"/>
                  </a:lnTo>
                  <a:lnTo>
                    <a:pt x="223076" y="186023"/>
                  </a:lnTo>
                  <a:lnTo>
                    <a:pt x="220265" y="187642"/>
                  </a:lnTo>
                  <a:lnTo>
                    <a:pt x="217646" y="188557"/>
                  </a:lnTo>
                  <a:lnTo>
                    <a:pt x="214979" y="190233"/>
                  </a:lnTo>
                  <a:lnTo>
                    <a:pt x="209712" y="192119"/>
                  </a:lnTo>
                  <a:lnTo>
                    <a:pt x="205845" y="192614"/>
                  </a:lnTo>
                  <a:lnTo>
                    <a:pt x="205045" y="193110"/>
                  </a:lnTo>
                  <a:lnTo>
                    <a:pt x="203606" y="196301"/>
                  </a:lnTo>
                  <a:lnTo>
                    <a:pt x="202635" y="196967"/>
                  </a:lnTo>
                  <a:lnTo>
                    <a:pt x="201692" y="196625"/>
                  </a:lnTo>
                  <a:lnTo>
                    <a:pt x="200987" y="196101"/>
                  </a:lnTo>
                  <a:lnTo>
                    <a:pt x="200092" y="196529"/>
                  </a:lnTo>
                  <a:lnTo>
                    <a:pt x="199158" y="197586"/>
                  </a:lnTo>
                  <a:lnTo>
                    <a:pt x="198177" y="197996"/>
                  </a:lnTo>
                  <a:lnTo>
                    <a:pt x="197330" y="197986"/>
                  </a:lnTo>
                  <a:lnTo>
                    <a:pt x="195815" y="200768"/>
                  </a:lnTo>
                  <a:lnTo>
                    <a:pt x="191414" y="201606"/>
                  </a:lnTo>
                  <a:lnTo>
                    <a:pt x="190900" y="203044"/>
                  </a:lnTo>
                  <a:lnTo>
                    <a:pt x="190090" y="204711"/>
                  </a:lnTo>
                  <a:lnTo>
                    <a:pt x="189443" y="205121"/>
                  </a:lnTo>
                  <a:lnTo>
                    <a:pt x="187462" y="204464"/>
                  </a:lnTo>
                  <a:lnTo>
                    <a:pt x="184709" y="204092"/>
                  </a:lnTo>
                  <a:lnTo>
                    <a:pt x="183127" y="205006"/>
                  </a:lnTo>
                  <a:lnTo>
                    <a:pt x="181232" y="205511"/>
                  </a:lnTo>
                  <a:lnTo>
                    <a:pt x="178918" y="205664"/>
                  </a:lnTo>
                  <a:lnTo>
                    <a:pt x="176336" y="207483"/>
                  </a:lnTo>
                  <a:lnTo>
                    <a:pt x="173822" y="210674"/>
                  </a:lnTo>
                  <a:lnTo>
                    <a:pt x="172412" y="213493"/>
                  </a:lnTo>
                  <a:lnTo>
                    <a:pt x="171650" y="214503"/>
                  </a:lnTo>
                  <a:lnTo>
                    <a:pt x="170421" y="211855"/>
                  </a:lnTo>
                  <a:lnTo>
                    <a:pt x="168916" y="210045"/>
                  </a:lnTo>
                  <a:lnTo>
                    <a:pt x="167849" y="209102"/>
                  </a:lnTo>
                  <a:lnTo>
                    <a:pt x="166897" y="209102"/>
                  </a:lnTo>
                  <a:lnTo>
                    <a:pt x="166649" y="209493"/>
                  </a:lnTo>
                  <a:lnTo>
                    <a:pt x="166649" y="210874"/>
                  </a:lnTo>
                  <a:lnTo>
                    <a:pt x="167669" y="213170"/>
                  </a:lnTo>
                  <a:lnTo>
                    <a:pt x="168926" y="214741"/>
                  </a:lnTo>
                  <a:lnTo>
                    <a:pt x="169126" y="215903"/>
                  </a:lnTo>
                  <a:lnTo>
                    <a:pt x="169802" y="217999"/>
                  </a:lnTo>
                  <a:lnTo>
                    <a:pt x="171640" y="220294"/>
                  </a:lnTo>
                  <a:lnTo>
                    <a:pt x="174517" y="222104"/>
                  </a:lnTo>
                  <a:lnTo>
                    <a:pt x="176479" y="223894"/>
                  </a:lnTo>
                  <a:lnTo>
                    <a:pt x="177937" y="226371"/>
                  </a:lnTo>
                  <a:lnTo>
                    <a:pt x="177946" y="227133"/>
                  </a:lnTo>
                  <a:lnTo>
                    <a:pt x="177546" y="228143"/>
                  </a:lnTo>
                  <a:lnTo>
                    <a:pt x="176860" y="229095"/>
                  </a:lnTo>
                  <a:lnTo>
                    <a:pt x="176279" y="230333"/>
                  </a:lnTo>
                  <a:lnTo>
                    <a:pt x="174679" y="232829"/>
                  </a:lnTo>
                  <a:lnTo>
                    <a:pt x="175155" y="233924"/>
                  </a:lnTo>
                  <a:lnTo>
                    <a:pt x="176460" y="235296"/>
                  </a:lnTo>
                  <a:lnTo>
                    <a:pt x="177613" y="236944"/>
                  </a:lnTo>
                  <a:lnTo>
                    <a:pt x="179098" y="239611"/>
                  </a:lnTo>
                  <a:lnTo>
                    <a:pt x="181137" y="244278"/>
                  </a:lnTo>
                  <a:lnTo>
                    <a:pt x="182451" y="246193"/>
                  </a:lnTo>
                  <a:lnTo>
                    <a:pt x="184242" y="248174"/>
                  </a:lnTo>
                  <a:lnTo>
                    <a:pt x="185994" y="249679"/>
                  </a:lnTo>
                  <a:lnTo>
                    <a:pt x="188757" y="249631"/>
                  </a:lnTo>
                  <a:lnTo>
                    <a:pt x="191614" y="252508"/>
                  </a:lnTo>
                  <a:lnTo>
                    <a:pt x="194738" y="256661"/>
                  </a:lnTo>
                  <a:lnTo>
                    <a:pt x="197072" y="258556"/>
                  </a:lnTo>
                  <a:lnTo>
                    <a:pt x="198701" y="259137"/>
                  </a:lnTo>
                  <a:lnTo>
                    <a:pt x="200054" y="260633"/>
                  </a:lnTo>
                  <a:lnTo>
                    <a:pt x="201244" y="262776"/>
                  </a:lnTo>
                  <a:lnTo>
                    <a:pt x="201711" y="264014"/>
                  </a:lnTo>
                  <a:lnTo>
                    <a:pt x="202768" y="264909"/>
                  </a:lnTo>
                  <a:lnTo>
                    <a:pt x="205626" y="264738"/>
                  </a:lnTo>
                  <a:lnTo>
                    <a:pt x="209302" y="268110"/>
                  </a:lnTo>
                  <a:lnTo>
                    <a:pt x="211569" y="270567"/>
                  </a:lnTo>
                  <a:lnTo>
                    <a:pt x="212769" y="272548"/>
                  </a:lnTo>
                  <a:lnTo>
                    <a:pt x="212455" y="273339"/>
                  </a:lnTo>
                  <a:lnTo>
                    <a:pt x="212302" y="275806"/>
                  </a:lnTo>
                  <a:lnTo>
                    <a:pt x="212341" y="278416"/>
                  </a:lnTo>
                  <a:lnTo>
                    <a:pt x="211979" y="279797"/>
                  </a:lnTo>
                  <a:lnTo>
                    <a:pt x="210340" y="281616"/>
                  </a:lnTo>
                  <a:lnTo>
                    <a:pt x="209493" y="282007"/>
                  </a:lnTo>
                  <a:lnTo>
                    <a:pt x="209036" y="282397"/>
                  </a:lnTo>
                  <a:lnTo>
                    <a:pt x="203997" y="280025"/>
                  </a:lnTo>
                  <a:lnTo>
                    <a:pt x="203597" y="280425"/>
                  </a:lnTo>
                  <a:lnTo>
                    <a:pt x="203283" y="280721"/>
                  </a:lnTo>
                  <a:lnTo>
                    <a:pt x="201930" y="287569"/>
                  </a:lnTo>
                  <a:lnTo>
                    <a:pt x="201006" y="288884"/>
                  </a:lnTo>
                  <a:lnTo>
                    <a:pt x="199615" y="290093"/>
                  </a:lnTo>
                  <a:lnTo>
                    <a:pt x="196739" y="291274"/>
                  </a:lnTo>
                  <a:lnTo>
                    <a:pt x="194738" y="291751"/>
                  </a:lnTo>
                  <a:lnTo>
                    <a:pt x="193176" y="292351"/>
                  </a:lnTo>
                  <a:lnTo>
                    <a:pt x="188233" y="295208"/>
                  </a:lnTo>
                  <a:lnTo>
                    <a:pt x="186014" y="296923"/>
                  </a:lnTo>
                  <a:lnTo>
                    <a:pt x="184575" y="299075"/>
                  </a:lnTo>
                  <a:lnTo>
                    <a:pt x="184566" y="300314"/>
                  </a:lnTo>
                  <a:lnTo>
                    <a:pt x="186966" y="303943"/>
                  </a:lnTo>
                  <a:lnTo>
                    <a:pt x="189738" y="307695"/>
                  </a:lnTo>
                  <a:lnTo>
                    <a:pt x="189747" y="310982"/>
                  </a:lnTo>
                  <a:lnTo>
                    <a:pt x="188528" y="313439"/>
                  </a:lnTo>
                  <a:lnTo>
                    <a:pt x="188243" y="314382"/>
                  </a:lnTo>
                  <a:lnTo>
                    <a:pt x="189062" y="314744"/>
                  </a:lnTo>
                  <a:lnTo>
                    <a:pt x="190595" y="314877"/>
                  </a:lnTo>
                  <a:lnTo>
                    <a:pt x="191881" y="315296"/>
                  </a:lnTo>
                  <a:lnTo>
                    <a:pt x="192424" y="317030"/>
                  </a:lnTo>
                  <a:lnTo>
                    <a:pt x="192262" y="320030"/>
                  </a:lnTo>
                  <a:lnTo>
                    <a:pt x="191824" y="322840"/>
                  </a:lnTo>
                  <a:lnTo>
                    <a:pt x="191367" y="324022"/>
                  </a:lnTo>
                  <a:lnTo>
                    <a:pt x="190128" y="324117"/>
                  </a:lnTo>
                  <a:lnTo>
                    <a:pt x="187747" y="322907"/>
                  </a:lnTo>
                  <a:lnTo>
                    <a:pt x="185890" y="321497"/>
                  </a:lnTo>
                  <a:lnTo>
                    <a:pt x="185175" y="320630"/>
                  </a:lnTo>
                  <a:lnTo>
                    <a:pt x="185137" y="319592"/>
                  </a:lnTo>
                  <a:lnTo>
                    <a:pt x="185538" y="318935"/>
                  </a:lnTo>
                  <a:lnTo>
                    <a:pt x="184880" y="317659"/>
                  </a:lnTo>
                  <a:lnTo>
                    <a:pt x="182594" y="316468"/>
                  </a:lnTo>
                  <a:lnTo>
                    <a:pt x="180146" y="316982"/>
                  </a:lnTo>
                  <a:lnTo>
                    <a:pt x="178346" y="317773"/>
                  </a:lnTo>
                  <a:lnTo>
                    <a:pt x="177174" y="317725"/>
                  </a:lnTo>
                  <a:lnTo>
                    <a:pt x="175917" y="316582"/>
                  </a:lnTo>
                  <a:lnTo>
                    <a:pt x="173974" y="315706"/>
                  </a:lnTo>
                  <a:lnTo>
                    <a:pt x="171440" y="315125"/>
                  </a:lnTo>
                  <a:lnTo>
                    <a:pt x="169859" y="314515"/>
                  </a:lnTo>
                  <a:lnTo>
                    <a:pt x="169526" y="314877"/>
                  </a:lnTo>
                  <a:lnTo>
                    <a:pt x="169707" y="317344"/>
                  </a:lnTo>
                  <a:lnTo>
                    <a:pt x="169221" y="318421"/>
                  </a:lnTo>
                  <a:lnTo>
                    <a:pt x="156686" y="319849"/>
                  </a:lnTo>
                  <a:lnTo>
                    <a:pt x="152867" y="321183"/>
                  </a:lnTo>
                  <a:lnTo>
                    <a:pt x="150085" y="322907"/>
                  </a:lnTo>
                  <a:lnTo>
                    <a:pt x="148028" y="323650"/>
                  </a:lnTo>
                  <a:lnTo>
                    <a:pt x="147523" y="324707"/>
                  </a:lnTo>
                  <a:lnTo>
                    <a:pt x="145485" y="326098"/>
                  </a:lnTo>
                  <a:lnTo>
                    <a:pt x="143189" y="326536"/>
                  </a:lnTo>
                  <a:lnTo>
                    <a:pt x="142627" y="326088"/>
                  </a:lnTo>
                  <a:lnTo>
                    <a:pt x="141151" y="326727"/>
                  </a:lnTo>
                  <a:lnTo>
                    <a:pt x="138636" y="327346"/>
                  </a:lnTo>
                  <a:lnTo>
                    <a:pt x="137008" y="327145"/>
                  </a:lnTo>
                  <a:lnTo>
                    <a:pt x="136236" y="326022"/>
                  </a:lnTo>
                  <a:lnTo>
                    <a:pt x="134683" y="324298"/>
                  </a:lnTo>
                  <a:lnTo>
                    <a:pt x="134055" y="323107"/>
                  </a:lnTo>
                  <a:lnTo>
                    <a:pt x="134121" y="322336"/>
                  </a:lnTo>
                  <a:lnTo>
                    <a:pt x="130607" y="322183"/>
                  </a:lnTo>
                  <a:lnTo>
                    <a:pt x="128397" y="321269"/>
                  </a:lnTo>
                  <a:lnTo>
                    <a:pt x="123692" y="321478"/>
                  </a:lnTo>
                  <a:lnTo>
                    <a:pt x="122529" y="321088"/>
                  </a:lnTo>
                  <a:lnTo>
                    <a:pt x="122291" y="321497"/>
                  </a:lnTo>
                  <a:lnTo>
                    <a:pt x="121586" y="326393"/>
                  </a:lnTo>
                  <a:lnTo>
                    <a:pt x="120653" y="328393"/>
                  </a:lnTo>
                  <a:lnTo>
                    <a:pt x="119148" y="330460"/>
                  </a:lnTo>
                  <a:lnTo>
                    <a:pt x="117215" y="331613"/>
                  </a:lnTo>
                  <a:lnTo>
                    <a:pt x="115681" y="331822"/>
                  </a:lnTo>
                  <a:lnTo>
                    <a:pt x="115748" y="330317"/>
                  </a:lnTo>
                  <a:lnTo>
                    <a:pt x="116138" y="328498"/>
                  </a:lnTo>
                  <a:lnTo>
                    <a:pt x="115024" y="328070"/>
                  </a:lnTo>
                  <a:lnTo>
                    <a:pt x="113357" y="327870"/>
                  </a:lnTo>
                  <a:lnTo>
                    <a:pt x="112557" y="327327"/>
                  </a:lnTo>
                  <a:lnTo>
                    <a:pt x="112766" y="325936"/>
                  </a:lnTo>
                  <a:lnTo>
                    <a:pt x="112376" y="325126"/>
                  </a:lnTo>
                  <a:lnTo>
                    <a:pt x="111690" y="324155"/>
                  </a:lnTo>
                  <a:lnTo>
                    <a:pt x="110014" y="322907"/>
                  </a:lnTo>
                  <a:lnTo>
                    <a:pt x="106470" y="321059"/>
                  </a:lnTo>
                  <a:lnTo>
                    <a:pt x="104061" y="320135"/>
                  </a:lnTo>
                  <a:lnTo>
                    <a:pt x="103156" y="321116"/>
                  </a:lnTo>
                  <a:lnTo>
                    <a:pt x="101432" y="322097"/>
                  </a:lnTo>
                  <a:lnTo>
                    <a:pt x="98717" y="321773"/>
                  </a:lnTo>
                  <a:lnTo>
                    <a:pt x="98050" y="322164"/>
                  </a:lnTo>
                  <a:lnTo>
                    <a:pt x="93393" y="319211"/>
                  </a:lnTo>
                  <a:lnTo>
                    <a:pt x="88925" y="316373"/>
                  </a:lnTo>
                  <a:lnTo>
                    <a:pt x="87449" y="316373"/>
                  </a:lnTo>
                  <a:lnTo>
                    <a:pt x="80867" y="316944"/>
                  </a:lnTo>
                  <a:lnTo>
                    <a:pt x="80677" y="316697"/>
                  </a:lnTo>
                  <a:lnTo>
                    <a:pt x="79524" y="315077"/>
                  </a:lnTo>
                  <a:lnTo>
                    <a:pt x="78514" y="314563"/>
                  </a:lnTo>
                  <a:lnTo>
                    <a:pt x="77905" y="314830"/>
                  </a:lnTo>
                  <a:lnTo>
                    <a:pt x="77495" y="315296"/>
                  </a:lnTo>
                  <a:lnTo>
                    <a:pt x="76790" y="315220"/>
                  </a:lnTo>
                  <a:lnTo>
                    <a:pt x="73838" y="312610"/>
                  </a:lnTo>
                  <a:lnTo>
                    <a:pt x="72628" y="312230"/>
                  </a:lnTo>
                  <a:lnTo>
                    <a:pt x="70952" y="312582"/>
                  </a:lnTo>
                  <a:lnTo>
                    <a:pt x="68971" y="313992"/>
                  </a:lnTo>
                  <a:lnTo>
                    <a:pt x="68104" y="315716"/>
                  </a:lnTo>
                  <a:lnTo>
                    <a:pt x="68370" y="316706"/>
                  </a:lnTo>
                  <a:lnTo>
                    <a:pt x="69390" y="317135"/>
                  </a:lnTo>
                  <a:lnTo>
                    <a:pt x="72085" y="316849"/>
                  </a:lnTo>
                  <a:lnTo>
                    <a:pt x="72476" y="317135"/>
                  </a:lnTo>
                  <a:lnTo>
                    <a:pt x="72571" y="317697"/>
                  </a:lnTo>
                  <a:lnTo>
                    <a:pt x="72276" y="318240"/>
                  </a:lnTo>
                  <a:lnTo>
                    <a:pt x="70094" y="318687"/>
                  </a:lnTo>
                  <a:lnTo>
                    <a:pt x="69466" y="319344"/>
                  </a:lnTo>
                  <a:lnTo>
                    <a:pt x="68827" y="319507"/>
                  </a:lnTo>
                  <a:lnTo>
                    <a:pt x="68418" y="319611"/>
                  </a:lnTo>
                  <a:lnTo>
                    <a:pt x="66094" y="318926"/>
                  </a:lnTo>
                  <a:lnTo>
                    <a:pt x="62636" y="318926"/>
                  </a:lnTo>
                  <a:lnTo>
                    <a:pt x="59845" y="320135"/>
                  </a:lnTo>
                  <a:lnTo>
                    <a:pt x="55388" y="320621"/>
                  </a:lnTo>
                  <a:lnTo>
                    <a:pt x="49263" y="320383"/>
                  </a:lnTo>
                  <a:lnTo>
                    <a:pt x="47063" y="319478"/>
                  </a:lnTo>
                  <a:lnTo>
                    <a:pt x="45720" y="318935"/>
                  </a:lnTo>
                  <a:lnTo>
                    <a:pt x="44748" y="316268"/>
                  </a:lnTo>
                  <a:lnTo>
                    <a:pt x="44996" y="312315"/>
                  </a:lnTo>
                  <a:lnTo>
                    <a:pt x="46453" y="307067"/>
                  </a:lnTo>
                  <a:lnTo>
                    <a:pt x="46863" y="303209"/>
                  </a:lnTo>
                  <a:lnTo>
                    <a:pt x="46215" y="300752"/>
                  </a:lnTo>
                  <a:lnTo>
                    <a:pt x="47082" y="297056"/>
                  </a:lnTo>
                  <a:lnTo>
                    <a:pt x="49463" y="292122"/>
                  </a:lnTo>
                  <a:lnTo>
                    <a:pt x="51054" y="286912"/>
                  </a:lnTo>
                  <a:lnTo>
                    <a:pt x="51845" y="281407"/>
                  </a:lnTo>
                  <a:lnTo>
                    <a:pt x="52997" y="277816"/>
                  </a:lnTo>
                  <a:lnTo>
                    <a:pt x="55264" y="275291"/>
                  </a:lnTo>
                  <a:lnTo>
                    <a:pt x="60646" y="268224"/>
                  </a:lnTo>
                  <a:lnTo>
                    <a:pt x="61084" y="267691"/>
                  </a:lnTo>
                  <a:lnTo>
                    <a:pt x="60931" y="264157"/>
                  </a:lnTo>
                  <a:lnTo>
                    <a:pt x="59484" y="263652"/>
                  </a:lnTo>
                  <a:lnTo>
                    <a:pt x="57360" y="262633"/>
                  </a:lnTo>
                  <a:lnTo>
                    <a:pt x="51959" y="261375"/>
                  </a:lnTo>
                  <a:lnTo>
                    <a:pt x="46930" y="260566"/>
                  </a:lnTo>
                  <a:lnTo>
                    <a:pt x="44643" y="259566"/>
                  </a:lnTo>
                  <a:lnTo>
                    <a:pt x="42643" y="256889"/>
                  </a:lnTo>
                  <a:lnTo>
                    <a:pt x="41405" y="256851"/>
                  </a:lnTo>
                  <a:lnTo>
                    <a:pt x="38976" y="257813"/>
                  </a:lnTo>
                  <a:lnTo>
                    <a:pt x="35947" y="258461"/>
                  </a:lnTo>
                  <a:lnTo>
                    <a:pt x="33737" y="257899"/>
                  </a:lnTo>
                  <a:lnTo>
                    <a:pt x="32356" y="258004"/>
                  </a:lnTo>
                  <a:lnTo>
                    <a:pt x="31585" y="258499"/>
                  </a:lnTo>
                  <a:lnTo>
                    <a:pt x="31194" y="258061"/>
                  </a:lnTo>
                  <a:lnTo>
                    <a:pt x="30642" y="255765"/>
                  </a:lnTo>
                  <a:lnTo>
                    <a:pt x="29489" y="255165"/>
                  </a:lnTo>
                  <a:lnTo>
                    <a:pt x="27699" y="254632"/>
                  </a:lnTo>
                  <a:lnTo>
                    <a:pt x="26584" y="254860"/>
                  </a:lnTo>
                  <a:lnTo>
                    <a:pt x="25813" y="256003"/>
                  </a:lnTo>
                  <a:lnTo>
                    <a:pt x="24622" y="256804"/>
                  </a:lnTo>
                  <a:lnTo>
                    <a:pt x="23536" y="256546"/>
                  </a:lnTo>
                  <a:lnTo>
                    <a:pt x="20117" y="251231"/>
                  </a:lnTo>
                  <a:lnTo>
                    <a:pt x="19240" y="250050"/>
                  </a:lnTo>
                  <a:lnTo>
                    <a:pt x="19021" y="248964"/>
                  </a:lnTo>
                  <a:lnTo>
                    <a:pt x="18164" y="246983"/>
                  </a:lnTo>
                  <a:lnTo>
                    <a:pt x="16126" y="245002"/>
                  </a:lnTo>
                  <a:lnTo>
                    <a:pt x="14097" y="244373"/>
                  </a:lnTo>
                  <a:lnTo>
                    <a:pt x="13087" y="244592"/>
                  </a:lnTo>
                  <a:lnTo>
                    <a:pt x="13202" y="242135"/>
                  </a:lnTo>
                  <a:lnTo>
                    <a:pt x="13992" y="238563"/>
                  </a:lnTo>
                  <a:lnTo>
                    <a:pt x="14754" y="236696"/>
                  </a:lnTo>
                  <a:lnTo>
                    <a:pt x="15764" y="235172"/>
                  </a:lnTo>
                  <a:lnTo>
                    <a:pt x="16840" y="234105"/>
                  </a:lnTo>
                  <a:lnTo>
                    <a:pt x="17078" y="232181"/>
                  </a:lnTo>
                  <a:lnTo>
                    <a:pt x="16907" y="230362"/>
                  </a:lnTo>
                  <a:lnTo>
                    <a:pt x="15669" y="230076"/>
                  </a:lnTo>
                  <a:lnTo>
                    <a:pt x="12563" y="228733"/>
                  </a:lnTo>
                  <a:lnTo>
                    <a:pt x="10725" y="227314"/>
                  </a:lnTo>
                  <a:lnTo>
                    <a:pt x="9363" y="225533"/>
                  </a:lnTo>
                  <a:lnTo>
                    <a:pt x="7572" y="223085"/>
                  </a:lnTo>
                  <a:lnTo>
                    <a:pt x="6810" y="220589"/>
                  </a:lnTo>
                  <a:lnTo>
                    <a:pt x="6772" y="218103"/>
                  </a:lnTo>
                  <a:lnTo>
                    <a:pt x="6982" y="216989"/>
                  </a:lnTo>
                  <a:lnTo>
                    <a:pt x="7115" y="216217"/>
                  </a:lnTo>
                  <a:lnTo>
                    <a:pt x="8553" y="212331"/>
                  </a:lnTo>
                  <a:lnTo>
                    <a:pt x="13621" y="208845"/>
                  </a:lnTo>
                  <a:lnTo>
                    <a:pt x="13059" y="205330"/>
                  </a:lnTo>
                  <a:lnTo>
                    <a:pt x="12983" y="203168"/>
                  </a:lnTo>
                  <a:lnTo>
                    <a:pt x="11754" y="201758"/>
                  </a:lnTo>
                  <a:lnTo>
                    <a:pt x="9296" y="201187"/>
                  </a:lnTo>
                  <a:lnTo>
                    <a:pt x="8649" y="200206"/>
                  </a:lnTo>
                  <a:lnTo>
                    <a:pt x="8372" y="199244"/>
                  </a:lnTo>
                  <a:lnTo>
                    <a:pt x="10173" y="197082"/>
                  </a:lnTo>
                  <a:lnTo>
                    <a:pt x="7991" y="195377"/>
                  </a:lnTo>
                  <a:lnTo>
                    <a:pt x="7001" y="193691"/>
                  </a:lnTo>
                  <a:lnTo>
                    <a:pt x="3972" y="191462"/>
                  </a:lnTo>
                  <a:lnTo>
                    <a:pt x="3648" y="190690"/>
                  </a:lnTo>
                  <a:lnTo>
                    <a:pt x="5105" y="184166"/>
                  </a:lnTo>
                  <a:lnTo>
                    <a:pt x="3991" y="182261"/>
                  </a:lnTo>
                  <a:lnTo>
                    <a:pt x="2610" y="181289"/>
                  </a:lnTo>
                  <a:lnTo>
                    <a:pt x="1000" y="180813"/>
                  </a:lnTo>
                  <a:lnTo>
                    <a:pt x="257" y="179908"/>
                  </a:lnTo>
                  <a:lnTo>
                    <a:pt x="0" y="178870"/>
                  </a:lnTo>
                  <a:lnTo>
                    <a:pt x="286" y="178232"/>
                  </a:lnTo>
                  <a:lnTo>
                    <a:pt x="2181" y="178422"/>
                  </a:lnTo>
                  <a:lnTo>
                    <a:pt x="2772" y="177746"/>
                  </a:lnTo>
                  <a:lnTo>
                    <a:pt x="7286" y="173898"/>
                  </a:lnTo>
                  <a:lnTo>
                    <a:pt x="7477" y="173155"/>
                  </a:lnTo>
                  <a:lnTo>
                    <a:pt x="6848" y="172736"/>
                  </a:lnTo>
                  <a:lnTo>
                    <a:pt x="6029" y="172517"/>
                  </a:lnTo>
                  <a:lnTo>
                    <a:pt x="5820" y="171707"/>
                  </a:lnTo>
                  <a:lnTo>
                    <a:pt x="5848" y="170640"/>
                  </a:lnTo>
                  <a:lnTo>
                    <a:pt x="8258" y="165068"/>
                  </a:lnTo>
                  <a:lnTo>
                    <a:pt x="8972" y="162687"/>
                  </a:lnTo>
                  <a:lnTo>
                    <a:pt x="9134" y="161001"/>
                  </a:lnTo>
                  <a:lnTo>
                    <a:pt x="8982" y="159334"/>
                  </a:lnTo>
                  <a:lnTo>
                    <a:pt x="7591" y="156715"/>
                  </a:lnTo>
                  <a:lnTo>
                    <a:pt x="6248" y="154619"/>
                  </a:lnTo>
                  <a:lnTo>
                    <a:pt x="6201" y="152952"/>
                  </a:lnTo>
                  <a:lnTo>
                    <a:pt x="5220" y="152076"/>
                  </a:lnTo>
                  <a:lnTo>
                    <a:pt x="2438" y="147590"/>
                  </a:lnTo>
                  <a:lnTo>
                    <a:pt x="2438" y="145856"/>
                  </a:lnTo>
                  <a:lnTo>
                    <a:pt x="4010" y="144504"/>
                  </a:lnTo>
                  <a:lnTo>
                    <a:pt x="6210" y="143646"/>
                  </a:lnTo>
                  <a:lnTo>
                    <a:pt x="6944" y="142932"/>
                  </a:lnTo>
                  <a:lnTo>
                    <a:pt x="8258" y="142484"/>
                  </a:lnTo>
                  <a:lnTo>
                    <a:pt x="11754" y="143780"/>
                  </a:lnTo>
                  <a:lnTo>
                    <a:pt x="13316" y="144904"/>
                  </a:lnTo>
                  <a:lnTo>
                    <a:pt x="13754" y="144675"/>
                  </a:lnTo>
                  <a:lnTo>
                    <a:pt x="15164" y="143456"/>
                  </a:lnTo>
                  <a:lnTo>
                    <a:pt x="17640" y="143646"/>
                  </a:lnTo>
                  <a:lnTo>
                    <a:pt x="23631" y="141189"/>
                  </a:lnTo>
                  <a:lnTo>
                    <a:pt x="24527" y="140008"/>
                  </a:lnTo>
                  <a:lnTo>
                    <a:pt x="25194" y="138751"/>
                  </a:lnTo>
                  <a:lnTo>
                    <a:pt x="25251" y="138198"/>
                  </a:lnTo>
                  <a:lnTo>
                    <a:pt x="22927" y="135769"/>
                  </a:lnTo>
                  <a:lnTo>
                    <a:pt x="22860" y="134874"/>
                  </a:lnTo>
                  <a:lnTo>
                    <a:pt x="23165" y="133864"/>
                  </a:lnTo>
                  <a:lnTo>
                    <a:pt x="23822" y="133064"/>
                  </a:lnTo>
                  <a:lnTo>
                    <a:pt x="25194" y="132521"/>
                  </a:lnTo>
                  <a:lnTo>
                    <a:pt x="26651" y="131454"/>
                  </a:lnTo>
                  <a:lnTo>
                    <a:pt x="29918" y="128426"/>
                  </a:lnTo>
                  <a:lnTo>
                    <a:pt x="31051" y="125797"/>
                  </a:lnTo>
                  <a:lnTo>
                    <a:pt x="31404" y="122939"/>
                  </a:lnTo>
                  <a:lnTo>
                    <a:pt x="31470" y="120805"/>
                  </a:lnTo>
                  <a:lnTo>
                    <a:pt x="30575" y="119110"/>
                  </a:lnTo>
                  <a:lnTo>
                    <a:pt x="29670" y="118015"/>
                  </a:lnTo>
                  <a:lnTo>
                    <a:pt x="28442" y="118186"/>
                  </a:lnTo>
                  <a:lnTo>
                    <a:pt x="26051" y="118100"/>
                  </a:lnTo>
                  <a:lnTo>
                    <a:pt x="23813" y="117148"/>
                  </a:lnTo>
                  <a:lnTo>
                    <a:pt x="22584" y="115605"/>
                  </a:lnTo>
                  <a:lnTo>
                    <a:pt x="22279" y="114252"/>
                  </a:lnTo>
                  <a:lnTo>
                    <a:pt x="22841" y="113395"/>
                  </a:lnTo>
                  <a:lnTo>
                    <a:pt x="23012" y="112347"/>
                  </a:lnTo>
                  <a:lnTo>
                    <a:pt x="22650" y="111290"/>
                  </a:lnTo>
                  <a:lnTo>
                    <a:pt x="22793" y="110404"/>
                  </a:lnTo>
                  <a:lnTo>
                    <a:pt x="23803" y="109690"/>
                  </a:lnTo>
                  <a:lnTo>
                    <a:pt x="30880" y="109709"/>
                  </a:lnTo>
                  <a:lnTo>
                    <a:pt x="31413" y="108928"/>
                  </a:lnTo>
                  <a:lnTo>
                    <a:pt x="31890" y="104813"/>
                  </a:lnTo>
                  <a:lnTo>
                    <a:pt x="33661" y="98536"/>
                  </a:lnTo>
                  <a:lnTo>
                    <a:pt x="35328" y="95031"/>
                  </a:lnTo>
                  <a:lnTo>
                    <a:pt x="35605" y="93554"/>
                  </a:lnTo>
                  <a:lnTo>
                    <a:pt x="35576" y="85220"/>
                  </a:lnTo>
                  <a:lnTo>
                    <a:pt x="35805" y="80981"/>
                  </a:lnTo>
                  <a:lnTo>
                    <a:pt x="34595" y="78991"/>
                  </a:lnTo>
                  <a:lnTo>
                    <a:pt x="31956" y="76810"/>
                  </a:lnTo>
                  <a:lnTo>
                    <a:pt x="32518" y="72257"/>
                  </a:lnTo>
                  <a:lnTo>
                    <a:pt x="33394" y="68694"/>
                  </a:lnTo>
                  <a:lnTo>
                    <a:pt x="36052" y="64313"/>
                  </a:lnTo>
                  <a:lnTo>
                    <a:pt x="38157" y="63112"/>
                  </a:lnTo>
                  <a:lnTo>
                    <a:pt x="47349" y="62398"/>
                  </a:lnTo>
                  <a:lnTo>
                    <a:pt x="57502" y="62694"/>
                  </a:lnTo>
                  <a:lnTo>
                    <a:pt x="61722" y="69313"/>
                  </a:lnTo>
                  <a:lnTo>
                    <a:pt x="60160" y="72704"/>
                  </a:lnTo>
                  <a:lnTo>
                    <a:pt x="62627" y="74285"/>
                  </a:lnTo>
                  <a:lnTo>
                    <a:pt x="63817" y="73705"/>
                  </a:lnTo>
                  <a:lnTo>
                    <a:pt x="64722" y="70751"/>
                  </a:lnTo>
                  <a:lnTo>
                    <a:pt x="65322" y="67475"/>
                  </a:lnTo>
                  <a:lnTo>
                    <a:pt x="66189" y="66484"/>
                  </a:lnTo>
                  <a:lnTo>
                    <a:pt x="69332" y="68932"/>
                  </a:lnTo>
                  <a:lnTo>
                    <a:pt x="70437" y="70609"/>
                  </a:lnTo>
                  <a:lnTo>
                    <a:pt x="70504" y="75981"/>
                  </a:lnTo>
                  <a:lnTo>
                    <a:pt x="71666" y="68694"/>
                  </a:lnTo>
                  <a:lnTo>
                    <a:pt x="70799" y="63579"/>
                  </a:lnTo>
                  <a:lnTo>
                    <a:pt x="71390" y="58607"/>
                  </a:lnTo>
                  <a:lnTo>
                    <a:pt x="72657" y="56016"/>
                  </a:lnTo>
                  <a:lnTo>
                    <a:pt x="73819" y="54368"/>
                  </a:lnTo>
                  <a:lnTo>
                    <a:pt x="81267" y="56150"/>
                  </a:lnTo>
                  <a:lnTo>
                    <a:pt x="89497" y="55235"/>
                  </a:lnTo>
                  <a:lnTo>
                    <a:pt x="92612" y="57159"/>
                  </a:lnTo>
                  <a:lnTo>
                    <a:pt x="99651" y="66751"/>
                  </a:lnTo>
                  <a:lnTo>
                    <a:pt x="102003" y="68323"/>
                  </a:lnTo>
                  <a:lnTo>
                    <a:pt x="104965" y="68818"/>
                  </a:lnTo>
                  <a:lnTo>
                    <a:pt x="100879" y="66770"/>
                  </a:lnTo>
                  <a:lnTo>
                    <a:pt x="92345" y="55093"/>
                  </a:lnTo>
                  <a:lnTo>
                    <a:pt x="89792" y="53645"/>
                  </a:lnTo>
                  <a:lnTo>
                    <a:pt x="85868" y="53207"/>
                  </a:lnTo>
                  <a:lnTo>
                    <a:pt x="83420" y="52064"/>
                  </a:lnTo>
                  <a:lnTo>
                    <a:pt x="81877" y="50292"/>
                  </a:lnTo>
                  <a:lnTo>
                    <a:pt x="81429" y="48701"/>
                  </a:lnTo>
                  <a:lnTo>
                    <a:pt x="81515" y="36843"/>
                  </a:lnTo>
                  <a:lnTo>
                    <a:pt x="80048" y="35071"/>
                  </a:lnTo>
                  <a:lnTo>
                    <a:pt x="78143" y="34461"/>
                  </a:lnTo>
                  <a:lnTo>
                    <a:pt x="76952" y="35271"/>
                  </a:lnTo>
                  <a:lnTo>
                    <a:pt x="74514" y="35280"/>
                  </a:lnTo>
                  <a:lnTo>
                    <a:pt x="74000" y="32585"/>
                  </a:lnTo>
                  <a:lnTo>
                    <a:pt x="74600" y="30585"/>
                  </a:lnTo>
                  <a:lnTo>
                    <a:pt x="79495" y="29213"/>
                  </a:lnTo>
                  <a:lnTo>
                    <a:pt x="82725" y="27375"/>
                  </a:lnTo>
                  <a:lnTo>
                    <a:pt x="82867" y="24127"/>
                  </a:lnTo>
                  <a:lnTo>
                    <a:pt x="80829" y="21564"/>
                  </a:lnTo>
                  <a:lnTo>
                    <a:pt x="78391" y="16859"/>
                  </a:lnTo>
                  <a:lnTo>
                    <a:pt x="75524" y="12430"/>
                  </a:lnTo>
                  <a:lnTo>
                    <a:pt x="75200" y="7268"/>
                  </a:lnTo>
                  <a:lnTo>
                    <a:pt x="75209" y="7268"/>
                  </a:lnTo>
                  <a:lnTo>
                    <a:pt x="80200" y="7363"/>
                  </a:lnTo>
                  <a:lnTo>
                    <a:pt x="81420" y="7563"/>
                  </a:lnTo>
                  <a:lnTo>
                    <a:pt x="88982" y="9982"/>
                  </a:lnTo>
                  <a:lnTo>
                    <a:pt x="90830" y="11677"/>
                  </a:lnTo>
                  <a:lnTo>
                    <a:pt x="93154" y="11754"/>
                  </a:lnTo>
                  <a:lnTo>
                    <a:pt x="97346" y="10173"/>
                  </a:lnTo>
                  <a:lnTo>
                    <a:pt x="100479" y="9477"/>
                  </a:lnTo>
                  <a:lnTo>
                    <a:pt x="101689" y="10458"/>
                  </a:lnTo>
                  <a:lnTo>
                    <a:pt x="103394" y="10868"/>
                  </a:lnTo>
                  <a:lnTo>
                    <a:pt x="103775" y="10868"/>
                  </a:lnTo>
                  <a:close/>
                  <a:moveTo>
                    <a:pt x="72980" y="16059"/>
                  </a:moveTo>
                  <a:lnTo>
                    <a:pt x="71942" y="17193"/>
                  </a:lnTo>
                  <a:lnTo>
                    <a:pt x="69390" y="17059"/>
                  </a:lnTo>
                  <a:lnTo>
                    <a:pt x="67961" y="15992"/>
                  </a:lnTo>
                  <a:lnTo>
                    <a:pt x="68428" y="14859"/>
                  </a:lnTo>
                  <a:lnTo>
                    <a:pt x="69780" y="13992"/>
                  </a:lnTo>
                  <a:lnTo>
                    <a:pt x="70904" y="13859"/>
                  </a:lnTo>
                  <a:lnTo>
                    <a:pt x="72599" y="14392"/>
                  </a:lnTo>
                  <a:lnTo>
                    <a:pt x="72980" y="16059"/>
                  </a:lnTo>
                  <a:close/>
                  <a:moveTo>
                    <a:pt x="209883" y="31223"/>
                  </a:moveTo>
                  <a:lnTo>
                    <a:pt x="210550" y="34299"/>
                  </a:lnTo>
                  <a:lnTo>
                    <a:pt x="209836" y="35871"/>
                  </a:lnTo>
                  <a:lnTo>
                    <a:pt x="206835" y="33261"/>
                  </a:lnTo>
                  <a:lnTo>
                    <a:pt x="203816" y="33299"/>
                  </a:lnTo>
                  <a:lnTo>
                    <a:pt x="202016" y="37309"/>
                  </a:lnTo>
                  <a:lnTo>
                    <a:pt x="200672" y="37481"/>
                  </a:lnTo>
                  <a:lnTo>
                    <a:pt x="196015" y="33833"/>
                  </a:lnTo>
                  <a:lnTo>
                    <a:pt x="195262" y="32052"/>
                  </a:lnTo>
                  <a:lnTo>
                    <a:pt x="195110" y="30566"/>
                  </a:lnTo>
                  <a:lnTo>
                    <a:pt x="195777" y="25422"/>
                  </a:lnTo>
                  <a:lnTo>
                    <a:pt x="195653" y="23803"/>
                  </a:lnTo>
                  <a:lnTo>
                    <a:pt x="197120" y="22031"/>
                  </a:lnTo>
                  <a:lnTo>
                    <a:pt x="197348" y="19460"/>
                  </a:lnTo>
                  <a:lnTo>
                    <a:pt x="199930" y="16755"/>
                  </a:lnTo>
                  <a:lnTo>
                    <a:pt x="202234" y="16650"/>
                  </a:lnTo>
                  <a:lnTo>
                    <a:pt x="202959" y="18945"/>
                  </a:lnTo>
                  <a:lnTo>
                    <a:pt x="204063" y="20526"/>
                  </a:lnTo>
                  <a:lnTo>
                    <a:pt x="207931" y="22298"/>
                  </a:lnTo>
                  <a:lnTo>
                    <a:pt x="208512" y="23098"/>
                  </a:lnTo>
                  <a:lnTo>
                    <a:pt x="208864" y="24212"/>
                  </a:lnTo>
                  <a:lnTo>
                    <a:pt x="207064" y="26384"/>
                  </a:lnTo>
                  <a:lnTo>
                    <a:pt x="206455" y="27499"/>
                  </a:lnTo>
                  <a:lnTo>
                    <a:pt x="207026" y="29280"/>
                  </a:lnTo>
                  <a:lnTo>
                    <a:pt x="209883" y="31223"/>
                  </a:lnTo>
                  <a:close/>
                  <a:moveTo>
                    <a:pt x="145027" y="29613"/>
                  </a:moveTo>
                  <a:lnTo>
                    <a:pt x="140922" y="29699"/>
                  </a:lnTo>
                  <a:lnTo>
                    <a:pt x="139351" y="27870"/>
                  </a:lnTo>
                  <a:lnTo>
                    <a:pt x="137779" y="27403"/>
                  </a:lnTo>
                  <a:lnTo>
                    <a:pt x="138627" y="25146"/>
                  </a:lnTo>
                  <a:lnTo>
                    <a:pt x="139732" y="24317"/>
                  </a:lnTo>
                  <a:lnTo>
                    <a:pt x="143704" y="25793"/>
                  </a:lnTo>
                  <a:lnTo>
                    <a:pt x="144951" y="28680"/>
                  </a:lnTo>
                  <a:lnTo>
                    <a:pt x="145027" y="29613"/>
                  </a:lnTo>
                  <a:close/>
                  <a:moveTo>
                    <a:pt x="223304" y="50920"/>
                  </a:moveTo>
                  <a:lnTo>
                    <a:pt x="222952" y="52340"/>
                  </a:lnTo>
                  <a:lnTo>
                    <a:pt x="223361" y="54521"/>
                  </a:lnTo>
                  <a:lnTo>
                    <a:pt x="222256" y="54359"/>
                  </a:lnTo>
                  <a:lnTo>
                    <a:pt x="218942" y="54873"/>
                  </a:lnTo>
                  <a:lnTo>
                    <a:pt x="215665" y="54150"/>
                  </a:lnTo>
                  <a:lnTo>
                    <a:pt x="215037" y="51435"/>
                  </a:lnTo>
                  <a:lnTo>
                    <a:pt x="215560" y="48825"/>
                  </a:lnTo>
                  <a:lnTo>
                    <a:pt x="214246" y="47025"/>
                  </a:lnTo>
                  <a:lnTo>
                    <a:pt x="213036" y="45968"/>
                  </a:lnTo>
                  <a:lnTo>
                    <a:pt x="212855" y="44463"/>
                  </a:lnTo>
                  <a:lnTo>
                    <a:pt x="213055" y="42891"/>
                  </a:lnTo>
                  <a:lnTo>
                    <a:pt x="218703" y="47101"/>
                  </a:lnTo>
                  <a:lnTo>
                    <a:pt x="223304" y="50920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" name="Forme libre : forme 15">
              <a:extLst>
                <a:ext uri="{FF2B5EF4-FFF2-40B4-BE49-F238E27FC236}">
                  <a16:creationId xmlns:a16="http://schemas.microsoft.com/office/drawing/2014/main" id="{91F6C050-A8C3-9407-F5D2-91BADE91C2C8}"/>
                </a:ext>
              </a:extLst>
            </p:cNvPr>
            <p:cNvSpPr/>
            <p:nvPr/>
          </p:nvSpPr>
          <p:spPr>
            <a:xfrm>
              <a:off x="5791859" y="3584347"/>
              <a:ext cx="488925" cy="373899"/>
            </a:xfrm>
            <a:custGeom>
              <a:avLst/>
              <a:gdLst>
                <a:gd name="connsiteX0" fmla="*/ 43272 w 187556"/>
                <a:gd name="connsiteY0" fmla="*/ 139951 h 149037"/>
                <a:gd name="connsiteX1" fmla="*/ 42872 w 187556"/>
                <a:gd name="connsiteY1" fmla="*/ 139951 h 149037"/>
                <a:gd name="connsiteX2" fmla="*/ 41167 w 187556"/>
                <a:gd name="connsiteY2" fmla="*/ 139541 h 149037"/>
                <a:gd name="connsiteX3" fmla="*/ 39957 w 187556"/>
                <a:gd name="connsiteY3" fmla="*/ 138560 h 149037"/>
                <a:gd name="connsiteX4" fmla="*/ 36824 w 187556"/>
                <a:gd name="connsiteY4" fmla="*/ 139256 h 149037"/>
                <a:gd name="connsiteX5" fmla="*/ 32633 w 187556"/>
                <a:gd name="connsiteY5" fmla="*/ 140837 h 149037"/>
                <a:gd name="connsiteX6" fmla="*/ 30309 w 187556"/>
                <a:gd name="connsiteY6" fmla="*/ 140761 h 149037"/>
                <a:gd name="connsiteX7" fmla="*/ 28461 w 187556"/>
                <a:gd name="connsiteY7" fmla="*/ 139065 h 149037"/>
                <a:gd name="connsiteX8" fmla="*/ 20898 w 187556"/>
                <a:gd name="connsiteY8" fmla="*/ 136646 h 149037"/>
                <a:gd name="connsiteX9" fmla="*/ 19679 w 187556"/>
                <a:gd name="connsiteY9" fmla="*/ 136446 h 149037"/>
                <a:gd name="connsiteX10" fmla="*/ 14687 w 187556"/>
                <a:gd name="connsiteY10" fmla="*/ 136350 h 149037"/>
                <a:gd name="connsiteX11" fmla="*/ 14678 w 187556"/>
                <a:gd name="connsiteY11" fmla="*/ 136350 h 149037"/>
                <a:gd name="connsiteX12" fmla="*/ 14440 w 187556"/>
                <a:gd name="connsiteY12" fmla="*/ 132522 h 149037"/>
                <a:gd name="connsiteX13" fmla="*/ 13821 w 187556"/>
                <a:gd name="connsiteY13" fmla="*/ 129750 h 149037"/>
                <a:gd name="connsiteX14" fmla="*/ 12068 w 187556"/>
                <a:gd name="connsiteY14" fmla="*/ 125616 h 149037"/>
                <a:gd name="connsiteX15" fmla="*/ 14659 w 187556"/>
                <a:gd name="connsiteY15" fmla="*/ 124616 h 149037"/>
                <a:gd name="connsiteX16" fmla="*/ 14154 w 187556"/>
                <a:gd name="connsiteY16" fmla="*/ 116519 h 149037"/>
                <a:gd name="connsiteX17" fmla="*/ 13211 w 187556"/>
                <a:gd name="connsiteY17" fmla="*/ 112319 h 149037"/>
                <a:gd name="connsiteX18" fmla="*/ 5982 w 187556"/>
                <a:gd name="connsiteY18" fmla="*/ 107985 h 149037"/>
                <a:gd name="connsiteX19" fmla="*/ 286 w 187556"/>
                <a:gd name="connsiteY19" fmla="*/ 103765 h 149037"/>
                <a:gd name="connsiteX20" fmla="*/ 1600 w 187556"/>
                <a:gd name="connsiteY20" fmla="*/ 89478 h 149037"/>
                <a:gd name="connsiteX21" fmla="*/ 2162 w 187556"/>
                <a:gd name="connsiteY21" fmla="*/ 85611 h 149037"/>
                <a:gd name="connsiteX22" fmla="*/ 0 w 187556"/>
                <a:gd name="connsiteY22" fmla="*/ 78086 h 149037"/>
                <a:gd name="connsiteX23" fmla="*/ 229 w 187556"/>
                <a:gd name="connsiteY23" fmla="*/ 69380 h 149037"/>
                <a:gd name="connsiteX24" fmla="*/ 1143 w 187556"/>
                <a:gd name="connsiteY24" fmla="*/ 55588 h 149037"/>
                <a:gd name="connsiteX25" fmla="*/ 2953 w 187556"/>
                <a:gd name="connsiteY25" fmla="*/ 55045 h 149037"/>
                <a:gd name="connsiteX26" fmla="*/ 4286 w 187556"/>
                <a:gd name="connsiteY26" fmla="*/ 55112 h 149037"/>
                <a:gd name="connsiteX27" fmla="*/ 9411 w 187556"/>
                <a:gd name="connsiteY27" fmla="*/ 57598 h 149037"/>
                <a:gd name="connsiteX28" fmla="*/ 11544 w 187556"/>
                <a:gd name="connsiteY28" fmla="*/ 57846 h 149037"/>
                <a:gd name="connsiteX29" fmla="*/ 13011 w 187556"/>
                <a:gd name="connsiteY29" fmla="*/ 60065 h 149037"/>
                <a:gd name="connsiteX30" fmla="*/ 14726 w 187556"/>
                <a:gd name="connsiteY30" fmla="*/ 60979 h 149037"/>
                <a:gd name="connsiteX31" fmla="*/ 15964 w 187556"/>
                <a:gd name="connsiteY31" fmla="*/ 58627 h 149037"/>
                <a:gd name="connsiteX32" fmla="*/ 16450 w 187556"/>
                <a:gd name="connsiteY32" fmla="*/ 54598 h 149037"/>
                <a:gd name="connsiteX33" fmla="*/ 20507 w 187556"/>
                <a:gd name="connsiteY33" fmla="*/ 49368 h 149037"/>
                <a:gd name="connsiteX34" fmla="*/ 23355 w 187556"/>
                <a:gd name="connsiteY34" fmla="*/ 47435 h 149037"/>
                <a:gd name="connsiteX35" fmla="*/ 25298 w 187556"/>
                <a:gd name="connsiteY35" fmla="*/ 46511 h 149037"/>
                <a:gd name="connsiteX36" fmla="*/ 27261 w 187556"/>
                <a:gd name="connsiteY36" fmla="*/ 48625 h 149037"/>
                <a:gd name="connsiteX37" fmla="*/ 28756 w 187556"/>
                <a:gd name="connsiteY37" fmla="*/ 50997 h 149037"/>
                <a:gd name="connsiteX38" fmla="*/ 29108 w 187556"/>
                <a:gd name="connsiteY38" fmla="*/ 45806 h 149037"/>
                <a:gd name="connsiteX39" fmla="*/ 30318 w 187556"/>
                <a:gd name="connsiteY39" fmla="*/ 35871 h 149037"/>
                <a:gd name="connsiteX40" fmla="*/ 26461 w 187556"/>
                <a:gd name="connsiteY40" fmla="*/ 34309 h 149037"/>
                <a:gd name="connsiteX41" fmla="*/ 23308 w 187556"/>
                <a:gd name="connsiteY41" fmla="*/ 35662 h 149037"/>
                <a:gd name="connsiteX42" fmla="*/ 20193 w 187556"/>
                <a:gd name="connsiteY42" fmla="*/ 41967 h 149037"/>
                <a:gd name="connsiteX43" fmla="*/ 17412 w 187556"/>
                <a:gd name="connsiteY43" fmla="*/ 49864 h 149037"/>
                <a:gd name="connsiteX44" fmla="*/ 12897 w 187556"/>
                <a:gd name="connsiteY44" fmla="*/ 50587 h 149037"/>
                <a:gd name="connsiteX45" fmla="*/ 9297 w 187556"/>
                <a:gd name="connsiteY45" fmla="*/ 52816 h 149037"/>
                <a:gd name="connsiteX46" fmla="*/ 6048 w 187556"/>
                <a:gd name="connsiteY46" fmla="*/ 50502 h 149037"/>
                <a:gd name="connsiteX47" fmla="*/ 3953 w 187556"/>
                <a:gd name="connsiteY47" fmla="*/ 48463 h 149037"/>
                <a:gd name="connsiteX48" fmla="*/ 3905 w 187556"/>
                <a:gd name="connsiteY48" fmla="*/ 45482 h 149037"/>
                <a:gd name="connsiteX49" fmla="*/ 4381 w 187556"/>
                <a:gd name="connsiteY49" fmla="*/ 43682 h 149037"/>
                <a:gd name="connsiteX50" fmla="*/ 8201 w 187556"/>
                <a:gd name="connsiteY50" fmla="*/ 37224 h 149037"/>
                <a:gd name="connsiteX51" fmla="*/ 13326 w 187556"/>
                <a:gd name="connsiteY51" fmla="*/ 31004 h 149037"/>
                <a:gd name="connsiteX52" fmla="*/ 18488 w 187556"/>
                <a:gd name="connsiteY52" fmla="*/ 31061 h 149037"/>
                <a:gd name="connsiteX53" fmla="*/ 22250 w 187556"/>
                <a:gd name="connsiteY53" fmla="*/ 29070 h 149037"/>
                <a:gd name="connsiteX54" fmla="*/ 24498 w 187556"/>
                <a:gd name="connsiteY54" fmla="*/ 28832 h 149037"/>
                <a:gd name="connsiteX55" fmla="*/ 31518 w 187556"/>
                <a:gd name="connsiteY55" fmla="*/ 29261 h 149037"/>
                <a:gd name="connsiteX56" fmla="*/ 35119 w 187556"/>
                <a:gd name="connsiteY56" fmla="*/ 27889 h 149037"/>
                <a:gd name="connsiteX57" fmla="*/ 38348 w 187556"/>
                <a:gd name="connsiteY57" fmla="*/ 25032 h 149037"/>
                <a:gd name="connsiteX58" fmla="*/ 45320 w 187556"/>
                <a:gd name="connsiteY58" fmla="*/ 12868 h 149037"/>
                <a:gd name="connsiteX59" fmla="*/ 49254 w 187556"/>
                <a:gd name="connsiteY59" fmla="*/ 7772 h 149037"/>
                <a:gd name="connsiteX60" fmla="*/ 57188 w 187556"/>
                <a:gd name="connsiteY60" fmla="*/ 5982 h 149037"/>
                <a:gd name="connsiteX61" fmla="*/ 64523 w 187556"/>
                <a:gd name="connsiteY61" fmla="*/ 76 h 149037"/>
                <a:gd name="connsiteX62" fmla="*/ 66570 w 187556"/>
                <a:gd name="connsiteY62" fmla="*/ 0 h 149037"/>
                <a:gd name="connsiteX63" fmla="*/ 63122 w 187556"/>
                <a:gd name="connsiteY63" fmla="*/ 4401 h 149037"/>
                <a:gd name="connsiteX64" fmla="*/ 62570 w 187556"/>
                <a:gd name="connsiteY64" fmla="*/ 6106 h 149037"/>
                <a:gd name="connsiteX65" fmla="*/ 62151 w 187556"/>
                <a:gd name="connsiteY65" fmla="*/ 8706 h 149037"/>
                <a:gd name="connsiteX66" fmla="*/ 64618 w 187556"/>
                <a:gd name="connsiteY66" fmla="*/ 14345 h 149037"/>
                <a:gd name="connsiteX67" fmla="*/ 64094 w 187556"/>
                <a:gd name="connsiteY67" fmla="*/ 17774 h 149037"/>
                <a:gd name="connsiteX68" fmla="*/ 64275 w 187556"/>
                <a:gd name="connsiteY68" fmla="*/ 24499 h 149037"/>
                <a:gd name="connsiteX69" fmla="*/ 61941 w 187556"/>
                <a:gd name="connsiteY69" fmla="*/ 27994 h 149037"/>
                <a:gd name="connsiteX70" fmla="*/ 59312 w 187556"/>
                <a:gd name="connsiteY70" fmla="*/ 35405 h 149037"/>
                <a:gd name="connsiteX71" fmla="*/ 58179 w 187556"/>
                <a:gd name="connsiteY71" fmla="*/ 36491 h 149037"/>
                <a:gd name="connsiteX72" fmla="*/ 57931 w 187556"/>
                <a:gd name="connsiteY72" fmla="*/ 45101 h 149037"/>
                <a:gd name="connsiteX73" fmla="*/ 58188 w 187556"/>
                <a:gd name="connsiteY73" fmla="*/ 47149 h 149037"/>
                <a:gd name="connsiteX74" fmla="*/ 57807 w 187556"/>
                <a:gd name="connsiteY74" fmla="*/ 54940 h 149037"/>
                <a:gd name="connsiteX75" fmla="*/ 60503 w 187556"/>
                <a:gd name="connsiteY75" fmla="*/ 58122 h 149037"/>
                <a:gd name="connsiteX76" fmla="*/ 63351 w 187556"/>
                <a:gd name="connsiteY76" fmla="*/ 59779 h 149037"/>
                <a:gd name="connsiteX77" fmla="*/ 72857 w 187556"/>
                <a:gd name="connsiteY77" fmla="*/ 59722 h 149037"/>
                <a:gd name="connsiteX78" fmla="*/ 73847 w 187556"/>
                <a:gd name="connsiteY78" fmla="*/ 61113 h 149037"/>
                <a:gd name="connsiteX79" fmla="*/ 75009 w 187556"/>
                <a:gd name="connsiteY79" fmla="*/ 63503 h 149037"/>
                <a:gd name="connsiteX80" fmla="*/ 74162 w 187556"/>
                <a:gd name="connsiteY80" fmla="*/ 67561 h 149037"/>
                <a:gd name="connsiteX81" fmla="*/ 73143 w 187556"/>
                <a:gd name="connsiteY81" fmla="*/ 70618 h 149037"/>
                <a:gd name="connsiteX82" fmla="*/ 70390 w 187556"/>
                <a:gd name="connsiteY82" fmla="*/ 73190 h 149037"/>
                <a:gd name="connsiteX83" fmla="*/ 66856 w 187556"/>
                <a:gd name="connsiteY83" fmla="*/ 75105 h 149037"/>
                <a:gd name="connsiteX84" fmla="*/ 64656 w 187556"/>
                <a:gd name="connsiteY84" fmla="*/ 75190 h 149037"/>
                <a:gd name="connsiteX85" fmla="*/ 61665 w 187556"/>
                <a:gd name="connsiteY85" fmla="*/ 71552 h 149037"/>
                <a:gd name="connsiteX86" fmla="*/ 60246 w 187556"/>
                <a:gd name="connsiteY86" fmla="*/ 72733 h 149037"/>
                <a:gd name="connsiteX87" fmla="*/ 58779 w 187556"/>
                <a:gd name="connsiteY87" fmla="*/ 74591 h 149037"/>
                <a:gd name="connsiteX88" fmla="*/ 56312 w 187556"/>
                <a:gd name="connsiteY88" fmla="*/ 84515 h 149037"/>
                <a:gd name="connsiteX89" fmla="*/ 55140 w 187556"/>
                <a:gd name="connsiteY89" fmla="*/ 91192 h 149037"/>
                <a:gd name="connsiteX90" fmla="*/ 54512 w 187556"/>
                <a:gd name="connsiteY90" fmla="*/ 91735 h 149037"/>
                <a:gd name="connsiteX91" fmla="*/ 53121 w 187556"/>
                <a:gd name="connsiteY91" fmla="*/ 90745 h 149037"/>
                <a:gd name="connsiteX92" fmla="*/ 50721 w 187556"/>
                <a:gd name="connsiteY92" fmla="*/ 90669 h 149037"/>
                <a:gd name="connsiteX93" fmla="*/ 47682 w 187556"/>
                <a:gd name="connsiteY93" fmla="*/ 92250 h 149037"/>
                <a:gd name="connsiteX94" fmla="*/ 49244 w 187556"/>
                <a:gd name="connsiteY94" fmla="*/ 93659 h 149037"/>
                <a:gd name="connsiteX95" fmla="*/ 50892 w 187556"/>
                <a:gd name="connsiteY95" fmla="*/ 96108 h 149037"/>
                <a:gd name="connsiteX96" fmla="*/ 50235 w 187556"/>
                <a:gd name="connsiteY96" fmla="*/ 97336 h 149037"/>
                <a:gd name="connsiteX97" fmla="*/ 47558 w 187556"/>
                <a:gd name="connsiteY97" fmla="*/ 98660 h 149037"/>
                <a:gd name="connsiteX98" fmla="*/ 45186 w 187556"/>
                <a:gd name="connsiteY98" fmla="*/ 101337 h 149037"/>
                <a:gd name="connsiteX99" fmla="*/ 44196 w 187556"/>
                <a:gd name="connsiteY99" fmla="*/ 103356 h 149037"/>
                <a:gd name="connsiteX100" fmla="*/ 41215 w 187556"/>
                <a:gd name="connsiteY100" fmla="*/ 105747 h 149037"/>
                <a:gd name="connsiteX101" fmla="*/ 39329 w 187556"/>
                <a:gd name="connsiteY101" fmla="*/ 108776 h 149037"/>
                <a:gd name="connsiteX102" fmla="*/ 40253 w 187556"/>
                <a:gd name="connsiteY102" fmla="*/ 112519 h 149037"/>
                <a:gd name="connsiteX103" fmla="*/ 40643 w 187556"/>
                <a:gd name="connsiteY103" fmla="*/ 115805 h 149037"/>
                <a:gd name="connsiteX104" fmla="*/ 41462 w 187556"/>
                <a:gd name="connsiteY104" fmla="*/ 119425 h 149037"/>
                <a:gd name="connsiteX105" fmla="*/ 40719 w 187556"/>
                <a:gd name="connsiteY105" fmla="*/ 122311 h 149037"/>
                <a:gd name="connsiteX106" fmla="*/ 37014 w 187556"/>
                <a:gd name="connsiteY106" fmla="*/ 126445 h 149037"/>
                <a:gd name="connsiteX107" fmla="*/ 35652 w 187556"/>
                <a:gd name="connsiteY107" fmla="*/ 130016 h 149037"/>
                <a:gd name="connsiteX108" fmla="*/ 38824 w 187556"/>
                <a:gd name="connsiteY108" fmla="*/ 129969 h 149037"/>
                <a:gd name="connsiteX109" fmla="*/ 40777 w 187556"/>
                <a:gd name="connsiteY109" fmla="*/ 130788 h 149037"/>
                <a:gd name="connsiteX110" fmla="*/ 41920 w 187556"/>
                <a:gd name="connsiteY110" fmla="*/ 131845 h 149037"/>
                <a:gd name="connsiteX111" fmla="*/ 43101 w 187556"/>
                <a:gd name="connsiteY111" fmla="*/ 133341 h 149037"/>
                <a:gd name="connsiteX112" fmla="*/ 42377 w 187556"/>
                <a:gd name="connsiteY112" fmla="*/ 135189 h 149037"/>
                <a:gd name="connsiteX113" fmla="*/ 43272 w 187556"/>
                <a:gd name="connsiteY113" fmla="*/ 139951 h 149037"/>
                <a:gd name="connsiteX114" fmla="*/ 78353 w 187556"/>
                <a:gd name="connsiteY114" fmla="*/ 24003 h 149037"/>
                <a:gd name="connsiteX115" fmla="*/ 77267 w 187556"/>
                <a:gd name="connsiteY115" fmla="*/ 25156 h 149037"/>
                <a:gd name="connsiteX116" fmla="*/ 73590 w 187556"/>
                <a:gd name="connsiteY116" fmla="*/ 23527 h 149037"/>
                <a:gd name="connsiteX117" fmla="*/ 75209 w 187556"/>
                <a:gd name="connsiteY117" fmla="*/ 21241 h 149037"/>
                <a:gd name="connsiteX118" fmla="*/ 79248 w 187556"/>
                <a:gd name="connsiteY118" fmla="*/ 20184 h 149037"/>
                <a:gd name="connsiteX119" fmla="*/ 81620 w 187556"/>
                <a:gd name="connsiteY119" fmla="*/ 20536 h 149037"/>
                <a:gd name="connsiteX120" fmla="*/ 79010 w 187556"/>
                <a:gd name="connsiteY120" fmla="*/ 22803 h 149037"/>
                <a:gd name="connsiteX121" fmla="*/ 78353 w 187556"/>
                <a:gd name="connsiteY121" fmla="*/ 24003 h 149037"/>
                <a:gd name="connsiteX122" fmla="*/ 118901 w 187556"/>
                <a:gd name="connsiteY122" fmla="*/ 94983 h 149037"/>
                <a:gd name="connsiteX123" fmla="*/ 118967 w 187556"/>
                <a:gd name="connsiteY123" fmla="*/ 99727 h 149037"/>
                <a:gd name="connsiteX124" fmla="*/ 118272 w 187556"/>
                <a:gd name="connsiteY124" fmla="*/ 101108 h 149037"/>
                <a:gd name="connsiteX125" fmla="*/ 117253 w 187556"/>
                <a:gd name="connsiteY125" fmla="*/ 102023 h 149037"/>
                <a:gd name="connsiteX126" fmla="*/ 114586 w 187556"/>
                <a:gd name="connsiteY126" fmla="*/ 102984 h 149037"/>
                <a:gd name="connsiteX127" fmla="*/ 112271 w 187556"/>
                <a:gd name="connsiteY127" fmla="*/ 104327 h 149037"/>
                <a:gd name="connsiteX128" fmla="*/ 110204 w 187556"/>
                <a:gd name="connsiteY128" fmla="*/ 106680 h 149037"/>
                <a:gd name="connsiteX129" fmla="*/ 109442 w 187556"/>
                <a:gd name="connsiteY129" fmla="*/ 110042 h 149037"/>
                <a:gd name="connsiteX130" fmla="*/ 111052 w 187556"/>
                <a:gd name="connsiteY130" fmla="*/ 112500 h 149037"/>
                <a:gd name="connsiteX131" fmla="*/ 113986 w 187556"/>
                <a:gd name="connsiteY131" fmla="*/ 113843 h 149037"/>
                <a:gd name="connsiteX132" fmla="*/ 114738 w 187556"/>
                <a:gd name="connsiteY132" fmla="*/ 118510 h 149037"/>
                <a:gd name="connsiteX133" fmla="*/ 112319 w 187556"/>
                <a:gd name="connsiteY133" fmla="*/ 120806 h 149037"/>
                <a:gd name="connsiteX134" fmla="*/ 106109 w 187556"/>
                <a:gd name="connsiteY134" fmla="*/ 123092 h 149037"/>
                <a:gd name="connsiteX135" fmla="*/ 105461 w 187556"/>
                <a:gd name="connsiteY135" fmla="*/ 128607 h 149037"/>
                <a:gd name="connsiteX136" fmla="*/ 105661 w 187556"/>
                <a:gd name="connsiteY136" fmla="*/ 132940 h 149037"/>
                <a:gd name="connsiteX137" fmla="*/ 105546 w 187556"/>
                <a:gd name="connsiteY137" fmla="*/ 136084 h 149037"/>
                <a:gd name="connsiteX138" fmla="*/ 105051 w 187556"/>
                <a:gd name="connsiteY138" fmla="*/ 140427 h 149037"/>
                <a:gd name="connsiteX139" fmla="*/ 100032 w 187556"/>
                <a:gd name="connsiteY139" fmla="*/ 142399 h 149037"/>
                <a:gd name="connsiteX140" fmla="*/ 96784 w 187556"/>
                <a:gd name="connsiteY140" fmla="*/ 135789 h 149037"/>
                <a:gd name="connsiteX141" fmla="*/ 96755 w 187556"/>
                <a:gd name="connsiteY141" fmla="*/ 133131 h 149037"/>
                <a:gd name="connsiteX142" fmla="*/ 95783 w 187556"/>
                <a:gd name="connsiteY142" fmla="*/ 130026 h 149037"/>
                <a:gd name="connsiteX143" fmla="*/ 95603 w 187556"/>
                <a:gd name="connsiteY143" fmla="*/ 127378 h 149037"/>
                <a:gd name="connsiteX144" fmla="*/ 94450 w 187556"/>
                <a:gd name="connsiteY144" fmla="*/ 123139 h 149037"/>
                <a:gd name="connsiteX145" fmla="*/ 89697 w 187556"/>
                <a:gd name="connsiteY145" fmla="*/ 121987 h 149037"/>
                <a:gd name="connsiteX146" fmla="*/ 87849 w 187556"/>
                <a:gd name="connsiteY146" fmla="*/ 121834 h 149037"/>
                <a:gd name="connsiteX147" fmla="*/ 85268 w 187556"/>
                <a:gd name="connsiteY147" fmla="*/ 122625 h 149037"/>
                <a:gd name="connsiteX148" fmla="*/ 84630 w 187556"/>
                <a:gd name="connsiteY148" fmla="*/ 122320 h 149037"/>
                <a:gd name="connsiteX149" fmla="*/ 81534 w 187556"/>
                <a:gd name="connsiteY149" fmla="*/ 116510 h 149037"/>
                <a:gd name="connsiteX150" fmla="*/ 82048 w 187556"/>
                <a:gd name="connsiteY150" fmla="*/ 110071 h 149037"/>
                <a:gd name="connsiteX151" fmla="*/ 80401 w 187556"/>
                <a:gd name="connsiteY151" fmla="*/ 106814 h 149037"/>
                <a:gd name="connsiteX152" fmla="*/ 80172 w 187556"/>
                <a:gd name="connsiteY152" fmla="*/ 105337 h 149037"/>
                <a:gd name="connsiteX153" fmla="*/ 80210 w 187556"/>
                <a:gd name="connsiteY153" fmla="*/ 103699 h 149037"/>
                <a:gd name="connsiteX154" fmla="*/ 78848 w 187556"/>
                <a:gd name="connsiteY154" fmla="*/ 102346 h 149037"/>
                <a:gd name="connsiteX155" fmla="*/ 77210 w 187556"/>
                <a:gd name="connsiteY155" fmla="*/ 101632 h 149037"/>
                <a:gd name="connsiteX156" fmla="*/ 76410 w 187556"/>
                <a:gd name="connsiteY156" fmla="*/ 97984 h 149037"/>
                <a:gd name="connsiteX157" fmla="*/ 78296 w 187556"/>
                <a:gd name="connsiteY157" fmla="*/ 97098 h 149037"/>
                <a:gd name="connsiteX158" fmla="*/ 82972 w 187556"/>
                <a:gd name="connsiteY158" fmla="*/ 97527 h 149037"/>
                <a:gd name="connsiteX159" fmla="*/ 84344 w 187556"/>
                <a:gd name="connsiteY159" fmla="*/ 97279 h 149037"/>
                <a:gd name="connsiteX160" fmla="*/ 85592 w 187556"/>
                <a:gd name="connsiteY160" fmla="*/ 96517 h 149037"/>
                <a:gd name="connsiteX161" fmla="*/ 89373 w 187556"/>
                <a:gd name="connsiteY161" fmla="*/ 90497 h 149037"/>
                <a:gd name="connsiteX162" fmla="*/ 89259 w 187556"/>
                <a:gd name="connsiteY162" fmla="*/ 89164 h 149037"/>
                <a:gd name="connsiteX163" fmla="*/ 89659 w 187556"/>
                <a:gd name="connsiteY163" fmla="*/ 87440 h 149037"/>
                <a:gd name="connsiteX164" fmla="*/ 93745 w 187556"/>
                <a:gd name="connsiteY164" fmla="*/ 86801 h 149037"/>
                <a:gd name="connsiteX165" fmla="*/ 95564 w 187556"/>
                <a:gd name="connsiteY165" fmla="*/ 89135 h 149037"/>
                <a:gd name="connsiteX166" fmla="*/ 95193 w 187556"/>
                <a:gd name="connsiteY166" fmla="*/ 92869 h 149037"/>
                <a:gd name="connsiteX167" fmla="*/ 95422 w 187556"/>
                <a:gd name="connsiteY167" fmla="*/ 97631 h 149037"/>
                <a:gd name="connsiteX168" fmla="*/ 97898 w 187556"/>
                <a:gd name="connsiteY168" fmla="*/ 98927 h 149037"/>
                <a:gd name="connsiteX169" fmla="*/ 98860 w 187556"/>
                <a:gd name="connsiteY169" fmla="*/ 99117 h 149037"/>
                <a:gd name="connsiteX170" fmla="*/ 99898 w 187556"/>
                <a:gd name="connsiteY170" fmla="*/ 95603 h 149037"/>
                <a:gd name="connsiteX171" fmla="*/ 100622 w 187556"/>
                <a:gd name="connsiteY171" fmla="*/ 93888 h 149037"/>
                <a:gd name="connsiteX172" fmla="*/ 101603 w 187556"/>
                <a:gd name="connsiteY172" fmla="*/ 92926 h 149037"/>
                <a:gd name="connsiteX173" fmla="*/ 101937 w 187556"/>
                <a:gd name="connsiteY173" fmla="*/ 89707 h 149037"/>
                <a:gd name="connsiteX174" fmla="*/ 101355 w 187556"/>
                <a:gd name="connsiteY174" fmla="*/ 87735 h 149037"/>
                <a:gd name="connsiteX175" fmla="*/ 100117 w 187556"/>
                <a:gd name="connsiteY175" fmla="*/ 86258 h 149037"/>
                <a:gd name="connsiteX176" fmla="*/ 104747 w 187556"/>
                <a:gd name="connsiteY176" fmla="*/ 82258 h 149037"/>
                <a:gd name="connsiteX177" fmla="*/ 109538 w 187556"/>
                <a:gd name="connsiteY177" fmla="*/ 79077 h 149037"/>
                <a:gd name="connsiteX178" fmla="*/ 112328 w 187556"/>
                <a:gd name="connsiteY178" fmla="*/ 78905 h 149037"/>
                <a:gd name="connsiteX179" fmla="*/ 115129 w 187556"/>
                <a:gd name="connsiteY179" fmla="*/ 79686 h 149037"/>
                <a:gd name="connsiteX180" fmla="*/ 117738 w 187556"/>
                <a:gd name="connsiteY180" fmla="*/ 80753 h 149037"/>
                <a:gd name="connsiteX181" fmla="*/ 119148 w 187556"/>
                <a:gd name="connsiteY181" fmla="*/ 81677 h 149037"/>
                <a:gd name="connsiteX182" fmla="*/ 119939 w 187556"/>
                <a:gd name="connsiteY182" fmla="*/ 83163 h 149037"/>
                <a:gd name="connsiteX183" fmla="*/ 118186 w 187556"/>
                <a:gd name="connsiteY183" fmla="*/ 86697 h 149037"/>
                <a:gd name="connsiteX184" fmla="*/ 117700 w 187556"/>
                <a:gd name="connsiteY184" fmla="*/ 88621 h 149037"/>
                <a:gd name="connsiteX185" fmla="*/ 118901 w 187556"/>
                <a:gd name="connsiteY185" fmla="*/ 94983 h 149037"/>
                <a:gd name="connsiteX186" fmla="*/ 66465 w 187556"/>
                <a:gd name="connsiteY186" fmla="*/ 95079 h 149037"/>
                <a:gd name="connsiteX187" fmla="*/ 66008 w 187556"/>
                <a:gd name="connsiteY187" fmla="*/ 95926 h 149037"/>
                <a:gd name="connsiteX188" fmla="*/ 64313 w 187556"/>
                <a:gd name="connsiteY188" fmla="*/ 95041 h 149037"/>
                <a:gd name="connsiteX189" fmla="*/ 64132 w 187556"/>
                <a:gd name="connsiteY189" fmla="*/ 91973 h 149037"/>
                <a:gd name="connsiteX190" fmla="*/ 64770 w 187556"/>
                <a:gd name="connsiteY190" fmla="*/ 89211 h 149037"/>
                <a:gd name="connsiteX191" fmla="*/ 64018 w 187556"/>
                <a:gd name="connsiteY191" fmla="*/ 86735 h 149037"/>
                <a:gd name="connsiteX192" fmla="*/ 64846 w 187556"/>
                <a:gd name="connsiteY192" fmla="*/ 85144 h 149037"/>
                <a:gd name="connsiteX193" fmla="*/ 67228 w 187556"/>
                <a:gd name="connsiteY193" fmla="*/ 88849 h 149037"/>
                <a:gd name="connsiteX194" fmla="*/ 67904 w 187556"/>
                <a:gd name="connsiteY194" fmla="*/ 90592 h 149037"/>
                <a:gd name="connsiteX195" fmla="*/ 66980 w 187556"/>
                <a:gd name="connsiteY195" fmla="*/ 92669 h 149037"/>
                <a:gd name="connsiteX196" fmla="*/ 66465 w 187556"/>
                <a:gd name="connsiteY196" fmla="*/ 95079 h 149037"/>
                <a:gd name="connsiteX197" fmla="*/ 121491 w 187556"/>
                <a:gd name="connsiteY197" fmla="*/ 103899 h 149037"/>
                <a:gd name="connsiteX198" fmla="*/ 118977 w 187556"/>
                <a:gd name="connsiteY198" fmla="*/ 105909 h 149037"/>
                <a:gd name="connsiteX199" fmla="*/ 118424 w 187556"/>
                <a:gd name="connsiteY199" fmla="*/ 105804 h 149037"/>
                <a:gd name="connsiteX200" fmla="*/ 117605 w 187556"/>
                <a:gd name="connsiteY200" fmla="*/ 103051 h 149037"/>
                <a:gd name="connsiteX201" fmla="*/ 118939 w 187556"/>
                <a:gd name="connsiteY201" fmla="*/ 101375 h 149037"/>
                <a:gd name="connsiteX202" fmla="*/ 119720 w 187556"/>
                <a:gd name="connsiteY202" fmla="*/ 99956 h 149037"/>
                <a:gd name="connsiteX203" fmla="*/ 120282 w 187556"/>
                <a:gd name="connsiteY203" fmla="*/ 99994 h 149037"/>
                <a:gd name="connsiteX204" fmla="*/ 121044 w 187556"/>
                <a:gd name="connsiteY204" fmla="*/ 101537 h 149037"/>
                <a:gd name="connsiteX205" fmla="*/ 121491 w 187556"/>
                <a:gd name="connsiteY205" fmla="*/ 103899 h 149037"/>
                <a:gd name="connsiteX206" fmla="*/ 67475 w 187556"/>
                <a:gd name="connsiteY206" fmla="*/ 103280 h 149037"/>
                <a:gd name="connsiteX207" fmla="*/ 68589 w 187556"/>
                <a:gd name="connsiteY207" fmla="*/ 105737 h 149037"/>
                <a:gd name="connsiteX208" fmla="*/ 69961 w 187556"/>
                <a:gd name="connsiteY208" fmla="*/ 110976 h 149037"/>
                <a:gd name="connsiteX209" fmla="*/ 72133 w 187556"/>
                <a:gd name="connsiteY209" fmla="*/ 116824 h 149037"/>
                <a:gd name="connsiteX210" fmla="*/ 71228 w 187556"/>
                <a:gd name="connsiteY210" fmla="*/ 119263 h 149037"/>
                <a:gd name="connsiteX211" fmla="*/ 71847 w 187556"/>
                <a:gd name="connsiteY211" fmla="*/ 122387 h 149037"/>
                <a:gd name="connsiteX212" fmla="*/ 71228 w 187556"/>
                <a:gd name="connsiteY212" fmla="*/ 125635 h 149037"/>
                <a:gd name="connsiteX213" fmla="*/ 66913 w 187556"/>
                <a:gd name="connsiteY213" fmla="*/ 129407 h 149037"/>
                <a:gd name="connsiteX214" fmla="*/ 62074 w 187556"/>
                <a:gd name="connsiteY214" fmla="*/ 129578 h 149037"/>
                <a:gd name="connsiteX215" fmla="*/ 57045 w 187556"/>
                <a:gd name="connsiteY215" fmla="*/ 127759 h 149037"/>
                <a:gd name="connsiteX216" fmla="*/ 49940 w 187556"/>
                <a:gd name="connsiteY216" fmla="*/ 124244 h 149037"/>
                <a:gd name="connsiteX217" fmla="*/ 49368 w 187556"/>
                <a:gd name="connsiteY217" fmla="*/ 122272 h 149037"/>
                <a:gd name="connsiteX218" fmla="*/ 48378 w 187556"/>
                <a:gd name="connsiteY218" fmla="*/ 121177 h 149037"/>
                <a:gd name="connsiteX219" fmla="*/ 46472 w 187556"/>
                <a:gd name="connsiteY219" fmla="*/ 115167 h 149037"/>
                <a:gd name="connsiteX220" fmla="*/ 46511 w 187556"/>
                <a:gd name="connsiteY220" fmla="*/ 107728 h 149037"/>
                <a:gd name="connsiteX221" fmla="*/ 50082 w 187556"/>
                <a:gd name="connsiteY221" fmla="*/ 106785 h 149037"/>
                <a:gd name="connsiteX222" fmla="*/ 57883 w 187556"/>
                <a:gd name="connsiteY222" fmla="*/ 103222 h 149037"/>
                <a:gd name="connsiteX223" fmla="*/ 59684 w 187556"/>
                <a:gd name="connsiteY223" fmla="*/ 103785 h 149037"/>
                <a:gd name="connsiteX224" fmla="*/ 61569 w 187556"/>
                <a:gd name="connsiteY224" fmla="*/ 105604 h 149037"/>
                <a:gd name="connsiteX225" fmla="*/ 63741 w 187556"/>
                <a:gd name="connsiteY225" fmla="*/ 105709 h 149037"/>
                <a:gd name="connsiteX226" fmla="*/ 66885 w 187556"/>
                <a:gd name="connsiteY226" fmla="*/ 103127 h 149037"/>
                <a:gd name="connsiteX227" fmla="*/ 67475 w 187556"/>
                <a:gd name="connsiteY227" fmla="*/ 103280 h 149037"/>
                <a:gd name="connsiteX228" fmla="*/ 186233 w 187556"/>
                <a:gd name="connsiteY228" fmla="*/ 130836 h 149037"/>
                <a:gd name="connsiteX229" fmla="*/ 185242 w 187556"/>
                <a:gd name="connsiteY229" fmla="*/ 131626 h 149037"/>
                <a:gd name="connsiteX230" fmla="*/ 180822 w 187556"/>
                <a:gd name="connsiteY230" fmla="*/ 130321 h 149037"/>
                <a:gd name="connsiteX231" fmla="*/ 175441 w 187556"/>
                <a:gd name="connsiteY231" fmla="*/ 127092 h 149037"/>
                <a:gd name="connsiteX232" fmla="*/ 176231 w 187556"/>
                <a:gd name="connsiteY232" fmla="*/ 120748 h 149037"/>
                <a:gd name="connsiteX233" fmla="*/ 177613 w 187556"/>
                <a:gd name="connsiteY233" fmla="*/ 117996 h 149037"/>
                <a:gd name="connsiteX234" fmla="*/ 187433 w 187556"/>
                <a:gd name="connsiteY234" fmla="*/ 125111 h 149037"/>
                <a:gd name="connsiteX235" fmla="*/ 187557 w 187556"/>
                <a:gd name="connsiteY235" fmla="*/ 127788 h 149037"/>
                <a:gd name="connsiteX236" fmla="*/ 186233 w 187556"/>
                <a:gd name="connsiteY236" fmla="*/ 130836 h 149037"/>
                <a:gd name="connsiteX237" fmla="*/ 69856 w 187556"/>
                <a:gd name="connsiteY237" fmla="*/ 143408 h 149037"/>
                <a:gd name="connsiteX238" fmla="*/ 68666 w 187556"/>
                <a:gd name="connsiteY238" fmla="*/ 143666 h 149037"/>
                <a:gd name="connsiteX239" fmla="*/ 67056 w 187556"/>
                <a:gd name="connsiteY239" fmla="*/ 139922 h 149037"/>
                <a:gd name="connsiteX240" fmla="*/ 66847 w 187556"/>
                <a:gd name="connsiteY240" fmla="*/ 138741 h 149037"/>
                <a:gd name="connsiteX241" fmla="*/ 68742 w 187556"/>
                <a:gd name="connsiteY241" fmla="*/ 136341 h 149037"/>
                <a:gd name="connsiteX242" fmla="*/ 69961 w 187556"/>
                <a:gd name="connsiteY242" fmla="*/ 133617 h 149037"/>
                <a:gd name="connsiteX243" fmla="*/ 73133 w 187556"/>
                <a:gd name="connsiteY243" fmla="*/ 129426 h 149037"/>
                <a:gd name="connsiteX244" fmla="*/ 74952 w 187556"/>
                <a:gd name="connsiteY244" fmla="*/ 124501 h 149037"/>
                <a:gd name="connsiteX245" fmla="*/ 75648 w 187556"/>
                <a:gd name="connsiteY245" fmla="*/ 124578 h 149037"/>
                <a:gd name="connsiteX246" fmla="*/ 74838 w 187556"/>
                <a:gd name="connsiteY246" fmla="*/ 128969 h 149037"/>
                <a:gd name="connsiteX247" fmla="*/ 70676 w 187556"/>
                <a:gd name="connsiteY247" fmla="*/ 141151 h 149037"/>
                <a:gd name="connsiteX248" fmla="*/ 69856 w 187556"/>
                <a:gd name="connsiteY248" fmla="*/ 143408 h 149037"/>
                <a:gd name="connsiteX249" fmla="*/ 51864 w 187556"/>
                <a:gd name="connsiteY249" fmla="*/ 137131 h 149037"/>
                <a:gd name="connsiteX250" fmla="*/ 49082 w 187556"/>
                <a:gd name="connsiteY250" fmla="*/ 137770 h 149037"/>
                <a:gd name="connsiteX251" fmla="*/ 47663 w 187556"/>
                <a:gd name="connsiteY251" fmla="*/ 136646 h 149037"/>
                <a:gd name="connsiteX252" fmla="*/ 45053 w 187556"/>
                <a:gd name="connsiteY252" fmla="*/ 136217 h 149037"/>
                <a:gd name="connsiteX253" fmla="*/ 44120 w 187556"/>
                <a:gd name="connsiteY253" fmla="*/ 129064 h 149037"/>
                <a:gd name="connsiteX254" fmla="*/ 44387 w 187556"/>
                <a:gd name="connsiteY254" fmla="*/ 128635 h 149037"/>
                <a:gd name="connsiteX255" fmla="*/ 45701 w 187556"/>
                <a:gd name="connsiteY255" fmla="*/ 129140 h 149037"/>
                <a:gd name="connsiteX256" fmla="*/ 50206 w 187556"/>
                <a:gd name="connsiteY256" fmla="*/ 132483 h 149037"/>
                <a:gd name="connsiteX257" fmla="*/ 51778 w 187556"/>
                <a:gd name="connsiteY257" fmla="*/ 136132 h 149037"/>
                <a:gd name="connsiteX258" fmla="*/ 51864 w 187556"/>
                <a:gd name="connsiteY258" fmla="*/ 137131 h 149037"/>
                <a:gd name="connsiteX259" fmla="*/ 118377 w 187556"/>
                <a:gd name="connsiteY259" fmla="*/ 133445 h 149037"/>
                <a:gd name="connsiteX260" fmla="*/ 117358 w 187556"/>
                <a:gd name="connsiteY260" fmla="*/ 134141 h 149037"/>
                <a:gd name="connsiteX261" fmla="*/ 113252 w 187556"/>
                <a:gd name="connsiteY261" fmla="*/ 133636 h 149037"/>
                <a:gd name="connsiteX262" fmla="*/ 108623 w 187556"/>
                <a:gd name="connsiteY262" fmla="*/ 136855 h 149037"/>
                <a:gd name="connsiteX263" fmla="*/ 106871 w 187556"/>
                <a:gd name="connsiteY263" fmla="*/ 135836 h 149037"/>
                <a:gd name="connsiteX264" fmla="*/ 107537 w 187556"/>
                <a:gd name="connsiteY264" fmla="*/ 133779 h 149037"/>
                <a:gd name="connsiteX265" fmla="*/ 108023 w 187556"/>
                <a:gd name="connsiteY265" fmla="*/ 133026 h 149037"/>
                <a:gd name="connsiteX266" fmla="*/ 109576 w 187556"/>
                <a:gd name="connsiteY266" fmla="*/ 132150 h 149037"/>
                <a:gd name="connsiteX267" fmla="*/ 110614 w 187556"/>
                <a:gd name="connsiteY267" fmla="*/ 130874 h 149037"/>
                <a:gd name="connsiteX268" fmla="*/ 111023 w 187556"/>
                <a:gd name="connsiteY268" fmla="*/ 128874 h 149037"/>
                <a:gd name="connsiteX269" fmla="*/ 111985 w 187556"/>
                <a:gd name="connsiteY269" fmla="*/ 129950 h 149037"/>
                <a:gd name="connsiteX270" fmla="*/ 114853 w 187556"/>
                <a:gd name="connsiteY270" fmla="*/ 130397 h 149037"/>
                <a:gd name="connsiteX271" fmla="*/ 116253 w 187556"/>
                <a:gd name="connsiteY271" fmla="*/ 131036 h 149037"/>
                <a:gd name="connsiteX272" fmla="*/ 117424 w 187556"/>
                <a:gd name="connsiteY272" fmla="*/ 131979 h 149037"/>
                <a:gd name="connsiteX273" fmla="*/ 118377 w 187556"/>
                <a:gd name="connsiteY273" fmla="*/ 133445 h 149037"/>
                <a:gd name="connsiteX274" fmla="*/ 63179 w 187556"/>
                <a:gd name="connsiteY274" fmla="*/ 138922 h 149037"/>
                <a:gd name="connsiteX275" fmla="*/ 61389 w 187556"/>
                <a:gd name="connsiteY275" fmla="*/ 139408 h 149037"/>
                <a:gd name="connsiteX276" fmla="*/ 59341 w 187556"/>
                <a:gd name="connsiteY276" fmla="*/ 138399 h 149037"/>
                <a:gd name="connsiteX277" fmla="*/ 55997 w 187556"/>
                <a:gd name="connsiteY277" fmla="*/ 134598 h 149037"/>
                <a:gd name="connsiteX278" fmla="*/ 55578 w 187556"/>
                <a:gd name="connsiteY278" fmla="*/ 133588 h 149037"/>
                <a:gd name="connsiteX279" fmla="*/ 57331 w 187556"/>
                <a:gd name="connsiteY279" fmla="*/ 134226 h 149037"/>
                <a:gd name="connsiteX280" fmla="*/ 59512 w 187556"/>
                <a:gd name="connsiteY280" fmla="*/ 136217 h 149037"/>
                <a:gd name="connsiteX281" fmla="*/ 61293 w 187556"/>
                <a:gd name="connsiteY281" fmla="*/ 136646 h 149037"/>
                <a:gd name="connsiteX282" fmla="*/ 63732 w 187556"/>
                <a:gd name="connsiteY282" fmla="*/ 138322 h 149037"/>
                <a:gd name="connsiteX283" fmla="*/ 63179 w 187556"/>
                <a:gd name="connsiteY283" fmla="*/ 138922 h 149037"/>
                <a:gd name="connsiteX284" fmla="*/ 86620 w 187556"/>
                <a:gd name="connsiteY284" fmla="*/ 136884 h 149037"/>
                <a:gd name="connsiteX285" fmla="*/ 91354 w 187556"/>
                <a:gd name="connsiteY285" fmla="*/ 139760 h 149037"/>
                <a:gd name="connsiteX286" fmla="*/ 94555 w 187556"/>
                <a:gd name="connsiteY286" fmla="*/ 139589 h 149037"/>
                <a:gd name="connsiteX287" fmla="*/ 96736 w 187556"/>
                <a:gd name="connsiteY287" fmla="*/ 140780 h 149037"/>
                <a:gd name="connsiteX288" fmla="*/ 97260 w 187556"/>
                <a:gd name="connsiteY288" fmla="*/ 142618 h 149037"/>
                <a:gd name="connsiteX289" fmla="*/ 97450 w 187556"/>
                <a:gd name="connsiteY289" fmla="*/ 146695 h 149037"/>
                <a:gd name="connsiteX290" fmla="*/ 95164 w 187556"/>
                <a:gd name="connsiteY290" fmla="*/ 147885 h 149037"/>
                <a:gd name="connsiteX291" fmla="*/ 92640 w 187556"/>
                <a:gd name="connsiteY291" fmla="*/ 147485 h 149037"/>
                <a:gd name="connsiteX292" fmla="*/ 89202 w 187556"/>
                <a:gd name="connsiteY292" fmla="*/ 149038 h 149037"/>
                <a:gd name="connsiteX293" fmla="*/ 77924 w 187556"/>
                <a:gd name="connsiteY293" fmla="*/ 142380 h 149037"/>
                <a:gd name="connsiteX294" fmla="*/ 78086 w 187556"/>
                <a:gd name="connsiteY294" fmla="*/ 136808 h 149037"/>
                <a:gd name="connsiteX295" fmla="*/ 78534 w 187556"/>
                <a:gd name="connsiteY295" fmla="*/ 134617 h 149037"/>
                <a:gd name="connsiteX296" fmla="*/ 83877 w 187556"/>
                <a:gd name="connsiteY296" fmla="*/ 134093 h 149037"/>
                <a:gd name="connsiteX297" fmla="*/ 86620 w 187556"/>
                <a:gd name="connsiteY297" fmla="*/ 136884 h 149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</a:cxnLst>
              <a:rect l="l" t="t" r="r" b="b"/>
              <a:pathLst>
                <a:path w="187556" h="149037">
                  <a:moveTo>
                    <a:pt x="43272" y="139951"/>
                  </a:moveTo>
                  <a:lnTo>
                    <a:pt x="42872" y="139951"/>
                  </a:lnTo>
                  <a:lnTo>
                    <a:pt x="41167" y="139541"/>
                  </a:lnTo>
                  <a:lnTo>
                    <a:pt x="39957" y="138560"/>
                  </a:lnTo>
                  <a:lnTo>
                    <a:pt x="36824" y="139256"/>
                  </a:lnTo>
                  <a:lnTo>
                    <a:pt x="32633" y="140837"/>
                  </a:lnTo>
                  <a:lnTo>
                    <a:pt x="30309" y="140761"/>
                  </a:lnTo>
                  <a:lnTo>
                    <a:pt x="28461" y="139065"/>
                  </a:lnTo>
                  <a:lnTo>
                    <a:pt x="20898" y="136646"/>
                  </a:lnTo>
                  <a:lnTo>
                    <a:pt x="19679" y="136446"/>
                  </a:lnTo>
                  <a:lnTo>
                    <a:pt x="14687" y="136350"/>
                  </a:lnTo>
                  <a:lnTo>
                    <a:pt x="14678" y="136350"/>
                  </a:lnTo>
                  <a:lnTo>
                    <a:pt x="14440" y="132522"/>
                  </a:lnTo>
                  <a:lnTo>
                    <a:pt x="13821" y="129750"/>
                  </a:lnTo>
                  <a:lnTo>
                    <a:pt x="12068" y="125616"/>
                  </a:lnTo>
                  <a:lnTo>
                    <a:pt x="14659" y="124616"/>
                  </a:lnTo>
                  <a:lnTo>
                    <a:pt x="14154" y="116519"/>
                  </a:lnTo>
                  <a:lnTo>
                    <a:pt x="13211" y="112319"/>
                  </a:lnTo>
                  <a:lnTo>
                    <a:pt x="5982" y="107985"/>
                  </a:lnTo>
                  <a:lnTo>
                    <a:pt x="286" y="103765"/>
                  </a:lnTo>
                  <a:lnTo>
                    <a:pt x="1600" y="89478"/>
                  </a:lnTo>
                  <a:lnTo>
                    <a:pt x="2162" y="85611"/>
                  </a:lnTo>
                  <a:lnTo>
                    <a:pt x="0" y="78086"/>
                  </a:lnTo>
                  <a:lnTo>
                    <a:pt x="229" y="69380"/>
                  </a:lnTo>
                  <a:lnTo>
                    <a:pt x="1143" y="55588"/>
                  </a:lnTo>
                  <a:lnTo>
                    <a:pt x="2953" y="55045"/>
                  </a:lnTo>
                  <a:lnTo>
                    <a:pt x="4286" y="55112"/>
                  </a:lnTo>
                  <a:lnTo>
                    <a:pt x="9411" y="57598"/>
                  </a:lnTo>
                  <a:lnTo>
                    <a:pt x="11544" y="57846"/>
                  </a:lnTo>
                  <a:lnTo>
                    <a:pt x="13011" y="60065"/>
                  </a:lnTo>
                  <a:lnTo>
                    <a:pt x="14726" y="60979"/>
                  </a:lnTo>
                  <a:lnTo>
                    <a:pt x="15964" y="58627"/>
                  </a:lnTo>
                  <a:lnTo>
                    <a:pt x="16450" y="54598"/>
                  </a:lnTo>
                  <a:lnTo>
                    <a:pt x="20507" y="49368"/>
                  </a:lnTo>
                  <a:lnTo>
                    <a:pt x="23355" y="47435"/>
                  </a:lnTo>
                  <a:lnTo>
                    <a:pt x="25298" y="46511"/>
                  </a:lnTo>
                  <a:lnTo>
                    <a:pt x="27261" y="48625"/>
                  </a:lnTo>
                  <a:lnTo>
                    <a:pt x="28756" y="50997"/>
                  </a:lnTo>
                  <a:lnTo>
                    <a:pt x="29108" y="45806"/>
                  </a:lnTo>
                  <a:lnTo>
                    <a:pt x="30318" y="35871"/>
                  </a:lnTo>
                  <a:lnTo>
                    <a:pt x="26461" y="34309"/>
                  </a:lnTo>
                  <a:lnTo>
                    <a:pt x="23308" y="35662"/>
                  </a:lnTo>
                  <a:lnTo>
                    <a:pt x="20193" y="41967"/>
                  </a:lnTo>
                  <a:lnTo>
                    <a:pt x="17412" y="49864"/>
                  </a:lnTo>
                  <a:lnTo>
                    <a:pt x="12897" y="50587"/>
                  </a:lnTo>
                  <a:lnTo>
                    <a:pt x="9297" y="52816"/>
                  </a:lnTo>
                  <a:lnTo>
                    <a:pt x="6048" y="50502"/>
                  </a:lnTo>
                  <a:lnTo>
                    <a:pt x="3953" y="48463"/>
                  </a:lnTo>
                  <a:lnTo>
                    <a:pt x="3905" y="45482"/>
                  </a:lnTo>
                  <a:lnTo>
                    <a:pt x="4381" y="43682"/>
                  </a:lnTo>
                  <a:lnTo>
                    <a:pt x="8201" y="37224"/>
                  </a:lnTo>
                  <a:lnTo>
                    <a:pt x="13326" y="31004"/>
                  </a:lnTo>
                  <a:lnTo>
                    <a:pt x="18488" y="31061"/>
                  </a:lnTo>
                  <a:lnTo>
                    <a:pt x="22250" y="29070"/>
                  </a:lnTo>
                  <a:lnTo>
                    <a:pt x="24498" y="28832"/>
                  </a:lnTo>
                  <a:lnTo>
                    <a:pt x="31518" y="29261"/>
                  </a:lnTo>
                  <a:lnTo>
                    <a:pt x="35119" y="27889"/>
                  </a:lnTo>
                  <a:lnTo>
                    <a:pt x="38348" y="25032"/>
                  </a:lnTo>
                  <a:lnTo>
                    <a:pt x="45320" y="12868"/>
                  </a:lnTo>
                  <a:lnTo>
                    <a:pt x="49254" y="7772"/>
                  </a:lnTo>
                  <a:lnTo>
                    <a:pt x="57188" y="5982"/>
                  </a:lnTo>
                  <a:lnTo>
                    <a:pt x="64523" y="76"/>
                  </a:lnTo>
                  <a:lnTo>
                    <a:pt x="66570" y="0"/>
                  </a:lnTo>
                  <a:lnTo>
                    <a:pt x="63122" y="4401"/>
                  </a:lnTo>
                  <a:lnTo>
                    <a:pt x="62570" y="6106"/>
                  </a:lnTo>
                  <a:lnTo>
                    <a:pt x="62151" y="8706"/>
                  </a:lnTo>
                  <a:lnTo>
                    <a:pt x="64618" y="14345"/>
                  </a:lnTo>
                  <a:lnTo>
                    <a:pt x="64094" y="17774"/>
                  </a:lnTo>
                  <a:lnTo>
                    <a:pt x="64275" y="24499"/>
                  </a:lnTo>
                  <a:lnTo>
                    <a:pt x="61941" y="27994"/>
                  </a:lnTo>
                  <a:lnTo>
                    <a:pt x="59312" y="35405"/>
                  </a:lnTo>
                  <a:lnTo>
                    <a:pt x="58179" y="36491"/>
                  </a:lnTo>
                  <a:lnTo>
                    <a:pt x="57931" y="45101"/>
                  </a:lnTo>
                  <a:lnTo>
                    <a:pt x="58188" y="47149"/>
                  </a:lnTo>
                  <a:lnTo>
                    <a:pt x="57807" y="54940"/>
                  </a:lnTo>
                  <a:lnTo>
                    <a:pt x="60503" y="58122"/>
                  </a:lnTo>
                  <a:lnTo>
                    <a:pt x="63351" y="59779"/>
                  </a:lnTo>
                  <a:lnTo>
                    <a:pt x="72857" y="59722"/>
                  </a:lnTo>
                  <a:lnTo>
                    <a:pt x="73847" y="61113"/>
                  </a:lnTo>
                  <a:lnTo>
                    <a:pt x="75009" y="63503"/>
                  </a:lnTo>
                  <a:lnTo>
                    <a:pt x="74162" y="67561"/>
                  </a:lnTo>
                  <a:lnTo>
                    <a:pt x="73143" y="70618"/>
                  </a:lnTo>
                  <a:lnTo>
                    <a:pt x="70390" y="73190"/>
                  </a:lnTo>
                  <a:lnTo>
                    <a:pt x="66856" y="75105"/>
                  </a:lnTo>
                  <a:lnTo>
                    <a:pt x="64656" y="75190"/>
                  </a:lnTo>
                  <a:lnTo>
                    <a:pt x="61665" y="71552"/>
                  </a:lnTo>
                  <a:lnTo>
                    <a:pt x="60246" y="72733"/>
                  </a:lnTo>
                  <a:lnTo>
                    <a:pt x="58779" y="74591"/>
                  </a:lnTo>
                  <a:lnTo>
                    <a:pt x="56312" y="84515"/>
                  </a:lnTo>
                  <a:lnTo>
                    <a:pt x="55140" y="91192"/>
                  </a:lnTo>
                  <a:lnTo>
                    <a:pt x="54512" y="91735"/>
                  </a:lnTo>
                  <a:lnTo>
                    <a:pt x="53121" y="90745"/>
                  </a:lnTo>
                  <a:lnTo>
                    <a:pt x="50721" y="90669"/>
                  </a:lnTo>
                  <a:lnTo>
                    <a:pt x="47682" y="92250"/>
                  </a:lnTo>
                  <a:lnTo>
                    <a:pt x="49244" y="93659"/>
                  </a:lnTo>
                  <a:lnTo>
                    <a:pt x="50892" y="96108"/>
                  </a:lnTo>
                  <a:lnTo>
                    <a:pt x="50235" y="97336"/>
                  </a:lnTo>
                  <a:lnTo>
                    <a:pt x="47558" y="98660"/>
                  </a:lnTo>
                  <a:lnTo>
                    <a:pt x="45186" y="101337"/>
                  </a:lnTo>
                  <a:lnTo>
                    <a:pt x="44196" y="103356"/>
                  </a:lnTo>
                  <a:lnTo>
                    <a:pt x="41215" y="105747"/>
                  </a:lnTo>
                  <a:lnTo>
                    <a:pt x="39329" y="108776"/>
                  </a:lnTo>
                  <a:lnTo>
                    <a:pt x="40253" y="112519"/>
                  </a:lnTo>
                  <a:lnTo>
                    <a:pt x="40643" y="115805"/>
                  </a:lnTo>
                  <a:lnTo>
                    <a:pt x="41462" y="119425"/>
                  </a:lnTo>
                  <a:lnTo>
                    <a:pt x="40719" y="122311"/>
                  </a:lnTo>
                  <a:lnTo>
                    <a:pt x="37014" y="126445"/>
                  </a:lnTo>
                  <a:lnTo>
                    <a:pt x="35652" y="130016"/>
                  </a:lnTo>
                  <a:lnTo>
                    <a:pt x="38824" y="129969"/>
                  </a:lnTo>
                  <a:lnTo>
                    <a:pt x="40777" y="130788"/>
                  </a:lnTo>
                  <a:lnTo>
                    <a:pt x="41920" y="131845"/>
                  </a:lnTo>
                  <a:lnTo>
                    <a:pt x="43101" y="133341"/>
                  </a:lnTo>
                  <a:lnTo>
                    <a:pt x="42377" y="135189"/>
                  </a:lnTo>
                  <a:lnTo>
                    <a:pt x="43272" y="139951"/>
                  </a:lnTo>
                  <a:close/>
                  <a:moveTo>
                    <a:pt x="78353" y="24003"/>
                  </a:moveTo>
                  <a:lnTo>
                    <a:pt x="77267" y="25156"/>
                  </a:lnTo>
                  <a:lnTo>
                    <a:pt x="73590" y="23527"/>
                  </a:lnTo>
                  <a:lnTo>
                    <a:pt x="75209" y="21241"/>
                  </a:lnTo>
                  <a:lnTo>
                    <a:pt x="79248" y="20184"/>
                  </a:lnTo>
                  <a:lnTo>
                    <a:pt x="81620" y="20536"/>
                  </a:lnTo>
                  <a:lnTo>
                    <a:pt x="79010" y="22803"/>
                  </a:lnTo>
                  <a:lnTo>
                    <a:pt x="78353" y="24003"/>
                  </a:lnTo>
                  <a:close/>
                  <a:moveTo>
                    <a:pt x="118901" y="94983"/>
                  </a:moveTo>
                  <a:lnTo>
                    <a:pt x="118967" y="99727"/>
                  </a:lnTo>
                  <a:lnTo>
                    <a:pt x="118272" y="101108"/>
                  </a:lnTo>
                  <a:lnTo>
                    <a:pt x="117253" y="102023"/>
                  </a:lnTo>
                  <a:lnTo>
                    <a:pt x="114586" y="102984"/>
                  </a:lnTo>
                  <a:lnTo>
                    <a:pt x="112271" y="104327"/>
                  </a:lnTo>
                  <a:lnTo>
                    <a:pt x="110204" y="106680"/>
                  </a:lnTo>
                  <a:lnTo>
                    <a:pt x="109442" y="110042"/>
                  </a:lnTo>
                  <a:lnTo>
                    <a:pt x="111052" y="112500"/>
                  </a:lnTo>
                  <a:lnTo>
                    <a:pt x="113986" y="113843"/>
                  </a:lnTo>
                  <a:lnTo>
                    <a:pt x="114738" y="118510"/>
                  </a:lnTo>
                  <a:lnTo>
                    <a:pt x="112319" y="120806"/>
                  </a:lnTo>
                  <a:lnTo>
                    <a:pt x="106109" y="123092"/>
                  </a:lnTo>
                  <a:lnTo>
                    <a:pt x="105461" y="128607"/>
                  </a:lnTo>
                  <a:lnTo>
                    <a:pt x="105661" y="132940"/>
                  </a:lnTo>
                  <a:lnTo>
                    <a:pt x="105546" y="136084"/>
                  </a:lnTo>
                  <a:lnTo>
                    <a:pt x="105051" y="140427"/>
                  </a:lnTo>
                  <a:lnTo>
                    <a:pt x="100032" y="142399"/>
                  </a:lnTo>
                  <a:lnTo>
                    <a:pt x="96784" y="135789"/>
                  </a:lnTo>
                  <a:lnTo>
                    <a:pt x="96755" y="133131"/>
                  </a:lnTo>
                  <a:lnTo>
                    <a:pt x="95783" y="130026"/>
                  </a:lnTo>
                  <a:lnTo>
                    <a:pt x="95603" y="127378"/>
                  </a:lnTo>
                  <a:lnTo>
                    <a:pt x="94450" y="123139"/>
                  </a:lnTo>
                  <a:lnTo>
                    <a:pt x="89697" y="121987"/>
                  </a:lnTo>
                  <a:lnTo>
                    <a:pt x="87849" y="121834"/>
                  </a:lnTo>
                  <a:lnTo>
                    <a:pt x="85268" y="122625"/>
                  </a:lnTo>
                  <a:lnTo>
                    <a:pt x="84630" y="122320"/>
                  </a:lnTo>
                  <a:lnTo>
                    <a:pt x="81534" y="116510"/>
                  </a:lnTo>
                  <a:lnTo>
                    <a:pt x="82048" y="110071"/>
                  </a:lnTo>
                  <a:lnTo>
                    <a:pt x="80401" y="106814"/>
                  </a:lnTo>
                  <a:lnTo>
                    <a:pt x="80172" y="105337"/>
                  </a:lnTo>
                  <a:lnTo>
                    <a:pt x="80210" y="103699"/>
                  </a:lnTo>
                  <a:lnTo>
                    <a:pt x="78848" y="102346"/>
                  </a:lnTo>
                  <a:lnTo>
                    <a:pt x="77210" y="101632"/>
                  </a:lnTo>
                  <a:lnTo>
                    <a:pt x="76410" y="97984"/>
                  </a:lnTo>
                  <a:lnTo>
                    <a:pt x="78296" y="97098"/>
                  </a:lnTo>
                  <a:lnTo>
                    <a:pt x="82972" y="97527"/>
                  </a:lnTo>
                  <a:lnTo>
                    <a:pt x="84344" y="97279"/>
                  </a:lnTo>
                  <a:lnTo>
                    <a:pt x="85592" y="96517"/>
                  </a:lnTo>
                  <a:lnTo>
                    <a:pt x="89373" y="90497"/>
                  </a:lnTo>
                  <a:lnTo>
                    <a:pt x="89259" y="89164"/>
                  </a:lnTo>
                  <a:lnTo>
                    <a:pt x="89659" y="87440"/>
                  </a:lnTo>
                  <a:lnTo>
                    <a:pt x="93745" y="86801"/>
                  </a:lnTo>
                  <a:lnTo>
                    <a:pt x="95564" y="89135"/>
                  </a:lnTo>
                  <a:lnTo>
                    <a:pt x="95193" y="92869"/>
                  </a:lnTo>
                  <a:lnTo>
                    <a:pt x="95422" y="97631"/>
                  </a:lnTo>
                  <a:lnTo>
                    <a:pt x="97898" y="98927"/>
                  </a:lnTo>
                  <a:lnTo>
                    <a:pt x="98860" y="99117"/>
                  </a:lnTo>
                  <a:lnTo>
                    <a:pt x="99898" y="95603"/>
                  </a:lnTo>
                  <a:lnTo>
                    <a:pt x="100622" y="93888"/>
                  </a:lnTo>
                  <a:lnTo>
                    <a:pt x="101603" y="92926"/>
                  </a:lnTo>
                  <a:lnTo>
                    <a:pt x="101937" y="89707"/>
                  </a:lnTo>
                  <a:lnTo>
                    <a:pt x="101355" y="87735"/>
                  </a:lnTo>
                  <a:lnTo>
                    <a:pt x="100117" y="86258"/>
                  </a:lnTo>
                  <a:lnTo>
                    <a:pt x="104747" y="82258"/>
                  </a:lnTo>
                  <a:lnTo>
                    <a:pt x="109538" y="79077"/>
                  </a:lnTo>
                  <a:lnTo>
                    <a:pt x="112328" y="78905"/>
                  </a:lnTo>
                  <a:lnTo>
                    <a:pt x="115129" y="79686"/>
                  </a:lnTo>
                  <a:lnTo>
                    <a:pt x="117738" y="80753"/>
                  </a:lnTo>
                  <a:lnTo>
                    <a:pt x="119148" y="81677"/>
                  </a:lnTo>
                  <a:lnTo>
                    <a:pt x="119939" y="83163"/>
                  </a:lnTo>
                  <a:lnTo>
                    <a:pt x="118186" y="86697"/>
                  </a:lnTo>
                  <a:lnTo>
                    <a:pt x="117700" y="88621"/>
                  </a:lnTo>
                  <a:lnTo>
                    <a:pt x="118901" y="94983"/>
                  </a:lnTo>
                  <a:close/>
                  <a:moveTo>
                    <a:pt x="66465" y="95079"/>
                  </a:moveTo>
                  <a:lnTo>
                    <a:pt x="66008" y="95926"/>
                  </a:lnTo>
                  <a:lnTo>
                    <a:pt x="64313" y="95041"/>
                  </a:lnTo>
                  <a:lnTo>
                    <a:pt x="64132" y="91973"/>
                  </a:lnTo>
                  <a:lnTo>
                    <a:pt x="64770" y="89211"/>
                  </a:lnTo>
                  <a:lnTo>
                    <a:pt x="64018" y="86735"/>
                  </a:lnTo>
                  <a:lnTo>
                    <a:pt x="64846" y="85144"/>
                  </a:lnTo>
                  <a:lnTo>
                    <a:pt x="67228" y="88849"/>
                  </a:lnTo>
                  <a:lnTo>
                    <a:pt x="67904" y="90592"/>
                  </a:lnTo>
                  <a:lnTo>
                    <a:pt x="66980" y="92669"/>
                  </a:lnTo>
                  <a:lnTo>
                    <a:pt x="66465" y="95079"/>
                  </a:lnTo>
                  <a:close/>
                  <a:moveTo>
                    <a:pt x="121491" y="103899"/>
                  </a:moveTo>
                  <a:lnTo>
                    <a:pt x="118977" y="105909"/>
                  </a:lnTo>
                  <a:lnTo>
                    <a:pt x="118424" y="105804"/>
                  </a:lnTo>
                  <a:lnTo>
                    <a:pt x="117605" y="103051"/>
                  </a:lnTo>
                  <a:lnTo>
                    <a:pt x="118939" y="101375"/>
                  </a:lnTo>
                  <a:lnTo>
                    <a:pt x="119720" y="99956"/>
                  </a:lnTo>
                  <a:lnTo>
                    <a:pt x="120282" y="99994"/>
                  </a:lnTo>
                  <a:lnTo>
                    <a:pt x="121044" y="101537"/>
                  </a:lnTo>
                  <a:lnTo>
                    <a:pt x="121491" y="103899"/>
                  </a:lnTo>
                  <a:close/>
                  <a:moveTo>
                    <a:pt x="67475" y="103280"/>
                  </a:moveTo>
                  <a:lnTo>
                    <a:pt x="68589" y="105737"/>
                  </a:lnTo>
                  <a:lnTo>
                    <a:pt x="69961" y="110976"/>
                  </a:lnTo>
                  <a:lnTo>
                    <a:pt x="72133" y="116824"/>
                  </a:lnTo>
                  <a:lnTo>
                    <a:pt x="71228" y="119263"/>
                  </a:lnTo>
                  <a:lnTo>
                    <a:pt x="71847" y="122387"/>
                  </a:lnTo>
                  <a:lnTo>
                    <a:pt x="71228" y="125635"/>
                  </a:lnTo>
                  <a:lnTo>
                    <a:pt x="66913" y="129407"/>
                  </a:lnTo>
                  <a:lnTo>
                    <a:pt x="62074" y="129578"/>
                  </a:lnTo>
                  <a:lnTo>
                    <a:pt x="57045" y="127759"/>
                  </a:lnTo>
                  <a:lnTo>
                    <a:pt x="49940" y="124244"/>
                  </a:lnTo>
                  <a:lnTo>
                    <a:pt x="49368" y="122272"/>
                  </a:lnTo>
                  <a:lnTo>
                    <a:pt x="48378" y="121177"/>
                  </a:lnTo>
                  <a:lnTo>
                    <a:pt x="46472" y="115167"/>
                  </a:lnTo>
                  <a:lnTo>
                    <a:pt x="46511" y="107728"/>
                  </a:lnTo>
                  <a:lnTo>
                    <a:pt x="50082" y="106785"/>
                  </a:lnTo>
                  <a:lnTo>
                    <a:pt x="57883" y="103222"/>
                  </a:lnTo>
                  <a:lnTo>
                    <a:pt x="59684" y="103785"/>
                  </a:lnTo>
                  <a:lnTo>
                    <a:pt x="61569" y="105604"/>
                  </a:lnTo>
                  <a:lnTo>
                    <a:pt x="63741" y="105709"/>
                  </a:lnTo>
                  <a:lnTo>
                    <a:pt x="66885" y="103127"/>
                  </a:lnTo>
                  <a:lnTo>
                    <a:pt x="67475" y="103280"/>
                  </a:lnTo>
                  <a:close/>
                  <a:moveTo>
                    <a:pt x="186233" y="130836"/>
                  </a:moveTo>
                  <a:lnTo>
                    <a:pt x="185242" y="131626"/>
                  </a:lnTo>
                  <a:lnTo>
                    <a:pt x="180822" y="130321"/>
                  </a:lnTo>
                  <a:lnTo>
                    <a:pt x="175441" y="127092"/>
                  </a:lnTo>
                  <a:lnTo>
                    <a:pt x="176231" y="120748"/>
                  </a:lnTo>
                  <a:lnTo>
                    <a:pt x="177613" y="117996"/>
                  </a:lnTo>
                  <a:lnTo>
                    <a:pt x="187433" y="125111"/>
                  </a:lnTo>
                  <a:lnTo>
                    <a:pt x="187557" y="127788"/>
                  </a:lnTo>
                  <a:lnTo>
                    <a:pt x="186233" y="130836"/>
                  </a:lnTo>
                  <a:close/>
                  <a:moveTo>
                    <a:pt x="69856" y="143408"/>
                  </a:moveTo>
                  <a:lnTo>
                    <a:pt x="68666" y="143666"/>
                  </a:lnTo>
                  <a:lnTo>
                    <a:pt x="67056" y="139922"/>
                  </a:lnTo>
                  <a:lnTo>
                    <a:pt x="66847" y="138741"/>
                  </a:lnTo>
                  <a:lnTo>
                    <a:pt x="68742" y="136341"/>
                  </a:lnTo>
                  <a:lnTo>
                    <a:pt x="69961" y="133617"/>
                  </a:lnTo>
                  <a:lnTo>
                    <a:pt x="73133" y="129426"/>
                  </a:lnTo>
                  <a:lnTo>
                    <a:pt x="74952" y="124501"/>
                  </a:lnTo>
                  <a:lnTo>
                    <a:pt x="75648" y="124578"/>
                  </a:lnTo>
                  <a:lnTo>
                    <a:pt x="74838" y="128969"/>
                  </a:lnTo>
                  <a:lnTo>
                    <a:pt x="70676" y="141151"/>
                  </a:lnTo>
                  <a:lnTo>
                    <a:pt x="69856" y="143408"/>
                  </a:lnTo>
                  <a:close/>
                  <a:moveTo>
                    <a:pt x="51864" y="137131"/>
                  </a:moveTo>
                  <a:lnTo>
                    <a:pt x="49082" y="137770"/>
                  </a:lnTo>
                  <a:lnTo>
                    <a:pt x="47663" y="136646"/>
                  </a:lnTo>
                  <a:lnTo>
                    <a:pt x="45053" y="136217"/>
                  </a:lnTo>
                  <a:lnTo>
                    <a:pt x="44120" y="129064"/>
                  </a:lnTo>
                  <a:lnTo>
                    <a:pt x="44387" y="128635"/>
                  </a:lnTo>
                  <a:lnTo>
                    <a:pt x="45701" y="129140"/>
                  </a:lnTo>
                  <a:lnTo>
                    <a:pt x="50206" y="132483"/>
                  </a:lnTo>
                  <a:lnTo>
                    <a:pt x="51778" y="136132"/>
                  </a:lnTo>
                  <a:lnTo>
                    <a:pt x="51864" y="137131"/>
                  </a:lnTo>
                  <a:close/>
                  <a:moveTo>
                    <a:pt x="118377" y="133445"/>
                  </a:moveTo>
                  <a:lnTo>
                    <a:pt x="117358" y="134141"/>
                  </a:lnTo>
                  <a:lnTo>
                    <a:pt x="113252" y="133636"/>
                  </a:lnTo>
                  <a:lnTo>
                    <a:pt x="108623" y="136855"/>
                  </a:lnTo>
                  <a:lnTo>
                    <a:pt x="106871" y="135836"/>
                  </a:lnTo>
                  <a:lnTo>
                    <a:pt x="107537" y="133779"/>
                  </a:lnTo>
                  <a:lnTo>
                    <a:pt x="108023" y="133026"/>
                  </a:lnTo>
                  <a:lnTo>
                    <a:pt x="109576" y="132150"/>
                  </a:lnTo>
                  <a:lnTo>
                    <a:pt x="110614" y="130874"/>
                  </a:lnTo>
                  <a:lnTo>
                    <a:pt x="111023" y="128874"/>
                  </a:lnTo>
                  <a:lnTo>
                    <a:pt x="111985" y="129950"/>
                  </a:lnTo>
                  <a:lnTo>
                    <a:pt x="114853" y="130397"/>
                  </a:lnTo>
                  <a:lnTo>
                    <a:pt x="116253" y="131036"/>
                  </a:lnTo>
                  <a:lnTo>
                    <a:pt x="117424" y="131979"/>
                  </a:lnTo>
                  <a:lnTo>
                    <a:pt x="118377" y="133445"/>
                  </a:lnTo>
                  <a:close/>
                  <a:moveTo>
                    <a:pt x="63179" y="138922"/>
                  </a:moveTo>
                  <a:lnTo>
                    <a:pt x="61389" y="139408"/>
                  </a:lnTo>
                  <a:lnTo>
                    <a:pt x="59341" y="138399"/>
                  </a:lnTo>
                  <a:lnTo>
                    <a:pt x="55997" y="134598"/>
                  </a:lnTo>
                  <a:lnTo>
                    <a:pt x="55578" y="133588"/>
                  </a:lnTo>
                  <a:lnTo>
                    <a:pt x="57331" y="134226"/>
                  </a:lnTo>
                  <a:lnTo>
                    <a:pt x="59512" y="136217"/>
                  </a:lnTo>
                  <a:lnTo>
                    <a:pt x="61293" y="136646"/>
                  </a:lnTo>
                  <a:lnTo>
                    <a:pt x="63732" y="138322"/>
                  </a:lnTo>
                  <a:lnTo>
                    <a:pt x="63179" y="138922"/>
                  </a:lnTo>
                  <a:close/>
                  <a:moveTo>
                    <a:pt x="86620" y="136884"/>
                  </a:moveTo>
                  <a:lnTo>
                    <a:pt x="91354" y="139760"/>
                  </a:lnTo>
                  <a:lnTo>
                    <a:pt x="94555" y="139589"/>
                  </a:lnTo>
                  <a:lnTo>
                    <a:pt x="96736" y="140780"/>
                  </a:lnTo>
                  <a:lnTo>
                    <a:pt x="97260" y="142618"/>
                  </a:lnTo>
                  <a:lnTo>
                    <a:pt x="97450" y="146695"/>
                  </a:lnTo>
                  <a:lnTo>
                    <a:pt x="95164" y="147885"/>
                  </a:lnTo>
                  <a:lnTo>
                    <a:pt x="92640" y="147485"/>
                  </a:lnTo>
                  <a:lnTo>
                    <a:pt x="89202" y="149038"/>
                  </a:lnTo>
                  <a:lnTo>
                    <a:pt x="77924" y="142380"/>
                  </a:lnTo>
                  <a:lnTo>
                    <a:pt x="78086" y="136808"/>
                  </a:lnTo>
                  <a:lnTo>
                    <a:pt x="78534" y="134617"/>
                  </a:lnTo>
                  <a:lnTo>
                    <a:pt x="83877" y="134093"/>
                  </a:lnTo>
                  <a:lnTo>
                    <a:pt x="86620" y="136884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" name="Forme libre : forme 16">
              <a:extLst>
                <a:ext uri="{FF2B5EF4-FFF2-40B4-BE49-F238E27FC236}">
                  <a16:creationId xmlns:a16="http://schemas.microsoft.com/office/drawing/2014/main" id="{5644817F-9317-C936-D3CB-81834DC26E3A}"/>
                </a:ext>
              </a:extLst>
            </p:cNvPr>
            <p:cNvSpPr/>
            <p:nvPr/>
          </p:nvSpPr>
          <p:spPr>
            <a:xfrm>
              <a:off x="6748879" y="3339151"/>
              <a:ext cx="438742" cy="271528"/>
            </a:xfrm>
            <a:custGeom>
              <a:avLst/>
              <a:gdLst>
                <a:gd name="connsiteX0" fmla="*/ 164611 w 168306"/>
                <a:gd name="connsiteY0" fmla="*/ 8153 h 108232"/>
                <a:gd name="connsiteX1" fmla="*/ 166031 w 168306"/>
                <a:gd name="connsiteY1" fmla="*/ 9782 h 108232"/>
                <a:gd name="connsiteX2" fmla="*/ 167821 w 168306"/>
                <a:gd name="connsiteY2" fmla="*/ 12411 h 108232"/>
                <a:gd name="connsiteX3" fmla="*/ 168307 w 168306"/>
                <a:gd name="connsiteY3" fmla="*/ 13916 h 108232"/>
                <a:gd name="connsiteX4" fmla="*/ 167697 w 168306"/>
                <a:gd name="connsiteY4" fmla="*/ 14802 h 108232"/>
                <a:gd name="connsiteX5" fmla="*/ 165907 w 168306"/>
                <a:gd name="connsiteY5" fmla="*/ 15554 h 108232"/>
                <a:gd name="connsiteX6" fmla="*/ 165497 w 168306"/>
                <a:gd name="connsiteY6" fmla="*/ 16364 h 108232"/>
                <a:gd name="connsiteX7" fmla="*/ 164706 w 168306"/>
                <a:gd name="connsiteY7" fmla="*/ 17726 h 108232"/>
                <a:gd name="connsiteX8" fmla="*/ 162611 w 168306"/>
                <a:gd name="connsiteY8" fmla="*/ 17974 h 108232"/>
                <a:gd name="connsiteX9" fmla="*/ 161534 w 168306"/>
                <a:gd name="connsiteY9" fmla="*/ 18983 h 108232"/>
                <a:gd name="connsiteX10" fmla="*/ 160248 w 168306"/>
                <a:gd name="connsiteY10" fmla="*/ 23413 h 108232"/>
                <a:gd name="connsiteX11" fmla="*/ 157791 w 168306"/>
                <a:gd name="connsiteY11" fmla="*/ 30728 h 108232"/>
                <a:gd name="connsiteX12" fmla="*/ 154162 w 168306"/>
                <a:gd name="connsiteY12" fmla="*/ 36271 h 108232"/>
                <a:gd name="connsiteX13" fmla="*/ 151257 w 168306"/>
                <a:gd name="connsiteY13" fmla="*/ 39300 h 108232"/>
                <a:gd name="connsiteX14" fmla="*/ 149962 w 168306"/>
                <a:gd name="connsiteY14" fmla="*/ 41624 h 108232"/>
                <a:gd name="connsiteX15" fmla="*/ 149152 w 168306"/>
                <a:gd name="connsiteY15" fmla="*/ 44405 h 108232"/>
                <a:gd name="connsiteX16" fmla="*/ 148961 w 168306"/>
                <a:gd name="connsiteY16" fmla="*/ 47196 h 108232"/>
                <a:gd name="connsiteX17" fmla="*/ 151743 w 168306"/>
                <a:gd name="connsiteY17" fmla="*/ 62436 h 108232"/>
                <a:gd name="connsiteX18" fmla="*/ 151714 w 168306"/>
                <a:gd name="connsiteY18" fmla="*/ 65179 h 108232"/>
                <a:gd name="connsiteX19" fmla="*/ 151057 w 168306"/>
                <a:gd name="connsiteY19" fmla="*/ 67989 h 108232"/>
                <a:gd name="connsiteX20" fmla="*/ 150581 w 168306"/>
                <a:gd name="connsiteY20" fmla="*/ 70838 h 108232"/>
                <a:gd name="connsiteX21" fmla="*/ 150971 w 168306"/>
                <a:gd name="connsiteY21" fmla="*/ 73305 h 108232"/>
                <a:gd name="connsiteX22" fmla="*/ 152810 w 168306"/>
                <a:gd name="connsiteY22" fmla="*/ 77514 h 108232"/>
                <a:gd name="connsiteX23" fmla="*/ 154762 w 168306"/>
                <a:gd name="connsiteY23" fmla="*/ 83782 h 108232"/>
                <a:gd name="connsiteX24" fmla="*/ 155553 w 168306"/>
                <a:gd name="connsiteY24" fmla="*/ 87773 h 108232"/>
                <a:gd name="connsiteX25" fmla="*/ 156848 w 168306"/>
                <a:gd name="connsiteY25" fmla="*/ 89230 h 108232"/>
                <a:gd name="connsiteX26" fmla="*/ 158096 w 168306"/>
                <a:gd name="connsiteY26" fmla="*/ 90306 h 108232"/>
                <a:gd name="connsiteX27" fmla="*/ 158353 w 168306"/>
                <a:gd name="connsiteY27" fmla="*/ 90983 h 108232"/>
                <a:gd name="connsiteX28" fmla="*/ 158315 w 168306"/>
                <a:gd name="connsiteY28" fmla="*/ 91678 h 108232"/>
                <a:gd name="connsiteX29" fmla="*/ 157667 w 168306"/>
                <a:gd name="connsiteY29" fmla="*/ 92469 h 108232"/>
                <a:gd name="connsiteX30" fmla="*/ 152038 w 168306"/>
                <a:gd name="connsiteY30" fmla="*/ 94555 h 108232"/>
                <a:gd name="connsiteX31" fmla="*/ 151305 w 168306"/>
                <a:gd name="connsiteY31" fmla="*/ 96317 h 108232"/>
                <a:gd name="connsiteX32" fmla="*/ 150695 w 168306"/>
                <a:gd name="connsiteY32" fmla="*/ 98288 h 108232"/>
                <a:gd name="connsiteX33" fmla="*/ 148237 w 168306"/>
                <a:gd name="connsiteY33" fmla="*/ 101194 h 108232"/>
                <a:gd name="connsiteX34" fmla="*/ 147485 w 168306"/>
                <a:gd name="connsiteY34" fmla="*/ 103899 h 108232"/>
                <a:gd name="connsiteX35" fmla="*/ 147018 w 168306"/>
                <a:gd name="connsiteY35" fmla="*/ 106994 h 108232"/>
                <a:gd name="connsiteX36" fmla="*/ 146961 w 168306"/>
                <a:gd name="connsiteY36" fmla="*/ 108099 h 108232"/>
                <a:gd name="connsiteX37" fmla="*/ 146285 w 168306"/>
                <a:gd name="connsiteY37" fmla="*/ 108233 h 108232"/>
                <a:gd name="connsiteX38" fmla="*/ 142551 w 168306"/>
                <a:gd name="connsiteY38" fmla="*/ 107594 h 108232"/>
                <a:gd name="connsiteX39" fmla="*/ 138436 w 168306"/>
                <a:gd name="connsiteY39" fmla="*/ 105585 h 108232"/>
                <a:gd name="connsiteX40" fmla="*/ 136636 w 168306"/>
                <a:gd name="connsiteY40" fmla="*/ 104070 h 108232"/>
                <a:gd name="connsiteX41" fmla="*/ 134864 w 168306"/>
                <a:gd name="connsiteY41" fmla="*/ 104089 h 108232"/>
                <a:gd name="connsiteX42" fmla="*/ 132722 w 168306"/>
                <a:gd name="connsiteY42" fmla="*/ 105080 h 108232"/>
                <a:gd name="connsiteX43" fmla="*/ 125044 w 168306"/>
                <a:gd name="connsiteY43" fmla="*/ 107947 h 108232"/>
                <a:gd name="connsiteX44" fmla="*/ 123158 w 168306"/>
                <a:gd name="connsiteY44" fmla="*/ 107280 h 108232"/>
                <a:gd name="connsiteX45" fmla="*/ 118777 w 168306"/>
                <a:gd name="connsiteY45" fmla="*/ 104461 h 108232"/>
                <a:gd name="connsiteX46" fmla="*/ 116557 w 168306"/>
                <a:gd name="connsiteY46" fmla="*/ 101384 h 108232"/>
                <a:gd name="connsiteX47" fmla="*/ 111614 w 168306"/>
                <a:gd name="connsiteY47" fmla="*/ 95250 h 108232"/>
                <a:gd name="connsiteX48" fmla="*/ 111214 w 168306"/>
                <a:gd name="connsiteY48" fmla="*/ 93783 h 108232"/>
                <a:gd name="connsiteX49" fmla="*/ 110567 w 168306"/>
                <a:gd name="connsiteY49" fmla="*/ 92612 h 108232"/>
                <a:gd name="connsiteX50" fmla="*/ 105290 w 168306"/>
                <a:gd name="connsiteY50" fmla="*/ 91087 h 108232"/>
                <a:gd name="connsiteX51" fmla="*/ 103337 w 168306"/>
                <a:gd name="connsiteY51" fmla="*/ 88811 h 108232"/>
                <a:gd name="connsiteX52" fmla="*/ 101718 w 168306"/>
                <a:gd name="connsiteY52" fmla="*/ 88497 h 108232"/>
                <a:gd name="connsiteX53" fmla="*/ 99336 w 168306"/>
                <a:gd name="connsiteY53" fmla="*/ 87354 h 108232"/>
                <a:gd name="connsiteX54" fmla="*/ 93155 w 168306"/>
                <a:gd name="connsiteY54" fmla="*/ 82487 h 108232"/>
                <a:gd name="connsiteX55" fmla="*/ 91621 w 168306"/>
                <a:gd name="connsiteY55" fmla="*/ 82029 h 108232"/>
                <a:gd name="connsiteX56" fmla="*/ 91250 w 168306"/>
                <a:gd name="connsiteY56" fmla="*/ 82848 h 108232"/>
                <a:gd name="connsiteX57" fmla="*/ 91354 w 168306"/>
                <a:gd name="connsiteY57" fmla="*/ 84001 h 108232"/>
                <a:gd name="connsiteX58" fmla="*/ 90964 w 168306"/>
                <a:gd name="connsiteY58" fmla="*/ 84668 h 108232"/>
                <a:gd name="connsiteX59" fmla="*/ 90173 w 168306"/>
                <a:gd name="connsiteY59" fmla="*/ 84649 h 108232"/>
                <a:gd name="connsiteX60" fmla="*/ 88745 w 168306"/>
                <a:gd name="connsiteY60" fmla="*/ 82858 h 108232"/>
                <a:gd name="connsiteX61" fmla="*/ 87030 w 168306"/>
                <a:gd name="connsiteY61" fmla="*/ 81277 h 108232"/>
                <a:gd name="connsiteX62" fmla="*/ 81686 w 168306"/>
                <a:gd name="connsiteY62" fmla="*/ 84249 h 108232"/>
                <a:gd name="connsiteX63" fmla="*/ 79753 w 168306"/>
                <a:gd name="connsiteY63" fmla="*/ 85039 h 108232"/>
                <a:gd name="connsiteX64" fmla="*/ 78057 w 168306"/>
                <a:gd name="connsiteY64" fmla="*/ 85220 h 108232"/>
                <a:gd name="connsiteX65" fmla="*/ 69590 w 168306"/>
                <a:gd name="connsiteY65" fmla="*/ 89106 h 108232"/>
                <a:gd name="connsiteX66" fmla="*/ 67008 w 168306"/>
                <a:gd name="connsiteY66" fmla="*/ 91202 h 108232"/>
                <a:gd name="connsiteX67" fmla="*/ 65941 w 168306"/>
                <a:gd name="connsiteY67" fmla="*/ 90983 h 108232"/>
                <a:gd name="connsiteX68" fmla="*/ 66189 w 168306"/>
                <a:gd name="connsiteY68" fmla="*/ 89011 h 108232"/>
                <a:gd name="connsiteX69" fmla="*/ 69714 w 168306"/>
                <a:gd name="connsiteY69" fmla="*/ 79134 h 108232"/>
                <a:gd name="connsiteX70" fmla="*/ 70342 w 168306"/>
                <a:gd name="connsiteY70" fmla="*/ 71256 h 108232"/>
                <a:gd name="connsiteX71" fmla="*/ 71628 w 168306"/>
                <a:gd name="connsiteY71" fmla="*/ 70171 h 108232"/>
                <a:gd name="connsiteX72" fmla="*/ 72009 w 168306"/>
                <a:gd name="connsiteY72" fmla="*/ 69075 h 108232"/>
                <a:gd name="connsiteX73" fmla="*/ 71457 w 168306"/>
                <a:gd name="connsiteY73" fmla="*/ 66551 h 108232"/>
                <a:gd name="connsiteX74" fmla="*/ 67799 w 168306"/>
                <a:gd name="connsiteY74" fmla="*/ 64932 h 108232"/>
                <a:gd name="connsiteX75" fmla="*/ 66323 w 168306"/>
                <a:gd name="connsiteY75" fmla="*/ 65170 h 108232"/>
                <a:gd name="connsiteX76" fmla="*/ 64989 w 168306"/>
                <a:gd name="connsiteY76" fmla="*/ 67885 h 108232"/>
                <a:gd name="connsiteX77" fmla="*/ 63608 w 168306"/>
                <a:gd name="connsiteY77" fmla="*/ 69837 h 108232"/>
                <a:gd name="connsiteX78" fmla="*/ 60379 w 168306"/>
                <a:gd name="connsiteY78" fmla="*/ 71028 h 108232"/>
                <a:gd name="connsiteX79" fmla="*/ 57598 w 168306"/>
                <a:gd name="connsiteY79" fmla="*/ 68971 h 108232"/>
                <a:gd name="connsiteX80" fmla="*/ 51092 w 168306"/>
                <a:gd name="connsiteY80" fmla="*/ 66218 h 108232"/>
                <a:gd name="connsiteX81" fmla="*/ 49454 w 168306"/>
                <a:gd name="connsiteY81" fmla="*/ 62541 h 108232"/>
                <a:gd name="connsiteX82" fmla="*/ 49063 w 168306"/>
                <a:gd name="connsiteY82" fmla="*/ 58836 h 108232"/>
                <a:gd name="connsiteX83" fmla="*/ 45625 w 168306"/>
                <a:gd name="connsiteY83" fmla="*/ 55254 h 108232"/>
                <a:gd name="connsiteX84" fmla="*/ 44196 w 168306"/>
                <a:gd name="connsiteY84" fmla="*/ 51016 h 108232"/>
                <a:gd name="connsiteX85" fmla="*/ 44768 w 168306"/>
                <a:gd name="connsiteY85" fmla="*/ 48054 h 108232"/>
                <a:gd name="connsiteX86" fmla="*/ 47892 w 168306"/>
                <a:gd name="connsiteY86" fmla="*/ 46101 h 108232"/>
                <a:gd name="connsiteX87" fmla="*/ 48778 w 168306"/>
                <a:gd name="connsiteY87" fmla="*/ 44405 h 108232"/>
                <a:gd name="connsiteX88" fmla="*/ 44844 w 168306"/>
                <a:gd name="connsiteY88" fmla="*/ 44672 h 108232"/>
                <a:gd name="connsiteX89" fmla="*/ 44044 w 168306"/>
                <a:gd name="connsiteY89" fmla="*/ 44263 h 108232"/>
                <a:gd name="connsiteX90" fmla="*/ 43872 w 168306"/>
                <a:gd name="connsiteY90" fmla="*/ 42739 h 108232"/>
                <a:gd name="connsiteX91" fmla="*/ 42129 w 168306"/>
                <a:gd name="connsiteY91" fmla="*/ 37519 h 108232"/>
                <a:gd name="connsiteX92" fmla="*/ 43672 w 168306"/>
                <a:gd name="connsiteY92" fmla="*/ 35462 h 108232"/>
                <a:gd name="connsiteX93" fmla="*/ 44348 w 168306"/>
                <a:gd name="connsiteY93" fmla="*/ 33461 h 108232"/>
                <a:gd name="connsiteX94" fmla="*/ 43082 w 168306"/>
                <a:gd name="connsiteY94" fmla="*/ 31756 h 108232"/>
                <a:gd name="connsiteX95" fmla="*/ 43415 w 168306"/>
                <a:gd name="connsiteY95" fmla="*/ 29804 h 108232"/>
                <a:gd name="connsiteX96" fmla="*/ 44405 w 168306"/>
                <a:gd name="connsiteY96" fmla="*/ 27832 h 108232"/>
                <a:gd name="connsiteX97" fmla="*/ 43805 w 168306"/>
                <a:gd name="connsiteY97" fmla="*/ 23251 h 108232"/>
                <a:gd name="connsiteX98" fmla="*/ 47711 w 168306"/>
                <a:gd name="connsiteY98" fmla="*/ 20822 h 108232"/>
                <a:gd name="connsiteX99" fmla="*/ 51502 w 168306"/>
                <a:gd name="connsiteY99" fmla="*/ 19107 h 108232"/>
                <a:gd name="connsiteX100" fmla="*/ 59550 w 168306"/>
                <a:gd name="connsiteY100" fmla="*/ 18231 h 108232"/>
                <a:gd name="connsiteX101" fmla="*/ 58760 w 168306"/>
                <a:gd name="connsiteY101" fmla="*/ 14021 h 108232"/>
                <a:gd name="connsiteX102" fmla="*/ 62008 w 168306"/>
                <a:gd name="connsiteY102" fmla="*/ 13830 h 108232"/>
                <a:gd name="connsiteX103" fmla="*/ 67485 w 168306"/>
                <a:gd name="connsiteY103" fmla="*/ 8754 h 108232"/>
                <a:gd name="connsiteX104" fmla="*/ 72914 w 168306"/>
                <a:gd name="connsiteY104" fmla="*/ 9649 h 108232"/>
                <a:gd name="connsiteX105" fmla="*/ 80772 w 168306"/>
                <a:gd name="connsiteY105" fmla="*/ 6163 h 108232"/>
                <a:gd name="connsiteX106" fmla="*/ 95908 w 168306"/>
                <a:gd name="connsiteY106" fmla="*/ 6210 h 108232"/>
                <a:gd name="connsiteX107" fmla="*/ 97974 w 168306"/>
                <a:gd name="connsiteY107" fmla="*/ 4191 h 108232"/>
                <a:gd name="connsiteX108" fmla="*/ 97612 w 168306"/>
                <a:gd name="connsiteY108" fmla="*/ 2162 h 108232"/>
                <a:gd name="connsiteX109" fmla="*/ 97660 w 168306"/>
                <a:gd name="connsiteY109" fmla="*/ 0 h 108232"/>
                <a:gd name="connsiteX110" fmla="*/ 100508 w 168306"/>
                <a:gd name="connsiteY110" fmla="*/ 600 h 108232"/>
                <a:gd name="connsiteX111" fmla="*/ 105270 w 168306"/>
                <a:gd name="connsiteY111" fmla="*/ 219 h 108232"/>
                <a:gd name="connsiteX112" fmla="*/ 123101 w 168306"/>
                <a:gd name="connsiteY112" fmla="*/ 4477 h 108232"/>
                <a:gd name="connsiteX113" fmla="*/ 127492 w 168306"/>
                <a:gd name="connsiteY113" fmla="*/ 4477 h 108232"/>
                <a:gd name="connsiteX114" fmla="*/ 133560 w 168306"/>
                <a:gd name="connsiteY114" fmla="*/ 8792 h 108232"/>
                <a:gd name="connsiteX115" fmla="*/ 136836 w 168306"/>
                <a:gd name="connsiteY115" fmla="*/ 9906 h 108232"/>
                <a:gd name="connsiteX116" fmla="*/ 146485 w 168306"/>
                <a:gd name="connsiteY116" fmla="*/ 9906 h 108232"/>
                <a:gd name="connsiteX117" fmla="*/ 161373 w 168306"/>
                <a:gd name="connsiteY117" fmla="*/ 11811 h 108232"/>
                <a:gd name="connsiteX118" fmla="*/ 164297 w 168306"/>
                <a:gd name="connsiteY118" fmla="*/ 8896 h 108232"/>
                <a:gd name="connsiteX119" fmla="*/ 164611 w 168306"/>
                <a:gd name="connsiteY119" fmla="*/ 8153 h 108232"/>
                <a:gd name="connsiteX120" fmla="*/ 28584 w 168306"/>
                <a:gd name="connsiteY120" fmla="*/ 42367 h 108232"/>
                <a:gd name="connsiteX121" fmla="*/ 26394 w 168306"/>
                <a:gd name="connsiteY121" fmla="*/ 44910 h 108232"/>
                <a:gd name="connsiteX122" fmla="*/ 25089 w 168306"/>
                <a:gd name="connsiteY122" fmla="*/ 43901 h 108232"/>
                <a:gd name="connsiteX123" fmla="*/ 24403 w 168306"/>
                <a:gd name="connsiteY123" fmla="*/ 42681 h 108232"/>
                <a:gd name="connsiteX124" fmla="*/ 21574 w 168306"/>
                <a:gd name="connsiteY124" fmla="*/ 48435 h 108232"/>
                <a:gd name="connsiteX125" fmla="*/ 18393 w 168306"/>
                <a:gd name="connsiteY125" fmla="*/ 49416 h 108232"/>
                <a:gd name="connsiteX126" fmla="*/ 16536 w 168306"/>
                <a:gd name="connsiteY126" fmla="*/ 48282 h 108232"/>
                <a:gd name="connsiteX127" fmla="*/ 16707 w 168306"/>
                <a:gd name="connsiteY127" fmla="*/ 46139 h 108232"/>
                <a:gd name="connsiteX128" fmla="*/ 14897 w 168306"/>
                <a:gd name="connsiteY128" fmla="*/ 40491 h 108232"/>
                <a:gd name="connsiteX129" fmla="*/ 12125 w 168306"/>
                <a:gd name="connsiteY129" fmla="*/ 38833 h 108232"/>
                <a:gd name="connsiteX130" fmla="*/ 8230 w 168306"/>
                <a:gd name="connsiteY130" fmla="*/ 38681 h 108232"/>
                <a:gd name="connsiteX131" fmla="*/ 5410 w 168306"/>
                <a:gd name="connsiteY131" fmla="*/ 36347 h 108232"/>
                <a:gd name="connsiteX132" fmla="*/ 16278 w 168306"/>
                <a:gd name="connsiteY132" fmla="*/ 34757 h 108232"/>
                <a:gd name="connsiteX133" fmla="*/ 17402 w 168306"/>
                <a:gd name="connsiteY133" fmla="*/ 32052 h 108232"/>
                <a:gd name="connsiteX134" fmla="*/ 19612 w 168306"/>
                <a:gd name="connsiteY134" fmla="*/ 29213 h 108232"/>
                <a:gd name="connsiteX135" fmla="*/ 21270 w 168306"/>
                <a:gd name="connsiteY135" fmla="*/ 28908 h 108232"/>
                <a:gd name="connsiteX136" fmla="*/ 22679 w 168306"/>
                <a:gd name="connsiteY136" fmla="*/ 29566 h 108232"/>
                <a:gd name="connsiteX137" fmla="*/ 22946 w 168306"/>
                <a:gd name="connsiteY137" fmla="*/ 31766 h 108232"/>
                <a:gd name="connsiteX138" fmla="*/ 23298 w 168306"/>
                <a:gd name="connsiteY138" fmla="*/ 32642 h 108232"/>
                <a:gd name="connsiteX139" fmla="*/ 28223 w 168306"/>
                <a:gd name="connsiteY139" fmla="*/ 33880 h 108232"/>
                <a:gd name="connsiteX140" fmla="*/ 30146 w 168306"/>
                <a:gd name="connsiteY140" fmla="*/ 37576 h 108232"/>
                <a:gd name="connsiteX141" fmla="*/ 30871 w 168306"/>
                <a:gd name="connsiteY141" fmla="*/ 42005 h 108232"/>
                <a:gd name="connsiteX142" fmla="*/ 28584 w 168306"/>
                <a:gd name="connsiteY142" fmla="*/ 42367 h 108232"/>
                <a:gd name="connsiteX143" fmla="*/ 39805 w 168306"/>
                <a:gd name="connsiteY143" fmla="*/ 56569 h 108232"/>
                <a:gd name="connsiteX144" fmla="*/ 37585 w 168306"/>
                <a:gd name="connsiteY144" fmla="*/ 57102 h 108232"/>
                <a:gd name="connsiteX145" fmla="*/ 32318 w 168306"/>
                <a:gd name="connsiteY145" fmla="*/ 53464 h 108232"/>
                <a:gd name="connsiteX146" fmla="*/ 33537 w 168306"/>
                <a:gd name="connsiteY146" fmla="*/ 50997 h 108232"/>
                <a:gd name="connsiteX147" fmla="*/ 35043 w 168306"/>
                <a:gd name="connsiteY147" fmla="*/ 50025 h 108232"/>
                <a:gd name="connsiteX148" fmla="*/ 39519 w 168306"/>
                <a:gd name="connsiteY148" fmla="*/ 51540 h 108232"/>
                <a:gd name="connsiteX149" fmla="*/ 40148 w 168306"/>
                <a:gd name="connsiteY149" fmla="*/ 55283 h 108232"/>
                <a:gd name="connsiteX150" fmla="*/ 39805 w 168306"/>
                <a:gd name="connsiteY150" fmla="*/ 56569 h 108232"/>
                <a:gd name="connsiteX151" fmla="*/ 20393 w 168306"/>
                <a:gd name="connsiteY151" fmla="*/ 52940 h 108232"/>
                <a:gd name="connsiteX152" fmla="*/ 22289 w 168306"/>
                <a:gd name="connsiteY152" fmla="*/ 54178 h 108232"/>
                <a:gd name="connsiteX153" fmla="*/ 24041 w 168306"/>
                <a:gd name="connsiteY153" fmla="*/ 53788 h 108232"/>
                <a:gd name="connsiteX154" fmla="*/ 25822 w 168306"/>
                <a:gd name="connsiteY154" fmla="*/ 52921 h 108232"/>
                <a:gd name="connsiteX155" fmla="*/ 29670 w 168306"/>
                <a:gd name="connsiteY155" fmla="*/ 53730 h 108232"/>
                <a:gd name="connsiteX156" fmla="*/ 38452 w 168306"/>
                <a:gd name="connsiteY156" fmla="*/ 59979 h 108232"/>
                <a:gd name="connsiteX157" fmla="*/ 39262 w 168306"/>
                <a:gd name="connsiteY157" fmla="*/ 61646 h 108232"/>
                <a:gd name="connsiteX158" fmla="*/ 34014 w 168306"/>
                <a:gd name="connsiteY158" fmla="*/ 62408 h 108232"/>
                <a:gd name="connsiteX159" fmla="*/ 32823 w 168306"/>
                <a:gd name="connsiteY159" fmla="*/ 64313 h 108232"/>
                <a:gd name="connsiteX160" fmla="*/ 31566 w 168306"/>
                <a:gd name="connsiteY160" fmla="*/ 65646 h 108232"/>
                <a:gd name="connsiteX161" fmla="*/ 30080 w 168306"/>
                <a:gd name="connsiteY161" fmla="*/ 66075 h 108232"/>
                <a:gd name="connsiteX162" fmla="*/ 27547 w 168306"/>
                <a:gd name="connsiteY162" fmla="*/ 68751 h 108232"/>
                <a:gd name="connsiteX163" fmla="*/ 24127 w 168306"/>
                <a:gd name="connsiteY163" fmla="*/ 71314 h 108232"/>
                <a:gd name="connsiteX164" fmla="*/ 23413 w 168306"/>
                <a:gd name="connsiteY164" fmla="*/ 72847 h 108232"/>
                <a:gd name="connsiteX165" fmla="*/ 17212 w 168306"/>
                <a:gd name="connsiteY165" fmla="*/ 72562 h 108232"/>
                <a:gd name="connsiteX166" fmla="*/ 13831 w 168306"/>
                <a:gd name="connsiteY166" fmla="*/ 73533 h 108232"/>
                <a:gd name="connsiteX167" fmla="*/ 11096 w 168306"/>
                <a:gd name="connsiteY167" fmla="*/ 76390 h 108232"/>
                <a:gd name="connsiteX168" fmla="*/ 9973 w 168306"/>
                <a:gd name="connsiteY168" fmla="*/ 81896 h 108232"/>
                <a:gd name="connsiteX169" fmla="*/ 7972 w 168306"/>
                <a:gd name="connsiteY169" fmla="*/ 86182 h 108232"/>
                <a:gd name="connsiteX170" fmla="*/ 5934 w 168306"/>
                <a:gd name="connsiteY170" fmla="*/ 87725 h 108232"/>
                <a:gd name="connsiteX171" fmla="*/ 3810 w 168306"/>
                <a:gd name="connsiteY171" fmla="*/ 87964 h 108232"/>
                <a:gd name="connsiteX172" fmla="*/ 3305 w 168306"/>
                <a:gd name="connsiteY172" fmla="*/ 86363 h 108232"/>
                <a:gd name="connsiteX173" fmla="*/ 3505 w 168306"/>
                <a:gd name="connsiteY173" fmla="*/ 84763 h 108232"/>
                <a:gd name="connsiteX174" fmla="*/ 7972 w 168306"/>
                <a:gd name="connsiteY174" fmla="*/ 78705 h 108232"/>
                <a:gd name="connsiteX175" fmla="*/ 8906 w 168306"/>
                <a:gd name="connsiteY175" fmla="*/ 76733 h 108232"/>
                <a:gd name="connsiteX176" fmla="*/ 6677 w 168306"/>
                <a:gd name="connsiteY176" fmla="*/ 75857 h 108232"/>
                <a:gd name="connsiteX177" fmla="*/ 4810 w 168306"/>
                <a:gd name="connsiteY177" fmla="*/ 73743 h 108232"/>
                <a:gd name="connsiteX178" fmla="*/ 734 w 168306"/>
                <a:gd name="connsiteY178" fmla="*/ 71266 h 108232"/>
                <a:gd name="connsiteX179" fmla="*/ 0 w 168306"/>
                <a:gd name="connsiteY179" fmla="*/ 69275 h 108232"/>
                <a:gd name="connsiteX180" fmla="*/ 971 w 168306"/>
                <a:gd name="connsiteY180" fmla="*/ 69123 h 108232"/>
                <a:gd name="connsiteX181" fmla="*/ 1867 w 168306"/>
                <a:gd name="connsiteY181" fmla="*/ 68551 h 108232"/>
                <a:gd name="connsiteX182" fmla="*/ 2953 w 168306"/>
                <a:gd name="connsiteY182" fmla="*/ 66875 h 108232"/>
                <a:gd name="connsiteX183" fmla="*/ 3457 w 168306"/>
                <a:gd name="connsiteY183" fmla="*/ 64951 h 108232"/>
                <a:gd name="connsiteX184" fmla="*/ 200 w 168306"/>
                <a:gd name="connsiteY184" fmla="*/ 59312 h 108232"/>
                <a:gd name="connsiteX185" fmla="*/ 1857 w 168306"/>
                <a:gd name="connsiteY185" fmla="*/ 58436 h 108232"/>
                <a:gd name="connsiteX186" fmla="*/ 3934 w 168306"/>
                <a:gd name="connsiteY186" fmla="*/ 58636 h 108232"/>
                <a:gd name="connsiteX187" fmla="*/ 6058 w 168306"/>
                <a:gd name="connsiteY187" fmla="*/ 60274 h 108232"/>
                <a:gd name="connsiteX188" fmla="*/ 8391 w 168306"/>
                <a:gd name="connsiteY188" fmla="*/ 58350 h 108232"/>
                <a:gd name="connsiteX189" fmla="*/ 9382 w 168306"/>
                <a:gd name="connsiteY189" fmla="*/ 58064 h 108232"/>
                <a:gd name="connsiteX190" fmla="*/ 11011 w 168306"/>
                <a:gd name="connsiteY190" fmla="*/ 58750 h 108232"/>
                <a:gd name="connsiteX191" fmla="*/ 12659 w 168306"/>
                <a:gd name="connsiteY191" fmla="*/ 55016 h 108232"/>
                <a:gd name="connsiteX192" fmla="*/ 16573 w 168306"/>
                <a:gd name="connsiteY192" fmla="*/ 53788 h 108232"/>
                <a:gd name="connsiteX193" fmla="*/ 18517 w 168306"/>
                <a:gd name="connsiteY193" fmla="*/ 52635 h 108232"/>
                <a:gd name="connsiteX194" fmla="*/ 20393 w 168306"/>
                <a:gd name="connsiteY194" fmla="*/ 52940 h 10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168306" h="108232">
                  <a:moveTo>
                    <a:pt x="164611" y="8153"/>
                  </a:moveTo>
                  <a:lnTo>
                    <a:pt x="166031" y="9782"/>
                  </a:lnTo>
                  <a:lnTo>
                    <a:pt x="167821" y="12411"/>
                  </a:lnTo>
                  <a:lnTo>
                    <a:pt x="168307" y="13916"/>
                  </a:lnTo>
                  <a:lnTo>
                    <a:pt x="167697" y="14802"/>
                  </a:lnTo>
                  <a:lnTo>
                    <a:pt x="165907" y="15554"/>
                  </a:lnTo>
                  <a:lnTo>
                    <a:pt x="165497" y="16364"/>
                  </a:lnTo>
                  <a:lnTo>
                    <a:pt x="164706" y="17726"/>
                  </a:lnTo>
                  <a:lnTo>
                    <a:pt x="162611" y="17974"/>
                  </a:lnTo>
                  <a:lnTo>
                    <a:pt x="161534" y="18983"/>
                  </a:lnTo>
                  <a:lnTo>
                    <a:pt x="160248" y="23413"/>
                  </a:lnTo>
                  <a:lnTo>
                    <a:pt x="157791" y="30728"/>
                  </a:lnTo>
                  <a:lnTo>
                    <a:pt x="154162" y="36271"/>
                  </a:lnTo>
                  <a:lnTo>
                    <a:pt x="151257" y="39300"/>
                  </a:lnTo>
                  <a:lnTo>
                    <a:pt x="149962" y="41624"/>
                  </a:lnTo>
                  <a:lnTo>
                    <a:pt x="149152" y="44405"/>
                  </a:lnTo>
                  <a:lnTo>
                    <a:pt x="148961" y="47196"/>
                  </a:lnTo>
                  <a:lnTo>
                    <a:pt x="151743" y="62436"/>
                  </a:lnTo>
                  <a:lnTo>
                    <a:pt x="151714" y="65179"/>
                  </a:lnTo>
                  <a:lnTo>
                    <a:pt x="151057" y="67989"/>
                  </a:lnTo>
                  <a:lnTo>
                    <a:pt x="150581" y="70838"/>
                  </a:lnTo>
                  <a:lnTo>
                    <a:pt x="150971" y="73305"/>
                  </a:lnTo>
                  <a:lnTo>
                    <a:pt x="152810" y="77514"/>
                  </a:lnTo>
                  <a:lnTo>
                    <a:pt x="154762" y="83782"/>
                  </a:lnTo>
                  <a:lnTo>
                    <a:pt x="155553" y="87773"/>
                  </a:lnTo>
                  <a:lnTo>
                    <a:pt x="156848" y="89230"/>
                  </a:lnTo>
                  <a:lnTo>
                    <a:pt x="158096" y="90306"/>
                  </a:lnTo>
                  <a:lnTo>
                    <a:pt x="158353" y="90983"/>
                  </a:lnTo>
                  <a:lnTo>
                    <a:pt x="158315" y="91678"/>
                  </a:lnTo>
                  <a:lnTo>
                    <a:pt x="157667" y="92469"/>
                  </a:lnTo>
                  <a:lnTo>
                    <a:pt x="152038" y="94555"/>
                  </a:lnTo>
                  <a:lnTo>
                    <a:pt x="151305" y="96317"/>
                  </a:lnTo>
                  <a:lnTo>
                    <a:pt x="150695" y="98288"/>
                  </a:lnTo>
                  <a:lnTo>
                    <a:pt x="148237" y="101194"/>
                  </a:lnTo>
                  <a:lnTo>
                    <a:pt x="147485" y="103899"/>
                  </a:lnTo>
                  <a:lnTo>
                    <a:pt x="147018" y="106994"/>
                  </a:lnTo>
                  <a:lnTo>
                    <a:pt x="146961" y="108099"/>
                  </a:lnTo>
                  <a:lnTo>
                    <a:pt x="146285" y="108233"/>
                  </a:lnTo>
                  <a:lnTo>
                    <a:pt x="142551" y="107594"/>
                  </a:lnTo>
                  <a:lnTo>
                    <a:pt x="138436" y="105585"/>
                  </a:lnTo>
                  <a:lnTo>
                    <a:pt x="136636" y="104070"/>
                  </a:lnTo>
                  <a:lnTo>
                    <a:pt x="134864" y="104089"/>
                  </a:lnTo>
                  <a:lnTo>
                    <a:pt x="132722" y="105080"/>
                  </a:lnTo>
                  <a:lnTo>
                    <a:pt x="125044" y="107947"/>
                  </a:lnTo>
                  <a:lnTo>
                    <a:pt x="123158" y="107280"/>
                  </a:lnTo>
                  <a:lnTo>
                    <a:pt x="118777" y="104461"/>
                  </a:lnTo>
                  <a:lnTo>
                    <a:pt x="116557" y="101384"/>
                  </a:lnTo>
                  <a:lnTo>
                    <a:pt x="111614" y="95250"/>
                  </a:lnTo>
                  <a:lnTo>
                    <a:pt x="111214" y="93783"/>
                  </a:lnTo>
                  <a:lnTo>
                    <a:pt x="110567" y="92612"/>
                  </a:lnTo>
                  <a:lnTo>
                    <a:pt x="105290" y="91087"/>
                  </a:lnTo>
                  <a:lnTo>
                    <a:pt x="103337" y="88811"/>
                  </a:lnTo>
                  <a:lnTo>
                    <a:pt x="101718" y="88497"/>
                  </a:lnTo>
                  <a:lnTo>
                    <a:pt x="99336" y="87354"/>
                  </a:lnTo>
                  <a:lnTo>
                    <a:pt x="93155" y="82487"/>
                  </a:lnTo>
                  <a:lnTo>
                    <a:pt x="91621" y="82029"/>
                  </a:lnTo>
                  <a:lnTo>
                    <a:pt x="91250" y="82848"/>
                  </a:lnTo>
                  <a:lnTo>
                    <a:pt x="91354" y="84001"/>
                  </a:lnTo>
                  <a:lnTo>
                    <a:pt x="90964" y="84668"/>
                  </a:lnTo>
                  <a:lnTo>
                    <a:pt x="90173" y="84649"/>
                  </a:lnTo>
                  <a:lnTo>
                    <a:pt x="88745" y="82858"/>
                  </a:lnTo>
                  <a:lnTo>
                    <a:pt x="87030" y="81277"/>
                  </a:lnTo>
                  <a:lnTo>
                    <a:pt x="81686" y="84249"/>
                  </a:lnTo>
                  <a:lnTo>
                    <a:pt x="79753" y="85039"/>
                  </a:lnTo>
                  <a:lnTo>
                    <a:pt x="78057" y="85220"/>
                  </a:lnTo>
                  <a:lnTo>
                    <a:pt x="69590" y="89106"/>
                  </a:lnTo>
                  <a:lnTo>
                    <a:pt x="67008" y="91202"/>
                  </a:lnTo>
                  <a:lnTo>
                    <a:pt x="65941" y="90983"/>
                  </a:lnTo>
                  <a:lnTo>
                    <a:pt x="66189" y="89011"/>
                  </a:lnTo>
                  <a:lnTo>
                    <a:pt x="69714" y="79134"/>
                  </a:lnTo>
                  <a:lnTo>
                    <a:pt x="70342" y="71256"/>
                  </a:lnTo>
                  <a:lnTo>
                    <a:pt x="71628" y="70171"/>
                  </a:lnTo>
                  <a:lnTo>
                    <a:pt x="72009" y="69075"/>
                  </a:lnTo>
                  <a:lnTo>
                    <a:pt x="71457" y="66551"/>
                  </a:lnTo>
                  <a:lnTo>
                    <a:pt x="67799" y="64932"/>
                  </a:lnTo>
                  <a:lnTo>
                    <a:pt x="66323" y="65170"/>
                  </a:lnTo>
                  <a:lnTo>
                    <a:pt x="64989" y="67885"/>
                  </a:lnTo>
                  <a:lnTo>
                    <a:pt x="63608" y="69837"/>
                  </a:lnTo>
                  <a:lnTo>
                    <a:pt x="60379" y="71028"/>
                  </a:lnTo>
                  <a:lnTo>
                    <a:pt x="57598" y="68971"/>
                  </a:lnTo>
                  <a:lnTo>
                    <a:pt x="51092" y="66218"/>
                  </a:lnTo>
                  <a:lnTo>
                    <a:pt x="49454" y="62541"/>
                  </a:lnTo>
                  <a:lnTo>
                    <a:pt x="49063" y="58836"/>
                  </a:lnTo>
                  <a:lnTo>
                    <a:pt x="45625" y="55254"/>
                  </a:lnTo>
                  <a:lnTo>
                    <a:pt x="44196" y="51016"/>
                  </a:lnTo>
                  <a:lnTo>
                    <a:pt x="44768" y="48054"/>
                  </a:lnTo>
                  <a:lnTo>
                    <a:pt x="47892" y="46101"/>
                  </a:lnTo>
                  <a:lnTo>
                    <a:pt x="48778" y="44405"/>
                  </a:lnTo>
                  <a:lnTo>
                    <a:pt x="44844" y="44672"/>
                  </a:lnTo>
                  <a:lnTo>
                    <a:pt x="44044" y="44263"/>
                  </a:lnTo>
                  <a:lnTo>
                    <a:pt x="43872" y="42739"/>
                  </a:lnTo>
                  <a:lnTo>
                    <a:pt x="42129" y="37519"/>
                  </a:lnTo>
                  <a:lnTo>
                    <a:pt x="43672" y="35462"/>
                  </a:lnTo>
                  <a:lnTo>
                    <a:pt x="44348" y="33461"/>
                  </a:lnTo>
                  <a:lnTo>
                    <a:pt x="43082" y="31756"/>
                  </a:lnTo>
                  <a:lnTo>
                    <a:pt x="43415" y="29804"/>
                  </a:lnTo>
                  <a:lnTo>
                    <a:pt x="44405" y="27832"/>
                  </a:lnTo>
                  <a:lnTo>
                    <a:pt x="43805" y="23251"/>
                  </a:lnTo>
                  <a:lnTo>
                    <a:pt x="47711" y="20822"/>
                  </a:lnTo>
                  <a:lnTo>
                    <a:pt x="51502" y="19107"/>
                  </a:lnTo>
                  <a:lnTo>
                    <a:pt x="59550" y="18231"/>
                  </a:lnTo>
                  <a:lnTo>
                    <a:pt x="58760" y="14021"/>
                  </a:lnTo>
                  <a:lnTo>
                    <a:pt x="62008" y="13830"/>
                  </a:lnTo>
                  <a:lnTo>
                    <a:pt x="67485" y="8754"/>
                  </a:lnTo>
                  <a:lnTo>
                    <a:pt x="72914" y="9649"/>
                  </a:lnTo>
                  <a:lnTo>
                    <a:pt x="80772" y="6163"/>
                  </a:lnTo>
                  <a:lnTo>
                    <a:pt x="95908" y="6210"/>
                  </a:lnTo>
                  <a:lnTo>
                    <a:pt x="97974" y="4191"/>
                  </a:lnTo>
                  <a:lnTo>
                    <a:pt x="97612" y="2162"/>
                  </a:lnTo>
                  <a:lnTo>
                    <a:pt x="97660" y="0"/>
                  </a:lnTo>
                  <a:lnTo>
                    <a:pt x="100508" y="600"/>
                  </a:lnTo>
                  <a:lnTo>
                    <a:pt x="105270" y="219"/>
                  </a:lnTo>
                  <a:lnTo>
                    <a:pt x="123101" y="4477"/>
                  </a:lnTo>
                  <a:lnTo>
                    <a:pt x="127492" y="4477"/>
                  </a:lnTo>
                  <a:lnTo>
                    <a:pt x="133560" y="8792"/>
                  </a:lnTo>
                  <a:lnTo>
                    <a:pt x="136836" y="9906"/>
                  </a:lnTo>
                  <a:lnTo>
                    <a:pt x="146485" y="9906"/>
                  </a:lnTo>
                  <a:lnTo>
                    <a:pt x="161373" y="11811"/>
                  </a:lnTo>
                  <a:lnTo>
                    <a:pt x="164297" y="8896"/>
                  </a:lnTo>
                  <a:lnTo>
                    <a:pt x="164611" y="8153"/>
                  </a:lnTo>
                  <a:close/>
                  <a:moveTo>
                    <a:pt x="28584" y="42367"/>
                  </a:moveTo>
                  <a:lnTo>
                    <a:pt x="26394" y="44910"/>
                  </a:lnTo>
                  <a:lnTo>
                    <a:pt x="25089" y="43901"/>
                  </a:lnTo>
                  <a:lnTo>
                    <a:pt x="24403" y="42681"/>
                  </a:lnTo>
                  <a:lnTo>
                    <a:pt x="21574" y="48435"/>
                  </a:lnTo>
                  <a:lnTo>
                    <a:pt x="18393" y="49416"/>
                  </a:lnTo>
                  <a:lnTo>
                    <a:pt x="16536" y="48282"/>
                  </a:lnTo>
                  <a:lnTo>
                    <a:pt x="16707" y="46139"/>
                  </a:lnTo>
                  <a:lnTo>
                    <a:pt x="14897" y="40491"/>
                  </a:lnTo>
                  <a:lnTo>
                    <a:pt x="12125" y="38833"/>
                  </a:lnTo>
                  <a:lnTo>
                    <a:pt x="8230" y="38681"/>
                  </a:lnTo>
                  <a:lnTo>
                    <a:pt x="5410" y="36347"/>
                  </a:lnTo>
                  <a:lnTo>
                    <a:pt x="16278" y="34757"/>
                  </a:lnTo>
                  <a:lnTo>
                    <a:pt x="17402" y="32052"/>
                  </a:lnTo>
                  <a:lnTo>
                    <a:pt x="19612" y="29213"/>
                  </a:lnTo>
                  <a:lnTo>
                    <a:pt x="21270" y="28908"/>
                  </a:lnTo>
                  <a:lnTo>
                    <a:pt x="22679" y="29566"/>
                  </a:lnTo>
                  <a:lnTo>
                    <a:pt x="22946" y="31766"/>
                  </a:lnTo>
                  <a:lnTo>
                    <a:pt x="23298" y="32642"/>
                  </a:lnTo>
                  <a:lnTo>
                    <a:pt x="28223" y="33880"/>
                  </a:lnTo>
                  <a:lnTo>
                    <a:pt x="30146" y="37576"/>
                  </a:lnTo>
                  <a:lnTo>
                    <a:pt x="30871" y="42005"/>
                  </a:lnTo>
                  <a:lnTo>
                    <a:pt x="28584" y="42367"/>
                  </a:lnTo>
                  <a:close/>
                  <a:moveTo>
                    <a:pt x="39805" y="56569"/>
                  </a:moveTo>
                  <a:lnTo>
                    <a:pt x="37585" y="57102"/>
                  </a:lnTo>
                  <a:lnTo>
                    <a:pt x="32318" y="53464"/>
                  </a:lnTo>
                  <a:lnTo>
                    <a:pt x="33537" y="50997"/>
                  </a:lnTo>
                  <a:lnTo>
                    <a:pt x="35043" y="50025"/>
                  </a:lnTo>
                  <a:lnTo>
                    <a:pt x="39519" y="51540"/>
                  </a:lnTo>
                  <a:lnTo>
                    <a:pt x="40148" y="55283"/>
                  </a:lnTo>
                  <a:lnTo>
                    <a:pt x="39805" y="56569"/>
                  </a:lnTo>
                  <a:close/>
                  <a:moveTo>
                    <a:pt x="20393" y="52940"/>
                  </a:moveTo>
                  <a:lnTo>
                    <a:pt x="22289" y="54178"/>
                  </a:lnTo>
                  <a:lnTo>
                    <a:pt x="24041" y="53788"/>
                  </a:lnTo>
                  <a:lnTo>
                    <a:pt x="25822" y="52921"/>
                  </a:lnTo>
                  <a:lnTo>
                    <a:pt x="29670" y="53730"/>
                  </a:lnTo>
                  <a:lnTo>
                    <a:pt x="38452" y="59979"/>
                  </a:lnTo>
                  <a:lnTo>
                    <a:pt x="39262" y="61646"/>
                  </a:lnTo>
                  <a:lnTo>
                    <a:pt x="34014" y="62408"/>
                  </a:lnTo>
                  <a:lnTo>
                    <a:pt x="32823" y="64313"/>
                  </a:lnTo>
                  <a:lnTo>
                    <a:pt x="31566" y="65646"/>
                  </a:lnTo>
                  <a:lnTo>
                    <a:pt x="30080" y="66075"/>
                  </a:lnTo>
                  <a:lnTo>
                    <a:pt x="27547" y="68751"/>
                  </a:lnTo>
                  <a:lnTo>
                    <a:pt x="24127" y="71314"/>
                  </a:lnTo>
                  <a:lnTo>
                    <a:pt x="23413" y="72847"/>
                  </a:lnTo>
                  <a:lnTo>
                    <a:pt x="17212" y="72562"/>
                  </a:lnTo>
                  <a:lnTo>
                    <a:pt x="13831" y="73533"/>
                  </a:lnTo>
                  <a:lnTo>
                    <a:pt x="11096" y="76390"/>
                  </a:lnTo>
                  <a:lnTo>
                    <a:pt x="9973" y="81896"/>
                  </a:lnTo>
                  <a:lnTo>
                    <a:pt x="7972" y="86182"/>
                  </a:lnTo>
                  <a:lnTo>
                    <a:pt x="5934" y="87725"/>
                  </a:lnTo>
                  <a:lnTo>
                    <a:pt x="3810" y="87964"/>
                  </a:lnTo>
                  <a:lnTo>
                    <a:pt x="3305" y="86363"/>
                  </a:lnTo>
                  <a:lnTo>
                    <a:pt x="3505" y="84763"/>
                  </a:lnTo>
                  <a:lnTo>
                    <a:pt x="7972" y="78705"/>
                  </a:lnTo>
                  <a:lnTo>
                    <a:pt x="8906" y="76733"/>
                  </a:lnTo>
                  <a:lnTo>
                    <a:pt x="6677" y="75857"/>
                  </a:lnTo>
                  <a:lnTo>
                    <a:pt x="4810" y="73743"/>
                  </a:lnTo>
                  <a:lnTo>
                    <a:pt x="734" y="71266"/>
                  </a:lnTo>
                  <a:lnTo>
                    <a:pt x="0" y="69275"/>
                  </a:lnTo>
                  <a:lnTo>
                    <a:pt x="971" y="69123"/>
                  </a:lnTo>
                  <a:lnTo>
                    <a:pt x="1867" y="68551"/>
                  </a:lnTo>
                  <a:lnTo>
                    <a:pt x="2953" y="66875"/>
                  </a:lnTo>
                  <a:lnTo>
                    <a:pt x="3457" y="64951"/>
                  </a:lnTo>
                  <a:lnTo>
                    <a:pt x="200" y="59312"/>
                  </a:lnTo>
                  <a:lnTo>
                    <a:pt x="1857" y="58436"/>
                  </a:lnTo>
                  <a:lnTo>
                    <a:pt x="3934" y="58636"/>
                  </a:lnTo>
                  <a:lnTo>
                    <a:pt x="6058" y="60274"/>
                  </a:lnTo>
                  <a:lnTo>
                    <a:pt x="8391" y="58350"/>
                  </a:lnTo>
                  <a:lnTo>
                    <a:pt x="9382" y="58064"/>
                  </a:lnTo>
                  <a:lnTo>
                    <a:pt x="11011" y="58750"/>
                  </a:lnTo>
                  <a:lnTo>
                    <a:pt x="12659" y="55016"/>
                  </a:lnTo>
                  <a:lnTo>
                    <a:pt x="16573" y="53788"/>
                  </a:lnTo>
                  <a:lnTo>
                    <a:pt x="18517" y="52635"/>
                  </a:lnTo>
                  <a:lnTo>
                    <a:pt x="20393" y="52940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9" name="Forme libre : forme 17">
              <a:extLst>
                <a:ext uri="{FF2B5EF4-FFF2-40B4-BE49-F238E27FC236}">
                  <a16:creationId xmlns:a16="http://schemas.microsoft.com/office/drawing/2014/main" id="{3960238C-D933-A7DB-693C-453935A44305}"/>
                </a:ext>
              </a:extLst>
            </p:cNvPr>
            <p:cNvSpPr/>
            <p:nvPr/>
          </p:nvSpPr>
          <p:spPr>
            <a:xfrm>
              <a:off x="4582545" y="5076483"/>
              <a:ext cx="944602" cy="674846"/>
            </a:xfrm>
            <a:custGeom>
              <a:avLst/>
              <a:gdLst>
                <a:gd name="connsiteX0" fmla="*/ 987712 w 1254861"/>
                <a:gd name="connsiteY0" fmla="*/ 613164 h 931541"/>
                <a:gd name="connsiteX1" fmla="*/ 993322 w 1254861"/>
                <a:gd name="connsiteY1" fmla="*/ 619827 h 931541"/>
                <a:gd name="connsiteX2" fmla="*/ 1002195 w 1254861"/>
                <a:gd name="connsiteY2" fmla="*/ 621081 h 931541"/>
                <a:gd name="connsiteX3" fmla="*/ 1002295 w 1254861"/>
                <a:gd name="connsiteY3" fmla="*/ 624544 h 931541"/>
                <a:gd name="connsiteX4" fmla="*/ 1000214 w 1254861"/>
                <a:gd name="connsiteY4" fmla="*/ 626095 h 931541"/>
                <a:gd name="connsiteX5" fmla="*/ 994081 w 1254861"/>
                <a:gd name="connsiteY5" fmla="*/ 624675 h 931541"/>
                <a:gd name="connsiteX6" fmla="*/ 984876 w 1254861"/>
                <a:gd name="connsiteY6" fmla="*/ 624675 h 931541"/>
                <a:gd name="connsiteX7" fmla="*/ 984516 w 1254861"/>
                <a:gd name="connsiteY7" fmla="*/ 619893 h 931541"/>
                <a:gd name="connsiteX8" fmla="*/ 985932 w 1254861"/>
                <a:gd name="connsiteY8" fmla="*/ 616562 h 931541"/>
                <a:gd name="connsiteX9" fmla="*/ 999556 w 1254861"/>
                <a:gd name="connsiteY9" fmla="*/ 571338 h 931541"/>
                <a:gd name="connsiteX10" fmla="*/ 1004075 w 1254861"/>
                <a:gd name="connsiteY10" fmla="*/ 575365 h 931541"/>
                <a:gd name="connsiteX11" fmla="*/ 1005031 w 1254861"/>
                <a:gd name="connsiteY11" fmla="*/ 581135 h 931541"/>
                <a:gd name="connsiteX12" fmla="*/ 993090 w 1254861"/>
                <a:gd name="connsiteY12" fmla="*/ 593737 h 931541"/>
                <a:gd name="connsiteX13" fmla="*/ 988505 w 1254861"/>
                <a:gd name="connsiteY13" fmla="*/ 595354 h 931541"/>
                <a:gd name="connsiteX14" fmla="*/ 985143 w 1254861"/>
                <a:gd name="connsiteY14" fmla="*/ 602644 h 931541"/>
                <a:gd name="connsiteX15" fmla="*/ 971059 w 1254861"/>
                <a:gd name="connsiteY15" fmla="*/ 600071 h 931541"/>
                <a:gd name="connsiteX16" fmla="*/ 967956 w 1254861"/>
                <a:gd name="connsiteY16" fmla="*/ 597134 h 931541"/>
                <a:gd name="connsiteX17" fmla="*/ 970989 w 1254861"/>
                <a:gd name="connsiteY17" fmla="*/ 588888 h 931541"/>
                <a:gd name="connsiteX18" fmla="*/ 975048 w 1254861"/>
                <a:gd name="connsiteY18" fmla="*/ 587898 h 931541"/>
                <a:gd name="connsiteX19" fmla="*/ 975311 w 1254861"/>
                <a:gd name="connsiteY19" fmla="*/ 582028 h 931541"/>
                <a:gd name="connsiteX20" fmla="*/ 979567 w 1254861"/>
                <a:gd name="connsiteY20" fmla="*/ 576124 h 931541"/>
                <a:gd name="connsiteX21" fmla="*/ 1147199 w 1254861"/>
                <a:gd name="connsiteY21" fmla="*/ 469746 h 931541"/>
                <a:gd name="connsiteX22" fmla="*/ 1150793 w 1254861"/>
                <a:gd name="connsiteY22" fmla="*/ 470865 h 931541"/>
                <a:gd name="connsiteX23" fmla="*/ 1147725 w 1254861"/>
                <a:gd name="connsiteY23" fmla="*/ 475287 h 931541"/>
                <a:gd name="connsiteX24" fmla="*/ 1147957 w 1254861"/>
                <a:gd name="connsiteY24" fmla="*/ 477299 h 931541"/>
                <a:gd name="connsiteX25" fmla="*/ 1150894 w 1254861"/>
                <a:gd name="connsiteY25" fmla="*/ 479443 h 931541"/>
                <a:gd name="connsiteX26" fmla="*/ 1150201 w 1254861"/>
                <a:gd name="connsiteY26" fmla="*/ 482871 h 931541"/>
                <a:gd name="connsiteX27" fmla="*/ 1147230 w 1254861"/>
                <a:gd name="connsiteY27" fmla="*/ 485843 h 931541"/>
                <a:gd name="connsiteX28" fmla="*/ 1145914 w 1254861"/>
                <a:gd name="connsiteY28" fmla="*/ 491449 h 931541"/>
                <a:gd name="connsiteX29" fmla="*/ 1154786 w 1254861"/>
                <a:gd name="connsiteY29" fmla="*/ 495439 h 931541"/>
                <a:gd name="connsiteX30" fmla="*/ 1164154 w 1254861"/>
                <a:gd name="connsiteY30" fmla="*/ 491844 h 931541"/>
                <a:gd name="connsiteX31" fmla="*/ 1169134 w 1254861"/>
                <a:gd name="connsiteY31" fmla="*/ 492966 h 931541"/>
                <a:gd name="connsiteX32" fmla="*/ 1174048 w 1254861"/>
                <a:gd name="connsiteY32" fmla="*/ 494912 h 931541"/>
                <a:gd name="connsiteX33" fmla="*/ 1175235 w 1254861"/>
                <a:gd name="connsiteY33" fmla="*/ 502500 h 931541"/>
                <a:gd name="connsiteX34" fmla="*/ 1170882 w 1254861"/>
                <a:gd name="connsiteY34" fmla="*/ 510943 h 931541"/>
                <a:gd name="connsiteX35" fmla="*/ 1164781 w 1254861"/>
                <a:gd name="connsiteY35" fmla="*/ 519521 h 931541"/>
                <a:gd name="connsiteX36" fmla="*/ 1159635 w 1254861"/>
                <a:gd name="connsiteY36" fmla="*/ 528919 h 931541"/>
                <a:gd name="connsiteX37" fmla="*/ 1155150 w 1254861"/>
                <a:gd name="connsiteY37" fmla="*/ 539707 h 931541"/>
                <a:gd name="connsiteX38" fmla="*/ 1146801 w 1254861"/>
                <a:gd name="connsiteY38" fmla="*/ 546072 h 931541"/>
                <a:gd name="connsiteX39" fmla="*/ 1139251 w 1254861"/>
                <a:gd name="connsiteY39" fmla="*/ 549898 h 931541"/>
                <a:gd name="connsiteX40" fmla="*/ 1123283 w 1254861"/>
                <a:gd name="connsiteY40" fmla="*/ 541885 h 931541"/>
                <a:gd name="connsiteX41" fmla="*/ 1113981 w 1254861"/>
                <a:gd name="connsiteY41" fmla="*/ 539873 h 931541"/>
                <a:gd name="connsiteX42" fmla="*/ 1111211 w 1254861"/>
                <a:gd name="connsiteY42" fmla="*/ 536870 h 931541"/>
                <a:gd name="connsiteX43" fmla="*/ 1109001 w 1254861"/>
                <a:gd name="connsiteY43" fmla="*/ 524930 h 931541"/>
                <a:gd name="connsiteX44" fmla="*/ 1104811 w 1254861"/>
                <a:gd name="connsiteY44" fmla="*/ 521134 h 931541"/>
                <a:gd name="connsiteX45" fmla="*/ 1098643 w 1254861"/>
                <a:gd name="connsiteY45" fmla="*/ 519455 h 931541"/>
                <a:gd name="connsiteX46" fmla="*/ 1093234 w 1254861"/>
                <a:gd name="connsiteY46" fmla="*/ 522523 h 931541"/>
                <a:gd name="connsiteX47" fmla="*/ 1086177 w 1254861"/>
                <a:gd name="connsiteY47" fmla="*/ 528822 h 931541"/>
                <a:gd name="connsiteX48" fmla="*/ 1082416 w 1254861"/>
                <a:gd name="connsiteY48" fmla="*/ 522523 h 931541"/>
                <a:gd name="connsiteX49" fmla="*/ 1076445 w 1254861"/>
                <a:gd name="connsiteY49" fmla="*/ 521335 h 931541"/>
                <a:gd name="connsiteX50" fmla="*/ 1074201 w 1254861"/>
                <a:gd name="connsiteY50" fmla="*/ 517540 h 931541"/>
                <a:gd name="connsiteX51" fmla="*/ 1074302 w 1254861"/>
                <a:gd name="connsiteY51" fmla="*/ 512657 h 931541"/>
                <a:gd name="connsiteX52" fmla="*/ 1112596 w 1254861"/>
                <a:gd name="connsiteY52" fmla="*/ 483664 h 931541"/>
                <a:gd name="connsiteX53" fmla="*/ 1123681 w 1254861"/>
                <a:gd name="connsiteY53" fmla="*/ 477233 h 931541"/>
                <a:gd name="connsiteX54" fmla="*/ 1230551 w 1254861"/>
                <a:gd name="connsiteY54" fmla="*/ 457210 h 931541"/>
                <a:gd name="connsiteX55" fmla="*/ 1245957 w 1254861"/>
                <a:gd name="connsiteY55" fmla="*/ 462356 h 931541"/>
                <a:gd name="connsiteX56" fmla="*/ 1254238 w 1254861"/>
                <a:gd name="connsiteY56" fmla="*/ 476208 h 931541"/>
                <a:gd name="connsiteX57" fmla="*/ 1254861 w 1254861"/>
                <a:gd name="connsiteY57" fmla="*/ 478584 h 931541"/>
                <a:gd name="connsiteX58" fmla="*/ 1252226 w 1254861"/>
                <a:gd name="connsiteY58" fmla="*/ 485247 h 931541"/>
                <a:gd name="connsiteX59" fmla="*/ 1250543 w 1254861"/>
                <a:gd name="connsiteY59" fmla="*/ 486632 h 931541"/>
                <a:gd name="connsiteX60" fmla="*/ 1222077 w 1254861"/>
                <a:gd name="connsiteY60" fmla="*/ 472745 h 931541"/>
                <a:gd name="connsiteX61" fmla="*/ 1212771 w 1254861"/>
                <a:gd name="connsiteY61" fmla="*/ 471197 h 931541"/>
                <a:gd name="connsiteX62" fmla="*/ 1210496 w 1254861"/>
                <a:gd name="connsiteY62" fmla="*/ 469085 h 931541"/>
                <a:gd name="connsiteX63" fmla="*/ 1210763 w 1254861"/>
                <a:gd name="connsiteY63" fmla="*/ 461861 h 931541"/>
                <a:gd name="connsiteX64" fmla="*/ 1211487 w 1254861"/>
                <a:gd name="connsiteY64" fmla="*/ 458661 h 931541"/>
                <a:gd name="connsiteX65" fmla="*/ 142299 w 1254861"/>
                <a:gd name="connsiteY65" fmla="*/ 0 h 931541"/>
                <a:gd name="connsiteX66" fmla="*/ 151899 w 1254861"/>
                <a:gd name="connsiteY66" fmla="*/ 4748 h 931541"/>
                <a:gd name="connsiteX67" fmla="*/ 160307 w 1254861"/>
                <a:gd name="connsiteY67" fmla="*/ 3134 h 931541"/>
                <a:gd name="connsiteX68" fmla="*/ 169972 w 1254861"/>
                <a:gd name="connsiteY68" fmla="*/ 8776 h 931541"/>
                <a:gd name="connsiteX69" fmla="*/ 182675 w 1254861"/>
                <a:gd name="connsiteY69" fmla="*/ 21672 h 931541"/>
                <a:gd name="connsiteX70" fmla="*/ 201278 w 1254861"/>
                <a:gd name="connsiteY70" fmla="*/ 26849 h 931541"/>
                <a:gd name="connsiteX71" fmla="*/ 216121 w 1254861"/>
                <a:gd name="connsiteY71" fmla="*/ 22794 h 931541"/>
                <a:gd name="connsiteX72" fmla="*/ 242343 w 1254861"/>
                <a:gd name="connsiteY72" fmla="*/ 21935 h 931541"/>
                <a:gd name="connsiteX73" fmla="*/ 255440 w 1254861"/>
                <a:gd name="connsiteY73" fmla="*/ 23649 h 931541"/>
                <a:gd name="connsiteX74" fmla="*/ 278725 w 1254861"/>
                <a:gd name="connsiteY74" fmla="*/ 20449 h 931541"/>
                <a:gd name="connsiteX75" fmla="*/ 292051 w 1254861"/>
                <a:gd name="connsiteY75" fmla="*/ 21606 h 931541"/>
                <a:gd name="connsiteX76" fmla="*/ 313657 w 1254861"/>
                <a:gd name="connsiteY76" fmla="*/ 15206 h 931541"/>
                <a:gd name="connsiteX77" fmla="*/ 330380 w 1254861"/>
                <a:gd name="connsiteY77" fmla="*/ 23189 h 931541"/>
                <a:gd name="connsiteX78" fmla="*/ 362808 w 1254861"/>
                <a:gd name="connsiteY78" fmla="*/ 26915 h 931541"/>
                <a:gd name="connsiteX79" fmla="*/ 382267 w 1254861"/>
                <a:gd name="connsiteY79" fmla="*/ 33446 h 931541"/>
                <a:gd name="connsiteX80" fmla="*/ 436165 w 1254861"/>
                <a:gd name="connsiteY80" fmla="*/ 44396 h 931541"/>
                <a:gd name="connsiteX81" fmla="*/ 455627 w 1254861"/>
                <a:gd name="connsiteY81" fmla="*/ 44531 h 931541"/>
                <a:gd name="connsiteX82" fmla="*/ 483169 w 1254861"/>
                <a:gd name="connsiteY82" fmla="*/ 38364 h 931541"/>
                <a:gd name="connsiteX83" fmla="*/ 494846 w 1254861"/>
                <a:gd name="connsiteY83" fmla="*/ 33744 h 931541"/>
                <a:gd name="connsiteX84" fmla="*/ 505533 w 1254861"/>
                <a:gd name="connsiteY84" fmla="*/ 36483 h 931541"/>
                <a:gd name="connsiteX85" fmla="*/ 521203 w 1254861"/>
                <a:gd name="connsiteY85" fmla="*/ 31171 h 931541"/>
                <a:gd name="connsiteX86" fmla="*/ 528722 w 1254861"/>
                <a:gd name="connsiteY86" fmla="*/ 32258 h 931541"/>
                <a:gd name="connsiteX87" fmla="*/ 538519 w 1254861"/>
                <a:gd name="connsiteY87" fmla="*/ 39815 h 931541"/>
                <a:gd name="connsiteX88" fmla="*/ 572990 w 1254861"/>
                <a:gd name="connsiteY88" fmla="*/ 50006 h 931541"/>
                <a:gd name="connsiteX89" fmla="*/ 582028 w 1254861"/>
                <a:gd name="connsiteY89" fmla="*/ 41363 h 931541"/>
                <a:gd name="connsiteX90" fmla="*/ 588757 w 1254861"/>
                <a:gd name="connsiteY90" fmla="*/ 39482 h 931541"/>
                <a:gd name="connsiteX91" fmla="*/ 613559 w 1254861"/>
                <a:gd name="connsiteY91" fmla="*/ 44760 h 931541"/>
                <a:gd name="connsiteX92" fmla="*/ 638562 w 1254861"/>
                <a:gd name="connsiteY92" fmla="*/ 55513 h 931541"/>
                <a:gd name="connsiteX93" fmla="*/ 651559 w 1254861"/>
                <a:gd name="connsiteY93" fmla="*/ 56274 h 931541"/>
                <a:gd name="connsiteX94" fmla="*/ 670561 w 1254861"/>
                <a:gd name="connsiteY94" fmla="*/ 53338 h 931541"/>
                <a:gd name="connsiteX95" fmla="*/ 685635 w 1254861"/>
                <a:gd name="connsiteY95" fmla="*/ 46277 h 931541"/>
                <a:gd name="connsiteX96" fmla="*/ 688669 w 1254861"/>
                <a:gd name="connsiteY96" fmla="*/ 45158 h 931541"/>
                <a:gd name="connsiteX97" fmla="*/ 688800 w 1254861"/>
                <a:gd name="connsiteY97" fmla="*/ 49577 h 931541"/>
                <a:gd name="connsiteX98" fmla="*/ 692430 w 1254861"/>
                <a:gd name="connsiteY98" fmla="*/ 55644 h 931541"/>
                <a:gd name="connsiteX99" fmla="*/ 696191 w 1254861"/>
                <a:gd name="connsiteY99" fmla="*/ 57888 h 931541"/>
                <a:gd name="connsiteX100" fmla="*/ 704107 w 1254861"/>
                <a:gd name="connsiteY100" fmla="*/ 60991 h 931541"/>
                <a:gd name="connsiteX101" fmla="*/ 710209 w 1254861"/>
                <a:gd name="connsiteY101" fmla="*/ 61421 h 931541"/>
                <a:gd name="connsiteX102" fmla="*/ 718520 w 1254861"/>
                <a:gd name="connsiteY102" fmla="*/ 62872 h 931541"/>
                <a:gd name="connsiteX103" fmla="*/ 724161 w 1254861"/>
                <a:gd name="connsiteY103" fmla="*/ 66366 h 931541"/>
                <a:gd name="connsiteX104" fmla="*/ 724491 w 1254861"/>
                <a:gd name="connsiteY104" fmla="*/ 71810 h 931541"/>
                <a:gd name="connsiteX105" fmla="*/ 723074 w 1254861"/>
                <a:gd name="connsiteY105" fmla="*/ 77877 h 931541"/>
                <a:gd name="connsiteX106" fmla="*/ 719642 w 1254861"/>
                <a:gd name="connsiteY106" fmla="*/ 83452 h 931541"/>
                <a:gd name="connsiteX107" fmla="*/ 717696 w 1254861"/>
                <a:gd name="connsiteY107" fmla="*/ 87708 h 931541"/>
                <a:gd name="connsiteX108" fmla="*/ 719511 w 1254861"/>
                <a:gd name="connsiteY108" fmla="*/ 90150 h 931541"/>
                <a:gd name="connsiteX109" fmla="*/ 722478 w 1254861"/>
                <a:gd name="connsiteY109" fmla="*/ 92061 h 931541"/>
                <a:gd name="connsiteX110" fmla="*/ 725678 w 1254861"/>
                <a:gd name="connsiteY110" fmla="*/ 92588 h 931541"/>
                <a:gd name="connsiteX111" fmla="*/ 727857 w 1254861"/>
                <a:gd name="connsiteY111" fmla="*/ 91964 h 931541"/>
                <a:gd name="connsiteX112" fmla="*/ 729505 w 1254861"/>
                <a:gd name="connsiteY112" fmla="*/ 88598 h 931541"/>
                <a:gd name="connsiteX113" fmla="*/ 732639 w 1254861"/>
                <a:gd name="connsiteY113" fmla="*/ 84477 h 931541"/>
                <a:gd name="connsiteX114" fmla="*/ 734384 w 1254861"/>
                <a:gd name="connsiteY114" fmla="*/ 83948 h 931541"/>
                <a:gd name="connsiteX115" fmla="*/ 734253 w 1254861"/>
                <a:gd name="connsiteY115" fmla="*/ 86289 h 931541"/>
                <a:gd name="connsiteX116" fmla="*/ 735738 w 1254861"/>
                <a:gd name="connsiteY116" fmla="*/ 89191 h 931541"/>
                <a:gd name="connsiteX117" fmla="*/ 745930 w 1254861"/>
                <a:gd name="connsiteY117" fmla="*/ 94042 h 931541"/>
                <a:gd name="connsiteX118" fmla="*/ 768294 w 1254861"/>
                <a:gd name="connsiteY118" fmla="*/ 103081 h 931541"/>
                <a:gd name="connsiteX119" fmla="*/ 777070 w 1254861"/>
                <a:gd name="connsiteY119" fmla="*/ 103244 h 931541"/>
                <a:gd name="connsiteX120" fmla="*/ 784162 w 1254861"/>
                <a:gd name="connsiteY120" fmla="*/ 104300 h 931541"/>
                <a:gd name="connsiteX121" fmla="*/ 786240 w 1254861"/>
                <a:gd name="connsiteY121" fmla="*/ 108092 h 931541"/>
                <a:gd name="connsiteX122" fmla="*/ 800490 w 1254861"/>
                <a:gd name="connsiteY122" fmla="*/ 122013 h 931541"/>
                <a:gd name="connsiteX123" fmla="*/ 803887 w 1254861"/>
                <a:gd name="connsiteY123" fmla="*/ 121650 h 931541"/>
                <a:gd name="connsiteX124" fmla="*/ 810221 w 1254861"/>
                <a:gd name="connsiteY124" fmla="*/ 121979 h 931541"/>
                <a:gd name="connsiteX125" fmla="*/ 817871 w 1254861"/>
                <a:gd name="connsiteY125" fmla="*/ 120860 h 931541"/>
                <a:gd name="connsiteX126" fmla="*/ 823415 w 1254861"/>
                <a:gd name="connsiteY126" fmla="*/ 118252 h 931541"/>
                <a:gd name="connsiteX127" fmla="*/ 827041 w 1254861"/>
                <a:gd name="connsiteY127" fmla="*/ 118682 h 931541"/>
                <a:gd name="connsiteX128" fmla="*/ 831065 w 1254861"/>
                <a:gd name="connsiteY128" fmla="*/ 121386 h 931541"/>
                <a:gd name="connsiteX129" fmla="*/ 835751 w 1254861"/>
                <a:gd name="connsiteY129" fmla="*/ 123727 h 931541"/>
                <a:gd name="connsiteX130" fmla="*/ 841821 w 1254861"/>
                <a:gd name="connsiteY130" fmla="*/ 128312 h 931541"/>
                <a:gd name="connsiteX131" fmla="*/ 847227 w 1254861"/>
                <a:gd name="connsiteY131" fmla="*/ 133954 h 931541"/>
                <a:gd name="connsiteX132" fmla="*/ 850957 w 1254861"/>
                <a:gd name="connsiteY132" fmla="*/ 135800 h 931541"/>
                <a:gd name="connsiteX133" fmla="*/ 873418 w 1254861"/>
                <a:gd name="connsiteY133" fmla="*/ 132007 h 931541"/>
                <a:gd name="connsiteX134" fmla="*/ 878433 w 1254861"/>
                <a:gd name="connsiteY134" fmla="*/ 135339 h 931541"/>
                <a:gd name="connsiteX135" fmla="*/ 883745 w 1254861"/>
                <a:gd name="connsiteY135" fmla="*/ 135304 h 931541"/>
                <a:gd name="connsiteX136" fmla="*/ 889715 w 1254861"/>
                <a:gd name="connsiteY136" fmla="*/ 134449 h 931541"/>
                <a:gd name="connsiteX137" fmla="*/ 902712 w 1254861"/>
                <a:gd name="connsiteY137" fmla="*/ 136198 h 931541"/>
                <a:gd name="connsiteX138" fmla="*/ 913267 w 1254861"/>
                <a:gd name="connsiteY138" fmla="*/ 135768 h 931541"/>
                <a:gd name="connsiteX139" fmla="*/ 914223 w 1254861"/>
                <a:gd name="connsiteY139" fmla="*/ 134383 h 931541"/>
                <a:gd name="connsiteX140" fmla="*/ 915113 w 1254861"/>
                <a:gd name="connsiteY140" fmla="*/ 121847 h 931541"/>
                <a:gd name="connsiteX141" fmla="*/ 916796 w 1254861"/>
                <a:gd name="connsiteY141" fmla="*/ 117394 h 931541"/>
                <a:gd name="connsiteX142" fmla="*/ 919303 w 1254861"/>
                <a:gd name="connsiteY142" fmla="*/ 116206 h 931541"/>
                <a:gd name="connsiteX143" fmla="*/ 925537 w 1254861"/>
                <a:gd name="connsiteY143" fmla="*/ 117099 h 931541"/>
                <a:gd name="connsiteX144" fmla="*/ 948265 w 1254861"/>
                <a:gd name="connsiteY144" fmla="*/ 124520 h 931541"/>
                <a:gd name="connsiteX145" fmla="*/ 957632 w 1254861"/>
                <a:gd name="connsiteY145" fmla="*/ 129171 h 931541"/>
                <a:gd name="connsiteX146" fmla="*/ 966636 w 1254861"/>
                <a:gd name="connsiteY146" fmla="*/ 132801 h 931541"/>
                <a:gd name="connsiteX147" fmla="*/ 974487 w 1254861"/>
                <a:gd name="connsiteY147" fmla="*/ 133195 h 931541"/>
                <a:gd name="connsiteX148" fmla="*/ 979699 w 1254861"/>
                <a:gd name="connsiteY148" fmla="*/ 135637 h 931541"/>
                <a:gd name="connsiteX149" fmla="*/ 986988 w 1254861"/>
                <a:gd name="connsiteY149" fmla="*/ 147511 h 931541"/>
                <a:gd name="connsiteX150" fmla="*/ 985735 w 1254861"/>
                <a:gd name="connsiteY150" fmla="*/ 153482 h 931541"/>
                <a:gd name="connsiteX151" fmla="*/ 986396 w 1254861"/>
                <a:gd name="connsiteY151" fmla="*/ 155691 h 931541"/>
                <a:gd name="connsiteX152" fmla="*/ 987155 w 1254861"/>
                <a:gd name="connsiteY152" fmla="*/ 159816 h 931541"/>
                <a:gd name="connsiteX153" fmla="*/ 986957 w 1254861"/>
                <a:gd name="connsiteY153" fmla="*/ 164397 h 931541"/>
                <a:gd name="connsiteX154" fmla="*/ 988869 w 1254861"/>
                <a:gd name="connsiteY154" fmla="*/ 167400 h 931541"/>
                <a:gd name="connsiteX155" fmla="*/ 992332 w 1254861"/>
                <a:gd name="connsiteY155" fmla="*/ 167763 h 931541"/>
                <a:gd name="connsiteX156" fmla="*/ 996751 w 1254861"/>
                <a:gd name="connsiteY156" fmla="*/ 166873 h 931541"/>
                <a:gd name="connsiteX157" fmla="*/ 1001602 w 1254861"/>
                <a:gd name="connsiteY157" fmla="*/ 165093 h 931541"/>
                <a:gd name="connsiteX158" fmla="*/ 1010111 w 1254861"/>
                <a:gd name="connsiteY158" fmla="*/ 160013 h 931541"/>
                <a:gd name="connsiteX159" fmla="*/ 1012649 w 1254861"/>
                <a:gd name="connsiteY159" fmla="*/ 159189 h 931541"/>
                <a:gd name="connsiteX160" fmla="*/ 1026900 w 1254861"/>
                <a:gd name="connsiteY160" fmla="*/ 164958 h 931541"/>
                <a:gd name="connsiteX161" fmla="*/ 1033199 w 1254861"/>
                <a:gd name="connsiteY161" fmla="*/ 168819 h 931541"/>
                <a:gd name="connsiteX162" fmla="*/ 1035377 w 1254861"/>
                <a:gd name="connsiteY162" fmla="*/ 173010 h 931541"/>
                <a:gd name="connsiteX163" fmla="*/ 1038643 w 1254861"/>
                <a:gd name="connsiteY163" fmla="*/ 177297 h 931541"/>
                <a:gd name="connsiteX164" fmla="*/ 1042899 w 1254861"/>
                <a:gd name="connsiteY164" fmla="*/ 177924 h 931541"/>
                <a:gd name="connsiteX165" fmla="*/ 1048970 w 1254861"/>
                <a:gd name="connsiteY165" fmla="*/ 173865 h 931541"/>
                <a:gd name="connsiteX166" fmla="*/ 1058434 w 1254861"/>
                <a:gd name="connsiteY166" fmla="*/ 169512 h 931541"/>
                <a:gd name="connsiteX167" fmla="*/ 1074531 w 1254861"/>
                <a:gd name="connsiteY167" fmla="*/ 173339 h 931541"/>
                <a:gd name="connsiteX168" fmla="*/ 1092441 w 1254861"/>
                <a:gd name="connsiteY168" fmla="*/ 178880 h 931541"/>
                <a:gd name="connsiteX169" fmla="*/ 1100195 w 1254861"/>
                <a:gd name="connsiteY169" fmla="*/ 179541 h 931541"/>
                <a:gd name="connsiteX170" fmla="*/ 1100458 w 1254861"/>
                <a:gd name="connsiteY170" fmla="*/ 176833 h 931541"/>
                <a:gd name="connsiteX171" fmla="*/ 1101875 w 1254861"/>
                <a:gd name="connsiteY171" fmla="*/ 172975 h 931541"/>
                <a:gd name="connsiteX172" fmla="*/ 1104811 w 1254861"/>
                <a:gd name="connsiteY172" fmla="*/ 171029 h 931541"/>
                <a:gd name="connsiteX173" fmla="*/ 1109233 w 1254861"/>
                <a:gd name="connsiteY173" fmla="*/ 170468 h 931541"/>
                <a:gd name="connsiteX174" fmla="*/ 1115367 w 1254861"/>
                <a:gd name="connsiteY174" fmla="*/ 168425 h 931541"/>
                <a:gd name="connsiteX175" fmla="*/ 1122358 w 1254861"/>
                <a:gd name="connsiteY175" fmla="*/ 165059 h 931541"/>
                <a:gd name="connsiteX176" fmla="*/ 1129651 w 1254861"/>
                <a:gd name="connsiteY176" fmla="*/ 163673 h 931541"/>
                <a:gd name="connsiteX177" fmla="*/ 1137270 w 1254861"/>
                <a:gd name="connsiteY177" fmla="*/ 166181 h 931541"/>
                <a:gd name="connsiteX178" fmla="*/ 1146471 w 1254861"/>
                <a:gd name="connsiteY178" fmla="*/ 168227 h 931541"/>
                <a:gd name="connsiteX179" fmla="*/ 1151981 w 1254861"/>
                <a:gd name="connsiteY179" fmla="*/ 168193 h 931541"/>
                <a:gd name="connsiteX180" fmla="*/ 1154620 w 1254861"/>
                <a:gd name="connsiteY180" fmla="*/ 176109 h 931541"/>
                <a:gd name="connsiteX181" fmla="*/ 1159073 w 1254861"/>
                <a:gd name="connsiteY181" fmla="*/ 179112 h 931541"/>
                <a:gd name="connsiteX182" fmla="*/ 1160822 w 1254861"/>
                <a:gd name="connsiteY182" fmla="*/ 185972 h 931541"/>
                <a:gd name="connsiteX183" fmla="*/ 1152639 w 1254861"/>
                <a:gd name="connsiteY183" fmla="*/ 189535 h 931541"/>
                <a:gd name="connsiteX184" fmla="*/ 1147825 w 1254861"/>
                <a:gd name="connsiteY184" fmla="*/ 190027 h 931541"/>
                <a:gd name="connsiteX185" fmla="*/ 1146340 w 1254861"/>
                <a:gd name="connsiteY185" fmla="*/ 201739 h 931541"/>
                <a:gd name="connsiteX186" fmla="*/ 1148650 w 1254861"/>
                <a:gd name="connsiteY186" fmla="*/ 205036 h 931541"/>
                <a:gd name="connsiteX187" fmla="*/ 1153235 w 1254861"/>
                <a:gd name="connsiteY187" fmla="*/ 208139 h 931541"/>
                <a:gd name="connsiteX188" fmla="*/ 1154488 w 1254861"/>
                <a:gd name="connsiteY188" fmla="*/ 211733 h 931541"/>
                <a:gd name="connsiteX189" fmla="*/ 1155413 w 1254861"/>
                <a:gd name="connsiteY189" fmla="*/ 228886 h 931541"/>
                <a:gd name="connsiteX190" fmla="*/ 1146045 w 1254861"/>
                <a:gd name="connsiteY190" fmla="*/ 239209 h 931541"/>
                <a:gd name="connsiteX191" fmla="*/ 1132917 w 1254861"/>
                <a:gd name="connsiteY191" fmla="*/ 250789 h 931541"/>
                <a:gd name="connsiteX192" fmla="*/ 1068661 w 1254861"/>
                <a:gd name="connsiteY192" fmla="*/ 287896 h 931541"/>
                <a:gd name="connsiteX193" fmla="*/ 1053354 w 1254861"/>
                <a:gd name="connsiteY193" fmla="*/ 305807 h 931541"/>
                <a:gd name="connsiteX194" fmla="*/ 1047515 w 1254861"/>
                <a:gd name="connsiteY194" fmla="*/ 309931 h 931541"/>
                <a:gd name="connsiteX195" fmla="*/ 999753 w 1254861"/>
                <a:gd name="connsiteY195" fmla="*/ 321179 h 931541"/>
                <a:gd name="connsiteX196" fmla="*/ 966373 w 1254861"/>
                <a:gd name="connsiteY196" fmla="*/ 333185 h 931541"/>
                <a:gd name="connsiteX197" fmla="*/ 950374 w 1254861"/>
                <a:gd name="connsiteY197" fmla="*/ 337538 h 931541"/>
                <a:gd name="connsiteX198" fmla="*/ 930385 w 1254861"/>
                <a:gd name="connsiteY198" fmla="*/ 358351 h 931541"/>
                <a:gd name="connsiteX199" fmla="*/ 920917 w 1254861"/>
                <a:gd name="connsiteY199" fmla="*/ 366732 h 931541"/>
                <a:gd name="connsiteX200" fmla="*/ 928473 w 1254861"/>
                <a:gd name="connsiteY200" fmla="*/ 369042 h 931541"/>
                <a:gd name="connsiteX201" fmla="*/ 937280 w 1254861"/>
                <a:gd name="connsiteY201" fmla="*/ 378970 h 931541"/>
                <a:gd name="connsiteX202" fmla="*/ 934312 w 1254861"/>
                <a:gd name="connsiteY202" fmla="*/ 383354 h 931541"/>
                <a:gd name="connsiteX203" fmla="*/ 921478 w 1254861"/>
                <a:gd name="connsiteY203" fmla="*/ 390152 h 931541"/>
                <a:gd name="connsiteX204" fmla="*/ 915871 w 1254861"/>
                <a:gd name="connsiteY204" fmla="*/ 392230 h 931541"/>
                <a:gd name="connsiteX205" fmla="*/ 912838 w 1254861"/>
                <a:gd name="connsiteY205" fmla="*/ 391139 h 931541"/>
                <a:gd name="connsiteX206" fmla="*/ 909967 w 1254861"/>
                <a:gd name="connsiteY206" fmla="*/ 392064 h 931541"/>
                <a:gd name="connsiteX207" fmla="*/ 888462 w 1254861"/>
                <a:gd name="connsiteY207" fmla="*/ 427854 h 931541"/>
                <a:gd name="connsiteX208" fmla="*/ 869460 w 1254861"/>
                <a:gd name="connsiteY208" fmla="*/ 453515 h 931541"/>
                <a:gd name="connsiteX209" fmla="*/ 858773 w 1254861"/>
                <a:gd name="connsiteY209" fmla="*/ 464666 h 931541"/>
                <a:gd name="connsiteX210" fmla="*/ 847823 w 1254861"/>
                <a:gd name="connsiteY210" fmla="*/ 481258 h 931541"/>
                <a:gd name="connsiteX211" fmla="*/ 824503 w 1254861"/>
                <a:gd name="connsiteY211" fmla="*/ 523908 h 931541"/>
                <a:gd name="connsiteX212" fmla="*/ 824337 w 1254861"/>
                <a:gd name="connsiteY212" fmla="*/ 536178 h 931541"/>
                <a:gd name="connsiteX213" fmla="*/ 835817 w 1254861"/>
                <a:gd name="connsiteY213" fmla="*/ 578364 h 931541"/>
                <a:gd name="connsiteX214" fmla="*/ 842414 w 1254861"/>
                <a:gd name="connsiteY214" fmla="*/ 589415 h 931541"/>
                <a:gd name="connsiteX215" fmla="*/ 851650 w 1254861"/>
                <a:gd name="connsiteY215" fmla="*/ 598685 h 931541"/>
                <a:gd name="connsiteX216" fmla="*/ 869131 w 1254861"/>
                <a:gd name="connsiteY216" fmla="*/ 606567 h 931541"/>
                <a:gd name="connsiteX217" fmla="*/ 873453 w 1254861"/>
                <a:gd name="connsiteY217" fmla="*/ 614321 h 931541"/>
                <a:gd name="connsiteX218" fmla="*/ 867417 w 1254861"/>
                <a:gd name="connsiteY218" fmla="*/ 621708 h 931541"/>
                <a:gd name="connsiteX219" fmla="*/ 849932 w 1254861"/>
                <a:gd name="connsiteY219" fmla="*/ 634805 h 931541"/>
                <a:gd name="connsiteX220" fmla="*/ 819519 w 1254861"/>
                <a:gd name="connsiteY220" fmla="*/ 652484 h 931541"/>
                <a:gd name="connsiteX221" fmla="*/ 806592 w 1254861"/>
                <a:gd name="connsiteY221" fmla="*/ 666405 h 931541"/>
                <a:gd name="connsiteX222" fmla="*/ 803853 w 1254861"/>
                <a:gd name="connsiteY222" fmla="*/ 679796 h 931541"/>
                <a:gd name="connsiteX223" fmla="*/ 794946 w 1254861"/>
                <a:gd name="connsiteY223" fmla="*/ 685833 h 931541"/>
                <a:gd name="connsiteX224" fmla="*/ 791583 w 1254861"/>
                <a:gd name="connsiteY224" fmla="*/ 704533 h 931541"/>
                <a:gd name="connsiteX225" fmla="*/ 786174 w 1254861"/>
                <a:gd name="connsiteY225" fmla="*/ 716903 h 931541"/>
                <a:gd name="connsiteX226" fmla="*/ 785149 w 1254861"/>
                <a:gd name="connsiteY226" fmla="*/ 721093 h 931541"/>
                <a:gd name="connsiteX227" fmla="*/ 779411 w 1254861"/>
                <a:gd name="connsiteY227" fmla="*/ 730461 h 931541"/>
                <a:gd name="connsiteX228" fmla="*/ 778652 w 1254861"/>
                <a:gd name="connsiteY228" fmla="*/ 737290 h 931541"/>
                <a:gd name="connsiteX229" fmla="*/ 788054 w 1254861"/>
                <a:gd name="connsiteY229" fmla="*/ 746657 h 931541"/>
                <a:gd name="connsiteX230" fmla="*/ 783404 w 1254861"/>
                <a:gd name="connsiteY230" fmla="*/ 750716 h 931541"/>
                <a:gd name="connsiteX231" fmla="*/ 778753 w 1254861"/>
                <a:gd name="connsiteY231" fmla="*/ 752496 h 931541"/>
                <a:gd name="connsiteX232" fmla="*/ 768031 w 1254861"/>
                <a:gd name="connsiteY232" fmla="*/ 753583 h 931541"/>
                <a:gd name="connsiteX233" fmla="*/ 731977 w 1254861"/>
                <a:gd name="connsiteY233" fmla="*/ 754771 h 931541"/>
                <a:gd name="connsiteX234" fmla="*/ 702985 w 1254861"/>
                <a:gd name="connsiteY234" fmla="*/ 774992 h 931541"/>
                <a:gd name="connsiteX235" fmla="*/ 688503 w 1254861"/>
                <a:gd name="connsiteY235" fmla="*/ 792868 h 931541"/>
                <a:gd name="connsiteX236" fmla="*/ 675374 w 1254861"/>
                <a:gd name="connsiteY236" fmla="*/ 826019 h 931541"/>
                <a:gd name="connsiteX237" fmla="*/ 659444 w 1254861"/>
                <a:gd name="connsiteY237" fmla="*/ 845513 h 931541"/>
                <a:gd name="connsiteX238" fmla="*/ 652418 w 1254861"/>
                <a:gd name="connsiteY238" fmla="*/ 849111 h 931541"/>
                <a:gd name="connsiteX239" fmla="*/ 641499 w 1254861"/>
                <a:gd name="connsiteY239" fmla="*/ 840568 h 931541"/>
                <a:gd name="connsiteX240" fmla="*/ 627844 w 1254861"/>
                <a:gd name="connsiteY240" fmla="*/ 839248 h 931541"/>
                <a:gd name="connsiteX241" fmla="*/ 614615 w 1254861"/>
                <a:gd name="connsiteY241" fmla="*/ 842084 h 931541"/>
                <a:gd name="connsiteX242" fmla="*/ 607689 w 1254861"/>
                <a:gd name="connsiteY242" fmla="*/ 848879 h 931541"/>
                <a:gd name="connsiteX243" fmla="*/ 596871 w 1254861"/>
                <a:gd name="connsiteY243" fmla="*/ 852671 h 931541"/>
                <a:gd name="connsiteX244" fmla="*/ 586281 w 1254861"/>
                <a:gd name="connsiteY244" fmla="*/ 849405 h 931541"/>
                <a:gd name="connsiteX245" fmla="*/ 563390 w 1254861"/>
                <a:gd name="connsiteY245" fmla="*/ 847625 h 931541"/>
                <a:gd name="connsiteX246" fmla="*/ 553198 w 1254861"/>
                <a:gd name="connsiteY246" fmla="*/ 847954 h 931541"/>
                <a:gd name="connsiteX247" fmla="*/ 537265 w 1254861"/>
                <a:gd name="connsiteY247" fmla="*/ 853464 h 931541"/>
                <a:gd name="connsiteX248" fmla="*/ 523610 w 1254861"/>
                <a:gd name="connsiteY248" fmla="*/ 849804 h 931541"/>
                <a:gd name="connsiteX249" fmla="*/ 500553 w 1254861"/>
                <a:gd name="connsiteY249" fmla="*/ 847923 h 931541"/>
                <a:gd name="connsiteX250" fmla="*/ 450648 w 1254861"/>
                <a:gd name="connsiteY250" fmla="*/ 852307 h 931541"/>
                <a:gd name="connsiteX251" fmla="*/ 444345 w 1254861"/>
                <a:gd name="connsiteY251" fmla="*/ 854354 h 931541"/>
                <a:gd name="connsiteX252" fmla="*/ 438111 w 1254861"/>
                <a:gd name="connsiteY252" fmla="*/ 862534 h 931541"/>
                <a:gd name="connsiteX253" fmla="*/ 422213 w 1254861"/>
                <a:gd name="connsiteY253" fmla="*/ 876618 h 931541"/>
                <a:gd name="connsiteX254" fmla="*/ 398034 w 1254861"/>
                <a:gd name="connsiteY254" fmla="*/ 877113 h 931541"/>
                <a:gd name="connsiteX255" fmla="*/ 376165 w 1254861"/>
                <a:gd name="connsiteY255" fmla="*/ 886086 h 931541"/>
                <a:gd name="connsiteX256" fmla="*/ 370690 w 1254861"/>
                <a:gd name="connsiteY256" fmla="*/ 891824 h 931541"/>
                <a:gd name="connsiteX257" fmla="*/ 361519 w 1254861"/>
                <a:gd name="connsiteY257" fmla="*/ 907626 h 931541"/>
                <a:gd name="connsiteX258" fmla="*/ 358649 w 1254861"/>
                <a:gd name="connsiteY258" fmla="*/ 919137 h 931541"/>
                <a:gd name="connsiteX259" fmla="*/ 356737 w 1254861"/>
                <a:gd name="connsiteY259" fmla="*/ 919237 h 931541"/>
                <a:gd name="connsiteX260" fmla="*/ 354361 w 1254861"/>
                <a:gd name="connsiteY260" fmla="*/ 916398 h 931541"/>
                <a:gd name="connsiteX261" fmla="*/ 350999 w 1254861"/>
                <a:gd name="connsiteY261" fmla="*/ 917322 h 931541"/>
                <a:gd name="connsiteX262" fmla="*/ 349250 w 1254861"/>
                <a:gd name="connsiteY262" fmla="*/ 926098 h 931541"/>
                <a:gd name="connsiteX263" fmla="*/ 341036 w 1254861"/>
                <a:gd name="connsiteY263" fmla="*/ 930087 h 931541"/>
                <a:gd name="connsiteX264" fmla="*/ 334175 w 1254861"/>
                <a:gd name="connsiteY264" fmla="*/ 931541 h 931541"/>
                <a:gd name="connsiteX265" fmla="*/ 317251 w 1254861"/>
                <a:gd name="connsiteY265" fmla="*/ 924449 h 931541"/>
                <a:gd name="connsiteX266" fmla="*/ 303136 w 1254861"/>
                <a:gd name="connsiteY266" fmla="*/ 913793 h 931541"/>
                <a:gd name="connsiteX267" fmla="*/ 295746 w 1254861"/>
                <a:gd name="connsiteY267" fmla="*/ 913035 h 931541"/>
                <a:gd name="connsiteX268" fmla="*/ 283740 w 1254861"/>
                <a:gd name="connsiteY268" fmla="*/ 896409 h 931541"/>
                <a:gd name="connsiteX269" fmla="*/ 278563 w 1254861"/>
                <a:gd name="connsiteY269" fmla="*/ 885823 h 931541"/>
                <a:gd name="connsiteX270" fmla="*/ 274899 w 1254861"/>
                <a:gd name="connsiteY270" fmla="*/ 874343 h 931541"/>
                <a:gd name="connsiteX271" fmla="*/ 275657 w 1254861"/>
                <a:gd name="connsiteY271" fmla="*/ 869955 h 931541"/>
                <a:gd name="connsiteX272" fmla="*/ 274635 w 1254861"/>
                <a:gd name="connsiteY272" fmla="*/ 866295 h 931541"/>
                <a:gd name="connsiteX273" fmla="*/ 263983 w 1254861"/>
                <a:gd name="connsiteY273" fmla="*/ 861644 h 931541"/>
                <a:gd name="connsiteX274" fmla="*/ 261375 w 1254861"/>
                <a:gd name="connsiteY274" fmla="*/ 851088 h 931541"/>
                <a:gd name="connsiteX275" fmla="*/ 269160 w 1254861"/>
                <a:gd name="connsiteY275" fmla="*/ 837333 h 931541"/>
                <a:gd name="connsiteX276" fmla="*/ 275525 w 1254861"/>
                <a:gd name="connsiteY276" fmla="*/ 831495 h 931541"/>
                <a:gd name="connsiteX277" fmla="*/ 279484 w 1254861"/>
                <a:gd name="connsiteY277" fmla="*/ 829812 h 931541"/>
                <a:gd name="connsiteX278" fmla="*/ 269853 w 1254861"/>
                <a:gd name="connsiteY278" fmla="*/ 830407 h 931541"/>
                <a:gd name="connsiteX279" fmla="*/ 262892 w 1254861"/>
                <a:gd name="connsiteY279" fmla="*/ 839248 h 931541"/>
                <a:gd name="connsiteX280" fmla="*/ 253986 w 1254861"/>
                <a:gd name="connsiteY280" fmla="*/ 825064 h 931541"/>
                <a:gd name="connsiteX281" fmla="*/ 217669 w 1254861"/>
                <a:gd name="connsiteY281" fmla="*/ 797387 h 931541"/>
                <a:gd name="connsiteX282" fmla="*/ 220013 w 1254861"/>
                <a:gd name="connsiteY282" fmla="*/ 791022 h 931541"/>
                <a:gd name="connsiteX283" fmla="*/ 219615 w 1254861"/>
                <a:gd name="connsiteY283" fmla="*/ 787590 h 931541"/>
                <a:gd name="connsiteX284" fmla="*/ 213513 w 1254861"/>
                <a:gd name="connsiteY284" fmla="*/ 795012 h 931541"/>
                <a:gd name="connsiteX285" fmla="*/ 209357 w 1254861"/>
                <a:gd name="connsiteY285" fmla="*/ 796927 h 931541"/>
                <a:gd name="connsiteX286" fmla="*/ 190789 w 1254861"/>
                <a:gd name="connsiteY286" fmla="*/ 795739 h 931541"/>
                <a:gd name="connsiteX287" fmla="*/ 169411 w 1254861"/>
                <a:gd name="connsiteY287" fmla="*/ 799136 h 931541"/>
                <a:gd name="connsiteX288" fmla="*/ 163774 w 1254861"/>
                <a:gd name="connsiteY288" fmla="*/ 770306 h 931541"/>
                <a:gd name="connsiteX289" fmla="*/ 161100 w 1254861"/>
                <a:gd name="connsiteY289" fmla="*/ 759225 h 931541"/>
                <a:gd name="connsiteX290" fmla="*/ 160407 w 1254861"/>
                <a:gd name="connsiteY290" fmla="*/ 752032 h 931541"/>
                <a:gd name="connsiteX291" fmla="*/ 165917 w 1254861"/>
                <a:gd name="connsiteY291" fmla="*/ 735409 h 931541"/>
                <a:gd name="connsiteX292" fmla="*/ 171953 w 1254861"/>
                <a:gd name="connsiteY292" fmla="*/ 728615 h 931541"/>
                <a:gd name="connsiteX293" fmla="*/ 179967 w 1254861"/>
                <a:gd name="connsiteY293" fmla="*/ 714596 h 931541"/>
                <a:gd name="connsiteX294" fmla="*/ 189864 w 1254861"/>
                <a:gd name="connsiteY294" fmla="*/ 702919 h 931541"/>
                <a:gd name="connsiteX295" fmla="*/ 200319 w 1254861"/>
                <a:gd name="connsiteY295" fmla="*/ 700145 h 931541"/>
                <a:gd name="connsiteX296" fmla="*/ 204939 w 1254861"/>
                <a:gd name="connsiteY296" fmla="*/ 698431 h 931541"/>
                <a:gd name="connsiteX297" fmla="*/ 208796 w 1254861"/>
                <a:gd name="connsiteY297" fmla="*/ 689393 h 931541"/>
                <a:gd name="connsiteX298" fmla="*/ 210975 w 1254861"/>
                <a:gd name="connsiteY298" fmla="*/ 681677 h 931541"/>
                <a:gd name="connsiteX299" fmla="*/ 209392 w 1254861"/>
                <a:gd name="connsiteY299" fmla="*/ 680919 h 931541"/>
                <a:gd name="connsiteX300" fmla="*/ 197188 w 1254861"/>
                <a:gd name="connsiteY300" fmla="*/ 682501 h 931541"/>
                <a:gd name="connsiteX301" fmla="*/ 175285 w 1254861"/>
                <a:gd name="connsiteY301" fmla="*/ 650011 h 931541"/>
                <a:gd name="connsiteX302" fmla="*/ 175977 w 1254861"/>
                <a:gd name="connsiteY302" fmla="*/ 644830 h 931541"/>
                <a:gd name="connsiteX303" fmla="*/ 178713 w 1254861"/>
                <a:gd name="connsiteY303" fmla="*/ 637146 h 931541"/>
                <a:gd name="connsiteX304" fmla="*/ 180528 w 1254861"/>
                <a:gd name="connsiteY304" fmla="*/ 627415 h 931541"/>
                <a:gd name="connsiteX305" fmla="*/ 180988 w 1254861"/>
                <a:gd name="connsiteY305" fmla="*/ 619730 h 931541"/>
                <a:gd name="connsiteX306" fmla="*/ 186695 w 1254861"/>
                <a:gd name="connsiteY306" fmla="*/ 613099 h 931541"/>
                <a:gd name="connsiteX307" fmla="*/ 195440 w 1254861"/>
                <a:gd name="connsiteY307" fmla="*/ 606436 h 931541"/>
                <a:gd name="connsiteX308" fmla="*/ 202795 w 1254861"/>
                <a:gd name="connsiteY308" fmla="*/ 596937 h 931541"/>
                <a:gd name="connsiteX309" fmla="*/ 206487 w 1254861"/>
                <a:gd name="connsiteY309" fmla="*/ 587666 h 931541"/>
                <a:gd name="connsiteX310" fmla="*/ 207248 w 1254861"/>
                <a:gd name="connsiteY310" fmla="*/ 579223 h 931541"/>
                <a:gd name="connsiteX311" fmla="*/ 203089 w 1254861"/>
                <a:gd name="connsiteY311" fmla="*/ 573187 h 931541"/>
                <a:gd name="connsiteX312" fmla="*/ 191118 w 1254861"/>
                <a:gd name="connsiteY312" fmla="*/ 569856 h 931541"/>
                <a:gd name="connsiteX313" fmla="*/ 178748 w 1254861"/>
                <a:gd name="connsiteY313" fmla="*/ 545708 h 931541"/>
                <a:gd name="connsiteX314" fmla="*/ 176008 w 1254861"/>
                <a:gd name="connsiteY314" fmla="*/ 530571 h 931541"/>
                <a:gd name="connsiteX315" fmla="*/ 173470 w 1254861"/>
                <a:gd name="connsiteY315" fmla="*/ 528985 h 931541"/>
                <a:gd name="connsiteX316" fmla="*/ 165851 w 1254861"/>
                <a:gd name="connsiteY316" fmla="*/ 522094 h 931541"/>
                <a:gd name="connsiteX317" fmla="*/ 158527 w 1254861"/>
                <a:gd name="connsiteY317" fmla="*/ 509097 h 931541"/>
                <a:gd name="connsiteX318" fmla="*/ 157471 w 1254861"/>
                <a:gd name="connsiteY318" fmla="*/ 507050 h 931541"/>
                <a:gd name="connsiteX319" fmla="*/ 165027 w 1254861"/>
                <a:gd name="connsiteY319" fmla="*/ 504775 h 931541"/>
                <a:gd name="connsiteX320" fmla="*/ 196163 w 1254861"/>
                <a:gd name="connsiteY320" fmla="*/ 504675 h 931541"/>
                <a:gd name="connsiteX321" fmla="*/ 202663 w 1254861"/>
                <a:gd name="connsiteY321" fmla="*/ 501807 h 931541"/>
                <a:gd name="connsiteX322" fmla="*/ 203650 w 1254861"/>
                <a:gd name="connsiteY322" fmla="*/ 500817 h 931541"/>
                <a:gd name="connsiteX323" fmla="*/ 209326 w 1254861"/>
                <a:gd name="connsiteY323" fmla="*/ 490691 h 931541"/>
                <a:gd name="connsiteX324" fmla="*/ 215262 w 1254861"/>
                <a:gd name="connsiteY324" fmla="*/ 474034 h 931541"/>
                <a:gd name="connsiteX325" fmla="*/ 216647 w 1254861"/>
                <a:gd name="connsiteY325" fmla="*/ 463838 h 931541"/>
                <a:gd name="connsiteX326" fmla="*/ 214767 w 1254861"/>
                <a:gd name="connsiteY326" fmla="*/ 459617 h 931541"/>
                <a:gd name="connsiteX327" fmla="*/ 204443 w 1254861"/>
                <a:gd name="connsiteY327" fmla="*/ 449294 h 931541"/>
                <a:gd name="connsiteX328" fmla="*/ 203983 w 1254861"/>
                <a:gd name="connsiteY328" fmla="*/ 446260 h 931541"/>
                <a:gd name="connsiteX329" fmla="*/ 205631 w 1254861"/>
                <a:gd name="connsiteY329" fmla="*/ 441377 h 931541"/>
                <a:gd name="connsiteX330" fmla="*/ 211764 w 1254861"/>
                <a:gd name="connsiteY330" fmla="*/ 436165 h 931541"/>
                <a:gd name="connsiteX331" fmla="*/ 220044 w 1254861"/>
                <a:gd name="connsiteY331" fmla="*/ 430230 h 931541"/>
                <a:gd name="connsiteX332" fmla="*/ 224564 w 1254861"/>
                <a:gd name="connsiteY332" fmla="*/ 425115 h 931541"/>
                <a:gd name="connsiteX333" fmla="*/ 223476 w 1254861"/>
                <a:gd name="connsiteY333" fmla="*/ 421091 h 931541"/>
                <a:gd name="connsiteX334" fmla="*/ 221069 w 1254861"/>
                <a:gd name="connsiteY334" fmla="*/ 416901 h 931541"/>
                <a:gd name="connsiteX335" fmla="*/ 220671 w 1254861"/>
                <a:gd name="connsiteY335" fmla="*/ 412977 h 931541"/>
                <a:gd name="connsiteX336" fmla="*/ 222188 w 1254861"/>
                <a:gd name="connsiteY336" fmla="*/ 408160 h 931541"/>
                <a:gd name="connsiteX337" fmla="*/ 222749 w 1254861"/>
                <a:gd name="connsiteY337" fmla="*/ 391669 h 931541"/>
                <a:gd name="connsiteX338" fmla="*/ 223805 w 1254861"/>
                <a:gd name="connsiteY338" fmla="*/ 387448 h 931541"/>
                <a:gd name="connsiteX339" fmla="*/ 222188 w 1254861"/>
                <a:gd name="connsiteY339" fmla="*/ 372404 h 931541"/>
                <a:gd name="connsiteX340" fmla="*/ 220176 w 1254861"/>
                <a:gd name="connsiteY340" fmla="*/ 360100 h 931541"/>
                <a:gd name="connsiteX341" fmla="*/ 213614 w 1254861"/>
                <a:gd name="connsiteY341" fmla="*/ 344135 h 931541"/>
                <a:gd name="connsiteX342" fmla="*/ 214801 w 1254861"/>
                <a:gd name="connsiteY342" fmla="*/ 340607 h 931541"/>
                <a:gd name="connsiteX343" fmla="*/ 217835 w 1254861"/>
                <a:gd name="connsiteY343" fmla="*/ 337639 h 931541"/>
                <a:gd name="connsiteX344" fmla="*/ 227763 w 1254861"/>
                <a:gd name="connsiteY344" fmla="*/ 332098 h 931541"/>
                <a:gd name="connsiteX345" fmla="*/ 235680 w 1254861"/>
                <a:gd name="connsiteY345" fmla="*/ 319035 h 931541"/>
                <a:gd name="connsiteX346" fmla="*/ 247191 w 1254861"/>
                <a:gd name="connsiteY346" fmla="*/ 308082 h 931541"/>
                <a:gd name="connsiteX347" fmla="*/ 262265 w 1254861"/>
                <a:gd name="connsiteY347" fmla="*/ 299275 h 931541"/>
                <a:gd name="connsiteX348" fmla="*/ 272821 w 1254861"/>
                <a:gd name="connsiteY348" fmla="*/ 289478 h 931541"/>
                <a:gd name="connsiteX349" fmla="*/ 276977 w 1254861"/>
                <a:gd name="connsiteY349" fmla="*/ 281960 h 931541"/>
                <a:gd name="connsiteX350" fmla="*/ 279913 w 1254861"/>
                <a:gd name="connsiteY350" fmla="*/ 279979 h 931541"/>
                <a:gd name="connsiteX351" fmla="*/ 279058 w 1254861"/>
                <a:gd name="connsiteY351" fmla="*/ 276482 h 931541"/>
                <a:gd name="connsiteX352" fmla="*/ 277077 w 1254861"/>
                <a:gd name="connsiteY352" fmla="*/ 271405 h 931541"/>
                <a:gd name="connsiteX353" fmla="*/ 271072 w 1254861"/>
                <a:gd name="connsiteY353" fmla="*/ 266422 h 931541"/>
                <a:gd name="connsiteX354" fmla="*/ 263322 w 1254861"/>
                <a:gd name="connsiteY354" fmla="*/ 263585 h 931541"/>
                <a:gd name="connsiteX355" fmla="*/ 254713 w 1254861"/>
                <a:gd name="connsiteY355" fmla="*/ 263717 h 931541"/>
                <a:gd name="connsiteX356" fmla="*/ 249369 w 1254861"/>
                <a:gd name="connsiteY356" fmla="*/ 262695 h 931541"/>
                <a:gd name="connsiteX357" fmla="*/ 247818 w 1254861"/>
                <a:gd name="connsiteY357" fmla="*/ 258803 h 931541"/>
                <a:gd name="connsiteX358" fmla="*/ 248414 w 1254861"/>
                <a:gd name="connsiteY358" fmla="*/ 248248 h 931541"/>
                <a:gd name="connsiteX359" fmla="*/ 247949 w 1254861"/>
                <a:gd name="connsiteY359" fmla="*/ 237793 h 931541"/>
                <a:gd name="connsiteX360" fmla="*/ 246301 w 1254861"/>
                <a:gd name="connsiteY360" fmla="*/ 232976 h 931541"/>
                <a:gd name="connsiteX361" fmla="*/ 242312 w 1254861"/>
                <a:gd name="connsiteY361" fmla="*/ 229346 h 931541"/>
                <a:gd name="connsiteX362" fmla="*/ 234426 w 1254861"/>
                <a:gd name="connsiteY362" fmla="*/ 230306 h 931541"/>
                <a:gd name="connsiteX363" fmla="*/ 227601 w 1254861"/>
                <a:gd name="connsiteY363" fmla="*/ 227334 h 931541"/>
                <a:gd name="connsiteX364" fmla="*/ 222420 w 1254861"/>
                <a:gd name="connsiteY364" fmla="*/ 226642 h 931541"/>
                <a:gd name="connsiteX365" fmla="*/ 219418 w 1254861"/>
                <a:gd name="connsiteY365" fmla="*/ 228983 h 931541"/>
                <a:gd name="connsiteX366" fmla="*/ 204146 w 1254861"/>
                <a:gd name="connsiteY366" fmla="*/ 228290 h 931541"/>
                <a:gd name="connsiteX367" fmla="*/ 197781 w 1254861"/>
                <a:gd name="connsiteY367" fmla="*/ 226611 h 931541"/>
                <a:gd name="connsiteX368" fmla="*/ 193327 w 1254861"/>
                <a:gd name="connsiteY368" fmla="*/ 224529 h 931541"/>
                <a:gd name="connsiteX369" fmla="*/ 190491 w 1254861"/>
                <a:gd name="connsiteY369" fmla="*/ 225686 h 931541"/>
                <a:gd name="connsiteX370" fmla="*/ 188874 w 1254861"/>
                <a:gd name="connsiteY370" fmla="*/ 227733 h 931541"/>
                <a:gd name="connsiteX371" fmla="*/ 188610 w 1254861"/>
                <a:gd name="connsiteY371" fmla="*/ 230929 h 931541"/>
                <a:gd name="connsiteX372" fmla="*/ 187554 w 1254861"/>
                <a:gd name="connsiteY372" fmla="*/ 235154 h 931541"/>
                <a:gd name="connsiteX373" fmla="*/ 182079 w 1254861"/>
                <a:gd name="connsiteY373" fmla="*/ 238980 h 931541"/>
                <a:gd name="connsiteX374" fmla="*/ 169578 w 1254861"/>
                <a:gd name="connsiteY374" fmla="*/ 242773 h 931541"/>
                <a:gd name="connsiteX375" fmla="*/ 159483 w 1254861"/>
                <a:gd name="connsiteY375" fmla="*/ 242475 h 931541"/>
                <a:gd name="connsiteX376" fmla="*/ 150216 w 1254861"/>
                <a:gd name="connsiteY376" fmla="*/ 239770 h 931541"/>
                <a:gd name="connsiteX377" fmla="*/ 147248 w 1254861"/>
                <a:gd name="connsiteY377" fmla="*/ 237758 h 931541"/>
                <a:gd name="connsiteX378" fmla="*/ 142794 w 1254861"/>
                <a:gd name="connsiteY378" fmla="*/ 235978 h 931541"/>
                <a:gd name="connsiteX379" fmla="*/ 123959 w 1254861"/>
                <a:gd name="connsiteY379" fmla="*/ 238187 h 931541"/>
                <a:gd name="connsiteX380" fmla="*/ 121684 w 1254861"/>
                <a:gd name="connsiteY380" fmla="*/ 236570 h 931541"/>
                <a:gd name="connsiteX381" fmla="*/ 115184 w 1254861"/>
                <a:gd name="connsiteY381" fmla="*/ 240497 h 931541"/>
                <a:gd name="connsiteX382" fmla="*/ 105619 w 1254861"/>
                <a:gd name="connsiteY382" fmla="*/ 245179 h 931541"/>
                <a:gd name="connsiteX383" fmla="*/ 100241 w 1254861"/>
                <a:gd name="connsiteY383" fmla="*/ 245443 h 931541"/>
                <a:gd name="connsiteX384" fmla="*/ 98295 w 1254861"/>
                <a:gd name="connsiteY384" fmla="*/ 244456 h 931541"/>
                <a:gd name="connsiteX385" fmla="*/ 97602 w 1254861"/>
                <a:gd name="connsiteY385" fmla="*/ 242378 h 931541"/>
                <a:gd name="connsiteX386" fmla="*/ 93578 w 1254861"/>
                <a:gd name="connsiteY386" fmla="*/ 235088 h 931541"/>
                <a:gd name="connsiteX387" fmla="*/ 94634 w 1254861"/>
                <a:gd name="connsiteY387" fmla="*/ 231227 h 931541"/>
                <a:gd name="connsiteX388" fmla="*/ 102353 w 1254861"/>
                <a:gd name="connsiteY388" fmla="*/ 219913 h 931541"/>
                <a:gd name="connsiteX389" fmla="*/ 101494 w 1254861"/>
                <a:gd name="connsiteY389" fmla="*/ 217208 h 931541"/>
                <a:gd name="connsiteX390" fmla="*/ 98329 w 1254861"/>
                <a:gd name="connsiteY390" fmla="*/ 213548 h 931541"/>
                <a:gd name="connsiteX391" fmla="*/ 95493 w 1254861"/>
                <a:gd name="connsiteY391" fmla="*/ 208270 h 931541"/>
                <a:gd name="connsiteX392" fmla="*/ 94669 w 1254861"/>
                <a:gd name="connsiteY392" fmla="*/ 205531 h 931541"/>
                <a:gd name="connsiteX393" fmla="*/ 89751 w 1254861"/>
                <a:gd name="connsiteY393" fmla="*/ 205070 h 931541"/>
                <a:gd name="connsiteX394" fmla="*/ 84508 w 1254861"/>
                <a:gd name="connsiteY394" fmla="*/ 207841 h 931541"/>
                <a:gd name="connsiteX395" fmla="*/ 64551 w 1254861"/>
                <a:gd name="connsiteY395" fmla="*/ 213548 h 931541"/>
                <a:gd name="connsiteX396" fmla="*/ 59768 w 1254861"/>
                <a:gd name="connsiteY396" fmla="*/ 215626 h 931541"/>
                <a:gd name="connsiteX397" fmla="*/ 51128 w 1254861"/>
                <a:gd name="connsiteY397" fmla="*/ 221101 h 931541"/>
                <a:gd name="connsiteX398" fmla="*/ 42384 w 1254861"/>
                <a:gd name="connsiteY398" fmla="*/ 229478 h 931541"/>
                <a:gd name="connsiteX399" fmla="*/ 35427 w 1254861"/>
                <a:gd name="connsiteY399" fmla="*/ 231227 h 931541"/>
                <a:gd name="connsiteX400" fmla="*/ 33016 w 1254861"/>
                <a:gd name="connsiteY400" fmla="*/ 228754 h 931541"/>
                <a:gd name="connsiteX401" fmla="*/ 32192 w 1254861"/>
                <a:gd name="connsiteY401" fmla="*/ 209095 h 931541"/>
                <a:gd name="connsiteX402" fmla="*/ 42813 w 1254861"/>
                <a:gd name="connsiteY402" fmla="*/ 195997 h 931541"/>
                <a:gd name="connsiteX403" fmla="*/ 50370 w 1254861"/>
                <a:gd name="connsiteY403" fmla="*/ 188084 h 931541"/>
                <a:gd name="connsiteX404" fmla="*/ 46837 w 1254861"/>
                <a:gd name="connsiteY404" fmla="*/ 186467 h 931541"/>
                <a:gd name="connsiteX405" fmla="*/ 38824 w 1254861"/>
                <a:gd name="connsiteY405" fmla="*/ 186699 h 931541"/>
                <a:gd name="connsiteX406" fmla="*/ 39385 w 1254861"/>
                <a:gd name="connsiteY406" fmla="*/ 180563 h 931541"/>
                <a:gd name="connsiteX407" fmla="*/ 43146 w 1254861"/>
                <a:gd name="connsiteY407" fmla="*/ 177595 h 931541"/>
                <a:gd name="connsiteX408" fmla="*/ 46771 w 1254861"/>
                <a:gd name="connsiteY408" fmla="*/ 170897 h 931541"/>
                <a:gd name="connsiteX409" fmla="*/ 42519 w 1254861"/>
                <a:gd name="connsiteY409" fmla="*/ 168026 h 931541"/>
                <a:gd name="connsiteX410" fmla="*/ 39187 w 1254861"/>
                <a:gd name="connsiteY410" fmla="*/ 163608 h 931541"/>
                <a:gd name="connsiteX411" fmla="*/ 39385 w 1254861"/>
                <a:gd name="connsiteY411" fmla="*/ 152062 h 931541"/>
                <a:gd name="connsiteX412" fmla="*/ 40309 w 1254861"/>
                <a:gd name="connsiteY412" fmla="*/ 147380 h 931541"/>
                <a:gd name="connsiteX413" fmla="*/ 39219 w 1254861"/>
                <a:gd name="connsiteY413" fmla="*/ 142300 h 931541"/>
                <a:gd name="connsiteX414" fmla="*/ 22890 w 1254861"/>
                <a:gd name="connsiteY414" fmla="*/ 149160 h 931541"/>
                <a:gd name="connsiteX415" fmla="*/ 18704 w 1254861"/>
                <a:gd name="connsiteY415" fmla="*/ 148138 h 931541"/>
                <a:gd name="connsiteX416" fmla="*/ 18537 w 1254861"/>
                <a:gd name="connsiteY416" fmla="*/ 139560 h 931541"/>
                <a:gd name="connsiteX417" fmla="*/ 27576 w 1254861"/>
                <a:gd name="connsiteY417" fmla="*/ 126467 h 931541"/>
                <a:gd name="connsiteX418" fmla="*/ 28501 w 1254861"/>
                <a:gd name="connsiteY418" fmla="*/ 122443 h 931541"/>
                <a:gd name="connsiteX419" fmla="*/ 17911 w 1254861"/>
                <a:gd name="connsiteY419" fmla="*/ 120496 h 931541"/>
                <a:gd name="connsiteX420" fmla="*/ 9994 w 1254861"/>
                <a:gd name="connsiteY420" fmla="*/ 114062 h 931541"/>
                <a:gd name="connsiteX421" fmla="*/ 5177 w 1254861"/>
                <a:gd name="connsiteY421" fmla="*/ 108289 h 931541"/>
                <a:gd name="connsiteX422" fmla="*/ 31 w 1254861"/>
                <a:gd name="connsiteY422" fmla="*/ 100013 h 931541"/>
                <a:gd name="connsiteX423" fmla="*/ 0 w 1254861"/>
                <a:gd name="connsiteY423" fmla="*/ 92557 h 931541"/>
                <a:gd name="connsiteX424" fmla="*/ 5343 w 1254861"/>
                <a:gd name="connsiteY424" fmla="*/ 75106 h 931541"/>
                <a:gd name="connsiteX425" fmla="*/ 12962 w 1254861"/>
                <a:gd name="connsiteY425" fmla="*/ 70026 h 931541"/>
                <a:gd name="connsiteX426" fmla="*/ 19559 w 1254861"/>
                <a:gd name="connsiteY426" fmla="*/ 66896 h 931541"/>
                <a:gd name="connsiteX427" fmla="*/ 33512 w 1254861"/>
                <a:gd name="connsiteY427" fmla="*/ 54789 h 931541"/>
                <a:gd name="connsiteX428" fmla="*/ 52742 w 1254861"/>
                <a:gd name="connsiteY428" fmla="*/ 57033 h 931541"/>
                <a:gd name="connsiteX429" fmla="*/ 64651 w 1254861"/>
                <a:gd name="connsiteY429" fmla="*/ 54425 h 931541"/>
                <a:gd name="connsiteX430" fmla="*/ 75338 w 1254861"/>
                <a:gd name="connsiteY430" fmla="*/ 48226 h 931541"/>
                <a:gd name="connsiteX431" fmla="*/ 81475 w 1254861"/>
                <a:gd name="connsiteY431" fmla="*/ 46838 h 931541"/>
                <a:gd name="connsiteX432" fmla="*/ 91337 w 1254861"/>
                <a:gd name="connsiteY432" fmla="*/ 41428 h 931541"/>
                <a:gd name="connsiteX433" fmla="*/ 91005 w 1254861"/>
                <a:gd name="connsiteY433" fmla="*/ 34108 h 931541"/>
                <a:gd name="connsiteX434" fmla="*/ 87608 w 1254861"/>
                <a:gd name="connsiteY434" fmla="*/ 28664 h 931541"/>
                <a:gd name="connsiteX435" fmla="*/ 90575 w 1254861"/>
                <a:gd name="connsiteY435" fmla="*/ 23552 h 931541"/>
                <a:gd name="connsiteX436" fmla="*/ 101629 w 1254861"/>
                <a:gd name="connsiteY436" fmla="*/ 17284 h 931541"/>
                <a:gd name="connsiteX437" fmla="*/ 113899 w 1254861"/>
                <a:gd name="connsiteY437" fmla="*/ 8973 h 931541"/>
                <a:gd name="connsiteX438" fmla="*/ 127983 w 1254861"/>
                <a:gd name="connsiteY438" fmla="*/ 7356 h 93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</a:cxnLst>
              <a:rect l="l" t="t" r="r" b="b"/>
              <a:pathLst>
                <a:path w="1254861" h="931541">
                  <a:moveTo>
                    <a:pt x="987712" y="613164"/>
                  </a:moveTo>
                  <a:lnTo>
                    <a:pt x="993322" y="619827"/>
                  </a:lnTo>
                  <a:lnTo>
                    <a:pt x="1002195" y="621081"/>
                  </a:lnTo>
                  <a:lnTo>
                    <a:pt x="1002295" y="624544"/>
                  </a:lnTo>
                  <a:lnTo>
                    <a:pt x="1000214" y="626095"/>
                  </a:lnTo>
                  <a:lnTo>
                    <a:pt x="994081" y="624675"/>
                  </a:lnTo>
                  <a:lnTo>
                    <a:pt x="984876" y="624675"/>
                  </a:lnTo>
                  <a:lnTo>
                    <a:pt x="984516" y="619893"/>
                  </a:lnTo>
                  <a:lnTo>
                    <a:pt x="985932" y="616562"/>
                  </a:lnTo>
                  <a:close/>
                  <a:moveTo>
                    <a:pt x="999556" y="571338"/>
                  </a:moveTo>
                  <a:lnTo>
                    <a:pt x="1004075" y="575365"/>
                  </a:lnTo>
                  <a:lnTo>
                    <a:pt x="1005031" y="581135"/>
                  </a:lnTo>
                  <a:lnTo>
                    <a:pt x="993090" y="593737"/>
                  </a:lnTo>
                  <a:lnTo>
                    <a:pt x="988505" y="595354"/>
                  </a:lnTo>
                  <a:lnTo>
                    <a:pt x="985143" y="602644"/>
                  </a:lnTo>
                  <a:lnTo>
                    <a:pt x="971059" y="600071"/>
                  </a:lnTo>
                  <a:lnTo>
                    <a:pt x="967956" y="597134"/>
                  </a:lnTo>
                  <a:lnTo>
                    <a:pt x="970989" y="588888"/>
                  </a:lnTo>
                  <a:lnTo>
                    <a:pt x="975048" y="587898"/>
                  </a:lnTo>
                  <a:lnTo>
                    <a:pt x="975311" y="582028"/>
                  </a:lnTo>
                  <a:lnTo>
                    <a:pt x="979567" y="576124"/>
                  </a:lnTo>
                  <a:close/>
                  <a:moveTo>
                    <a:pt x="1147199" y="469746"/>
                  </a:moveTo>
                  <a:lnTo>
                    <a:pt x="1150793" y="470865"/>
                  </a:lnTo>
                  <a:lnTo>
                    <a:pt x="1147725" y="475287"/>
                  </a:lnTo>
                  <a:lnTo>
                    <a:pt x="1147957" y="477299"/>
                  </a:lnTo>
                  <a:lnTo>
                    <a:pt x="1150894" y="479443"/>
                  </a:lnTo>
                  <a:lnTo>
                    <a:pt x="1150201" y="482871"/>
                  </a:lnTo>
                  <a:lnTo>
                    <a:pt x="1147230" y="485843"/>
                  </a:lnTo>
                  <a:lnTo>
                    <a:pt x="1145914" y="491449"/>
                  </a:lnTo>
                  <a:lnTo>
                    <a:pt x="1154786" y="495439"/>
                  </a:lnTo>
                  <a:lnTo>
                    <a:pt x="1164154" y="491844"/>
                  </a:lnTo>
                  <a:lnTo>
                    <a:pt x="1169134" y="492966"/>
                  </a:lnTo>
                  <a:lnTo>
                    <a:pt x="1174048" y="494912"/>
                  </a:lnTo>
                  <a:lnTo>
                    <a:pt x="1175235" y="502500"/>
                  </a:lnTo>
                  <a:lnTo>
                    <a:pt x="1170882" y="510943"/>
                  </a:lnTo>
                  <a:lnTo>
                    <a:pt x="1164781" y="519521"/>
                  </a:lnTo>
                  <a:lnTo>
                    <a:pt x="1159635" y="528919"/>
                  </a:lnTo>
                  <a:lnTo>
                    <a:pt x="1155150" y="539707"/>
                  </a:lnTo>
                  <a:lnTo>
                    <a:pt x="1146801" y="546072"/>
                  </a:lnTo>
                  <a:lnTo>
                    <a:pt x="1139251" y="549898"/>
                  </a:lnTo>
                  <a:lnTo>
                    <a:pt x="1123283" y="541885"/>
                  </a:lnTo>
                  <a:lnTo>
                    <a:pt x="1113981" y="539873"/>
                  </a:lnTo>
                  <a:lnTo>
                    <a:pt x="1111211" y="536870"/>
                  </a:lnTo>
                  <a:lnTo>
                    <a:pt x="1109001" y="524930"/>
                  </a:lnTo>
                  <a:lnTo>
                    <a:pt x="1104811" y="521134"/>
                  </a:lnTo>
                  <a:lnTo>
                    <a:pt x="1098643" y="519455"/>
                  </a:lnTo>
                  <a:lnTo>
                    <a:pt x="1093234" y="522523"/>
                  </a:lnTo>
                  <a:lnTo>
                    <a:pt x="1086177" y="528822"/>
                  </a:lnTo>
                  <a:lnTo>
                    <a:pt x="1082416" y="522523"/>
                  </a:lnTo>
                  <a:lnTo>
                    <a:pt x="1076445" y="521335"/>
                  </a:lnTo>
                  <a:lnTo>
                    <a:pt x="1074201" y="517540"/>
                  </a:lnTo>
                  <a:lnTo>
                    <a:pt x="1074302" y="512657"/>
                  </a:lnTo>
                  <a:lnTo>
                    <a:pt x="1112596" y="483664"/>
                  </a:lnTo>
                  <a:lnTo>
                    <a:pt x="1123681" y="477233"/>
                  </a:lnTo>
                  <a:close/>
                  <a:moveTo>
                    <a:pt x="1230551" y="457210"/>
                  </a:moveTo>
                  <a:lnTo>
                    <a:pt x="1245957" y="462356"/>
                  </a:lnTo>
                  <a:lnTo>
                    <a:pt x="1254238" y="476208"/>
                  </a:lnTo>
                  <a:lnTo>
                    <a:pt x="1254861" y="478584"/>
                  </a:lnTo>
                  <a:lnTo>
                    <a:pt x="1252226" y="485247"/>
                  </a:lnTo>
                  <a:lnTo>
                    <a:pt x="1250543" y="486632"/>
                  </a:lnTo>
                  <a:lnTo>
                    <a:pt x="1222077" y="472745"/>
                  </a:lnTo>
                  <a:lnTo>
                    <a:pt x="1212771" y="471197"/>
                  </a:lnTo>
                  <a:lnTo>
                    <a:pt x="1210496" y="469085"/>
                  </a:lnTo>
                  <a:lnTo>
                    <a:pt x="1210763" y="461861"/>
                  </a:lnTo>
                  <a:lnTo>
                    <a:pt x="1211487" y="458661"/>
                  </a:lnTo>
                  <a:close/>
                  <a:moveTo>
                    <a:pt x="142299" y="0"/>
                  </a:moveTo>
                  <a:lnTo>
                    <a:pt x="151899" y="4748"/>
                  </a:lnTo>
                  <a:lnTo>
                    <a:pt x="160307" y="3134"/>
                  </a:lnTo>
                  <a:lnTo>
                    <a:pt x="169972" y="8776"/>
                  </a:lnTo>
                  <a:lnTo>
                    <a:pt x="182675" y="21672"/>
                  </a:lnTo>
                  <a:lnTo>
                    <a:pt x="201278" y="26849"/>
                  </a:lnTo>
                  <a:lnTo>
                    <a:pt x="216121" y="22794"/>
                  </a:lnTo>
                  <a:lnTo>
                    <a:pt x="242343" y="21935"/>
                  </a:lnTo>
                  <a:lnTo>
                    <a:pt x="255440" y="23649"/>
                  </a:lnTo>
                  <a:lnTo>
                    <a:pt x="278725" y="20449"/>
                  </a:lnTo>
                  <a:lnTo>
                    <a:pt x="292051" y="21606"/>
                  </a:lnTo>
                  <a:lnTo>
                    <a:pt x="313657" y="15206"/>
                  </a:lnTo>
                  <a:lnTo>
                    <a:pt x="330380" y="23189"/>
                  </a:lnTo>
                  <a:lnTo>
                    <a:pt x="362808" y="26915"/>
                  </a:lnTo>
                  <a:lnTo>
                    <a:pt x="382267" y="33446"/>
                  </a:lnTo>
                  <a:lnTo>
                    <a:pt x="436165" y="44396"/>
                  </a:lnTo>
                  <a:lnTo>
                    <a:pt x="455627" y="44531"/>
                  </a:lnTo>
                  <a:lnTo>
                    <a:pt x="483169" y="38364"/>
                  </a:lnTo>
                  <a:lnTo>
                    <a:pt x="494846" y="33744"/>
                  </a:lnTo>
                  <a:lnTo>
                    <a:pt x="505533" y="36483"/>
                  </a:lnTo>
                  <a:lnTo>
                    <a:pt x="521203" y="31171"/>
                  </a:lnTo>
                  <a:lnTo>
                    <a:pt x="528722" y="32258"/>
                  </a:lnTo>
                  <a:lnTo>
                    <a:pt x="538519" y="39815"/>
                  </a:lnTo>
                  <a:lnTo>
                    <a:pt x="572990" y="50006"/>
                  </a:lnTo>
                  <a:lnTo>
                    <a:pt x="582028" y="41363"/>
                  </a:lnTo>
                  <a:lnTo>
                    <a:pt x="588757" y="39482"/>
                  </a:lnTo>
                  <a:lnTo>
                    <a:pt x="613559" y="44760"/>
                  </a:lnTo>
                  <a:lnTo>
                    <a:pt x="638562" y="55513"/>
                  </a:lnTo>
                  <a:lnTo>
                    <a:pt x="651559" y="56274"/>
                  </a:lnTo>
                  <a:lnTo>
                    <a:pt x="670561" y="53338"/>
                  </a:lnTo>
                  <a:lnTo>
                    <a:pt x="685635" y="46277"/>
                  </a:lnTo>
                  <a:lnTo>
                    <a:pt x="688669" y="45158"/>
                  </a:lnTo>
                  <a:lnTo>
                    <a:pt x="688800" y="49577"/>
                  </a:lnTo>
                  <a:lnTo>
                    <a:pt x="692430" y="55644"/>
                  </a:lnTo>
                  <a:lnTo>
                    <a:pt x="696191" y="57888"/>
                  </a:lnTo>
                  <a:lnTo>
                    <a:pt x="704107" y="60991"/>
                  </a:lnTo>
                  <a:lnTo>
                    <a:pt x="710209" y="61421"/>
                  </a:lnTo>
                  <a:lnTo>
                    <a:pt x="718520" y="62872"/>
                  </a:lnTo>
                  <a:lnTo>
                    <a:pt x="724161" y="66366"/>
                  </a:lnTo>
                  <a:lnTo>
                    <a:pt x="724491" y="71810"/>
                  </a:lnTo>
                  <a:lnTo>
                    <a:pt x="723074" y="77877"/>
                  </a:lnTo>
                  <a:lnTo>
                    <a:pt x="719642" y="83452"/>
                  </a:lnTo>
                  <a:lnTo>
                    <a:pt x="717696" y="87708"/>
                  </a:lnTo>
                  <a:lnTo>
                    <a:pt x="719511" y="90150"/>
                  </a:lnTo>
                  <a:lnTo>
                    <a:pt x="722478" y="92061"/>
                  </a:lnTo>
                  <a:lnTo>
                    <a:pt x="725678" y="92588"/>
                  </a:lnTo>
                  <a:lnTo>
                    <a:pt x="727857" y="91964"/>
                  </a:lnTo>
                  <a:lnTo>
                    <a:pt x="729505" y="88598"/>
                  </a:lnTo>
                  <a:lnTo>
                    <a:pt x="732639" y="84477"/>
                  </a:lnTo>
                  <a:lnTo>
                    <a:pt x="734384" y="83948"/>
                  </a:lnTo>
                  <a:lnTo>
                    <a:pt x="734253" y="86289"/>
                  </a:lnTo>
                  <a:lnTo>
                    <a:pt x="735738" y="89191"/>
                  </a:lnTo>
                  <a:lnTo>
                    <a:pt x="745930" y="94042"/>
                  </a:lnTo>
                  <a:lnTo>
                    <a:pt x="768294" y="103081"/>
                  </a:lnTo>
                  <a:lnTo>
                    <a:pt x="777070" y="103244"/>
                  </a:lnTo>
                  <a:lnTo>
                    <a:pt x="784162" y="104300"/>
                  </a:lnTo>
                  <a:lnTo>
                    <a:pt x="786240" y="108092"/>
                  </a:lnTo>
                  <a:lnTo>
                    <a:pt x="800490" y="122013"/>
                  </a:lnTo>
                  <a:lnTo>
                    <a:pt x="803887" y="121650"/>
                  </a:lnTo>
                  <a:lnTo>
                    <a:pt x="810221" y="121979"/>
                  </a:lnTo>
                  <a:lnTo>
                    <a:pt x="817871" y="120860"/>
                  </a:lnTo>
                  <a:lnTo>
                    <a:pt x="823415" y="118252"/>
                  </a:lnTo>
                  <a:lnTo>
                    <a:pt x="827041" y="118682"/>
                  </a:lnTo>
                  <a:lnTo>
                    <a:pt x="831065" y="121386"/>
                  </a:lnTo>
                  <a:lnTo>
                    <a:pt x="835751" y="123727"/>
                  </a:lnTo>
                  <a:lnTo>
                    <a:pt x="841821" y="128312"/>
                  </a:lnTo>
                  <a:lnTo>
                    <a:pt x="847227" y="133954"/>
                  </a:lnTo>
                  <a:lnTo>
                    <a:pt x="850957" y="135800"/>
                  </a:lnTo>
                  <a:lnTo>
                    <a:pt x="873418" y="132007"/>
                  </a:lnTo>
                  <a:lnTo>
                    <a:pt x="878433" y="135339"/>
                  </a:lnTo>
                  <a:lnTo>
                    <a:pt x="883745" y="135304"/>
                  </a:lnTo>
                  <a:lnTo>
                    <a:pt x="889715" y="134449"/>
                  </a:lnTo>
                  <a:lnTo>
                    <a:pt x="902712" y="136198"/>
                  </a:lnTo>
                  <a:lnTo>
                    <a:pt x="913267" y="135768"/>
                  </a:lnTo>
                  <a:lnTo>
                    <a:pt x="914223" y="134383"/>
                  </a:lnTo>
                  <a:lnTo>
                    <a:pt x="915113" y="121847"/>
                  </a:lnTo>
                  <a:lnTo>
                    <a:pt x="916796" y="117394"/>
                  </a:lnTo>
                  <a:lnTo>
                    <a:pt x="919303" y="116206"/>
                  </a:lnTo>
                  <a:lnTo>
                    <a:pt x="925537" y="117099"/>
                  </a:lnTo>
                  <a:lnTo>
                    <a:pt x="948265" y="124520"/>
                  </a:lnTo>
                  <a:lnTo>
                    <a:pt x="957632" y="129171"/>
                  </a:lnTo>
                  <a:lnTo>
                    <a:pt x="966636" y="132801"/>
                  </a:lnTo>
                  <a:lnTo>
                    <a:pt x="974487" y="133195"/>
                  </a:lnTo>
                  <a:lnTo>
                    <a:pt x="979699" y="135637"/>
                  </a:lnTo>
                  <a:lnTo>
                    <a:pt x="986988" y="147511"/>
                  </a:lnTo>
                  <a:lnTo>
                    <a:pt x="985735" y="153482"/>
                  </a:lnTo>
                  <a:lnTo>
                    <a:pt x="986396" y="155691"/>
                  </a:lnTo>
                  <a:lnTo>
                    <a:pt x="987155" y="159816"/>
                  </a:lnTo>
                  <a:lnTo>
                    <a:pt x="986957" y="164397"/>
                  </a:lnTo>
                  <a:lnTo>
                    <a:pt x="988869" y="167400"/>
                  </a:lnTo>
                  <a:lnTo>
                    <a:pt x="992332" y="167763"/>
                  </a:lnTo>
                  <a:lnTo>
                    <a:pt x="996751" y="166873"/>
                  </a:lnTo>
                  <a:lnTo>
                    <a:pt x="1001602" y="165093"/>
                  </a:lnTo>
                  <a:lnTo>
                    <a:pt x="1010111" y="160013"/>
                  </a:lnTo>
                  <a:lnTo>
                    <a:pt x="1012649" y="159189"/>
                  </a:lnTo>
                  <a:lnTo>
                    <a:pt x="1026900" y="164958"/>
                  </a:lnTo>
                  <a:lnTo>
                    <a:pt x="1033199" y="168819"/>
                  </a:lnTo>
                  <a:lnTo>
                    <a:pt x="1035377" y="173010"/>
                  </a:lnTo>
                  <a:lnTo>
                    <a:pt x="1038643" y="177297"/>
                  </a:lnTo>
                  <a:lnTo>
                    <a:pt x="1042899" y="177924"/>
                  </a:lnTo>
                  <a:lnTo>
                    <a:pt x="1048970" y="173865"/>
                  </a:lnTo>
                  <a:lnTo>
                    <a:pt x="1058434" y="169512"/>
                  </a:lnTo>
                  <a:lnTo>
                    <a:pt x="1074531" y="173339"/>
                  </a:lnTo>
                  <a:lnTo>
                    <a:pt x="1092441" y="178880"/>
                  </a:lnTo>
                  <a:lnTo>
                    <a:pt x="1100195" y="179541"/>
                  </a:lnTo>
                  <a:lnTo>
                    <a:pt x="1100458" y="176833"/>
                  </a:lnTo>
                  <a:lnTo>
                    <a:pt x="1101875" y="172975"/>
                  </a:lnTo>
                  <a:lnTo>
                    <a:pt x="1104811" y="171029"/>
                  </a:lnTo>
                  <a:lnTo>
                    <a:pt x="1109233" y="170468"/>
                  </a:lnTo>
                  <a:lnTo>
                    <a:pt x="1115367" y="168425"/>
                  </a:lnTo>
                  <a:lnTo>
                    <a:pt x="1122358" y="165059"/>
                  </a:lnTo>
                  <a:lnTo>
                    <a:pt x="1129651" y="163673"/>
                  </a:lnTo>
                  <a:lnTo>
                    <a:pt x="1137270" y="166181"/>
                  </a:lnTo>
                  <a:lnTo>
                    <a:pt x="1146471" y="168227"/>
                  </a:lnTo>
                  <a:lnTo>
                    <a:pt x="1151981" y="168193"/>
                  </a:lnTo>
                  <a:lnTo>
                    <a:pt x="1154620" y="176109"/>
                  </a:lnTo>
                  <a:lnTo>
                    <a:pt x="1159073" y="179112"/>
                  </a:lnTo>
                  <a:lnTo>
                    <a:pt x="1160822" y="185972"/>
                  </a:lnTo>
                  <a:lnTo>
                    <a:pt x="1152639" y="189535"/>
                  </a:lnTo>
                  <a:lnTo>
                    <a:pt x="1147825" y="190027"/>
                  </a:lnTo>
                  <a:lnTo>
                    <a:pt x="1146340" y="201739"/>
                  </a:lnTo>
                  <a:lnTo>
                    <a:pt x="1148650" y="205036"/>
                  </a:lnTo>
                  <a:lnTo>
                    <a:pt x="1153235" y="208139"/>
                  </a:lnTo>
                  <a:lnTo>
                    <a:pt x="1154488" y="211733"/>
                  </a:lnTo>
                  <a:lnTo>
                    <a:pt x="1155413" y="228886"/>
                  </a:lnTo>
                  <a:lnTo>
                    <a:pt x="1146045" y="239209"/>
                  </a:lnTo>
                  <a:lnTo>
                    <a:pt x="1132917" y="250789"/>
                  </a:lnTo>
                  <a:lnTo>
                    <a:pt x="1068661" y="287896"/>
                  </a:lnTo>
                  <a:lnTo>
                    <a:pt x="1053354" y="305807"/>
                  </a:lnTo>
                  <a:lnTo>
                    <a:pt x="1047515" y="309931"/>
                  </a:lnTo>
                  <a:lnTo>
                    <a:pt x="999753" y="321179"/>
                  </a:lnTo>
                  <a:lnTo>
                    <a:pt x="966373" y="333185"/>
                  </a:lnTo>
                  <a:lnTo>
                    <a:pt x="950374" y="337538"/>
                  </a:lnTo>
                  <a:lnTo>
                    <a:pt x="930385" y="358351"/>
                  </a:lnTo>
                  <a:lnTo>
                    <a:pt x="920917" y="366732"/>
                  </a:lnTo>
                  <a:lnTo>
                    <a:pt x="928473" y="369042"/>
                  </a:lnTo>
                  <a:lnTo>
                    <a:pt x="937280" y="378970"/>
                  </a:lnTo>
                  <a:lnTo>
                    <a:pt x="934312" y="383354"/>
                  </a:lnTo>
                  <a:lnTo>
                    <a:pt x="921478" y="390152"/>
                  </a:lnTo>
                  <a:lnTo>
                    <a:pt x="915871" y="392230"/>
                  </a:lnTo>
                  <a:lnTo>
                    <a:pt x="912838" y="391139"/>
                  </a:lnTo>
                  <a:lnTo>
                    <a:pt x="909967" y="392064"/>
                  </a:lnTo>
                  <a:lnTo>
                    <a:pt x="888462" y="427854"/>
                  </a:lnTo>
                  <a:lnTo>
                    <a:pt x="869460" y="453515"/>
                  </a:lnTo>
                  <a:lnTo>
                    <a:pt x="858773" y="464666"/>
                  </a:lnTo>
                  <a:lnTo>
                    <a:pt x="847823" y="481258"/>
                  </a:lnTo>
                  <a:lnTo>
                    <a:pt x="824503" y="523908"/>
                  </a:lnTo>
                  <a:lnTo>
                    <a:pt x="824337" y="536178"/>
                  </a:lnTo>
                  <a:lnTo>
                    <a:pt x="835817" y="578364"/>
                  </a:lnTo>
                  <a:lnTo>
                    <a:pt x="842414" y="589415"/>
                  </a:lnTo>
                  <a:lnTo>
                    <a:pt x="851650" y="598685"/>
                  </a:lnTo>
                  <a:lnTo>
                    <a:pt x="869131" y="606567"/>
                  </a:lnTo>
                  <a:lnTo>
                    <a:pt x="873453" y="614321"/>
                  </a:lnTo>
                  <a:lnTo>
                    <a:pt x="867417" y="621708"/>
                  </a:lnTo>
                  <a:lnTo>
                    <a:pt x="849932" y="634805"/>
                  </a:lnTo>
                  <a:lnTo>
                    <a:pt x="819519" y="652484"/>
                  </a:lnTo>
                  <a:lnTo>
                    <a:pt x="806592" y="666405"/>
                  </a:lnTo>
                  <a:lnTo>
                    <a:pt x="803853" y="679796"/>
                  </a:lnTo>
                  <a:lnTo>
                    <a:pt x="794946" y="685833"/>
                  </a:lnTo>
                  <a:lnTo>
                    <a:pt x="791583" y="704533"/>
                  </a:lnTo>
                  <a:lnTo>
                    <a:pt x="786174" y="716903"/>
                  </a:lnTo>
                  <a:lnTo>
                    <a:pt x="785149" y="721093"/>
                  </a:lnTo>
                  <a:lnTo>
                    <a:pt x="779411" y="730461"/>
                  </a:lnTo>
                  <a:lnTo>
                    <a:pt x="778652" y="737290"/>
                  </a:lnTo>
                  <a:lnTo>
                    <a:pt x="788054" y="746657"/>
                  </a:lnTo>
                  <a:lnTo>
                    <a:pt x="783404" y="750716"/>
                  </a:lnTo>
                  <a:lnTo>
                    <a:pt x="778753" y="752496"/>
                  </a:lnTo>
                  <a:lnTo>
                    <a:pt x="768031" y="753583"/>
                  </a:lnTo>
                  <a:lnTo>
                    <a:pt x="731977" y="754771"/>
                  </a:lnTo>
                  <a:lnTo>
                    <a:pt x="702985" y="774992"/>
                  </a:lnTo>
                  <a:lnTo>
                    <a:pt x="688503" y="792868"/>
                  </a:lnTo>
                  <a:lnTo>
                    <a:pt x="675374" y="826019"/>
                  </a:lnTo>
                  <a:lnTo>
                    <a:pt x="659444" y="845513"/>
                  </a:lnTo>
                  <a:lnTo>
                    <a:pt x="652418" y="849111"/>
                  </a:lnTo>
                  <a:lnTo>
                    <a:pt x="641499" y="840568"/>
                  </a:lnTo>
                  <a:lnTo>
                    <a:pt x="627844" y="839248"/>
                  </a:lnTo>
                  <a:lnTo>
                    <a:pt x="614615" y="842084"/>
                  </a:lnTo>
                  <a:lnTo>
                    <a:pt x="607689" y="848879"/>
                  </a:lnTo>
                  <a:lnTo>
                    <a:pt x="596871" y="852671"/>
                  </a:lnTo>
                  <a:lnTo>
                    <a:pt x="586281" y="849405"/>
                  </a:lnTo>
                  <a:lnTo>
                    <a:pt x="563390" y="847625"/>
                  </a:lnTo>
                  <a:lnTo>
                    <a:pt x="553198" y="847954"/>
                  </a:lnTo>
                  <a:lnTo>
                    <a:pt x="537265" y="853464"/>
                  </a:lnTo>
                  <a:lnTo>
                    <a:pt x="523610" y="849804"/>
                  </a:lnTo>
                  <a:lnTo>
                    <a:pt x="500553" y="847923"/>
                  </a:lnTo>
                  <a:lnTo>
                    <a:pt x="450648" y="852307"/>
                  </a:lnTo>
                  <a:lnTo>
                    <a:pt x="444345" y="854354"/>
                  </a:lnTo>
                  <a:lnTo>
                    <a:pt x="438111" y="862534"/>
                  </a:lnTo>
                  <a:lnTo>
                    <a:pt x="422213" y="876618"/>
                  </a:lnTo>
                  <a:lnTo>
                    <a:pt x="398034" y="877113"/>
                  </a:lnTo>
                  <a:lnTo>
                    <a:pt x="376165" y="886086"/>
                  </a:lnTo>
                  <a:lnTo>
                    <a:pt x="370690" y="891824"/>
                  </a:lnTo>
                  <a:lnTo>
                    <a:pt x="361519" y="907626"/>
                  </a:lnTo>
                  <a:lnTo>
                    <a:pt x="358649" y="919137"/>
                  </a:lnTo>
                  <a:lnTo>
                    <a:pt x="356737" y="919237"/>
                  </a:lnTo>
                  <a:lnTo>
                    <a:pt x="354361" y="916398"/>
                  </a:lnTo>
                  <a:lnTo>
                    <a:pt x="350999" y="917322"/>
                  </a:lnTo>
                  <a:lnTo>
                    <a:pt x="349250" y="926098"/>
                  </a:lnTo>
                  <a:lnTo>
                    <a:pt x="341036" y="930087"/>
                  </a:lnTo>
                  <a:lnTo>
                    <a:pt x="334175" y="931541"/>
                  </a:lnTo>
                  <a:lnTo>
                    <a:pt x="317251" y="924449"/>
                  </a:lnTo>
                  <a:lnTo>
                    <a:pt x="303136" y="913793"/>
                  </a:lnTo>
                  <a:lnTo>
                    <a:pt x="295746" y="913035"/>
                  </a:lnTo>
                  <a:lnTo>
                    <a:pt x="283740" y="896409"/>
                  </a:lnTo>
                  <a:lnTo>
                    <a:pt x="278563" y="885823"/>
                  </a:lnTo>
                  <a:lnTo>
                    <a:pt x="274899" y="874343"/>
                  </a:lnTo>
                  <a:lnTo>
                    <a:pt x="275657" y="869955"/>
                  </a:lnTo>
                  <a:lnTo>
                    <a:pt x="274635" y="866295"/>
                  </a:lnTo>
                  <a:lnTo>
                    <a:pt x="263983" y="861644"/>
                  </a:lnTo>
                  <a:lnTo>
                    <a:pt x="261375" y="851088"/>
                  </a:lnTo>
                  <a:lnTo>
                    <a:pt x="269160" y="837333"/>
                  </a:lnTo>
                  <a:lnTo>
                    <a:pt x="275525" y="831495"/>
                  </a:lnTo>
                  <a:lnTo>
                    <a:pt x="279484" y="829812"/>
                  </a:lnTo>
                  <a:lnTo>
                    <a:pt x="269853" y="830407"/>
                  </a:lnTo>
                  <a:lnTo>
                    <a:pt x="262892" y="839248"/>
                  </a:lnTo>
                  <a:lnTo>
                    <a:pt x="253986" y="825064"/>
                  </a:lnTo>
                  <a:lnTo>
                    <a:pt x="217669" y="797387"/>
                  </a:lnTo>
                  <a:lnTo>
                    <a:pt x="220013" y="791022"/>
                  </a:lnTo>
                  <a:lnTo>
                    <a:pt x="219615" y="787590"/>
                  </a:lnTo>
                  <a:lnTo>
                    <a:pt x="213513" y="795012"/>
                  </a:lnTo>
                  <a:lnTo>
                    <a:pt x="209357" y="796927"/>
                  </a:lnTo>
                  <a:lnTo>
                    <a:pt x="190789" y="795739"/>
                  </a:lnTo>
                  <a:lnTo>
                    <a:pt x="169411" y="799136"/>
                  </a:lnTo>
                  <a:lnTo>
                    <a:pt x="163774" y="770306"/>
                  </a:lnTo>
                  <a:lnTo>
                    <a:pt x="161100" y="759225"/>
                  </a:lnTo>
                  <a:lnTo>
                    <a:pt x="160407" y="752032"/>
                  </a:lnTo>
                  <a:lnTo>
                    <a:pt x="165917" y="735409"/>
                  </a:lnTo>
                  <a:lnTo>
                    <a:pt x="171953" y="728615"/>
                  </a:lnTo>
                  <a:lnTo>
                    <a:pt x="179967" y="714596"/>
                  </a:lnTo>
                  <a:lnTo>
                    <a:pt x="189864" y="702919"/>
                  </a:lnTo>
                  <a:lnTo>
                    <a:pt x="200319" y="700145"/>
                  </a:lnTo>
                  <a:lnTo>
                    <a:pt x="204939" y="698431"/>
                  </a:lnTo>
                  <a:lnTo>
                    <a:pt x="208796" y="689393"/>
                  </a:lnTo>
                  <a:lnTo>
                    <a:pt x="210975" y="681677"/>
                  </a:lnTo>
                  <a:lnTo>
                    <a:pt x="209392" y="680919"/>
                  </a:lnTo>
                  <a:lnTo>
                    <a:pt x="197188" y="682501"/>
                  </a:lnTo>
                  <a:lnTo>
                    <a:pt x="175285" y="650011"/>
                  </a:lnTo>
                  <a:lnTo>
                    <a:pt x="175977" y="644830"/>
                  </a:lnTo>
                  <a:lnTo>
                    <a:pt x="178713" y="637146"/>
                  </a:lnTo>
                  <a:lnTo>
                    <a:pt x="180528" y="627415"/>
                  </a:lnTo>
                  <a:lnTo>
                    <a:pt x="180988" y="619730"/>
                  </a:lnTo>
                  <a:lnTo>
                    <a:pt x="186695" y="613099"/>
                  </a:lnTo>
                  <a:lnTo>
                    <a:pt x="195440" y="606436"/>
                  </a:lnTo>
                  <a:lnTo>
                    <a:pt x="202795" y="596937"/>
                  </a:lnTo>
                  <a:lnTo>
                    <a:pt x="206487" y="587666"/>
                  </a:lnTo>
                  <a:lnTo>
                    <a:pt x="207248" y="579223"/>
                  </a:lnTo>
                  <a:lnTo>
                    <a:pt x="203089" y="573187"/>
                  </a:lnTo>
                  <a:lnTo>
                    <a:pt x="191118" y="569856"/>
                  </a:lnTo>
                  <a:lnTo>
                    <a:pt x="178748" y="545708"/>
                  </a:lnTo>
                  <a:lnTo>
                    <a:pt x="176008" y="530571"/>
                  </a:lnTo>
                  <a:lnTo>
                    <a:pt x="173470" y="528985"/>
                  </a:lnTo>
                  <a:lnTo>
                    <a:pt x="165851" y="522094"/>
                  </a:lnTo>
                  <a:lnTo>
                    <a:pt x="158527" y="509097"/>
                  </a:lnTo>
                  <a:lnTo>
                    <a:pt x="157471" y="507050"/>
                  </a:lnTo>
                  <a:lnTo>
                    <a:pt x="165027" y="504775"/>
                  </a:lnTo>
                  <a:lnTo>
                    <a:pt x="196163" y="504675"/>
                  </a:lnTo>
                  <a:lnTo>
                    <a:pt x="202663" y="501807"/>
                  </a:lnTo>
                  <a:lnTo>
                    <a:pt x="203650" y="500817"/>
                  </a:lnTo>
                  <a:lnTo>
                    <a:pt x="209326" y="490691"/>
                  </a:lnTo>
                  <a:lnTo>
                    <a:pt x="215262" y="474034"/>
                  </a:lnTo>
                  <a:lnTo>
                    <a:pt x="216647" y="463838"/>
                  </a:lnTo>
                  <a:lnTo>
                    <a:pt x="214767" y="459617"/>
                  </a:lnTo>
                  <a:lnTo>
                    <a:pt x="204443" y="449294"/>
                  </a:lnTo>
                  <a:lnTo>
                    <a:pt x="203983" y="446260"/>
                  </a:lnTo>
                  <a:lnTo>
                    <a:pt x="205631" y="441377"/>
                  </a:lnTo>
                  <a:lnTo>
                    <a:pt x="211764" y="436165"/>
                  </a:lnTo>
                  <a:lnTo>
                    <a:pt x="220044" y="430230"/>
                  </a:lnTo>
                  <a:lnTo>
                    <a:pt x="224564" y="425115"/>
                  </a:lnTo>
                  <a:lnTo>
                    <a:pt x="223476" y="421091"/>
                  </a:lnTo>
                  <a:lnTo>
                    <a:pt x="221069" y="416901"/>
                  </a:lnTo>
                  <a:lnTo>
                    <a:pt x="220671" y="412977"/>
                  </a:lnTo>
                  <a:lnTo>
                    <a:pt x="222188" y="408160"/>
                  </a:lnTo>
                  <a:lnTo>
                    <a:pt x="222749" y="391669"/>
                  </a:lnTo>
                  <a:lnTo>
                    <a:pt x="223805" y="387448"/>
                  </a:lnTo>
                  <a:lnTo>
                    <a:pt x="222188" y="372404"/>
                  </a:lnTo>
                  <a:lnTo>
                    <a:pt x="220176" y="360100"/>
                  </a:lnTo>
                  <a:lnTo>
                    <a:pt x="213614" y="344135"/>
                  </a:lnTo>
                  <a:lnTo>
                    <a:pt x="214801" y="340607"/>
                  </a:lnTo>
                  <a:lnTo>
                    <a:pt x="217835" y="337639"/>
                  </a:lnTo>
                  <a:lnTo>
                    <a:pt x="227763" y="332098"/>
                  </a:lnTo>
                  <a:lnTo>
                    <a:pt x="235680" y="319035"/>
                  </a:lnTo>
                  <a:lnTo>
                    <a:pt x="247191" y="308082"/>
                  </a:lnTo>
                  <a:lnTo>
                    <a:pt x="262265" y="299275"/>
                  </a:lnTo>
                  <a:lnTo>
                    <a:pt x="272821" y="289478"/>
                  </a:lnTo>
                  <a:lnTo>
                    <a:pt x="276977" y="281960"/>
                  </a:lnTo>
                  <a:lnTo>
                    <a:pt x="279913" y="279979"/>
                  </a:lnTo>
                  <a:lnTo>
                    <a:pt x="279058" y="276482"/>
                  </a:lnTo>
                  <a:lnTo>
                    <a:pt x="277077" y="271405"/>
                  </a:lnTo>
                  <a:lnTo>
                    <a:pt x="271072" y="266422"/>
                  </a:lnTo>
                  <a:lnTo>
                    <a:pt x="263322" y="263585"/>
                  </a:lnTo>
                  <a:lnTo>
                    <a:pt x="254713" y="263717"/>
                  </a:lnTo>
                  <a:lnTo>
                    <a:pt x="249369" y="262695"/>
                  </a:lnTo>
                  <a:lnTo>
                    <a:pt x="247818" y="258803"/>
                  </a:lnTo>
                  <a:lnTo>
                    <a:pt x="248414" y="248248"/>
                  </a:lnTo>
                  <a:lnTo>
                    <a:pt x="247949" y="237793"/>
                  </a:lnTo>
                  <a:lnTo>
                    <a:pt x="246301" y="232976"/>
                  </a:lnTo>
                  <a:lnTo>
                    <a:pt x="242312" y="229346"/>
                  </a:lnTo>
                  <a:lnTo>
                    <a:pt x="234426" y="230306"/>
                  </a:lnTo>
                  <a:lnTo>
                    <a:pt x="227601" y="227334"/>
                  </a:lnTo>
                  <a:lnTo>
                    <a:pt x="222420" y="226642"/>
                  </a:lnTo>
                  <a:lnTo>
                    <a:pt x="219418" y="228983"/>
                  </a:lnTo>
                  <a:lnTo>
                    <a:pt x="204146" y="228290"/>
                  </a:lnTo>
                  <a:lnTo>
                    <a:pt x="197781" y="226611"/>
                  </a:lnTo>
                  <a:lnTo>
                    <a:pt x="193327" y="224529"/>
                  </a:lnTo>
                  <a:lnTo>
                    <a:pt x="190491" y="225686"/>
                  </a:lnTo>
                  <a:lnTo>
                    <a:pt x="188874" y="227733"/>
                  </a:lnTo>
                  <a:lnTo>
                    <a:pt x="188610" y="230929"/>
                  </a:lnTo>
                  <a:lnTo>
                    <a:pt x="187554" y="235154"/>
                  </a:lnTo>
                  <a:lnTo>
                    <a:pt x="182079" y="238980"/>
                  </a:lnTo>
                  <a:lnTo>
                    <a:pt x="169578" y="242773"/>
                  </a:lnTo>
                  <a:lnTo>
                    <a:pt x="159483" y="242475"/>
                  </a:lnTo>
                  <a:lnTo>
                    <a:pt x="150216" y="239770"/>
                  </a:lnTo>
                  <a:lnTo>
                    <a:pt x="147248" y="237758"/>
                  </a:lnTo>
                  <a:lnTo>
                    <a:pt x="142794" y="235978"/>
                  </a:lnTo>
                  <a:lnTo>
                    <a:pt x="123959" y="238187"/>
                  </a:lnTo>
                  <a:lnTo>
                    <a:pt x="121684" y="236570"/>
                  </a:lnTo>
                  <a:lnTo>
                    <a:pt x="115184" y="240497"/>
                  </a:lnTo>
                  <a:lnTo>
                    <a:pt x="105619" y="245179"/>
                  </a:lnTo>
                  <a:lnTo>
                    <a:pt x="100241" y="245443"/>
                  </a:lnTo>
                  <a:lnTo>
                    <a:pt x="98295" y="244456"/>
                  </a:lnTo>
                  <a:lnTo>
                    <a:pt x="97602" y="242378"/>
                  </a:lnTo>
                  <a:lnTo>
                    <a:pt x="93578" y="235088"/>
                  </a:lnTo>
                  <a:lnTo>
                    <a:pt x="94634" y="231227"/>
                  </a:lnTo>
                  <a:lnTo>
                    <a:pt x="102353" y="219913"/>
                  </a:lnTo>
                  <a:lnTo>
                    <a:pt x="101494" y="217208"/>
                  </a:lnTo>
                  <a:lnTo>
                    <a:pt x="98329" y="213548"/>
                  </a:lnTo>
                  <a:lnTo>
                    <a:pt x="95493" y="208270"/>
                  </a:lnTo>
                  <a:lnTo>
                    <a:pt x="94669" y="205531"/>
                  </a:lnTo>
                  <a:lnTo>
                    <a:pt x="89751" y="205070"/>
                  </a:lnTo>
                  <a:lnTo>
                    <a:pt x="84508" y="207841"/>
                  </a:lnTo>
                  <a:lnTo>
                    <a:pt x="64551" y="213548"/>
                  </a:lnTo>
                  <a:lnTo>
                    <a:pt x="59768" y="215626"/>
                  </a:lnTo>
                  <a:lnTo>
                    <a:pt x="51128" y="221101"/>
                  </a:lnTo>
                  <a:lnTo>
                    <a:pt x="42384" y="229478"/>
                  </a:lnTo>
                  <a:lnTo>
                    <a:pt x="35427" y="231227"/>
                  </a:lnTo>
                  <a:lnTo>
                    <a:pt x="33016" y="228754"/>
                  </a:lnTo>
                  <a:lnTo>
                    <a:pt x="32192" y="209095"/>
                  </a:lnTo>
                  <a:lnTo>
                    <a:pt x="42813" y="195997"/>
                  </a:lnTo>
                  <a:lnTo>
                    <a:pt x="50370" y="188084"/>
                  </a:lnTo>
                  <a:lnTo>
                    <a:pt x="46837" y="186467"/>
                  </a:lnTo>
                  <a:lnTo>
                    <a:pt x="38824" y="186699"/>
                  </a:lnTo>
                  <a:lnTo>
                    <a:pt x="39385" y="180563"/>
                  </a:lnTo>
                  <a:lnTo>
                    <a:pt x="43146" y="177595"/>
                  </a:lnTo>
                  <a:lnTo>
                    <a:pt x="46771" y="170897"/>
                  </a:lnTo>
                  <a:lnTo>
                    <a:pt x="42519" y="168026"/>
                  </a:lnTo>
                  <a:lnTo>
                    <a:pt x="39187" y="163608"/>
                  </a:lnTo>
                  <a:lnTo>
                    <a:pt x="39385" y="152062"/>
                  </a:lnTo>
                  <a:lnTo>
                    <a:pt x="40309" y="147380"/>
                  </a:lnTo>
                  <a:lnTo>
                    <a:pt x="39219" y="142300"/>
                  </a:lnTo>
                  <a:lnTo>
                    <a:pt x="22890" y="149160"/>
                  </a:lnTo>
                  <a:lnTo>
                    <a:pt x="18704" y="148138"/>
                  </a:lnTo>
                  <a:lnTo>
                    <a:pt x="18537" y="139560"/>
                  </a:lnTo>
                  <a:lnTo>
                    <a:pt x="27576" y="126467"/>
                  </a:lnTo>
                  <a:lnTo>
                    <a:pt x="28501" y="122443"/>
                  </a:lnTo>
                  <a:lnTo>
                    <a:pt x="17911" y="120496"/>
                  </a:lnTo>
                  <a:lnTo>
                    <a:pt x="9994" y="114062"/>
                  </a:lnTo>
                  <a:lnTo>
                    <a:pt x="5177" y="108289"/>
                  </a:lnTo>
                  <a:lnTo>
                    <a:pt x="31" y="100013"/>
                  </a:lnTo>
                  <a:lnTo>
                    <a:pt x="0" y="92557"/>
                  </a:lnTo>
                  <a:lnTo>
                    <a:pt x="5343" y="75106"/>
                  </a:lnTo>
                  <a:lnTo>
                    <a:pt x="12962" y="70026"/>
                  </a:lnTo>
                  <a:lnTo>
                    <a:pt x="19559" y="66896"/>
                  </a:lnTo>
                  <a:lnTo>
                    <a:pt x="33512" y="54789"/>
                  </a:lnTo>
                  <a:lnTo>
                    <a:pt x="52742" y="57033"/>
                  </a:lnTo>
                  <a:lnTo>
                    <a:pt x="64651" y="54425"/>
                  </a:lnTo>
                  <a:lnTo>
                    <a:pt x="75338" y="48226"/>
                  </a:lnTo>
                  <a:lnTo>
                    <a:pt x="81475" y="46838"/>
                  </a:lnTo>
                  <a:lnTo>
                    <a:pt x="91337" y="41428"/>
                  </a:lnTo>
                  <a:lnTo>
                    <a:pt x="91005" y="34108"/>
                  </a:lnTo>
                  <a:lnTo>
                    <a:pt x="87608" y="28664"/>
                  </a:lnTo>
                  <a:lnTo>
                    <a:pt x="90575" y="23552"/>
                  </a:lnTo>
                  <a:lnTo>
                    <a:pt x="101629" y="17284"/>
                  </a:lnTo>
                  <a:lnTo>
                    <a:pt x="113899" y="8973"/>
                  </a:lnTo>
                  <a:lnTo>
                    <a:pt x="127983" y="7356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0" name="Forme libre : forme 18">
              <a:extLst>
                <a:ext uri="{FF2B5EF4-FFF2-40B4-BE49-F238E27FC236}">
                  <a16:creationId xmlns:a16="http://schemas.microsoft.com/office/drawing/2014/main" id="{B9463A33-709E-6B36-4B88-84E536631612}"/>
                </a:ext>
              </a:extLst>
            </p:cNvPr>
            <p:cNvSpPr/>
            <p:nvPr/>
          </p:nvSpPr>
          <p:spPr>
            <a:xfrm>
              <a:off x="6662894" y="1672529"/>
              <a:ext cx="760614" cy="1643228"/>
            </a:xfrm>
            <a:custGeom>
              <a:avLst/>
              <a:gdLst>
                <a:gd name="connsiteX0" fmla="*/ 223085 w 291779"/>
                <a:gd name="connsiteY0" fmla="*/ 79648 h 654996"/>
                <a:gd name="connsiteX1" fmla="*/ 221295 w 291779"/>
                <a:gd name="connsiteY1" fmla="*/ 80572 h 654996"/>
                <a:gd name="connsiteX2" fmla="*/ 215770 w 291779"/>
                <a:gd name="connsiteY2" fmla="*/ 84191 h 654996"/>
                <a:gd name="connsiteX3" fmla="*/ 212398 w 291779"/>
                <a:gd name="connsiteY3" fmla="*/ 86630 h 654996"/>
                <a:gd name="connsiteX4" fmla="*/ 208340 w 291779"/>
                <a:gd name="connsiteY4" fmla="*/ 88420 h 654996"/>
                <a:gd name="connsiteX5" fmla="*/ 209388 w 291779"/>
                <a:gd name="connsiteY5" fmla="*/ 90792 h 654996"/>
                <a:gd name="connsiteX6" fmla="*/ 216132 w 291779"/>
                <a:gd name="connsiteY6" fmla="*/ 91288 h 654996"/>
                <a:gd name="connsiteX7" fmla="*/ 217170 w 291779"/>
                <a:gd name="connsiteY7" fmla="*/ 91964 h 654996"/>
                <a:gd name="connsiteX8" fmla="*/ 217923 w 291779"/>
                <a:gd name="connsiteY8" fmla="*/ 93174 h 654996"/>
                <a:gd name="connsiteX9" fmla="*/ 218047 w 291779"/>
                <a:gd name="connsiteY9" fmla="*/ 95117 h 654996"/>
                <a:gd name="connsiteX10" fmla="*/ 217370 w 291779"/>
                <a:gd name="connsiteY10" fmla="*/ 98250 h 654996"/>
                <a:gd name="connsiteX11" fmla="*/ 210074 w 291779"/>
                <a:gd name="connsiteY11" fmla="*/ 115405 h 654996"/>
                <a:gd name="connsiteX12" fmla="*/ 209845 w 291779"/>
                <a:gd name="connsiteY12" fmla="*/ 118996 h 654996"/>
                <a:gd name="connsiteX13" fmla="*/ 212227 w 291779"/>
                <a:gd name="connsiteY13" fmla="*/ 128940 h 654996"/>
                <a:gd name="connsiteX14" fmla="*/ 215570 w 291779"/>
                <a:gd name="connsiteY14" fmla="*/ 140599 h 654996"/>
                <a:gd name="connsiteX15" fmla="*/ 225676 w 291779"/>
                <a:gd name="connsiteY15" fmla="*/ 145752 h 654996"/>
                <a:gd name="connsiteX16" fmla="*/ 233182 w 291779"/>
                <a:gd name="connsiteY16" fmla="*/ 149762 h 654996"/>
                <a:gd name="connsiteX17" fmla="*/ 238001 w 291779"/>
                <a:gd name="connsiteY17" fmla="*/ 159229 h 654996"/>
                <a:gd name="connsiteX18" fmla="*/ 245955 w 291779"/>
                <a:gd name="connsiteY18" fmla="*/ 171621 h 654996"/>
                <a:gd name="connsiteX19" fmla="*/ 250165 w 291779"/>
                <a:gd name="connsiteY19" fmla="*/ 176232 h 654996"/>
                <a:gd name="connsiteX20" fmla="*/ 250403 w 291779"/>
                <a:gd name="connsiteY20" fmla="*/ 177660 h 654996"/>
                <a:gd name="connsiteX21" fmla="*/ 249155 w 291779"/>
                <a:gd name="connsiteY21" fmla="*/ 186128 h 654996"/>
                <a:gd name="connsiteX22" fmla="*/ 244059 w 291779"/>
                <a:gd name="connsiteY22" fmla="*/ 194567 h 654996"/>
                <a:gd name="connsiteX23" fmla="*/ 239296 w 291779"/>
                <a:gd name="connsiteY23" fmla="*/ 201654 h 654996"/>
                <a:gd name="connsiteX24" fmla="*/ 234363 w 291779"/>
                <a:gd name="connsiteY24" fmla="*/ 210150 h 654996"/>
                <a:gd name="connsiteX25" fmla="*/ 230505 w 291779"/>
                <a:gd name="connsiteY25" fmla="*/ 217360 h 654996"/>
                <a:gd name="connsiteX26" fmla="*/ 226323 w 291779"/>
                <a:gd name="connsiteY26" fmla="*/ 225962 h 654996"/>
                <a:gd name="connsiteX27" fmla="*/ 225838 w 291779"/>
                <a:gd name="connsiteY27" fmla="*/ 228743 h 654996"/>
                <a:gd name="connsiteX28" fmla="*/ 225762 w 291779"/>
                <a:gd name="connsiteY28" fmla="*/ 231362 h 654996"/>
                <a:gd name="connsiteX29" fmla="*/ 226486 w 291779"/>
                <a:gd name="connsiteY29" fmla="*/ 234248 h 654996"/>
                <a:gd name="connsiteX30" fmla="*/ 231839 w 291779"/>
                <a:gd name="connsiteY30" fmla="*/ 244659 h 654996"/>
                <a:gd name="connsiteX31" fmla="*/ 233925 w 291779"/>
                <a:gd name="connsiteY31" fmla="*/ 249946 h 654996"/>
                <a:gd name="connsiteX32" fmla="*/ 236411 w 291779"/>
                <a:gd name="connsiteY32" fmla="*/ 255641 h 654996"/>
                <a:gd name="connsiteX33" fmla="*/ 238554 w 291779"/>
                <a:gd name="connsiteY33" fmla="*/ 261833 h 654996"/>
                <a:gd name="connsiteX34" fmla="*/ 239792 w 291779"/>
                <a:gd name="connsiteY34" fmla="*/ 267367 h 654996"/>
                <a:gd name="connsiteX35" fmla="*/ 241935 w 291779"/>
                <a:gd name="connsiteY35" fmla="*/ 272729 h 654996"/>
                <a:gd name="connsiteX36" fmla="*/ 243269 w 291779"/>
                <a:gd name="connsiteY36" fmla="*/ 275463 h 654996"/>
                <a:gd name="connsiteX37" fmla="*/ 245479 w 291779"/>
                <a:gd name="connsiteY37" fmla="*/ 279292 h 654996"/>
                <a:gd name="connsiteX38" fmla="*/ 248145 w 291779"/>
                <a:gd name="connsiteY38" fmla="*/ 284969 h 654996"/>
                <a:gd name="connsiteX39" fmla="*/ 249031 w 291779"/>
                <a:gd name="connsiteY39" fmla="*/ 289455 h 654996"/>
                <a:gd name="connsiteX40" fmla="*/ 253060 w 291779"/>
                <a:gd name="connsiteY40" fmla="*/ 304924 h 654996"/>
                <a:gd name="connsiteX41" fmla="*/ 253470 w 291779"/>
                <a:gd name="connsiteY41" fmla="*/ 308839 h 654996"/>
                <a:gd name="connsiteX42" fmla="*/ 253270 w 291779"/>
                <a:gd name="connsiteY42" fmla="*/ 311734 h 654996"/>
                <a:gd name="connsiteX43" fmla="*/ 251498 w 291779"/>
                <a:gd name="connsiteY43" fmla="*/ 312439 h 654996"/>
                <a:gd name="connsiteX44" fmla="*/ 247584 w 291779"/>
                <a:gd name="connsiteY44" fmla="*/ 312896 h 654996"/>
                <a:gd name="connsiteX45" fmla="*/ 243335 w 291779"/>
                <a:gd name="connsiteY45" fmla="*/ 314792 h 654996"/>
                <a:gd name="connsiteX46" fmla="*/ 243126 w 291779"/>
                <a:gd name="connsiteY46" fmla="*/ 315430 h 654996"/>
                <a:gd name="connsiteX47" fmla="*/ 245898 w 291779"/>
                <a:gd name="connsiteY47" fmla="*/ 319030 h 654996"/>
                <a:gd name="connsiteX48" fmla="*/ 243450 w 291779"/>
                <a:gd name="connsiteY48" fmla="*/ 325174 h 654996"/>
                <a:gd name="connsiteX49" fmla="*/ 243097 w 291779"/>
                <a:gd name="connsiteY49" fmla="*/ 333927 h 654996"/>
                <a:gd name="connsiteX50" fmla="*/ 240487 w 291779"/>
                <a:gd name="connsiteY50" fmla="*/ 338499 h 654996"/>
                <a:gd name="connsiteX51" fmla="*/ 240240 w 291779"/>
                <a:gd name="connsiteY51" fmla="*/ 339557 h 654996"/>
                <a:gd name="connsiteX52" fmla="*/ 240354 w 291779"/>
                <a:gd name="connsiteY52" fmla="*/ 340442 h 654996"/>
                <a:gd name="connsiteX53" fmla="*/ 240821 w 291779"/>
                <a:gd name="connsiteY53" fmla="*/ 341138 h 654996"/>
                <a:gd name="connsiteX54" fmla="*/ 245650 w 291779"/>
                <a:gd name="connsiteY54" fmla="*/ 342357 h 654996"/>
                <a:gd name="connsiteX55" fmla="*/ 246069 w 291779"/>
                <a:gd name="connsiteY55" fmla="*/ 343595 h 654996"/>
                <a:gd name="connsiteX56" fmla="*/ 246088 w 291779"/>
                <a:gd name="connsiteY56" fmla="*/ 346158 h 654996"/>
                <a:gd name="connsiteX57" fmla="*/ 245659 w 291779"/>
                <a:gd name="connsiteY57" fmla="*/ 348520 h 654996"/>
                <a:gd name="connsiteX58" fmla="*/ 243231 w 291779"/>
                <a:gd name="connsiteY58" fmla="*/ 350272 h 654996"/>
                <a:gd name="connsiteX59" fmla="*/ 240630 w 291779"/>
                <a:gd name="connsiteY59" fmla="*/ 352854 h 654996"/>
                <a:gd name="connsiteX60" fmla="*/ 240049 w 291779"/>
                <a:gd name="connsiteY60" fmla="*/ 355235 h 654996"/>
                <a:gd name="connsiteX61" fmla="*/ 240135 w 291779"/>
                <a:gd name="connsiteY61" fmla="*/ 357349 h 654996"/>
                <a:gd name="connsiteX62" fmla="*/ 241021 w 291779"/>
                <a:gd name="connsiteY62" fmla="*/ 360921 h 654996"/>
                <a:gd name="connsiteX63" fmla="*/ 242745 w 291779"/>
                <a:gd name="connsiteY63" fmla="*/ 365074 h 654996"/>
                <a:gd name="connsiteX64" fmla="*/ 244926 w 291779"/>
                <a:gd name="connsiteY64" fmla="*/ 367675 h 654996"/>
                <a:gd name="connsiteX65" fmla="*/ 252670 w 291779"/>
                <a:gd name="connsiteY65" fmla="*/ 370142 h 654996"/>
                <a:gd name="connsiteX66" fmla="*/ 253670 w 291779"/>
                <a:gd name="connsiteY66" fmla="*/ 372170 h 654996"/>
                <a:gd name="connsiteX67" fmla="*/ 254089 w 291779"/>
                <a:gd name="connsiteY67" fmla="*/ 374952 h 654996"/>
                <a:gd name="connsiteX68" fmla="*/ 253927 w 291779"/>
                <a:gd name="connsiteY68" fmla="*/ 377666 h 654996"/>
                <a:gd name="connsiteX69" fmla="*/ 250327 w 291779"/>
                <a:gd name="connsiteY69" fmla="*/ 383076 h 654996"/>
                <a:gd name="connsiteX70" fmla="*/ 250355 w 291779"/>
                <a:gd name="connsiteY70" fmla="*/ 385153 h 654996"/>
                <a:gd name="connsiteX71" fmla="*/ 251832 w 291779"/>
                <a:gd name="connsiteY71" fmla="*/ 390163 h 654996"/>
                <a:gd name="connsiteX72" fmla="*/ 253603 w 291779"/>
                <a:gd name="connsiteY72" fmla="*/ 394935 h 654996"/>
                <a:gd name="connsiteX73" fmla="*/ 261157 w 291779"/>
                <a:gd name="connsiteY73" fmla="*/ 400098 h 654996"/>
                <a:gd name="connsiteX74" fmla="*/ 263757 w 291779"/>
                <a:gd name="connsiteY74" fmla="*/ 402917 h 654996"/>
                <a:gd name="connsiteX75" fmla="*/ 264443 w 291779"/>
                <a:gd name="connsiteY75" fmla="*/ 405155 h 654996"/>
                <a:gd name="connsiteX76" fmla="*/ 264824 w 291779"/>
                <a:gd name="connsiteY76" fmla="*/ 408765 h 654996"/>
                <a:gd name="connsiteX77" fmla="*/ 264776 w 291779"/>
                <a:gd name="connsiteY77" fmla="*/ 412671 h 654996"/>
                <a:gd name="connsiteX78" fmla="*/ 264186 w 291779"/>
                <a:gd name="connsiteY78" fmla="*/ 416128 h 654996"/>
                <a:gd name="connsiteX79" fmla="*/ 261814 w 291779"/>
                <a:gd name="connsiteY79" fmla="*/ 420576 h 654996"/>
                <a:gd name="connsiteX80" fmla="*/ 256337 w 291779"/>
                <a:gd name="connsiteY80" fmla="*/ 429320 h 654996"/>
                <a:gd name="connsiteX81" fmla="*/ 250822 w 291779"/>
                <a:gd name="connsiteY81" fmla="*/ 432702 h 654996"/>
                <a:gd name="connsiteX82" fmla="*/ 250489 w 291779"/>
                <a:gd name="connsiteY82" fmla="*/ 433435 h 654996"/>
                <a:gd name="connsiteX83" fmla="*/ 252193 w 291779"/>
                <a:gd name="connsiteY83" fmla="*/ 436216 h 654996"/>
                <a:gd name="connsiteX84" fmla="*/ 261900 w 291779"/>
                <a:gd name="connsiteY84" fmla="*/ 447323 h 654996"/>
                <a:gd name="connsiteX85" fmla="*/ 268234 w 291779"/>
                <a:gd name="connsiteY85" fmla="*/ 452495 h 654996"/>
                <a:gd name="connsiteX86" fmla="*/ 276768 w 291779"/>
                <a:gd name="connsiteY86" fmla="*/ 459448 h 654996"/>
                <a:gd name="connsiteX87" fmla="*/ 282273 w 291779"/>
                <a:gd name="connsiteY87" fmla="*/ 464925 h 654996"/>
                <a:gd name="connsiteX88" fmla="*/ 284055 w 291779"/>
                <a:gd name="connsiteY88" fmla="*/ 468849 h 654996"/>
                <a:gd name="connsiteX89" fmla="*/ 286436 w 291779"/>
                <a:gd name="connsiteY89" fmla="*/ 473212 h 654996"/>
                <a:gd name="connsiteX90" fmla="*/ 289113 w 291779"/>
                <a:gd name="connsiteY90" fmla="*/ 476764 h 654996"/>
                <a:gd name="connsiteX91" fmla="*/ 291046 w 291779"/>
                <a:gd name="connsiteY91" fmla="*/ 479841 h 654996"/>
                <a:gd name="connsiteX92" fmla="*/ 291779 w 291779"/>
                <a:gd name="connsiteY92" fmla="*/ 481822 h 654996"/>
                <a:gd name="connsiteX93" fmla="*/ 291713 w 291779"/>
                <a:gd name="connsiteY93" fmla="*/ 483946 h 654996"/>
                <a:gd name="connsiteX94" fmla="*/ 289132 w 291779"/>
                <a:gd name="connsiteY94" fmla="*/ 490337 h 654996"/>
                <a:gd name="connsiteX95" fmla="*/ 287664 w 291779"/>
                <a:gd name="connsiteY95" fmla="*/ 495262 h 654996"/>
                <a:gd name="connsiteX96" fmla="*/ 285083 w 291779"/>
                <a:gd name="connsiteY96" fmla="*/ 502453 h 654996"/>
                <a:gd name="connsiteX97" fmla="*/ 282436 w 291779"/>
                <a:gd name="connsiteY97" fmla="*/ 507444 h 654996"/>
                <a:gd name="connsiteX98" fmla="*/ 275730 w 291779"/>
                <a:gd name="connsiteY98" fmla="*/ 516531 h 654996"/>
                <a:gd name="connsiteX99" fmla="*/ 265833 w 291779"/>
                <a:gd name="connsiteY99" fmla="*/ 527771 h 654996"/>
                <a:gd name="connsiteX100" fmla="*/ 263538 w 291779"/>
                <a:gd name="connsiteY100" fmla="*/ 531152 h 654996"/>
                <a:gd name="connsiteX101" fmla="*/ 258909 w 291779"/>
                <a:gd name="connsiteY101" fmla="*/ 537029 h 654996"/>
                <a:gd name="connsiteX102" fmla="*/ 250974 w 291779"/>
                <a:gd name="connsiteY102" fmla="*/ 548773 h 654996"/>
                <a:gd name="connsiteX103" fmla="*/ 248927 w 291779"/>
                <a:gd name="connsiteY103" fmla="*/ 551355 h 654996"/>
                <a:gd name="connsiteX104" fmla="*/ 242431 w 291779"/>
                <a:gd name="connsiteY104" fmla="*/ 560651 h 654996"/>
                <a:gd name="connsiteX105" fmla="*/ 239468 w 291779"/>
                <a:gd name="connsiteY105" fmla="*/ 563604 h 654996"/>
                <a:gd name="connsiteX106" fmla="*/ 237134 w 291779"/>
                <a:gd name="connsiteY106" fmla="*/ 566356 h 654996"/>
                <a:gd name="connsiteX107" fmla="*/ 230705 w 291779"/>
                <a:gd name="connsiteY107" fmla="*/ 575072 h 654996"/>
                <a:gd name="connsiteX108" fmla="*/ 223790 w 291779"/>
                <a:gd name="connsiteY108" fmla="*/ 581654 h 654996"/>
                <a:gd name="connsiteX109" fmla="*/ 217008 w 291779"/>
                <a:gd name="connsiteY109" fmla="*/ 587750 h 654996"/>
                <a:gd name="connsiteX110" fmla="*/ 214970 w 291779"/>
                <a:gd name="connsiteY110" fmla="*/ 590826 h 654996"/>
                <a:gd name="connsiteX111" fmla="*/ 212436 w 291779"/>
                <a:gd name="connsiteY111" fmla="*/ 593179 h 654996"/>
                <a:gd name="connsiteX112" fmla="*/ 209417 w 291779"/>
                <a:gd name="connsiteY112" fmla="*/ 595408 h 654996"/>
                <a:gd name="connsiteX113" fmla="*/ 208150 w 291779"/>
                <a:gd name="connsiteY113" fmla="*/ 596655 h 654996"/>
                <a:gd name="connsiteX114" fmla="*/ 201320 w 291779"/>
                <a:gd name="connsiteY114" fmla="*/ 604933 h 654996"/>
                <a:gd name="connsiteX115" fmla="*/ 191843 w 291779"/>
                <a:gd name="connsiteY115" fmla="*/ 616344 h 654996"/>
                <a:gd name="connsiteX116" fmla="*/ 190881 w 291779"/>
                <a:gd name="connsiteY116" fmla="*/ 616525 h 654996"/>
                <a:gd name="connsiteX117" fmla="*/ 188414 w 291779"/>
                <a:gd name="connsiteY117" fmla="*/ 618363 h 654996"/>
                <a:gd name="connsiteX118" fmla="*/ 184557 w 291779"/>
                <a:gd name="connsiteY118" fmla="*/ 618811 h 654996"/>
                <a:gd name="connsiteX119" fmla="*/ 182880 w 291779"/>
                <a:gd name="connsiteY119" fmla="*/ 620211 h 654996"/>
                <a:gd name="connsiteX120" fmla="*/ 176984 w 291779"/>
                <a:gd name="connsiteY120" fmla="*/ 616210 h 654996"/>
                <a:gd name="connsiteX121" fmla="*/ 176003 w 291779"/>
                <a:gd name="connsiteY121" fmla="*/ 615953 h 654996"/>
                <a:gd name="connsiteX122" fmla="*/ 172536 w 291779"/>
                <a:gd name="connsiteY122" fmla="*/ 616944 h 654996"/>
                <a:gd name="connsiteX123" fmla="*/ 169212 w 291779"/>
                <a:gd name="connsiteY123" fmla="*/ 619849 h 654996"/>
                <a:gd name="connsiteX124" fmla="*/ 163068 w 291779"/>
                <a:gd name="connsiteY124" fmla="*/ 620735 h 654996"/>
                <a:gd name="connsiteX125" fmla="*/ 160020 w 291779"/>
                <a:gd name="connsiteY125" fmla="*/ 621678 h 654996"/>
                <a:gd name="connsiteX126" fmla="*/ 158077 w 291779"/>
                <a:gd name="connsiteY126" fmla="*/ 623021 h 654996"/>
                <a:gd name="connsiteX127" fmla="*/ 157677 w 291779"/>
                <a:gd name="connsiteY127" fmla="*/ 619849 h 654996"/>
                <a:gd name="connsiteX128" fmla="*/ 158515 w 291779"/>
                <a:gd name="connsiteY128" fmla="*/ 615820 h 654996"/>
                <a:gd name="connsiteX129" fmla="*/ 159868 w 291779"/>
                <a:gd name="connsiteY129" fmla="*/ 613124 h 654996"/>
                <a:gd name="connsiteX130" fmla="*/ 159991 w 291779"/>
                <a:gd name="connsiteY130" fmla="*/ 611372 h 654996"/>
                <a:gd name="connsiteX131" fmla="*/ 159001 w 291779"/>
                <a:gd name="connsiteY131" fmla="*/ 611553 h 654996"/>
                <a:gd name="connsiteX132" fmla="*/ 157029 w 291779"/>
                <a:gd name="connsiteY132" fmla="*/ 615505 h 654996"/>
                <a:gd name="connsiteX133" fmla="*/ 155982 w 291779"/>
                <a:gd name="connsiteY133" fmla="*/ 620116 h 654996"/>
                <a:gd name="connsiteX134" fmla="*/ 153877 w 291779"/>
                <a:gd name="connsiteY134" fmla="*/ 622430 h 654996"/>
                <a:gd name="connsiteX135" fmla="*/ 149247 w 291779"/>
                <a:gd name="connsiteY135" fmla="*/ 623373 h 654996"/>
                <a:gd name="connsiteX136" fmla="*/ 144742 w 291779"/>
                <a:gd name="connsiteY136" fmla="*/ 619677 h 654996"/>
                <a:gd name="connsiteX137" fmla="*/ 142599 w 291779"/>
                <a:gd name="connsiteY137" fmla="*/ 619706 h 654996"/>
                <a:gd name="connsiteX138" fmla="*/ 143942 w 291779"/>
                <a:gd name="connsiteY138" fmla="*/ 622354 h 654996"/>
                <a:gd name="connsiteX139" fmla="*/ 144847 w 291779"/>
                <a:gd name="connsiteY139" fmla="*/ 625259 h 654996"/>
                <a:gd name="connsiteX140" fmla="*/ 144732 w 291779"/>
                <a:gd name="connsiteY140" fmla="*/ 626878 h 654996"/>
                <a:gd name="connsiteX141" fmla="*/ 142332 w 291779"/>
                <a:gd name="connsiteY141" fmla="*/ 626593 h 654996"/>
                <a:gd name="connsiteX142" fmla="*/ 139655 w 291779"/>
                <a:gd name="connsiteY142" fmla="*/ 628326 h 654996"/>
                <a:gd name="connsiteX143" fmla="*/ 137313 w 291779"/>
                <a:gd name="connsiteY143" fmla="*/ 630860 h 654996"/>
                <a:gd name="connsiteX144" fmla="*/ 136170 w 291779"/>
                <a:gd name="connsiteY144" fmla="*/ 630869 h 654996"/>
                <a:gd name="connsiteX145" fmla="*/ 134588 w 291779"/>
                <a:gd name="connsiteY145" fmla="*/ 627326 h 654996"/>
                <a:gd name="connsiteX146" fmla="*/ 131693 w 291779"/>
                <a:gd name="connsiteY146" fmla="*/ 628983 h 654996"/>
                <a:gd name="connsiteX147" fmla="*/ 129217 w 291779"/>
                <a:gd name="connsiteY147" fmla="*/ 631203 h 654996"/>
                <a:gd name="connsiteX148" fmla="*/ 124196 w 291779"/>
                <a:gd name="connsiteY148" fmla="*/ 631888 h 654996"/>
                <a:gd name="connsiteX149" fmla="*/ 121206 w 291779"/>
                <a:gd name="connsiteY149" fmla="*/ 634803 h 654996"/>
                <a:gd name="connsiteX150" fmla="*/ 115910 w 291779"/>
                <a:gd name="connsiteY150" fmla="*/ 636775 h 654996"/>
                <a:gd name="connsiteX151" fmla="*/ 113005 w 291779"/>
                <a:gd name="connsiteY151" fmla="*/ 636727 h 654996"/>
                <a:gd name="connsiteX152" fmla="*/ 106366 w 291779"/>
                <a:gd name="connsiteY152" fmla="*/ 639089 h 654996"/>
                <a:gd name="connsiteX153" fmla="*/ 104156 w 291779"/>
                <a:gd name="connsiteY153" fmla="*/ 642728 h 654996"/>
                <a:gd name="connsiteX154" fmla="*/ 102222 w 291779"/>
                <a:gd name="connsiteY154" fmla="*/ 644061 h 654996"/>
                <a:gd name="connsiteX155" fmla="*/ 99470 w 291779"/>
                <a:gd name="connsiteY155" fmla="*/ 642938 h 654996"/>
                <a:gd name="connsiteX156" fmla="*/ 90983 w 291779"/>
                <a:gd name="connsiteY156" fmla="*/ 644709 h 654996"/>
                <a:gd name="connsiteX157" fmla="*/ 82868 w 291779"/>
                <a:gd name="connsiteY157" fmla="*/ 647033 h 654996"/>
                <a:gd name="connsiteX158" fmla="*/ 79420 w 291779"/>
                <a:gd name="connsiteY158" fmla="*/ 646900 h 654996"/>
                <a:gd name="connsiteX159" fmla="*/ 75972 w 291779"/>
                <a:gd name="connsiteY159" fmla="*/ 645938 h 654996"/>
                <a:gd name="connsiteX160" fmla="*/ 72314 w 291779"/>
                <a:gd name="connsiteY160" fmla="*/ 649157 h 654996"/>
                <a:gd name="connsiteX161" fmla="*/ 68428 w 291779"/>
                <a:gd name="connsiteY161" fmla="*/ 653463 h 654996"/>
                <a:gd name="connsiteX162" fmla="*/ 64151 w 291779"/>
                <a:gd name="connsiteY162" fmla="*/ 654996 h 654996"/>
                <a:gd name="connsiteX163" fmla="*/ 62618 w 291779"/>
                <a:gd name="connsiteY163" fmla="*/ 654444 h 654996"/>
                <a:gd name="connsiteX164" fmla="*/ 63846 w 291779"/>
                <a:gd name="connsiteY164" fmla="*/ 652186 h 654996"/>
                <a:gd name="connsiteX165" fmla="*/ 66675 w 291779"/>
                <a:gd name="connsiteY165" fmla="*/ 649853 h 654996"/>
                <a:gd name="connsiteX166" fmla="*/ 68618 w 291779"/>
                <a:gd name="connsiteY166" fmla="*/ 646681 h 654996"/>
                <a:gd name="connsiteX167" fmla="*/ 68885 w 291779"/>
                <a:gd name="connsiteY167" fmla="*/ 644033 h 654996"/>
                <a:gd name="connsiteX168" fmla="*/ 67552 w 291779"/>
                <a:gd name="connsiteY168" fmla="*/ 642995 h 654996"/>
                <a:gd name="connsiteX169" fmla="*/ 65723 w 291779"/>
                <a:gd name="connsiteY169" fmla="*/ 642671 h 654996"/>
                <a:gd name="connsiteX170" fmla="*/ 63427 w 291779"/>
                <a:gd name="connsiteY170" fmla="*/ 639928 h 654996"/>
                <a:gd name="connsiteX171" fmla="*/ 61227 w 291779"/>
                <a:gd name="connsiteY171" fmla="*/ 633965 h 654996"/>
                <a:gd name="connsiteX172" fmla="*/ 60036 w 291779"/>
                <a:gd name="connsiteY172" fmla="*/ 633632 h 654996"/>
                <a:gd name="connsiteX173" fmla="*/ 59436 w 291779"/>
                <a:gd name="connsiteY173" fmla="*/ 635203 h 654996"/>
                <a:gd name="connsiteX174" fmla="*/ 58760 w 291779"/>
                <a:gd name="connsiteY174" fmla="*/ 639766 h 654996"/>
                <a:gd name="connsiteX175" fmla="*/ 58074 w 291779"/>
                <a:gd name="connsiteY175" fmla="*/ 641080 h 654996"/>
                <a:gd name="connsiteX176" fmla="*/ 56912 w 291779"/>
                <a:gd name="connsiteY176" fmla="*/ 642128 h 654996"/>
                <a:gd name="connsiteX177" fmla="*/ 55512 w 291779"/>
                <a:gd name="connsiteY177" fmla="*/ 643176 h 654996"/>
                <a:gd name="connsiteX178" fmla="*/ 54140 w 291779"/>
                <a:gd name="connsiteY178" fmla="*/ 643690 h 654996"/>
                <a:gd name="connsiteX179" fmla="*/ 49235 w 291779"/>
                <a:gd name="connsiteY179" fmla="*/ 643623 h 654996"/>
                <a:gd name="connsiteX180" fmla="*/ 48587 w 291779"/>
                <a:gd name="connsiteY180" fmla="*/ 641318 h 654996"/>
                <a:gd name="connsiteX181" fmla="*/ 48587 w 291779"/>
                <a:gd name="connsiteY181" fmla="*/ 640356 h 654996"/>
                <a:gd name="connsiteX182" fmla="*/ 49463 w 291779"/>
                <a:gd name="connsiteY182" fmla="*/ 637318 h 654996"/>
                <a:gd name="connsiteX183" fmla="*/ 48702 w 291779"/>
                <a:gd name="connsiteY183" fmla="*/ 636784 h 654996"/>
                <a:gd name="connsiteX184" fmla="*/ 49425 w 291779"/>
                <a:gd name="connsiteY184" fmla="*/ 634403 h 654996"/>
                <a:gd name="connsiteX185" fmla="*/ 50578 w 291779"/>
                <a:gd name="connsiteY185" fmla="*/ 634536 h 654996"/>
                <a:gd name="connsiteX186" fmla="*/ 51950 w 291779"/>
                <a:gd name="connsiteY186" fmla="*/ 634175 h 654996"/>
                <a:gd name="connsiteX187" fmla="*/ 52635 w 291779"/>
                <a:gd name="connsiteY187" fmla="*/ 632955 h 654996"/>
                <a:gd name="connsiteX188" fmla="*/ 52587 w 291779"/>
                <a:gd name="connsiteY188" fmla="*/ 631488 h 654996"/>
                <a:gd name="connsiteX189" fmla="*/ 50683 w 291779"/>
                <a:gd name="connsiteY189" fmla="*/ 631107 h 654996"/>
                <a:gd name="connsiteX190" fmla="*/ 50568 w 291779"/>
                <a:gd name="connsiteY190" fmla="*/ 630107 h 654996"/>
                <a:gd name="connsiteX191" fmla="*/ 52264 w 291779"/>
                <a:gd name="connsiteY191" fmla="*/ 625916 h 654996"/>
                <a:gd name="connsiteX192" fmla="*/ 52502 w 291779"/>
                <a:gd name="connsiteY192" fmla="*/ 624754 h 654996"/>
                <a:gd name="connsiteX193" fmla="*/ 51845 w 291779"/>
                <a:gd name="connsiteY193" fmla="*/ 624516 h 654996"/>
                <a:gd name="connsiteX194" fmla="*/ 50788 w 291779"/>
                <a:gd name="connsiteY194" fmla="*/ 624973 h 654996"/>
                <a:gd name="connsiteX195" fmla="*/ 43768 w 291779"/>
                <a:gd name="connsiteY195" fmla="*/ 623659 h 654996"/>
                <a:gd name="connsiteX196" fmla="*/ 35109 w 291779"/>
                <a:gd name="connsiteY196" fmla="*/ 618287 h 654996"/>
                <a:gd name="connsiteX197" fmla="*/ 32976 w 291779"/>
                <a:gd name="connsiteY197" fmla="*/ 618011 h 654996"/>
                <a:gd name="connsiteX198" fmla="*/ 31671 w 291779"/>
                <a:gd name="connsiteY198" fmla="*/ 613200 h 654996"/>
                <a:gd name="connsiteX199" fmla="*/ 29585 w 291779"/>
                <a:gd name="connsiteY199" fmla="*/ 613810 h 654996"/>
                <a:gd name="connsiteX200" fmla="*/ 26537 w 291779"/>
                <a:gd name="connsiteY200" fmla="*/ 616629 h 654996"/>
                <a:gd name="connsiteX201" fmla="*/ 24251 w 291779"/>
                <a:gd name="connsiteY201" fmla="*/ 614486 h 654996"/>
                <a:gd name="connsiteX202" fmla="*/ 21793 w 291779"/>
                <a:gd name="connsiteY202" fmla="*/ 613077 h 654996"/>
                <a:gd name="connsiteX203" fmla="*/ 21117 w 291779"/>
                <a:gd name="connsiteY203" fmla="*/ 610876 h 654996"/>
                <a:gd name="connsiteX204" fmla="*/ 21155 w 291779"/>
                <a:gd name="connsiteY204" fmla="*/ 607619 h 654996"/>
                <a:gd name="connsiteX205" fmla="*/ 20946 w 291779"/>
                <a:gd name="connsiteY205" fmla="*/ 603761 h 654996"/>
                <a:gd name="connsiteX206" fmla="*/ 20279 w 291779"/>
                <a:gd name="connsiteY206" fmla="*/ 599237 h 654996"/>
                <a:gd name="connsiteX207" fmla="*/ 19793 w 291779"/>
                <a:gd name="connsiteY207" fmla="*/ 592788 h 654996"/>
                <a:gd name="connsiteX208" fmla="*/ 20251 w 291779"/>
                <a:gd name="connsiteY208" fmla="*/ 587731 h 654996"/>
                <a:gd name="connsiteX209" fmla="*/ 22213 w 291779"/>
                <a:gd name="connsiteY209" fmla="*/ 583978 h 654996"/>
                <a:gd name="connsiteX210" fmla="*/ 22965 w 291779"/>
                <a:gd name="connsiteY210" fmla="*/ 581577 h 654996"/>
                <a:gd name="connsiteX211" fmla="*/ 23879 w 291779"/>
                <a:gd name="connsiteY211" fmla="*/ 575434 h 654996"/>
                <a:gd name="connsiteX212" fmla="*/ 24089 w 291779"/>
                <a:gd name="connsiteY212" fmla="*/ 568223 h 654996"/>
                <a:gd name="connsiteX213" fmla="*/ 23565 w 291779"/>
                <a:gd name="connsiteY213" fmla="*/ 565766 h 654996"/>
                <a:gd name="connsiteX214" fmla="*/ 23699 w 291779"/>
                <a:gd name="connsiteY214" fmla="*/ 564128 h 654996"/>
                <a:gd name="connsiteX215" fmla="*/ 25261 w 291779"/>
                <a:gd name="connsiteY215" fmla="*/ 564128 h 654996"/>
                <a:gd name="connsiteX216" fmla="*/ 24918 w 291779"/>
                <a:gd name="connsiteY216" fmla="*/ 562718 h 654996"/>
                <a:gd name="connsiteX217" fmla="*/ 24232 w 291779"/>
                <a:gd name="connsiteY217" fmla="*/ 561946 h 654996"/>
                <a:gd name="connsiteX218" fmla="*/ 23469 w 291779"/>
                <a:gd name="connsiteY218" fmla="*/ 560346 h 654996"/>
                <a:gd name="connsiteX219" fmla="*/ 24118 w 291779"/>
                <a:gd name="connsiteY219" fmla="*/ 559498 h 654996"/>
                <a:gd name="connsiteX220" fmla="*/ 25984 w 291779"/>
                <a:gd name="connsiteY220" fmla="*/ 559441 h 654996"/>
                <a:gd name="connsiteX221" fmla="*/ 26137 w 291779"/>
                <a:gd name="connsiteY221" fmla="*/ 558898 h 654996"/>
                <a:gd name="connsiteX222" fmla="*/ 26346 w 291779"/>
                <a:gd name="connsiteY222" fmla="*/ 558136 h 654996"/>
                <a:gd name="connsiteX223" fmla="*/ 24898 w 291779"/>
                <a:gd name="connsiteY223" fmla="*/ 553907 h 654996"/>
                <a:gd name="connsiteX224" fmla="*/ 24727 w 291779"/>
                <a:gd name="connsiteY224" fmla="*/ 551888 h 654996"/>
                <a:gd name="connsiteX225" fmla="*/ 22727 w 291779"/>
                <a:gd name="connsiteY225" fmla="*/ 545744 h 654996"/>
                <a:gd name="connsiteX226" fmla="*/ 20431 w 291779"/>
                <a:gd name="connsiteY226" fmla="*/ 539896 h 654996"/>
                <a:gd name="connsiteX227" fmla="*/ 16993 w 291779"/>
                <a:gd name="connsiteY227" fmla="*/ 535657 h 654996"/>
                <a:gd name="connsiteX228" fmla="*/ 18212 w 291779"/>
                <a:gd name="connsiteY228" fmla="*/ 528657 h 654996"/>
                <a:gd name="connsiteX229" fmla="*/ 19603 w 291779"/>
                <a:gd name="connsiteY229" fmla="*/ 522303 h 654996"/>
                <a:gd name="connsiteX230" fmla="*/ 19326 w 291779"/>
                <a:gd name="connsiteY230" fmla="*/ 519236 h 654996"/>
                <a:gd name="connsiteX231" fmla="*/ 18793 w 291779"/>
                <a:gd name="connsiteY231" fmla="*/ 515493 h 654996"/>
                <a:gd name="connsiteX232" fmla="*/ 14574 w 291779"/>
                <a:gd name="connsiteY232" fmla="*/ 511378 h 654996"/>
                <a:gd name="connsiteX233" fmla="*/ 13954 w 291779"/>
                <a:gd name="connsiteY233" fmla="*/ 505568 h 654996"/>
                <a:gd name="connsiteX234" fmla="*/ 12925 w 291779"/>
                <a:gd name="connsiteY234" fmla="*/ 499300 h 654996"/>
                <a:gd name="connsiteX235" fmla="*/ 13316 w 291779"/>
                <a:gd name="connsiteY235" fmla="*/ 495452 h 654996"/>
                <a:gd name="connsiteX236" fmla="*/ 14002 w 291779"/>
                <a:gd name="connsiteY236" fmla="*/ 492490 h 654996"/>
                <a:gd name="connsiteX237" fmla="*/ 15393 w 291779"/>
                <a:gd name="connsiteY237" fmla="*/ 489537 h 654996"/>
                <a:gd name="connsiteX238" fmla="*/ 22393 w 291779"/>
                <a:gd name="connsiteY238" fmla="*/ 480203 h 654996"/>
                <a:gd name="connsiteX239" fmla="*/ 22822 w 291779"/>
                <a:gd name="connsiteY239" fmla="*/ 475307 h 654996"/>
                <a:gd name="connsiteX240" fmla="*/ 27566 w 291779"/>
                <a:gd name="connsiteY240" fmla="*/ 474945 h 654996"/>
                <a:gd name="connsiteX241" fmla="*/ 25365 w 291779"/>
                <a:gd name="connsiteY241" fmla="*/ 470564 h 654996"/>
                <a:gd name="connsiteX242" fmla="*/ 24851 w 291779"/>
                <a:gd name="connsiteY242" fmla="*/ 468097 h 654996"/>
                <a:gd name="connsiteX243" fmla="*/ 24737 w 291779"/>
                <a:gd name="connsiteY243" fmla="*/ 465211 h 654996"/>
                <a:gd name="connsiteX244" fmla="*/ 31556 w 291779"/>
                <a:gd name="connsiteY244" fmla="*/ 463229 h 654996"/>
                <a:gd name="connsiteX245" fmla="*/ 34109 w 291779"/>
                <a:gd name="connsiteY245" fmla="*/ 464858 h 654996"/>
                <a:gd name="connsiteX246" fmla="*/ 40110 w 291779"/>
                <a:gd name="connsiteY246" fmla="*/ 462848 h 654996"/>
                <a:gd name="connsiteX247" fmla="*/ 45444 w 291779"/>
                <a:gd name="connsiteY247" fmla="*/ 458914 h 654996"/>
                <a:gd name="connsiteX248" fmla="*/ 45348 w 291779"/>
                <a:gd name="connsiteY248" fmla="*/ 456819 h 654996"/>
                <a:gd name="connsiteX249" fmla="*/ 44529 w 291779"/>
                <a:gd name="connsiteY249" fmla="*/ 454943 h 654996"/>
                <a:gd name="connsiteX250" fmla="*/ 43396 w 291779"/>
                <a:gd name="connsiteY250" fmla="*/ 451323 h 654996"/>
                <a:gd name="connsiteX251" fmla="*/ 44196 w 291779"/>
                <a:gd name="connsiteY251" fmla="*/ 450313 h 654996"/>
                <a:gd name="connsiteX252" fmla="*/ 46139 w 291779"/>
                <a:gd name="connsiteY252" fmla="*/ 451056 h 654996"/>
                <a:gd name="connsiteX253" fmla="*/ 45244 w 291779"/>
                <a:gd name="connsiteY253" fmla="*/ 449256 h 654996"/>
                <a:gd name="connsiteX254" fmla="*/ 45406 w 291779"/>
                <a:gd name="connsiteY254" fmla="*/ 447351 h 654996"/>
                <a:gd name="connsiteX255" fmla="*/ 47530 w 291779"/>
                <a:gd name="connsiteY255" fmla="*/ 448142 h 654996"/>
                <a:gd name="connsiteX256" fmla="*/ 50988 w 291779"/>
                <a:gd name="connsiteY256" fmla="*/ 442817 h 654996"/>
                <a:gd name="connsiteX257" fmla="*/ 51111 w 291779"/>
                <a:gd name="connsiteY257" fmla="*/ 438741 h 654996"/>
                <a:gd name="connsiteX258" fmla="*/ 57093 w 291779"/>
                <a:gd name="connsiteY258" fmla="*/ 436607 h 654996"/>
                <a:gd name="connsiteX259" fmla="*/ 63998 w 291779"/>
                <a:gd name="connsiteY259" fmla="*/ 428244 h 654996"/>
                <a:gd name="connsiteX260" fmla="*/ 67180 w 291779"/>
                <a:gd name="connsiteY260" fmla="*/ 425634 h 654996"/>
                <a:gd name="connsiteX261" fmla="*/ 70257 w 291779"/>
                <a:gd name="connsiteY261" fmla="*/ 423739 h 654996"/>
                <a:gd name="connsiteX262" fmla="*/ 76810 w 291779"/>
                <a:gd name="connsiteY262" fmla="*/ 415328 h 654996"/>
                <a:gd name="connsiteX263" fmla="*/ 79610 w 291779"/>
                <a:gd name="connsiteY263" fmla="*/ 414938 h 654996"/>
                <a:gd name="connsiteX264" fmla="*/ 81049 w 291779"/>
                <a:gd name="connsiteY264" fmla="*/ 409242 h 654996"/>
                <a:gd name="connsiteX265" fmla="*/ 86620 w 291779"/>
                <a:gd name="connsiteY265" fmla="*/ 401631 h 654996"/>
                <a:gd name="connsiteX266" fmla="*/ 88316 w 291779"/>
                <a:gd name="connsiteY266" fmla="*/ 400660 h 654996"/>
                <a:gd name="connsiteX267" fmla="*/ 90917 w 291779"/>
                <a:gd name="connsiteY267" fmla="*/ 393763 h 654996"/>
                <a:gd name="connsiteX268" fmla="*/ 97765 w 291779"/>
                <a:gd name="connsiteY268" fmla="*/ 385763 h 654996"/>
                <a:gd name="connsiteX269" fmla="*/ 102108 w 291779"/>
                <a:gd name="connsiteY269" fmla="*/ 375504 h 654996"/>
                <a:gd name="connsiteX270" fmla="*/ 104499 w 291779"/>
                <a:gd name="connsiteY270" fmla="*/ 371847 h 654996"/>
                <a:gd name="connsiteX271" fmla="*/ 105242 w 291779"/>
                <a:gd name="connsiteY271" fmla="*/ 367941 h 654996"/>
                <a:gd name="connsiteX272" fmla="*/ 107909 w 291779"/>
                <a:gd name="connsiteY272" fmla="*/ 367608 h 654996"/>
                <a:gd name="connsiteX273" fmla="*/ 110309 w 291779"/>
                <a:gd name="connsiteY273" fmla="*/ 364731 h 654996"/>
                <a:gd name="connsiteX274" fmla="*/ 115510 w 291779"/>
                <a:gd name="connsiteY274" fmla="*/ 362731 h 654996"/>
                <a:gd name="connsiteX275" fmla="*/ 120653 w 291779"/>
                <a:gd name="connsiteY275" fmla="*/ 363284 h 654996"/>
                <a:gd name="connsiteX276" fmla="*/ 122797 w 291779"/>
                <a:gd name="connsiteY276" fmla="*/ 364655 h 654996"/>
                <a:gd name="connsiteX277" fmla="*/ 124768 w 291779"/>
                <a:gd name="connsiteY277" fmla="*/ 364226 h 654996"/>
                <a:gd name="connsiteX278" fmla="*/ 124568 w 291779"/>
                <a:gd name="connsiteY278" fmla="*/ 360702 h 654996"/>
                <a:gd name="connsiteX279" fmla="*/ 123158 w 291779"/>
                <a:gd name="connsiteY279" fmla="*/ 358521 h 654996"/>
                <a:gd name="connsiteX280" fmla="*/ 124311 w 291779"/>
                <a:gd name="connsiteY280" fmla="*/ 356416 h 654996"/>
                <a:gd name="connsiteX281" fmla="*/ 127025 w 291779"/>
                <a:gd name="connsiteY281" fmla="*/ 354825 h 654996"/>
                <a:gd name="connsiteX282" fmla="*/ 126749 w 291779"/>
                <a:gd name="connsiteY282" fmla="*/ 351301 h 654996"/>
                <a:gd name="connsiteX283" fmla="*/ 126159 w 291779"/>
                <a:gd name="connsiteY283" fmla="*/ 349177 h 654996"/>
                <a:gd name="connsiteX284" fmla="*/ 123901 w 291779"/>
                <a:gd name="connsiteY284" fmla="*/ 346348 h 654996"/>
                <a:gd name="connsiteX285" fmla="*/ 125026 w 291779"/>
                <a:gd name="connsiteY285" fmla="*/ 339985 h 654996"/>
                <a:gd name="connsiteX286" fmla="*/ 125292 w 291779"/>
                <a:gd name="connsiteY286" fmla="*/ 332984 h 654996"/>
                <a:gd name="connsiteX287" fmla="*/ 126359 w 291779"/>
                <a:gd name="connsiteY287" fmla="*/ 324860 h 654996"/>
                <a:gd name="connsiteX288" fmla="*/ 123530 w 291779"/>
                <a:gd name="connsiteY288" fmla="*/ 320545 h 654996"/>
                <a:gd name="connsiteX289" fmla="*/ 112766 w 291779"/>
                <a:gd name="connsiteY289" fmla="*/ 313172 h 654996"/>
                <a:gd name="connsiteX290" fmla="*/ 110766 w 291779"/>
                <a:gd name="connsiteY290" fmla="*/ 313430 h 654996"/>
                <a:gd name="connsiteX291" fmla="*/ 108375 w 291779"/>
                <a:gd name="connsiteY291" fmla="*/ 312496 h 654996"/>
                <a:gd name="connsiteX292" fmla="*/ 105880 w 291779"/>
                <a:gd name="connsiteY292" fmla="*/ 306886 h 654996"/>
                <a:gd name="connsiteX293" fmla="*/ 106995 w 291779"/>
                <a:gd name="connsiteY293" fmla="*/ 302028 h 654996"/>
                <a:gd name="connsiteX294" fmla="*/ 107128 w 291779"/>
                <a:gd name="connsiteY294" fmla="*/ 300238 h 654996"/>
                <a:gd name="connsiteX295" fmla="*/ 106156 w 291779"/>
                <a:gd name="connsiteY295" fmla="*/ 300295 h 654996"/>
                <a:gd name="connsiteX296" fmla="*/ 104575 w 291779"/>
                <a:gd name="connsiteY296" fmla="*/ 302666 h 654996"/>
                <a:gd name="connsiteX297" fmla="*/ 101146 w 291779"/>
                <a:gd name="connsiteY297" fmla="*/ 305371 h 654996"/>
                <a:gd name="connsiteX298" fmla="*/ 96688 w 291779"/>
                <a:gd name="connsiteY298" fmla="*/ 303295 h 654996"/>
                <a:gd name="connsiteX299" fmla="*/ 94498 w 291779"/>
                <a:gd name="connsiteY299" fmla="*/ 303752 h 654996"/>
                <a:gd name="connsiteX300" fmla="*/ 91650 w 291779"/>
                <a:gd name="connsiteY300" fmla="*/ 291684 h 654996"/>
                <a:gd name="connsiteX301" fmla="*/ 90192 w 291779"/>
                <a:gd name="connsiteY301" fmla="*/ 287045 h 654996"/>
                <a:gd name="connsiteX302" fmla="*/ 87859 w 291779"/>
                <a:gd name="connsiteY302" fmla="*/ 281254 h 654996"/>
                <a:gd name="connsiteX303" fmla="*/ 83696 w 291779"/>
                <a:gd name="connsiteY303" fmla="*/ 278425 h 654996"/>
                <a:gd name="connsiteX304" fmla="*/ 82877 w 291779"/>
                <a:gd name="connsiteY304" fmla="*/ 276816 h 654996"/>
                <a:gd name="connsiteX305" fmla="*/ 82325 w 291779"/>
                <a:gd name="connsiteY305" fmla="*/ 274349 h 654996"/>
                <a:gd name="connsiteX306" fmla="*/ 82144 w 291779"/>
                <a:gd name="connsiteY306" fmla="*/ 270920 h 654996"/>
                <a:gd name="connsiteX307" fmla="*/ 81610 w 291779"/>
                <a:gd name="connsiteY307" fmla="*/ 265833 h 654996"/>
                <a:gd name="connsiteX308" fmla="*/ 81829 w 291779"/>
                <a:gd name="connsiteY308" fmla="*/ 261652 h 654996"/>
                <a:gd name="connsiteX309" fmla="*/ 82344 w 291779"/>
                <a:gd name="connsiteY309" fmla="*/ 259156 h 654996"/>
                <a:gd name="connsiteX310" fmla="*/ 84144 w 291779"/>
                <a:gd name="connsiteY310" fmla="*/ 257480 h 654996"/>
                <a:gd name="connsiteX311" fmla="*/ 86735 w 291779"/>
                <a:gd name="connsiteY311" fmla="*/ 252727 h 654996"/>
                <a:gd name="connsiteX312" fmla="*/ 87278 w 291779"/>
                <a:gd name="connsiteY312" fmla="*/ 249269 h 654996"/>
                <a:gd name="connsiteX313" fmla="*/ 87497 w 291779"/>
                <a:gd name="connsiteY313" fmla="*/ 243954 h 654996"/>
                <a:gd name="connsiteX314" fmla="*/ 88688 w 291779"/>
                <a:gd name="connsiteY314" fmla="*/ 239297 h 654996"/>
                <a:gd name="connsiteX315" fmla="*/ 90011 w 291779"/>
                <a:gd name="connsiteY315" fmla="*/ 236934 h 654996"/>
                <a:gd name="connsiteX316" fmla="*/ 89678 w 291779"/>
                <a:gd name="connsiteY316" fmla="*/ 235048 h 654996"/>
                <a:gd name="connsiteX317" fmla="*/ 88764 w 291779"/>
                <a:gd name="connsiteY317" fmla="*/ 232362 h 654996"/>
                <a:gd name="connsiteX318" fmla="*/ 86820 w 291779"/>
                <a:gd name="connsiteY318" fmla="*/ 228533 h 654996"/>
                <a:gd name="connsiteX319" fmla="*/ 83868 w 291779"/>
                <a:gd name="connsiteY319" fmla="*/ 223857 h 654996"/>
                <a:gd name="connsiteX320" fmla="*/ 81686 w 291779"/>
                <a:gd name="connsiteY320" fmla="*/ 219370 h 654996"/>
                <a:gd name="connsiteX321" fmla="*/ 80725 w 291779"/>
                <a:gd name="connsiteY321" fmla="*/ 215170 h 654996"/>
                <a:gd name="connsiteX322" fmla="*/ 80229 w 291779"/>
                <a:gd name="connsiteY322" fmla="*/ 211398 h 654996"/>
                <a:gd name="connsiteX323" fmla="*/ 80306 w 291779"/>
                <a:gd name="connsiteY323" fmla="*/ 207969 h 654996"/>
                <a:gd name="connsiteX324" fmla="*/ 81125 w 291779"/>
                <a:gd name="connsiteY324" fmla="*/ 205626 h 654996"/>
                <a:gd name="connsiteX325" fmla="*/ 83906 w 291779"/>
                <a:gd name="connsiteY325" fmla="*/ 202673 h 654996"/>
                <a:gd name="connsiteX326" fmla="*/ 84277 w 291779"/>
                <a:gd name="connsiteY326" fmla="*/ 201416 h 654996"/>
                <a:gd name="connsiteX327" fmla="*/ 83172 w 291779"/>
                <a:gd name="connsiteY327" fmla="*/ 194872 h 654996"/>
                <a:gd name="connsiteX328" fmla="*/ 81229 w 291779"/>
                <a:gd name="connsiteY328" fmla="*/ 193681 h 654996"/>
                <a:gd name="connsiteX329" fmla="*/ 77924 w 291779"/>
                <a:gd name="connsiteY329" fmla="*/ 193043 h 654996"/>
                <a:gd name="connsiteX330" fmla="*/ 76076 w 291779"/>
                <a:gd name="connsiteY330" fmla="*/ 192986 h 654996"/>
                <a:gd name="connsiteX331" fmla="*/ 75724 w 291779"/>
                <a:gd name="connsiteY331" fmla="*/ 192262 h 654996"/>
                <a:gd name="connsiteX332" fmla="*/ 75629 w 291779"/>
                <a:gd name="connsiteY332" fmla="*/ 190948 h 654996"/>
                <a:gd name="connsiteX333" fmla="*/ 76010 w 291779"/>
                <a:gd name="connsiteY333" fmla="*/ 188252 h 654996"/>
                <a:gd name="connsiteX334" fmla="*/ 77048 w 291779"/>
                <a:gd name="connsiteY334" fmla="*/ 185156 h 654996"/>
                <a:gd name="connsiteX335" fmla="*/ 77914 w 291779"/>
                <a:gd name="connsiteY335" fmla="*/ 183175 h 654996"/>
                <a:gd name="connsiteX336" fmla="*/ 78029 w 291779"/>
                <a:gd name="connsiteY336" fmla="*/ 181499 h 654996"/>
                <a:gd name="connsiteX337" fmla="*/ 76924 w 291779"/>
                <a:gd name="connsiteY337" fmla="*/ 175746 h 654996"/>
                <a:gd name="connsiteX338" fmla="*/ 76591 w 291779"/>
                <a:gd name="connsiteY338" fmla="*/ 168669 h 654996"/>
                <a:gd name="connsiteX339" fmla="*/ 76971 w 291779"/>
                <a:gd name="connsiteY339" fmla="*/ 163106 h 654996"/>
                <a:gd name="connsiteX340" fmla="*/ 80477 w 291779"/>
                <a:gd name="connsiteY340" fmla="*/ 158991 h 654996"/>
                <a:gd name="connsiteX341" fmla="*/ 80639 w 291779"/>
                <a:gd name="connsiteY341" fmla="*/ 157486 h 654996"/>
                <a:gd name="connsiteX342" fmla="*/ 76238 w 291779"/>
                <a:gd name="connsiteY342" fmla="*/ 153000 h 654996"/>
                <a:gd name="connsiteX343" fmla="*/ 73066 w 291779"/>
                <a:gd name="connsiteY343" fmla="*/ 147904 h 654996"/>
                <a:gd name="connsiteX344" fmla="*/ 72076 w 291779"/>
                <a:gd name="connsiteY344" fmla="*/ 144923 h 654996"/>
                <a:gd name="connsiteX345" fmla="*/ 68447 w 291779"/>
                <a:gd name="connsiteY345" fmla="*/ 144475 h 654996"/>
                <a:gd name="connsiteX346" fmla="*/ 66180 w 291779"/>
                <a:gd name="connsiteY346" fmla="*/ 135769 h 654996"/>
                <a:gd name="connsiteX347" fmla="*/ 62903 w 291779"/>
                <a:gd name="connsiteY347" fmla="*/ 131521 h 654996"/>
                <a:gd name="connsiteX348" fmla="*/ 59665 w 291779"/>
                <a:gd name="connsiteY348" fmla="*/ 127835 h 654996"/>
                <a:gd name="connsiteX349" fmla="*/ 57750 w 291779"/>
                <a:gd name="connsiteY349" fmla="*/ 126121 h 654996"/>
                <a:gd name="connsiteX350" fmla="*/ 46511 w 291779"/>
                <a:gd name="connsiteY350" fmla="*/ 120815 h 654996"/>
                <a:gd name="connsiteX351" fmla="*/ 42053 w 291779"/>
                <a:gd name="connsiteY351" fmla="*/ 119805 h 654996"/>
                <a:gd name="connsiteX352" fmla="*/ 36767 w 291779"/>
                <a:gd name="connsiteY352" fmla="*/ 116700 h 654996"/>
                <a:gd name="connsiteX353" fmla="*/ 32833 w 291779"/>
                <a:gd name="connsiteY353" fmla="*/ 112795 h 654996"/>
                <a:gd name="connsiteX354" fmla="*/ 29461 w 291779"/>
                <a:gd name="connsiteY354" fmla="*/ 110280 h 654996"/>
                <a:gd name="connsiteX355" fmla="*/ 26575 w 291779"/>
                <a:gd name="connsiteY355" fmla="*/ 107166 h 654996"/>
                <a:gd name="connsiteX356" fmla="*/ 22546 w 291779"/>
                <a:gd name="connsiteY356" fmla="*/ 104251 h 654996"/>
                <a:gd name="connsiteX357" fmla="*/ 21393 w 291779"/>
                <a:gd name="connsiteY357" fmla="*/ 101756 h 654996"/>
                <a:gd name="connsiteX358" fmla="*/ 17040 w 291779"/>
                <a:gd name="connsiteY358" fmla="*/ 97126 h 654996"/>
                <a:gd name="connsiteX359" fmla="*/ 15002 w 291779"/>
                <a:gd name="connsiteY359" fmla="*/ 94069 h 654996"/>
                <a:gd name="connsiteX360" fmla="*/ 7925 w 291779"/>
                <a:gd name="connsiteY360" fmla="*/ 88287 h 654996"/>
                <a:gd name="connsiteX361" fmla="*/ 7668 w 291779"/>
                <a:gd name="connsiteY361" fmla="*/ 86001 h 654996"/>
                <a:gd name="connsiteX362" fmla="*/ 7620 w 291779"/>
                <a:gd name="connsiteY362" fmla="*/ 83791 h 654996"/>
                <a:gd name="connsiteX363" fmla="*/ 7296 w 291779"/>
                <a:gd name="connsiteY363" fmla="*/ 82867 h 654996"/>
                <a:gd name="connsiteX364" fmla="*/ 0 w 291779"/>
                <a:gd name="connsiteY364" fmla="*/ 78619 h 654996"/>
                <a:gd name="connsiteX365" fmla="*/ 1438 w 291779"/>
                <a:gd name="connsiteY365" fmla="*/ 76181 h 654996"/>
                <a:gd name="connsiteX366" fmla="*/ 7144 w 291779"/>
                <a:gd name="connsiteY366" fmla="*/ 76029 h 654996"/>
                <a:gd name="connsiteX367" fmla="*/ 11859 w 291779"/>
                <a:gd name="connsiteY367" fmla="*/ 78248 h 654996"/>
                <a:gd name="connsiteX368" fmla="*/ 12897 w 291779"/>
                <a:gd name="connsiteY368" fmla="*/ 77295 h 654996"/>
                <a:gd name="connsiteX369" fmla="*/ 13516 w 291779"/>
                <a:gd name="connsiteY369" fmla="*/ 75324 h 654996"/>
                <a:gd name="connsiteX370" fmla="*/ 11506 w 291779"/>
                <a:gd name="connsiteY370" fmla="*/ 67399 h 654996"/>
                <a:gd name="connsiteX371" fmla="*/ 11868 w 291779"/>
                <a:gd name="connsiteY371" fmla="*/ 65322 h 654996"/>
                <a:gd name="connsiteX372" fmla="*/ 13944 w 291779"/>
                <a:gd name="connsiteY372" fmla="*/ 62827 h 654996"/>
                <a:gd name="connsiteX373" fmla="*/ 17240 w 291779"/>
                <a:gd name="connsiteY373" fmla="*/ 60836 h 654996"/>
                <a:gd name="connsiteX374" fmla="*/ 22432 w 291779"/>
                <a:gd name="connsiteY374" fmla="*/ 60550 h 654996"/>
                <a:gd name="connsiteX375" fmla="*/ 25975 w 291779"/>
                <a:gd name="connsiteY375" fmla="*/ 60846 h 654996"/>
                <a:gd name="connsiteX376" fmla="*/ 26727 w 291779"/>
                <a:gd name="connsiteY376" fmla="*/ 61065 h 654996"/>
                <a:gd name="connsiteX377" fmla="*/ 32014 w 291779"/>
                <a:gd name="connsiteY377" fmla="*/ 69809 h 654996"/>
                <a:gd name="connsiteX378" fmla="*/ 36557 w 291779"/>
                <a:gd name="connsiteY378" fmla="*/ 78296 h 654996"/>
                <a:gd name="connsiteX379" fmla="*/ 38967 w 291779"/>
                <a:gd name="connsiteY379" fmla="*/ 81896 h 654996"/>
                <a:gd name="connsiteX380" fmla="*/ 44863 w 291779"/>
                <a:gd name="connsiteY380" fmla="*/ 92069 h 654996"/>
                <a:gd name="connsiteX381" fmla="*/ 47073 w 291779"/>
                <a:gd name="connsiteY381" fmla="*/ 97926 h 654996"/>
                <a:gd name="connsiteX382" fmla="*/ 47825 w 291779"/>
                <a:gd name="connsiteY382" fmla="*/ 102108 h 654996"/>
                <a:gd name="connsiteX383" fmla="*/ 50225 w 291779"/>
                <a:gd name="connsiteY383" fmla="*/ 102089 h 654996"/>
                <a:gd name="connsiteX384" fmla="*/ 58522 w 291779"/>
                <a:gd name="connsiteY384" fmla="*/ 103918 h 654996"/>
                <a:gd name="connsiteX385" fmla="*/ 65494 w 291779"/>
                <a:gd name="connsiteY385" fmla="*/ 105461 h 654996"/>
                <a:gd name="connsiteX386" fmla="*/ 67437 w 291779"/>
                <a:gd name="connsiteY386" fmla="*/ 107794 h 654996"/>
                <a:gd name="connsiteX387" fmla="*/ 72238 w 291779"/>
                <a:gd name="connsiteY387" fmla="*/ 107328 h 654996"/>
                <a:gd name="connsiteX388" fmla="*/ 75943 w 291779"/>
                <a:gd name="connsiteY388" fmla="*/ 105223 h 654996"/>
                <a:gd name="connsiteX389" fmla="*/ 82477 w 291779"/>
                <a:gd name="connsiteY389" fmla="*/ 102565 h 654996"/>
                <a:gd name="connsiteX390" fmla="*/ 84230 w 291779"/>
                <a:gd name="connsiteY390" fmla="*/ 99289 h 654996"/>
                <a:gd name="connsiteX391" fmla="*/ 86411 w 291779"/>
                <a:gd name="connsiteY391" fmla="*/ 95774 h 654996"/>
                <a:gd name="connsiteX392" fmla="*/ 90240 w 291779"/>
                <a:gd name="connsiteY392" fmla="*/ 96326 h 654996"/>
                <a:gd name="connsiteX393" fmla="*/ 94431 w 291779"/>
                <a:gd name="connsiteY393" fmla="*/ 99098 h 654996"/>
                <a:gd name="connsiteX394" fmla="*/ 99184 w 291779"/>
                <a:gd name="connsiteY394" fmla="*/ 102737 h 654996"/>
                <a:gd name="connsiteX395" fmla="*/ 103423 w 291779"/>
                <a:gd name="connsiteY395" fmla="*/ 104413 h 654996"/>
                <a:gd name="connsiteX396" fmla="*/ 109109 w 291779"/>
                <a:gd name="connsiteY396" fmla="*/ 107042 h 654996"/>
                <a:gd name="connsiteX397" fmla="*/ 111757 w 291779"/>
                <a:gd name="connsiteY397" fmla="*/ 110433 h 654996"/>
                <a:gd name="connsiteX398" fmla="*/ 115471 w 291779"/>
                <a:gd name="connsiteY398" fmla="*/ 111404 h 654996"/>
                <a:gd name="connsiteX399" fmla="*/ 119358 w 291779"/>
                <a:gd name="connsiteY399" fmla="*/ 108013 h 654996"/>
                <a:gd name="connsiteX400" fmla="*/ 121654 w 291779"/>
                <a:gd name="connsiteY400" fmla="*/ 98765 h 654996"/>
                <a:gd name="connsiteX401" fmla="*/ 123692 w 291779"/>
                <a:gd name="connsiteY401" fmla="*/ 94621 h 654996"/>
                <a:gd name="connsiteX402" fmla="*/ 126578 w 291779"/>
                <a:gd name="connsiteY402" fmla="*/ 91583 h 654996"/>
                <a:gd name="connsiteX403" fmla="*/ 129883 w 291779"/>
                <a:gd name="connsiteY403" fmla="*/ 90240 h 654996"/>
                <a:gd name="connsiteX404" fmla="*/ 132407 w 291779"/>
                <a:gd name="connsiteY404" fmla="*/ 89754 h 654996"/>
                <a:gd name="connsiteX405" fmla="*/ 134321 w 291779"/>
                <a:gd name="connsiteY405" fmla="*/ 87382 h 654996"/>
                <a:gd name="connsiteX406" fmla="*/ 137036 w 291779"/>
                <a:gd name="connsiteY406" fmla="*/ 82105 h 654996"/>
                <a:gd name="connsiteX407" fmla="*/ 137570 w 291779"/>
                <a:gd name="connsiteY407" fmla="*/ 75686 h 654996"/>
                <a:gd name="connsiteX408" fmla="*/ 137046 w 291779"/>
                <a:gd name="connsiteY408" fmla="*/ 64027 h 654996"/>
                <a:gd name="connsiteX409" fmla="*/ 137541 w 291779"/>
                <a:gd name="connsiteY409" fmla="*/ 60160 h 654996"/>
                <a:gd name="connsiteX410" fmla="*/ 139761 w 291779"/>
                <a:gd name="connsiteY410" fmla="*/ 53816 h 654996"/>
                <a:gd name="connsiteX411" fmla="*/ 142742 w 291779"/>
                <a:gd name="connsiteY411" fmla="*/ 36900 h 654996"/>
                <a:gd name="connsiteX412" fmla="*/ 144076 w 291779"/>
                <a:gd name="connsiteY412" fmla="*/ 31985 h 654996"/>
                <a:gd name="connsiteX413" fmla="*/ 145704 w 291779"/>
                <a:gd name="connsiteY413" fmla="*/ 28994 h 654996"/>
                <a:gd name="connsiteX414" fmla="*/ 147943 w 291779"/>
                <a:gd name="connsiteY414" fmla="*/ 27213 h 654996"/>
                <a:gd name="connsiteX415" fmla="*/ 152010 w 291779"/>
                <a:gd name="connsiteY415" fmla="*/ 22031 h 654996"/>
                <a:gd name="connsiteX416" fmla="*/ 157820 w 291779"/>
                <a:gd name="connsiteY416" fmla="*/ 11706 h 654996"/>
                <a:gd name="connsiteX417" fmla="*/ 159391 w 291779"/>
                <a:gd name="connsiteY417" fmla="*/ 10830 h 654996"/>
                <a:gd name="connsiteX418" fmla="*/ 163563 w 291779"/>
                <a:gd name="connsiteY418" fmla="*/ 10306 h 654996"/>
                <a:gd name="connsiteX419" fmla="*/ 168745 w 291779"/>
                <a:gd name="connsiteY419" fmla="*/ 10687 h 654996"/>
                <a:gd name="connsiteX420" fmla="*/ 173412 w 291779"/>
                <a:gd name="connsiteY420" fmla="*/ 12506 h 654996"/>
                <a:gd name="connsiteX421" fmla="*/ 173917 w 291779"/>
                <a:gd name="connsiteY421" fmla="*/ 12363 h 654996"/>
                <a:gd name="connsiteX422" fmla="*/ 176013 w 291779"/>
                <a:gd name="connsiteY422" fmla="*/ 11411 h 654996"/>
                <a:gd name="connsiteX423" fmla="*/ 179813 w 291779"/>
                <a:gd name="connsiteY423" fmla="*/ 8192 h 654996"/>
                <a:gd name="connsiteX424" fmla="*/ 186328 w 291779"/>
                <a:gd name="connsiteY424" fmla="*/ 1772 h 654996"/>
                <a:gd name="connsiteX425" fmla="*/ 190500 w 291779"/>
                <a:gd name="connsiteY425" fmla="*/ 0 h 654996"/>
                <a:gd name="connsiteX426" fmla="*/ 194291 w 291779"/>
                <a:gd name="connsiteY426" fmla="*/ 248 h 654996"/>
                <a:gd name="connsiteX427" fmla="*/ 198491 w 291779"/>
                <a:gd name="connsiteY427" fmla="*/ 7277 h 654996"/>
                <a:gd name="connsiteX428" fmla="*/ 204426 w 291779"/>
                <a:gd name="connsiteY428" fmla="*/ 15078 h 654996"/>
                <a:gd name="connsiteX429" fmla="*/ 208236 w 291779"/>
                <a:gd name="connsiteY429" fmla="*/ 18850 h 654996"/>
                <a:gd name="connsiteX430" fmla="*/ 218627 w 291779"/>
                <a:gd name="connsiteY430" fmla="*/ 25908 h 654996"/>
                <a:gd name="connsiteX431" fmla="*/ 227752 w 291779"/>
                <a:gd name="connsiteY431" fmla="*/ 30528 h 654996"/>
                <a:gd name="connsiteX432" fmla="*/ 232877 w 291779"/>
                <a:gd name="connsiteY432" fmla="*/ 45710 h 654996"/>
                <a:gd name="connsiteX433" fmla="*/ 230344 w 291779"/>
                <a:gd name="connsiteY433" fmla="*/ 51721 h 654996"/>
                <a:gd name="connsiteX434" fmla="*/ 229086 w 291779"/>
                <a:gd name="connsiteY434" fmla="*/ 53788 h 654996"/>
                <a:gd name="connsiteX435" fmla="*/ 224619 w 291779"/>
                <a:gd name="connsiteY435" fmla="*/ 59741 h 654996"/>
                <a:gd name="connsiteX436" fmla="*/ 219846 w 291779"/>
                <a:gd name="connsiteY436" fmla="*/ 68104 h 654996"/>
                <a:gd name="connsiteX437" fmla="*/ 219485 w 291779"/>
                <a:gd name="connsiteY437" fmla="*/ 72447 h 654996"/>
                <a:gd name="connsiteX438" fmla="*/ 221066 w 291779"/>
                <a:gd name="connsiteY438" fmla="*/ 76819 h 654996"/>
                <a:gd name="connsiteX439" fmla="*/ 223085 w 291779"/>
                <a:gd name="connsiteY439" fmla="*/ 79648 h 654996"/>
                <a:gd name="connsiteX440" fmla="*/ 113014 w 291779"/>
                <a:gd name="connsiteY440" fmla="*/ 355911 h 654996"/>
                <a:gd name="connsiteX441" fmla="*/ 109024 w 291779"/>
                <a:gd name="connsiteY441" fmla="*/ 358007 h 654996"/>
                <a:gd name="connsiteX442" fmla="*/ 105813 w 291779"/>
                <a:gd name="connsiteY442" fmla="*/ 356702 h 654996"/>
                <a:gd name="connsiteX443" fmla="*/ 105756 w 291779"/>
                <a:gd name="connsiteY443" fmla="*/ 352635 h 654996"/>
                <a:gd name="connsiteX444" fmla="*/ 107747 w 291779"/>
                <a:gd name="connsiteY444" fmla="*/ 350663 h 654996"/>
                <a:gd name="connsiteX445" fmla="*/ 111347 w 291779"/>
                <a:gd name="connsiteY445" fmla="*/ 349872 h 654996"/>
                <a:gd name="connsiteX446" fmla="*/ 116281 w 291779"/>
                <a:gd name="connsiteY446" fmla="*/ 351844 h 654996"/>
                <a:gd name="connsiteX447" fmla="*/ 117005 w 291779"/>
                <a:gd name="connsiteY447" fmla="*/ 352892 h 654996"/>
                <a:gd name="connsiteX448" fmla="*/ 114176 w 291779"/>
                <a:gd name="connsiteY448" fmla="*/ 353682 h 654996"/>
                <a:gd name="connsiteX449" fmla="*/ 113014 w 291779"/>
                <a:gd name="connsiteY449" fmla="*/ 355911 h 654996"/>
                <a:gd name="connsiteX450" fmla="*/ 15964 w 291779"/>
                <a:gd name="connsiteY450" fmla="*/ 462953 h 654996"/>
                <a:gd name="connsiteX451" fmla="*/ 16250 w 291779"/>
                <a:gd name="connsiteY451" fmla="*/ 464058 h 654996"/>
                <a:gd name="connsiteX452" fmla="*/ 17812 w 291779"/>
                <a:gd name="connsiteY452" fmla="*/ 463753 h 654996"/>
                <a:gd name="connsiteX453" fmla="*/ 19927 w 291779"/>
                <a:gd name="connsiteY453" fmla="*/ 461734 h 654996"/>
                <a:gd name="connsiteX454" fmla="*/ 21422 w 291779"/>
                <a:gd name="connsiteY454" fmla="*/ 462677 h 654996"/>
                <a:gd name="connsiteX455" fmla="*/ 21250 w 291779"/>
                <a:gd name="connsiteY455" fmla="*/ 465553 h 654996"/>
                <a:gd name="connsiteX456" fmla="*/ 20241 w 291779"/>
                <a:gd name="connsiteY456" fmla="*/ 465439 h 654996"/>
                <a:gd name="connsiteX457" fmla="*/ 19964 w 291779"/>
                <a:gd name="connsiteY457" fmla="*/ 464963 h 654996"/>
                <a:gd name="connsiteX458" fmla="*/ 18660 w 291779"/>
                <a:gd name="connsiteY458" fmla="*/ 466601 h 654996"/>
                <a:gd name="connsiteX459" fmla="*/ 18431 w 291779"/>
                <a:gd name="connsiteY459" fmla="*/ 467592 h 654996"/>
                <a:gd name="connsiteX460" fmla="*/ 16926 w 291779"/>
                <a:gd name="connsiteY460" fmla="*/ 468220 h 654996"/>
                <a:gd name="connsiteX461" fmla="*/ 14145 w 291779"/>
                <a:gd name="connsiteY461" fmla="*/ 465411 h 654996"/>
                <a:gd name="connsiteX462" fmla="*/ 12392 w 291779"/>
                <a:gd name="connsiteY462" fmla="*/ 460781 h 654996"/>
                <a:gd name="connsiteX463" fmla="*/ 16469 w 291779"/>
                <a:gd name="connsiteY463" fmla="*/ 460772 h 654996"/>
                <a:gd name="connsiteX464" fmla="*/ 16078 w 291779"/>
                <a:gd name="connsiteY464" fmla="*/ 461877 h 654996"/>
                <a:gd name="connsiteX465" fmla="*/ 15964 w 291779"/>
                <a:gd name="connsiteY465" fmla="*/ 462953 h 654996"/>
                <a:gd name="connsiteX466" fmla="*/ 22193 w 291779"/>
                <a:gd name="connsiteY466" fmla="*/ 616667 h 654996"/>
                <a:gd name="connsiteX467" fmla="*/ 21822 w 291779"/>
                <a:gd name="connsiteY467" fmla="*/ 619192 h 654996"/>
                <a:gd name="connsiteX468" fmla="*/ 20003 w 291779"/>
                <a:gd name="connsiteY468" fmla="*/ 618915 h 654996"/>
                <a:gd name="connsiteX469" fmla="*/ 18155 w 291779"/>
                <a:gd name="connsiteY469" fmla="*/ 619373 h 654996"/>
                <a:gd name="connsiteX470" fmla="*/ 16669 w 291779"/>
                <a:gd name="connsiteY470" fmla="*/ 616868 h 654996"/>
                <a:gd name="connsiteX471" fmla="*/ 15878 w 291779"/>
                <a:gd name="connsiteY471" fmla="*/ 612639 h 654996"/>
                <a:gd name="connsiteX472" fmla="*/ 16155 w 291779"/>
                <a:gd name="connsiteY472" fmla="*/ 611724 h 654996"/>
                <a:gd name="connsiteX473" fmla="*/ 17316 w 291779"/>
                <a:gd name="connsiteY473" fmla="*/ 610762 h 654996"/>
                <a:gd name="connsiteX474" fmla="*/ 18202 w 291779"/>
                <a:gd name="connsiteY474" fmla="*/ 613086 h 654996"/>
                <a:gd name="connsiteX475" fmla="*/ 22193 w 291779"/>
                <a:gd name="connsiteY475" fmla="*/ 616667 h 654996"/>
                <a:gd name="connsiteX476" fmla="*/ 36719 w 291779"/>
                <a:gd name="connsiteY476" fmla="*/ 627097 h 654996"/>
                <a:gd name="connsiteX477" fmla="*/ 34766 w 291779"/>
                <a:gd name="connsiteY477" fmla="*/ 627336 h 654996"/>
                <a:gd name="connsiteX478" fmla="*/ 32014 w 291779"/>
                <a:gd name="connsiteY478" fmla="*/ 624659 h 654996"/>
                <a:gd name="connsiteX479" fmla="*/ 31671 w 291779"/>
                <a:gd name="connsiteY479" fmla="*/ 623611 h 654996"/>
                <a:gd name="connsiteX480" fmla="*/ 32747 w 291779"/>
                <a:gd name="connsiteY480" fmla="*/ 623002 h 654996"/>
                <a:gd name="connsiteX481" fmla="*/ 32033 w 291779"/>
                <a:gd name="connsiteY481" fmla="*/ 620849 h 654996"/>
                <a:gd name="connsiteX482" fmla="*/ 32242 w 291779"/>
                <a:gd name="connsiteY482" fmla="*/ 619896 h 654996"/>
                <a:gd name="connsiteX483" fmla="*/ 34367 w 291779"/>
                <a:gd name="connsiteY483" fmla="*/ 621601 h 654996"/>
                <a:gd name="connsiteX484" fmla="*/ 35529 w 291779"/>
                <a:gd name="connsiteY484" fmla="*/ 623583 h 654996"/>
                <a:gd name="connsiteX485" fmla="*/ 34395 w 291779"/>
                <a:gd name="connsiteY485" fmla="*/ 624040 h 654996"/>
                <a:gd name="connsiteX486" fmla="*/ 36319 w 291779"/>
                <a:gd name="connsiteY486" fmla="*/ 626088 h 654996"/>
                <a:gd name="connsiteX487" fmla="*/ 36719 w 291779"/>
                <a:gd name="connsiteY487" fmla="*/ 627097 h 654996"/>
                <a:gd name="connsiteX488" fmla="*/ 41558 w 291779"/>
                <a:gd name="connsiteY488" fmla="*/ 625269 h 654996"/>
                <a:gd name="connsiteX489" fmla="*/ 44939 w 291779"/>
                <a:gd name="connsiteY489" fmla="*/ 626516 h 654996"/>
                <a:gd name="connsiteX490" fmla="*/ 46358 w 291779"/>
                <a:gd name="connsiteY490" fmla="*/ 626069 h 654996"/>
                <a:gd name="connsiteX491" fmla="*/ 47977 w 291779"/>
                <a:gd name="connsiteY491" fmla="*/ 628898 h 654996"/>
                <a:gd name="connsiteX492" fmla="*/ 45234 w 291779"/>
                <a:gd name="connsiteY492" fmla="*/ 630688 h 654996"/>
                <a:gd name="connsiteX493" fmla="*/ 45044 w 291779"/>
                <a:gd name="connsiteY493" fmla="*/ 632917 h 654996"/>
                <a:gd name="connsiteX494" fmla="*/ 46130 w 291779"/>
                <a:gd name="connsiteY494" fmla="*/ 634298 h 654996"/>
                <a:gd name="connsiteX495" fmla="*/ 46511 w 291779"/>
                <a:gd name="connsiteY495" fmla="*/ 636299 h 654996"/>
                <a:gd name="connsiteX496" fmla="*/ 43777 w 291779"/>
                <a:gd name="connsiteY496" fmla="*/ 636299 h 654996"/>
                <a:gd name="connsiteX497" fmla="*/ 42472 w 291779"/>
                <a:gd name="connsiteY497" fmla="*/ 634613 h 654996"/>
                <a:gd name="connsiteX498" fmla="*/ 41900 w 291779"/>
                <a:gd name="connsiteY498" fmla="*/ 632470 h 654996"/>
                <a:gd name="connsiteX499" fmla="*/ 40624 w 291779"/>
                <a:gd name="connsiteY499" fmla="*/ 630955 h 654996"/>
                <a:gd name="connsiteX500" fmla="*/ 38929 w 291779"/>
                <a:gd name="connsiteY500" fmla="*/ 629803 h 654996"/>
                <a:gd name="connsiteX501" fmla="*/ 39757 w 291779"/>
                <a:gd name="connsiteY501" fmla="*/ 628260 h 654996"/>
                <a:gd name="connsiteX502" fmla="*/ 40234 w 291779"/>
                <a:gd name="connsiteY502" fmla="*/ 626050 h 654996"/>
                <a:gd name="connsiteX503" fmla="*/ 41558 w 291779"/>
                <a:gd name="connsiteY503" fmla="*/ 625269 h 654996"/>
                <a:gd name="connsiteX504" fmla="*/ 32414 w 291779"/>
                <a:gd name="connsiteY504" fmla="*/ 637642 h 654996"/>
                <a:gd name="connsiteX505" fmla="*/ 29737 w 291779"/>
                <a:gd name="connsiteY505" fmla="*/ 639480 h 654996"/>
                <a:gd name="connsiteX506" fmla="*/ 28718 w 291779"/>
                <a:gd name="connsiteY506" fmla="*/ 639042 h 654996"/>
                <a:gd name="connsiteX507" fmla="*/ 28975 w 291779"/>
                <a:gd name="connsiteY507" fmla="*/ 635937 h 654996"/>
                <a:gd name="connsiteX508" fmla="*/ 30566 w 291779"/>
                <a:gd name="connsiteY508" fmla="*/ 634517 h 654996"/>
                <a:gd name="connsiteX509" fmla="*/ 33242 w 291779"/>
                <a:gd name="connsiteY509" fmla="*/ 634355 h 654996"/>
                <a:gd name="connsiteX510" fmla="*/ 32414 w 291779"/>
                <a:gd name="connsiteY510" fmla="*/ 637642 h 654996"/>
                <a:gd name="connsiteX511" fmla="*/ 26937 w 291779"/>
                <a:gd name="connsiteY511" fmla="*/ 639394 h 654996"/>
                <a:gd name="connsiteX512" fmla="*/ 24594 w 291779"/>
                <a:gd name="connsiteY512" fmla="*/ 639928 h 654996"/>
                <a:gd name="connsiteX513" fmla="*/ 23136 w 291779"/>
                <a:gd name="connsiteY513" fmla="*/ 638375 h 654996"/>
                <a:gd name="connsiteX514" fmla="*/ 23689 w 291779"/>
                <a:gd name="connsiteY514" fmla="*/ 637222 h 654996"/>
                <a:gd name="connsiteX515" fmla="*/ 25318 w 291779"/>
                <a:gd name="connsiteY515" fmla="*/ 635937 h 654996"/>
                <a:gd name="connsiteX516" fmla="*/ 27089 w 291779"/>
                <a:gd name="connsiteY516" fmla="*/ 636118 h 654996"/>
                <a:gd name="connsiteX517" fmla="*/ 27470 w 291779"/>
                <a:gd name="connsiteY517" fmla="*/ 637623 h 654996"/>
                <a:gd name="connsiteX518" fmla="*/ 26937 w 291779"/>
                <a:gd name="connsiteY518" fmla="*/ 639394 h 65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</a:cxnLst>
              <a:rect l="l" t="t" r="r" b="b"/>
              <a:pathLst>
                <a:path w="291779" h="654996">
                  <a:moveTo>
                    <a:pt x="223085" y="79648"/>
                  </a:moveTo>
                  <a:lnTo>
                    <a:pt x="221295" y="80572"/>
                  </a:lnTo>
                  <a:lnTo>
                    <a:pt x="215770" y="84191"/>
                  </a:lnTo>
                  <a:lnTo>
                    <a:pt x="212398" y="86630"/>
                  </a:lnTo>
                  <a:lnTo>
                    <a:pt x="208340" y="88420"/>
                  </a:lnTo>
                  <a:lnTo>
                    <a:pt x="209388" y="90792"/>
                  </a:lnTo>
                  <a:lnTo>
                    <a:pt x="216132" y="91288"/>
                  </a:lnTo>
                  <a:lnTo>
                    <a:pt x="217170" y="91964"/>
                  </a:lnTo>
                  <a:lnTo>
                    <a:pt x="217923" y="93174"/>
                  </a:lnTo>
                  <a:lnTo>
                    <a:pt x="218047" y="95117"/>
                  </a:lnTo>
                  <a:lnTo>
                    <a:pt x="217370" y="98250"/>
                  </a:lnTo>
                  <a:lnTo>
                    <a:pt x="210074" y="115405"/>
                  </a:lnTo>
                  <a:lnTo>
                    <a:pt x="209845" y="118996"/>
                  </a:lnTo>
                  <a:lnTo>
                    <a:pt x="212227" y="128940"/>
                  </a:lnTo>
                  <a:lnTo>
                    <a:pt x="215570" y="140599"/>
                  </a:lnTo>
                  <a:lnTo>
                    <a:pt x="225676" y="145752"/>
                  </a:lnTo>
                  <a:lnTo>
                    <a:pt x="233182" y="149762"/>
                  </a:lnTo>
                  <a:lnTo>
                    <a:pt x="238001" y="159229"/>
                  </a:lnTo>
                  <a:lnTo>
                    <a:pt x="245955" y="171621"/>
                  </a:lnTo>
                  <a:lnTo>
                    <a:pt x="250165" y="176232"/>
                  </a:lnTo>
                  <a:lnTo>
                    <a:pt x="250403" y="177660"/>
                  </a:lnTo>
                  <a:lnTo>
                    <a:pt x="249155" y="186128"/>
                  </a:lnTo>
                  <a:lnTo>
                    <a:pt x="244059" y="194567"/>
                  </a:lnTo>
                  <a:lnTo>
                    <a:pt x="239296" y="201654"/>
                  </a:lnTo>
                  <a:lnTo>
                    <a:pt x="234363" y="210150"/>
                  </a:lnTo>
                  <a:lnTo>
                    <a:pt x="230505" y="217360"/>
                  </a:lnTo>
                  <a:lnTo>
                    <a:pt x="226323" y="225962"/>
                  </a:lnTo>
                  <a:lnTo>
                    <a:pt x="225838" y="228743"/>
                  </a:lnTo>
                  <a:lnTo>
                    <a:pt x="225762" y="231362"/>
                  </a:lnTo>
                  <a:lnTo>
                    <a:pt x="226486" y="234248"/>
                  </a:lnTo>
                  <a:lnTo>
                    <a:pt x="231839" y="244659"/>
                  </a:lnTo>
                  <a:lnTo>
                    <a:pt x="233925" y="249946"/>
                  </a:lnTo>
                  <a:lnTo>
                    <a:pt x="236411" y="255641"/>
                  </a:lnTo>
                  <a:lnTo>
                    <a:pt x="238554" y="261833"/>
                  </a:lnTo>
                  <a:lnTo>
                    <a:pt x="239792" y="267367"/>
                  </a:lnTo>
                  <a:lnTo>
                    <a:pt x="241935" y="272729"/>
                  </a:lnTo>
                  <a:lnTo>
                    <a:pt x="243269" y="275463"/>
                  </a:lnTo>
                  <a:lnTo>
                    <a:pt x="245479" y="279292"/>
                  </a:lnTo>
                  <a:lnTo>
                    <a:pt x="248145" y="284969"/>
                  </a:lnTo>
                  <a:lnTo>
                    <a:pt x="249031" y="289455"/>
                  </a:lnTo>
                  <a:lnTo>
                    <a:pt x="253060" y="304924"/>
                  </a:lnTo>
                  <a:lnTo>
                    <a:pt x="253470" y="308839"/>
                  </a:lnTo>
                  <a:lnTo>
                    <a:pt x="253270" y="311734"/>
                  </a:lnTo>
                  <a:lnTo>
                    <a:pt x="251498" y="312439"/>
                  </a:lnTo>
                  <a:lnTo>
                    <a:pt x="247584" y="312896"/>
                  </a:lnTo>
                  <a:lnTo>
                    <a:pt x="243335" y="314792"/>
                  </a:lnTo>
                  <a:lnTo>
                    <a:pt x="243126" y="315430"/>
                  </a:lnTo>
                  <a:lnTo>
                    <a:pt x="245898" y="319030"/>
                  </a:lnTo>
                  <a:lnTo>
                    <a:pt x="243450" y="325174"/>
                  </a:lnTo>
                  <a:lnTo>
                    <a:pt x="243097" y="333927"/>
                  </a:lnTo>
                  <a:lnTo>
                    <a:pt x="240487" y="338499"/>
                  </a:lnTo>
                  <a:lnTo>
                    <a:pt x="240240" y="339557"/>
                  </a:lnTo>
                  <a:lnTo>
                    <a:pt x="240354" y="340442"/>
                  </a:lnTo>
                  <a:lnTo>
                    <a:pt x="240821" y="341138"/>
                  </a:lnTo>
                  <a:lnTo>
                    <a:pt x="245650" y="342357"/>
                  </a:lnTo>
                  <a:lnTo>
                    <a:pt x="246069" y="343595"/>
                  </a:lnTo>
                  <a:lnTo>
                    <a:pt x="246088" y="346158"/>
                  </a:lnTo>
                  <a:lnTo>
                    <a:pt x="245659" y="348520"/>
                  </a:lnTo>
                  <a:lnTo>
                    <a:pt x="243231" y="350272"/>
                  </a:lnTo>
                  <a:lnTo>
                    <a:pt x="240630" y="352854"/>
                  </a:lnTo>
                  <a:lnTo>
                    <a:pt x="240049" y="355235"/>
                  </a:lnTo>
                  <a:lnTo>
                    <a:pt x="240135" y="357349"/>
                  </a:lnTo>
                  <a:lnTo>
                    <a:pt x="241021" y="360921"/>
                  </a:lnTo>
                  <a:lnTo>
                    <a:pt x="242745" y="365074"/>
                  </a:lnTo>
                  <a:lnTo>
                    <a:pt x="244926" y="367675"/>
                  </a:lnTo>
                  <a:lnTo>
                    <a:pt x="252670" y="370142"/>
                  </a:lnTo>
                  <a:lnTo>
                    <a:pt x="253670" y="372170"/>
                  </a:lnTo>
                  <a:lnTo>
                    <a:pt x="254089" y="374952"/>
                  </a:lnTo>
                  <a:lnTo>
                    <a:pt x="253927" y="377666"/>
                  </a:lnTo>
                  <a:lnTo>
                    <a:pt x="250327" y="383076"/>
                  </a:lnTo>
                  <a:lnTo>
                    <a:pt x="250355" y="385153"/>
                  </a:lnTo>
                  <a:lnTo>
                    <a:pt x="251832" y="390163"/>
                  </a:lnTo>
                  <a:lnTo>
                    <a:pt x="253603" y="394935"/>
                  </a:lnTo>
                  <a:lnTo>
                    <a:pt x="261157" y="400098"/>
                  </a:lnTo>
                  <a:lnTo>
                    <a:pt x="263757" y="402917"/>
                  </a:lnTo>
                  <a:lnTo>
                    <a:pt x="264443" y="405155"/>
                  </a:lnTo>
                  <a:lnTo>
                    <a:pt x="264824" y="408765"/>
                  </a:lnTo>
                  <a:lnTo>
                    <a:pt x="264776" y="412671"/>
                  </a:lnTo>
                  <a:lnTo>
                    <a:pt x="264186" y="416128"/>
                  </a:lnTo>
                  <a:lnTo>
                    <a:pt x="261814" y="420576"/>
                  </a:lnTo>
                  <a:lnTo>
                    <a:pt x="256337" y="429320"/>
                  </a:lnTo>
                  <a:lnTo>
                    <a:pt x="250822" y="432702"/>
                  </a:lnTo>
                  <a:lnTo>
                    <a:pt x="250489" y="433435"/>
                  </a:lnTo>
                  <a:lnTo>
                    <a:pt x="252193" y="436216"/>
                  </a:lnTo>
                  <a:lnTo>
                    <a:pt x="261900" y="447323"/>
                  </a:lnTo>
                  <a:lnTo>
                    <a:pt x="268234" y="452495"/>
                  </a:lnTo>
                  <a:lnTo>
                    <a:pt x="276768" y="459448"/>
                  </a:lnTo>
                  <a:lnTo>
                    <a:pt x="282273" y="464925"/>
                  </a:lnTo>
                  <a:lnTo>
                    <a:pt x="284055" y="468849"/>
                  </a:lnTo>
                  <a:lnTo>
                    <a:pt x="286436" y="473212"/>
                  </a:lnTo>
                  <a:lnTo>
                    <a:pt x="289113" y="476764"/>
                  </a:lnTo>
                  <a:lnTo>
                    <a:pt x="291046" y="479841"/>
                  </a:lnTo>
                  <a:lnTo>
                    <a:pt x="291779" y="481822"/>
                  </a:lnTo>
                  <a:lnTo>
                    <a:pt x="291713" y="483946"/>
                  </a:lnTo>
                  <a:lnTo>
                    <a:pt x="289132" y="490337"/>
                  </a:lnTo>
                  <a:lnTo>
                    <a:pt x="287664" y="495262"/>
                  </a:lnTo>
                  <a:lnTo>
                    <a:pt x="285083" y="502453"/>
                  </a:lnTo>
                  <a:lnTo>
                    <a:pt x="282436" y="507444"/>
                  </a:lnTo>
                  <a:lnTo>
                    <a:pt x="275730" y="516531"/>
                  </a:lnTo>
                  <a:lnTo>
                    <a:pt x="265833" y="527771"/>
                  </a:lnTo>
                  <a:lnTo>
                    <a:pt x="263538" y="531152"/>
                  </a:lnTo>
                  <a:lnTo>
                    <a:pt x="258909" y="537029"/>
                  </a:lnTo>
                  <a:lnTo>
                    <a:pt x="250974" y="548773"/>
                  </a:lnTo>
                  <a:lnTo>
                    <a:pt x="248927" y="551355"/>
                  </a:lnTo>
                  <a:lnTo>
                    <a:pt x="242431" y="560651"/>
                  </a:lnTo>
                  <a:lnTo>
                    <a:pt x="239468" y="563604"/>
                  </a:lnTo>
                  <a:lnTo>
                    <a:pt x="237134" y="566356"/>
                  </a:lnTo>
                  <a:lnTo>
                    <a:pt x="230705" y="575072"/>
                  </a:lnTo>
                  <a:lnTo>
                    <a:pt x="223790" y="581654"/>
                  </a:lnTo>
                  <a:lnTo>
                    <a:pt x="217008" y="587750"/>
                  </a:lnTo>
                  <a:lnTo>
                    <a:pt x="214970" y="590826"/>
                  </a:lnTo>
                  <a:lnTo>
                    <a:pt x="212436" y="593179"/>
                  </a:lnTo>
                  <a:lnTo>
                    <a:pt x="209417" y="595408"/>
                  </a:lnTo>
                  <a:lnTo>
                    <a:pt x="208150" y="596655"/>
                  </a:lnTo>
                  <a:lnTo>
                    <a:pt x="201320" y="604933"/>
                  </a:lnTo>
                  <a:lnTo>
                    <a:pt x="191843" y="616344"/>
                  </a:lnTo>
                  <a:lnTo>
                    <a:pt x="190881" y="616525"/>
                  </a:lnTo>
                  <a:lnTo>
                    <a:pt x="188414" y="618363"/>
                  </a:lnTo>
                  <a:lnTo>
                    <a:pt x="184557" y="618811"/>
                  </a:lnTo>
                  <a:lnTo>
                    <a:pt x="182880" y="620211"/>
                  </a:lnTo>
                  <a:lnTo>
                    <a:pt x="176984" y="616210"/>
                  </a:lnTo>
                  <a:lnTo>
                    <a:pt x="176003" y="615953"/>
                  </a:lnTo>
                  <a:lnTo>
                    <a:pt x="172536" y="616944"/>
                  </a:lnTo>
                  <a:lnTo>
                    <a:pt x="169212" y="619849"/>
                  </a:lnTo>
                  <a:lnTo>
                    <a:pt x="163068" y="620735"/>
                  </a:lnTo>
                  <a:lnTo>
                    <a:pt x="160020" y="621678"/>
                  </a:lnTo>
                  <a:lnTo>
                    <a:pt x="158077" y="623021"/>
                  </a:lnTo>
                  <a:lnTo>
                    <a:pt x="157677" y="619849"/>
                  </a:lnTo>
                  <a:lnTo>
                    <a:pt x="158515" y="615820"/>
                  </a:lnTo>
                  <a:lnTo>
                    <a:pt x="159868" y="613124"/>
                  </a:lnTo>
                  <a:lnTo>
                    <a:pt x="159991" y="611372"/>
                  </a:lnTo>
                  <a:lnTo>
                    <a:pt x="159001" y="611553"/>
                  </a:lnTo>
                  <a:lnTo>
                    <a:pt x="157029" y="615505"/>
                  </a:lnTo>
                  <a:lnTo>
                    <a:pt x="155982" y="620116"/>
                  </a:lnTo>
                  <a:lnTo>
                    <a:pt x="153877" y="622430"/>
                  </a:lnTo>
                  <a:lnTo>
                    <a:pt x="149247" y="623373"/>
                  </a:lnTo>
                  <a:lnTo>
                    <a:pt x="144742" y="619677"/>
                  </a:lnTo>
                  <a:lnTo>
                    <a:pt x="142599" y="619706"/>
                  </a:lnTo>
                  <a:lnTo>
                    <a:pt x="143942" y="622354"/>
                  </a:lnTo>
                  <a:lnTo>
                    <a:pt x="144847" y="625259"/>
                  </a:lnTo>
                  <a:lnTo>
                    <a:pt x="144732" y="626878"/>
                  </a:lnTo>
                  <a:lnTo>
                    <a:pt x="142332" y="626593"/>
                  </a:lnTo>
                  <a:lnTo>
                    <a:pt x="139655" y="628326"/>
                  </a:lnTo>
                  <a:lnTo>
                    <a:pt x="137313" y="630860"/>
                  </a:lnTo>
                  <a:lnTo>
                    <a:pt x="136170" y="630869"/>
                  </a:lnTo>
                  <a:lnTo>
                    <a:pt x="134588" y="627326"/>
                  </a:lnTo>
                  <a:lnTo>
                    <a:pt x="131693" y="628983"/>
                  </a:lnTo>
                  <a:lnTo>
                    <a:pt x="129217" y="631203"/>
                  </a:lnTo>
                  <a:lnTo>
                    <a:pt x="124196" y="631888"/>
                  </a:lnTo>
                  <a:lnTo>
                    <a:pt x="121206" y="634803"/>
                  </a:lnTo>
                  <a:lnTo>
                    <a:pt x="115910" y="636775"/>
                  </a:lnTo>
                  <a:lnTo>
                    <a:pt x="113005" y="636727"/>
                  </a:lnTo>
                  <a:lnTo>
                    <a:pt x="106366" y="639089"/>
                  </a:lnTo>
                  <a:lnTo>
                    <a:pt x="104156" y="642728"/>
                  </a:lnTo>
                  <a:lnTo>
                    <a:pt x="102222" y="644061"/>
                  </a:lnTo>
                  <a:lnTo>
                    <a:pt x="99470" y="642938"/>
                  </a:lnTo>
                  <a:lnTo>
                    <a:pt x="90983" y="644709"/>
                  </a:lnTo>
                  <a:lnTo>
                    <a:pt x="82868" y="647033"/>
                  </a:lnTo>
                  <a:lnTo>
                    <a:pt x="79420" y="646900"/>
                  </a:lnTo>
                  <a:lnTo>
                    <a:pt x="75972" y="645938"/>
                  </a:lnTo>
                  <a:lnTo>
                    <a:pt x="72314" y="649157"/>
                  </a:lnTo>
                  <a:lnTo>
                    <a:pt x="68428" y="653463"/>
                  </a:lnTo>
                  <a:lnTo>
                    <a:pt x="64151" y="654996"/>
                  </a:lnTo>
                  <a:lnTo>
                    <a:pt x="62618" y="654444"/>
                  </a:lnTo>
                  <a:lnTo>
                    <a:pt x="63846" y="652186"/>
                  </a:lnTo>
                  <a:lnTo>
                    <a:pt x="66675" y="649853"/>
                  </a:lnTo>
                  <a:lnTo>
                    <a:pt x="68618" y="646681"/>
                  </a:lnTo>
                  <a:lnTo>
                    <a:pt x="68885" y="644033"/>
                  </a:lnTo>
                  <a:lnTo>
                    <a:pt x="67552" y="642995"/>
                  </a:lnTo>
                  <a:lnTo>
                    <a:pt x="65723" y="642671"/>
                  </a:lnTo>
                  <a:lnTo>
                    <a:pt x="63427" y="639928"/>
                  </a:lnTo>
                  <a:lnTo>
                    <a:pt x="61227" y="633965"/>
                  </a:lnTo>
                  <a:lnTo>
                    <a:pt x="60036" y="633632"/>
                  </a:lnTo>
                  <a:lnTo>
                    <a:pt x="59436" y="635203"/>
                  </a:lnTo>
                  <a:lnTo>
                    <a:pt x="58760" y="639766"/>
                  </a:lnTo>
                  <a:lnTo>
                    <a:pt x="58074" y="641080"/>
                  </a:lnTo>
                  <a:lnTo>
                    <a:pt x="56912" y="642128"/>
                  </a:lnTo>
                  <a:lnTo>
                    <a:pt x="55512" y="643176"/>
                  </a:lnTo>
                  <a:lnTo>
                    <a:pt x="54140" y="643690"/>
                  </a:lnTo>
                  <a:lnTo>
                    <a:pt x="49235" y="643623"/>
                  </a:lnTo>
                  <a:lnTo>
                    <a:pt x="48587" y="641318"/>
                  </a:lnTo>
                  <a:lnTo>
                    <a:pt x="48587" y="640356"/>
                  </a:lnTo>
                  <a:lnTo>
                    <a:pt x="49463" y="637318"/>
                  </a:lnTo>
                  <a:lnTo>
                    <a:pt x="48702" y="636784"/>
                  </a:lnTo>
                  <a:lnTo>
                    <a:pt x="49425" y="634403"/>
                  </a:lnTo>
                  <a:lnTo>
                    <a:pt x="50578" y="634536"/>
                  </a:lnTo>
                  <a:lnTo>
                    <a:pt x="51950" y="634175"/>
                  </a:lnTo>
                  <a:lnTo>
                    <a:pt x="52635" y="632955"/>
                  </a:lnTo>
                  <a:lnTo>
                    <a:pt x="52587" y="631488"/>
                  </a:lnTo>
                  <a:lnTo>
                    <a:pt x="50683" y="631107"/>
                  </a:lnTo>
                  <a:lnTo>
                    <a:pt x="50568" y="630107"/>
                  </a:lnTo>
                  <a:lnTo>
                    <a:pt x="52264" y="625916"/>
                  </a:lnTo>
                  <a:lnTo>
                    <a:pt x="52502" y="624754"/>
                  </a:lnTo>
                  <a:lnTo>
                    <a:pt x="51845" y="624516"/>
                  </a:lnTo>
                  <a:lnTo>
                    <a:pt x="50788" y="624973"/>
                  </a:lnTo>
                  <a:lnTo>
                    <a:pt x="43768" y="623659"/>
                  </a:lnTo>
                  <a:lnTo>
                    <a:pt x="35109" y="618287"/>
                  </a:lnTo>
                  <a:lnTo>
                    <a:pt x="32976" y="618011"/>
                  </a:lnTo>
                  <a:lnTo>
                    <a:pt x="31671" y="613200"/>
                  </a:lnTo>
                  <a:lnTo>
                    <a:pt x="29585" y="613810"/>
                  </a:lnTo>
                  <a:lnTo>
                    <a:pt x="26537" y="616629"/>
                  </a:lnTo>
                  <a:lnTo>
                    <a:pt x="24251" y="614486"/>
                  </a:lnTo>
                  <a:lnTo>
                    <a:pt x="21793" y="613077"/>
                  </a:lnTo>
                  <a:lnTo>
                    <a:pt x="21117" y="610876"/>
                  </a:lnTo>
                  <a:lnTo>
                    <a:pt x="21155" y="607619"/>
                  </a:lnTo>
                  <a:lnTo>
                    <a:pt x="20946" y="603761"/>
                  </a:lnTo>
                  <a:lnTo>
                    <a:pt x="20279" y="599237"/>
                  </a:lnTo>
                  <a:lnTo>
                    <a:pt x="19793" y="592788"/>
                  </a:lnTo>
                  <a:lnTo>
                    <a:pt x="20251" y="587731"/>
                  </a:lnTo>
                  <a:lnTo>
                    <a:pt x="22213" y="583978"/>
                  </a:lnTo>
                  <a:lnTo>
                    <a:pt x="22965" y="581577"/>
                  </a:lnTo>
                  <a:lnTo>
                    <a:pt x="23879" y="575434"/>
                  </a:lnTo>
                  <a:lnTo>
                    <a:pt x="24089" y="568223"/>
                  </a:lnTo>
                  <a:lnTo>
                    <a:pt x="23565" y="565766"/>
                  </a:lnTo>
                  <a:lnTo>
                    <a:pt x="23699" y="564128"/>
                  </a:lnTo>
                  <a:lnTo>
                    <a:pt x="25261" y="564128"/>
                  </a:lnTo>
                  <a:lnTo>
                    <a:pt x="24918" y="562718"/>
                  </a:lnTo>
                  <a:lnTo>
                    <a:pt x="24232" y="561946"/>
                  </a:lnTo>
                  <a:lnTo>
                    <a:pt x="23469" y="560346"/>
                  </a:lnTo>
                  <a:lnTo>
                    <a:pt x="24118" y="559498"/>
                  </a:lnTo>
                  <a:lnTo>
                    <a:pt x="25984" y="559441"/>
                  </a:lnTo>
                  <a:lnTo>
                    <a:pt x="26137" y="558898"/>
                  </a:lnTo>
                  <a:lnTo>
                    <a:pt x="26346" y="558136"/>
                  </a:lnTo>
                  <a:lnTo>
                    <a:pt x="24898" y="553907"/>
                  </a:lnTo>
                  <a:lnTo>
                    <a:pt x="24727" y="551888"/>
                  </a:lnTo>
                  <a:lnTo>
                    <a:pt x="22727" y="545744"/>
                  </a:lnTo>
                  <a:lnTo>
                    <a:pt x="20431" y="539896"/>
                  </a:lnTo>
                  <a:lnTo>
                    <a:pt x="16993" y="535657"/>
                  </a:lnTo>
                  <a:lnTo>
                    <a:pt x="18212" y="528657"/>
                  </a:lnTo>
                  <a:lnTo>
                    <a:pt x="19603" y="522303"/>
                  </a:lnTo>
                  <a:lnTo>
                    <a:pt x="19326" y="519236"/>
                  </a:lnTo>
                  <a:lnTo>
                    <a:pt x="18793" y="515493"/>
                  </a:lnTo>
                  <a:lnTo>
                    <a:pt x="14574" y="511378"/>
                  </a:lnTo>
                  <a:lnTo>
                    <a:pt x="13954" y="505568"/>
                  </a:lnTo>
                  <a:lnTo>
                    <a:pt x="12925" y="499300"/>
                  </a:lnTo>
                  <a:lnTo>
                    <a:pt x="13316" y="495452"/>
                  </a:lnTo>
                  <a:lnTo>
                    <a:pt x="14002" y="492490"/>
                  </a:lnTo>
                  <a:lnTo>
                    <a:pt x="15393" y="489537"/>
                  </a:lnTo>
                  <a:lnTo>
                    <a:pt x="22393" y="480203"/>
                  </a:lnTo>
                  <a:lnTo>
                    <a:pt x="22822" y="475307"/>
                  </a:lnTo>
                  <a:lnTo>
                    <a:pt x="27566" y="474945"/>
                  </a:lnTo>
                  <a:lnTo>
                    <a:pt x="25365" y="470564"/>
                  </a:lnTo>
                  <a:lnTo>
                    <a:pt x="24851" y="468097"/>
                  </a:lnTo>
                  <a:lnTo>
                    <a:pt x="24737" y="465211"/>
                  </a:lnTo>
                  <a:lnTo>
                    <a:pt x="31556" y="463229"/>
                  </a:lnTo>
                  <a:lnTo>
                    <a:pt x="34109" y="464858"/>
                  </a:lnTo>
                  <a:lnTo>
                    <a:pt x="40110" y="462848"/>
                  </a:lnTo>
                  <a:lnTo>
                    <a:pt x="45444" y="458914"/>
                  </a:lnTo>
                  <a:lnTo>
                    <a:pt x="45348" y="456819"/>
                  </a:lnTo>
                  <a:lnTo>
                    <a:pt x="44529" y="454943"/>
                  </a:lnTo>
                  <a:lnTo>
                    <a:pt x="43396" y="451323"/>
                  </a:lnTo>
                  <a:lnTo>
                    <a:pt x="44196" y="450313"/>
                  </a:lnTo>
                  <a:lnTo>
                    <a:pt x="46139" y="451056"/>
                  </a:lnTo>
                  <a:lnTo>
                    <a:pt x="45244" y="449256"/>
                  </a:lnTo>
                  <a:lnTo>
                    <a:pt x="45406" y="447351"/>
                  </a:lnTo>
                  <a:lnTo>
                    <a:pt x="47530" y="448142"/>
                  </a:lnTo>
                  <a:lnTo>
                    <a:pt x="50988" y="442817"/>
                  </a:lnTo>
                  <a:lnTo>
                    <a:pt x="51111" y="438741"/>
                  </a:lnTo>
                  <a:lnTo>
                    <a:pt x="57093" y="436607"/>
                  </a:lnTo>
                  <a:lnTo>
                    <a:pt x="63998" y="428244"/>
                  </a:lnTo>
                  <a:lnTo>
                    <a:pt x="67180" y="425634"/>
                  </a:lnTo>
                  <a:lnTo>
                    <a:pt x="70257" y="423739"/>
                  </a:lnTo>
                  <a:lnTo>
                    <a:pt x="76810" y="415328"/>
                  </a:lnTo>
                  <a:lnTo>
                    <a:pt x="79610" y="414938"/>
                  </a:lnTo>
                  <a:lnTo>
                    <a:pt x="81049" y="409242"/>
                  </a:lnTo>
                  <a:lnTo>
                    <a:pt x="86620" y="401631"/>
                  </a:lnTo>
                  <a:lnTo>
                    <a:pt x="88316" y="400660"/>
                  </a:lnTo>
                  <a:lnTo>
                    <a:pt x="90917" y="393763"/>
                  </a:lnTo>
                  <a:lnTo>
                    <a:pt x="97765" y="385763"/>
                  </a:lnTo>
                  <a:lnTo>
                    <a:pt x="102108" y="375504"/>
                  </a:lnTo>
                  <a:lnTo>
                    <a:pt x="104499" y="371847"/>
                  </a:lnTo>
                  <a:lnTo>
                    <a:pt x="105242" y="367941"/>
                  </a:lnTo>
                  <a:lnTo>
                    <a:pt x="107909" y="367608"/>
                  </a:lnTo>
                  <a:lnTo>
                    <a:pt x="110309" y="364731"/>
                  </a:lnTo>
                  <a:lnTo>
                    <a:pt x="115510" y="362731"/>
                  </a:lnTo>
                  <a:lnTo>
                    <a:pt x="120653" y="363284"/>
                  </a:lnTo>
                  <a:lnTo>
                    <a:pt x="122797" y="364655"/>
                  </a:lnTo>
                  <a:lnTo>
                    <a:pt x="124768" y="364226"/>
                  </a:lnTo>
                  <a:lnTo>
                    <a:pt x="124568" y="360702"/>
                  </a:lnTo>
                  <a:lnTo>
                    <a:pt x="123158" y="358521"/>
                  </a:lnTo>
                  <a:lnTo>
                    <a:pt x="124311" y="356416"/>
                  </a:lnTo>
                  <a:lnTo>
                    <a:pt x="127025" y="354825"/>
                  </a:lnTo>
                  <a:lnTo>
                    <a:pt x="126749" y="351301"/>
                  </a:lnTo>
                  <a:lnTo>
                    <a:pt x="126159" y="349177"/>
                  </a:lnTo>
                  <a:lnTo>
                    <a:pt x="123901" y="346348"/>
                  </a:lnTo>
                  <a:lnTo>
                    <a:pt x="125026" y="339985"/>
                  </a:lnTo>
                  <a:lnTo>
                    <a:pt x="125292" y="332984"/>
                  </a:lnTo>
                  <a:lnTo>
                    <a:pt x="126359" y="324860"/>
                  </a:lnTo>
                  <a:lnTo>
                    <a:pt x="123530" y="320545"/>
                  </a:lnTo>
                  <a:lnTo>
                    <a:pt x="112766" y="313172"/>
                  </a:lnTo>
                  <a:lnTo>
                    <a:pt x="110766" y="313430"/>
                  </a:lnTo>
                  <a:lnTo>
                    <a:pt x="108375" y="312496"/>
                  </a:lnTo>
                  <a:lnTo>
                    <a:pt x="105880" y="306886"/>
                  </a:lnTo>
                  <a:lnTo>
                    <a:pt x="106995" y="302028"/>
                  </a:lnTo>
                  <a:lnTo>
                    <a:pt x="107128" y="300238"/>
                  </a:lnTo>
                  <a:lnTo>
                    <a:pt x="106156" y="300295"/>
                  </a:lnTo>
                  <a:lnTo>
                    <a:pt x="104575" y="302666"/>
                  </a:lnTo>
                  <a:lnTo>
                    <a:pt x="101146" y="305371"/>
                  </a:lnTo>
                  <a:lnTo>
                    <a:pt x="96688" y="303295"/>
                  </a:lnTo>
                  <a:lnTo>
                    <a:pt x="94498" y="303752"/>
                  </a:lnTo>
                  <a:lnTo>
                    <a:pt x="91650" y="291684"/>
                  </a:lnTo>
                  <a:lnTo>
                    <a:pt x="90192" y="287045"/>
                  </a:lnTo>
                  <a:lnTo>
                    <a:pt x="87859" y="281254"/>
                  </a:lnTo>
                  <a:lnTo>
                    <a:pt x="83696" y="278425"/>
                  </a:lnTo>
                  <a:lnTo>
                    <a:pt x="82877" y="276816"/>
                  </a:lnTo>
                  <a:lnTo>
                    <a:pt x="82325" y="274349"/>
                  </a:lnTo>
                  <a:lnTo>
                    <a:pt x="82144" y="270920"/>
                  </a:lnTo>
                  <a:lnTo>
                    <a:pt x="81610" y="265833"/>
                  </a:lnTo>
                  <a:lnTo>
                    <a:pt x="81829" y="261652"/>
                  </a:lnTo>
                  <a:lnTo>
                    <a:pt x="82344" y="259156"/>
                  </a:lnTo>
                  <a:lnTo>
                    <a:pt x="84144" y="257480"/>
                  </a:lnTo>
                  <a:lnTo>
                    <a:pt x="86735" y="252727"/>
                  </a:lnTo>
                  <a:lnTo>
                    <a:pt x="87278" y="249269"/>
                  </a:lnTo>
                  <a:lnTo>
                    <a:pt x="87497" y="243954"/>
                  </a:lnTo>
                  <a:lnTo>
                    <a:pt x="88688" y="239297"/>
                  </a:lnTo>
                  <a:lnTo>
                    <a:pt x="90011" y="236934"/>
                  </a:lnTo>
                  <a:lnTo>
                    <a:pt x="89678" y="235048"/>
                  </a:lnTo>
                  <a:lnTo>
                    <a:pt x="88764" y="232362"/>
                  </a:lnTo>
                  <a:lnTo>
                    <a:pt x="86820" y="228533"/>
                  </a:lnTo>
                  <a:lnTo>
                    <a:pt x="83868" y="223857"/>
                  </a:lnTo>
                  <a:lnTo>
                    <a:pt x="81686" y="219370"/>
                  </a:lnTo>
                  <a:lnTo>
                    <a:pt x="80725" y="215170"/>
                  </a:lnTo>
                  <a:lnTo>
                    <a:pt x="80229" y="211398"/>
                  </a:lnTo>
                  <a:lnTo>
                    <a:pt x="80306" y="207969"/>
                  </a:lnTo>
                  <a:lnTo>
                    <a:pt x="81125" y="205626"/>
                  </a:lnTo>
                  <a:lnTo>
                    <a:pt x="83906" y="202673"/>
                  </a:lnTo>
                  <a:lnTo>
                    <a:pt x="84277" y="201416"/>
                  </a:lnTo>
                  <a:lnTo>
                    <a:pt x="83172" y="194872"/>
                  </a:lnTo>
                  <a:lnTo>
                    <a:pt x="81229" y="193681"/>
                  </a:lnTo>
                  <a:lnTo>
                    <a:pt x="77924" y="193043"/>
                  </a:lnTo>
                  <a:lnTo>
                    <a:pt x="76076" y="192986"/>
                  </a:lnTo>
                  <a:lnTo>
                    <a:pt x="75724" y="192262"/>
                  </a:lnTo>
                  <a:lnTo>
                    <a:pt x="75629" y="190948"/>
                  </a:lnTo>
                  <a:lnTo>
                    <a:pt x="76010" y="188252"/>
                  </a:lnTo>
                  <a:lnTo>
                    <a:pt x="77048" y="185156"/>
                  </a:lnTo>
                  <a:lnTo>
                    <a:pt x="77914" y="183175"/>
                  </a:lnTo>
                  <a:lnTo>
                    <a:pt x="78029" y="181499"/>
                  </a:lnTo>
                  <a:lnTo>
                    <a:pt x="76924" y="175746"/>
                  </a:lnTo>
                  <a:lnTo>
                    <a:pt x="76591" y="168669"/>
                  </a:lnTo>
                  <a:lnTo>
                    <a:pt x="76971" y="163106"/>
                  </a:lnTo>
                  <a:lnTo>
                    <a:pt x="80477" y="158991"/>
                  </a:lnTo>
                  <a:lnTo>
                    <a:pt x="80639" y="157486"/>
                  </a:lnTo>
                  <a:lnTo>
                    <a:pt x="76238" y="153000"/>
                  </a:lnTo>
                  <a:lnTo>
                    <a:pt x="73066" y="147904"/>
                  </a:lnTo>
                  <a:lnTo>
                    <a:pt x="72076" y="144923"/>
                  </a:lnTo>
                  <a:lnTo>
                    <a:pt x="68447" y="144475"/>
                  </a:lnTo>
                  <a:lnTo>
                    <a:pt x="66180" y="135769"/>
                  </a:lnTo>
                  <a:lnTo>
                    <a:pt x="62903" y="131521"/>
                  </a:lnTo>
                  <a:lnTo>
                    <a:pt x="59665" y="127835"/>
                  </a:lnTo>
                  <a:lnTo>
                    <a:pt x="57750" y="126121"/>
                  </a:lnTo>
                  <a:lnTo>
                    <a:pt x="46511" y="120815"/>
                  </a:lnTo>
                  <a:lnTo>
                    <a:pt x="42053" y="119805"/>
                  </a:lnTo>
                  <a:lnTo>
                    <a:pt x="36767" y="116700"/>
                  </a:lnTo>
                  <a:lnTo>
                    <a:pt x="32833" y="112795"/>
                  </a:lnTo>
                  <a:lnTo>
                    <a:pt x="29461" y="110280"/>
                  </a:lnTo>
                  <a:lnTo>
                    <a:pt x="26575" y="107166"/>
                  </a:lnTo>
                  <a:lnTo>
                    <a:pt x="22546" y="104251"/>
                  </a:lnTo>
                  <a:lnTo>
                    <a:pt x="21393" y="101756"/>
                  </a:lnTo>
                  <a:lnTo>
                    <a:pt x="17040" y="97126"/>
                  </a:lnTo>
                  <a:lnTo>
                    <a:pt x="15002" y="94069"/>
                  </a:lnTo>
                  <a:lnTo>
                    <a:pt x="7925" y="88287"/>
                  </a:lnTo>
                  <a:lnTo>
                    <a:pt x="7668" y="86001"/>
                  </a:lnTo>
                  <a:lnTo>
                    <a:pt x="7620" y="83791"/>
                  </a:lnTo>
                  <a:lnTo>
                    <a:pt x="7296" y="82867"/>
                  </a:lnTo>
                  <a:lnTo>
                    <a:pt x="0" y="78619"/>
                  </a:lnTo>
                  <a:lnTo>
                    <a:pt x="1438" y="76181"/>
                  </a:lnTo>
                  <a:lnTo>
                    <a:pt x="7144" y="76029"/>
                  </a:lnTo>
                  <a:lnTo>
                    <a:pt x="11859" y="78248"/>
                  </a:lnTo>
                  <a:lnTo>
                    <a:pt x="12897" y="77295"/>
                  </a:lnTo>
                  <a:lnTo>
                    <a:pt x="13516" y="75324"/>
                  </a:lnTo>
                  <a:lnTo>
                    <a:pt x="11506" y="67399"/>
                  </a:lnTo>
                  <a:lnTo>
                    <a:pt x="11868" y="65322"/>
                  </a:lnTo>
                  <a:lnTo>
                    <a:pt x="13944" y="62827"/>
                  </a:lnTo>
                  <a:lnTo>
                    <a:pt x="17240" y="60836"/>
                  </a:lnTo>
                  <a:lnTo>
                    <a:pt x="22432" y="60550"/>
                  </a:lnTo>
                  <a:lnTo>
                    <a:pt x="25975" y="60846"/>
                  </a:lnTo>
                  <a:lnTo>
                    <a:pt x="26727" y="61065"/>
                  </a:lnTo>
                  <a:lnTo>
                    <a:pt x="32014" y="69809"/>
                  </a:lnTo>
                  <a:lnTo>
                    <a:pt x="36557" y="78296"/>
                  </a:lnTo>
                  <a:lnTo>
                    <a:pt x="38967" y="81896"/>
                  </a:lnTo>
                  <a:lnTo>
                    <a:pt x="44863" y="92069"/>
                  </a:lnTo>
                  <a:lnTo>
                    <a:pt x="47073" y="97926"/>
                  </a:lnTo>
                  <a:lnTo>
                    <a:pt x="47825" y="102108"/>
                  </a:lnTo>
                  <a:lnTo>
                    <a:pt x="50225" y="102089"/>
                  </a:lnTo>
                  <a:lnTo>
                    <a:pt x="58522" y="103918"/>
                  </a:lnTo>
                  <a:lnTo>
                    <a:pt x="65494" y="105461"/>
                  </a:lnTo>
                  <a:lnTo>
                    <a:pt x="67437" y="107794"/>
                  </a:lnTo>
                  <a:lnTo>
                    <a:pt x="72238" y="107328"/>
                  </a:lnTo>
                  <a:lnTo>
                    <a:pt x="75943" y="105223"/>
                  </a:lnTo>
                  <a:lnTo>
                    <a:pt x="82477" y="102565"/>
                  </a:lnTo>
                  <a:lnTo>
                    <a:pt x="84230" y="99289"/>
                  </a:lnTo>
                  <a:lnTo>
                    <a:pt x="86411" y="95774"/>
                  </a:lnTo>
                  <a:lnTo>
                    <a:pt x="90240" y="96326"/>
                  </a:lnTo>
                  <a:lnTo>
                    <a:pt x="94431" y="99098"/>
                  </a:lnTo>
                  <a:lnTo>
                    <a:pt x="99184" y="102737"/>
                  </a:lnTo>
                  <a:lnTo>
                    <a:pt x="103423" y="104413"/>
                  </a:lnTo>
                  <a:lnTo>
                    <a:pt x="109109" y="107042"/>
                  </a:lnTo>
                  <a:lnTo>
                    <a:pt x="111757" y="110433"/>
                  </a:lnTo>
                  <a:lnTo>
                    <a:pt x="115471" y="111404"/>
                  </a:lnTo>
                  <a:lnTo>
                    <a:pt x="119358" y="108013"/>
                  </a:lnTo>
                  <a:lnTo>
                    <a:pt x="121654" y="98765"/>
                  </a:lnTo>
                  <a:lnTo>
                    <a:pt x="123692" y="94621"/>
                  </a:lnTo>
                  <a:lnTo>
                    <a:pt x="126578" y="91583"/>
                  </a:lnTo>
                  <a:lnTo>
                    <a:pt x="129883" y="90240"/>
                  </a:lnTo>
                  <a:lnTo>
                    <a:pt x="132407" y="89754"/>
                  </a:lnTo>
                  <a:lnTo>
                    <a:pt x="134321" y="87382"/>
                  </a:lnTo>
                  <a:lnTo>
                    <a:pt x="137036" y="82105"/>
                  </a:lnTo>
                  <a:lnTo>
                    <a:pt x="137570" y="75686"/>
                  </a:lnTo>
                  <a:lnTo>
                    <a:pt x="137046" y="64027"/>
                  </a:lnTo>
                  <a:lnTo>
                    <a:pt x="137541" y="60160"/>
                  </a:lnTo>
                  <a:lnTo>
                    <a:pt x="139761" y="53816"/>
                  </a:lnTo>
                  <a:lnTo>
                    <a:pt x="142742" y="36900"/>
                  </a:lnTo>
                  <a:lnTo>
                    <a:pt x="144076" y="31985"/>
                  </a:lnTo>
                  <a:lnTo>
                    <a:pt x="145704" y="28994"/>
                  </a:lnTo>
                  <a:lnTo>
                    <a:pt x="147943" y="27213"/>
                  </a:lnTo>
                  <a:lnTo>
                    <a:pt x="152010" y="22031"/>
                  </a:lnTo>
                  <a:lnTo>
                    <a:pt x="157820" y="11706"/>
                  </a:lnTo>
                  <a:lnTo>
                    <a:pt x="159391" y="10830"/>
                  </a:lnTo>
                  <a:lnTo>
                    <a:pt x="163563" y="10306"/>
                  </a:lnTo>
                  <a:lnTo>
                    <a:pt x="168745" y="10687"/>
                  </a:lnTo>
                  <a:lnTo>
                    <a:pt x="173412" y="12506"/>
                  </a:lnTo>
                  <a:lnTo>
                    <a:pt x="173917" y="12363"/>
                  </a:lnTo>
                  <a:lnTo>
                    <a:pt x="176013" y="11411"/>
                  </a:lnTo>
                  <a:lnTo>
                    <a:pt x="179813" y="8192"/>
                  </a:lnTo>
                  <a:lnTo>
                    <a:pt x="186328" y="1772"/>
                  </a:lnTo>
                  <a:lnTo>
                    <a:pt x="190500" y="0"/>
                  </a:lnTo>
                  <a:lnTo>
                    <a:pt x="194291" y="248"/>
                  </a:lnTo>
                  <a:lnTo>
                    <a:pt x="198491" y="7277"/>
                  </a:lnTo>
                  <a:lnTo>
                    <a:pt x="204426" y="15078"/>
                  </a:lnTo>
                  <a:lnTo>
                    <a:pt x="208236" y="18850"/>
                  </a:lnTo>
                  <a:lnTo>
                    <a:pt x="218627" y="25908"/>
                  </a:lnTo>
                  <a:lnTo>
                    <a:pt x="227752" y="30528"/>
                  </a:lnTo>
                  <a:lnTo>
                    <a:pt x="232877" y="45710"/>
                  </a:lnTo>
                  <a:lnTo>
                    <a:pt x="230344" y="51721"/>
                  </a:lnTo>
                  <a:lnTo>
                    <a:pt x="229086" y="53788"/>
                  </a:lnTo>
                  <a:lnTo>
                    <a:pt x="224619" y="59741"/>
                  </a:lnTo>
                  <a:lnTo>
                    <a:pt x="219846" y="68104"/>
                  </a:lnTo>
                  <a:lnTo>
                    <a:pt x="219485" y="72447"/>
                  </a:lnTo>
                  <a:lnTo>
                    <a:pt x="221066" y="76819"/>
                  </a:lnTo>
                  <a:lnTo>
                    <a:pt x="223085" y="79648"/>
                  </a:lnTo>
                  <a:close/>
                  <a:moveTo>
                    <a:pt x="113014" y="355911"/>
                  </a:moveTo>
                  <a:lnTo>
                    <a:pt x="109024" y="358007"/>
                  </a:lnTo>
                  <a:lnTo>
                    <a:pt x="105813" y="356702"/>
                  </a:lnTo>
                  <a:lnTo>
                    <a:pt x="105756" y="352635"/>
                  </a:lnTo>
                  <a:lnTo>
                    <a:pt x="107747" y="350663"/>
                  </a:lnTo>
                  <a:lnTo>
                    <a:pt x="111347" y="349872"/>
                  </a:lnTo>
                  <a:lnTo>
                    <a:pt x="116281" y="351844"/>
                  </a:lnTo>
                  <a:lnTo>
                    <a:pt x="117005" y="352892"/>
                  </a:lnTo>
                  <a:lnTo>
                    <a:pt x="114176" y="353682"/>
                  </a:lnTo>
                  <a:lnTo>
                    <a:pt x="113014" y="355911"/>
                  </a:lnTo>
                  <a:close/>
                  <a:moveTo>
                    <a:pt x="15964" y="462953"/>
                  </a:moveTo>
                  <a:lnTo>
                    <a:pt x="16250" y="464058"/>
                  </a:lnTo>
                  <a:lnTo>
                    <a:pt x="17812" y="463753"/>
                  </a:lnTo>
                  <a:lnTo>
                    <a:pt x="19927" y="461734"/>
                  </a:lnTo>
                  <a:lnTo>
                    <a:pt x="21422" y="462677"/>
                  </a:lnTo>
                  <a:lnTo>
                    <a:pt x="21250" y="465553"/>
                  </a:lnTo>
                  <a:lnTo>
                    <a:pt x="20241" y="465439"/>
                  </a:lnTo>
                  <a:lnTo>
                    <a:pt x="19964" y="464963"/>
                  </a:lnTo>
                  <a:lnTo>
                    <a:pt x="18660" y="466601"/>
                  </a:lnTo>
                  <a:lnTo>
                    <a:pt x="18431" y="467592"/>
                  </a:lnTo>
                  <a:lnTo>
                    <a:pt x="16926" y="468220"/>
                  </a:lnTo>
                  <a:lnTo>
                    <a:pt x="14145" y="465411"/>
                  </a:lnTo>
                  <a:lnTo>
                    <a:pt x="12392" y="460781"/>
                  </a:lnTo>
                  <a:lnTo>
                    <a:pt x="16469" y="460772"/>
                  </a:lnTo>
                  <a:lnTo>
                    <a:pt x="16078" y="461877"/>
                  </a:lnTo>
                  <a:lnTo>
                    <a:pt x="15964" y="462953"/>
                  </a:lnTo>
                  <a:close/>
                  <a:moveTo>
                    <a:pt x="22193" y="616667"/>
                  </a:moveTo>
                  <a:lnTo>
                    <a:pt x="21822" y="619192"/>
                  </a:lnTo>
                  <a:lnTo>
                    <a:pt x="20003" y="618915"/>
                  </a:lnTo>
                  <a:lnTo>
                    <a:pt x="18155" y="619373"/>
                  </a:lnTo>
                  <a:lnTo>
                    <a:pt x="16669" y="616868"/>
                  </a:lnTo>
                  <a:lnTo>
                    <a:pt x="15878" y="612639"/>
                  </a:lnTo>
                  <a:lnTo>
                    <a:pt x="16155" y="611724"/>
                  </a:lnTo>
                  <a:lnTo>
                    <a:pt x="17316" y="610762"/>
                  </a:lnTo>
                  <a:lnTo>
                    <a:pt x="18202" y="613086"/>
                  </a:lnTo>
                  <a:lnTo>
                    <a:pt x="22193" y="616667"/>
                  </a:lnTo>
                  <a:close/>
                  <a:moveTo>
                    <a:pt x="36719" y="627097"/>
                  </a:moveTo>
                  <a:lnTo>
                    <a:pt x="34766" y="627336"/>
                  </a:lnTo>
                  <a:lnTo>
                    <a:pt x="32014" y="624659"/>
                  </a:lnTo>
                  <a:lnTo>
                    <a:pt x="31671" y="623611"/>
                  </a:lnTo>
                  <a:lnTo>
                    <a:pt x="32747" y="623002"/>
                  </a:lnTo>
                  <a:lnTo>
                    <a:pt x="32033" y="620849"/>
                  </a:lnTo>
                  <a:lnTo>
                    <a:pt x="32242" y="619896"/>
                  </a:lnTo>
                  <a:lnTo>
                    <a:pt x="34367" y="621601"/>
                  </a:lnTo>
                  <a:lnTo>
                    <a:pt x="35529" y="623583"/>
                  </a:lnTo>
                  <a:lnTo>
                    <a:pt x="34395" y="624040"/>
                  </a:lnTo>
                  <a:lnTo>
                    <a:pt x="36319" y="626088"/>
                  </a:lnTo>
                  <a:lnTo>
                    <a:pt x="36719" y="627097"/>
                  </a:lnTo>
                  <a:close/>
                  <a:moveTo>
                    <a:pt x="41558" y="625269"/>
                  </a:moveTo>
                  <a:lnTo>
                    <a:pt x="44939" y="626516"/>
                  </a:lnTo>
                  <a:lnTo>
                    <a:pt x="46358" y="626069"/>
                  </a:lnTo>
                  <a:lnTo>
                    <a:pt x="47977" y="628898"/>
                  </a:lnTo>
                  <a:lnTo>
                    <a:pt x="45234" y="630688"/>
                  </a:lnTo>
                  <a:lnTo>
                    <a:pt x="45044" y="632917"/>
                  </a:lnTo>
                  <a:lnTo>
                    <a:pt x="46130" y="634298"/>
                  </a:lnTo>
                  <a:lnTo>
                    <a:pt x="46511" y="636299"/>
                  </a:lnTo>
                  <a:lnTo>
                    <a:pt x="43777" y="636299"/>
                  </a:lnTo>
                  <a:lnTo>
                    <a:pt x="42472" y="634613"/>
                  </a:lnTo>
                  <a:lnTo>
                    <a:pt x="41900" y="632470"/>
                  </a:lnTo>
                  <a:lnTo>
                    <a:pt x="40624" y="630955"/>
                  </a:lnTo>
                  <a:lnTo>
                    <a:pt x="38929" y="629803"/>
                  </a:lnTo>
                  <a:lnTo>
                    <a:pt x="39757" y="628260"/>
                  </a:lnTo>
                  <a:lnTo>
                    <a:pt x="40234" y="626050"/>
                  </a:lnTo>
                  <a:lnTo>
                    <a:pt x="41558" y="625269"/>
                  </a:lnTo>
                  <a:close/>
                  <a:moveTo>
                    <a:pt x="32414" y="637642"/>
                  </a:moveTo>
                  <a:lnTo>
                    <a:pt x="29737" y="639480"/>
                  </a:lnTo>
                  <a:lnTo>
                    <a:pt x="28718" y="639042"/>
                  </a:lnTo>
                  <a:lnTo>
                    <a:pt x="28975" y="635937"/>
                  </a:lnTo>
                  <a:lnTo>
                    <a:pt x="30566" y="634517"/>
                  </a:lnTo>
                  <a:lnTo>
                    <a:pt x="33242" y="634355"/>
                  </a:lnTo>
                  <a:lnTo>
                    <a:pt x="32414" y="637642"/>
                  </a:lnTo>
                  <a:close/>
                  <a:moveTo>
                    <a:pt x="26937" y="639394"/>
                  </a:moveTo>
                  <a:lnTo>
                    <a:pt x="24594" y="639928"/>
                  </a:lnTo>
                  <a:lnTo>
                    <a:pt x="23136" y="638375"/>
                  </a:lnTo>
                  <a:lnTo>
                    <a:pt x="23689" y="637222"/>
                  </a:lnTo>
                  <a:lnTo>
                    <a:pt x="25318" y="635937"/>
                  </a:lnTo>
                  <a:lnTo>
                    <a:pt x="27089" y="636118"/>
                  </a:lnTo>
                  <a:lnTo>
                    <a:pt x="27470" y="637623"/>
                  </a:lnTo>
                  <a:lnTo>
                    <a:pt x="26937" y="639394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1" name="Forme libre : forme 19">
              <a:extLst>
                <a:ext uri="{FF2B5EF4-FFF2-40B4-BE49-F238E27FC236}">
                  <a16:creationId xmlns:a16="http://schemas.microsoft.com/office/drawing/2014/main" id="{F8686FC8-F99E-04A8-32A6-20247BE72863}"/>
                </a:ext>
              </a:extLst>
            </p:cNvPr>
            <p:cNvSpPr/>
            <p:nvPr/>
          </p:nvSpPr>
          <p:spPr>
            <a:xfrm>
              <a:off x="4708705" y="2963724"/>
              <a:ext cx="70837" cy="133792"/>
            </a:xfrm>
            <a:custGeom>
              <a:avLst/>
              <a:gdLst>
                <a:gd name="connsiteX0" fmla="*/ 27175 w 27174"/>
                <a:gd name="connsiteY0" fmla="*/ 5572 h 53330"/>
                <a:gd name="connsiteX1" fmla="*/ 25898 w 27174"/>
                <a:gd name="connsiteY1" fmla="*/ 9706 h 53330"/>
                <a:gd name="connsiteX2" fmla="*/ 24003 w 27174"/>
                <a:gd name="connsiteY2" fmla="*/ 9058 h 53330"/>
                <a:gd name="connsiteX3" fmla="*/ 23479 w 27174"/>
                <a:gd name="connsiteY3" fmla="*/ 8611 h 53330"/>
                <a:gd name="connsiteX4" fmla="*/ 23070 w 27174"/>
                <a:gd name="connsiteY4" fmla="*/ 7534 h 53330"/>
                <a:gd name="connsiteX5" fmla="*/ 23270 w 27174"/>
                <a:gd name="connsiteY5" fmla="*/ 4458 h 53330"/>
                <a:gd name="connsiteX6" fmla="*/ 23203 w 27174"/>
                <a:gd name="connsiteY6" fmla="*/ 0 h 53330"/>
                <a:gd name="connsiteX7" fmla="*/ 25384 w 27174"/>
                <a:gd name="connsiteY7" fmla="*/ 3667 h 53330"/>
                <a:gd name="connsiteX8" fmla="*/ 27175 w 27174"/>
                <a:gd name="connsiteY8" fmla="*/ 5572 h 53330"/>
                <a:gd name="connsiteX9" fmla="*/ 21164 w 27174"/>
                <a:gd name="connsiteY9" fmla="*/ 7334 h 53330"/>
                <a:gd name="connsiteX10" fmla="*/ 20498 w 27174"/>
                <a:gd name="connsiteY10" fmla="*/ 15011 h 53330"/>
                <a:gd name="connsiteX11" fmla="*/ 19412 w 27174"/>
                <a:gd name="connsiteY11" fmla="*/ 14973 h 53330"/>
                <a:gd name="connsiteX12" fmla="*/ 17469 w 27174"/>
                <a:gd name="connsiteY12" fmla="*/ 12849 h 53330"/>
                <a:gd name="connsiteX13" fmla="*/ 16012 w 27174"/>
                <a:gd name="connsiteY13" fmla="*/ 12411 h 53330"/>
                <a:gd name="connsiteX14" fmla="*/ 15554 w 27174"/>
                <a:gd name="connsiteY14" fmla="*/ 13545 h 53330"/>
                <a:gd name="connsiteX15" fmla="*/ 15630 w 27174"/>
                <a:gd name="connsiteY15" fmla="*/ 14907 h 53330"/>
                <a:gd name="connsiteX16" fmla="*/ 16383 w 27174"/>
                <a:gd name="connsiteY16" fmla="*/ 15764 h 53330"/>
                <a:gd name="connsiteX17" fmla="*/ 18707 w 27174"/>
                <a:gd name="connsiteY17" fmla="*/ 20888 h 53330"/>
                <a:gd name="connsiteX18" fmla="*/ 18917 w 27174"/>
                <a:gd name="connsiteY18" fmla="*/ 22384 h 53330"/>
                <a:gd name="connsiteX19" fmla="*/ 18631 w 27174"/>
                <a:gd name="connsiteY19" fmla="*/ 23108 h 53330"/>
                <a:gd name="connsiteX20" fmla="*/ 16373 w 27174"/>
                <a:gd name="connsiteY20" fmla="*/ 21631 h 53330"/>
                <a:gd name="connsiteX21" fmla="*/ 10925 w 27174"/>
                <a:gd name="connsiteY21" fmla="*/ 15002 h 53330"/>
                <a:gd name="connsiteX22" fmla="*/ 6687 w 27174"/>
                <a:gd name="connsiteY22" fmla="*/ 4039 h 53330"/>
                <a:gd name="connsiteX23" fmla="*/ 12402 w 27174"/>
                <a:gd name="connsiteY23" fmla="*/ 2276 h 53330"/>
                <a:gd name="connsiteX24" fmla="*/ 16545 w 27174"/>
                <a:gd name="connsiteY24" fmla="*/ 5162 h 53330"/>
                <a:gd name="connsiteX25" fmla="*/ 21164 w 27174"/>
                <a:gd name="connsiteY25" fmla="*/ 7334 h 53330"/>
                <a:gd name="connsiteX26" fmla="*/ 6305 w 27174"/>
                <a:gd name="connsiteY26" fmla="*/ 12402 h 53330"/>
                <a:gd name="connsiteX27" fmla="*/ 8706 w 27174"/>
                <a:gd name="connsiteY27" fmla="*/ 14611 h 53330"/>
                <a:gd name="connsiteX28" fmla="*/ 9553 w 27174"/>
                <a:gd name="connsiteY28" fmla="*/ 16173 h 53330"/>
                <a:gd name="connsiteX29" fmla="*/ 8172 w 27174"/>
                <a:gd name="connsiteY29" fmla="*/ 17678 h 53330"/>
                <a:gd name="connsiteX30" fmla="*/ 6505 w 27174"/>
                <a:gd name="connsiteY30" fmla="*/ 18069 h 53330"/>
                <a:gd name="connsiteX31" fmla="*/ 4486 w 27174"/>
                <a:gd name="connsiteY31" fmla="*/ 17717 h 53330"/>
                <a:gd name="connsiteX32" fmla="*/ 1162 w 27174"/>
                <a:gd name="connsiteY32" fmla="*/ 16088 h 53330"/>
                <a:gd name="connsiteX33" fmla="*/ 0 w 27174"/>
                <a:gd name="connsiteY33" fmla="*/ 12354 h 53330"/>
                <a:gd name="connsiteX34" fmla="*/ 2295 w 27174"/>
                <a:gd name="connsiteY34" fmla="*/ 12440 h 53330"/>
                <a:gd name="connsiteX35" fmla="*/ 5010 w 27174"/>
                <a:gd name="connsiteY35" fmla="*/ 11725 h 53330"/>
                <a:gd name="connsiteX36" fmla="*/ 6305 w 27174"/>
                <a:gd name="connsiteY36" fmla="*/ 12402 h 53330"/>
                <a:gd name="connsiteX37" fmla="*/ 21374 w 27174"/>
                <a:gd name="connsiteY37" fmla="*/ 31337 h 53330"/>
                <a:gd name="connsiteX38" fmla="*/ 20850 w 27174"/>
                <a:gd name="connsiteY38" fmla="*/ 33461 h 53330"/>
                <a:gd name="connsiteX39" fmla="*/ 20117 w 27174"/>
                <a:gd name="connsiteY39" fmla="*/ 33442 h 53330"/>
                <a:gd name="connsiteX40" fmla="*/ 17602 w 27174"/>
                <a:gd name="connsiteY40" fmla="*/ 30813 h 53330"/>
                <a:gd name="connsiteX41" fmla="*/ 15602 w 27174"/>
                <a:gd name="connsiteY41" fmla="*/ 29375 h 53330"/>
                <a:gd name="connsiteX42" fmla="*/ 14935 w 27174"/>
                <a:gd name="connsiteY42" fmla="*/ 28156 h 53330"/>
                <a:gd name="connsiteX43" fmla="*/ 14373 w 27174"/>
                <a:gd name="connsiteY43" fmla="*/ 26070 h 53330"/>
                <a:gd name="connsiteX44" fmla="*/ 15526 w 27174"/>
                <a:gd name="connsiteY44" fmla="*/ 25813 h 53330"/>
                <a:gd name="connsiteX45" fmla="*/ 16897 w 27174"/>
                <a:gd name="connsiteY45" fmla="*/ 26289 h 53330"/>
                <a:gd name="connsiteX46" fmla="*/ 20336 w 27174"/>
                <a:gd name="connsiteY46" fmla="*/ 28194 h 53330"/>
                <a:gd name="connsiteX47" fmla="*/ 21307 w 27174"/>
                <a:gd name="connsiteY47" fmla="*/ 30175 h 53330"/>
                <a:gd name="connsiteX48" fmla="*/ 21374 w 27174"/>
                <a:gd name="connsiteY48" fmla="*/ 31337 h 53330"/>
                <a:gd name="connsiteX49" fmla="*/ 19326 w 27174"/>
                <a:gd name="connsiteY49" fmla="*/ 51635 h 53330"/>
                <a:gd name="connsiteX50" fmla="*/ 19860 w 27174"/>
                <a:gd name="connsiteY50" fmla="*/ 53330 h 53330"/>
                <a:gd name="connsiteX51" fmla="*/ 19240 w 27174"/>
                <a:gd name="connsiteY51" fmla="*/ 53140 h 53330"/>
                <a:gd name="connsiteX52" fmla="*/ 17440 w 27174"/>
                <a:gd name="connsiteY52" fmla="*/ 51206 h 53330"/>
                <a:gd name="connsiteX53" fmla="*/ 14297 w 27174"/>
                <a:gd name="connsiteY53" fmla="*/ 46596 h 53330"/>
                <a:gd name="connsiteX54" fmla="*/ 13202 w 27174"/>
                <a:gd name="connsiteY54" fmla="*/ 42777 h 53330"/>
                <a:gd name="connsiteX55" fmla="*/ 13049 w 27174"/>
                <a:gd name="connsiteY55" fmla="*/ 41005 h 53330"/>
                <a:gd name="connsiteX56" fmla="*/ 13830 w 27174"/>
                <a:gd name="connsiteY56" fmla="*/ 41205 h 53330"/>
                <a:gd name="connsiteX57" fmla="*/ 14478 w 27174"/>
                <a:gd name="connsiteY57" fmla="*/ 42777 h 53330"/>
                <a:gd name="connsiteX58" fmla="*/ 17459 w 27174"/>
                <a:gd name="connsiteY58" fmla="*/ 43805 h 53330"/>
                <a:gd name="connsiteX59" fmla="*/ 18250 w 27174"/>
                <a:gd name="connsiteY59" fmla="*/ 44587 h 53330"/>
                <a:gd name="connsiteX60" fmla="*/ 18240 w 27174"/>
                <a:gd name="connsiteY60" fmla="*/ 46501 h 53330"/>
                <a:gd name="connsiteX61" fmla="*/ 19240 w 27174"/>
                <a:gd name="connsiteY61" fmla="*/ 48768 h 53330"/>
                <a:gd name="connsiteX62" fmla="*/ 19326 w 27174"/>
                <a:gd name="connsiteY62" fmla="*/ 51635 h 53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7174" h="53330">
                  <a:moveTo>
                    <a:pt x="27175" y="5572"/>
                  </a:moveTo>
                  <a:lnTo>
                    <a:pt x="25898" y="9706"/>
                  </a:lnTo>
                  <a:lnTo>
                    <a:pt x="24003" y="9058"/>
                  </a:lnTo>
                  <a:lnTo>
                    <a:pt x="23479" y="8611"/>
                  </a:lnTo>
                  <a:lnTo>
                    <a:pt x="23070" y="7534"/>
                  </a:lnTo>
                  <a:lnTo>
                    <a:pt x="23270" y="4458"/>
                  </a:lnTo>
                  <a:lnTo>
                    <a:pt x="23203" y="0"/>
                  </a:lnTo>
                  <a:lnTo>
                    <a:pt x="25384" y="3667"/>
                  </a:lnTo>
                  <a:lnTo>
                    <a:pt x="27175" y="5572"/>
                  </a:lnTo>
                  <a:close/>
                  <a:moveTo>
                    <a:pt x="21164" y="7334"/>
                  </a:moveTo>
                  <a:lnTo>
                    <a:pt x="20498" y="15011"/>
                  </a:lnTo>
                  <a:lnTo>
                    <a:pt x="19412" y="14973"/>
                  </a:lnTo>
                  <a:lnTo>
                    <a:pt x="17469" y="12849"/>
                  </a:lnTo>
                  <a:lnTo>
                    <a:pt x="16012" y="12411"/>
                  </a:lnTo>
                  <a:lnTo>
                    <a:pt x="15554" y="13545"/>
                  </a:lnTo>
                  <a:lnTo>
                    <a:pt x="15630" y="14907"/>
                  </a:lnTo>
                  <a:lnTo>
                    <a:pt x="16383" y="15764"/>
                  </a:lnTo>
                  <a:lnTo>
                    <a:pt x="18707" y="20888"/>
                  </a:lnTo>
                  <a:lnTo>
                    <a:pt x="18917" y="22384"/>
                  </a:lnTo>
                  <a:lnTo>
                    <a:pt x="18631" y="23108"/>
                  </a:lnTo>
                  <a:lnTo>
                    <a:pt x="16373" y="21631"/>
                  </a:lnTo>
                  <a:lnTo>
                    <a:pt x="10925" y="15002"/>
                  </a:lnTo>
                  <a:lnTo>
                    <a:pt x="6687" y="4039"/>
                  </a:lnTo>
                  <a:lnTo>
                    <a:pt x="12402" y="2276"/>
                  </a:lnTo>
                  <a:lnTo>
                    <a:pt x="16545" y="5162"/>
                  </a:lnTo>
                  <a:lnTo>
                    <a:pt x="21164" y="7334"/>
                  </a:lnTo>
                  <a:close/>
                  <a:moveTo>
                    <a:pt x="6305" y="12402"/>
                  </a:moveTo>
                  <a:lnTo>
                    <a:pt x="8706" y="14611"/>
                  </a:lnTo>
                  <a:lnTo>
                    <a:pt x="9553" y="16173"/>
                  </a:lnTo>
                  <a:lnTo>
                    <a:pt x="8172" y="17678"/>
                  </a:lnTo>
                  <a:lnTo>
                    <a:pt x="6505" y="18069"/>
                  </a:lnTo>
                  <a:lnTo>
                    <a:pt x="4486" y="17717"/>
                  </a:lnTo>
                  <a:lnTo>
                    <a:pt x="1162" y="16088"/>
                  </a:lnTo>
                  <a:lnTo>
                    <a:pt x="0" y="12354"/>
                  </a:lnTo>
                  <a:lnTo>
                    <a:pt x="2295" y="12440"/>
                  </a:lnTo>
                  <a:lnTo>
                    <a:pt x="5010" y="11725"/>
                  </a:lnTo>
                  <a:lnTo>
                    <a:pt x="6305" y="12402"/>
                  </a:lnTo>
                  <a:close/>
                  <a:moveTo>
                    <a:pt x="21374" y="31337"/>
                  </a:moveTo>
                  <a:lnTo>
                    <a:pt x="20850" y="33461"/>
                  </a:lnTo>
                  <a:lnTo>
                    <a:pt x="20117" y="33442"/>
                  </a:lnTo>
                  <a:lnTo>
                    <a:pt x="17602" y="30813"/>
                  </a:lnTo>
                  <a:lnTo>
                    <a:pt x="15602" y="29375"/>
                  </a:lnTo>
                  <a:lnTo>
                    <a:pt x="14935" y="28156"/>
                  </a:lnTo>
                  <a:lnTo>
                    <a:pt x="14373" y="26070"/>
                  </a:lnTo>
                  <a:lnTo>
                    <a:pt x="15526" y="25813"/>
                  </a:lnTo>
                  <a:lnTo>
                    <a:pt x="16897" y="26289"/>
                  </a:lnTo>
                  <a:lnTo>
                    <a:pt x="20336" y="28194"/>
                  </a:lnTo>
                  <a:lnTo>
                    <a:pt x="21307" y="30175"/>
                  </a:lnTo>
                  <a:lnTo>
                    <a:pt x="21374" y="31337"/>
                  </a:lnTo>
                  <a:close/>
                  <a:moveTo>
                    <a:pt x="19326" y="51635"/>
                  </a:moveTo>
                  <a:lnTo>
                    <a:pt x="19860" y="53330"/>
                  </a:lnTo>
                  <a:lnTo>
                    <a:pt x="19240" y="53140"/>
                  </a:lnTo>
                  <a:lnTo>
                    <a:pt x="17440" y="51206"/>
                  </a:lnTo>
                  <a:lnTo>
                    <a:pt x="14297" y="46596"/>
                  </a:lnTo>
                  <a:lnTo>
                    <a:pt x="13202" y="42777"/>
                  </a:lnTo>
                  <a:lnTo>
                    <a:pt x="13049" y="41005"/>
                  </a:lnTo>
                  <a:lnTo>
                    <a:pt x="13830" y="41205"/>
                  </a:lnTo>
                  <a:lnTo>
                    <a:pt x="14478" y="42777"/>
                  </a:lnTo>
                  <a:lnTo>
                    <a:pt x="17459" y="43805"/>
                  </a:lnTo>
                  <a:lnTo>
                    <a:pt x="18250" y="44587"/>
                  </a:lnTo>
                  <a:lnTo>
                    <a:pt x="18240" y="46501"/>
                  </a:lnTo>
                  <a:lnTo>
                    <a:pt x="19240" y="48768"/>
                  </a:lnTo>
                  <a:lnTo>
                    <a:pt x="19326" y="51635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2" name="Forme libre : forme 20">
              <a:extLst>
                <a:ext uri="{FF2B5EF4-FFF2-40B4-BE49-F238E27FC236}">
                  <a16:creationId xmlns:a16="http://schemas.microsoft.com/office/drawing/2014/main" id="{37EB4E03-44C9-187E-20FD-D822EAF8199A}"/>
                </a:ext>
              </a:extLst>
            </p:cNvPr>
            <p:cNvSpPr/>
            <p:nvPr/>
          </p:nvSpPr>
          <p:spPr>
            <a:xfrm>
              <a:off x="4894008" y="4350046"/>
              <a:ext cx="997889" cy="942143"/>
            </a:xfrm>
            <a:custGeom>
              <a:avLst/>
              <a:gdLst>
                <a:gd name="connsiteX0" fmla="*/ 203854 w 382800"/>
                <a:gd name="connsiteY0" fmla="*/ 16040 h 375541"/>
                <a:gd name="connsiteX1" fmla="*/ 205445 w 382800"/>
                <a:gd name="connsiteY1" fmla="*/ 15573 h 375541"/>
                <a:gd name="connsiteX2" fmla="*/ 208141 w 382800"/>
                <a:gd name="connsiteY2" fmla="*/ 13897 h 375541"/>
                <a:gd name="connsiteX3" fmla="*/ 210388 w 382800"/>
                <a:gd name="connsiteY3" fmla="*/ 13363 h 375541"/>
                <a:gd name="connsiteX4" fmla="*/ 211674 w 382800"/>
                <a:gd name="connsiteY4" fmla="*/ 14649 h 375541"/>
                <a:gd name="connsiteX5" fmla="*/ 212398 w 382800"/>
                <a:gd name="connsiteY5" fmla="*/ 15383 h 375541"/>
                <a:gd name="connsiteX6" fmla="*/ 213808 w 382800"/>
                <a:gd name="connsiteY6" fmla="*/ 18278 h 375541"/>
                <a:gd name="connsiteX7" fmla="*/ 214208 w 382800"/>
                <a:gd name="connsiteY7" fmla="*/ 21288 h 375541"/>
                <a:gd name="connsiteX8" fmla="*/ 214836 w 382800"/>
                <a:gd name="connsiteY8" fmla="*/ 23793 h 375541"/>
                <a:gd name="connsiteX9" fmla="*/ 215980 w 382800"/>
                <a:gd name="connsiteY9" fmla="*/ 24803 h 375541"/>
                <a:gd name="connsiteX10" fmla="*/ 220275 w 382800"/>
                <a:gd name="connsiteY10" fmla="*/ 25136 h 375541"/>
                <a:gd name="connsiteX11" fmla="*/ 223447 w 382800"/>
                <a:gd name="connsiteY11" fmla="*/ 26060 h 375541"/>
                <a:gd name="connsiteX12" fmla="*/ 224285 w 382800"/>
                <a:gd name="connsiteY12" fmla="*/ 26898 h 375541"/>
                <a:gd name="connsiteX13" fmla="*/ 225371 w 382800"/>
                <a:gd name="connsiteY13" fmla="*/ 32442 h 375541"/>
                <a:gd name="connsiteX14" fmla="*/ 225962 w 382800"/>
                <a:gd name="connsiteY14" fmla="*/ 33223 h 375541"/>
                <a:gd name="connsiteX15" fmla="*/ 226752 w 382800"/>
                <a:gd name="connsiteY15" fmla="*/ 32575 h 375541"/>
                <a:gd name="connsiteX16" fmla="*/ 227533 w 382800"/>
                <a:gd name="connsiteY16" fmla="*/ 31661 h 375541"/>
                <a:gd name="connsiteX17" fmla="*/ 228619 w 382800"/>
                <a:gd name="connsiteY17" fmla="*/ 31518 h 375541"/>
                <a:gd name="connsiteX18" fmla="*/ 230477 w 382800"/>
                <a:gd name="connsiteY18" fmla="*/ 31870 h 375541"/>
                <a:gd name="connsiteX19" fmla="*/ 232924 w 382800"/>
                <a:gd name="connsiteY19" fmla="*/ 31985 h 375541"/>
                <a:gd name="connsiteX20" fmla="*/ 235448 w 382800"/>
                <a:gd name="connsiteY20" fmla="*/ 32595 h 375541"/>
                <a:gd name="connsiteX21" fmla="*/ 238935 w 382800"/>
                <a:gd name="connsiteY21" fmla="*/ 35719 h 375541"/>
                <a:gd name="connsiteX22" fmla="*/ 238801 w 382800"/>
                <a:gd name="connsiteY22" fmla="*/ 36747 h 375541"/>
                <a:gd name="connsiteX23" fmla="*/ 238125 w 382800"/>
                <a:gd name="connsiteY23" fmla="*/ 38548 h 375541"/>
                <a:gd name="connsiteX24" fmla="*/ 237887 w 382800"/>
                <a:gd name="connsiteY24" fmla="*/ 39986 h 375541"/>
                <a:gd name="connsiteX25" fmla="*/ 238487 w 382800"/>
                <a:gd name="connsiteY25" fmla="*/ 40567 h 375541"/>
                <a:gd name="connsiteX26" fmla="*/ 239411 w 382800"/>
                <a:gd name="connsiteY26" fmla="*/ 42053 h 375541"/>
                <a:gd name="connsiteX27" fmla="*/ 239192 w 382800"/>
                <a:gd name="connsiteY27" fmla="*/ 43767 h 375541"/>
                <a:gd name="connsiteX28" fmla="*/ 238297 w 382800"/>
                <a:gd name="connsiteY28" fmla="*/ 44967 h 375541"/>
                <a:gd name="connsiteX29" fmla="*/ 237935 w 382800"/>
                <a:gd name="connsiteY29" fmla="*/ 45958 h 375541"/>
                <a:gd name="connsiteX30" fmla="*/ 237935 w 382800"/>
                <a:gd name="connsiteY30" fmla="*/ 46596 h 375541"/>
                <a:gd name="connsiteX31" fmla="*/ 238268 w 382800"/>
                <a:gd name="connsiteY31" fmla="*/ 47130 h 375541"/>
                <a:gd name="connsiteX32" fmla="*/ 238982 w 382800"/>
                <a:gd name="connsiteY32" fmla="*/ 47596 h 375541"/>
                <a:gd name="connsiteX33" fmla="*/ 244135 w 382800"/>
                <a:gd name="connsiteY33" fmla="*/ 48225 h 375541"/>
                <a:gd name="connsiteX34" fmla="*/ 248850 w 382800"/>
                <a:gd name="connsiteY34" fmla="*/ 47596 h 375541"/>
                <a:gd name="connsiteX35" fmla="*/ 251822 w 382800"/>
                <a:gd name="connsiteY35" fmla="*/ 45844 h 375541"/>
                <a:gd name="connsiteX36" fmla="*/ 252327 w 382800"/>
                <a:gd name="connsiteY36" fmla="*/ 43996 h 375541"/>
                <a:gd name="connsiteX37" fmla="*/ 253165 w 382800"/>
                <a:gd name="connsiteY37" fmla="*/ 41919 h 375541"/>
                <a:gd name="connsiteX38" fmla="*/ 254937 w 382800"/>
                <a:gd name="connsiteY38" fmla="*/ 40167 h 375541"/>
                <a:gd name="connsiteX39" fmla="*/ 256156 w 382800"/>
                <a:gd name="connsiteY39" fmla="*/ 39576 h 375541"/>
                <a:gd name="connsiteX40" fmla="*/ 257280 w 382800"/>
                <a:gd name="connsiteY40" fmla="*/ 40291 h 375541"/>
                <a:gd name="connsiteX41" fmla="*/ 255394 w 382800"/>
                <a:gd name="connsiteY41" fmla="*/ 47615 h 375541"/>
                <a:gd name="connsiteX42" fmla="*/ 256775 w 382800"/>
                <a:gd name="connsiteY42" fmla="*/ 49482 h 375541"/>
                <a:gd name="connsiteX43" fmla="*/ 256975 w 382800"/>
                <a:gd name="connsiteY43" fmla="*/ 52264 h 375541"/>
                <a:gd name="connsiteX44" fmla="*/ 257470 w 382800"/>
                <a:gd name="connsiteY44" fmla="*/ 54702 h 375541"/>
                <a:gd name="connsiteX45" fmla="*/ 259156 w 382800"/>
                <a:gd name="connsiteY45" fmla="*/ 54654 h 375541"/>
                <a:gd name="connsiteX46" fmla="*/ 261195 w 382800"/>
                <a:gd name="connsiteY46" fmla="*/ 55102 h 375541"/>
                <a:gd name="connsiteX47" fmla="*/ 262642 w 382800"/>
                <a:gd name="connsiteY47" fmla="*/ 55997 h 375541"/>
                <a:gd name="connsiteX48" fmla="*/ 264328 w 382800"/>
                <a:gd name="connsiteY48" fmla="*/ 57445 h 375541"/>
                <a:gd name="connsiteX49" fmla="*/ 266757 w 382800"/>
                <a:gd name="connsiteY49" fmla="*/ 58779 h 375541"/>
                <a:gd name="connsiteX50" fmla="*/ 268462 w 382800"/>
                <a:gd name="connsiteY50" fmla="*/ 59245 h 375541"/>
                <a:gd name="connsiteX51" fmla="*/ 269081 w 382800"/>
                <a:gd name="connsiteY51" fmla="*/ 60350 h 375541"/>
                <a:gd name="connsiteX52" fmla="*/ 270463 w 382800"/>
                <a:gd name="connsiteY52" fmla="*/ 61636 h 375541"/>
                <a:gd name="connsiteX53" fmla="*/ 272634 w 382800"/>
                <a:gd name="connsiteY53" fmla="*/ 64322 h 375541"/>
                <a:gd name="connsiteX54" fmla="*/ 274577 w 382800"/>
                <a:gd name="connsiteY54" fmla="*/ 66113 h 375541"/>
                <a:gd name="connsiteX55" fmla="*/ 275520 w 382800"/>
                <a:gd name="connsiteY55" fmla="*/ 66113 h 375541"/>
                <a:gd name="connsiteX56" fmla="*/ 277330 w 382800"/>
                <a:gd name="connsiteY56" fmla="*/ 65408 h 375541"/>
                <a:gd name="connsiteX57" fmla="*/ 280016 w 382800"/>
                <a:gd name="connsiteY57" fmla="*/ 64960 h 375541"/>
                <a:gd name="connsiteX58" fmla="*/ 282130 w 382800"/>
                <a:gd name="connsiteY58" fmla="*/ 64998 h 375541"/>
                <a:gd name="connsiteX59" fmla="*/ 283035 w 382800"/>
                <a:gd name="connsiteY59" fmla="*/ 66360 h 375541"/>
                <a:gd name="connsiteX60" fmla="*/ 285122 w 382800"/>
                <a:gd name="connsiteY60" fmla="*/ 66989 h 375541"/>
                <a:gd name="connsiteX61" fmla="*/ 285855 w 382800"/>
                <a:gd name="connsiteY61" fmla="*/ 67494 h 375541"/>
                <a:gd name="connsiteX62" fmla="*/ 286674 w 382800"/>
                <a:gd name="connsiteY62" fmla="*/ 68437 h 375541"/>
                <a:gd name="connsiteX63" fmla="*/ 288065 w 382800"/>
                <a:gd name="connsiteY63" fmla="*/ 68818 h 375541"/>
                <a:gd name="connsiteX64" fmla="*/ 289741 w 382800"/>
                <a:gd name="connsiteY64" fmla="*/ 68437 h 375541"/>
                <a:gd name="connsiteX65" fmla="*/ 290960 w 382800"/>
                <a:gd name="connsiteY65" fmla="*/ 67189 h 375541"/>
                <a:gd name="connsiteX66" fmla="*/ 292589 w 382800"/>
                <a:gd name="connsiteY66" fmla="*/ 66618 h 375541"/>
                <a:gd name="connsiteX67" fmla="*/ 294227 w 382800"/>
                <a:gd name="connsiteY67" fmla="*/ 66808 h 375541"/>
                <a:gd name="connsiteX68" fmla="*/ 295170 w 382800"/>
                <a:gd name="connsiteY68" fmla="*/ 67494 h 375541"/>
                <a:gd name="connsiteX69" fmla="*/ 296961 w 382800"/>
                <a:gd name="connsiteY69" fmla="*/ 68513 h 375541"/>
                <a:gd name="connsiteX70" fmla="*/ 297971 w 382800"/>
                <a:gd name="connsiteY70" fmla="*/ 68294 h 375541"/>
                <a:gd name="connsiteX71" fmla="*/ 299999 w 382800"/>
                <a:gd name="connsiteY71" fmla="*/ 68923 h 375541"/>
                <a:gd name="connsiteX72" fmla="*/ 302038 w 382800"/>
                <a:gd name="connsiteY72" fmla="*/ 70904 h 375541"/>
                <a:gd name="connsiteX73" fmla="*/ 302895 w 382800"/>
                <a:gd name="connsiteY73" fmla="*/ 72885 h 375541"/>
                <a:gd name="connsiteX74" fmla="*/ 303114 w 382800"/>
                <a:gd name="connsiteY74" fmla="*/ 73971 h 375541"/>
                <a:gd name="connsiteX75" fmla="*/ 303990 w 382800"/>
                <a:gd name="connsiteY75" fmla="*/ 75152 h 375541"/>
                <a:gd name="connsiteX76" fmla="*/ 307410 w 382800"/>
                <a:gd name="connsiteY76" fmla="*/ 80467 h 375541"/>
                <a:gd name="connsiteX77" fmla="*/ 308496 w 382800"/>
                <a:gd name="connsiteY77" fmla="*/ 80724 h 375541"/>
                <a:gd name="connsiteX78" fmla="*/ 309686 w 382800"/>
                <a:gd name="connsiteY78" fmla="*/ 79924 h 375541"/>
                <a:gd name="connsiteX79" fmla="*/ 310458 w 382800"/>
                <a:gd name="connsiteY79" fmla="*/ 78781 h 375541"/>
                <a:gd name="connsiteX80" fmla="*/ 311572 w 382800"/>
                <a:gd name="connsiteY80" fmla="*/ 78552 h 375541"/>
                <a:gd name="connsiteX81" fmla="*/ 313363 w 382800"/>
                <a:gd name="connsiteY81" fmla="*/ 79086 h 375541"/>
                <a:gd name="connsiteX82" fmla="*/ 314516 w 382800"/>
                <a:gd name="connsiteY82" fmla="*/ 79686 h 375541"/>
                <a:gd name="connsiteX83" fmla="*/ 315068 w 382800"/>
                <a:gd name="connsiteY83" fmla="*/ 81982 h 375541"/>
                <a:gd name="connsiteX84" fmla="*/ 315459 w 382800"/>
                <a:gd name="connsiteY84" fmla="*/ 82420 h 375541"/>
                <a:gd name="connsiteX85" fmla="*/ 316230 w 382800"/>
                <a:gd name="connsiteY85" fmla="*/ 81924 h 375541"/>
                <a:gd name="connsiteX86" fmla="*/ 317611 w 382800"/>
                <a:gd name="connsiteY86" fmla="*/ 81820 h 375541"/>
                <a:gd name="connsiteX87" fmla="*/ 319821 w 382800"/>
                <a:gd name="connsiteY87" fmla="*/ 82382 h 375541"/>
                <a:gd name="connsiteX88" fmla="*/ 322850 w 382800"/>
                <a:gd name="connsiteY88" fmla="*/ 81734 h 375541"/>
                <a:gd name="connsiteX89" fmla="*/ 325279 w 382800"/>
                <a:gd name="connsiteY89" fmla="*/ 80772 h 375541"/>
                <a:gd name="connsiteX90" fmla="*/ 326517 w 382800"/>
                <a:gd name="connsiteY90" fmla="*/ 80810 h 375541"/>
                <a:gd name="connsiteX91" fmla="*/ 328517 w 382800"/>
                <a:gd name="connsiteY91" fmla="*/ 83486 h 375541"/>
                <a:gd name="connsiteX92" fmla="*/ 330803 w 382800"/>
                <a:gd name="connsiteY92" fmla="*/ 84487 h 375541"/>
                <a:gd name="connsiteX93" fmla="*/ 335832 w 382800"/>
                <a:gd name="connsiteY93" fmla="*/ 85296 h 375541"/>
                <a:gd name="connsiteX94" fmla="*/ 341233 w 382800"/>
                <a:gd name="connsiteY94" fmla="*/ 86553 h 375541"/>
                <a:gd name="connsiteX95" fmla="*/ 343357 w 382800"/>
                <a:gd name="connsiteY95" fmla="*/ 87573 h 375541"/>
                <a:gd name="connsiteX96" fmla="*/ 344805 w 382800"/>
                <a:gd name="connsiteY96" fmla="*/ 88077 h 375541"/>
                <a:gd name="connsiteX97" fmla="*/ 344957 w 382800"/>
                <a:gd name="connsiteY97" fmla="*/ 91611 h 375541"/>
                <a:gd name="connsiteX98" fmla="*/ 344519 w 382800"/>
                <a:gd name="connsiteY98" fmla="*/ 92145 h 375541"/>
                <a:gd name="connsiteX99" fmla="*/ 339138 w 382800"/>
                <a:gd name="connsiteY99" fmla="*/ 99212 h 375541"/>
                <a:gd name="connsiteX100" fmla="*/ 336871 w 382800"/>
                <a:gd name="connsiteY100" fmla="*/ 101737 h 375541"/>
                <a:gd name="connsiteX101" fmla="*/ 335718 w 382800"/>
                <a:gd name="connsiteY101" fmla="*/ 105327 h 375541"/>
                <a:gd name="connsiteX102" fmla="*/ 334928 w 382800"/>
                <a:gd name="connsiteY102" fmla="*/ 110833 h 375541"/>
                <a:gd name="connsiteX103" fmla="*/ 333337 w 382800"/>
                <a:gd name="connsiteY103" fmla="*/ 116043 h 375541"/>
                <a:gd name="connsiteX104" fmla="*/ 330956 w 382800"/>
                <a:gd name="connsiteY104" fmla="*/ 120977 h 375541"/>
                <a:gd name="connsiteX105" fmla="*/ 330089 w 382800"/>
                <a:gd name="connsiteY105" fmla="*/ 124673 h 375541"/>
                <a:gd name="connsiteX106" fmla="*/ 330737 w 382800"/>
                <a:gd name="connsiteY106" fmla="*/ 127130 h 375541"/>
                <a:gd name="connsiteX107" fmla="*/ 330327 w 382800"/>
                <a:gd name="connsiteY107" fmla="*/ 130988 h 375541"/>
                <a:gd name="connsiteX108" fmla="*/ 328870 w 382800"/>
                <a:gd name="connsiteY108" fmla="*/ 136236 h 375541"/>
                <a:gd name="connsiteX109" fmla="*/ 328622 w 382800"/>
                <a:gd name="connsiteY109" fmla="*/ 140189 h 375541"/>
                <a:gd name="connsiteX110" fmla="*/ 329594 w 382800"/>
                <a:gd name="connsiteY110" fmla="*/ 142856 h 375541"/>
                <a:gd name="connsiteX111" fmla="*/ 330937 w 382800"/>
                <a:gd name="connsiteY111" fmla="*/ 143399 h 375541"/>
                <a:gd name="connsiteX112" fmla="*/ 327708 w 382800"/>
                <a:gd name="connsiteY112" fmla="*/ 145189 h 375541"/>
                <a:gd name="connsiteX113" fmla="*/ 326974 w 382800"/>
                <a:gd name="connsiteY113" fmla="*/ 146761 h 375541"/>
                <a:gd name="connsiteX114" fmla="*/ 325707 w 382800"/>
                <a:gd name="connsiteY114" fmla="*/ 148828 h 375541"/>
                <a:gd name="connsiteX115" fmla="*/ 323650 w 382800"/>
                <a:gd name="connsiteY115" fmla="*/ 149695 h 375541"/>
                <a:gd name="connsiteX116" fmla="*/ 321583 w 382800"/>
                <a:gd name="connsiteY116" fmla="*/ 149980 h 375541"/>
                <a:gd name="connsiteX117" fmla="*/ 319907 w 382800"/>
                <a:gd name="connsiteY117" fmla="*/ 149714 h 375541"/>
                <a:gd name="connsiteX118" fmla="*/ 318954 w 382800"/>
                <a:gd name="connsiteY118" fmla="*/ 148885 h 375541"/>
                <a:gd name="connsiteX119" fmla="*/ 319002 w 382800"/>
                <a:gd name="connsiteY119" fmla="*/ 148114 h 375541"/>
                <a:gd name="connsiteX120" fmla="*/ 318116 w 382800"/>
                <a:gd name="connsiteY120" fmla="*/ 147456 h 375541"/>
                <a:gd name="connsiteX121" fmla="*/ 315916 w 382800"/>
                <a:gd name="connsiteY121" fmla="*/ 147475 h 375541"/>
                <a:gd name="connsiteX122" fmla="*/ 313639 w 382800"/>
                <a:gd name="connsiteY122" fmla="*/ 148895 h 375541"/>
                <a:gd name="connsiteX123" fmla="*/ 311820 w 382800"/>
                <a:gd name="connsiteY123" fmla="*/ 151219 h 375541"/>
                <a:gd name="connsiteX124" fmla="*/ 312382 w 382800"/>
                <a:gd name="connsiteY124" fmla="*/ 152514 h 375541"/>
                <a:gd name="connsiteX125" fmla="*/ 314058 w 382800"/>
                <a:gd name="connsiteY125" fmla="*/ 152857 h 375541"/>
                <a:gd name="connsiteX126" fmla="*/ 314497 w 382800"/>
                <a:gd name="connsiteY126" fmla="*/ 153371 h 375541"/>
                <a:gd name="connsiteX127" fmla="*/ 314497 w 382800"/>
                <a:gd name="connsiteY127" fmla="*/ 154038 h 375541"/>
                <a:gd name="connsiteX128" fmla="*/ 313906 w 382800"/>
                <a:gd name="connsiteY128" fmla="*/ 154838 h 375541"/>
                <a:gd name="connsiteX129" fmla="*/ 313201 w 382800"/>
                <a:gd name="connsiteY129" fmla="*/ 156210 h 375541"/>
                <a:gd name="connsiteX130" fmla="*/ 309686 w 382800"/>
                <a:gd name="connsiteY130" fmla="*/ 160286 h 375541"/>
                <a:gd name="connsiteX131" fmla="*/ 306143 w 382800"/>
                <a:gd name="connsiteY131" fmla="*/ 164392 h 375541"/>
                <a:gd name="connsiteX132" fmla="*/ 305571 w 382800"/>
                <a:gd name="connsiteY132" fmla="*/ 165630 h 375541"/>
                <a:gd name="connsiteX133" fmla="*/ 304448 w 382800"/>
                <a:gd name="connsiteY133" fmla="*/ 166497 h 375541"/>
                <a:gd name="connsiteX134" fmla="*/ 299942 w 382800"/>
                <a:gd name="connsiteY134" fmla="*/ 168688 h 375541"/>
                <a:gd name="connsiteX135" fmla="*/ 299476 w 382800"/>
                <a:gd name="connsiteY135" fmla="*/ 169564 h 375541"/>
                <a:gd name="connsiteX136" fmla="*/ 299218 w 382800"/>
                <a:gd name="connsiteY136" fmla="*/ 173212 h 375541"/>
                <a:gd name="connsiteX137" fmla="*/ 298713 w 382800"/>
                <a:gd name="connsiteY137" fmla="*/ 176203 h 375541"/>
                <a:gd name="connsiteX138" fmla="*/ 295370 w 382800"/>
                <a:gd name="connsiteY138" fmla="*/ 179013 h 375541"/>
                <a:gd name="connsiteX139" fmla="*/ 292046 w 382800"/>
                <a:gd name="connsiteY139" fmla="*/ 181803 h 375541"/>
                <a:gd name="connsiteX140" fmla="*/ 291217 w 382800"/>
                <a:gd name="connsiteY140" fmla="*/ 183509 h 375541"/>
                <a:gd name="connsiteX141" fmla="*/ 290617 w 382800"/>
                <a:gd name="connsiteY141" fmla="*/ 185480 h 375541"/>
                <a:gd name="connsiteX142" fmla="*/ 289579 w 382800"/>
                <a:gd name="connsiteY142" fmla="*/ 187709 h 375541"/>
                <a:gd name="connsiteX143" fmla="*/ 289370 w 382800"/>
                <a:gd name="connsiteY143" fmla="*/ 188890 h 375541"/>
                <a:gd name="connsiteX144" fmla="*/ 291056 w 382800"/>
                <a:gd name="connsiteY144" fmla="*/ 190805 h 375541"/>
                <a:gd name="connsiteX145" fmla="*/ 290856 w 382800"/>
                <a:gd name="connsiteY145" fmla="*/ 192386 h 375541"/>
                <a:gd name="connsiteX146" fmla="*/ 290322 w 382800"/>
                <a:gd name="connsiteY146" fmla="*/ 194634 h 375541"/>
                <a:gd name="connsiteX147" fmla="*/ 288732 w 382800"/>
                <a:gd name="connsiteY147" fmla="*/ 196224 h 375541"/>
                <a:gd name="connsiteX148" fmla="*/ 286960 w 382800"/>
                <a:gd name="connsiteY148" fmla="*/ 197129 h 375541"/>
                <a:gd name="connsiteX149" fmla="*/ 286998 w 382800"/>
                <a:gd name="connsiteY149" fmla="*/ 199568 h 375541"/>
                <a:gd name="connsiteX150" fmla="*/ 287941 w 382800"/>
                <a:gd name="connsiteY150" fmla="*/ 199910 h 375541"/>
                <a:gd name="connsiteX151" fmla="*/ 290074 w 382800"/>
                <a:gd name="connsiteY151" fmla="*/ 199730 h 375541"/>
                <a:gd name="connsiteX152" fmla="*/ 293094 w 382800"/>
                <a:gd name="connsiteY152" fmla="*/ 197958 h 375541"/>
                <a:gd name="connsiteX153" fmla="*/ 295065 w 382800"/>
                <a:gd name="connsiteY153" fmla="*/ 195672 h 375541"/>
                <a:gd name="connsiteX154" fmla="*/ 293904 w 382800"/>
                <a:gd name="connsiteY154" fmla="*/ 193510 h 375541"/>
                <a:gd name="connsiteX155" fmla="*/ 293761 w 382800"/>
                <a:gd name="connsiteY155" fmla="*/ 193091 h 375541"/>
                <a:gd name="connsiteX156" fmla="*/ 294046 w 382800"/>
                <a:gd name="connsiteY156" fmla="*/ 192576 h 375541"/>
                <a:gd name="connsiteX157" fmla="*/ 296380 w 382800"/>
                <a:gd name="connsiteY157" fmla="*/ 190214 h 375541"/>
                <a:gd name="connsiteX158" fmla="*/ 299238 w 382800"/>
                <a:gd name="connsiteY158" fmla="*/ 188795 h 375541"/>
                <a:gd name="connsiteX159" fmla="*/ 303228 w 382800"/>
                <a:gd name="connsiteY159" fmla="*/ 188528 h 375541"/>
                <a:gd name="connsiteX160" fmla="*/ 308038 w 382800"/>
                <a:gd name="connsiteY160" fmla="*/ 189366 h 375541"/>
                <a:gd name="connsiteX161" fmla="*/ 308515 w 382800"/>
                <a:gd name="connsiteY161" fmla="*/ 189719 h 375541"/>
                <a:gd name="connsiteX162" fmla="*/ 308286 w 382800"/>
                <a:gd name="connsiteY162" fmla="*/ 191167 h 375541"/>
                <a:gd name="connsiteX163" fmla="*/ 308734 w 382800"/>
                <a:gd name="connsiteY163" fmla="*/ 193300 h 375541"/>
                <a:gd name="connsiteX164" fmla="*/ 309601 w 382800"/>
                <a:gd name="connsiteY164" fmla="*/ 194796 h 375541"/>
                <a:gd name="connsiteX165" fmla="*/ 308410 w 382800"/>
                <a:gd name="connsiteY165" fmla="*/ 199034 h 375541"/>
                <a:gd name="connsiteX166" fmla="*/ 309315 w 382800"/>
                <a:gd name="connsiteY166" fmla="*/ 200358 h 375541"/>
                <a:gd name="connsiteX167" fmla="*/ 310715 w 382800"/>
                <a:gd name="connsiteY167" fmla="*/ 201949 h 375541"/>
                <a:gd name="connsiteX168" fmla="*/ 311763 w 382800"/>
                <a:gd name="connsiteY168" fmla="*/ 203397 h 375541"/>
                <a:gd name="connsiteX169" fmla="*/ 313268 w 382800"/>
                <a:gd name="connsiteY169" fmla="*/ 204721 h 375541"/>
                <a:gd name="connsiteX170" fmla="*/ 314611 w 382800"/>
                <a:gd name="connsiteY170" fmla="*/ 206959 h 375541"/>
                <a:gd name="connsiteX171" fmla="*/ 315068 w 382800"/>
                <a:gd name="connsiteY171" fmla="*/ 208226 h 375541"/>
                <a:gd name="connsiteX172" fmla="*/ 312916 w 382800"/>
                <a:gd name="connsiteY172" fmla="*/ 210417 h 375541"/>
                <a:gd name="connsiteX173" fmla="*/ 309277 w 382800"/>
                <a:gd name="connsiteY173" fmla="*/ 212474 h 375541"/>
                <a:gd name="connsiteX174" fmla="*/ 308867 w 382800"/>
                <a:gd name="connsiteY174" fmla="*/ 213798 h 375541"/>
                <a:gd name="connsiteX175" fmla="*/ 308915 w 382800"/>
                <a:gd name="connsiteY175" fmla="*/ 215294 h 375541"/>
                <a:gd name="connsiteX176" fmla="*/ 309324 w 382800"/>
                <a:gd name="connsiteY176" fmla="*/ 216475 h 375541"/>
                <a:gd name="connsiteX177" fmla="*/ 311334 w 382800"/>
                <a:gd name="connsiteY177" fmla="*/ 217989 h 375541"/>
                <a:gd name="connsiteX178" fmla="*/ 313496 w 382800"/>
                <a:gd name="connsiteY178" fmla="*/ 221409 h 375541"/>
                <a:gd name="connsiteX179" fmla="*/ 314868 w 382800"/>
                <a:gd name="connsiteY179" fmla="*/ 224456 h 375541"/>
                <a:gd name="connsiteX180" fmla="*/ 317868 w 382800"/>
                <a:gd name="connsiteY180" fmla="*/ 227371 h 375541"/>
                <a:gd name="connsiteX181" fmla="*/ 318602 w 382800"/>
                <a:gd name="connsiteY181" fmla="*/ 228238 h 375541"/>
                <a:gd name="connsiteX182" fmla="*/ 318411 w 382800"/>
                <a:gd name="connsiteY182" fmla="*/ 228962 h 375541"/>
                <a:gd name="connsiteX183" fmla="*/ 317621 w 382800"/>
                <a:gd name="connsiteY183" fmla="*/ 230200 h 375541"/>
                <a:gd name="connsiteX184" fmla="*/ 316592 w 382800"/>
                <a:gd name="connsiteY184" fmla="*/ 234334 h 375541"/>
                <a:gd name="connsiteX185" fmla="*/ 315363 w 382800"/>
                <a:gd name="connsiteY185" fmla="*/ 234982 h 375541"/>
                <a:gd name="connsiteX186" fmla="*/ 313992 w 382800"/>
                <a:gd name="connsiteY186" fmla="*/ 235248 h 375541"/>
                <a:gd name="connsiteX187" fmla="*/ 310277 w 382800"/>
                <a:gd name="connsiteY187" fmla="*/ 238268 h 375541"/>
                <a:gd name="connsiteX188" fmla="*/ 308620 w 382800"/>
                <a:gd name="connsiteY188" fmla="*/ 237896 h 375541"/>
                <a:gd name="connsiteX189" fmla="*/ 306267 w 382800"/>
                <a:gd name="connsiteY189" fmla="*/ 237934 h 375541"/>
                <a:gd name="connsiteX190" fmla="*/ 304543 w 382800"/>
                <a:gd name="connsiteY190" fmla="*/ 238925 h 375541"/>
                <a:gd name="connsiteX191" fmla="*/ 304733 w 382800"/>
                <a:gd name="connsiteY191" fmla="*/ 240801 h 375541"/>
                <a:gd name="connsiteX192" fmla="*/ 306248 w 382800"/>
                <a:gd name="connsiteY192" fmla="*/ 242516 h 375541"/>
                <a:gd name="connsiteX193" fmla="*/ 307134 w 382800"/>
                <a:gd name="connsiteY193" fmla="*/ 244383 h 375541"/>
                <a:gd name="connsiteX194" fmla="*/ 307496 w 382800"/>
                <a:gd name="connsiteY194" fmla="*/ 246326 h 375541"/>
                <a:gd name="connsiteX195" fmla="*/ 309172 w 382800"/>
                <a:gd name="connsiteY195" fmla="*/ 247764 h 375541"/>
                <a:gd name="connsiteX196" fmla="*/ 311534 w 382800"/>
                <a:gd name="connsiteY196" fmla="*/ 248621 h 375541"/>
                <a:gd name="connsiteX197" fmla="*/ 312887 w 382800"/>
                <a:gd name="connsiteY197" fmla="*/ 248678 h 375541"/>
                <a:gd name="connsiteX198" fmla="*/ 313763 w 382800"/>
                <a:gd name="connsiteY198" fmla="*/ 249193 h 375541"/>
                <a:gd name="connsiteX199" fmla="*/ 314297 w 382800"/>
                <a:gd name="connsiteY199" fmla="*/ 249860 h 375541"/>
                <a:gd name="connsiteX200" fmla="*/ 315316 w 382800"/>
                <a:gd name="connsiteY200" fmla="*/ 254013 h 375541"/>
                <a:gd name="connsiteX201" fmla="*/ 314706 w 382800"/>
                <a:gd name="connsiteY201" fmla="*/ 255051 h 375541"/>
                <a:gd name="connsiteX202" fmla="*/ 313430 w 382800"/>
                <a:gd name="connsiteY202" fmla="*/ 255489 h 375541"/>
                <a:gd name="connsiteX203" fmla="*/ 312668 w 382800"/>
                <a:gd name="connsiteY203" fmla="*/ 257194 h 375541"/>
                <a:gd name="connsiteX204" fmla="*/ 311153 w 382800"/>
                <a:gd name="connsiteY204" fmla="*/ 259699 h 375541"/>
                <a:gd name="connsiteX205" fmla="*/ 310296 w 382800"/>
                <a:gd name="connsiteY205" fmla="*/ 261709 h 375541"/>
                <a:gd name="connsiteX206" fmla="*/ 311248 w 382800"/>
                <a:gd name="connsiteY206" fmla="*/ 263480 h 375541"/>
                <a:gd name="connsiteX207" fmla="*/ 311648 w 382800"/>
                <a:gd name="connsiteY207" fmla="*/ 264795 h 375541"/>
                <a:gd name="connsiteX208" fmla="*/ 311144 w 382800"/>
                <a:gd name="connsiteY208" fmla="*/ 266147 h 375541"/>
                <a:gd name="connsiteX209" fmla="*/ 311820 w 382800"/>
                <a:gd name="connsiteY209" fmla="*/ 268243 h 375541"/>
                <a:gd name="connsiteX210" fmla="*/ 313611 w 382800"/>
                <a:gd name="connsiteY210" fmla="*/ 270319 h 375541"/>
                <a:gd name="connsiteX211" fmla="*/ 318478 w 382800"/>
                <a:gd name="connsiteY211" fmla="*/ 273234 h 375541"/>
                <a:gd name="connsiteX212" fmla="*/ 323002 w 382800"/>
                <a:gd name="connsiteY212" fmla="*/ 275606 h 375541"/>
                <a:gd name="connsiteX213" fmla="*/ 324403 w 382800"/>
                <a:gd name="connsiteY213" fmla="*/ 275996 h 375541"/>
                <a:gd name="connsiteX214" fmla="*/ 330518 w 382800"/>
                <a:gd name="connsiteY214" fmla="*/ 274472 h 375541"/>
                <a:gd name="connsiteX215" fmla="*/ 331527 w 382800"/>
                <a:gd name="connsiteY215" fmla="*/ 274606 h 375541"/>
                <a:gd name="connsiteX216" fmla="*/ 332270 w 382800"/>
                <a:gd name="connsiteY216" fmla="*/ 276415 h 375541"/>
                <a:gd name="connsiteX217" fmla="*/ 332594 w 382800"/>
                <a:gd name="connsiteY217" fmla="*/ 277635 h 375541"/>
                <a:gd name="connsiteX218" fmla="*/ 331908 w 382800"/>
                <a:gd name="connsiteY218" fmla="*/ 279463 h 375541"/>
                <a:gd name="connsiteX219" fmla="*/ 330222 w 382800"/>
                <a:gd name="connsiteY219" fmla="*/ 282045 h 375541"/>
                <a:gd name="connsiteX220" fmla="*/ 328432 w 382800"/>
                <a:gd name="connsiteY220" fmla="*/ 284054 h 375541"/>
                <a:gd name="connsiteX221" fmla="*/ 327346 w 382800"/>
                <a:gd name="connsiteY221" fmla="*/ 285759 h 375541"/>
                <a:gd name="connsiteX222" fmla="*/ 327574 w 382800"/>
                <a:gd name="connsiteY222" fmla="*/ 287312 h 375541"/>
                <a:gd name="connsiteX223" fmla="*/ 327641 w 382800"/>
                <a:gd name="connsiteY223" fmla="*/ 289369 h 375541"/>
                <a:gd name="connsiteX224" fmla="*/ 326184 w 382800"/>
                <a:gd name="connsiteY224" fmla="*/ 289979 h 375541"/>
                <a:gd name="connsiteX225" fmla="*/ 326136 w 382800"/>
                <a:gd name="connsiteY225" fmla="*/ 289579 h 375541"/>
                <a:gd name="connsiteX226" fmla="*/ 325536 w 382800"/>
                <a:gd name="connsiteY226" fmla="*/ 289227 h 375541"/>
                <a:gd name="connsiteX227" fmla="*/ 325022 w 382800"/>
                <a:gd name="connsiteY227" fmla="*/ 289427 h 375541"/>
                <a:gd name="connsiteX228" fmla="*/ 324621 w 382800"/>
                <a:gd name="connsiteY228" fmla="*/ 289874 h 375541"/>
                <a:gd name="connsiteX229" fmla="*/ 324565 w 382800"/>
                <a:gd name="connsiteY229" fmla="*/ 290665 h 375541"/>
                <a:gd name="connsiteX230" fmla="*/ 321459 w 382800"/>
                <a:gd name="connsiteY230" fmla="*/ 291979 h 375541"/>
                <a:gd name="connsiteX231" fmla="*/ 319316 w 382800"/>
                <a:gd name="connsiteY231" fmla="*/ 293341 h 375541"/>
                <a:gd name="connsiteX232" fmla="*/ 310848 w 382800"/>
                <a:gd name="connsiteY232" fmla="*/ 301457 h 375541"/>
                <a:gd name="connsiteX233" fmla="*/ 306886 w 382800"/>
                <a:gd name="connsiteY233" fmla="*/ 303828 h 375541"/>
                <a:gd name="connsiteX234" fmla="*/ 306105 w 382800"/>
                <a:gd name="connsiteY234" fmla="*/ 305257 h 375541"/>
                <a:gd name="connsiteX235" fmla="*/ 305295 w 382800"/>
                <a:gd name="connsiteY235" fmla="*/ 307924 h 375541"/>
                <a:gd name="connsiteX236" fmla="*/ 302971 w 382800"/>
                <a:gd name="connsiteY236" fmla="*/ 310210 h 375541"/>
                <a:gd name="connsiteX237" fmla="*/ 300933 w 382800"/>
                <a:gd name="connsiteY237" fmla="*/ 311296 h 375541"/>
                <a:gd name="connsiteX238" fmla="*/ 295894 w 382800"/>
                <a:gd name="connsiteY238" fmla="*/ 312410 h 375541"/>
                <a:gd name="connsiteX239" fmla="*/ 290827 w 382800"/>
                <a:gd name="connsiteY239" fmla="*/ 314830 h 375541"/>
                <a:gd name="connsiteX240" fmla="*/ 288541 w 382800"/>
                <a:gd name="connsiteY240" fmla="*/ 313782 h 375541"/>
                <a:gd name="connsiteX241" fmla="*/ 282635 w 382800"/>
                <a:gd name="connsiteY241" fmla="*/ 313896 h 375541"/>
                <a:gd name="connsiteX242" fmla="*/ 278949 w 382800"/>
                <a:gd name="connsiteY242" fmla="*/ 310982 h 375541"/>
                <a:gd name="connsiteX243" fmla="*/ 271862 w 382800"/>
                <a:gd name="connsiteY243" fmla="*/ 309134 h 375541"/>
                <a:gd name="connsiteX244" fmla="*/ 269558 w 382800"/>
                <a:gd name="connsiteY244" fmla="*/ 304876 h 375541"/>
                <a:gd name="connsiteX245" fmla="*/ 266329 w 382800"/>
                <a:gd name="connsiteY245" fmla="*/ 304600 h 375541"/>
                <a:gd name="connsiteX246" fmla="*/ 264214 w 382800"/>
                <a:gd name="connsiteY246" fmla="*/ 304733 h 375541"/>
                <a:gd name="connsiteX247" fmla="*/ 262947 w 382800"/>
                <a:gd name="connsiteY247" fmla="*/ 304086 h 375541"/>
                <a:gd name="connsiteX248" fmla="*/ 262624 w 382800"/>
                <a:gd name="connsiteY248" fmla="*/ 302628 h 375541"/>
                <a:gd name="connsiteX249" fmla="*/ 262595 w 382800"/>
                <a:gd name="connsiteY249" fmla="*/ 301228 h 375541"/>
                <a:gd name="connsiteX250" fmla="*/ 260356 w 382800"/>
                <a:gd name="connsiteY250" fmla="*/ 301876 h 375541"/>
                <a:gd name="connsiteX251" fmla="*/ 258642 w 382800"/>
                <a:gd name="connsiteY251" fmla="*/ 301876 h 375541"/>
                <a:gd name="connsiteX252" fmla="*/ 257623 w 382800"/>
                <a:gd name="connsiteY252" fmla="*/ 302438 h 375541"/>
                <a:gd name="connsiteX253" fmla="*/ 256823 w 382800"/>
                <a:gd name="connsiteY253" fmla="*/ 303085 h 375541"/>
                <a:gd name="connsiteX254" fmla="*/ 255870 w 382800"/>
                <a:gd name="connsiteY254" fmla="*/ 302676 h 375541"/>
                <a:gd name="connsiteX255" fmla="*/ 255318 w 382800"/>
                <a:gd name="connsiteY255" fmla="*/ 302819 h 375541"/>
                <a:gd name="connsiteX256" fmla="*/ 255365 w 382800"/>
                <a:gd name="connsiteY256" fmla="*/ 303638 h 375541"/>
                <a:gd name="connsiteX257" fmla="*/ 253308 w 382800"/>
                <a:gd name="connsiteY257" fmla="*/ 303847 h 375541"/>
                <a:gd name="connsiteX258" fmla="*/ 251070 w 382800"/>
                <a:gd name="connsiteY258" fmla="*/ 303343 h 375541"/>
                <a:gd name="connsiteX259" fmla="*/ 245212 w 382800"/>
                <a:gd name="connsiteY259" fmla="*/ 301142 h 375541"/>
                <a:gd name="connsiteX260" fmla="*/ 244316 w 382800"/>
                <a:gd name="connsiteY260" fmla="*/ 300799 h 375541"/>
                <a:gd name="connsiteX261" fmla="*/ 240249 w 382800"/>
                <a:gd name="connsiteY261" fmla="*/ 299952 h 375541"/>
                <a:gd name="connsiteX262" fmla="*/ 238611 w 382800"/>
                <a:gd name="connsiteY262" fmla="*/ 299066 h 375541"/>
                <a:gd name="connsiteX263" fmla="*/ 237277 w 382800"/>
                <a:gd name="connsiteY263" fmla="*/ 296885 h 375541"/>
                <a:gd name="connsiteX264" fmla="*/ 236268 w 382800"/>
                <a:gd name="connsiteY264" fmla="*/ 296199 h 375541"/>
                <a:gd name="connsiteX265" fmla="*/ 235668 w 382800"/>
                <a:gd name="connsiteY265" fmla="*/ 295789 h 375541"/>
                <a:gd name="connsiteX266" fmla="*/ 231877 w 382800"/>
                <a:gd name="connsiteY266" fmla="*/ 296894 h 375541"/>
                <a:gd name="connsiteX267" fmla="*/ 230562 w 382800"/>
                <a:gd name="connsiteY267" fmla="*/ 298609 h 375541"/>
                <a:gd name="connsiteX268" fmla="*/ 228514 w 382800"/>
                <a:gd name="connsiteY268" fmla="*/ 300618 h 375541"/>
                <a:gd name="connsiteX269" fmla="*/ 214456 w 382800"/>
                <a:gd name="connsiteY269" fmla="*/ 310448 h 375541"/>
                <a:gd name="connsiteX270" fmla="*/ 211884 w 382800"/>
                <a:gd name="connsiteY270" fmla="*/ 314553 h 375541"/>
                <a:gd name="connsiteX271" fmla="*/ 208912 w 382800"/>
                <a:gd name="connsiteY271" fmla="*/ 320583 h 375541"/>
                <a:gd name="connsiteX272" fmla="*/ 208683 w 382800"/>
                <a:gd name="connsiteY272" fmla="*/ 323393 h 375541"/>
                <a:gd name="connsiteX273" fmla="*/ 209960 w 382800"/>
                <a:gd name="connsiteY273" fmla="*/ 332346 h 375541"/>
                <a:gd name="connsiteX274" fmla="*/ 212817 w 382800"/>
                <a:gd name="connsiteY274" fmla="*/ 337032 h 375541"/>
                <a:gd name="connsiteX275" fmla="*/ 213179 w 382800"/>
                <a:gd name="connsiteY275" fmla="*/ 338118 h 375541"/>
                <a:gd name="connsiteX276" fmla="*/ 211589 w 382800"/>
                <a:gd name="connsiteY276" fmla="*/ 338128 h 375541"/>
                <a:gd name="connsiteX277" fmla="*/ 208931 w 382800"/>
                <a:gd name="connsiteY277" fmla="*/ 337537 h 375541"/>
                <a:gd name="connsiteX278" fmla="*/ 206731 w 382800"/>
                <a:gd name="connsiteY278" fmla="*/ 336813 h 375541"/>
                <a:gd name="connsiteX279" fmla="*/ 204626 w 382800"/>
                <a:gd name="connsiteY279" fmla="*/ 337213 h 375541"/>
                <a:gd name="connsiteX280" fmla="*/ 202606 w 382800"/>
                <a:gd name="connsiteY280" fmla="*/ 338185 h 375541"/>
                <a:gd name="connsiteX281" fmla="*/ 200835 w 382800"/>
                <a:gd name="connsiteY281" fmla="*/ 338776 h 375541"/>
                <a:gd name="connsiteX282" fmla="*/ 199558 w 382800"/>
                <a:gd name="connsiteY282" fmla="*/ 338937 h 375541"/>
                <a:gd name="connsiteX283" fmla="*/ 198711 w 382800"/>
                <a:gd name="connsiteY283" fmla="*/ 339499 h 375541"/>
                <a:gd name="connsiteX284" fmla="*/ 198301 w 382800"/>
                <a:gd name="connsiteY284" fmla="*/ 340614 h 375541"/>
                <a:gd name="connsiteX285" fmla="*/ 198225 w 382800"/>
                <a:gd name="connsiteY285" fmla="*/ 341395 h 375541"/>
                <a:gd name="connsiteX286" fmla="*/ 195987 w 382800"/>
                <a:gd name="connsiteY286" fmla="*/ 341204 h 375541"/>
                <a:gd name="connsiteX287" fmla="*/ 190815 w 382800"/>
                <a:gd name="connsiteY287" fmla="*/ 339604 h 375541"/>
                <a:gd name="connsiteX288" fmla="*/ 186166 w 382800"/>
                <a:gd name="connsiteY288" fmla="*/ 338499 h 375541"/>
                <a:gd name="connsiteX289" fmla="*/ 183432 w 382800"/>
                <a:gd name="connsiteY289" fmla="*/ 339757 h 375541"/>
                <a:gd name="connsiteX290" fmla="*/ 181680 w 382800"/>
                <a:gd name="connsiteY290" fmla="*/ 340928 h 375541"/>
                <a:gd name="connsiteX291" fmla="*/ 180451 w 382800"/>
                <a:gd name="connsiteY291" fmla="*/ 340747 h 375541"/>
                <a:gd name="connsiteX292" fmla="*/ 179508 w 382800"/>
                <a:gd name="connsiteY292" fmla="*/ 339509 h 375541"/>
                <a:gd name="connsiteX293" fmla="*/ 178879 w 382800"/>
                <a:gd name="connsiteY293" fmla="*/ 338299 h 375541"/>
                <a:gd name="connsiteX294" fmla="*/ 177060 w 382800"/>
                <a:gd name="connsiteY294" fmla="*/ 337185 h 375541"/>
                <a:gd name="connsiteX295" fmla="*/ 172946 w 382800"/>
                <a:gd name="connsiteY295" fmla="*/ 335518 h 375541"/>
                <a:gd name="connsiteX296" fmla="*/ 173155 w 382800"/>
                <a:gd name="connsiteY296" fmla="*/ 334718 h 375541"/>
                <a:gd name="connsiteX297" fmla="*/ 173860 w 382800"/>
                <a:gd name="connsiteY297" fmla="*/ 333594 h 375541"/>
                <a:gd name="connsiteX298" fmla="*/ 173841 w 382800"/>
                <a:gd name="connsiteY298" fmla="*/ 332899 h 375541"/>
                <a:gd name="connsiteX299" fmla="*/ 173050 w 382800"/>
                <a:gd name="connsiteY299" fmla="*/ 331870 h 375541"/>
                <a:gd name="connsiteX300" fmla="*/ 169259 w 382800"/>
                <a:gd name="connsiteY300" fmla="*/ 330765 h 375541"/>
                <a:gd name="connsiteX301" fmla="*/ 167469 w 382800"/>
                <a:gd name="connsiteY301" fmla="*/ 330489 h 375541"/>
                <a:gd name="connsiteX302" fmla="*/ 166335 w 382800"/>
                <a:gd name="connsiteY302" fmla="*/ 331251 h 375541"/>
                <a:gd name="connsiteX303" fmla="*/ 165516 w 382800"/>
                <a:gd name="connsiteY303" fmla="*/ 332184 h 375541"/>
                <a:gd name="connsiteX304" fmla="*/ 163411 w 382800"/>
                <a:gd name="connsiteY304" fmla="*/ 328755 h 375541"/>
                <a:gd name="connsiteX305" fmla="*/ 161906 w 382800"/>
                <a:gd name="connsiteY305" fmla="*/ 328050 h 375541"/>
                <a:gd name="connsiteX306" fmla="*/ 159639 w 382800"/>
                <a:gd name="connsiteY306" fmla="*/ 327936 h 375541"/>
                <a:gd name="connsiteX307" fmla="*/ 157039 w 382800"/>
                <a:gd name="connsiteY307" fmla="*/ 326888 h 375541"/>
                <a:gd name="connsiteX308" fmla="*/ 154334 w 382800"/>
                <a:gd name="connsiteY308" fmla="*/ 325545 h 375541"/>
                <a:gd name="connsiteX309" fmla="*/ 147771 w 382800"/>
                <a:gd name="connsiteY309" fmla="*/ 323402 h 375541"/>
                <a:gd name="connsiteX310" fmla="*/ 145971 w 382800"/>
                <a:gd name="connsiteY310" fmla="*/ 323145 h 375541"/>
                <a:gd name="connsiteX311" fmla="*/ 145247 w 382800"/>
                <a:gd name="connsiteY311" fmla="*/ 323488 h 375541"/>
                <a:gd name="connsiteX312" fmla="*/ 144761 w 382800"/>
                <a:gd name="connsiteY312" fmla="*/ 324774 h 375541"/>
                <a:gd name="connsiteX313" fmla="*/ 144504 w 382800"/>
                <a:gd name="connsiteY313" fmla="*/ 328393 h 375541"/>
                <a:gd name="connsiteX314" fmla="*/ 144228 w 382800"/>
                <a:gd name="connsiteY314" fmla="*/ 328793 h 375541"/>
                <a:gd name="connsiteX315" fmla="*/ 141180 w 382800"/>
                <a:gd name="connsiteY315" fmla="*/ 328917 h 375541"/>
                <a:gd name="connsiteX316" fmla="*/ 137427 w 382800"/>
                <a:gd name="connsiteY316" fmla="*/ 328412 h 375541"/>
                <a:gd name="connsiteX317" fmla="*/ 135703 w 382800"/>
                <a:gd name="connsiteY317" fmla="*/ 328660 h 375541"/>
                <a:gd name="connsiteX318" fmla="*/ 134169 w 382800"/>
                <a:gd name="connsiteY318" fmla="*/ 328669 h 375541"/>
                <a:gd name="connsiteX319" fmla="*/ 132722 w 382800"/>
                <a:gd name="connsiteY319" fmla="*/ 327708 h 375541"/>
                <a:gd name="connsiteX320" fmla="*/ 126235 w 382800"/>
                <a:gd name="connsiteY320" fmla="*/ 328803 h 375541"/>
                <a:gd name="connsiteX321" fmla="*/ 125159 w 382800"/>
                <a:gd name="connsiteY321" fmla="*/ 328270 h 375541"/>
                <a:gd name="connsiteX322" fmla="*/ 123597 w 382800"/>
                <a:gd name="connsiteY322" fmla="*/ 326641 h 375541"/>
                <a:gd name="connsiteX323" fmla="*/ 121844 w 382800"/>
                <a:gd name="connsiteY323" fmla="*/ 325317 h 375541"/>
                <a:gd name="connsiteX324" fmla="*/ 120491 w 382800"/>
                <a:gd name="connsiteY324" fmla="*/ 324640 h 375541"/>
                <a:gd name="connsiteX325" fmla="*/ 119329 w 382800"/>
                <a:gd name="connsiteY325" fmla="*/ 323859 h 375541"/>
                <a:gd name="connsiteX326" fmla="*/ 118281 w 382800"/>
                <a:gd name="connsiteY326" fmla="*/ 323735 h 375541"/>
                <a:gd name="connsiteX327" fmla="*/ 116681 w 382800"/>
                <a:gd name="connsiteY327" fmla="*/ 324488 h 375541"/>
                <a:gd name="connsiteX328" fmla="*/ 114472 w 382800"/>
                <a:gd name="connsiteY328" fmla="*/ 324812 h 375541"/>
                <a:gd name="connsiteX329" fmla="*/ 112643 w 382800"/>
                <a:gd name="connsiteY329" fmla="*/ 324717 h 375541"/>
                <a:gd name="connsiteX330" fmla="*/ 111662 w 382800"/>
                <a:gd name="connsiteY330" fmla="*/ 324821 h 375541"/>
                <a:gd name="connsiteX331" fmla="*/ 107547 w 382800"/>
                <a:gd name="connsiteY331" fmla="*/ 320802 h 375541"/>
                <a:gd name="connsiteX332" fmla="*/ 106947 w 382800"/>
                <a:gd name="connsiteY332" fmla="*/ 319706 h 375541"/>
                <a:gd name="connsiteX333" fmla="*/ 104899 w 382800"/>
                <a:gd name="connsiteY333" fmla="*/ 319402 h 375541"/>
                <a:gd name="connsiteX334" fmla="*/ 102365 w 382800"/>
                <a:gd name="connsiteY334" fmla="*/ 319354 h 375541"/>
                <a:gd name="connsiteX335" fmla="*/ 95907 w 382800"/>
                <a:gd name="connsiteY335" fmla="*/ 316744 h 375541"/>
                <a:gd name="connsiteX336" fmla="*/ 92964 w 382800"/>
                <a:gd name="connsiteY336" fmla="*/ 315344 h 375541"/>
                <a:gd name="connsiteX337" fmla="*/ 92535 w 382800"/>
                <a:gd name="connsiteY337" fmla="*/ 314506 h 375541"/>
                <a:gd name="connsiteX338" fmla="*/ 92573 w 382800"/>
                <a:gd name="connsiteY338" fmla="*/ 313830 h 375541"/>
                <a:gd name="connsiteX339" fmla="*/ 92069 w 382800"/>
                <a:gd name="connsiteY339" fmla="*/ 313982 h 375541"/>
                <a:gd name="connsiteX340" fmla="*/ 91164 w 382800"/>
                <a:gd name="connsiteY340" fmla="*/ 315173 h 375541"/>
                <a:gd name="connsiteX341" fmla="*/ 90687 w 382800"/>
                <a:gd name="connsiteY341" fmla="*/ 316144 h 375541"/>
                <a:gd name="connsiteX342" fmla="*/ 90059 w 382800"/>
                <a:gd name="connsiteY342" fmla="*/ 316325 h 375541"/>
                <a:gd name="connsiteX343" fmla="*/ 89135 w 382800"/>
                <a:gd name="connsiteY343" fmla="*/ 316173 h 375541"/>
                <a:gd name="connsiteX344" fmla="*/ 88278 w 382800"/>
                <a:gd name="connsiteY344" fmla="*/ 315620 h 375541"/>
                <a:gd name="connsiteX345" fmla="*/ 87754 w 382800"/>
                <a:gd name="connsiteY345" fmla="*/ 314915 h 375541"/>
                <a:gd name="connsiteX346" fmla="*/ 88316 w 382800"/>
                <a:gd name="connsiteY346" fmla="*/ 313687 h 375541"/>
                <a:gd name="connsiteX347" fmla="*/ 89306 w 382800"/>
                <a:gd name="connsiteY347" fmla="*/ 312077 h 375541"/>
                <a:gd name="connsiteX348" fmla="*/ 89716 w 382800"/>
                <a:gd name="connsiteY348" fmla="*/ 310324 h 375541"/>
                <a:gd name="connsiteX349" fmla="*/ 89621 w 382800"/>
                <a:gd name="connsiteY349" fmla="*/ 308753 h 375541"/>
                <a:gd name="connsiteX350" fmla="*/ 87992 w 382800"/>
                <a:gd name="connsiteY350" fmla="*/ 307743 h 375541"/>
                <a:gd name="connsiteX351" fmla="*/ 85592 w 382800"/>
                <a:gd name="connsiteY351" fmla="*/ 307324 h 375541"/>
                <a:gd name="connsiteX352" fmla="*/ 83829 w 382800"/>
                <a:gd name="connsiteY352" fmla="*/ 307200 h 375541"/>
                <a:gd name="connsiteX353" fmla="*/ 81544 w 382800"/>
                <a:gd name="connsiteY353" fmla="*/ 306305 h 375541"/>
                <a:gd name="connsiteX354" fmla="*/ 80458 w 382800"/>
                <a:gd name="connsiteY354" fmla="*/ 305657 h 375541"/>
                <a:gd name="connsiteX355" fmla="*/ 79410 w 382800"/>
                <a:gd name="connsiteY355" fmla="*/ 303904 h 375541"/>
                <a:gd name="connsiteX356" fmla="*/ 79372 w 382800"/>
                <a:gd name="connsiteY356" fmla="*/ 302628 h 375541"/>
                <a:gd name="connsiteX357" fmla="*/ 83725 w 382800"/>
                <a:gd name="connsiteY357" fmla="*/ 301504 h 375541"/>
                <a:gd name="connsiteX358" fmla="*/ 87640 w 382800"/>
                <a:gd name="connsiteY358" fmla="*/ 296885 h 375541"/>
                <a:gd name="connsiteX359" fmla="*/ 91354 w 382800"/>
                <a:gd name="connsiteY359" fmla="*/ 280044 h 375541"/>
                <a:gd name="connsiteX360" fmla="*/ 94040 w 382800"/>
                <a:gd name="connsiteY360" fmla="*/ 259956 h 375541"/>
                <a:gd name="connsiteX361" fmla="*/ 96031 w 382800"/>
                <a:gd name="connsiteY361" fmla="*/ 256146 h 375541"/>
                <a:gd name="connsiteX362" fmla="*/ 98546 w 382800"/>
                <a:gd name="connsiteY362" fmla="*/ 255098 h 375541"/>
                <a:gd name="connsiteX363" fmla="*/ 96517 w 382800"/>
                <a:gd name="connsiteY363" fmla="*/ 252317 h 375541"/>
                <a:gd name="connsiteX364" fmla="*/ 95250 w 382800"/>
                <a:gd name="connsiteY364" fmla="*/ 253727 h 375541"/>
                <a:gd name="connsiteX365" fmla="*/ 94717 w 382800"/>
                <a:gd name="connsiteY365" fmla="*/ 255222 h 375541"/>
                <a:gd name="connsiteX366" fmla="*/ 94050 w 382800"/>
                <a:gd name="connsiteY366" fmla="*/ 255975 h 375541"/>
                <a:gd name="connsiteX367" fmla="*/ 95545 w 382800"/>
                <a:gd name="connsiteY367" fmla="*/ 237353 h 375541"/>
                <a:gd name="connsiteX368" fmla="*/ 96612 w 382800"/>
                <a:gd name="connsiteY368" fmla="*/ 230495 h 375541"/>
                <a:gd name="connsiteX369" fmla="*/ 98431 w 382800"/>
                <a:gd name="connsiteY369" fmla="*/ 223295 h 375541"/>
                <a:gd name="connsiteX370" fmla="*/ 102156 w 382800"/>
                <a:gd name="connsiteY370" fmla="*/ 226152 h 375541"/>
                <a:gd name="connsiteX371" fmla="*/ 105242 w 382800"/>
                <a:gd name="connsiteY371" fmla="*/ 229057 h 375541"/>
                <a:gd name="connsiteX372" fmla="*/ 106832 w 382800"/>
                <a:gd name="connsiteY372" fmla="*/ 231572 h 375541"/>
                <a:gd name="connsiteX373" fmla="*/ 108852 w 382800"/>
                <a:gd name="connsiteY373" fmla="*/ 239916 h 375541"/>
                <a:gd name="connsiteX374" fmla="*/ 110385 w 382800"/>
                <a:gd name="connsiteY374" fmla="*/ 241668 h 375541"/>
                <a:gd name="connsiteX375" fmla="*/ 112671 w 382800"/>
                <a:gd name="connsiteY375" fmla="*/ 243421 h 375541"/>
                <a:gd name="connsiteX376" fmla="*/ 111766 w 382800"/>
                <a:gd name="connsiteY376" fmla="*/ 241506 h 375541"/>
                <a:gd name="connsiteX377" fmla="*/ 110195 w 382800"/>
                <a:gd name="connsiteY377" fmla="*/ 240039 h 375541"/>
                <a:gd name="connsiteX378" fmla="*/ 107737 w 382800"/>
                <a:gd name="connsiteY378" fmla="*/ 228905 h 375541"/>
                <a:gd name="connsiteX379" fmla="*/ 106194 w 382800"/>
                <a:gd name="connsiteY379" fmla="*/ 225733 h 375541"/>
                <a:gd name="connsiteX380" fmla="*/ 103794 w 382800"/>
                <a:gd name="connsiteY380" fmla="*/ 223066 h 375541"/>
                <a:gd name="connsiteX381" fmla="*/ 96060 w 382800"/>
                <a:gd name="connsiteY381" fmla="*/ 217436 h 375541"/>
                <a:gd name="connsiteX382" fmla="*/ 95364 w 382800"/>
                <a:gd name="connsiteY382" fmla="*/ 216341 h 375541"/>
                <a:gd name="connsiteX383" fmla="*/ 94983 w 382800"/>
                <a:gd name="connsiteY383" fmla="*/ 214189 h 375541"/>
                <a:gd name="connsiteX384" fmla="*/ 97546 w 382800"/>
                <a:gd name="connsiteY384" fmla="*/ 214284 h 375541"/>
                <a:gd name="connsiteX385" fmla="*/ 99755 w 382800"/>
                <a:gd name="connsiteY385" fmla="*/ 215332 h 375541"/>
                <a:gd name="connsiteX386" fmla="*/ 99498 w 382800"/>
                <a:gd name="connsiteY386" fmla="*/ 214131 h 375541"/>
                <a:gd name="connsiteX387" fmla="*/ 98841 w 382800"/>
                <a:gd name="connsiteY387" fmla="*/ 212874 h 375541"/>
                <a:gd name="connsiteX388" fmla="*/ 97812 w 382800"/>
                <a:gd name="connsiteY388" fmla="*/ 208293 h 375541"/>
                <a:gd name="connsiteX389" fmla="*/ 96955 w 382800"/>
                <a:gd name="connsiteY389" fmla="*/ 197558 h 375541"/>
                <a:gd name="connsiteX390" fmla="*/ 97069 w 382800"/>
                <a:gd name="connsiteY390" fmla="*/ 195719 h 375541"/>
                <a:gd name="connsiteX391" fmla="*/ 96688 w 382800"/>
                <a:gd name="connsiteY391" fmla="*/ 193453 h 375541"/>
                <a:gd name="connsiteX392" fmla="*/ 94212 w 382800"/>
                <a:gd name="connsiteY392" fmla="*/ 192948 h 375541"/>
                <a:gd name="connsiteX393" fmla="*/ 92231 w 382800"/>
                <a:gd name="connsiteY393" fmla="*/ 192862 h 375541"/>
                <a:gd name="connsiteX394" fmla="*/ 90097 w 382800"/>
                <a:gd name="connsiteY394" fmla="*/ 191967 h 375541"/>
                <a:gd name="connsiteX395" fmla="*/ 79562 w 382800"/>
                <a:gd name="connsiteY395" fmla="*/ 185604 h 375541"/>
                <a:gd name="connsiteX396" fmla="*/ 75962 w 382800"/>
                <a:gd name="connsiteY396" fmla="*/ 179013 h 375541"/>
                <a:gd name="connsiteX397" fmla="*/ 72276 w 382800"/>
                <a:gd name="connsiteY397" fmla="*/ 174136 h 375541"/>
                <a:gd name="connsiteX398" fmla="*/ 71390 w 382800"/>
                <a:gd name="connsiteY398" fmla="*/ 172002 h 375541"/>
                <a:gd name="connsiteX399" fmla="*/ 71447 w 382800"/>
                <a:gd name="connsiteY399" fmla="*/ 169840 h 375541"/>
                <a:gd name="connsiteX400" fmla="*/ 73362 w 382800"/>
                <a:gd name="connsiteY400" fmla="*/ 165268 h 375541"/>
                <a:gd name="connsiteX401" fmla="*/ 71676 w 382800"/>
                <a:gd name="connsiteY401" fmla="*/ 162373 h 375541"/>
                <a:gd name="connsiteX402" fmla="*/ 70028 w 382800"/>
                <a:gd name="connsiteY402" fmla="*/ 161801 h 375541"/>
                <a:gd name="connsiteX403" fmla="*/ 68599 w 382800"/>
                <a:gd name="connsiteY403" fmla="*/ 160363 h 375541"/>
                <a:gd name="connsiteX404" fmla="*/ 69895 w 382800"/>
                <a:gd name="connsiteY404" fmla="*/ 157972 h 375541"/>
                <a:gd name="connsiteX405" fmla="*/ 70971 w 382800"/>
                <a:gd name="connsiteY405" fmla="*/ 156438 h 375541"/>
                <a:gd name="connsiteX406" fmla="*/ 73133 w 382800"/>
                <a:gd name="connsiteY406" fmla="*/ 156029 h 375541"/>
                <a:gd name="connsiteX407" fmla="*/ 75962 w 382800"/>
                <a:gd name="connsiteY407" fmla="*/ 156534 h 375541"/>
                <a:gd name="connsiteX408" fmla="*/ 78648 w 382800"/>
                <a:gd name="connsiteY408" fmla="*/ 157924 h 375541"/>
                <a:gd name="connsiteX409" fmla="*/ 80753 w 382800"/>
                <a:gd name="connsiteY409" fmla="*/ 158296 h 375541"/>
                <a:gd name="connsiteX410" fmla="*/ 74533 w 382800"/>
                <a:gd name="connsiteY410" fmla="*/ 154572 h 375541"/>
                <a:gd name="connsiteX411" fmla="*/ 64437 w 382800"/>
                <a:gd name="connsiteY411" fmla="*/ 155829 h 375541"/>
                <a:gd name="connsiteX412" fmla="*/ 62256 w 382800"/>
                <a:gd name="connsiteY412" fmla="*/ 155353 h 375541"/>
                <a:gd name="connsiteX413" fmla="*/ 60427 w 382800"/>
                <a:gd name="connsiteY413" fmla="*/ 154524 h 375541"/>
                <a:gd name="connsiteX414" fmla="*/ 59703 w 382800"/>
                <a:gd name="connsiteY414" fmla="*/ 151781 h 375541"/>
                <a:gd name="connsiteX415" fmla="*/ 61141 w 382800"/>
                <a:gd name="connsiteY415" fmla="*/ 150552 h 375541"/>
                <a:gd name="connsiteX416" fmla="*/ 62436 w 382800"/>
                <a:gd name="connsiteY416" fmla="*/ 148266 h 375541"/>
                <a:gd name="connsiteX417" fmla="*/ 60970 w 382800"/>
                <a:gd name="connsiteY417" fmla="*/ 146666 h 375541"/>
                <a:gd name="connsiteX418" fmla="*/ 59065 w 382800"/>
                <a:gd name="connsiteY418" fmla="*/ 146056 h 375541"/>
                <a:gd name="connsiteX419" fmla="*/ 56074 w 382800"/>
                <a:gd name="connsiteY419" fmla="*/ 146085 h 375541"/>
                <a:gd name="connsiteX420" fmla="*/ 53283 w 382800"/>
                <a:gd name="connsiteY420" fmla="*/ 146570 h 375541"/>
                <a:gd name="connsiteX421" fmla="*/ 52578 w 382800"/>
                <a:gd name="connsiteY421" fmla="*/ 145647 h 375541"/>
                <a:gd name="connsiteX422" fmla="*/ 54283 w 382800"/>
                <a:gd name="connsiteY422" fmla="*/ 143094 h 375541"/>
                <a:gd name="connsiteX423" fmla="*/ 52835 w 382800"/>
                <a:gd name="connsiteY423" fmla="*/ 142161 h 375541"/>
                <a:gd name="connsiteX424" fmla="*/ 50902 w 382800"/>
                <a:gd name="connsiteY424" fmla="*/ 142599 h 375541"/>
                <a:gd name="connsiteX425" fmla="*/ 48101 w 382800"/>
                <a:gd name="connsiteY425" fmla="*/ 143122 h 375541"/>
                <a:gd name="connsiteX426" fmla="*/ 45425 w 382800"/>
                <a:gd name="connsiteY426" fmla="*/ 142322 h 375541"/>
                <a:gd name="connsiteX427" fmla="*/ 42891 w 382800"/>
                <a:gd name="connsiteY427" fmla="*/ 139417 h 375541"/>
                <a:gd name="connsiteX428" fmla="*/ 41215 w 382800"/>
                <a:gd name="connsiteY428" fmla="*/ 139436 h 375541"/>
                <a:gd name="connsiteX429" fmla="*/ 40062 w 382800"/>
                <a:gd name="connsiteY429" fmla="*/ 139798 h 375541"/>
                <a:gd name="connsiteX430" fmla="*/ 38357 w 382800"/>
                <a:gd name="connsiteY430" fmla="*/ 138674 h 375541"/>
                <a:gd name="connsiteX431" fmla="*/ 36557 w 382800"/>
                <a:gd name="connsiteY431" fmla="*/ 138398 h 375541"/>
                <a:gd name="connsiteX432" fmla="*/ 35271 w 382800"/>
                <a:gd name="connsiteY432" fmla="*/ 138769 h 375541"/>
                <a:gd name="connsiteX433" fmla="*/ 33566 w 382800"/>
                <a:gd name="connsiteY433" fmla="*/ 137103 h 375541"/>
                <a:gd name="connsiteX434" fmla="*/ 23051 w 382800"/>
                <a:gd name="connsiteY434" fmla="*/ 133750 h 375541"/>
                <a:gd name="connsiteX435" fmla="*/ 18517 w 382800"/>
                <a:gd name="connsiteY435" fmla="*/ 133340 h 375541"/>
                <a:gd name="connsiteX436" fmla="*/ 14354 w 382800"/>
                <a:gd name="connsiteY436" fmla="*/ 134855 h 375541"/>
                <a:gd name="connsiteX437" fmla="*/ 12059 w 382800"/>
                <a:gd name="connsiteY437" fmla="*/ 134331 h 375541"/>
                <a:gd name="connsiteX438" fmla="*/ 10373 w 382800"/>
                <a:gd name="connsiteY438" fmla="*/ 132159 h 375541"/>
                <a:gd name="connsiteX439" fmla="*/ 8963 w 382800"/>
                <a:gd name="connsiteY439" fmla="*/ 128521 h 375541"/>
                <a:gd name="connsiteX440" fmla="*/ 2257 w 382800"/>
                <a:gd name="connsiteY440" fmla="*/ 125711 h 375541"/>
                <a:gd name="connsiteX441" fmla="*/ 3581 w 382800"/>
                <a:gd name="connsiteY441" fmla="*/ 123863 h 375541"/>
                <a:gd name="connsiteX442" fmla="*/ 6706 w 382800"/>
                <a:gd name="connsiteY442" fmla="*/ 123425 h 375541"/>
                <a:gd name="connsiteX443" fmla="*/ 10296 w 382800"/>
                <a:gd name="connsiteY443" fmla="*/ 122148 h 375541"/>
                <a:gd name="connsiteX444" fmla="*/ 11592 w 382800"/>
                <a:gd name="connsiteY444" fmla="*/ 120500 h 375541"/>
                <a:gd name="connsiteX445" fmla="*/ 8782 w 382800"/>
                <a:gd name="connsiteY445" fmla="*/ 118586 h 375541"/>
                <a:gd name="connsiteX446" fmla="*/ 6706 w 382800"/>
                <a:gd name="connsiteY446" fmla="*/ 118110 h 375541"/>
                <a:gd name="connsiteX447" fmla="*/ 5848 w 382800"/>
                <a:gd name="connsiteY447" fmla="*/ 117424 h 375541"/>
                <a:gd name="connsiteX448" fmla="*/ 4972 w 382800"/>
                <a:gd name="connsiteY448" fmla="*/ 115700 h 375541"/>
                <a:gd name="connsiteX449" fmla="*/ 6210 w 382800"/>
                <a:gd name="connsiteY449" fmla="*/ 114910 h 375541"/>
                <a:gd name="connsiteX450" fmla="*/ 7087 w 382800"/>
                <a:gd name="connsiteY450" fmla="*/ 115328 h 375541"/>
                <a:gd name="connsiteX451" fmla="*/ 9620 w 382800"/>
                <a:gd name="connsiteY451" fmla="*/ 115576 h 375541"/>
                <a:gd name="connsiteX452" fmla="*/ 13945 w 382800"/>
                <a:gd name="connsiteY452" fmla="*/ 115157 h 375541"/>
                <a:gd name="connsiteX453" fmla="*/ 12335 w 382800"/>
                <a:gd name="connsiteY453" fmla="*/ 113414 h 375541"/>
                <a:gd name="connsiteX454" fmla="*/ 10659 w 382800"/>
                <a:gd name="connsiteY454" fmla="*/ 113024 h 375541"/>
                <a:gd name="connsiteX455" fmla="*/ 9887 w 382800"/>
                <a:gd name="connsiteY455" fmla="*/ 112585 h 375541"/>
                <a:gd name="connsiteX456" fmla="*/ 6363 w 382800"/>
                <a:gd name="connsiteY456" fmla="*/ 112395 h 375541"/>
                <a:gd name="connsiteX457" fmla="*/ 4763 w 382800"/>
                <a:gd name="connsiteY457" fmla="*/ 112995 h 375541"/>
                <a:gd name="connsiteX458" fmla="*/ 1162 w 382800"/>
                <a:gd name="connsiteY458" fmla="*/ 112766 h 375541"/>
                <a:gd name="connsiteX459" fmla="*/ 381 w 382800"/>
                <a:gd name="connsiteY459" fmla="*/ 110890 h 375541"/>
                <a:gd name="connsiteX460" fmla="*/ 0 w 382800"/>
                <a:gd name="connsiteY460" fmla="*/ 109271 h 375541"/>
                <a:gd name="connsiteX461" fmla="*/ 1114 w 382800"/>
                <a:gd name="connsiteY461" fmla="*/ 105670 h 375541"/>
                <a:gd name="connsiteX462" fmla="*/ 6182 w 382800"/>
                <a:gd name="connsiteY462" fmla="*/ 102441 h 375541"/>
                <a:gd name="connsiteX463" fmla="*/ 18812 w 382800"/>
                <a:gd name="connsiteY463" fmla="*/ 98907 h 375541"/>
                <a:gd name="connsiteX464" fmla="*/ 24241 w 382800"/>
                <a:gd name="connsiteY464" fmla="*/ 99422 h 375541"/>
                <a:gd name="connsiteX465" fmla="*/ 28004 w 382800"/>
                <a:gd name="connsiteY465" fmla="*/ 98784 h 375541"/>
                <a:gd name="connsiteX466" fmla="*/ 32518 w 382800"/>
                <a:gd name="connsiteY466" fmla="*/ 96555 h 375541"/>
                <a:gd name="connsiteX467" fmla="*/ 34509 w 382800"/>
                <a:gd name="connsiteY467" fmla="*/ 94640 h 375541"/>
                <a:gd name="connsiteX468" fmla="*/ 40929 w 382800"/>
                <a:gd name="connsiteY468" fmla="*/ 93516 h 375541"/>
                <a:gd name="connsiteX469" fmla="*/ 47025 w 382800"/>
                <a:gd name="connsiteY469" fmla="*/ 95545 h 375541"/>
                <a:gd name="connsiteX470" fmla="*/ 52645 w 382800"/>
                <a:gd name="connsiteY470" fmla="*/ 103203 h 375541"/>
                <a:gd name="connsiteX471" fmla="*/ 55331 w 382800"/>
                <a:gd name="connsiteY471" fmla="*/ 105794 h 375541"/>
                <a:gd name="connsiteX472" fmla="*/ 61913 w 382800"/>
                <a:gd name="connsiteY472" fmla="*/ 101298 h 375541"/>
                <a:gd name="connsiteX473" fmla="*/ 71714 w 382800"/>
                <a:gd name="connsiteY473" fmla="*/ 101432 h 375541"/>
                <a:gd name="connsiteX474" fmla="*/ 73733 w 382800"/>
                <a:gd name="connsiteY474" fmla="*/ 103965 h 375541"/>
                <a:gd name="connsiteX475" fmla="*/ 74552 w 382800"/>
                <a:gd name="connsiteY475" fmla="*/ 101832 h 375541"/>
                <a:gd name="connsiteX476" fmla="*/ 76352 w 382800"/>
                <a:gd name="connsiteY476" fmla="*/ 99326 h 375541"/>
                <a:gd name="connsiteX477" fmla="*/ 77791 w 382800"/>
                <a:gd name="connsiteY477" fmla="*/ 100469 h 375541"/>
                <a:gd name="connsiteX478" fmla="*/ 78524 w 382800"/>
                <a:gd name="connsiteY478" fmla="*/ 102022 h 375541"/>
                <a:gd name="connsiteX479" fmla="*/ 88868 w 382800"/>
                <a:gd name="connsiteY479" fmla="*/ 101584 h 375541"/>
                <a:gd name="connsiteX480" fmla="*/ 90497 w 382800"/>
                <a:gd name="connsiteY480" fmla="*/ 101136 h 375541"/>
                <a:gd name="connsiteX481" fmla="*/ 87716 w 382800"/>
                <a:gd name="connsiteY481" fmla="*/ 99317 h 375541"/>
                <a:gd name="connsiteX482" fmla="*/ 85449 w 382800"/>
                <a:gd name="connsiteY482" fmla="*/ 94955 h 375541"/>
                <a:gd name="connsiteX483" fmla="*/ 84973 w 382800"/>
                <a:gd name="connsiteY483" fmla="*/ 78829 h 375541"/>
                <a:gd name="connsiteX484" fmla="*/ 82105 w 382800"/>
                <a:gd name="connsiteY484" fmla="*/ 74304 h 375541"/>
                <a:gd name="connsiteX485" fmla="*/ 78819 w 382800"/>
                <a:gd name="connsiteY485" fmla="*/ 67056 h 375541"/>
                <a:gd name="connsiteX486" fmla="*/ 77305 w 382800"/>
                <a:gd name="connsiteY486" fmla="*/ 62741 h 375541"/>
                <a:gd name="connsiteX487" fmla="*/ 77162 w 382800"/>
                <a:gd name="connsiteY487" fmla="*/ 61246 h 375541"/>
                <a:gd name="connsiteX488" fmla="*/ 77667 w 382800"/>
                <a:gd name="connsiteY488" fmla="*/ 59083 h 375541"/>
                <a:gd name="connsiteX489" fmla="*/ 81705 w 382800"/>
                <a:gd name="connsiteY489" fmla="*/ 59198 h 375541"/>
                <a:gd name="connsiteX490" fmla="*/ 84830 w 382800"/>
                <a:gd name="connsiteY490" fmla="*/ 59750 h 375541"/>
                <a:gd name="connsiteX491" fmla="*/ 90783 w 382800"/>
                <a:gd name="connsiteY491" fmla="*/ 58121 h 375541"/>
                <a:gd name="connsiteX492" fmla="*/ 93640 w 382800"/>
                <a:gd name="connsiteY492" fmla="*/ 59236 h 375541"/>
                <a:gd name="connsiteX493" fmla="*/ 93469 w 382800"/>
                <a:gd name="connsiteY493" fmla="*/ 62608 h 375541"/>
                <a:gd name="connsiteX494" fmla="*/ 94345 w 382800"/>
                <a:gd name="connsiteY494" fmla="*/ 66856 h 375541"/>
                <a:gd name="connsiteX495" fmla="*/ 95336 w 382800"/>
                <a:gd name="connsiteY495" fmla="*/ 68913 h 375541"/>
                <a:gd name="connsiteX496" fmla="*/ 96850 w 382800"/>
                <a:gd name="connsiteY496" fmla="*/ 71247 h 375541"/>
                <a:gd name="connsiteX497" fmla="*/ 101641 w 382800"/>
                <a:gd name="connsiteY497" fmla="*/ 71037 h 375541"/>
                <a:gd name="connsiteX498" fmla="*/ 106814 w 382800"/>
                <a:gd name="connsiteY498" fmla="*/ 72409 h 375541"/>
                <a:gd name="connsiteX499" fmla="*/ 113357 w 382800"/>
                <a:gd name="connsiteY499" fmla="*/ 72619 h 375541"/>
                <a:gd name="connsiteX500" fmla="*/ 122911 w 382800"/>
                <a:gd name="connsiteY500" fmla="*/ 74981 h 375541"/>
                <a:gd name="connsiteX501" fmla="*/ 126978 w 382800"/>
                <a:gd name="connsiteY501" fmla="*/ 73609 h 375541"/>
                <a:gd name="connsiteX502" fmla="*/ 130921 w 382800"/>
                <a:gd name="connsiteY502" fmla="*/ 70685 h 375541"/>
                <a:gd name="connsiteX503" fmla="*/ 138427 w 382800"/>
                <a:gd name="connsiteY503" fmla="*/ 68761 h 375541"/>
                <a:gd name="connsiteX504" fmla="*/ 139027 w 382800"/>
                <a:gd name="connsiteY504" fmla="*/ 67751 h 375541"/>
                <a:gd name="connsiteX505" fmla="*/ 134703 w 382800"/>
                <a:gd name="connsiteY505" fmla="*/ 68151 h 375541"/>
                <a:gd name="connsiteX506" fmla="*/ 130740 w 382800"/>
                <a:gd name="connsiteY506" fmla="*/ 66294 h 375541"/>
                <a:gd name="connsiteX507" fmla="*/ 130207 w 382800"/>
                <a:gd name="connsiteY507" fmla="*/ 64284 h 375541"/>
                <a:gd name="connsiteX508" fmla="*/ 130664 w 382800"/>
                <a:gd name="connsiteY508" fmla="*/ 62474 h 375541"/>
                <a:gd name="connsiteX509" fmla="*/ 132274 w 382800"/>
                <a:gd name="connsiteY509" fmla="*/ 58302 h 375541"/>
                <a:gd name="connsiteX510" fmla="*/ 143761 w 382800"/>
                <a:gd name="connsiteY510" fmla="*/ 51701 h 375541"/>
                <a:gd name="connsiteX511" fmla="*/ 151990 w 382800"/>
                <a:gd name="connsiteY511" fmla="*/ 49749 h 375541"/>
                <a:gd name="connsiteX512" fmla="*/ 160582 w 382800"/>
                <a:gd name="connsiteY512" fmla="*/ 46101 h 375541"/>
                <a:gd name="connsiteX513" fmla="*/ 164907 w 382800"/>
                <a:gd name="connsiteY513" fmla="*/ 42358 h 375541"/>
                <a:gd name="connsiteX514" fmla="*/ 167764 w 382800"/>
                <a:gd name="connsiteY514" fmla="*/ 37509 h 375541"/>
                <a:gd name="connsiteX515" fmla="*/ 168688 w 382800"/>
                <a:gd name="connsiteY515" fmla="*/ 36443 h 375541"/>
                <a:gd name="connsiteX516" fmla="*/ 169878 w 382800"/>
                <a:gd name="connsiteY516" fmla="*/ 35547 h 375541"/>
                <a:gd name="connsiteX517" fmla="*/ 168773 w 382800"/>
                <a:gd name="connsiteY517" fmla="*/ 33804 h 375541"/>
                <a:gd name="connsiteX518" fmla="*/ 169516 w 382800"/>
                <a:gd name="connsiteY518" fmla="*/ 15135 h 375541"/>
                <a:gd name="connsiteX519" fmla="*/ 170317 w 382800"/>
                <a:gd name="connsiteY519" fmla="*/ 11754 h 375541"/>
                <a:gd name="connsiteX520" fmla="*/ 171993 w 382800"/>
                <a:gd name="connsiteY520" fmla="*/ 8982 h 375541"/>
                <a:gd name="connsiteX521" fmla="*/ 174546 w 382800"/>
                <a:gd name="connsiteY521" fmla="*/ 6839 h 375541"/>
                <a:gd name="connsiteX522" fmla="*/ 178413 w 382800"/>
                <a:gd name="connsiteY522" fmla="*/ 4515 h 375541"/>
                <a:gd name="connsiteX523" fmla="*/ 192672 w 382800"/>
                <a:gd name="connsiteY523" fmla="*/ 1305 h 375541"/>
                <a:gd name="connsiteX524" fmla="*/ 194786 w 382800"/>
                <a:gd name="connsiteY524" fmla="*/ 0 h 375541"/>
                <a:gd name="connsiteX525" fmla="*/ 195082 w 382800"/>
                <a:gd name="connsiteY525" fmla="*/ 2019 h 375541"/>
                <a:gd name="connsiteX526" fmla="*/ 196120 w 382800"/>
                <a:gd name="connsiteY526" fmla="*/ 4600 h 375541"/>
                <a:gd name="connsiteX527" fmla="*/ 196834 w 382800"/>
                <a:gd name="connsiteY527" fmla="*/ 6010 h 375541"/>
                <a:gd name="connsiteX528" fmla="*/ 196234 w 382800"/>
                <a:gd name="connsiteY528" fmla="*/ 7848 h 375541"/>
                <a:gd name="connsiteX529" fmla="*/ 196701 w 382800"/>
                <a:gd name="connsiteY529" fmla="*/ 9363 h 375541"/>
                <a:gd name="connsiteX530" fmla="*/ 198634 w 382800"/>
                <a:gd name="connsiteY530" fmla="*/ 12087 h 375541"/>
                <a:gd name="connsiteX531" fmla="*/ 201044 w 382800"/>
                <a:gd name="connsiteY531" fmla="*/ 14649 h 375541"/>
                <a:gd name="connsiteX532" fmla="*/ 203197 w 382800"/>
                <a:gd name="connsiteY532" fmla="*/ 16288 h 375541"/>
                <a:gd name="connsiteX533" fmla="*/ 203854 w 382800"/>
                <a:gd name="connsiteY533" fmla="*/ 16040 h 375541"/>
                <a:gd name="connsiteX534" fmla="*/ 95841 w 382800"/>
                <a:gd name="connsiteY534" fmla="*/ 209074 h 375541"/>
                <a:gd name="connsiteX535" fmla="*/ 94898 w 382800"/>
                <a:gd name="connsiteY535" fmla="*/ 212426 h 375541"/>
                <a:gd name="connsiteX536" fmla="*/ 93107 w 382800"/>
                <a:gd name="connsiteY536" fmla="*/ 209340 h 375541"/>
                <a:gd name="connsiteX537" fmla="*/ 90745 w 382800"/>
                <a:gd name="connsiteY537" fmla="*/ 206635 h 375541"/>
                <a:gd name="connsiteX538" fmla="*/ 90202 w 382800"/>
                <a:gd name="connsiteY538" fmla="*/ 204130 h 375541"/>
                <a:gd name="connsiteX539" fmla="*/ 90202 w 382800"/>
                <a:gd name="connsiteY539" fmla="*/ 203463 h 375541"/>
                <a:gd name="connsiteX540" fmla="*/ 92974 w 382800"/>
                <a:gd name="connsiteY540" fmla="*/ 205292 h 375541"/>
                <a:gd name="connsiteX541" fmla="*/ 95841 w 382800"/>
                <a:gd name="connsiteY541" fmla="*/ 209074 h 375541"/>
                <a:gd name="connsiteX542" fmla="*/ 380762 w 382800"/>
                <a:gd name="connsiteY542" fmla="*/ 324564 h 375541"/>
                <a:gd name="connsiteX543" fmla="*/ 380067 w 382800"/>
                <a:gd name="connsiteY543" fmla="*/ 329889 h 375541"/>
                <a:gd name="connsiteX544" fmla="*/ 380572 w 382800"/>
                <a:gd name="connsiteY544" fmla="*/ 331441 h 375541"/>
                <a:gd name="connsiteX545" fmla="*/ 381543 w 382800"/>
                <a:gd name="connsiteY545" fmla="*/ 332527 h 375541"/>
                <a:gd name="connsiteX546" fmla="*/ 381991 w 382800"/>
                <a:gd name="connsiteY546" fmla="*/ 333718 h 375541"/>
                <a:gd name="connsiteX547" fmla="*/ 382800 w 382800"/>
                <a:gd name="connsiteY547" fmla="*/ 347834 h 375541"/>
                <a:gd name="connsiteX548" fmla="*/ 382648 w 382800"/>
                <a:gd name="connsiteY548" fmla="*/ 348958 h 375541"/>
                <a:gd name="connsiteX549" fmla="*/ 379381 w 382800"/>
                <a:gd name="connsiteY549" fmla="*/ 354606 h 375541"/>
                <a:gd name="connsiteX550" fmla="*/ 378648 w 382800"/>
                <a:gd name="connsiteY550" fmla="*/ 356254 h 375541"/>
                <a:gd name="connsiteX551" fmla="*/ 378485 w 382800"/>
                <a:gd name="connsiteY551" fmla="*/ 363226 h 375541"/>
                <a:gd name="connsiteX552" fmla="*/ 377933 w 382800"/>
                <a:gd name="connsiteY552" fmla="*/ 365093 h 375541"/>
                <a:gd name="connsiteX553" fmla="*/ 376771 w 382800"/>
                <a:gd name="connsiteY553" fmla="*/ 366931 h 375541"/>
                <a:gd name="connsiteX554" fmla="*/ 374704 w 382800"/>
                <a:gd name="connsiteY554" fmla="*/ 372875 h 375541"/>
                <a:gd name="connsiteX555" fmla="*/ 372913 w 382800"/>
                <a:gd name="connsiteY555" fmla="*/ 375542 h 375541"/>
                <a:gd name="connsiteX556" fmla="*/ 368017 w 382800"/>
                <a:gd name="connsiteY556" fmla="*/ 372285 h 375541"/>
                <a:gd name="connsiteX557" fmla="*/ 365132 w 382800"/>
                <a:gd name="connsiteY557" fmla="*/ 370875 h 375541"/>
                <a:gd name="connsiteX558" fmla="*/ 363722 w 382800"/>
                <a:gd name="connsiteY558" fmla="*/ 369360 h 375541"/>
                <a:gd name="connsiteX559" fmla="*/ 362798 w 382800"/>
                <a:gd name="connsiteY559" fmla="*/ 368313 h 375541"/>
                <a:gd name="connsiteX560" fmla="*/ 363398 w 382800"/>
                <a:gd name="connsiteY560" fmla="*/ 366913 h 375541"/>
                <a:gd name="connsiteX561" fmla="*/ 364712 w 382800"/>
                <a:gd name="connsiteY561" fmla="*/ 365455 h 375541"/>
                <a:gd name="connsiteX562" fmla="*/ 364922 w 382800"/>
                <a:gd name="connsiteY562" fmla="*/ 364302 h 375541"/>
                <a:gd name="connsiteX563" fmla="*/ 361826 w 382800"/>
                <a:gd name="connsiteY563" fmla="*/ 363007 h 375541"/>
                <a:gd name="connsiteX564" fmla="*/ 360407 w 382800"/>
                <a:gd name="connsiteY564" fmla="*/ 362140 h 375541"/>
                <a:gd name="connsiteX565" fmla="*/ 360426 w 382800"/>
                <a:gd name="connsiteY565" fmla="*/ 360616 h 375541"/>
                <a:gd name="connsiteX566" fmla="*/ 361493 w 382800"/>
                <a:gd name="connsiteY566" fmla="*/ 358245 h 375541"/>
                <a:gd name="connsiteX567" fmla="*/ 361007 w 382800"/>
                <a:gd name="connsiteY567" fmla="*/ 356283 h 375541"/>
                <a:gd name="connsiteX568" fmla="*/ 359216 w 382800"/>
                <a:gd name="connsiteY568" fmla="*/ 356378 h 375541"/>
                <a:gd name="connsiteX569" fmla="*/ 357826 w 382800"/>
                <a:gd name="connsiteY569" fmla="*/ 356082 h 375541"/>
                <a:gd name="connsiteX570" fmla="*/ 357645 w 382800"/>
                <a:gd name="connsiteY570" fmla="*/ 355063 h 375541"/>
                <a:gd name="connsiteX571" fmla="*/ 358664 w 382800"/>
                <a:gd name="connsiteY571" fmla="*/ 353758 h 375541"/>
                <a:gd name="connsiteX572" fmla="*/ 359978 w 382800"/>
                <a:gd name="connsiteY572" fmla="*/ 352054 h 375541"/>
                <a:gd name="connsiteX573" fmla="*/ 359940 w 382800"/>
                <a:gd name="connsiteY573" fmla="*/ 350167 h 375541"/>
                <a:gd name="connsiteX574" fmla="*/ 358350 w 382800"/>
                <a:gd name="connsiteY574" fmla="*/ 349358 h 375541"/>
                <a:gd name="connsiteX575" fmla="*/ 356911 w 382800"/>
                <a:gd name="connsiteY575" fmla="*/ 347824 h 375541"/>
                <a:gd name="connsiteX576" fmla="*/ 356330 w 382800"/>
                <a:gd name="connsiteY576" fmla="*/ 345738 h 375541"/>
                <a:gd name="connsiteX577" fmla="*/ 357445 w 382800"/>
                <a:gd name="connsiteY577" fmla="*/ 344310 h 375541"/>
                <a:gd name="connsiteX578" fmla="*/ 359255 w 382800"/>
                <a:gd name="connsiteY578" fmla="*/ 343395 h 375541"/>
                <a:gd name="connsiteX579" fmla="*/ 357921 w 382800"/>
                <a:gd name="connsiteY579" fmla="*/ 341252 h 375541"/>
                <a:gd name="connsiteX580" fmla="*/ 357026 w 382800"/>
                <a:gd name="connsiteY580" fmla="*/ 341204 h 375541"/>
                <a:gd name="connsiteX581" fmla="*/ 356311 w 382800"/>
                <a:gd name="connsiteY581" fmla="*/ 340738 h 375541"/>
                <a:gd name="connsiteX582" fmla="*/ 356902 w 382800"/>
                <a:gd name="connsiteY582" fmla="*/ 339747 h 375541"/>
                <a:gd name="connsiteX583" fmla="*/ 358302 w 382800"/>
                <a:gd name="connsiteY583" fmla="*/ 338261 h 375541"/>
                <a:gd name="connsiteX584" fmla="*/ 360255 w 382800"/>
                <a:gd name="connsiteY584" fmla="*/ 333813 h 375541"/>
                <a:gd name="connsiteX585" fmla="*/ 362969 w 382800"/>
                <a:gd name="connsiteY585" fmla="*/ 331708 h 375541"/>
                <a:gd name="connsiteX586" fmla="*/ 367789 w 382800"/>
                <a:gd name="connsiteY586" fmla="*/ 330355 h 375541"/>
                <a:gd name="connsiteX587" fmla="*/ 369094 w 382800"/>
                <a:gd name="connsiteY587" fmla="*/ 329755 h 375541"/>
                <a:gd name="connsiteX588" fmla="*/ 370284 w 382800"/>
                <a:gd name="connsiteY588" fmla="*/ 328184 h 375541"/>
                <a:gd name="connsiteX589" fmla="*/ 371608 w 382800"/>
                <a:gd name="connsiteY589" fmla="*/ 327174 h 375541"/>
                <a:gd name="connsiteX590" fmla="*/ 373218 w 382800"/>
                <a:gd name="connsiteY590" fmla="*/ 327307 h 375541"/>
                <a:gd name="connsiteX591" fmla="*/ 374704 w 382800"/>
                <a:gd name="connsiteY591" fmla="*/ 327908 h 375541"/>
                <a:gd name="connsiteX592" fmla="*/ 375618 w 382800"/>
                <a:gd name="connsiteY592" fmla="*/ 328555 h 375541"/>
                <a:gd name="connsiteX593" fmla="*/ 376304 w 382800"/>
                <a:gd name="connsiteY593" fmla="*/ 327879 h 375541"/>
                <a:gd name="connsiteX594" fmla="*/ 376971 w 382800"/>
                <a:gd name="connsiteY594" fmla="*/ 325926 h 375541"/>
                <a:gd name="connsiteX595" fmla="*/ 376561 w 382800"/>
                <a:gd name="connsiteY595" fmla="*/ 324212 h 375541"/>
                <a:gd name="connsiteX596" fmla="*/ 376771 w 382800"/>
                <a:gd name="connsiteY596" fmla="*/ 319497 h 375541"/>
                <a:gd name="connsiteX597" fmla="*/ 377628 w 382800"/>
                <a:gd name="connsiteY597" fmla="*/ 316821 h 375541"/>
                <a:gd name="connsiteX598" fmla="*/ 379019 w 382800"/>
                <a:gd name="connsiteY598" fmla="*/ 316668 h 375541"/>
                <a:gd name="connsiteX599" fmla="*/ 380295 w 382800"/>
                <a:gd name="connsiteY599" fmla="*/ 318144 h 375541"/>
                <a:gd name="connsiteX600" fmla="*/ 380238 w 382800"/>
                <a:gd name="connsiteY600" fmla="*/ 319449 h 375541"/>
                <a:gd name="connsiteX601" fmla="*/ 380714 w 382800"/>
                <a:gd name="connsiteY601" fmla="*/ 322536 h 375541"/>
                <a:gd name="connsiteX602" fmla="*/ 380762 w 382800"/>
                <a:gd name="connsiteY602" fmla="*/ 324564 h 375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</a:cxnLst>
              <a:rect l="l" t="t" r="r" b="b"/>
              <a:pathLst>
                <a:path w="382800" h="375541">
                  <a:moveTo>
                    <a:pt x="203854" y="16040"/>
                  </a:moveTo>
                  <a:lnTo>
                    <a:pt x="205445" y="15573"/>
                  </a:lnTo>
                  <a:lnTo>
                    <a:pt x="208141" y="13897"/>
                  </a:lnTo>
                  <a:lnTo>
                    <a:pt x="210388" y="13363"/>
                  </a:lnTo>
                  <a:lnTo>
                    <a:pt x="211674" y="14649"/>
                  </a:lnTo>
                  <a:lnTo>
                    <a:pt x="212398" y="15383"/>
                  </a:lnTo>
                  <a:lnTo>
                    <a:pt x="213808" y="18278"/>
                  </a:lnTo>
                  <a:lnTo>
                    <a:pt x="214208" y="21288"/>
                  </a:lnTo>
                  <a:lnTo>
                    <a:pt x="214836" y="23793"/>
                  </a:lnTo>
                  <a:lnTo>
                    <a:pt x="215980" y="24803"/>
                  </a:lnTo>
                  <a:lnTo>
                    <a:pt x="220275" y="25136"/>
                  </a:lnTo>
                  <a:lnTo>
                    <a:pt x="223447" y="26060"/>
                  </a:lnTo>
                  <a:lnTo>
                    <a:pt x="224285" y="26898"/>
                  </a:lnTo>
                  <a:lnTo>
                    <a:pt x="225371" y="32442"/>
                  </a:lnTo>
                  <a:lnTo>
                    <a:pt x="225962" y="33223"/>
                  </a:lnTo>
                  <a:lnTo>
                    <a:pt x="226752" y="32575"/>
                  </a:lnTo>
                  <a:lnTo>
                    <a:pt x="227533" y="31661"/>
                  </a:lnTo>
                  <a:lnTo>
                    <a:pt x="228619" y="31518"/>
                  </a:lnTo>
                  <a:lnTo>
                    <a:pt x="230477" y="31870"/>
                  </a:lnTo>
                  <a:lnTo>
                    <a:pt x="232924" y="31985"/>
                  </a:lnTo>
                  <a:lnTo>
                    <a:pt x="235448" y="32595"/>
                  </a:lnTo>
                  <a:lnTo>
                    <a:pt x="238935" y="35719"/>
                  </a:lnTo>
                  <a:lnTo>
                    <a:pt x="238801" y="36747"/>
                  </a:lnTo>
                  <a:lnTo>
                    <a:pt x="238125" y="38548"/>
                  </a:lnTo>
                  <a:lnTo>
                    <a:pt x="237887" y="39986"/>
                  </a:lnTo>
                  <a:lnTo>
                    <a:pt x="238487" y="40567"/>
                  </a:lnTo>
                  <a:lnTo>
                    <a:pt x="239411" y="42053"/>
                  </a:lnTo>
                  <a:lnTo>
                    <a:pt x="239192" y="43767"/>
                  </a:lnTo>
                  <a:lnTo>
                    <a:pt x="238297" y="44967"/>
                  </a:lnTo>
                  <a:lnTo>
                    <a:pt x="237935" y="45958"/>
                  </a:lnTo>
                  <a:lnTo>
                    <a:pt x="237935" y="46596"/>
                  </a:lnTo>
                  <a:lnTo>
                    <a:pt x="238268" y="47130"/>
                  </a:lnTo>
                  <a:lnTo>
                    <a:pt x="238982" y="47596"/>
                  </a:lnTo>
                  <a:lnTo>
                    <a:pt x="244135" y="48225"/>
                  </a:lnTo>
                  <a:lnTo>
                    <a:pt x="248850" y="47596"/>
                  </a:lnTo>
                  <a:lnTo>
                    <a:pt x="251822" y="45844"/>
                  </a:lnTo>
                  <a:lnTo>
                    <a:pt x="252327" y="43996"/>
                  </a:lnTo>
                  <a:lnTo>
                    <a:pt x="253165" y="41919"/>
                  </a:lnTo>
                  <a:lnTo>
                    <a:pt x="254937" y="40167"/>
                  </a:lnTo>
                  <a:lnTo>
                    <a:pt x="256156" y="39576"/>
                  </a:lnTo>
                  <a:lnTo>
                    <a:pt x="257280" y="40291"/>
                  </a:lnTo>
                  <a:lnTo>
                    <a:pt x="255394" y="47615"/>
                  </a:lnTo>
                  <a:lnTo>
                    <a:pt x="256775" y="49482"/>
                  </a:lnTo>
                  <a:lnTo>
                    <a:pt x="256975" y="52264"/>
                  </a:lnTo>
                  <a:lnTo>
                    <a:pt x="257470" y="54702"/>
                  </a:lnTo>
                  <a:lnTo>
                    <a:pt x="259156" y="54654"/>
                  </a:lnTo>
                  <a:lnTo>
                    <a:pt x="261195" y="55102"/>
                  </a:lnTo>
                  <a:lnTo>
                    <a:pt x="262642" y="55997"/>
                  </a:lnTo>
                  <a:lnTo>
                    <a:pt x="264328" y="57445"/>
                  </a:lnTo>
                  <a:lnTo>
                    <a:pt x="266757" y="58779"/>
                  </a:lnTo>
                  <a:lnTo>
                    <a:pt x="268462" y="59245"/>
                  </a:lnTo>
                  <a:lnTo>
                    <a:pt x="269081" y="60350"/>
                  </a:lnTo>
                  <a:lnTo>
                    <a:pt x="270463" y="61636"/>
                  </a:lnTo>
                  <a:lnTo>
                    <a:pt x="272634" y="64322"/>
                  </a:lnTo>
                  <a:lnTo>
                    <a:pt x="274577" y="66113"/>
                  </a:lnTo>
                  <a:lnTo>
                    <a:pt x="275520" y="66113"/>
                  </a:lnTo>
                  <a:lnTo>
                    <a:pt x="277330" y="65408"/>
                  </a:lnTo>
                  <a:lnTo>
                    <a:pt x="280016" y="64960"/>
                  </a:lnTo>
                  <a:lnTo>
                    <a:pt x="282130" y="64998"/>
                  </a:lnTo>
                  <a:lnTo>
                    <a:pt x="283035" y="66360"/>
                  </a:lnTo>
                  <a:lnTo>
                    <a:pt x="285122" y="66989"/>
                  </a:lnTo>
                  <a:lnTo>
                    <a:pt x="285855" y="67494"/>
                  </a:lnTo>
                  <a:lnTo>
                    <a:pt x="286674" y="68437"/>
                  </a:lnTo>
                  <a:lnTo>
                    <a:pt x="288065" y="68818"/>
                  </a:lnTo>
                  <a:lnTo>
                    <a:pt x="289741" y="68437"/>
                  </a:lnTo>
                  <a:lnTo>
                    <a:pt x="290960" y="67189"/>
                  </a:lnTo>
                  <a:lnTo>
                    <a:pt x="292589" y="66618"/>
                  </a:lnTo>
                  <a:lnTo>
                    <a:pt x="294227" y="66808"/>
                  </a:lnTo>
                  <a:lnTo>
                    <a:pt x="295170" y="67494"/>
                  </a:lnTo>
                  <a:lnTo>
                    <a:pt x="296961" y="68513"/>
                  </a:lnTo>
                  <a:lnTo>
                    <a:pt x="297971" y="68294"/>
                  </a:lnTo>
                  <a:lnTo>
                    <a:pt x="299999" y="68923"/>
                  </a:lnTo>
                  <a:lnTo>
                    <a:pt x="302038" y="70904"/>
                  </a:lnTo>
                  <a:lnTo>
                    <a:pt x="302895" y="72885"/>
                  </a:lnTo>
                  <a:lnTo>
                    <a:pt x="303114" y="73971"/>
                  </a:lnTo>
                  <a:lnTo>
                    <a:pt x="303990" y="75152"/>
                  </a:lnTo>
                  <a:lnTo>
                    <a:pt x="307410" y="80467"/>
                  </a:lnTo>
                  <a:lnTo>
                    <a:pt x="308496" y="80724"/>
                  </a:lnTo>
                  <a:lnTo>
                    <a:pt x="309686" y="79924"/>
                  </a:lnTo>
                  <a:lnTo>
                    <a:pt x="310458" y="78781"/>
                  </a:lnTo>
                  <a:lnTo>
                    <a:pt x="311572" y="78552"/>
                  </a:lnTo>
                  <a:lnTo>
                    <a:pt x="313363" y="79086"/>
                  </a:lnTo>
                  <a:lnTo>
                    <a:pt x="314516" y="79686"/>
                  </a:lnTo>
                  <a:lnTo>
                    <a:pt x="315068" y="81982"/>
                  </a:lnTo>
                  <a:lnTo>
                    <a:pt x="315459" y="82420"/>
                  </a:lnTo>
                  <a:lnTo>
                    <a:pt x="316230" y="81924"/>
                  </a:lnTo>
                  <a:lnTo>
                    <a:pt x="317611" y="81820"/>
                  </a:lnTo>
                  <a:lnTo>
                    <a:pt x="319821" y="82382"/>
                  </a:lnTo>
                  <a:lnTo>
                    <a:pt x="322850" y="81734"/>
                  </a:lnTo>
                  <a:lnTo>
                    <a:pt x="325279" y="80772"/>
                  </a:lnTo>
                  <a:lnTo>
                    <a:pt x="326517" y="80810"/>
                  </a:lnTo>
                  <a:lnTo>
                    <a:pt x="328517" y="83486"/>
                  </a:lnTo>
                  <a:lnTo>
                    <a:pt x="330803" y="84487"/>
                  </a:lnTo>
                  <a:lnTo>
                    <a:pt x="335832" y="85296"/>
                  </a:lnTo>
                  <a:lnTo>
                    <a:pt x="341233" y="86553"/>
                  </a:lnTo>
                  <a:lnTo>
                    <a:pt x="343357" y="87573"/>
                  </a:lnTo>
                  <a:lnTo>
                    <a:pt x="344805" y="88077"/>
                  </a:lnTo>
                  <a:lnTo>
                    <a:pt x="344957" y="91611"/>
                  </a:lnTo>
                  <a:lnTo>
                    <a:pt x="344519" y="92145"/>
                  </a:lnTo>
                  <a:lnTo>
                    <a:pt x="339138" y="99212"/>
                  </a:lnTo>
                  <a:lnTo>
                    <a:pt x="336871" y="101737"/>
                  </a:lnTo>
                  <a:lnTo>
                    <a:pt x="335718" y="105327"/>
                  </a:lnTo>
                  <a:lnTo>
                    <a:pt x="334928" y="110833"/>
                  </a:lnTo>
                  <a:lnTo>
                    <a:pt x="333337" y="116043"/>
                  </a:lnTo>
                  <a:lnTo>
                    <a:pt x="330956" y="120977"/>
                  </a:lnTo>
                  <a:lnTo>
                    <a:pt x="330089" y="124673"/>
                  </a:lnTo>
                  <a:lnTo>
                    <a:pt x="330737" y="127130"/>
                  </a:lnTo>
                  <a:lnTo>
                    <a:pt x="330327" y="130988"/>
                  </a:lnTo>
                  <a:lnTo>
                    <a:pt x="328870" y="136236"/>
                  </a:lnTo>
                  <a:lnTo>
                    <a:pt x="328622" y="140189"/>
                  </a:lnTo>
                  <a:lnTo>
                    <a:pt x="329594" y="142856"/>
                  </a:lnTo>
                  <a:lnTo>
                    <a:pt x="330937" y="143399"/>
                  </a:lnTo>
                  <a:lnTo>
                    <a:pt x="327708" y="145189"/>
                  </a:lnTo>
                  <a:lnTo>
                    <a:pt x="326974" y="146761"/>
                  </a:lnTo>
                  <a:lnTo>
                    <a:pt x="325707" y="148828"/>
                  </a:lnTo>
                  <a:lnTo>
                    <a:pt x="323650" y="149695"/>
                  </a:lnTo>
                  <a:lnTo>
                    <a:pt x="321583" y="149980"/>
                  </a:lnTo>
                  <a:lnTo>
                    <a:pt x="319907" y="149714"/>
                  </a:lnTo>
                  <a:lnTo>
                    <a:pt x="318954" y="148885"/>
                  </a:lnTo>
                  <a:lnTo>
                    <a:pt x="319002" y="148114"/>
                  </a:lnTo>
                  <a:lnTo>
                    <a:pt x="318116" y="147456"/>
                  </a:lnTo>
                  <a:lnTo>
                    <a:pt x="315916" y="147475"/>
                  </a:lnTo>
                  <a:lnTo>
                    <a:pt x="313639" y="148895"/>
                  </a:lnTo>
                  <a:lnTo>
                    <a:pt x="311820" y="151219"/>
                  </a:lnTo>
                  <a:lnTo>
                    <a:pt x="312382" y="152514"/>
                  </a:lnTo>
                  <a:lnTo>
                    <a:pt x="314058" y="152857"/>
                  </a:lnTo>
                  <a:lnTo>
                    <a:pt x="314497" y="153371"/>
                  </a:lnTo>
                  <a:lnTo>
                    <a:pt x="314497" y="154038"/>
                  </a:lnTo>
                  <a:lnTo>
                    <a:pt x="313906" y="154838"/>
                  </a:lnTo>
                  <a:lnTo>
                    <a:pt x="313201" y="156210"/>
                  </a:lnTo>
                  <a:lnTo>
                    <a:pt x="309686" y="160286"/>
                  </a:lnTo>
                  <a:lnTo>
                    <a:pt x="306143" y="164392"/>
                  </a:lnTo>
                  <a:lnTo>
                    <a:pt x="305571" y="165630"/>
                  </a:lnTo>
                  <a:lnTo>
                    <a:pt x="304448" y="166497"/>
                  </a:lnTo>
                  <a:lnTo>
                    <a:pt x="299942" y="168688"/>
                  </a:lnTo>
                  <a:lnTo>
                    <a:pt x="299476" y="169564"/>
                  </a:lnTo>
                  <a:lnTo>
                    <a:pt x="299218" y="173212"/>
                  </a:lnTo>
                  <a:lnTo>
                    <a:pt x="298713" y="176203"/>
                  </a:lnTo>
                  <a:lnTo>
                    <a:pt x="295370" y="179013"/>
                  </a:lnTo>
                  <a:lnTo>
                    <a:pt x="292046" y="181803"/>
                  </a:lnTo>
                  <a:lnTo>
                    <a:pt x="291217" y="183509"/>
                  </a:lnTo>
                  <a:lnTo>
                    <a:pt x="290617" y="185480"/>
                  </a:lnTo>
                  <a:lnTo>
                    <a:pt x="289579" y="187709"/>
                  </a:lnTo>
                  <a:lnTo>
                    <a:pt x="289370" y="188890"/>
                  </a:lnTo>
                  <a:lnTo>
                    <a:pt x="291056" y="190805"/>
                  </a:lnTo>
                  <a:lnTo>
                    <a:pt x="290856" y="192386"/>
                  </a:lnTo>
                  <a:lnTo>
                    <a:pt x="290322" y="194634"/>
                  </a:lnTo>
                  <a:lnTo>
                    <a:pt x="288732" y="196224"/>
                  </a:lnTo>
                  <a:lnTo>
                    <a:pt x="286960" y="197129"/>
                  </a:lnTo>
                  <a:lnTo>
                    <a:pt x="286998" y="199568"/>
                  </a:lnTo>
                  <a:lnTo>
                    <a:pt x="287941" y="199910"/>
                  </a:lnTo>
                  <a:lnTo>
                    <a:pt x="290074" y="199730"/>
                  </a:lnTo>
                  <a:lnTo>
                    <a:pt x="293094" y="197958"/>
                  </a:lnTo>
                  <a:lnTo>
                    <a:pt x="295065" y="195672"/>
                  </a:lnTo>
                  <a:lnTo>
                    <a:pt x="293904" y="193510"/>
                  </a:lnTo>
                  <a:lnTo>
                    <a:pt x="293761" y="193091"/>
                  </a:lnTo>
                  <a:lnTo>
                    <a:pt x="294046" y="192576"/>
                  </a:lnTo>
                  <a:lnTo>
                    <a:pt x="296380" y="190214"/>
                  </a:lnTo>
                  <a:lnTo>
                    <a:pt x="299238" y="188795"/>
                  </a:lnTo>
                  <a:lnTo>
                    <a:pt x="303228" y="188528"/>
                  </a:lnTo>
                  <a:lnTo>
                    <a:pt x="308038" y="189366"/>
                  </a:lnTo>
                  <a:lnTo>
                    <a:pt x="308515" y="189719"/>
                  </a:lnTo>
                  <a:lnTo>
                    <a:pt x="308286" y="191167"/>
                  </a:lnTo>
                  <a:lnTo>
                    <a:pt x="308734" y="193300"/>
                  </a:lnTo>
                  <a:lnTo>
                    <a:pt x="309601" y="194796"/>
                  </a:lnTo>
                  <a:lnTo>
                    <a:pt x="308410" y="199034"/>
                  </a:lnTo>
                  <a:lnTo>
                    <a:pt x="309315" y="200358"/>
                  </a:lnTo>
                  <a:lnTo>
                    <a:pt x="310715" y="201949"/>
                  </a:lnTo>
                  <a:lnTo>
                    <a:pt x="311763" y="203397"/>
                  </a:lnTo>
                  <a:lnTo>
                    <a:pt x="313268" y="204721"/>
                  </a:lnTo>
                  <a:lnTo>
                    <a:pt x="314611" y="206959"/>
                  </a:lnTo>
                  <a:lnTo>
                    <a:pt x="315068" y="208226"/>
                  </a:lnTo>
                  <a:lnTo>
                    <a:pt x="312916" y="210417"/>
                  </a:lnTo>
                  <a:lnTo>
                    <a:pt x="309277" y="212474"/>
                  </a:lnTo>
                  <a:lnTo>
                    <a:pt x="308867" y="213798"/>
                  </a:lnTo>
                  <a:lnTo>
                    <a:pt x="308915" y="215294"/>
                  </a:lnTo>
                  <a:lnTo>
                    <a:pt x="309324" y="216475"/>
                  </a:lnTo>
                  <a:lnTo>
                    <a:pt x="311334" y="217989"/>
                  </a:lnTo>
                  <a:lnTo>
                    <a:pt x="313496" y="221409"/>
                  </a:lnTo>
                  <a:lnTo>
                    <a:pt x="314868" y="224456"/>
                  </a:lnTo>
                  <a:lnTo>
                    <a:pt x="317868" y="227371"/>
                  </a:lnTo>
                  <a:lnTo>
                    <a:pt x="318602" y="228238"/>
                  </a:lnTo>
                  <a:lnTo>
                    <a:pt x="318411" y="228962"/>
                  </a:lnTo>
                  <a:lnTo>
                    <a:pt x="317621" y="230200"/>
                  </a:lnTo>
                  <a:lnTo>
                    <a:pt x="316592" y="234334"/>
                  </a:lnTo>
                  <a:lnTo>
                    <a:pt x="315363" y="234982"/>
                  </a:lnTo>
                  <a:lnTo>
                    <a:pt x="313992" y="235248"/>
                  </a:lnTo>
                  <a:lnTo>
                    <a:pt x="310277" y="238268"/>
                  </a:lnTo>
                  <a:lnTo>
                    <a:pt x="308620" y="237896"/>
                  </a:lnTo>
                  <a:lnTo>
                    <a:pt x="306267" y="237934"/>
                  </a:lnTo>
                  <a:lnTo>
                    <a:pt x="304543" y="238925"/>
                  </a:lnTo>
                  <a:lnTo>
                    <a:pt x="304733" y="240801"/>
                  </a:lnTo>
                  <a:lnTo>
                    <a:pt x="306248" y="242516"/>
                  </a:lnTo>
                  <a:lnTo>
                    <a:pt x="307134" y="244383"/>
                  </a:lnTo>
                  <a:lnTo>
                    <a:pt x="307496" y="246326"/>
                  </a:lnTo>
                  <a:lnTo>
                    <a:pt x="309172" y="247764"/>
                  </a:lnTo>
                  <a:lnTo>
                    <a:pt x="311534" y="248621"/>
                  </a:lnTo>
                  <a:lnTo>
                    <a:pt x="312887" y="248678"/>
                  </a:lnTo>
                  <a:lnTo>
                    <a:pt x="313763" y="249193"/>
                  </a:lnTo>
                  <a:lnTo>
                    <a:pt x="314297" y="249860"/>
                  </a:lnTo>
                  <a:lnTo>
                    <a:pt x="315316" y="254013"/>
                  </a:lnTo>
                  <a:lnTo>
                    <a:pt x="314706" y="255051"/>
                  </a:lnTo>
                  <a:lnTo>
                    <a:pt x="313430" y="255489"/>
                  </a:lnTo>
                  <a:lnTo>
                    <a:pt x="312668" y="257194"/>
                  </a:lnTo>
                  <a:lnTo>
                    <a:pt x="311153" y="259699"/>
                  </a:lnTo>
                  <a:lnTo>
                    <a:pt x="310296" y="261709"/>
                  </a:lnTo>
                  <a:lnTo>
                    <a:pt x="311248" y="263480"/>
                  </a:lnTo>
                  <a:lnTo>
                    <a:pt x="311648" y="264795"/>
                  </a:lnTo>
                  <a:lnTo>
                    <a:pt x="311144" y="266147"/>
                  </a:lnTo>
                  <a:lnTo>
                    <a:pt x="311820" y="268243"/>
                  </a:lnTo>
                  <a:lnTo>
                    <a:pt x="313611" y="270319"/>
                  </a:lnTo>
                  <a:lnTo>
                    <a:pt x="318478" y="273234"/>
                  </a:lnTo>
                  <a:lnTo>
                    <a:pt x="323002" y="275606"/>
                  </a:lnTo>
                  <a:lnTo>
                    <a:pt x="324403" y="275996"/>
                  </a:lnTo>
                  <a:lnTo>
                    <a:pt x="330518" y="274472"/>
                  </a:lnTo>
                  <a:lnTo>
                    <a:pt x="331527" y="274606"/>
                  </a:lnTo>
                  <a:lnTo>
                    <a:pt x="332270" y="276415"/>
                  </a:lnTo>
                  <a:lnTo>
                    <a:pt x="332594" y="277635"/>
                  </a:lnTo>
                  <a:lnTo>
                    <a:pt x="331908" y="279463"/>
                  </a:lnTo>
                  <a:lnTo>
                    <a:pt x="330222" y="282045"/>
                  </a:lnTo>
                  <a:lnTo>
                    <a:pt x="328432" y="284054"/>
                  </a:lnTo>
                  <a:lnTo>
                    <a:pt x="327346" y="285759"/>
                  </a:lnTo>
                  <a:lnTo>
                    <a:pt x="327574" y="287312"/>
                  </a:lnTo>
                  <a:lnTo>
                    <a:pt x="327641" y="289369"/>
                  </a:lnTo>
                  <a:lnTo>
                    <a:pt x="326184" y="289979"/>
                  </a:lnTo>
                  <a:lnTo>
                    <a:pt x="326136" y="289579"/>
                  </a:lnTo>
                  <a:lnTo>
                    <a:pt x="325536" y="289227"/>
                  </a:lnTo>
                  <a:lnTo>
                    <a:pt x="325022" y="289427"/>
                  </a:lnTo>
                  <a:lnTo>
                    <a:pt x="324621" y="289874"/>
                  </a:lnTo>
                  <a:lnTo>
                    <a:pt x="324565" y="290665"/>
                  </a:lnTo>
                  <a:lnTo>
                    <a:pt x="321459" y="291979"/>
                  </a:lnTo>
                  <a:lnTo>
                    <a:pt x="319316" y="293341"/>
                  </a:lnTo>
                  <a:lnTo>
                    <a:pt x="310848" y="301457"/>
                  </a:lnTo>
                  <a:lnTo>
                    <a:pt x="306886" y="303828"/>
                  </a:lnTo>
                  <a:lnTo>
                    <a:pt x="306105" y="305257"/>
                  </a:lnTo>
                  <a:lnTo>
                    <a:pt x="305295" y="307924"/>
                  </a:lnTo>
                  <a:lnTo>
                    <a:pt x="302971" y="310210"/>
                  </a:lnTo>
                  <a:lnTo>
                    <a:pt x="300933" y="311296"/>
                  </a:lnTo>
                  <a:lnTo>
                    <a:pt x="295894" y="312410"/>
                  </a:lnTo>
                  <a:lnTo>
                    <a:pt x="290827" y="314830"/>
                  </a:lnTo>
                  <a:lnTo>
                    <a:pt x="288541" y="313782"/>
                  </a:lnTo>
                  <a:lnTo>
                    <a:pt x="282635" y="313896"/>
                  </a:lnTo>
                  <a:lnTo>
                    <a:pt x="278949" y="310982"/>
                  </a:lnTo>
                  <a:lnTo>
                    <a:pt x="271862" y="309134"/>
                  </a:lnTo>
                  <a:lnTo>
                    <a:pt x="269558" y="304876"/>
                  </a:lnTo>
                  <a:lnTo>
                    <a:pt x="266329" y="304600"/>
                  </a:lnTo>
                  <a:lnTo>
                    <a:pt x="264214" y="304733"/>
                  </a:lnTo>
                  <a:lnTo>
                    <a:pt x="262947" y="304086"/>
                  </a:lnTo>
                  <a:lnTo>
                    <a:pt x="262624" y="302628"/>
                  </a:lnTo>
                  <a:lnTo>
                    <a:pt x="262595" y="301228"/>
                  </a:lnTo>
                  <a:lnTo>
                    <a:pt x="260356" y="301876"/>
                  </a:lnTo>
                  <a:lnTo>
                    <a:pt x="258642" y="301876"/>
                  </a:lnTo>
                  <a:lnTo>
                    <a:pt x="257623" y="302438"/>
                  </a:lnTo>
                  <a:lnTo>
                    <a:pt x="256823" y="303085"/>
                  </a:lnTo>
                  <a:lnTo>
                    <a:pt x="255870" y="302676"/>
                  </a:lnTo>
                  <a:lnTo>
                    <a:pt x="255318" y="302819"/>
                  </a:lnTo>
                  <a:lnTo>
                    <a:pt x="255365" y="303638"/>
                  </a:lnTo>
                  <a:lnTo>
                    <a:pt x="253308" y="303847"/>
                  </a:lnTo>
                  <a:lnTo>
                    <a:pt x="251070" y="303343"/>
                  </a:lnTo>
                  <a:lnTo>
                    <a:pt x="245212" y="301142"/>
                  </a:lnTo>
                  <a:lnTo>
                    <a:pt x="244316" y="300799"/>
                  </a:lnTo>
                  <a:lnTo>
                    <a:pt x="240249" y="299952"/>
                  </a:lnTo>
                  <a:lnTo>
                    <a:pt x="238611" y="299066"/>
                  </a:lnTo>
                  <a:lnTo>
                    <a:pt x="237277" y="296885"/>
                  </a:lnTo>
                  <a:lnTo>
                    <a:pt x="236268" y="296199"/>
                  </a:lnTo>
                  <a:lnTo>
                    <a:pt x="235668" y="295789"/>
                  </a:lnTo>
                  <a:lnTo>
                    <a:pt x="231877" y="296894"/>
                  </a:lnTo>
                  <a:lnTo>
                    <a:pt x="230562" y="298609"/>
                  </a:lnTo>
                  <a:lnTo>
                    <a:pt x="228514" y="300618"/>
                  </a:lnTo>
                  <a:lnTo>
                    <a:pt x="214456" y="310448"/>
                  </a:lnTo>
                  <a:lnTo>
                    <a:pt x="211884" y="314553"/>
                  </a:lnTo>
                  <a:lnTo>
                    <a:pt x="208912" y="320583"/>
                  </a:lnTo>
                  <a:lnTo>
                    <a:pt x="208683" y="323393"/>
                  </a:lnTo>
                  <a:lnTo>
                    <a:pt x="209960" y="332346"/>
                  </a:lnTo>
                  <a:lnTo>
                    <a:pt x="212817" y="337032"/>
                  </a:lnTo>
                  <a:lnTo>
                    <a:pt x="213179" y="338118"/>
                  </a:lnTo>
                  <a:lnTo>
                    <a:pt x="211589" y="338128"/>
                  </a:lnTo>
                  <a:lnTo>
                    <a:pt x="208931" y="337537"/>
                  </a:lnTo>
                  <a:lnTo>
                    <a:pt x="206731" y="336813"/>
                  </a:lnTo>
                  <a:lnTo>
                    <a:pt x="204626" y="337213"/>
                  </a:lnTo>
                  <a:lnTo>
                    <a:pt x="202606" y="338185"/>
                  </a:lnTo>
                  <a:lnTo>
                    <a:pt x="200835" y="338776"/>
                  </a:lnTo>
                  <a:lnTo>
                    <a:pt x="199558" y="338937"/>
                  </a:lnTo>
                  <a:lnTo>
                    <a:pt x="198711" y="339499"/>
                  </a:lnTo>
                  <a:lnTo>
                    <a:pt x="198301" y="340614"/>
                  </a:lnTo>
                  <a:lnTo>
                    <a:pt x="198225" y="341395"/>
                  </a:lnTo>
                  <a:lnTo>
                    <a:pt x="195987" y="341204"/>
                  </a:lnTo>
                  <a:lnTo>
                    <a:pt x="190815" y="339604"/>
                  </a:lnTo>
                  <a:lnTo>
                    <a:pt x="186166" y="338499"/>
                  </a:lnTo>
                  <a:lnTo>
                    <a:pt x="183432" y="339757"/>
                  </a:lnTo>
                  <a:lnTo>
                    <a:pt x="181680" y="340928"/>
                  </a:lnTo>
                  <a:lnTo>
                    <a:pt x="180451" y="340747"/>
                  </a:lnTo>
                  <a:lnTo>
                    <a:pt x="179508" y="339509"/>
                  </a:lnTo>
                  <a:lnTo>
                    <a:pt x="178879" y="338299"/>
                  </a:lnTo>
                  <a:lnTo>
                    <a:pt x="177060" y="337185"/>
                  </a:lnTo>
                  <a:lnTo>
                    <a:pt x="172946" y="335518"/>
                  </a:lnTo>
                  <a:lnTo>
                    <a:pt x="173155" y="334718"/>
                  </a:lnTo>
                  <a:lnTo>
                    <a:pt x="173860" y="333594"/>
                  </a:lnTo>
                  <a:lnTo>
                    <a:pt x="173841" y="332899"/>
                  </a:lnTo>
                  <a:lnTo>
                    <a:pt x="173050" y="331870"/>
                  </a:lnTo>
                  <a:lnTo>
                    <a:pt x="169259" y="330765"/>
                  </a:lnTo>
                  <a:lnTo>
                    <a:pt x="167469" y="330489"/>
                  </a:lnTo>
                  <a:lnTo>
                    <a:pt x="166335" y="331251"/>
                  </a:lnTo>
                  <a:lnTo>
                    <a:pt x="165516" y="332184"/>
                  </a:lnTo>
                  <a:lnTo>
                    <a:pt x="163411" y="328755"/>
                  </a:lnTo>
                  <a:lnTo>
                    <a:pt x="161906" y="328050"/>
                  </a:lnTo>
                  <a:lnTo>
                    <a:pt x="159639" y="327936"/>
                  </a:lnTo>
                  <a:lnTo>
                    <a:pt x="157039" y="326888"/>
                  </a:lnTo>
                  <a:lnTo>
                    <a:pt x="154334" y="325545"/>
                  </a:lnTo>
                  <a:lnTo>
                    <a:pt x="147771" y="323402"/>
                  </a:lnTo>
                  <a:lnTo>
                    <a:pt x="145971" y="323145"/>
                  </a:lnTo>
                  <a:lnTo>
                    <a:pt x="145247" y="323488"/>
                  </a:lnTo>
                  <a:lnTo>
                    <a:pt x="144761" y="324774"/>
                  </a:lnTo>
                  <a:lnTo>
                    <a:pt x="144504" y="328393"/>
                  </a:lnTo>
                  <a:lnTo>
                    <a:pt x="144228" y="328793"/>
                  </a:lnTo>
                  <a:lnTo>
                    <a:pt x="141180" y="328917"/>
                  </a:lnTo>
                  <a:lnTo>
                    <a:pt x="137427" y="328412"/>
                  </a:lnTo>
                  <a:lnTo>
                    <a:pt x="135703" y="328660"/>
                  </a:lnTo>
                  <a:lnTo>
                    <a:pt x="134169" y="328669"/>
                  </a:lnTo>
                  <a:lnTo>
                    <a:pt x="132722" y="327708"/>
                  </a:lnTo>
                  <a:lnTo>
                    <a:pt x="126235" y="328803"/>
                  </a:lnTo>
                  <a:lnTo>
                    <a:pt x="125159" y="328270"/>
                  </a:lnTo>
                  <a:lnTo>
                    <a:pt x="123597" y="326641"/>
                  </a:lnTo>
                  <a:lnTo>
                    <a:pt x="121844" y="325317"/>
                  </a:lnTo>
                  <a:lnTo>
                    <a:pt x="120491" y="324640"/>
                  </a:lnTo>
                  <a:lnTo>
                    <a:pt x="119329" y="323859"/>
                  </a:lnTo>
                  <a:lnTo>
                    <a:pt x="118281" y="323735"/>
                  </a:lnTo>
                  <a:lnTo>
                    <a:pt x="116681" y="324488"/>
                  </a:lnTo>
                  <a:lnTo>
                    <a:pt x="114472" y="324812"/>
                  </a:lnTo>
                  <a:lnTo>
                    <a:pt x="112643" y="324717"/>
                  </a:lnTo>
                  <a:lnTo>
                    <a:pt x="111662" y="324821"/>
                  </a:lnTo>
                  <a:lnTo>
                    <a:pt x="107547" y="320802"/>
                  </a:lnTo>
                  <a:lnTo>
                    <a:pt x="106947" y="319706"/>
                  </a:lnTo>
                  <a:lnTo>
                    <a:pt x="104899" y="319402"/>
                  </a:lnTo>
                  <a:lnTo>
                    <a:pt x="102365" y="319354"/>
                  </a:lnTo>
                  <a:lnTo>
                    <a:pt x="95907" y="316744"/>
                  </a:lnTo>
                  <a:lnTo>
                    <a:pt x="92964" y="315344"/>
                  </a:lnTo>
                  <a:lnTo>
                    <a:pt x="92535" y="314506"/>
                  </a:lnTo>
                  <a:lnTo>
                    <a:pt x="92573" y="313830"/>
                  </a:lnTo>
                  <a:lnTo>
                    <a:pt x="92069" y="313982"/>
                  </a:lnTo>
                  <a:lnTo>
                    <a:pt x="91164" y="315173"/>
                  </a:lnTo>
                  <a:lnTo>
                    <a:pt x="90687" y="316144"/>
                  </a:lnTo>
                  <a:lnTo>
                    <a:pt x="90059" y="316325"/>
                  </a:lnTo>
                  <a:lnTo>
                    <a:pt x="89135" y="316173"/>
                  </a:lnTo>
                  <a:lnTo>
                    <a:pt x="88278" y="315620"/>
                  </a:lnTo>
                  <a:lnTo>
                    <a:pt x="87754" y="314915"/>
                  </a:lnTo>
                  <a:lnTo>
                    <a:pt x="88316" y="313687"/>
                  </a:lnTo>
                  <a:lnTo>
                    <a:pt x="89306" y="312077"/>
                  </a:lnTo>
                  <a:lnTo>
                    <a:pt x="89716" y="310324"/>
                  </a:lnTo>
                  <a:lnTo>
                    <a:pt x="89621" y="308753"/>
                  </a:lnTo>
                  <a:lnTo>
                    <a:pt x="87992" y="307743"/>
                  </a:lnTo>
                  <a:lnTo>
                    <a:pt x="85592" y="307324"/>
                  </a:lnTo>
                  <a:lnTo>
                    <a:pt x="83829" y="307200"/>
                  </a:lnTo>
                  <a:lnTo>
                    <a:pt x="81544" y="306305"/>
                  </a:lnTo>
                  <a:lnTo>
                    <a:pt x="80458" y="305657"/>
                  </a:lnTo>
                  <a:lnTo>
                    <a:pt x="79410" y="303904"/>
                  </a:lnTo>
                  <a:lnTo>
                    <a:pt x="79372" y="302628"/>
                  </a:lnTo>
                  <a:lnTo>
                    <a:pt x="83725" y="301504"/>
                  </a:lnTo>
                  <a:lnTo>
                    <a:pt x="87640" y="296885"/>
                  </a:lnTo>
                  <a:lnTo>
                    <a:pt x="91354" y="280044"/>
                  </a:lnTo>
                  <a:lnTo>
                    <a:pt x="94040" y="259956"/>
                  </a:lnTo>
                  <a:lnTo>
                    <a:pt x="96031" y="256146"/>
                  </a:lnTo>
                  <a:lnTo>
                    <a:pt x="98546" y="255098"/>
                  </a:lnTo>
                  <a:lnTo>
                    <a:pt x="96517" y="252317"/>
                  </a:lnTo>
                  <a:lnTo>
                    <a:pt x="95250" y="253727"/>
                  </a:lnTo>
                  <a:lnTo>
                    <a:pt x="94717" y="255222"/>
                  </a:lnTo>
                  <a:lnTo>
                    <a:pt x="94050" y="255975"/>
                  </a:lnTo>
                  <a:lnTo>
                    <a:pt x="95545" y="237353"/>
                  </a:lnTo>
                  <a:lnTo>
                    <a:pt x="96612" y="230495"/>
                  </a:lnTo>
                  <a:lnTo>
                    <a:pt x="98431" y="223295"/>
                  </a:lnTo>
                  <a:lnTo>
                    <a:pt x="102156" y="226152"/>
                  </a:lnTo>
                  <a:lnTo>
                    <a:pt x="105242" y="229057"/>
                  </a:lnTo>
                  <a:lnTo>
                    <a:pt x="106832" y="231572"/>
                  </a:lnTo>
                  <a:lnTo>
                    <a:pt x="108852" y="239916"/>
                  </a:lnTo>
                  <a:lnTo>
                    <a:pt x="110385" y="241668"/>
                  </a:lnTo>
                  <a:lnTo>
                    <a:pt x="112671" y="243421"/>
                  </a:lnTo>
                  <a:lnTo>
                    <a:pt x="111766" y="241506"/>
                  </a:lnTo>
                  <a:lnTo>
                    <a:pt x="110195" y="240039"/>
                  </a:lnTo>
                  <a:lnTo>
                    <a:pt x="107737" y="228905"/>
                  </a:lnTo>
                  <a:lnTo>
                    <a:pt x="106194" y="225733"/>
                  </a:lnTo>
                  <a:lnTo>
                    <a:pt x="103794" y="223066"/>
                  </a:lnTo>
                  <a:lnTo>
                    <a:pt x="96060" y="217436"/>
                  </a:lnTo>
                  <a:lnTo>
                    <a:pt x="95364" y="216341"/>
                  </a:lnTo>
                  <a:lnTo>
                    <a:pt x="94983" y="214189"/>
                  </a:lnTo>
                  <a:lnTo>
                    <a:pt x="97546" y="214284"/>
                  </a:lnTo>
                  <a:lnTo>
                    <a:pt x="99755" y="215332"/>
                  </a:lnTo>
                  <a:lnTo>
                    <a:pt x="99498" y="214131"/>
                  </a:lnTo>
                  <a:lnTo>
                    <a:pt x="98841" y="212874"/>
                  </a:lnTo>
                  <a:lnTo>
                    <a:pt x="97812" y="208293"/>
                  </a:lnTo>
                  <a:lnTo>
                    <a:pt x="96955" y="197558"/>
                  </a:lnTo>
                  <a:lnTo>
                    <a:pt x="97069" y="195719"/>
                  </a:lnTo>
                  <a:lnTo>
                    <a:pt x="96688" y="193453"/>
                  </a:lnTo>
                  <a:lnTo>
                    <a:pt x="94212" y="192948"/>
                  </a:lnTo>
                  <a:lnTo>
                    <a:pt x="92231" y="192862"/>
                  </a:lnTo>
                  <a:lnTo>
                    <a:pt x="90097" y="191967"/>
                  </a:lnTo>
                  <a:lnTo>
                    <a:pt x="79562" y="185604"/>
                  </a:lnTo>
                  <a:lnTo>
                    <a:pt x="75962" y="179013"/>
                  </a:lnTo>
                  <a:lnTo>
                    <a:pt x="72276" y="174136"/>
                  </a:lnTo>
                  <a:lnTo>
                    <a:pt x="71390" y="172002"/>
                  </a:lnTo>
                  <a:lnTo>
                    <a:pt x="71447" y="169840"/>
                  </a:lnTo>
                  <a:lnTo>
                    <a:pt x="73362" y="165268"/>
                  </a:lnTo>
                  <a:lnTo>
                    <a:pt x="71676" y="162373"/>
                  </a:lnTo>
                  <a:lnTo>
                    <a:pt x="70028" y="161801"/>
                  </a:lnTo>
                  <a:lnTo>
                    <a:pt x="68599" y="160363"/>
                  </a:lnTo>
                  <a:lnTo>
                    <a:pt x="69895" y="157972"/>
                  </a:lnTo>
                  <a:lnTo>
                    <a:pt x="70971" y="156438"/>
                  </a:lnTo>
                  <a:lnTo>
                    <a:pt x="73133" y="156029"/>
                  </a:lnTo>
                  <a:lnTo>
                    <a:pt x="75962" y="156534"/>
                  </a:lnTo>
                  <a:lnTo>
                    <a:pt x="78648" y="157924"/>
                  </a:lnTo>
                  <a:lnTo>
                    <a:pt x="80753" y="158296"/>
                  </a:lnTo>
                  <a:lnTo>
                    <a:pt x="74533" y="154572"/>
                  </a:lnTo>
                  <a:lnTo>
                    <a:pt x="64437" y="155829"/>
                  </a:lnTo>
                  <a:lnTo>
                    <a:pt x="62256" y="155353"/>
                  </a:lnTo>
                  <a:lnTo>
                    <a:pt x="60427" y="154524"/>
                  </a:lnTo>
                  <a:lnTo>
                    <a:pt x="59703" y="151781"/>
                  </a:lnTo>
                  <a:lnTo>
                    <a:pt x="61141" y="150552"/>
                  </a:lnTo>
                  <a:lnTo>
                    <a:pt x="62436" y="148266"/>
                  </a:lnTo>
                  <a:lnTo>
                    <a:pt x="60970" y="146666"/>
                  </a:lnTo>
                  <a:lnTo>
                    <a:pt x="59065" y="146056"/>
                  </a:lnTo>
                  <a:lnTo>
                    <a:pt x="56074" y="146085"/>
                  </a:lnTo>
                  <a:lnTo>
                    <a:pt x="53283" y="146570"/>
                  </a:lnTo>
                  <a:lnTo>
                    <a:pt x="52578" y="145647"/>
                  </a:lnTo>
                  <a:lnTo>
                    <a:pt x="54283" y="143094"/>
                  </a:lnTo>
                  <a:lnTo>
                    <a:pt x="52835" y="142161"/>
                  </a:lnTo>
                  <a:lnTo>
                    <a:pt x="50902" y="142599"/>
                  </a:lnTo>
                  <a:lnTo>
                    <a:pt x="48101" y="143122"/>
                  </a:lnTo>
                  <a:lnTo>
                    <a:pt x="45425" y="142322"/>
                  </a:lnTo>
                  <a:lnTo>
                    <a:pt x="42891" y="139417"/>
                  </a:lnTo>
                  <a:lnTo>
                    <a:pt x="41215" y="139436"/>
                  </a:lnTo>
                  <a:lnTo>
                    <a:pt x="40062" y="139798"/>
                  </a:lnTo>
                  <a:lnTo>
                    <a:pt x="38357" y="138674"/>
                  </a:lnTo>
                  <a:lnTo>
                    <a:pt x="36557" y="138398"/>
                  </a:lnTo>
                  <a:lnTo>
                    <a:pt x="35271" y="138769"/>
                  </a:lnTo>
                  <a:lnTo>
                    <a:pt x="33566" y="137103"/>
                  </a:lnTo>
                  <a:lnTo>
                    <a:pt x="23051" y="133750"/>
                  </a:lnTo>
                  <a:lnTo>
                    <a:pt x="18517" y="133340"/>
                  </a:lnTo>
                  <a:lnTo>
                    <a:pt x="14354" y="134855"/>
                  </a:lnTo>
                  <a:lnTo>
                    <a:pt x="12059" y="134331"/>
                  </a:lnTo>
                  <a:lnTo>
                    <a:pt x="10373" y="132159"/>
                  </a:lnTo>
                  <a:lnTo>
                    <a:pt x="8963" y="128521"/>
                  </a:lnTo>
                  <a:lnTo>
                    <a:pt x="2257" y="125711"/>
                  </a:lnTo>
                  <a:lnTo>
                    <a:pt x="3581" y="123863"/>
                  </a:lnTo>
                  <a:lnTo>
                    <a:pt x="6706" y="123425"/>
                  </a:lnTo>
                  <a:lnTo>
                    <a:pt x="10296" y="122148"/>
                  </a:lnTo>
                  <a:lnTo>
                    <a:pt x="11592" y="120500"/>
                  </a:lnTo>
                  <a:lnTo>
                    <a:pt x="8782" y="118586"/>
                  </a:lnTo>
                  <a:lnTo>
                    <a:pt x="6706" y="118110"/>
                  </a:lnTo>
                  <a:lnTo>
                    <a:pt x="5848" y="117424"/>
                  </a:lnTo>
                  <a:lnTo>
                    <a:pt x="4972" y="115700"/>
                  </a:lnTo>
                  <a:lnTo>
                    <a:pt x="6210" y="114910"/>
                  </a:lnTo>
                  <a:lnTo>
                    <a:pt x="7087" y="115328"/>
                  </a:lnTo>
                  <a:lnTo>
                    <a:pt x="9620" y="115576"/>
                  </a:lnTo>
                  <a:lnTo>
                    <a:pt x="13945" y="115157"/>
                  </a:lnTo>
                  <a:lnTo>
                    <a:pt x="12335" y="113414"/>
                  </a:lnTo>
                  <a:lnTo>
                    <a:pt x="10659" y="113024"/>
                  </a:lnTo>
                  <a:lnTo>
                    <a:pt x="9887" y="112585"/>
                  </a:lnTo>
                  <a:lnTo>
                    <a:pt x="6363" y="112395"/>
                  </a:lnTo>
                  <a:lnTo>
                    <a:pt x="4763" y="112995"/>
                  </a:lnTo>
                  <a:lnTo>
                    <a:pt x="1162" y="112766"/>
                  </a:lnTo>
                  <a:lnTo>
                    <a:pt x="381" y="110890"/>
                  </a:lnTo>
                  <a:lnTo>
                    <a:pt x="0" y="109271"/>
                  </a:lnTo>
                  <a:lnTo>
                    <a:pt x="1114" y="105670"/>
                  </a:lnTo>
                  <a:lnTo>
                    <a:pt x="6182" y="102441"/>
                  </a:lnTo>
                  <a:lnTo>
                    <a:pt x="18812" y="98907"/>
                  </a:lnTo>
                  <a:lnTo>
                    <a:pt x="24241" y="99422"/>
                  </a:lnTo>
                  <a:lnTo>
                    <a:pt x="28004" y="98784"/>
                  </a:lnTo>
                  <a:lnTo>
                    <a:pt x="32518" y="96555"/>
                  </a:lnTo>
                  <a:lnTo>
                    <a:pt x="34509" y="94640"/>
                  </a:lnTo>
                  <a:lnTo>
                    <a:pt x="40929" y="93516"/>
                  </a:lnTo>
                  <a:lnTo>
                    <a:pt x="47025" y="95545"/>
                  </a:lnTo>
                  <a:lnTo>
                    <a:pt x="52645" y="103203"/>
                  </a:lnTo>
                  <a:lnTo>
                    <a:pt x="55331" y="105794"/>
                  </a:lnTo>
                  <a:lnTo>
                    <a:pt x="61913" y="101298"/>
                  </a:lnTo>
                  <a:lnTo>
                    <a:pt x="71714" y="101432"/>
                  </a:lnTo>
                  <a:lnTo>
                    <a:pt x="73733" y="103965"/>
                  </a:lnTo>
                  <a:lnTo>
                    <a:pt x="74552" y="101832"/>
                  </a:lnTo>
                  <a:lnTo>
                    <a:pt x="76352" y="99326"/>
                  </a:lnTo>
                  <a:lnTo>
                    <a:pt x="77791" y="100469"/>
                  </a:lnTo>
                  <a:lnTo>
                    <a:pt x="78524" y="102022"/>
                  </a:lnTo>
                  <a:lnTo>
                    <a:pt x="88868" y="101584"/>
                  </a:lnTo>
                  <a:lnTo>
                    <a:pt x="90497" y="101136"/>
                  </a:lnTo>
                  <a:lnTo>
                    <a:pt x="87716" y="99317"/>
                  </a:lnTo>
                  <a:lnTo>
                    <a:pt x="85449" y="94955"/>
                  </a:lnTo>
                  <a:lnTo>
                    <a:pt x="84973" y="78829"/>
                  </a:lnTo>
                  <a:lnTo>
                    <a:pt x="82105" y="74304"/>
                  </a:lnTo>
                  <a:lnTo>
                    <a:pt x="78819" y="67056"/>
                  </a:lnTo>
                  <a:lnTo>
                    <a:pt x="77305" y="62741"/>
                  </a:lnTo>
                  <a:lnTo>
                    <a:pt x="77162" y="61246"/>
                  </a:lnTo>
                  <a:lnTo>
                    <a:pt x="77667" y="59083"/>
                  </a:lnTo>
                  <a:lnTo>
                    <a:pt x="81705" y="59198"/>
                  </a:lnTo>
                  <a:lnTo>
                    <a:pt x="84830" y="59750"/>
                  </a:lnTo>
                  <a:lnTo>
                    <a:pt x="90783" y="58121"/>
                  </a:lnTo>
                  <a:lnTo>
                    <a:pt x="93640" y="59236"/>
                  </a:lnTo>
                  <a:lnTo>
                    <a:pt x="93469" y="62608"/>
                  </a:lnTo>
                  <a:lnTo>
                    <a:pt x="94345" y="66856"/>
                  </a:lnTo>
                  <a:lnTo>
                    <a:pt x="95336" y="68913"/>
                  </a:lnTo>
                  <a:lnTo>
                    <a:pt x="96850" y="71247"/>
                  </a:lnTo>
                  <a:lnTo>
                    <a:pt x="101641" y="71037"/>
                  </a:lnTo>
                  <a:lnTo>
                    <a:pt x="106814" y="72409"/>
                  </a:lnTo>
                  <a:lnTo>
                    <a:pt x="113357" y="72619"/>
                  </a:lnTo>
                  <a:lnTo>
                    <a:pt x="122911" y="74981"/>
                  </a:lnTo>
                  <a:lnTo>
                    <a:pt x="126978" y="73609"/>
                  </a:lnTo>
                  <a:lnTo>
                    <a:pt x="130921" y="70685"/>
                  </a:lnTo>
                  <a:lnTo>
                    <a:pt x="138427" y="68761"/>
                  </a:lnTo>
                  <a:lnTo>
                    <a:pt x="139027" y="67751"/>
                  </a:lnTo>
                  <a:lnTo>
                    <a:pt x="134703" y="68151"/>
                  </a:lnTo>
                  <a:lnTo>
                    <a:pt x="130740" y="66294"/>
                  </a:lnTo>
                  <a:lnTo>
                    <a:pt x="130207" y="64284"/>
                  </a:lnTo>
                  <a:lnTo>
                    <a:pt x="130664" y="62474"/>
                  </a:lnTo>
                  <a:lnTo>
                    <a:pt x="132274" y="58302"/>
                  </a:lnTo>
                  <a:lnTo>
                    <a:pt x="143761" y="51701"/>
                  </a:lnTo>
                  <a:lnTo>
                    <a:pt x="151990" y="49749"/>
                  </a:lnTo>
                  <a:lnTo>
                    <a:pt x="160582" y="46101"/>
                  </a:lnTo>
                  <a:lnTo>
                    <a:pt x="164907" y="42358"/>
                  </a:lnTo>
                  <a:lnTo>
                    <a:pt x="167764" y="37509"/>
                  </a:lnTo>
                  <a:lnTo>
                    <a:pt x="168688" y="36443"/>
                  </a:lnTo>
                  <a:lnTo>
                    <a:pt x="169878" y="35547"/>
                  </a:lnTo>
                  <a:lnTo>
                    <a:pt x="168773" y="33804"/>
                  </a:lnTo>
                  <a:lnTo>
                    <a:pt x="169516" y="15135"/>
                  </a:lnTo>
                  <a:lnTo>
                    <a:pt x="170317" y="11754"/>
                  </a:lnTo>
                  <a:lnTo>
                    <a:pt x="171993" y="8982"/>
                  </a:lnTo>
                  <a:lnTo>
                    <a:pt x="174546" y="6839"/>
                  </a:lnTo>
                  <a:lnTo>
                    <a:pt x="178413" y="4515"/>
                  </a:lnTo>
                  <a:lnTo>
                    <a:pt x="192672" y="1305"/>
                  </a:lnTo>
                  <a:lnTo>
                    <a:pt x="194786" y="0"/>
                  </a:lnTo>
                  <a:lnTo>
                    <a:pt x="195082" y="2019"/>
                  </a:lnTo>
                  <a:lnTo>
                    <a:pt x="196120" y="4600"/>
                  </a:lnTo>
                  <a:lnTo>
                    <a:pt x="196834" y="6010"/>
                  </a:lnTo>
                  <a:lnTo>
                    <a:pt x="196234" y="7848"/>
                  </a:lnTo>
                  <a:lnTo>
                    <a:pt x="196701" y="9363"/>
                  </a:lnTo>
                  <a:lnTo>
                    <a:pt x="198634" y="12087"/>
                  </a:lnTo>
                  <a:lnTo>
                    <a:pt x="201044" y="14649"/>
                  </a:lnTo>
                  <a:lnTo>
                    <a:pt x="203197" y="16288"/>
                  </a:lnTo>
                  <a:lnTo>
                    <a:pt x="203854" y="16040"/>
                  </a:lnTo>
                  <a:close/>
                  <a:moveTo>
                    <a:pt x="95841" y="209074"/>
                  </a:moveTo>
                  <a:lnTo>
                    <a:pt x="94898" y="212426"/>
                  </a:lnTo>
                  <a:lnTo>
                    <a:pt x="93107" y="209340"/>
                  </a:lnTo>
                  <a:lnTo>
                    <a:pt x="90745" y="206635"/>
                  </a:lnTo>
                  <a:lnTo>
                    <a:pt x="90202" y="204130"/>
                  </a:lnTo>
                  <a:lnTo>
                    <a:pt x="90202" y="203463"/>
                  </a:lnTo>
                  <a:lnTo>
                    <a:pt x="92974" y="205292"/>
                  </a:lnTo>
                  <a:lnTo>
                    <a:pt x="95841" y="209074"/>
                  </a:lnTo>
                  <a:close/>
                  <a:moveTo>
                    <a:pt x="380762" y="324564"/>
                  </a:moveTo>
                  <a:lnTo>
                    <a:pt x="380067" y="329889"/>
                  </a:lnTo>
                  <a:lnTo>
                    <a:pt x="380572" y="331441"/>
                  </a:lnTo>
                  <a:lnTo>
                    <a:pt x="381543" y="332527"/>
                  </a:lnTo>
                  <a:lnTo>
                    <a:pt x="381991" y="333718"/>
                  </a:lnTo>
                  <a:lnTo>
                    <a:pt x="382800" y="347834"/>
                  </a:lnTo>
                  <a:lnTo>
                    <a:pt x="382648" y="348958"/>
                  </a:lnTo>
                  <a:lnTo>
                    <a:pt x="379381" y="354606"/>
                  </a:lnTo>
                  <a:lnTo>
                    <a:pt x="378648" y="356254"/>
                  </a:lnTo>
                  <a:lnTo>
                    <a:pt x="378485" y="363226"/>
                  </a:lnTo>
                  <a:lnTo>
                    <a:pt x="377933" y="365093"/>
                  </a:lnTo>
                  <a:lnTo>
                    <a:pt x="376771" y="366931"/>
                  </a:lnTo>
                  <a:lnTo>
                    <a:pt x="374704" y="372875"/>
                  </a:lnTo>
                  <a:lnTo>
                    <a:pt x="372913" y="375542"/>
                  </a:lnTo>
                  <a:lnTo>
                    <a:pt x="368017" y="372285"/>
                  </a:lnTo>
                  <a:lnTo>
                    <a:pt x="365132" y="370875"/>
                  </a:lnTo>
                  <a:lnTo>
                    <a:pt x="363722" y="369360"/>
                  </a:lnTo>
                  <a:lnTo>
                    <a:pt x="362798" y="368313"/>
                  </a:lnTo>
                  <a:lnTo>
                    <a:pt x="363398" y="366913"/>
                  </a:lnTo>
                  <a:lnTo>
                    <a:pt x="364712" y="365455"/>
                  </a:lnTo>
                  <a:lnTo>
                    <a:pt x="364922" y="364302"/>
                  </a:lnTo>
                  <a:lnTo>
                    <a:pt x="361826" y="363007"/>
                  </a:lnTo>
                  <a:lnTo>
                    <a:pt x="360407" y="362140"/>
                  </a:lnTo>
                  <a:lnTo>
                    <a:pt x="360426" y="360616"/>
                  </a:lnTo>
                  <a:lnTo>
                    <a:pt x="361493" y="358245"/>
                  </a:lnTo>
                  <a:lnTo>
                    <a:pt x="361007" y="356283"/>
                  </a:lnTo>
                  <a:lnTo>
                    <a:pt x="359216" y="356378"/>
                  </a:lnTo>
                  <a:lnTo>
                    <a:pt x="357826" y="356082"/>
                  </a:lnTo>
                  <a:lnTo>
                    <a:pt x="357645" y="355063"/>
                  </a:lnTo>
                  <a:lnTo>
                    <a:pt x="358664" y="353758"/>
                  </a:lnTo>
                  <a:lnTo>
                    <a:pt x="359978" y="352054"/>
                  </a:lnTo>
                  <a:lnTo>
                    <a:pt x="359940" y="350167"/>
                  </a:lnTo>
                  <a:lnTo>
                    <a:pt x="358350" y="349358"/>
                  </a:lnTo>
                  <a:lnTo>
                    <a:pt x="356911" y="347824"/>
                  </a:lnTo>
                  <a:lnTo>
                    <a:pt x="356330" y="345738"/>
                  </a:lnTo>
                  <a:lnTo>
                    <a:pt x="357445" y="344310"/>
                  </a:lnTo>
                  <a:lnTo>
                    <a:pt x="359255" y="343395"/>
                  </a:lnTo>
                  <a:lnTo>
                    <a:pt x="357921" y="341252"/>
                  </a:lnTo>
                  <a:lnTo>
                    <a:pt x="357026" y="341204"/>
                  </a:lnTo>
                  <a:lnTo>
                    <a:pt x="356311" y="340738"/>
                  </a:lnTo>
                  <a:lnTo>
                    <a:pt x="356902" y="339747"/>
                  </a:lnTo>
                  <a:lnTo>
                    <a:pt x="358302" y="338261"/>
                  </a:lnTo>
                  <a:lnTo>
                    <a:pt x="360255" y="333813"/>
                  </a:lnTo>
                  <a:lnTo>
                    <a:pt x="362969" y="331708"/>
                  </a:lnTo>
                  <a:lnTo>
                    <a:pt x="367789" y="330355"/>
                  </a:lnTo>
                  <a:lnTo>
                    <a:pt x="369094" y="329755"/>
                  </a:lnTo>
                  <a:lnTo>
                    <a:pt x="370284" y="328184"/>
                  </a:lnTo>
                  <a:lnTo>
                    <a:pt x="371608" y="327174"/>
                  </a:lnTo>
                  <a:lnTo>
                    <a:pt x="373218" y="327307"/>
                  </a:lnTo>
                  <a:lnTo>
                    <a:pt x="374704" y="327908"/>
                  </a:lnTo>
                  <a:lnTo>
                    <a:pt x="375618" y="328555"/>
                  </a:lnTo>
                  <a:lnTo>
                    <a:pt x="376304" y="327879"/>
                  </a:lnTo>
                  <a:lnTo>
                    <a:pt x="376971" y="325926"/>
                  </a:lnTo>
                  <a:lnTo>
                    <a:pt x="376561" y="324212"/>
                  </a:lnTo>
                  <a:lnTo>
                    <a:pt x="376771" y="319497"/>
                  </a:lnTo>
                  <a:lnTo>
                    <a:pt x="377628" y="316821"/>
                  </a:lnTo>
                  <a:lnTo>
                    <a:pt x="379019" y="316668"/>
                  </a:lnTo>
                  <a:lnTo>
                    <a:pt x="380295" y="318144"/>
                  </a:lnTo>
                  <a:lnTo>
                    <a:pt x="380238" y="319449"/>
                  </a:lnTo>
                  <a:lnTo>
                    <a:pt x="380714" y="322536"/>
                  </a:lnTo>
                  <a:lnTo>
                    <a:pt x="380762" y="324564"/>
                  </a:lnTo>
                  <a:close/>
                </a:path>
              </a:pathLst>
            </a:custGeom>
            <a:solidFill>
              <a:schemeClr val="accent6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EEEEED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33" name="Forme libre : forme 21">
              <a:extLst>
                <a:ext uri="{FF2B5EF4-FFF2-40B4-BE49-F238E27FC236}">
                  <a16:creationId xmlns:a16="http://schemas.microsoft.com/office/drawing/2014/main" id="{C51602D5-54D1-9922-EE41-5FAA58B8861D}"/>
                </a:ext>
              </a:extLst>
            </p:cNvPr>
            <p:cNvSpPr/>
            <p:nvPr/>
          </p:nvSpPr>
          <p:spPr>
            <a:xfrm>
              <a:off x="4658302" y="3178261"/>
              <a:ext cx="689400" cy="1284884"/>
            </a:xfrm>
            <a:custGeom>
              <a:avLst/>
              <a:gdLst>
                <a:gd name="connsiteX0" fmla="*/ 189271 w 264461"/>
                <a:gd name="connsiteY0" fmla="*/ 484203 h 512159"/>
                <a:gd name="connsiteX1" fmla="*/ 187033 w 264461"/>
                <a:gd name="connsiteY1" fmla="*/ 485651 h 512159"/>
                <a:gd name="connsiteX2" fmla="*/ 186328 w 264461"/>
                <a:gd name="connsiteY2" fmla="*/ 487356 h 512159"/>
                <a:gd name="connsiteX3" fmla="*/ 185785 w 264461"/>
                <a:gd name="connsiteY3" fmla="*/ 488023 h 512159"/>
                <a:gd name="connsiteX4" fmla="*/ 184309 w 264461"/>
                <a:gd name="connsiteY4" fmla="*/ 488461 h 512159"/>
                <a:gd name="connsiteX5" fmla="*/ 182842 w 264461"/>
                <a:gd name="connsiteY5" fmla="*/ 488470 h 512159"/>
                <a:gd name="connsiteX6" fmla="*/ 177260 w 264461"/>
                <a:gd name="connsiteY6" fmla="*/ 485061 h 512159"/>
                <a:gd name="connsiteX7" fmla="*/ 175974 w 264461"/>
                <a:gd name="connsiteY7" fmla="*/ 485213 h 512159"/>
                <a:gd name="connsiteX8" fmla="*/ 177251 w 264461"/>
                <a:gd name="connsiteY8" fmla="*/ 483651 h 512159"/>
                <a:gd name="connsiteX9" fmla="*/ 180718 w 264461"/>
                <a:gd name="connsiteY9" fmla="*/ 482375 h 512159"/>
                <a:gd name="connsiteX10" fmla="*/ 182670 w 264461"/>
                <a:gd name="connsiteY10" fmla="*/ 480689 h 512159"/>
                <a:gd name="connsiteX11" fmla="*/ 187176 w 264461"/>
                <a:gd name="connsiteY11" fmla="*/ 482317 h 512159"/>
                <a:gd name="connsiteX12" fmla="*/ 189271 w 264461"/>
                <a:gd name="connsiteY12" fmla="*/ 484203 h 512159"/>
                <a:gd name="connsiteX13" fmla="*/ 105565 w 264461"/>
                <a:gd name="connsiteY13" fmla="*/ 370189 h 512159"/>
                <a:gd name="connsiteX14" fmla="*/ 106689 w 264461"/>
                <a:gd name="connsiteY14" fmla="*/ 371018 h 512159"/>
                <a:gd name="connsiteX15" fmla="*/ 109509 w 264461"/>
                <a:gd name="connsiteY15" fmla="*/ 370884 h 512159"/>
                <a:gd name="connsiteX16" fmla="*/ 108575 w 264461"/>
                <a:gd name="connsiteY16" fmla="*/ 372732 h 512159"/>
                <a:gd name="connsiteX17" fmla="*/ 105470 w 264461"/>
                <a:gd name="connsiteY17" fmla="*/ 374790 h 512159"/>
                <a:gd name="connsiteX18" fmla="*/ 103384 w 264461"/>
                <a:gd name="connsiteY18" fmla="*/ 376819 h 512159"/>
                <a:gd name="connsiteX19" fmla="*/ 100860 w 264461"/>
                <a:gd name="connsiteY19" fmla="*/ 378514 h 512159"/>
                <a:gd name="connsiteX20" fmla="*/ 99641 w 264461"/>
                <a:gd name="connsiteY20" fmla="*/ 376561 h 512159"/>
                <a:gd name="connsiteX21" fmla="*/ 98222 w 264461"/>
                <a:gd name="connsiteY21" fmla="*/ 376637 h 512159"/>
                <a:gd name="connsiteX22" fmla="*/ 96050 w 264461"/>
                <a:gd name="connsiteY22" fmla="*/ 372885 h 512159"/>
                <a:gd name="connsiteX23" fmla="*/ 95660 w 264461"/>
                <a:gd name="connsiteY23" fmla="*/ 367265 h 512159"/>
                <a:gd name="connsiteX24" fmla="*/ 98498 w 264461"/>
                <a:gd name="connsiteY24" fmla="*/ 365798 h 512159"/>
                <a:gd name="connsiteX25" fmla="*/ 102422 w 264461"/>
                <a:gd name="connsiteY25" fmla="*/ 365884 h 512159"/>
                <a:gd name="connsiteX26" fmla="*/ 105565 w 264461"/>
                <a:gd name="connsiteY26" fmla="*/ 370189 h 512159"/>
                <a:gd name="connsiteX27" fmla="*/ 47339 w 264461"/>
                <a:gd name="connsiteY27" fmla="*/ 282445 h 512159"/>
                <a:gd name="connsiteX28" fmla="*/ 51111 w 264461"/>
                <a:gd name="connsiteY28" fmla="*/ 283616 h 512159"/>
                <a:gd name="connsiteX29" fmla="*/ 53921 w 264461"/>
                <a:gd name="connsiteY29" fmla="*/ 283598 h 512159"/>
                <a:gd name="connsiteX30" fmla="*/ 56416 w 264461"/>
                <a:gd name="connsiteY30" fmla="*/ 286998 h 512159"/>
                <a:gd name="connsiteX31" fmla="*/ 57750 w 264461"/>
                <a:gd name="connsiteY31" fmla="*/ 292351 h 512159"/>
                <a:gd name="connsiteX32" fmla="*/ 60865 w 264461"/>
                <a:gd name="connsiteY32" fmla="*/ 297628 h 512159"/>
                <a:gd name="connsiteX33" fmla="*/ 64941 w 264461"/>
                <a:gd name="connsiteY33" fmla="*/ 302200 h 512159"/>
                <a:gd name="connsiteX34" fmla="*/ 65103 w 264461"/>
                <a:gd name="connsiteY34" fmla="*/ 304990 h 512159"/>
                <a:gd name="connsiteX35" fmla="*/ 63646 w 264461"/>
                <a:gd name="connsiteY35" fmla="*/ 306486 h 512159"/>
                <a:gd name="connsiteX36" fmla="*/ 60607 w 264461"/>
                <a:gd name="connsiteY36" fmla="*/ 308343 h 512159"/>
                <a:gd name="connsiteX37" fmla="*/ 60617 w 264461"/>
                <a:gd name="connsiteY37" fmla="*/ 310334 h 512159"/>
                <a:gd name="connsiteX38" fmla="*/ 62627 w 264461"/>
                <a:gd name="connsiteY38" fmla="*/ 309334 h 512159"/>
                <a:gd name="connsiteX39" fmla="*/ 64360 w 264461"/>
                <a:gd name="connsiteY39" fmla="*/ 308877 h 512159"/>
                <a:gd name="connsiteX40" fmla="*/ 68532 w 264461"/>
                <a:gd name="connsiteY40" fmla="*/ 309315 h 512159"/>
                <a:gd name="connsiteX41" fmla="*/ 69990 w 264461"/>
                <a:gd name="connsiteY41" fmla="*/ 311334 h 512159"/>
                <a:gd name="connsiteX42" fmla="*/ 70999 w 264461"/>
                <a:gd name="connsiteY42" fmla="*/ 314354 h 512159"/>
                <a:gd name="connsiteX43" fmla="*/ 71533 w 264461"/>
                <a:gd name="connsiteY43" fmla="*/ 316830 h 512159"/>
                <a:gd name="connsiteX44" fmla="*/ 71171 w 264461"/>
                <a:gd name="connsiteY44" fmla="*/ 319516 h 512159"/>
                <a:gd name="connsiteX45" fmla="*/ 70047 w 264461"/>
                <a:gd name="connsiteY45" fmla="*/ 318659 h 512159"/>
                <a:gd name="connsiteX46" fmla="*/ 68904 w 264461"/>
                <a:gd name="connsiteY46" fmla="*/ 316259 h 512159"/>
                <a:gd name="connsiteX47" fmla="*/ 67637 w 264461"/>
                <a:gd name="connsiteY47" fmla="*/ 315154 h 512159"/>
                <a:gd name="connsiteX48" fmla="*/ 66161 w 264461"/>
                <a:gd name="connsiteY48" fmla="*/ 314554 h 512159"/>
                <a:gd name="connsiteX49" fmla="*/ 66827 w 264461"/>
                <a:gd name="connsiteY49" fmla="*/ 317859 h 512159"/>
                <a:gd name="connsiteX50" fmla="*/ 66560 w 264461"/>
                <a:gd name="connsiteY50" fmla="*/ 322269 h 512159"/>
                <a:gd name="connsiteX51" fmla="*/ 67199 w 264461"/>
                <a:gd name="connsiteY51" fmla="*/ 322679 h 512159"/>
                <a:gd name="connsiteX52" fmla="*/ 69180 w 264461"/>
                <a:gd name="connsiteY52" fmla="*/ 322755 h 512159"/>
                <a:gd name="connsiteX53" fmla="*/ 67875 w 264461"/>
                <a:gd name="connsiteY53" fmla="*/ 327250 h 512159"/>
                <a:gd name="connsiteX54" fmla="*/ 65160 w 264461"/>
                <a:gd name="connsiteY54" fmla="*/ 328470 h 512159"/>
                <a:gd name="connsiteX55" fmla="*/ 62008 w 264461"/>
                <a:gd name="connsiteY55" fmla="*/ 328927 h 512159"/>
                <a:gd name="connsiteX56" fmla="*/ 61246 w 264461"/>
                <a:gd name="connsiteY56" fmla="*/ 330518 h 512159"/>
                <a:gd name="connsiteX57" fmla="*/ 60674 w 264461"/>
                <a:gd name="connsiteY57" fmla="*/ 332565 h 512159"/>
                <a:gd name="connsiteX58" fmla="*/ 59026 w 264461"/>
                <a:gd name="connsiteY58" fmla="*/ 335614 h 512159"/>
                <a:gd name="connsiteX59" fmla="*/ 56855 w 264461"/>
                <a:gd name="connsiteY59" fmla="*/ 337338 h 512159"/>
                <a:gd name="connsiteX60" fmla="*/ 54168 w 264461"/>
                <a:gd name="connsiteY60" fmla="*/ 336985 h 512159"/>
                <a:gd name="connsiteX61" fmla="*/ 51540 w 264461"/>
                <a:gd name="connsiteY61" fmla="*/ 335623 h 512159"/>
                <a:gd name="connsiteX62" fmla="*/ 49244 w 264461"/>
                <a:gd name="connsiteY62" fmla="*/ 335347 h 512159"/>
                <a:gd name="connsiteX63" fmla="*/ 47644 w 264461"/>
                <a:gd name="connsiteY63" fmla="*/ 336156 h 512159"/>
                <a:gd name="connsiteX64" fmla="*/ 46606 w 264461"/>
                <a:gd name="connsiteY64" fmla="*/ 336909 h 512159"/>
                <a:gd name="connsiteX65" fmla="*/ 45596 w 264461"/>
                <a:gd name="connsiteY65" fmla="*/ 336775 h 512159"/>
                <a:gd name="connsiteX66" fmla="*/ 42710 w 264461"/>
                <a:gd name="connsiteY66" fmla="*/ 337061 h 512159"/>
                <a:gd name="connsiteX67" fmla="*/ 39995 w 264461"/>
                <a:gd name="connsiteY67" fmla="*/ 337004 h 512159"/>
                <a:gd name="connsiteX68" fmla="*/ 39605 w 264461"/>
                <a:gd name="connsiteY68" fmla="*/ 335814 h 512159"/>
                <a:gd name="connsiteX69" fmla="*/ 40072 w 264461"/>
                <a:gd name="connsiteY69" fmla="*/ 332232 h 512159"/>
                <a:gd name="connsiteX70" fmla="*/ 39462 w 264461"/>
                <a:gd name="connsiteY70" fmla="*/ 331261 h 512159"/>
                <a:gd name="connsiteX71" fmla="*/ 36871 w 264461"/>
                <a:gd name="connsiteY71" fmla="*/ 330765 h 512159"/>
                <a:gd name="connsiteX72" fmla="*/ 35909 w 264461"/>
                <a:gd name="connsiteY72" fmla="*/ 329908 h 512159"/>
                <a:gd name="connsiteX73" fmla="*/ 34414 w 264461"/>
                <a:gd name="connsiteY73" fmla="*/ 327431 h 512159"/>
                <a:gd name="connsiteX74" fmla="*/ 34119 w 264461"/>
                <a:gd name="connsiteY74" fmla="*/ 326269 h 512159"/>
                <a:gd name="connsiteX75" fmla="*/ 33909 w 264461"/>
                <a:gd name="connsiteY75" fmla="*/ 324669 h 512159"/>
                <a:gd name="connsiteX76" fmla="*/ 32328 w 264461"/>
                <a:gd name="connsiteY76" fmla="*/ 322602 h 512159"/>
                <a:gd name="connsiteX77" fmla="*/ 30413 w 264461"/>
                <a:gd name="connsiteY77" fmla="*/ 321116 h 512159"/>
                <a:gd name="connsiteX78" fmla="*/ 29289 w 264461"/>
                <a:gd name="connsiteY78" fmla="*/ 321040 h 512159"/>
                <a:gd name="connsiteX79" fmla="*/ 27051 w 264461"/>
                <a:gd name="connsiteY79" fmla="*/ 323460 h 512159"/>
                <a:gd name="connsiteX80" fmla="*/ 25203 w 264461"/>
                <a:gd name="connsiteY80" fmla="*/ 325907 h 512159"/>
                <a:gd name="connsiteX81" fmla="*/ 25851 w 264461"/>
                <a:gd name="connsiteY81" fmla="*/ 327136 h 512159"/>
                <a:gd name="connsiteX82" fmla="*/ 26451 w 264461"/>
                <a:gd name="connsiteY82" fmla="*/ 328746 h 512159"/>
                <a:gd name="connsiteX83" fmla="*/ 25451 w 264461"/>
                <a:gd name="connsiteY83" fmla="*/ 329908 h 512159"/>
                <a:gd name="connsiteX84" fmla="*/ 22412 w 264461"/>
                <a:gd name="connsiteY84" fmla="*/ 332556 h 512159"/>
                <a:gd name="connsiteX85" fmla="*/ 21936 w 264461"/>
                <a:gd name="connsiteY85" fmla="*/ 333585 h 512159"/>
                <a:gd name="connsiteX86" fmla="*/ 21117 w 264461"/>
                <a:gd name="connsiteY86" fmla="*/ 334146 h 512159"/>
                <a:gd name="connsiteX87" fmla="*/ 19669 w 264461"/>
                <a:gd name="connsiteY87" fmla="*/ 333413 h 512159"/>
                <a:gd name="connsiteX88" fmla="*/ 16059 w 264461"/>
                <a:gd name="connsiteY88" fmla="*/ 333585 h 512159"/>
                <a:gd name="connsiteX89" fmla="*/ 14402 w 264461"/>
                <a:gd name="connsiteY89" fmla="*/ 333118 h 512159"/>
                <a:gd name="connsiteX90" fmla="*/ 12468 w 264461"/>
                <a:gd name="connsiteY90" fmla="*/ 331165 h 512159"/>
                <a:gd name="connsiteX91" fmla="*/ 7753 w 264461"/>
                <a:gd name="connsiteY91" fmla="*/ 329860 h 512159"/>
                <a:gd name="connsiteX92" fmla="*/ 6963 w 264461"/>
                <a:gd name="connsiteY92" fmla="*/ 326727 h 512159"/>
                <a:gd name="connsiteX93" fmla="*/ 6058 w 264461"/>
                <a:gd name="connsiteY93" fmla="*/ 326136 h 512159"/>
                <a:gd name="connsiteX94" fmla="*/ 714 w 264461"/>
                <a:gd name="connsiteY94" fmla="*/ 320754 h 512159"/>
                <a:gd name="connsiteX95" fmla="*/ 0 w 264461"/>
                <a:gd name="connsiteY95" fmla="*/ 318954 h 512159"/>
                <a:gd name="connsiteX96" fmla="*/ 695 w 264461"/>
                <a:gd name="connsiteY96" fmla="*/ 317878 h 512159"/>
                <a:gd name="connsiteX97" fmla="*/ 2686 w 264461"/>
                <a:gd name="connsiteY97" fmla="*/ 316249 h 512159"/>
                <a:gd name="connsiteX98" fmla="*/ 9382 w 264461"/>
                <a:gd name="connsiteY98" fmla="*/ 313544 h 512159"/>
                <a:gd name="connsiteX99" fmla="*/ 10439 w 264461"/>
                <a:gd name="connsiteY99" fmla="*/ 312458 h 512159"/>
                <a:gd name="connsiteX100" fmla="*/ 10658 w 264461"/>
                <a:gd name="connsiteY100" fmla="*/ 311496 h 512159"/>
                <a:gd name="connsiteX101" fmla="*/ 8687 w 264461"/>
                <a:gd name="connsiteY101" fmla="*/ 310401 h 512159"/>
                <a:gd name="connsiteX102" fmla="*/ 6915 w 264461"/>
                <a:gd name="connsiteY102" fmla="*/ 309181 h 512159"/>
                <a:gd name="connsiteX103" fmla="*/ 6315 w 264461"/>
                <a:gd name="connsiteY103" fmla="*/ 308391 h 512159"/>
                <a:gd name="connsiteX104" fmla="*/ 6267 w 264461"/>
                <a:gd name="connsiteY104" fmla="*/ 307696 h 512159"/>
                <a:gd name="connsiteX105" fmla="*/ 7277 w 264461"/>
                <a:gd name="connsiteY105" fmla="*/ 306791 h 512159"/>
                <a:gd name="connsiteX106" fmla="*/ 9296 w 264461"/>
                <a:gd name="connsiteY106" fmla="*/ 306724 h 512159"/>
                <a:gd name="connsiteX107" fmla="*/ 10896 w 264461"/>
                <a:gd name="connsiteY107" fmla="*/ 307134 h 512159"/>
                <a:gd name="connsiteX108" fmla="*/ 12163 w 264461"/>
                <a:gd name="connsiteY108" fmla="*/ 306324 h 512159"/>
                <a:gd name="connsiteX109" fmla="*/ 14392 w 264461"/>
                <a:gd name="connsiteY109" fmla="*/ 305505 h 512159"/>
                <a:gd name="connsiteX110" fmla="*/ 15888 w 264461"/>
                <a:gd name="connsiteY110" fmla="*/ 304476 h 512159"/>
                <a:gd name="connsiteX111" fmla="*/ 17173 w 264461"/>
                <a:gd name="connsiteY111" fmla="*/ 301819 h 512159"/>
                <a:gd name="connsiteX112" fmla="*/ 18535 w 264461"/>
                <a:gd name="connsiteY112" fmla="*/ 299428 h 512159"/>
                <a:gd name="connsiteX113" fmla="*/ 18679 w 264461"/>
                <a:gd name="connsiteY113" fmla="*/ 298132 h 512159"/>
                <a:gd name="connsiteX114" fmla="*/ 19869 w 264461"/>
                <a:gd name="connsiteY114" fmla="*/ 293570 h 512159"/>
                <a:gd name="connsiteX115" fmla="*/ 20526 w 264461"/>
                <a:gd name="connsiteY115" fmla="*/ 292437 h 512159"/>
                <a:gd name="connsiteX116" fmla="*/ 24755 w 264461"/>
                <a:gd name="connsiteY116" fmla="*/ 289446 h 512159"/>
                <a:gd name="connsiteX117" fmla="*/ 25822 w 264461"/>
                <a:gd name="connsiteY117" fmla="*/ 291084 h 512159"/>
                <a:gd name="connsiteX118" fmla="*/ 27908 w 264461"/>
                <a:gd name="connsiteY118" fmla="*/ 291484 h 512159"/>
                <a:gd name="connsiteX119" fmla="*/ 29775 w 264461"/>
                <a:gd name="connsiteY119" fmla="*/ 289979 h 512159"/>
                <a:gd name="connsiteX120" fmla="*/ 32013 w 264461"/>
                <a:gd name="connsiteY120" fmla="*/ 285226 h 512159"/>
                <a:gd name="connsiteX121" fmla="*/ 33566 w 264461"/>
                <a:gd name="connsiteY121" fmla="*/ 284931 h 512159"/>
                <a:gd name="connsiteX122" fmla="*/ 35280 w 264461"/>
                <a:gd name="connsiteY122" fmla="*/ 285322 h 512159"/>
                <a:gd name="connsiteX123" fmla="*/ 38652 w 264461"/>
                <a:gd name="connsiteY123" fmla="*/ 284721 h 512159"/>
                <a:gd name="connsiteX124" fmla="*/ 44634 w 264461"/>
                <a:gd name="connsiteY124" fmla="*/ 282502 h 512159"/>
                <a:gd name="connsiteX125" fmla="*/ 47339 w 264461"/>
                <a:gd name="connsiteY125" fmla="*/ 282445 h 512159"/>
                <a:gd name="connsiteX126" fmla="*/ 81277 w 264461"/>
                <a:gd name="connsiteY126" fmla="*/ 272729 h 512159"/>
                <a:gd name="connsiteX127" fmla="*/ 77905 w 264461"/>
                <a:gd name="connsiteY127" fmla="*/ 272767 h 512159"/>
                <a:gd name="connsiteX128" fmla="*/ 76686 w 264461"/>
                <a:gd name="connsiteY128" fmla="*/ 272358 h 512159"/>
                <a:gd name="connsiteX129" fmla="*/ 75228 w 264461"/>
                <a:gd name="connsiteY129" fmla="*/ 271215 h 512159"/>
                <a:gd name="connsiteX130" fmla="*/ 73590 w 264461"/>
                <a:gd name="connsiteY130" fmla="*/ 264738 h 512159"/>
                <a:gd name="connsiteX131" fmla="*/ 74181 w 264461"/>
                <a:gd name="connsiteY131" fmla="*/ 262442 h 512159"/>
                <a:gd name="connsiteX132" fmla="*/ 74847 w 264461"/>
                <a:gd name="connsiteY132" fmla="*/ 261318 h 512159"/>
                <a:gd name="connsiteX133" fmla="*/ 75590 w 264461"/>
                <a:gd name="connsiteY133" fmla="*/ 260442 h 512159"/>
                <a:gd name="connsiteX134" fmla="*/ 77371 w 264461"/>
                <a:gd name="connsiteY134" fmla="*/ 260080 h 512159"/>
                <a:gd name="connsiteX135" fmla="*/ 79143 w 264461"/>
                <a:gd name="connsiteY135" fmla="*/ 261309 h 512159"/>
                <a:gd name="connsiteX136" fmla="*/ 79810 w 264461"/>
                <a:gd name="connsiteY136" fmla="*/ 262452 h 512159"/>
                <a:gd name="connsiteX137" fmla="*/ 81296 w 264461"/>
                <a:gd name="connsiteY137" fmla="*/ 266833 h 512159"/>
                <a:gd name="connsiteX138" fmla="*/ 81572 w 264461"/>
                <a:gd name="connsiteY138" fmla="*/ 270586 h 512159"/>
                <a:gd name="connsiteX139" fmla="*/ 81277 w 264461"/>
                <a:gd name="connsiteY139" fmla="*/ 272729 h 512159"/>
                <a:gd name="connsiteX140" fmla="*/ 53921 w 264461"/>
                <a:gd name="connsiteY140" fmla="*/ 249927 h 512159"/>
                <a:gd name="connsiteX141" fmla="*/ 54883 w 264461"/>
                <a:gd name="connsiteY141" fmla="*/ 256032 h 512159"/>
                <a:gd name="connsiteX142" fmla="*/ 55826 w 264461"/>
                <a:gd name="connsiteY142" fmla="*/ 259804 h 512159"/>
                <a:gd name="connsiteX143" fmla="*/ 55893 w 264461"/>
                <a:gd name="connsiteY143" fmla="*/ 261090 h 512159"/>
                <a:gd name="connsiteX144" fmla="*/ 55007 w 264461"/>
                <a:gd name="connsiteY144" fmla="*/ 262880 h 512159"/>
                <a:gd name="connsiteX145" fmla="*/ 50597 w 264461"/>
                <a:gd name="connsiteY145" fmla="*/ 265262 h 512159"/>
                <a:gd name="connsiteX146" fmla="*/ 49206 w 264461"/>
                <a:gd name="connsiteY146" fmla="*/ 265271 h 512159"/>
                <a:gd name="connsiteX147" fmla="*/ 49149 w 264461"/>
                <a:gd name="connsiteY147" fmla="*/ 264690 h 512159"/>
                <a:gd name="connsiteX148" fmla="*/ 50139 w 264461"/>
                <a:gd name="connsiteY148" fmla="*/ 262271 h 512159"/>
                <a:gd name="connsiteX149" fmla="*/ 49282 w 264461"/>
                <a:gd name="connsiteY149" fmla="*/ 259518 h 512159"/>
                <a:gd name="connsiteX150" fmla="*/ 49701 w 264461"/>
                <a:gd name="connsiteY150" fmla="*/ 257423 h 512159"/>
                <a:gd name="connsiteX151" fmla="*/ 49292 w 264461"/>
                <a:gd name="connsiteY151" fmla="*/ 257042 h 512159"/>
                <a:gd name="connsiteX152" fmla="*/ 48435 w 264461"/>
                <a:gd name="connsiteY152" fmla="*/ 257337 h 512159"/>
                <a:gd name="connsiteX153" fmla="*/ 45272 w 264461"/>
                <a:gd name="connsiteY153" fmla="*/ 260661 h 512159"/>
                <a:gd name="connsiteX154" fmla="*/ 44215 w 264461"/>
                <a:gd name="connsiteY154" fmla="*/ 260985 h 512159"/>
                <a:gd name="connsiteX155" fmla="*/ 44101 w 264461"/>
                <a:gd name="connsiteY155" fmla="*/ 260309 h 512159"/>
                <a:gd name="connsiteX156" fmla="*/ 44882 w 264461"/>
                <a:gd name="connsiteY156" fmla="*/ 257585 h 512159"/>
                <a:gd name="connsiteX157" fmla="*/ 44977 w 264461"/>
                <a:gd name="connsiteY157" fmla="*/ 255718 h 512159"/>
                <a:gd name="connsiteX158" fmla="*/ 45444 w 264461"/>
                <a:gd name="connsiteY158" fmla="*/ 254575 h 512159"/>
                <a:gd name="connsiteX159" fmla="*/ 46301 w 264461"/>
                <a:gd name="connsiteY159" fmla="*/ 253517 h 512159"/>
                <a:gd name="connsiteX160" fmla="*/ 47320 w 264461"/>
                <a:gd name="connsiteY160" fmla="*/ 252727 h 512159"/>
                <a:gd name="connsiteX161" fmla="*/ 48149 w 264461"/>
                <a:gd name="connsiteY161" fmla="*/ 252612 h 512159"/>
                <a:gd name="connsiteX162" fmla="*/ 49025 w 264461"/>
                <a:gd name="connsiteY162" fmla="*/ 253432 h 512159"/>
                <a:gd name="connsiteX163" fmla="*/ 51578 w 264461"/>
                <a:gd name="connsiteY163" fmla="*/ 251146 h 512159"/>
                <a:gd name="connsiteX164" fmla="*/ 53921 w 264461"/>
                <a:gd name="connsiteY164" fmla="*/ 249927 h 512159"/>
                <a:gd name="connsiteX165" fmla="*/ 58169 w 264461"/>
                <a:gd name="connsiteY165" fmla="*/ 255451 h 512159"/>
                <a:gd name="connsiteX166" fmla="*/ 57607 w 264461"/>
                <a:gd name="connsiteY166" fmla="*/ 255956 h 512159"/>
                <a:gd name="connsiteX167" fmla="*/ 56254 w 264461"/>
                <a:gd name="connsiteY167" fmla="*/ 255813 h 512159"/>
                <a:gd name="connsiteX168" fmla="*/ 55750 w 264461"/>
                <a:gd name="connsiteY168" fmla="*/ 255041 h 512159"/>
                <a:gd name="connsiteX169" fmla="*/ 55473 w 264461"/>
                <a:gd name="connsiteY169" fmla="*/ 253860 h 512159"/>
                <a:gd name="connsiteX170" fmla="*/ 55445 w 264461"/>
                <a:gd name="connsiteY170" fmla="*/ 251698 h 512159"/>
                <a:gd name="connsiteX171" fmla="*/ 56264 w 264461"/>
                <a:gd name="connsiteY171" fmla="*/ 250145 h 512159"/>
                <a:gd name="connsiteX172" fmla="*/ 59731 w 264461"/>
                <a:gd name="connsiteY172" fmla="*/ 247802 h 512159"/>
                <a:gd name="connsiteX173" fmla="*/ 58160 w 264461"/>
                <a:gd name="connsiteY173" fmla="*/ 246974 h 512159"/>
                <a:gd name="connsiteX174" fmla="*/ 58102 w 264461"/>
                <a:gd name="connsiteY174" fmla="*/ 246383 h 512159"/>
                <a:gd name="connsiteX175" fmla="*/ 58998 w 264461"/>
                <a:gd name="connsiteY175" fmla="*/ 244431 h 512159"/>
                <a:gd name="connsiteX176" fmla="*/ 62722 w 264461"/>
                <a:gd name="connsiteY176" fmla="*/ 241392 h 512159"/>
                <a:gd name="connsiteX177" fmla="*/ 63722 w 264461"/>
                <a:gd name="connsiteY177" fmla="*/ 240840 h 512159"/>
                <a:gd name="connsiteX178" fmla="*/ 64713 w 264461"/>
                <a:gd name="connsiteY178" fmla="*/ 240925 h 512159"/>
                <a:gd name="connsiteX179" fmla="*/ 62789 w 264461"/>
                <a:gd name="connsiteY179" fmla="*/ 246317 h 512159"/>
                <a:gd name="connsiteX180" fmla="*/ 58169 w 264461"/>
                <a:gd name="connsiteY180" fmla="*/ 255451 h 512159"/>
                <a:gd name="connsiteX181" fmla="*/ 63303 w 264461"/>
                <a:gd name="connsiteY181" fmla="*/ 230124 h 512159"/>
                <a:gd name="connsiteX182" fmla="*/ 52654 w 264461"/>
                <a:gd name="connsiteY182" fmla="*/ 232801 h 512159"/>
                <a:gd name="connsiteX183" fmla="*/ 48987 w 264461"/>
                <a:gd name="connsiteY183" fmla="*/ 232563 h 512159"/>
                <a:gd name="connsiteX184" fmla="*/ 48654 w 264461"/>
                <a:gd name="connsiteY184" fmla="*/ 231248 h 512159"/>
                <a:gd name="connsiteX185" fmla="*/ 49387 w 264461"/>
                <a:gd name="connsiteY185" fmla="*/ 230372 h 512159"/>
                <a:gd name="connsiteX186" fmla="*/ 52426 w 264461"/>
                <a:gd name="connsiteY186" fmla="*/ 229524 h 512159"/>
                <a:gd name="connsiteX187" fmla="*/ 53654 w 264461"/>
                <a:gd name="connsiteY187" fmla="*/ 223076 h 512159"/>
                <a:gd name="connsiteX188" fmla="*/ 49063 w 264461"/>
                <a:gd name="connsiteY188" fmla="*/ 220094 h 512159"/>
                <a:gd name="connsiteX189" fmla="*/ 48825 w 264461"/>
                <a:gd name="connsiteY189" fmla="*/ 219265 h 512159"/>
                <a:gd name="connsiteX190" fmla="*/ 49187 w 264461"/>
                <a:gd name="connsiteY190" fmla="*/ 217846 h 512159"/>
                <a:gd name="connsiteX191" fmla="*/ 49721 w 264461"/>
                <a:gd name="connsiteY191" fmla="*/ 217208 h 512159"/>
                <a:gd name="connsiteX192" fmla="*/ 52502 w 264461"/>
                <a:gd name="connsiteY192" fmla="*/ 215703 h 512159"/>
                <a:gd name="connsiteX193" fmla="*/ 53673 w 264461"/>
                <a:gd name="connsiteY193" fmla="*/ 215370 h 512159"/>
                <a:gd name="connsiteX194" fmla="*/ 54626 w 264461"/>
                <a:gd name="connsiteY194" fmla="*/ 215570 h 512159"/>
                <a:gd name="connsiteX195" fmla="*/ 56588 w 264461"/>
                <a:gd name="connsiteY195" fmla="*/ 217313 h 512159"/>
                <a:gd name="connsiteX196" fmla="*/ 58798 w 264461"/>
                <a:gd name="connsiteY196" fmla="*/ 220961 h 512159"/>
                <a:gd name="connsiteX197" fmla="*/ 61760 w 264461"/>
                <a:gd name="connsiteY197" fmla="*/ 221542 h 512159"/>
                <a:gd name="connsiteX198" fmla="*/ 63770 w 264461"/>
                <a:gd name="connsiteY198" fmla="*/ 223085 h 512159"/>
                <a:gd name="connsiteX199" fmla="*/ 63303 w 264461"/>
                <a:gd name="connsiteY199" fmla="*/ 230124 h 512159"/>
                <a:gd name="connsiteX200" fmla="*/ 41119 w 264461"/>
                <a:gd name="connsiteY200" fmla="*/ 218504 h 512159"/>
                <a:gd name="connsiteX201" fmla="*/ 39605 w 264461"/>
                <a:gd name="connsiteY201" fmla="*/ 218770 h 512159"/>
                <a:gd name="connsiteX202" fmla="*/ 39491 w 264461"/>
                <a:gd name="connsiteY202" fmla="*/ 218084 h 512159"/>
                <a:gd name="connsiteX203" fmla="*/ 42129 w 264461"/>
                <a:gd name="connsiteY203" fmla="*/ 214808 h 512159"/>
                <a:gd name="connsiteX204" fmla="*/ 43834 w 264461"/>
                <a:gd name="connsiteY204" fmla="*/ 214265 h 512159"/>
                <a:gd name="connsiteX205" fmla="*/ 44434 w 264461"/>
                <a:gd name="connsiteY205" fmla="*/ 214589 h 512159"/>
                <a:gd name="connsiteX206" fmla="*/ 43196 w 264461"/>
                <a:gd name="connsiteY206" fmla="*/ 216494 h 512159"/>
                <a:gd name="connsiteX207" fmla="*/ 41119 w 264461"/>
                <a:gd name="connsiteY207" fmla="*/ 218504 h 512159"/>
                <a:gd name="connsiteX208" fmla="*/ 19488 w 264461"/>
                <a:gd name="connsiteY208" fmla="*/ 199977 h 512159"/>
                <a:gd name="connsiteX209" fmla="*/ 17135 w 264461"/>
                <a:gd name="connsiteY209" fmla="*/ 200644 h 512159"/>
                <a:gd name="connsiteX210" fmla="*/ 16268 w 264461"/>
                <a:gd name="connsiteY210" fmla="*/ 200254 h 512159"/>
                <a:gd name="connsiteX211" fmla="*/ 16116 w 264461"/>
                <a:gd name="connsiteY211" fmla="*/ 199635 h 512159"/>
                <a:gd name="connsiteX212" fmla="*/ 16650 w 264461"/>
                <a:gd name="connsiteY212" fmla="*/ 197949 h 512159"/>
                <a:gd name="connsiteX213" fmla="*/ 18450 w 264461"/>
                <a:gd name="connsiteY213" fmla="*/ 197348 h 512159"/>
                <a:gd name="connsiteX214" fmla="*/ 19755 w 264461"/>
                <a:gd name="connsiteY214" fmla="*/ 198263 h 512159"/>
                <a:gd name="connsiteX215" fmla="*/ 19964 w 264461"/>
                <a:gd name="connsiteY215" fmla="*/ 199092 h 512159"/>
                <a:gd name="connsiteX216" fmla="*/ 19488 w 264461"/>
                <a:gd name="connsiteY216" fmla="*/ 199977 h 512159"/>
                <a:gd name="connsiteX217" fmla="*/ 49911 w 264461"/>
                <a:gd name="connsiteY217" fmla="*/ 200015 h 512159"/>
                <a:gd name="connsiteX218" fmla="*/ 49120 w 264461"/>
                <a:gd name="connsiteY218" fmla="*/ 200644 h 512159"/>
                <a:gd name="connsiteX219" fmla="*/ 48120 w 264461"/>
                <a:gd name="connsiteY219" fmla="*/ 200520 h 512159"/>
                <a:gd name="connsiteX220" fmla="*/ 47130 w 264461"/>
                <a:gd name="connsiteY220" fmla="*/ 199711 h 512159"/>
                <a:gd name="connsiteX221" fmla="*/ 45815 w 264461"/>
                <a:gd name="connsiteY221" fmla="*/ 197406 h 512159"/>
                <a:gd name="connsiteX222" fmla="*/ 48768 w 264461"/>
                <a:gd name="connsiteY222" fmla="*/ 195805 h 512159"/>
                <a:gd name="connsiteX223" fmla="*/ 49949 w 264461"/>
                <a:gd name="connsiteY223" fmla="*/ 196748 h 512159"/>
                <a:gd name="connsiteX224" fmla="*/ 50397 w 264461"/>
                <a:gd name="connsiteY224" fmla="*/ 197825 h 512159"/>
                <a:gd name="connsiteX225" fmla="*/ 50416 w 264461"/>
                <a:gd name="connsiteY225" fmla="*/ 199015 h 512159"/>
                <a:gd name="connsiteX226" fmla="*/ 49911 w 264461"/>
                <a:gd name="connsiteY226" fmla="*/ 200015 h 512159"/>
                <a:gd name="connsiteX227" fmla="*/ 23955 w 264461"/>
                <a:gd name="connsiteY227" fmla="*/ 192624 h 512159"/>
                <a:gd name="connsiteX228" fmla="*/ 22822 w 264461"/>
                <a:gd name="connsiteY228" fmla="*/ 192900 h 512159"/>
                <a:gd name="connsiteX229" fmla="*/ 21346 w 264461"/>
                <a:gd name="connsiteY229" fmla="*/ 192634 h 512159"/>
                <a:gd name="connsiteX230" fmla="*/ 20431 w 264461"/>
                <a:gd name="connsiteY230" fmla="*/ 191872 h 512159"/>
                <a:gd name="connsiteX231" fmla="*/ 19507 w 264461"/>
                <a:gd name="connsiteY231" fmla="*/ 188852 h 512159"/>
                <a:gd name="connsiteX232" fmla="*/ 19336 w 264461"/>
                <a:gd name="connsiteY232" fmla="*/ 187023 h 512159"/>
                <a:gd name="connsiteX233" fmla="*/ 19745 w 264461"/>
                <a:gd name="connsiteY233" fmla="*/ 183614 h 512159"/>
                <a:gd name="connsiteX234" fmla="*/ 19650 w 264461"/>
                <a:gd name="connsiteY234" fmla="*/ 179527 h 512159"/>
                <a:gd name="connsiteX235" fmla="*/ 22698 w 264461"/>
                <a:gd name="connsiteY235" fmla="*/ 179403 h 512159"/>
                <a:gd name="connsiteX236" fmla="*/ 23488 w 264461"/>
                <a:gd name="connsiteY236" fmla="*/ 179994 h 512159"/>
                <a:gd name="connsiteX237" fmla="*/ 24012 w 264461"/>
                <a:gd name="connsiteY237" fmla="*/ 192100 h 512159"/>
                <a:gd name="connsiteX238" fmla="*/ 23955 w 264461"/>
                <a:gd name="connsiteY238" fmla="*/ 192624 h 512159"/>
                <a:gd name="connsiteX239" fmla="*/ 53502 w 264461"/>
                <a:gd name="connsiteY239" fmla="*/ 173384 h 512159"/>
                <a:gd name="connsiteX240" fmla="*/ 53464 w 264461"/>
                <a:gd name="connsiteY240" fmla="*/ 175574 h 512159"/>
                <a:gd name="connsiteX241" fmla="*/ 52987 w 264461"/>
                <a:gd name="connsiteY241" fmla="*/ 178156 h 512159"/>
                <a:gd name="connsiteX242" fmla="*/ 53597 w 264461"/>
                <a:gd name="connsiteY242" fmla="*/ 180889 h 512159"/>
                <a:gd name="connsiteX243" fmla="*/ 53740 w 264461"/>
                <a:gd name="connsiteY243" fmla="*/ 182842 h 512159"/>
                <a:gd name="connsiteX244" fmla="*/ 54864 w 264461"/>
                <a:gd name="connsiteY244" fmla="*/ 183461 h 512159"/>
                <a:gd name="connsiteX245" fmla="*/ 55550 w 264461"/>
                <a:gd name="connsiteY245" fmla="*/ 184356 h 512159"/>
                <a:gd name="connsiteX246" fmla="*/ 60560 w 264461"/>
                <a:gd name="connsiteY246" fmla="*/ 185356 h 512159"/>
                <a:gd name="connsiteX247" fmla="*/ 65218 w 264461"/>
                <a:gd name="connsiteY247" fmla="*/ 185071 h 512159"/>
                <a:gd name="connsiteX248" fmla="*/ 66113 w 264461"/>
                <a:gd name="connsiteY248" fmla="*/ 185871 h 512159"/>
                <a:gd name="connsiteX249" fmla="*/ 66218 w 264461"/>
                <a:gd name="connsiteY249" fmla="*/ 187147 h 512159"/>
                <a:gd name="connsiteX250" fmla="*/ 65484 w 264461"/>
                <a:gd name="connsiteY250" fmla="*/ 188548 h 512159"/>
                <a:gd name="connsiteX251" fmla="*/ 62827 w 264461"/>
                <a:gd name="connsiteY251" fmla="*/ 191100 h 512159"/>
                <a:gd name="connsiteX252" fmla="*/ 59664 w 264461"/>
                <a:gd name="connsiteY252" fmla="*/ 195224 h 512159"/>
                <a:gd name="connsiteX253" fmla="*/ 58721 w 264461"/>
                <a:gd name="connsiteY253" fmla="*/ 196082 h 512159"/>
                <a:gd name="connsiteX254" fmla="*/ 57702 w 264461"/>
                <a:gd name="connsiteY254" fmla="*/ 196120 h 512159"/>
                <a:gd name="connsiteX255" fmla="*/ 56969 w 264461"/>
                <a:gd name="connsiteY255" fmla="*/ 195748 h 512159"/>
                <a:gd name="connsiteX256" fmla="*/ 56445 w 264461"/>
                <a:gd name="connsiteY256" fmla="*/ 188414 h 512159"/>
                <a:gd name="connsiteX257" fmla="*/ 53016 w 264461"/>
                <a:gd name="connsiteY257" fmla="*/ 189357 h 512159"/>
                <a:gd name="connsiteX258" fmla="*/ 50254 w 264461"/>
                <a:gd name="connsiteY258" fmla="*/ 189252 h 512159"/>
                <a:gd name="connsiteX259" fmla="*/ 48739 w 264461"/>
                <a:gd name="connsiteY259" fmla="*/ 188357 h 512159"/>
                <a:gd name="connsiteX260" fmla="*/ 47682 w 264461"/>
                <a:gd name="connsiteY260" fmla="*/ 186633 h 512159"/>
                <a:gd name="connsiteX261" fmla="*/ 45539 w 264461"/>
                <a:gd name="connsiteY261" fmla="*/ 182194 h 512159"/>
                <a:gd name="connsiteX262" fmla="*/ 39310 w 264461"/>
                <a:gd name="connsiteY262" fmla="*/ 180442 h 512159"/>
                <a:gd name="connsiteX263" fmla="*/ 37547 w 264461"/>
                <a:gd name="connsiteY263" fmla="*/ 177984 h 512159"/>
                <a:gd name="connsiteX264" fmla="*/ 37014 w 264461"/>
                <a:gd name="connsiteY264" fmla="*/ 176498 h 512159"/>
                <a:gd name="connsiteX265" fmla="*/ 37233 w 264461"/>
                <a:gd name="connsiteY265" fmla="*/ 175679 h 512159"/>
                <a:gd name="connsiteX266" fmla="*/ 38528 w 264461"/>
                <a:gd name="connsiteY266" fmla="*/ 173850 h 512159"/>
                <a:gd name="connsiteX267" fmla="*/ 40148 w 264461"/>
                <a:gd name="connsiteY267" fmla="*/ 174498 h 512159"/>
                <a:gd name="connsiteX268" fmla="*/ 41148 w 264461"/>
                <a:gd name="connsiteY268" fmla="*/ 174098 h 512159"/>
                <a:gd name="connsiteX269" fmla="*/ 41757 w 264461"/>
                <a:gd name="connsiteY269" fmla="*/ 173279 h 512159"/>
                <a:gd name="connsiteX270" fmla="*/ 41748 w 264461"/>
                <a:gd name="connsiteY270" fmla="*/ 172603 h 512159"/>
                <a:gd name="connsiteX271" fmla="*/ 40900 w 264461"/>
                <a:gd name="connsiteY271" fmla="*/ 171012 h 512159"/>
                <a:gd name="connsiteX272" fmla="*/ 40862 w 264461"/>
                <a:gd name="connsiteY272" fmla="*/ 170517 h 512159"/>
                <a:gd name="connsiteX273" fmla="*/ 47234 w 264461"/>
                <a:gd name="connsiteY273" fmla="*/ 168497 h 512159"/>
                <a:gd name="connsiteX274" fmla="*/ 47796 w 264461"/>
                <a:gd name="connsiteY274" fmla="*/ 165335 h 512159"/>
                <a:gd name="connsiteX275" fmla="*/ 49178 w 264461"/>
                <a:gd name="connsiteY275" fmla="*/ 165078 h 512159"/>
                <a:gd name="connsiteX276" fmla="*/ 50759 w 264461"/>
                <a:gd name="connsiteY276" fmla="*/ 166116 h 512159"/>
                <a:gd name="connsiteX277" fmla="*/ 52921 w 264461"/>
                <a:gd name="connsiteY277" fmla="*/ 169402 h 512159"/>
                <a:gd name="connsiteX278" fmla="*/ 53502 w 264461"/>
                <a:gd name="connsiteY278" fmla="*/ 173384 h 512159"/>
                <a:gd name="connsiteX279" fmla="*/ 25136 w 264461"/>
                <a:gd name="connsiteY279" fmla="*/ 164525 h 512159"/>
                <a:gd name="connsiteX280" fmla="*/ 28156 w 264461"/>
                <a:gd name="connsiteY280" fmla="*/ 167326 h 512159"/>
                <a:gd name="connsiteX281" fmla="*/ 25755 w 264461"/>
                <a:gd name="connsiteY281" fmla="*/ 171974 h 512159"/>
                <a:gd name="connsiteX282" fmla="*/ 22069 w 264461"/>
                <a:gd name="connsiteY282" fmla="*/ 171955 h 512159"/>
                <a:gd name="connsiteX283" fmla="*/ 16878 w 264461"/>
                <a:gd name="connsiteY283" fmla="*/ 168564 h 512159"/>
                <a:gd name="connsiteX284" fmla="*/ 16859 w 264461"/>
                <a:gd name="connsiteY284" fmla="*/ 167869 h 512159"/>
                <a:gd name="connsiteX285" fmla="*/ 17288 w 264461"/>
                <a:gd name="connsiteY285" fmla="*/ 166849 h 512159"/>
                <a:gd name="connsiteX286" fmla="*/ 18069 w 264461"/>
                <a:gd name="connsiteY286" fmla="*/ 166040 h 512159"/>
                <a:gd name="connsiteX287" fmla="*/ 18878 w 264461"/>
                <a:gd name="connsiteY287" fmla="*/ 165849 h 512159"/>
                <a:gd name="connsiteX288" fmla="*/ 20164 w 264461"/>
                <a:gd name="connsiteY288" fmla="*/ 166402 h 512159"/>
                <a:gd name="connsiteX289" fmla="*/ 21955 w 264461"/>
                <a:gd name="connsiteY289" fmla="*/ 165506 h 512159"/>
                <a:gd name="connsiteX290" fmla="*/ 23384 w 264461"/>
                <a:gd name="connsiteY290" fmla="*/ 165792 h 512159"/>
                <a:gd name="connsiteX291" fmla="*/ 25136 w 264461"/>
                <a:gd name="connsiteY291" fmla="*/ 164525 h 512159"/>
                <a:gd name="connsiteX292" fmla="*/ 52054 w 264461"/>
                <a:gd name="connsiteY292" fmla="*/ 130245 h 512159"/>
                <a:gd name="connsiteX293" fmla="*/ 48654 w 264461"/>
                <a:gd name="connsiteY293" fmla="*/ 139094 h 512159"/>
                <a:gd name="connsiteX294" fmla="*/ 47320 w 264461"/>
                <a:gd name="connsiteY294" fmla="*/ 139313 h 512159"/>
                <a:gd name="connsiteX295" fmla="*/ 46149 w 264461"/>
                <a:gd name="connsiteY295" fmla="*/ 141522 h 512159"/>
                <a:gd name="connsiteX296" fmla="*/ 42529 w 264461"/>
                <a:gd name="connsiteY296" fmla="*/ 143951 h 512159"/>
                <a:gd name="connsiteX297" fmla="*/ 45691 w 264461"/>
                <a:gd name="connsiteY297" fmla="*/ 143999 h 512159"/>
                <a:gd name="connsiteX298" fmla="*/ 46577 w 264461"/>
                <a:gd name="connsiteY298" fmla="*/ 144809 h 512159"/>
                <a:gd name="connsiteX299" fmla="*/ 46596 w 264461"/>
                <a:gd name="connsiteY299" fmla="*/ 146552 h 512159"/>
                <a:gd name="connsiteX300" fmla="*/ 45996 w 264461"/>
                <a:gd name="connsiteY300" fmla="*/ 147561 h 512159"/>
                <a:gd name="connsiteX301" fmla="*/ 41910 w 264461"/>
                <a:gd name="connsiteY301" fmla="*/ 151581 h 512159"/>
                <a:gd name="connsiteX302" fmla="*/ 39100 w 264461"/>
                <a:gd name="connsiteY302" fmla="*/ 153105 h 512159"/>
                <a:gd name="connsiteX303" fmla="*/ 36071 w 264461"/>
                <a:gd name="connsiteY303" fmla="*/ 157296 h 512159"/>
                <a:gd name="connsiteX304" fmla="*/ 34537 w 264461"/>
                <a:gd name="connsiteY304" fmla="*/ 157344 h 512159"/>
                <a:gd name="connsiteX305" fmla="*/ 33023 w 264461"/>
                <a:gd name="connsiteY305" fmla="*/ 160001 h 512159"/>
                <a:gd name="connsiteX306" fmla="*/ 31785 w 264461"/>
                <a:gd name="connsiteY306" fmla="*/ 161172 h 512159"/>
                <a:gd name="connsiteX307" fmla="*/ 31080 w 264461"/>
                <a:gd name="connsiteY307" fmla="*/ 161172 h 512159"/>
                <a:gd name="connsiteX308" fmla="*/ 30280 w 264461"/>
                <a:gd name="connsiteY308" fmla="*/ 160582 h 512159"/>
                <a:gd name="connsiteX309" fmla="*/ 28403 w 264461"/>
                <a:gd name="connsiteY309" fmla="*/ 157982 h 512159"/>
                <a:gd name="connsiteX310" fmla="*/ 31813 w 264461"/>
                <a:gd name="connsiteY310" fmla="*/ 155420 h 512159"/>
                <a:gd name="connsiteX311" fmla="*/ 32128 w 264461"/>
                <a:gd name="connsiteY311" fmla="*/ 153981 h 512159"/>
                <a:gd name="connsiteX312" fmla="*/ 34461 w 264461"/>
                <a:gd name="connsiteY312" fmla="*/ 152476 h 512159"/>
                <a:gd name="connsiteX313" fmla="*/ 34261 w 264461"/>
                <a:gd name="connsiteY313" fmla="*/ 152010 h 512159"/>
                <a:gd name="connsiteX314" fmla="*/ 30556 w 264461"/>
                <a:gd name="connsiteY314" fmla="*/ 149895 h 512159"/>
                <a:gd name="connsiteX315" fmla="*/ 29099 w 264461"/>
                <a:gd name="connsiteY315" fmla="*/ 148476 h 512159"/>
                <a:gd name="connsiteX316" fmla="*/ 29232 w 264461"/>
                <a:gd name="connsiteY316" fmla="*/ 147733 h 512159"/>
                <a:gd name="connsiteX317" fmla="*/ 31013 w 264461"/>
                <a:gd name="connsiteY317" fmla="*/ 146095 h 512159"/>
                <a:gd name="connsiteX318" fmla="*/ 30175 w 264461"/>
                <a:gd name="connsiteY318" fmla="*/ 145885 h 512159"/>
                <a:gd name="connsiteX319" fmla="*/ 29604 w 264461"/>
                <a:gd name="connsiteY319" fmla="*/ 144999 h 512159"/>
                <a:gd name="connsiteX320" fmla="*/ 28575 w 264461"/>
                <a:gd name="connsiteY320" fmla="*/ 144656 h 512159"/>
                <a:gd name="connsiteX321" fmla="*/ 28260 w 264461"/>
                <a:gd name="connsiteY321" fmla="*/ 143837 h 512159"/>
                <a:gd name="connsiteX322" fmla="*/ 28070 w 264461"/>
                <a:gd name="connsiteY322" fmla="*/ 141665 h 512159"/>
                <a:gd name="connsiteX323" fmla="*/ 28346 w 264461"/>
                <a:gd name="connsiteY323" fmla="*/ 139446 h 512159"/>
                <a:gd name="connsiteX324" fmla="*/ 29423 w 264461"/>
                <a:gd name="connsiteY324" fmla="*/ 138465 h 512159"/>
                <a:gd name="connsiteX325" fmla="*/ 29861 w 264461"/>
                <a:gd name="connsiteY325" fmla="*/ 137417 h 512159"/>
                <a:gd name="connsiteX326" fmla="*/ 30299 w 264461"/>
                <a:gd name="connsiteY326" fmla="*/ 137093 h 512159"/>
                <a:gd name="connsiteX327" fmla="*/ 31966 w 264461"/>
                <a:gd name="connsiteY327" fmla="*/ 137655 h 512159"/>
                <a:gd name="connsiteX328" fmla="*/ 33661 w 264461"/>
                <a:gd name="connsiteY328" fmla="*/ 139437 h 512159"/>
                <a:gd name="connsiteX329" fmla="*/ 35642 w 264461"/>
                <a:gd name="connsiteY329" fmla="*/ 138751 h 512159"/>
                <a:gd name="connsiteX330" fmla="*/ 37938 w 264461"/>
                <a:gd name="connsiteY330" fmla="*/ 139084 h 512159"/>
                <a:gd name="connsiteX331" fmla="*/ 37985 w 264461"/>
                <a:gd name="connsiteY331" fmla="*/ 138674 h 512159"/>
                <a:gd name="connsiteX332" fmla="*/ 36300 w 264461"/>
                <a:gd name="connsiteY332" fmla="*/ 134303 h 512159"/>
                <a:gd name="connsiteX333" fmla="*/ 36604 w 264461"/>
                <a:gd name="connsiteY333" fmla="*/ 133407 h 512159"/>
                <a:gd name="connsiteX334" fmla="*/ 37519 w 264461"/>
                <a:gd name="connsiteY334" fmla="*/ 132388 h 512159"/>
                <a:gd name="connsiteX335" fmla="*/ 42815 w 264461"/>
                <a:gd name="connsiteY335" fmla="*/ 129254 h 512159"/>
                <a:gd name="connsiteX336" fmla="*/ 49416 w 264461"/>
                <a:gd name="connsiteY336" fmla="*/ 123977 h 512159"/>
                <a:gd name="connsiteX337" fmla="*/ 51016 w 264461"/>
                <a:gd name="connsiteY337" fmla="*/ 123149 h 512159"/>
                <a:gd name="connsiteX338" fmla="*/ 51502 w 264461"/>
                <a:gd name="connsiteY338" fmla="*/ 123873 h 512159"/>
                <a:gd name="connsiteX339" fmla="*/ 52168 w 264461"/>
                <a:gd name="connsiteY339" fmla="*/ 126606 h 512159"/>
                <a:gd name="connsiteX340" fmla="*/ 52054 w 264461"/>
                <a:gd name="connsiteY340" fmla="*/ 130245 h 512159"/>
                <a:gd name="connsiteX341" fmla="*/ 134626 w 264461"/>
                <a:gd name="connsiteY341" fmla="*/ 122482 h 512159"/>
                <a:gd name="connsiteX342" fmla="*/ 134855 w 264461"/>
                <a:gd name="connsiteY342" fmla="*/ 126654 h 512159"/>
                <a:gd name="connsiteX343" fmla="*/ 134541 w 264461"/>
                <a:gd name="connsiteY343" fmla="*/ 127921 h 512159"/>
                <a:gd name="connsiteX344" fmla="*/ 133902 w 264461"/>
                <a:gd name="connsiteY344" fmla="*/ 129483 h 512159"/>
                <a:gd name="connsiteX345" fmla="*/ 131883 w 264461"/>
                <a:gd name="connsiteY345" fmla="*/ 132388 h 512159"/>
                <a:gd name="connsiteX346" fmla="*/ 126568 w 264461"/>
                <a:gd name="connsiteY346" fmla="*/ 136531 h 512159"/>
                <a:gd name="connsiteX347" fmla="*/ 116843 w 264461"/>
                <a:gd name="connsiteY347" fmla="*/ 146018 h 512159"/>
                <a:gd name="connsiteX348" fmla="*/ 111090 w 264461"/>
                <a:gd name="connsiteY348" fmla="*/ 150704 h 512159"/>
                <a:gd name="connsiteX349" fmla="*/ 110299 w 264461"/>
                <a:gd name="connsiteY349" fmla="*/ 152953 h 512159"/>
                <a:gd name="connsiteX350" fmla="*/ 109871 w 264461"/>
                <a:gd name="connsiteY350" fmla="*/ 156077 h 512159"/>
                <a:gd name="connsiteX351" fmla="*/ 113309 w 264461"/>
                <a:gd name="connsiteY351" fmla="*/ 156696 h 512159"/>
                <a:gd name="connsiteX352" fmla="*/ 114643 w 264461"/>
                <a:gd name="connsiteY352" fmla="*/ 157753 h 512159"/>
                <a:gd name="connsiteX353" fmla="*/ 113824 w 264461"/>
                <a:gd name="connsiteY353" fmla="*/ 159334 h 512159"/>
                <a:gd name="connsiteX354" fmla="*/ 108728 w 264461"/>
                <a:gd name="connsiteY354" fmla="*/ 164830 h 512159"/>
                <a:gd name="connsiteX355" fmla="*/ 107232 w 264461"/>
                <a:gd name="connsiteY355" fmla="*/ 169783 h 512159"/>
                <a:gd name="connsiteX356" fmla="*/ 111138 w 264461"/>
                <a:gd name="connsiteY356" fmla="*/ 169602 h 512159"/>
                <a:gd name="connsiteX357" fmla="*/ 114357 w 264461"/>
                <a:gd name="connsiteY357" fmla="*/ 168650 h 512159"/>
                <a:gd name="connsiteX358" fmla="*/ 120767 w 264461"/>
                <a:gd name="connsiteY358" fmla="*/ 165563 h 512159"/>
                <a:gd name="connsiteX359" fmla="*/ 126797 w 264461"/>
                <a:gd name="connsiteY359" fmla="*/ 163268 h 512159"/>
                <a:gd name="connsiteX360" fmla="*/ 129692 w 264461"/>
                <a:gd name="connsiteY360" fmla="*/ 163173 h 512159"/>
                <a:gd name="connsiteX361" fmla="*/ 135322 w 264461"/>
                <a:gd name="connsiteY361" fmla="*/ 165002 h 512159"/>
                <a:gd name="connsiteX362" fmla="*/ 136598 w 264461"/>
                <a:gd name="connsiteY362" fmla="*/ 165059 h 512159"/>
                <a:gd name="connsiteX363" fmla="*/ 138989 w 264461"/>
                <a:gd name="connsiteY363" fmla="*/ 164211 h 512159"/>
                <a:gd name="connsiteX364" fmla="*/ 141408 w 264461"/>
                <a:gd name="connsiteY364" fmla="*/ 164059 h 512159"/>
                <a:gd name="connsiteX365" fmla="*/ 157772 w 264461"/>
                <a:gd name="connsiteY365" fmla="*/ 164630 h 512159"/>
                <a:gd name="connsiteX366" fmla="*/ 162325 w 264461"/>
                <a:gd name="connsiteY366" fmla="*/ 163554 h 512159"/>
                <a:gd name="connsiteX367" fmla="*/ 165335 w 264461"/>
                <a:gd name="connsiteY367" fmla="*/ 164840 h 512159"/>
                <a:gd name="connsiteX368" fmla="*/ 167849 w 264461"/>
                <a:gd name="connsiteY368" fmla="*/ 168040 h 512159"/>
                <a:gd name="connsiteX369" fmla="*/ 170240 w 264461"/>
                <a:gd name="connsiteY369" fmla="*/ 173936 h 512159"/>
                <a:gd name="connsiteX370" fmla="*/ 170164 w 264461"/>
                <a:gd name="connsiteY370" fmla="*/ 174917 h 512159"/>
                <a:gd name="connsiteX371" fmla="*/ 168716 w 264461"/>
                <a:gd name="connsiteY371" fmla="*/ 177594 h 512159"/>
                <a:gd name="connsiteX372" fmla="*/ 166049 w 264461"/>
                <a:gd name="connsiteY372" fmla="*/ 180947 h 512159"/>
                <a:gd name="connsiteX373" fmla="*/ 163754 w 264461"/>
                <a:gd name="connsiteY373" fmla="*/ 185556 h 512159"/>
                <a:gd name="connsiteX374" fmla="*/ 163087 w 264461"/>
                <a:gd name="connsiteY374" fmla="*/ 188033 h 512159"/>
                <a:gd name="connsiteX375" fmla="*/ 162639 w 264461"/>
                <a:gd name="connsiteY375" fmla="*/ 190748 h 512159"/>
                <a:gd name="connsiteX376" fmla="*/ 161915 w 264461"/>
                <a:gd name="connsiteY376" fmla="*/ 193253 h 512159"/>
                <a:gd name="connsiteX377" fmla="*/ 157353 w 264461"/>
                <a:gd name="connsiteY377" fmla="*/ 204969 h 512159"/>
                <a:gd name="connsiteX378" fmla="*/ 152905 w 264461"/>
                <a:gd name="connsiteY378" fmla="*/ 211426 h 512159"/>
                <a:gd name="connsiteX379" fmla="*/ 150924 w 264461"/>
                <a:gd name="connsiteY379" fmla="*/ 215998 h 512159"/>
                <a:gd name="connsiteX380" fmla="*/ 148476 w 264461"/>
                <a:gd name="connsiteY380" fmla="*/ 219628 h 512159"/>
                <a:gd name="connsiteX381" fmla="*/ 146113 w 264461"/>
                <a:gd name="connsiteY381" fmla="*/ 221913 h 512159"/>
                <a:gd name="connsiteX382" fmla="*/ 143599 w 264461"/>
                <a:gd name="connsiteY382" fmla="*/ 223438 h 512159"/>
                <a:gd name="connsiteX383" fmla="*/ 136322 w 264461"/>
                <a:gd name="connsiteY383" fmla="*/ 225057 h 512159"/>
                <a:gd name="connsiteX384" fmla="*/ 134283 w 264461"/>
                <a:gd name="connsiteY384" fmla="*/ 226219 h 512159"/>
                <a:gd name="connsiteX385" fmla="*/ 131854 w 264461"/>
                <a:gd name="connsiteY385" fmla="*/ 228210 h 512159"/>
                <a:gd name="connsiteX386" fmla="*/ 129302 w 264461"/>
                <a:gd name="connsiteY386" fmla="*/ 229200 h 512159"/>
                <a:gd name="connsiteX387" fmla="*/ 132293 w 264461"/>
                <a:gd name="connsiteY387" fmla="*/ 229076 h 512159"/>
                <a:gd name="connsiteX388" fmla="*/ 135255 w 264461"/>
                <a:gd name="connsiteY388" fmla="*/ 227971 h 512159"/>
                <a:gd name="connsiteX389" fmla="*/ 140656 w 264461"/>
                <a:gd name="connsiteY389" fmla="*/ 227571 h 512159"/>
                <a:gd name="connsiteX390" fmla="*/ 146866 w 264461"/>
                <a:gd name="connsiteY390" fmla="*/ 231381 h 512159"/>
                <a:gd name="connsiteX391" fmla="*/ 146285 w 264461"/>
                <a:gd name="connsiteY391" fmla="*/ 234496 h 512159"/>
                <a:gd name="connsiteX392" fmla="*/ 143789 w 264461"/>
                <a:gd name="connsiteY392" fmla="*/ 236954 h 512159"/>
                <a:gd name="connsiteX393" fmla="*/ 138113 w 264461"/>
                <a:gd name="connsiteY393" fmla="*/ 237344 h 512159"/>
                <a:gd name="connsiteX394" fmla="*/ 132807 w 264461"/>
                <a:gd name="connsiteY394" fmla="*/ 242802 h 512159"/>
                <a:gd name="connsiteX395" fmla="*/ 130416 w 264461"/>
                <a:gd name="connsiteY395" fmla="*/ 244478 h 512159"/>
                <a:gd name="connsiteX396" fmla="*/ 127883 w 264461"/>
                <a:gd name="connsiteY396" fmla="*/ 245307 h 512159"/>
                <a:gd name="connsiteX397" fmla="*/ 124720 w 264461"/>
                <a:gd name="connsiteY397" fmla="*/ 245059 h 512159"/>
                <a:gd name="connsiteX398" fmla="*/ 118977 w 264461"/>
                <a:gd name="connsiteY398" fmla="*/ 243602 h 512159"/>
                <a:gd name="connsiteX399" fmla="*/ 116462 w 264461"/>
                <a:gd name="connsiteY399" fmla="*/ 242078 h 512159"/>
                <a:gd name="connsiteX400" fmla="*/ 118729 w 264461"/>
                <a:gd name="connsiteY400" fmla="*/ 244564 h 512159"/>
                <a:gd name="connsiteX401" fmla="*/ 121310 w 264461"/>
                <a:gd name="connsiteY401" fmla="*/ 245859 h 512159"/>
                <a:gd name="connsiteX402" fmla="*/ 136255 w 264461"/>
                <a:gd name="connsiteY402" fmla="*/ 248917 h 512159"/>
                <a:gd name="connsiteX403" fmla="*/ 137160 w 264461"/>
                <a:gd name="connsiteY403" fmla="*/ 248593 h 512159"/>
                <a:gd name="connsiteX404" fmla="*/ 141922 w 264461"/>
                <a:gd name="connsiteY404" fmla="*/ 245374 h 512159"/>
                <a:gd name="connsiteX405" fmla="*/ 148276 w 264461"/>
                <a:gd name="connsiteY405" fmla="*/ 245326 h 512159"/>
                <a:gd name="connsiteX406" fmla="*/ 160363 w 264461"/>
                <a:gd name="connsiteY406" fmla="*/ 251250 h 512159"/>
                <a:gd name="connsiteX407" fmla="*/ 163839 w 264461"/>
                <a:gd name="connsiteY407" fmla="*/ 255775 h 512159"/>
                <a:gd name="connsiteX408" fmla="*/ 168830 w 264461"/>
                <a:gd name="connsiteY408" fmla="*/ 262223 h 512159"/>
                <a:gd name="connsiteX409" fmla="*/ 171545 w 264461"/>
                <a:gd name="connsiteY409" fmla="*/ 264738 h 512159"/>
                <a:gd name="connsiteX410" fmla="*/ 173507 w 264461"/>
                <a:gd name="connsiteY410" fmla="*/ 267014 h 512159"/>
                <a:gd name="connsiteX411" fmla="*/ 174717 w 264461"/>
                <a:gd name="connsiteY411" fmla="*/ 270415 h 512159"/>
                <a:gd name="connsiteX412" fmla="*/ 177060 w 264461"/>
                <a:gd name="connsiteY412" fmla="*/ 281616 h 512159"/>
                <a:gd name="connsiteX413" fmla="*/ 179737 w 264461"/>
                <a:gd name="connsiteY413" fmla="*/ 292494 h 512159"/>
                <a:gd name="connsiteX414" fmla="*/ 183232 w 264461"/>
                <a:gd name="connsiteY414" fmla="*/ 304209 h 512159"/>
                <a:gd name="connsiteX415" fmla="*/ 184823 w 264461"/>
                <a:gd name="connsiteY415" fmla="*/ 307448 h 512159"/>
                <a:gd name="connsiteX416" fmla="*/ 186909 w 264461"/>
                <a:gd name="connsiteY416" fmla="*/ 309715 h 512159"/>
                <a:gd name="connsiteX417" fmla="*/ 197463 w 264461"/>
                <a:gd name="connsiteY417" fmla="*/ 314916 h 512159"/>
                <a:gd name="connsiteX418" fmla="*/ 199815 w 264461"/>
                <a:gd name="connsiteY418" fmla="*/ 316640 h 512159"/>
                <a:gd name="connsiteX419" fmla="*/ 203911 w 264461"/>
                <a:gd name="connsiteY419" fmla="*/ 321631 h 512159"/>
                <a:gd name="connsiteX420" fmla="*/ 207864 w 264461"/>
                <a:gd name="connsiteY420" fmla="*/ 326936 h 512159"/>
                <a:gd name="connsiteX421" fmla="*/ 211541 w 264461"/>
                <a:gd name="connsiteY421" fmla="*/ 331003 h 512159"/>
                <a:gd name="connsiteX422" fmla="*/ 215512 w 264461"/>
                <a:gd name="connsiteY422" fmla="*/ 334289 h 512159"/>
                <a:gd name="connsiteX423" fmla="*/ 213588 w 264461"/>
                <a:gd name="connsiteY423" fmla="*/ 335994 h 512159"/>
                <a:gd name="connsiteX424" fmla="*/ 212274 w 264461"/>
                <a:gd name="connsiteY424" fmla="*/ 338671 h 512159"/>
                <a:gd name="connsiteX425" fmla="*/ 213265 w 264461"/>
                <a:gd name="connsiteY425" fmla="*/ 342300 h 512159"/>
                <a:gd name="connsiteX426" fmla="*/ 214874 w 264461"/>
                <a:gd name="connsiteY426" fmla="*/ 345757 h 512159"/>
                <a:gd name="connsiteX427" fmla="*/ 218046 w 264461"/>
                <a:gd name="connsiteY427" fmla="*/ 351282 h 512159"/>
                <a:gd name="connsiteX428" fmla="*/ 220846 w 264461"/>
                <a:gd name="connsiteY428" fmla="*/ 357292 h 512159"/>
                <a:gd name="connsiteX429" fmla="*/ 219818 w 264461"/>
                <a:gd name="connsiteY429" fmla="*/ 356388 h 512159"/>
                <a:gd name="connsiteX430" fmla="*/ 218732 w 264461"/>
                <a:gd name="connsiteY430" fmla="*/ 355892 h 512159"/>
                <a:gd name="connsiteX431" fmla="*/ 217246 w 264461"/>
                <a:gd name="connsiteY431" fmla="*/ 356045 h 512159"/>
                <a:gd name="connsiteX432" fmla="*/ 215798 w 264461"/>
                <a:gd name="connsiteY432" fmla="*/ 355759 h 512159"/>
                <a:gd name="connsiteX433" fmla="*/ 213122 w 264461"/>
                <a:gd name="connsiteY433" fmla="*/ 353873 h 512159"/>
                <a:gd name="connsiteX434" fmla="*/ 210550 w 264461"/>
                <a:gd name="connsiteY434" fmla="*/ 351558 h 512159"/>
                <a:gd name="connsiteX435" fmla="*/ 205435 w 264461"/>
                <a:gd name="connsiteY435" fmla="*/ 352492 h 512159"/>
                <a:gd name="connsiteX436" fmla="*/ 202597 w 264461"/>
                <a:gd name="connsiteY436" fmla="*/ 352073 h 512159"/>
                <a:gd name="connsiteX437" fmla="*/ 200130 w 264461"/>
                <a:gd name="connsiteY437" fmla="*/ 352139 h 512159"/>
                <a:gd name="connsiteX438" fmla="*/ 204806 w 264461"/>
                <a:gd name="connsiteY438" fmla="*/ 353473 h 512159"/>
                <a:gd name="connsiteX439" fmla="*/ 209921 w 264461"/>
                <a:gd name="connsiteY439" fmla="*/ 353568 h 512159"/>
                <a:gd name="connsiteX440" fmla="*/ 221199 w 264461"/>
                <a:gd name="connsiteY440" fmla="*/ 363636 h 512159"/>
                <a:gd name="connsiteX441" fmla="*/ 225009 w 264461"/>
                <a:gd name="connsiteY441" fmla="*/ 369579 h 512159"/>
                <a:gd name="connsiteX442" fmla="*/ 227276 w 264461"/>
                <a:gd name="connsiteY442" fmla="*/ 377400 h 512159"/>
                <a:gd name="connsiteX443" fmla="*/ 225733 w 264461"/>
                <a:gd name="connsiteY443" fmla="*/ 380905 h 512159"/>
                <a:gd name="connsiteX444" fmla="*/ 223333 w 264461"/>
                <a:gd name="connsiteY444" fmla="*/ 383172 h 512159"/>
                <a:gd name="connsiteX445" fmla="*/ 221094 w 264461"/>
                <a:gd name="connsiteY445" fmla="*/ 385753 h 512159"/>
                <a:gd name="connsiteX446" fmla="*/ 218989 w 264461"/>
                <a:gd name="connsiteY446" fmla="*/ 388677 h 512159"/>
                <a:gd name="connsiteX447" fmla="*/ 225247 w 264461"/>
                <a:gd name="connsiteY447" fmla="*/ 392954 h 512159"/>
                <a:gd name="connsiteX448" fmla="*/ 226600 w 264461"/>
                <a:gd name="connsiteY448" fmla="*/ 392830 h 512159"/>
                <a:gd name="connsiteX449" fmla="*/ 227981 w 264461"/>
                <a:gd name="connsiteY449" fmla="*/ 392230 h 512159"/>
                <a:gd name="connsiteX450" fmla="*/ 229314 w 264461"/>
                <a:gd name="connsiteY450" fmla="*/ 390773 h 512159"/>
                <a:gd name="connsiteX451" fmla="*/ 231553 w 264461"/>
                <a:gd name="connsiteY451" fmla="*/ 387220 h 512159"/>
                <a:gd name="connsiteX452" fmla="*/ 232705 w 264461"/>
                <a:gd name="connsiteY452" fmla="*/ 385963 h 512159"/>
                <a:gd name="connsiteX453" fmla="*/ 236601 w 264461"/>
                <a:gd name="connsiteY453" fmla="*/ 385505 h 512159"/>
                <a:gd name="connsiteX454" fmla="*/ 239868 w 264461"/>
                <a:gd name="connsiteY454" fmla="*/ 385782 h 512159"/>
                <a:gd name="connsiteX455" fmla="*/ 243116 w 264461"/>
                <a:gd name="connsiteY455" fmla="*/ 386572 h 512159"/>
                <a:gd name="connsiteX456" fmla="*/ 245983 w 264461"/>
                <a:gd name="connsiteY456" fmla="*/ 386324 h 512159"/>
                <a:gd name="connsiteX457" fmla="*/ 251746 w 264461"/>
                <a:gd name="connsiteY457" fmla="*/ 387848 h 512159"/>
                <a:gd name="connsiteX458" fmla="*/ 254708 w 264461"/>
                <a:gd name="connsiteY458" fmla="*/ 389220 h 512159"/>
                <a:gd name="connsiteX459" fmla="*/ 262052 w 264461"/>
                <a:gd name="connsiteY459" fmla="*/ 395383 h 512159"/>
                <a:gd name="connsiteX460" fmla="*/ 263642 w 264461"/>
                <a:gd name="connsiteY460" fmla="*/ 398755 h 512159"/>
                <a:gd name="connsiteX461" fmla="*/ 264376 w 264461"/>
                <a:gd name="connsiteY461" fmla="*/ 403098 h 512159"/>
                <a:gd name="connsiteX462" fmla="*/ 264461 w 264461"/>
                <a:gd name="connsiteY462" fmla="*/ 407899 h 512159"/>
                <a:gd name="connsiteX463" fmla="*/ 263223 w 264461"/>
                <a:gd name="connsiteY463" fmla="*/ 412270 h 512159"/>
                <a:gd name="connsiteX464" fmla="*/ 261804 w 264461"/>
                <a:gd name="connsiteY464" fmla="*/ 416214 h 512159"/>
                <a:gd name="connsiteX465" fmla="*/ 260928 w 264461"/>
                <a:gd name="connsiteY465" fmla="*/ 421291 h 512159"/>
                <a:gd name="connsiteX466" fmla="*/ 260309 w 264461"/>
                <a:gd name="connsiteY466" fmla="*/ 423120 h 512159"/>
                <a:gd name="connsiteX467" fmla="*/ 259442 w 264461"/>
                <a:gd name="connsiteY467" fmla="*/ 424548 h 512159"/>
                <a:gd name="connsiteX468" fmla="*/ 255556 w 264461"/>
                <a:gd name="connsiteY468" fmla="*/ 428539 h 512159"/>
                <a:gd name="connsiteX469" fmla="*/ 252974 w 264461"/>
                <a:gd name="connsiteY469" fmla="*/ 430178 h 512159"/>
                <a:gd name="connsiteX470" fmla="*/ 251888 w 264461"/>
                <a:gd name="connsiteY470" fmla="*/ 429463 h 512159"/>
                <a:gd name="connsiteX471" fmla="*/ 250717 w 264461"/>
                <a:gd name="connsiteY471" fmla="*/ 429558 h 512159"/>
                <a:gd name="connsiteX472" fmla="*/ 250593 w 264461"/>
                <a:gd name="connsiteY472" fmla="*/ 430521 h 512159"/>
                <a:gd name="connsiteX473" fmla="*/ 251822 w 264461"/>
                <a:gd name="connsiteY473" fmla="*/ 432549 h 512159"/>
                <a:gd name="connsiteX474" fmla="*/ 251831 w 264461"/>
                <a:gd name="connsiteY474" fmla="*/ 434997 h 512159"/>
                <a:gd name="connsiteX475" fmla="*/ 249536 w 264461"/>
                <a:gd name="connsiteY475" fmla="*/ 436807 h 512159"/>
                <a:gd name="connsiteX476" fmla="*/ 247202 w 264461"/>
                <a:gd name="connsiteY476" fmla="*/ 437579 h 512159"/>
                <a:gd name="connsiteX477" fmla="*/ 243297 w 264461"/>
                <a:gd name="connsiteY477" fmla="*/ 436616 h 512159"/>
                <a:gd name="connsiteX478" fmla="*/ 237877 w 264461"/>
                <a:gd name="connsiteY478" fmla="*/ 439988 h 512159"/>
                <a:gd name="connsiteX479" fmla="*/ 241773 w 264461"/>
                <a:gd name="connsiteY479" fmla="*/ 441722 h 512159"/>
                <a:gd name="connsiteX480" fmla="*/ 242563 w 264461"/>
                <a:gd name="connsiteY480" fmla="*/ 443560 h 512159"/>
                <a:gd name="connsiteX481" fmla="*/ 241592 w 264461"/>
                <a:gd name="connsiteY481" fmla="*/ 446789 h 512159"/>
                <a:gd name="connsiteX482" fmla="*/ 239144 w 264461"/>
                <a:gd name="connsiteY482" fmla="*/ 448228 h 512159"/>
                <a:gd name="connsiteX483" fmla="*/ 236420 w 264461"/>
                <a:gd name="connsiteY483" fmla="*/ 448866 h 512159"/>
                <a:gd name="connsiteX484" fmla="*/ 233639 w 264461"/>
                <a:gd name="connsiteY484" fmla="*/ 449018 h 512159"/>
                <a:gd name="connsiteX485" fmla="*/ 231334 w 264461"/>
                <a:gd name="connsiteY485" fmla="*/ 449809 h 512159"/>
                <a:gd name="connsiteX486" fmla="*/ 229124 w 264461"/>
                <a:gd name="connsiteY486" fmla="*/ 451333 h 512159"/>
                <a:gd name="connsiteX487" fmla="*/ 231895 w 264461"/>
                <a:gd name="connsiteY487" fmla="*/ 450532 h 512159"/>
                <a:gd name="connsiteX488" fmla="*/ 233819 w 264461"/>
                <a:gd name="connsiteY488" fmla="*/ 451237 h 512159"/>
                <a:gd name="connsiteX489" fmla="*/ 235029 w 264461"/>
                <a:gd name="connsiteY489" fmla="*/ 453942 h 512159"/>
                <a:gd name="connsiteX490" fmla="*/ 236125 w 264461"/>
                <a:gd name="connsiteY490" fmla="*/ 454723 h 512159"/>
                <a:gd name="connsiteX491" fmla="*/ 241554 w 264461"/>
                <a:gd name="connsiteY491" fmla="*/ 455876 h 512159"/>
                <a:gd name="connsiteX492" fmla="*/ 244907 w 264461"/>
                <a:gd name="connsiteY492" fmla="*/ 455867 h 512159"/>
                <a:gd name="connsiteX493" fmla="*/ 251384 w 264461"/>
                <a:gd name="connsiteY493" fmla="*/ 455209 h 512159"/>
                <a:gd name="connsiteX494" fmla="*/ 254498 w 264461"/>
                <a:gd name="connsiteY494" fmla="*/ 455219 h 512159"/>
                <a:gd name="connsiteX495" fmla="*/ 255603 w 264461"/>
                <a:gd name="connsiteY495" fmla="*/ 455714 h 512159"/>
                <a:gd name="connsiteX496" fmla="*/ 255622 w 264461"/>
                <a:gd name="connsiteY496" fmla="*/ 457953 h 512159"/>
                <a:gd name="connsiteX497" fmla="*/ 255146 w 264461"/>
                <a:gd name="connsiteY497" fmla="*/ 463439 h 512159"/>
                <a:gd name="connsiteX498" fmla="*/ 254289 w 264461"/>
                <a:gd name="connsiteY498" fmla="*/ 464573 h 512159"/>
                <a:gd name="connsiteX499" fmla="*/ 245707 w 264461"/>
                <a:gd name="connsiteY499" fmla="*/ 469164 h 512159"/>
                <a:gd name="connsiteX500" fmla="*/ 243945 w 264461"/>
                <a:gd name="connsiteY500" fmla="*/ 472364 h 512159"/>
                <a:gd name="connsiteX501" fmla="*/ 243459 w 264461"/>
                <a:gd name="connsiteY501" fmla="*/ 474298 h 512159"/>
                <a:gd name="connsiteX502" fmla="*/ 238439 w 264461"/>
                <a:gd name="connsiteY502" fmla="*/ 473955 h 512159"/>
                <a:gd name="connsiteX503" fmla="*/ 236086 w 264461"/>
                <a:gd name="connsiteY503" fmla="*/ 476002 h 512159"/>
                <a:gd name="connsiteX504" fmla="*/ 232019 w 264461"/>
                <a:gd name="connsiteY504" fmla="*/ 477364 h 512159"/>
                <a:gd name="connsiteX505" fmla="*/ 228876 w 264461"/>
                <a:gd name="connsiteY505" fmla="*/ 478803 h 512159"/>
                <a:gd name="connsiteX506" fmla="*/ 225800 w 264461"/>
                <a:gd name="connsiteY506" fmla="*/ 480622 h 512159"/>
                <a:gd name="connsiteX507" fmla="*/ 223266 w 264461"/>
                <a:gd name="connsiteY507" fmla="*/ 481165 h 512159"/>
                <a:gd name="connsiteX508" fmla="*/ 212341 w 264461"/>
                <a:gd name="connsiteY508" fmla="*/ 479003 h 512159"/>
                <a:gd name="connsiteX509" fmla="*/ 205740 w 264461"/>
                <a:gd name="connsiteY509" fmla="*/ 479184 h 512159"/>
                <a:gd name="connsiteX510" fmla="*/ 196796 w 264461"/>
                <a:gd name="connsiteY510" fmla="*/ 481070 h 512159"/>
                <a:gd name="connsiteX511" fmla="*/ 194491 w 264461"/>
                <a:gd name="connsiteY511" fmla="*/ 480755 h 512159"/>
                <a:gd name="connsiteX512" fmla="*/ 191043 w 264461"/>
                <a:gd name="connsiteY512" fmla="*/ 478955 h 512159"/>
                <a:gd name="connsiteX513" fmla="*/ 187500 w 264461"/>
                <a:gd name="connsiteY513" fmla="*/ 477736 h 512159"/>
                <a:gd name="connsiteX514" fmla="*/ 183432 w 264461"/>
                <a:gd name="connsiteY514" fmla="*/ 477203 h 512159"/>
                <a:gd name="connsiteX515" fmla="*/ 179918 w 264461"/>
                <a:gd name="connsiteY515" fmla="*/ 475526 h 512159"/>
                <a:gd name="connsiteX516" fmla="*/ 182108 w 264461"/>
                <a:gd name="connsiteY516" fmla="*/ 478736 h 512159"/>
                <a:gd name="connsiteX517" fmla="*/ 177241 w 264461"/>
                <a:gd name="connsiteY517" fmla="*/ 481832 h 512159"/>
                <a:gd name="connsiteX518" fmla="*/ 174993 w 264461"/>
                <a:gd name="connsiteY518" fmla="*/ 482441 h 512159"/>
                <a:gd name="connsiteX519" fmla="*/ 172660 w 264461"/>
                <a:gd name="connsiteY519" fmla="*/ 482346 h 512159"/>
                <a:gd name="connsiteX520" fmla="*/ 167897 w 264461"/>
                <a:gd name="connsiteY520" fmla="*/ 483184 h 512159"/>
                <a:gd name="connsiteX521" fmla="*/ 163468 w 264461"/>
                <a:gd name="connsiteY521" fmla="*/ 482727 h 512159"/>
                <a:gd name="connsiteX522" fmla="*/ 164135 w 264461"/>
                <a:gd name="connsiteY522" fmla="*/ 484918 h 512159"/>
                <a:gd name="connsiteX523" fmla="*/ 165316 w 264461"/>
                <a:gd name="connsiteY523" fmla="*/ 486832 h 512159"/>
                <a:gd name="connsiteX524" fmla="*/ 164354 w 264461"/>
                <a:gd name="connsiteY524" fmla="*/ 487661 h 512159"/>
                <a:gd name="connsiteX525" fmla="*/ 163344 w 264461"/>
                <a:gd name="connsiteY525" fmla="*/ 487871 h 512159"/>
                <a:gd name="connsiteX526" fmla="*/ 154943 w 264461"/>
                <a:gd name="connsiteY526" fmla="*/ 486432 h 512159"/>
                <a:gd name="connsiteX527" fmla="*/ 153753 w 264461"/>
                <a:gd name="connsiteY527" fmla="*/ 486699 h 512159"/>
                <a:gd name="connsiteX528" fmla="*/ 152714 w 264461"/>
                <a:gd name="connsiteY528" fmla="*/ 488032 h 512159"/>
                <a:gd name="connsiteX529" fmla="*/ 149657 w 264461"/>
                <a:gd name="connsiteY529" fmla="*/ 487318 h 512159"/>
                <a:gd name="connsiteX530" fmla="*/ 146685 w 264461"/>
                <a:gd name="connsiteY530" fmla="*/ 485080 h 512159"/>
                <a:gd name="connsiteX531" fmla="*/ 143532 w 264461"/>
                <a:gd name="connsiteY531" fmla="*/ 483565 h 512159"/>
                <a:gd name="connsiteX532" fmla="*/ 140217 w 264461"/>
                <a:gd name="connsiteY532" fmla="*/ 482851 h 512159"/>
                <a:gd name="connsiteX533" fmla="*/ 137588 w 264461"/>
                <a:gd name="connsiteY533" fmla="*/ 483098 h 512159"/>
                <a:gd name="connsiteX534" fmla="*/ 126759 w 264461"/>
                <a:gd name="connsiteY534" fmla="*/ 486642 h 512159"/>
                <a:gd name="connsiteX535" fmla="*/ 124596 w 264461"/>
                <a:gd name="connsiteY535" fmla="*/ 490185 h 512159"/>
                <a:gd name="connsiteX536" fmla="*/ 123510 w 264461"/>
                <a:gd name="connsiteY536" fmla="*/ 495205 h 512159"/>
                <a:gd name="connsiteX537" fmla="*/ 121948 w 264461"/>
                <a:gd name="connsiteY537" fmla="*/ 499653 h 512159"/>
                <a:gd name="connsiteX538" fmla="*/ 119396 w 264461"/>
                <a:gd name="connsiteY538" fmla="*/ 503073 h 512159"/>
                <a:gd name="connsiteX539" fmla="*/ 116357 w 264461"/>
                <a:gd name="connsiteY539" fmla="*/ 503520 h 512159"/>
                <a:gd name="connsiteX540" fmla="*/ 113500 w 264461"/>
                <a:gd name="connsiteY540" fmla="*/ 501148 h 512159"/>
                <a:gd name="connsiteX541" fmla="*/ 108070 w 264461"/>
                <a:gd name="connsiteY541" fmla="*/ 498538 h 512159"/>
                <a:gd name="connsiteX542" fmla="*/ 106223 w 264461"/>
                <a:gd name="connsiteY542" fmla="*/ 496767 h 512159"/>
                <a:gd name="connsiteX543" fmla="*/ 105632 w 264461"/>
                <a:gd name="connsiteY543" fmla="*/ 496662 h 512159"/>
                <a:gd name="connsiteX544" fmla="*/ 105023 w 264461"/>
                <a:gd name="connsiteY544" fmla="*/ 497291 h 512159"/>
                <a:gd name="connsiteX545" fmla="*/ 102889 w 264461"/>
                <a:gd name="connsiteY545" fmla="*/ 498091 h 512159"/>
                <a:gd name="connsiteX546" fmla="*/ 100689 w 264461"/>
                <a:gd name="connsiteY546" fmla="*/ 498129 h 512159"/>
                <a:gd name="connsiteX547" fmla="*/ 97288 w 264461"/>
                <a:gd name="connsiteY547" fmla="*/ 498834 h 512159"/>
                <a:gd name="connsiteX548" fmla="*/ 91373 w 264461"/>
                <a:gd name="connsiteY548" fmla="*/ 500958 h 512159"/>
                <a:gd name="connsiteX549" fmla="*/ 88982 w 264461"/>
                <a:gd name="connsiteY549" fmla="*/ 502396 h 512159"/>
                <a:gd name="connsiteX550" fmla="*/ 83848 w 264461"/>
                <a:gd name="connsiteY550" fmla="*/ 506368 h 512159"/>
                <a:gd name="connsiteX551" fmla="*/ 82801 w 264461"/>
                <a:gd name="connsiteY551" fmla="*/ 507464 h 512159"/>
                <a:gd name="connsiteX552" fmla="*/ 80934 w 264461"/>
                <a:gd name="connsiteY552" fmla="*/ 511455 h 512159"/>
                <a:gd name="connsiteX553" fmla="*/ 78086 w 264461"/>
                <a:gd name="connsiteY553" fmla="*/ 512159 h 512159"/>
                <a:gd name="connsiteX554" fmla="*/ 75476 w 264461"/>
                <a:gd name="connsiteY554" fmla="*/ 509607 h 512159"/>
                <a:gd name="connsiteX555" fmla="*/ 72504 w 264461"/>
                <a:gd name="connsiteY555" fmla="*/ 508711 h 512159"/>
                <a:gd name="connsiteX556" fmla="*/ 69370 w 264461"/>
                <a:gd name="connsiteY556" fmla="*/ 509578 h 512159"/>
                <a:gd name="connsiteX557" fmla="*/ 67475 w 264461"/>
                <a:gd name="connsiteY557" fmla="*/ 510940 h 512159"/>
                <a:gd name="connsiteX558" fmla="*/ 66589 w 264461"/>
                <a:gd name="connsiteY558" fmla="*/ 509835 h 512159"/>
                <a:gd name="connsiteX559" fmla="*/ 66560 w 264461"/>
                <a:gd name="connsiteY559" fmla="*/ 507568 h 512159"/>
                <a:gd name="connsiteX560" fmla="*/ 68847 w 264461"/>
                <a:gd name="connsiteY560" fmla="*/ 504863 h 512159"/>
                <a:gd name="connsiteX561" fmla="*/ 74952 w 264461"/>
                <a:gd name="connsiteY561" fmla="*/ 502815 h 512159"/>
                <a:gd name="connsiteX562" fmla="*/ 80315 w 264461"/>
                <a:gd name="connsiteY562" fmla="*/ 497491 h 512159"/>
                <a:gd name="connsiteX563" fmla="*/ 82943 w 264461"/>
                <a:gd name="connsiteY563" fmla="*/ 494243 h 512159"/>
                <a:gd name="connsiteX564" fmla="*/ 83991 w 264461"/>
                <a:gd name="connsiteY564" fmla="*/ 492405 h 512159"/>
                <a:gd name="connsiteX565" fmla="*/ 85277 w 264461"/>
                <a:gd name="connsiteY565" fmla="*/ 491233 h 512159"/>
                <a:gd name="connsiteX566" fmla="*/ 86954 w 264461"/>
                <a:gd name="connsiteY566" fmla="*/ 490795 h 512159"/>
                <a:gd name="connsiteX567" fmla="*/ 87821 w 264461"/>
                <a:gd name="connsiteY567" fmla="*/ 488766 h 512159"/>
                <a:gd name="connsiteX568" fmla="*/ 95259 w 264461"/>
                <a:gd name="connsiteY568" fmla="*/ 480593 h 512159"/>
                <a:gd name="connsiteX569" fmla="*/ 95869 w 264461"/>
                <a:gd name="connsiteY569" fmla="*/ 478717 h 512159"/>
                <a:gd name="connsiteX570" fmla="*/ 96240 w 264461"/>
                <a:gd name="connsiteY570" fmla="*/ 475345 h 512159"/>
                <a:gd name="connsiteX571" fmla="*/ 96850 w 264461"/>
                <a:gd name="connsiteY571" fmla="*/ 472097 h 512159"/>
                <a:gd name="connsiteX572" fmla="*/ 102908 w 264461"/>
                <a:gd name="connsiteY572" fmla="*/ 469992 h 512159"/>
                <a:gd name="connsiteX573" fmla="*/ 105804 w 264461"/>
                <a:gd name="connsiteY573" fmla="*/ 463144 h 512159"/>
                <a:gd name="connsiteX574" fmla="*/ 106604 w 264461"/>
                <a:gd name="connsiteY574" fmla="*/ 462601 h 512159"/>
                <a:gd name="connsiteX575" fmla="*/ 115052 w 264461"/>
                <a:gd name="connsiteY575" fmla="*/ 461343 h 512159"/>
                <a:gd name="connsiteX576" fmla="*/ 121320 w 264461"/>
                <a:gd name="connsiteY576" fmla="*/ 461448 h 512159"/>
                <a:gd name="connsiteX577" fmla="*/ 127549 w 264461"/>
                <a:gd name="connsiteY577" fmla="*/ 462791 h 512159"/>
                <a:gd name="connsiteX578" fmla="*/ 130740 w 264461"/>
                <a:gd name="connsiteY578" fmla="*/ 462915 h 512159"/>
                <a:gd name="connsiteX579" fmla="*/ 133940 w 264461"/>
                <a:gd name="connsiteY579" fmla="*/ 462448 h 512159"/>
                <a:gd name="connsiteX580" fmla="*/ 136455 w 264461"/>
                <a:gd name="connsiteY580" fmla="*/ 460591 h 512159"/>
                <a:gd name="connsiteX581" fmla="*/ 140751 w 264461"/>
                <a:gd name="connsiteY581" fmla="*/ 453885 h 512159"/>
                <a:gd name="connsiteX582" fmla="*/ 143170 w 264461"/>
                <a:gd name="connsiteY582" fmla="*/ 450923 h 512159"/>
                <a:gd name="connsiteX583" fmla="*/ 145942 w 264461"/>
                <a:gd name="connsiteY583" fmla="*/ 448246 h 512159"/>
                <a:gd name="connsiteX584" fmla="*/ 148533 w 264461"/>
                <a:gd name="connsiteY584" fmla="*/ 445189 h 512159"/>
                <a:gd name="connsiteX585" fmla="*/ 152733 w 264461"/>
                <a:gd name="connsiteY585" fmla="*/ 439512 h 512159"/>
                <a:gd name="connsiteX586" fmla="*/ 149895 w 264461"/>
                <a:gd name="connsiteY586" fmla="*/ 441474 h 512159"/>
                <a:gd name="connsiteX587" fmla="*/ 146466 w 264461"/>
                <a:gd name="connsiteY587" fmla="*/ 444579 h 512159"/>
                <a:gd name="connsiteX588" fmla="*/ 144475 w 264461"/>
                <a:gd name="connsiteY588" fmla="*/ 446380 h 512159"/>
                <a:gd name="connsiteX589" fmla="*/ 138151 w 264461"/>
                <a:gd name="connsiteY589" fmla="*/ 448190 h 512159"/>
                <a:gd name="connsiteX590" fmla="*/ 135426 w 264461"/>
                <a:gd name="connsiteY590" fmla="*/ 450037 h 512159"/>
                <a:gd name="connsiteX591" fmla="*/ 130654 w 264461"/>
                <a:gd name="connsiteY591" fmla="*/ 454200 h 512159"/>
                <a:gd name="connsiteX592" fmla="*/ 129740 w 264461"/>
                <a:gd name="connsiteY592" fmla="*/ 454543 h 512159"/>
                <a:gd name="connsiteX593" fmla="*/ 122539 w 264461"/>
                <a:gd name="connsiteY593" fmla="*/ 453542 h 512159"/>
                <a:gd name="connsiteX594" fmla="*/ 117186 w 264461"/>
                <a:gd name="connsiteY594" fmla="*/ 448142 h 512159"/>
                <a:gd name="connsiteX595" fmla="*/ 113767 w 264461"/>
                <a:gd name="connsiteY595" fmla="*/ 445932 h 512159"/>
                <a:gd name="connsiteX596" fmla="*/ 112357 w 264461"/>
                <a:gd name="connsiteY596" fmla="*/ 445675 h 512159"/>
                <a:gd name="connsiteX597" fmla="*/ 110890 w 264461"/>
                <a:gd name="connsiteY597" fmla="*/ 446332 h 512159"/>
                <a:gd name="connsiteX598" fmla="*/ 107766 w 264461"/>
                <a:gd name="connsiteY598" fmla="*/ 447008 h 512159"/>
                <a:gd name="connsiteX599" fmla="*/ 104584 w 264461"/>
                <a:gd name="connsiteY599" fmla="*/ 446894 h 512159"/>
                <a:gd name="connsiteX600" fmla="*/ 106213 w 264461"/>
                <a:gd name="connsiteY600" fmla="*/ 444389 h 512159"/>
                <a:gd name="connsiteX601" fmla="*/ 108423 w 264461"/>
                <a:gd name="connsiteY601" fmla="*/ 442989 h 512159"/>
                <a:gd name="connsiteX602" fmla="*/ 103470 w 264461"/>
                <a:gd name="connsiteY602" fmla="*/ 442017 h 512159"/>
                <a:gd name="connsiteX603" fmla="*/ 102089 w 264461"/>
                <a:gd name="connsiteY603" fmla="*/ 441255 h 512159"/>
                <a:gd name="connsiteX604" fmla="*/ 100517 w 264461"/>
                <a:gd name="connsiteY604" fmla="*/ 439493 h 512159"/>
                <a:gd name="connsiteX605" fmla="*/ 96631 w 264461"/>
                <a:gd name="connsiteY605" fmla="*/ 439198 h 512159"/>
                <a:gd name="connsiteX606" fmla="*/ 94783 w 264461"/>
                <a:gd name="connsiteY606" fmla="*/ 439646 h 512159"/>
                <a:gd name="connsiteX607" fmla="*/ 91659 w 264461"/>
                <a:gd name="connsiteY607" fmla="*/ 441970 h 512159"/>
                <a:gd name="connsiteX608" fmla="*/ 86725 w 264461"/>
                <a:gd name="connsiteY608" fmla="*/ 444437 h 512159"/>
                <a:gd name="connsiteX609" fmla="*/ 80772 w 264461"/>
                <a:gd name="connsiteY609" fmla="*/ 441017 h 512159"/>
                <a:gd name="connsiteX610" fmla="*/ 79610 w 264461"/>
                <a:gd name="connsiteY610" fmla="*/ 439522 h 512159"/>
                <a:gd name="connsiteX611" fmla="*/ 79638 w 264461"/>
                <a:gd name="connsiteY611" fmla="*/ 436616 h 512159"/>
                <a:gd name="connsiteX612" fmla="*/ 78743 w 264461"/>
                <a:gd name="connsiteY612" fmla="*/ 434312 h 512159"/>
                <a:gd name="connsiteX613" fmla="*/ 77095 w 264461"/>
                <a:gd name="connsiteY613" fmla="*/ 433502 h 512159"/>
                <a:gd name="connsiteX614" fmla="*/ 79200 w 264461"/>
                <a:gd name="connsiteY614" fmla="*/ 430501 h 512159"/>
                <a:gd name="connsiteX615" fmla="*/ 81753 w 264461"/>
                <a:gd name="connsiteY615" fmla="*/ 428501 h 512159"/>
                <a:gd name="connsiteX616" fmla="*/ 87354 w 264461"/>
                <a:gd name="connsiteY616" fmla="*/ 426511 h 512159"/>
                <a:gd name="connsiteX617" fmla="*/ 95840 w 264461"/>
                <a:gd name="connsiteY617" fmla="*/ 421777 h 512159"/>
                <a:gd name="connsiteX618" fmla="*/ 100603 w 264461"/>
                <a:gd name="connsiteY618" fmla="*/ 419757 h 512159"/>
                <a:gd name="connsiteX619" fmla="*/ 105023 w 264461"/>
                <a:gd name="connsiteY619" fmla="*/ 416271 h 512159"/>
                <a:gd name="connsiteX620" fmla="*/ 106851 w 264461"/>
                <a:gd name="connsiteY620" fmla="*/ 414138 h 512159"/>
                <a:gd name="connsiteX621" fmla="*/ 108175 w 264461"/>
                <a:gd name="connsiteY621" fmla="*/ 411213 h 512159"/>
                <a:gd name="connsiteX622" fmla="*/ 109490 w 264461"/>
                <a:gd name="connsiteY622" fmla="*/ 407632 h 512159"/>
                <a:gd name="connsiteX623" fmla="*/ 111366 w 264461"/>
                <a:gd name="connsiteY623" fmla="*/ 404708 h 512159"/>
                <a:gd name="connsiteX624" fmla="*/ 109547 w 264461"/>
                <a:gd name="connsiteY624" fmla="*/ 404013 h 512159"/>
                <a:gd name="connsiteX625" fmla="*/ 108728 w 264461"/>
                <a:gd name="connsiteY625" fmla="*/ 401812 h 512159"/>
                <a:gd name="connsiteX626" fmla="*/ 108947 w 264461"/>
                <a:gd name="connsiteY626" fmla="*/ 399574 h 512159"/>
                <a:gd name="connsiteX627" fmla="*/ 109785 w 264461"/>
                <a:gd name="connsiteY627" fmla="*/ 397583 h 512159"/>
                <a:gd name="connsiteX628" fmla="*/ 109033 w 264461"/>
                <a:gd name="connsiteY628" fmla="*/ 395088 h 512159"/>
                <a:gd name="connsiteX629" fmla="*/ 107690 w 264461"/>
                <a:gd name="connsiteY629" fmla="*/ 392478 h 512159"/>
                <a:gd name="connsiteX630" fmla="*/ 107766 w 264461"/>
                <a:gd name="connsiteY630" fmla="*/ 390439 h 512159"/>
                <a:gd name="connsiteX631" fmla="*/ 108128 w 264461"/>
                <a:gd name="connsiteY631" fmla="*/ 388258 h 512159"/>
                <a:gd name="connsiteX632" fmla="*/ 104718 w 264461"/>
                <a:gd name="connsiteY632" fmla="*/ 388373 h 512159"/>
                <a:gd name="connsiteX633" fmla="*/ 101317 w 264461"/>
                <a:gd name="connsiteY633" fmla="*/ 389058 h 512159"/>
                <a:gd name="connsiteX634" fmla="*/ 98231 w 264461"/>
                <a:gd name="connsiteY634" fmla="*/ 390601 h 512159"/>
                <a:gd name="connsiteX635" fmla="*/ 95240 w 264461"/>
                <a:gd name="connsiteY635" fmla="*/ 392697 h 512159"/>
                <a:gd name="connsiteX636" fmla="*/ 92583 w 264461"/>
                <a:gd name="connsiteY636" fmla="*/ 393087 h 512159"/>
                <a:gd name="connsiteX637" fmla="*/ 92621 w 264461"/>
                <a:gd name="connsiteY637" fmla="*/ 391411 h 512159"/>
                <a:gd name="connsiteX638" fmla="*/ 93774 w 264461"/>
                <a:gd name="connsiteY638" fmla="*/ 389334 h 512159"/>
                <a:gd name="connsiteX639" fmla="*/ 96783 w 264461"/>
                <a:gd name="connsiteY639" fmla="*/ 386362 h 512159"/>
                <a:gd name="connsiteX640" fmla="*/ 100003 w 264461"/>
                <a:gd name="connsiteY640" fmla="*/ 383896 h 512159"/>
                <a:gd name="connsiteX641" fmla="*/ 101146 w 264461"/>
                <a:gd name="connsiteY641" fmla="*/ 382019 h 512159"/>
                <a:gd name="connsiteX642" fmla="*/ 102051 w 264461"/>
                <a:gd name="connsiteY642" fmla="*/ 379838 h 512159"/>
                <a:gd name="connsiteX643" fmla="*/ 103651 w 264461"/>
                <a:gd name="connsiteY643" fmla="*/ 378085 h 512159"/>
                <a:gd name="connsiteX644" fmla="*/ 107861 w 264461"/>
                <a:gd name="connsiteY644" fmla="*/ 374771 h 512159"/>
                <a:gd name="connsiteX645" fmla="*/ 115929 w 264461"/>
                <a:gd name="connsiteY645" fmla="*/ 371037 h 512159"/>
                <a:gd name="connsiteX646" fmla="*/ 117129 w 264461"/>
                <a:gd name="connsiteY646" fmla="*/ 370818 h 512159"/>
                <a:gd name="connsiteX647" fmla="*/ 120291 w 264461"/>
                <a:gd name="connsiteY647" fmla="*/ 371256 h 512159"/>
                <a:gd name="connsiteX648" fmla="*/ 123406 w 264461"/>
                <a:gd name="connsiteY648" fmla="*/ 370684 h 512159"/>
                <a:gd name="connsiteX649" fmla="*/ 126130 w 264461"/>
                <a:gd name="connsiteY649" fmla="*/ 369341 h 512159"/>
                <a:gd name="connsiteX650" fmla="*/ 128844 w 264461"/>
                <a:gd name="connsiteY650" fmla="*/ 369056 h 512159"/>
                <a:gd name="connsiteX651" fmla="*/ 134960 w 264461"/>
                <a:gd name="connsiteY651" fmla="*/ 372932 h 512159"/>
                <a:gd name="connsiteX652" fmla="*/ 133140 w 264461"/>
                <a:gd name="connsiteY652" fmla="*/ 366932 h 512159"/>
                <a:gd name="connsiteX653" fmla="*/ 135836 w 264461"/>
                <a:gd name="connsiteY653" fmla="*/ 365493 h 512159"/>
                <a:gd name="connsiteX654" fmla="*/ 139741 w 264461"/>
                <a:gd name="connsiteY654" fmla="*/ 370923 h 512159"/>
                <a:gd name="connsiteX655" fmla="*/ 141189 w 264461"/>
                <a:gd name="connsiteY655" fmla="*/ 371494 h 512159"/>
                <a:gd name="connsiteX656" fmla="*/ 144256 w 264461"/>
                <a:gd name="connsiteY656" fmla="*/ 370704 h 512159"/>
                <a:gd name="connsiteX657" fmla="*/ 143075 w 264461"/>
                <a:gd name="connsiteY657" fmla="*/ 369789 h 512159"/>
                <a:gd name="connsiteX658" fmla="*/ 141694 w 264461"/>
                <a:gd name="connsiteY658" fmla="*/ 369732 h 512159"/>
                <a:gd name="connsiteX659" fmla="*/ 139884 w 264461"/>
                <a:gd name="connsiteY659" fmla="*/ 368913 h 512159"/>
                <a:gd name="connsiteX660" fmla="*/ 138360 w 264461"/>
                <a:gd name="connsiteY660" fmla="*/ 367170 h 512159"/>
                <a:gd name="connsiteX661" fmla="*/ 135826 w 264461"/>
                <a:gd name="connsiteY661" fmla="*/ 361626 h 512159"/>
                <a:gd name="connsiteX662" fmla="*/ 135969 w 264461"/>
                <a:gd name="connsiteY662" fmla="*/ 358330 h 512159"/>
                <a:gd name="connsiteX663" fmla="*/ 137674 w 264461"/>
                <a:gd name="connsiteY663" fmla="*/ 354902 h 512159"/>
                <a:gd name="connsiteX664" fmla="*/ 139560 w 264461"/>
                <a:gd name="connsiteY664" fmla="*/ 351739 h 512159"/>
                <a:gd name="connsiteX665" fmla="*/ 137979 w 264461"/>
                <a:gd name="connsiteY665" fmla="*/ 351111 h 512159"/>
                <a:gd name="connsiteX666" fmla="*/ 136712 w 264461"/>
                <a:gd name="connsiteY666" fmla="*/ 349901 h 512159"/>
                <a:gd name="connsiteX667" fmla="*/ 136350 w 264461"/>
                <a:gd name="connsiteY667" fmla="*/ 346729 h 512159"/>
                <a:gd name="connsiteX668" fmla="*/ 136845 w 264461"/>
                <a:gd name="connsiteY668" fmla="*/ 343919 h 512159"/>
                <a:gd name="connsiteX669" fmla="*/ 140237 w 264461"/>
                <a:gd name="connsiteY669" fmla="*/ 341443 h 512159"/>
                <a:gd name="connsiteX670" fmla="*/ 141236 w 264461"/>
                <a:gd name="connsiteY670" fmla="*/ 337671 h 512159"/>
                <a:gd name="connsiteX671" fmla="*/ 141656 w 264461"/>
                <a:gd name="connsiteY671" fmla="*/ 333508 h 512159"/>
                <a:gd name="connsiteX672" fmla="*/ 141094 w 264461"/>
                <a:gd name="connsiteY672" fmla="*/ 331594 h 512159"/>
                <a:gd name="connsiteX673" fmla="*/ 137722 w 264461"/>
                <a:gd name="connsiteY673" fmla="*/ 331899 h 512159"/>
                <a:gd name="connsiteX674" fmla="*/ 136084 w 264461"/>
                <a:gd name="connsiteY674" fmla="*/ 332680 h 512159"/>
                <a:gd name="connsiteX675" fmla="*/ 134617 w 264461"/>
                <a:gd name="connsiteY675" fmla="*/ 333908 h 512159"/>
                <a:gd name="connsiteX676" fmla="*/ 133112 w 264461"/>
                <a:gd name="connsiteY676" fmla="*/ 333832 h 512159"/>
                <a:gd name="connsiteX677" fmla="*/ 128949 w 264461"/>
                <a:gd name="connsiteY677" fmla="*/ 329222 h 512159"/>
                <a:gd name="connsiteX678" fmla="*/ 126578 w 264461"/>
                <a:gd name="connsiteY678" fmla="*/ 325726 h 512159"/>
                <a:gd name="connsiteX679" fmla="*/ 122320 w 264461"/>
                <a:gd name="connsiteY679" fmla="*/ 318316 h 512159"/>
                <a:gd name="connsiteX680" fmla="*/ 121720 w 264461"/>
                <a:gd name="connsiteY680" fmla="*/ 313868 h 512159"/>
                <a:gd name="connsiteX681" fmla="*/ 125120 w 264461"/>
                <a:gd name="connsiteY681" fmla="*/ 304248 h 512159"/>
                <a:gd name="connsiteX682" fmla="*/ 130378 w 264461"/>
                <a:gd name="connsiteY682" fmla="*/ 298066 h 512159"/>
                <a:gd name="connsiteX683" fmla="*/ 136569 w 264461"/>
                <a:gd name="connsiteY683" fmla="*/ 295904 h 512159"/>
                <a:gd name="connsiteX684" fmla="*/ 135369 w 264461"/>
                <a:gd name="connsiteY684" fmla="*/ 295494 h 512159"/>
                <a:gd name="connsiteX685" fmla="*/ 125930 w 264461"/>
                <a:gd name="connsiteY685" fmla="*/ 295408 h 512159"/>
                <a:gd name="connsiteX686" fmla="*/ 122815 w 264461"/>
                <a:gd name="connsiteY686" fmla="*/ 296170 h 512159"/>
                <a:gd name="connsiteX687" fmla="*/ 119929 w 264461"/>
                <a:gd name="connsiteY687" fmla="*/ 298704 h 512159"/>
                <a:gd name="connsiteX688" fmla="*/ 118300 w 264461"/>
                <a:gd name="connsiteY688" fmla="*/ 299485 h 512159"/>
                <a:gd name="connsiteX689" fmla="*/ 116586 w 264461"/>
                <a:gd name="connsiteY689" fmla="*/ 299771 h 512159"/>
                <a:gd name="connsiteX690" fmla="*/ 115024 w 264461"/>
                <a:gd name="connsiteY690" fmla="*/ 301028 h 512159"/>
                <a:gd name="connsiteX691" fmla="*/ 113500 w 264461"/>
                <a:gd name="connsiteY691" fmla="*/ 302771 h 512159"/>
                <a:gd name="connsiteX692" fmla="*/ 111909 w 264461"/>
                <a:gd name="connsiteY692" fmla="*/ 303895 h 512159"/>
                <a:gd name="connsiteX693" fmla="*/ 108756 w 264461"/>
                <a:gd name="connsiteY693" fmla="*/ 303600 h 512159"/>
                <a:gd name="connsiteX694" fmla="*/ 107232 w 264461"/>
                <a:gd name="connsiteY694" fmla="*/ 303971 h 512159"/>
                <a:gd name="connsiteX695" fmla="*/ 106137 w 264461"/>
                <a:gd name="connsiteY695" fmla="*/ 302962 h 512159"/>
                <a:gd name="connsiteX696" fmla="*/ 105213 w 264461"/>
                <a:gd name="connsiteY696" fmla="*/ 301295 h 512159"/>
                <a:gd name="connsiteX697" fmla="*/ 104013 w 264461"/>
                <a:gd name="connsiteY697" fmla="*/ 300847 h 512159"/>
                <a:gd name="connsiteX698" fmla="*/ 102670 w 264461"/>
                <a:gd name="connsiteY698" fmla="*/ 301362 h 512159"/>
                <a:gd name="connsiteX699" fmla="*/ 99831 w 264461"/>
                <a:gd name="connsiteY699" fmla="*/ 303609 h 512159"/>
                <a:gd name="connsiteX700" fmla="*/ 96955 w 264461"/>
                <a:gd name="connsiteY700" fmla="*/ 304933 h 512159"/>
                <a:gd name="connsiteX701" fmla="*/ 93478 w 264461"/>
                <a:gd name="connsiteY701" fmla="*/ 303514 h 512159"/>
                <a:gd name="connsiteX702" fmla="*/ 88916 w 264461"/>
                <a:gd name="connsiteY702" fmla="*/ 300866 h 512159"/>
                <a:gd name="connsiteX703" fmla="*/ 88021 w 264461"/>
                <a:gd name="connsiteY703" fmla="*/ 301838 h 512159"/>
                <a:gd name="connsiteX704" fmla="*/ 87011 w 264461"/>
                <a:gd name="connsiteY704" fmla="*/ 304295 h 512159"/>
                <a:gd name="connsiteX705" fmla="*/ 86430 w 264461"/>
                <a:gd name="connsiteY705" fmla="*/ 308115 h 512159"/>
                <a:gd name="connsiteX706" fmla="*/ 83191 w 264461"/>
                <a:gd name="connsiteY706" fmla="*/ 304790 h 512159"/>
                <a:gd name="connsiteX707" fmla="*/ 80438 w 264461"/>
                <a:gd name="connsiteY707" fmla="*/ 300342 h 512159"/>
                <a:gd name="connsiteX708" fmla="*/ 79505 w 264461"/>
                <a:gd name="connsiteY708" fmla="*/ 297542 h 512159"/>
                <a:gd name="connsiteX709" fmla="*/ 79438 w 264461"/>
                <a:gd name="connsiteY709" fmla="*/ 294380 h 512159"/>
                <a:gd name="connsiteX710" fmla="*/ 80934 w 264461"/>
                <a:gd name="connsiteY710" fmla="*/ 293151 h 512159"/>
                <a:gd name="connsiteX711" fmla="*/ 82563 w 264461"/>
                <a:gd name="connsiteY711" fmla="*/ 294275 h 512159"/>
                <a:gd name="connsiteX712" fmla="*/ 84982 w 264461"/>
                <a:gd name="connsiteY712" fmla="*/ 286760 h 512159"/>
                <a:gd name="connsiteX713" fmla="*/ 89801 w 264461"/>
                <a:gd name="connsiteY713" fmla="*/ 276930 h 512159"/>
                <a:gd name="connsiteX714" fmla="*/ 91507 w 264461"/>
                <a:gd name="connsiteY714" fmla="*/ 274044 h 512159"/>
                <a:gd name="connsiteX715" fmla="*/ 92697 w 264461"/>
                <a:gd name="connsiteY715" fmla="*/ 270262 h 512159"/>
                <a:gd name="connsiteX716" fmla="*/ 92497 w 264461"/>
                <a:gd name="connsiteY716" fmla="*/ 267786 h 512159"/>
                <a:gd name="connsiteX717" fmla="*/ 91440 w 264461"/>
                <a:gd name="connsiteY717" fmla="*/ 265690 h 512159"/>
                <a:gd name="connsiteX718" fmla="*/ 86954 w 264461"/>
                <a:gd name="connsiteY718" fmla="*/ 260928 h 512159"/>
                <a:gd name="connsiteX719" fmla="*/ 87011 w 264461"/>
                <a:gd name="connsiteY719" fmla="*/ 257032 h 512159"/>
                <a:gd name="connsiteX720" fmla="*/ 87487 w 264461"/>
                <a:gd name="connsiteY720" fmla="*/ 252632 h 512159"/>
                <a:gd name="connsiteX721" fmla="*/ 88706 w 264461"/>
                <a:gd name="connsiteY721" fmla="*/ 249984 h 512159"/>
                <a:gd name="connsiteX722" fmla="*/ 89220 w 264461"/>
                <a:gd name="connsiteY722" fmla="*/ 249479 h 512159"/>
                <a:gd name="connsiteX723" fmla="*/ 95174 w 264461"/>
                <a:gd name="connsiteY723" fmla="*/ 249546 h 512159"/>
                <a:gd name="connsiteX724" fmla="*/ 92850 w 264461"/>
                <a:gd name="connsiteY724" fmla="*/ 248174 h 512159"/>
                <a:gd name="connsiteX725" fmla="*/ 88220 w 264461"/>
                <a:gd name="connsiteY725" fmla="*/ 244183 h 512159"/>
                <a:gd name="connsiteX726" fmla="*/ 88306 w 264461"/>
                <a:gd name="connsiteY726" fmla="*/ 242764 h 512159"/>
                <a:gd name="connsiteX727" fmla="*/ 89392 w 264461"/>
                <a:gd name="connsiteY727" fmla="*/ 239058 h 512159"/>
                <a:gd name="connsiteX728" fmla="*/ 88887 w 264461"/>
                <a:gd name="connsiteY728" fmla="*/ 239430 h 512159"/>
                <a:gd name="connsiteX729" fmla="*/ 87897 w 264461"/>
                <a:gd name="connsiteY729" fmla="*/ 241145 h 512159"/>
                <a:gd name="connsiteX730" fmla="*/ 86001 w 264461"/>
                <a:gd name="connsiteY730" fmla="*/ 245288 h 512159"/>
                <a:gd name="connsiteX731" fmla="*/ 84849 w 264461"/>
                <a:gd name="connsiteY731" fmla="*/ 246250 h 512159"/>
                <a:gd name="connsiteX732" fmla="*/ 81572 w 264461"/>
                <a:gd name="connsiteY732" fmla="*/ 247231 h 512159"/>
                <a:gd name="connsiteX733" fmla="*/ 80972 w 264461"/>
                <a:gd name="connsiteY733" fmla="*/ 249260 h 512159"/>
                <a:gd name="connsiteX734" fmla="*/ 80448 w 264461"/>
                <a:gd name="connsiteY734" fmla="*/ 249793 h 512159"/>
                <a:gd name="connsiteX735" fmla="*/ 78819 w 264461"/>
                <a:gd name="connsiteY735" fmla="*/ 250022 h 512159"/>
                <a:gd name="connsiteX736" fmla="*/ 78314 w 264461"/>
                <a:gd name="connsiteY736" fmla="*/ 251917 h 512159"/>
                <a:gd name="connsiteX737" fmla="*/ 77953 w 264461"/>
                <a:gd name="connsiteY737" fmla="*/ 252041 h 512159"/>
                <a:gd name="connsiteX738" fmla="*/ 77486 w 264461"/>
                <a:gd name="connsiteY738" fmla="*/ 250003 h 512159"/>
                <a:gd name="connsiteX739" fmla="*/ 77438 w 264461"/>
                <a:gd name="connsiteY739" fmla="*/ 246612 h 512159"/>
                <a:gd name="connsiteX740" fmla="*/ 78086 w 264461"/>
                <a:gd name="connsiteY740" fmla="*/ 243487 h 512159"/>
                <a:gd name="connsiteX741" fmla="*/ 79324 w 264461"/>
                <a:gd name="connsiteY741" fmla="*/ 241040 h 512159"/>
                <a:gd name="connsiteX742" fmla="*/ 84125 w 264461"/>
                <a:gd name="connsiteY742" fmla="*/ 235468 h 512159"/>
                <a:gd name="connsiteX743" fmla="*/ 81791 w 264461"/>
                <a:gd name="connsiteY743" fmla="*/ 237192 h 512159"/>
                <a:gd name="connsiteX744" fmla="*/ 76495 w 264461"/>
                <a:gd name="connsiteY744" fmla="*/ 242345 h 512159"/>
                <a:gd name="connsiteX745" fmla="*/ 73790 w 264461"/>
                <a:gd name="connsiteY745" fmla="*/ 245726 h 512159"/>
                <a:gd name="connsiteX746" fmla="*/ 73066 w 264461"/>
                <a:gd name="connsiteY746" fmla="*/ 246869 h 512159"/>
                <a:gd name="connsiteX747" fmla="*/ 72847 w 264461"/>
                <a:gd name="connsiteY747" fmla="*/ 247831 h 512159"/>
                <a:gd name="connsiteX748" fmla="*/ 72857 w 264461"/>
                <a:gd name="connsiteY748" fmla="*/ 248936 h 512159"/>
                <a:gd name="connsiteX749" fmla="*/ 74066 w 264461"/>
                <a:gd name="connsiteY749" fmla="*/ 254851 h 512159"/>
                <a:gd name="connsiteX750" fmla="*/ 73714 w 264461"/>
                <a:gd name="connsiteY750" fmla="*/ 257585 h 512159"/>
                <a:gd name="connsiteX751" fmla="*/ 69151 w 264461"/>
                <a:gd name="connsiteY751" fmla="*/ 275539 h 512159"/>
                <a:gd name="connsiteX752" fmla="*/ 68284 w 264461"/>
                <a:gd name="connsiteY752" fmla="*/ 277330 h 512159"/>
                <a:gd name="connsiteX753" fmla="*/ 67494 w 264461"/>
                <a:gd name="connsiteY753" fmla="*/ 278263 h 512159"/>
                <a:gd name="connsiteX754" fmla="*/ 66742 w 264461"/>
                <a:gd name="connsiteY754" fmla="*/ 278482 h 512159"/>
                <a:gd name="connsiteX755" fmla="*/ 64494 w 264461"/>
                <a:gd name="connsiteY755" fmla="*/ 278139 h 512159"/>
                <a:gd name="connsiteX756" fmla="*/ 63494 w 264461"/>
                <a:gd name="connsiteY756" fmla="*/ 276796 h 512159"/>
                <a:gd name="connsiteX757" fmla="*/ 63503 w 264461"/>
                <a:gd name="connsiteY757" fmla="*/ 275282 h 512159"/>
                <a:gd name="connsiteX758" fmla="*/ 63922 w 264461"/>
                <a:gd name="connsiteY758" fmla="*/ 273006 h 512159"/>
                <a:gd name="connsiteX759" fmla="*/ 65817 w 264461"/>
                <a:gd name="connsiteY759" fmla="*/ 264500 h 512159"/>
                <a:gd name="connsiteX760" fmla="*/ 66637 w 264461"/>
                <a:gd name="connsiteY760" fmla="*/ 262128 h 512159"/>
                <a:gd name="connsiteX761" fmla="*/ 67856 w 264461"/>
                <a:gd name="connsiteY761" fmla="*/ 259918 h 512159"/>
                <a:gd name="connsiteX762" fmla="*/ 70542 w 264461"/>
                <a:gd name="connsiteY762" fmla="*/ 256051 h 512159"/>
                <a:gd name="connsiteX763" fmla="*/ 70475 w 264461"/>
                <a:gd name="connsiteY763" fmla="*/ 255794 h 512159"/>
                <a:gd name="connsiteX764" fmla="*/ 68685 w 264461"/>
                <a:gd name="connsiteY764" fmla="*/ 256556 h 512159"/>
                <a:gd name="connsiteX765" fmla="*/ 67923 w 264461"/>
                <a:gd name="connsiteY765" fmla="*/ 256308 h 512159"/>
                <a:gd name="connsiteX766" fmla="*/ 67370 w 264461"/>
                <a:gd name="connsiteY766" fmla="*/ 255537 h 512159"/>
                <a:gd name="connsiteX767" fmla="*/ 67723 w 264461"/>
                <a:gd name="connsiteY767" fmla="*/ 244002 h 512159"/>
                <a:gd name="connsiteX768" fmla="*/ 69180 w 264461"/>
                <a:gd name="connsiteY768" fmla="*/ 240192 h 512159"/>
                <a:gd name="connsiteX769" fmla="*/ 69723 w 264461"/>
                <a:gd name="connsiteY769" fmla="*/ 234639 h 512159"/>
                <a:gd name="connsiteX770" fmla="*/ 70980 w 264461"/>
                <a:gd name="connsiteY770" fmla="*/ 229867 h 512159"/>
                <a:gd name="connsiteX771" fmla="*/ 72437 w 264461"/>
                <a:gd name="connsiteY771" fmla="*/ 226381 h 512159"/>
                <a:gd name="connsiteX772" fmla="*/ 73552 w 264461"/>
                <a:gd name="connsiteY772" fmla="*/ 221913 h 512159"/>
                <a:gd name="connsiteX773" fmla="*/ 75219 w 264461"/>
                <a:gd name="connsiteY773" fmla="*/ 219923 h 512159"/>
                <a:gd name="connsiteX774" fmla="*/ 75667 w 264461"/>
                <a:gd name="connsiteY774" fmla="*/ 216875 h 512159"/>
                <a:gd name="connsiteX775" fmla="*/ 77543 w 264461"/>
                <a:gd name="connsiteY775" fmla="*/ 213570 h 512159"/>
                <a:gd name="connsiteX776" fmla="*/ 78991 w 264461"/>
                <a:gd name="connsiteY776" fmla="*/ 210112 h 512159"/>
                <a:gd name="connsiteX777" fmla="*/ 78210 w 264461"/>
                <a:gd name="connsiteY777" fmla="*/ 210455 h 512159"/>
                <a:gd name="connsiteX778" fmla="*/ 68942 w 264461"/>
                <a:gd name="connsiteY778" fmla="*/ 219446 h 512159"/>
                <a:gd name="connsiteX779" fmla="*/ 66580 w 264461"/>
                <a:gd name="connsiteY779" fmla="*/ 221075 h 512159"/>
                <a:gd name="connsiteX780" fmla="*/ 63360 w 264461"/>
                <a:gd name="connsiteY780" fmla="*/ 220637 h 512159"/>
                <a:gd name="connsiteX781" fmla="*/ 60903 w 264461"/>
                <a:gd name="connsiteY781" fmla="*/ 219628 h 512159"/>
                <a:gd name="connsiteX782" fmla="*/ 58979 w 264461"/>
                <a:gd name="connsiteY782" fmla="*/ 217503 h 512159"/>
                <a:gd name="connsiteX783" fmla="*/ 58121 w 264461"/>
                <a:gd name="connsiteY783" fmla="*/ 213417 h 512159"/>
                <a:gd name="connsiteX784" fmla="*/ 55750 w 264461"/>
                <a:gd name="connsiteY784" fmla="*/ 213312 h 512159"/>
                <a:gd name="connsiteX785" fmla="*/ 53721 w 264461"/>
                <a:gd name="connsiteY785" fmla="*/ 212608 h 512159"/>
                <a:gd name="connsiteX786" fmla="*/ 53740 w 264461"/>
                <a:gd name="connsiteY786" fmla="*/ 212055 h 512159"/>
                <a:gd name="connsiteX787" fmla="*/ 56359 w 264461"/>
                <a:gd name="connsiteY787" fmla="*/ 209826 h 512159"/>
                <a:gd name="connsiteX788" fmla="*/ 60560 w 264461"/>
                <a:gd name="connsiteY788" fmla="*/ 209064 h 512159"/>
                <a:gd name="connsiteX789" fmla="*/ 64494 w 264461"/>
                <a:gd name="connsiteY789" fmla="*/ 205483 h 512159"/>
                <a:gd name="connsiteX790" fmla="*/ 60998 w 264461"/>
                <a:gd name="connsiteY790" fmla="*/ 203063 h 512159"/>
                <a:gd name="connsiteX791" fmla="*/ 61293 w 264461"/>
                <a:gd name="connsiteY791" fmla="*/ 202292 h 512159"/>
                <a:gd name="connsiteX792" fmla="*/ 64341 w 264461"/>
                <a:gd name="connsiteY792" fmla="*/ 200225 h 512159"/>
                <a:gd name="connsiteX793" fmla="*/ 68218 w 264461"/>
                <a:gd name="connsiteY793" fmla="*/ 193281 h 512159"/>
                <a:gd name="connsiteX794" fmla="*/ 68999 w 264461"/>
                <a:gd name="connsiteY794" fmla="*/ 186871 h 512159"/>
                <a:gd name="connsiteX795" fmla="*/ 67151 w 264461"/>
                <a:gd name="connsiteY795" fmla="*/ 183852 h 512159"/>
                <a:gd name="connsiteX796" fmla="*/ 66484 w 264461"/>
                <a:gd name="connsiteY796" fmla="*/ 181870 h 512159"/>
                <a:gd name="connsiteX797" fmla="*/ 62779 w 264461"/>
                <a:gd name="connsiteY797" fmla="*/ 179661 h 512159"/>
                <a:gd name="connsiteX798" fmla="*/ 62160 w 264461"/>
                <a:gd name="connsiteY798" fmla="*/ 176832 h 512159"/>
                <a:gd name="connsiteX799" fmla="*/ 62589 w 264461"/>
                <a:gd name="connsiteY799" fmla="*/ 175241 h 512159"/>
                <a:gd name="connsiteX800" fmla="*/ 63798 w 264461"/>
                <a:gd name="connsiteY800" fmla="*/ 173689 h 512159"/>
                <a:gd name="connsiteX801" fmla="*/ 65618 w 264461"/>
                <a:gd name="connsiteY801" fmla="*/ 172488 h 512159"/>
                <a:gd name="connsiteX802" fmla="*/ 68475 w 264461"/>
                <a:gd name="connsiteY802" fmla="*/ 171326 h 512159"/>
                <a:gd name="connsiteX803" fmla="*/ 65884 w 264461"/>
                <a:gd name="connsiteY803" fmla="*/ 170088 h 512159"/>
                <a:gd name="connsiteX804" fmla="*/ 64913 w 264461"/>
                <a:gd name="connsiteY804" fmla="*/ 168621 h 512159"/>
                <a:gd name="connsiteX805" fmla="*/ 64179 w 264461"/>
                <a:gd name="connsiteY805" fmla="*/ 166497 h 512159"/>
                <a:gd name="connsiteX806" fmla="*/ 64113 w 264461"/>
                <a:gd name="connsiteY806" fmla="*/ 165268 h 512159"/>
                <a:gd name="connsiteX807" fmla="*/ 65456 w 264461"/>
                <a:gd name="connsiteY807" fmla="*/ 159782 h 512159"/>
                <a:gd name="connsiteX808" fmla="*/ 66237 w 264461"/>
                <a:gd name="connsiteY808" fmla="*/ 157515 h 512159"/>
                <a:gd name="connsiteX809" fmla="*/ 67770 w 264461"/>
                <a:gd name="connsiteY809" fmla="*/ 154619 h 512159"/>
                <a:gd name="connsiteX810" fmla="*/ 74704 w 264461"/>
                <a:gd name="connsiteY810" fmla="*/ 154781 h 512159"/>
                <a:gd name="connsiteX811" fmla="*/ 75505 w 264461"/>
                <a:gd name="connsiteY811" fmla="*/ 153505 h 512159"/>
                <a:gd name="connsiteX812" fmla="*/ 76295 w 264461"/>
                <a:gd name="connsiteY812" fmla="*/ 153457 h 512159"/>
                <a:gd name="connsiteX813" fmla="*/ 79838 w 264461"/>
                <a:gd name="connsiteY813" fmla="*/ 154629 h 512159"/>
                <a:gd name="connsiteX814" fmla="*/ 79315 w 264461"/>
                <a:gd name="connsiteY814" fmla="*/ 153371 h 512159"/>
                <a:gd name="connsiteX815" fmla="*/ 73514 w 264461"/>
                <a:gd name="connsiteY815" fmla="*/ 146466 h 512159"/>
                <a:gd name="connsiteX816" fmla="*/ 72990 w 264461"/>
                <a:gd name="connsiteY816" fmla="*/ 145152 h 512159"/>
                <a:gd name="connsiteX817" fmla="*/ 74647 w 264461"/>
                <a:gd name="connsiteY817" fmla="*/ 141418 h 512159"/>
                <a:gd name="connsiteX818" fmla="*/ 74762 w 264461"/>
                <a:gd name="connsiteY818" fmla="*/ 139751 h 512159"/>
                <a:gd name="connsiteX819" fmla="*/ 74523 w 264461"/>
                <a:gd name="connsiteY819" fmla="*/ 137970 h 512159"/>
                <a:gd name="connsiteX820" fmla="*/ 75000 w 264461"/>
                <a:gd name="connsiteY820" fmla="*/ 136608 h 512159"/>
                <a:gd name="connsiteX821" fmla="*/ 76838 w 264461"/>
                <a:gd name="connsiteY821" fmla="*/ 135969 h 512159"/>
                <a:gd name="connsiteX822" fmla="*/ 82439 w 264461"/>
                <a:gd name="connsiteY822" fmla="*/ 136027 h 512159"/>
                <a:gd name="connsiteX823" fmla="*/ 83820 w 264461"/>
                <a:gd name="connsiteY823" fmla="*/ 135398 h 512159"/>
                <a:gd name="connsiteX824" fmla="*/ 83191 w 264461"/>
                <a:gd name="connsiteY824" fmla="*/ 133588 h 512159"/>
                <a:gd name="connsiteX825" fmla="*/ 81886 w 264461"/>
                <a:gd name="connsiteY825" fmla="*/ 131207 h 512159"/>
                <a:gd name="connsiteX826" fmla="*/ 81629 w 264461"/>
                <a:gd name="connsiteY826" fmla="*/ 129207 h 512159"/>
                <a:gd name="connsiteX827" fmla="*/ 81934 w 264461"/>
                <a:gd name="connsiteY827" fmla="*/ 127435 h 512159"/>
                <a:gd name="connsiteX828" fmla="*/ 82001 w 264461"/>
                <a:gd name="connsiteY828" fmla="*/ 123863 h 512159"/>
                <a:gd name="connsiteX829" fmla="*/ 82258 w 264461"/>
                <a:gd name="connsiteY829" fmla="*/ 122282 h 512159"/>
                <a:gd name="connsiteX830" fmla="*/ 83591 w 264461"/>
                <a:gd name="connsiteY830" fmla="*/ 119910 h 512159"/>
                <a:gd name="connsiteX831" fmla="*/ 84687 w 264461"/>
                <a:gd name="connsiteY831" fmla="*/ 119206 h 512159"/>
                <a:gd name="connsiteX832" fmla="*/ 86049 w 264461"/>
                <a:gd name="connsiteY832" fmla="*/ 118796 h 512159"/>
                <a:gd name="connsiteX833" fmla="*/ 89125 w 264461"/>
                <a:gd name="connsiteY833" fmla="*/ 119586 h 512159"/>
                <a:gd name="connsiteX834" fmla="*/ 90297 w 264461"/>
                <a:gd name="connsiteY834" fmla="*/ 120539 h 512159"/>
                <a:gd name="connsiteX835" fmla="*/ 91649 w 264461"/>
                <a:gd name="connsiteY835" fmla="*/ 122796 h 512159"/>
                <a:gd name="connsiteX836" fmla="*/ 92640 w 264461"/>
                <a:gd name="connsiteY836" fmla="*/ 122615 h 512159"/>
                <a:gd name="connsiteX837" fmla="*/ 96469 w 264461"/>
                <a:gd name="connsiteY837" fmla="*/ 120158 h 512159"/>
                <a:gd name="connsiteX838" fmla="*/ 97622 w 264461"/>
                <a:gd name="connsiteY838" fmla="*/ 119805 h 512159"/>
                <a:gd name="connsiteX839" fmla="*/ 99193 w 264461"/>
                <a:gd name="connsiteY839" fmla="*/ 122654 h 512159"/>
                <a:gd name="connsiteX840" fmla="*/ 105737 w 264461"/>
                <a:gd name="connsiteY840" fmla="*/ 120387 h 512159"/>
                <a:gd name="connsiteX841" fmla="*/ 114528 w 264461"/>
                <a:gd name="connsiteY841" fmla="*/ 119377 h 512159"/>
                <a:gd name="connsiteX842" fmla="*/ 119815 w 264461"/>
                <a:gd name="connsiteY842" fmla="*/ 117881 h 512159"/>
                <a:gd name="connsiteX843" fmla="*/ 125378 w 264461"/>
                <a:gd name="connsiteY843" fmla="*/ 117338 h 512159"/>
                <a:gd name="connsiteX844" fmla="*/ 130568 w 264461"/>
                <a:gd name="connsiteY844" fmla="*/ 115634 h 512159"/>
                <a:gd name="connsiteX845" fmla="*/ 136074 w 264461"/>
                <a:gd name="connsiteY845" fmla="*/ 116415 h 512159"/>
                <a:gd name="connsiteX846" fmla="*/ 136265 w 264461"/>
                <a:gd name="connsiteY846" fmla="*/ 117405 h 512159"/>
                <a:gd name="connsiteX847" fmla="*/ 135979 w 264461"/>
                <a:gd name="connsiteY847" fmla="*/ 118777 h 512159"/>
                <a:gd name="connsiteX848" fmla="*/ 134626 w 264461"/>
                <a:gd name="connsiteY848" fmla="*/ 122482 h 512159"/>
                <a:gd name="connsiteX849" fmla="*/ 139455 w 264461"/>
                <a:gd name="connsiteY849" fmla="*/ 110890 h 512159"/>
                <a:gd name="connsiteX850" fmla="*/ 139198 w 264461"/>
                <a:gd name="connsiteY850" fmla="*/ 111042 h 512159"/>
                <a:gd name="connsiteX851" fmla="*/ 138217 w 264461"/>
                <a:gd name="connsiteY851" fmla="*/ 110099 h 512159"/>
                <a:gd name="connsiteX852" fmla="*/ 136617 w 264461"/>
                <a:gd name="connsiteY852" fmla="*/ 106718 h 512159"/>
                <a:gd name="connsiteX853" fmla="*/ 139141 w 264461"/>
                <a:gd name="connsiteY853" fmla="*/ 106042 h 512159"/>
                <a:gd name="connsiteX854" fmla="*/ 140332 w 264461"/>
                <a:gd name="connsiteY854" fmla="*/ 106461 h 512159"/>
                <a:gd name="connsiteX855" fmla="*/ 139884 w 264461"/>
                <a:gd name="connsiteY855" fmla="*/ 107899 h 512159"/>
                <a:gd name="connsiteX856" fmla="*/ 139455 w 264461"/>
                <a:gd name="connsiteY856" fmla="*/ 110890 h 512159"/>
                <a:gd name="connsiteX857" fmla="*/ 133150 w 264461"/>
                <a:gd name="connsiteY857" fmla="*/ 108185 h 512159"/>
                <a:gd name="connsiteX858" fmla="*/ 131616 w 264461"/>
                <a:gd name="connsiteY858" fmla="*/ 108871 h 512159"/>
                <a:gd name="connsiteX859" fmla="*/ 130102 w 264461"/>
                <a:gd name="connsiteY859" fmla="*/ 108823 h 512159"/>
                <a:gd name="connsiteX860" fmla="*/ 127740 w 264461"/>
                <a:gd name="connsiteY860" fmla="*/ 105842 h 512159"/>
                <a:gd name="connsiteX861" fmla="*/ 126844 w 264461"/>
                <a:gd name="connsiteY861" fmla="*/ 103670 h 512159"/>
                <a:gd name="connsiteX862" fmla="*/ 127006 w 264461"/>
                <a:gd name="connsiteY862" fmla="*/ 102232 h 512159"/>
                <a:gd name="connsiteX863" fmla="*/ 127997 w 264461"/>
                <a:gd name="connsiteY863" fmla="*/ 101746 h 512159"/>
                <a:gd name="connsiteX864" fmla="*/ 130283 w 264461"/>
                <a:gd name="connsiteY864" fmla="*/ 102451 h 512159"/>
                <a:gd name="connsiteX865" fmla="*/ 131464 w 264461"/>
                <a:gd name="connsiteY865" fmla="*/ 104937 h 512159"/>
                <a:gd name="connsiteX866" fmla="*/ 131616 w 264461"/>
                <a:gd name="connsiteY866" fmla="*/ 106547 h 512159"/>
                <a:gd name="connsiteX867" fmla="*/ 131893 w 264461"/>
                <a:gd name="connsiteY867" fmla="*/ 107175 h 512159"/>
                <a:gd name="connsiteX868" fmla="*/ 133312 w 264461"/>
                <a:gd name="connsiteY868" fmla="*/ 107813 h 512159"/>
                <a:gd name="connsiteX869" fmla="*/ 133150 w 264461"/>
                <a:gd name="connsiteY869" fmla="*/ 108185 h 512159"/>
                <a:gd name="connsiteX870" fmla="*/ 136026 w 264461"/>
                <a:gd name="connsiteY870" fmla="*/ 96021 h 512159"/>
                <a:gd name="connsiteX871" fmla="*/ 135664 w 264461"/>
                <a:gd name="connsiteY871" fmla="*/ 97298 h 512159"/>
                <a:gd name="connsiteX872" fmla="*/ 137693 w 264461"/>
                <a:gd name="connsiteY872" fmla="*/ 97269 h 512159"/>
                <a:gd name="connsiteX873" fmla="*/ 140636 w 264461"/>
                <a:gd name="connsiteY873" fmla="*/ 98355 h 512159"/>
                <a:gd name="connsiteX874" fmla="*/ 142418 w 264461"/>
                <a:gd name="connsiteY874" fmla="*/ 98488 h 512159"/>
                <a:gd name="connsiteX875" fmla="*/ 143904 w 264461"/>
                <a:gd name="connsiteY875" fmla="*/ 99841 h 512159"/>
                <a:gd name="connsiteX876" fmla="*/ 143084 w 264461"/>
                <a:gd name="connsiteY876" fmla="*/ 102365 h 512159"/>
                <a:gd name="connsiteX877" fmla="*/ 142199 w 264461"/>
                <a:gd name="connsiteY877" fmla="*/ 103079 h 512159"/>
                <a:gd name="connsiteX878" fmla="*/ 141198 w 264461"/>
                <a:gd name="connsiteY878" fmla="*/ 103222 h 512159"/>
                <a:gd name="connsiteX879" fmla="*/ 137693 w 264461"/>
                <a:gd name="connsiteY879" fmla="*/ 100698 h 512159"/>
                <a:gd name="connsiteX880" fmla="*/ 133102 w 264461"/>
                <a:gd name="connsiteY880" fmla="*/ 101746 h 512159"/>
                <a:gd name="connsiteX881" fmla="*/ 132188 w 264461"/>
                <a:gd name="connsiteY881" fmla="*/ 101422 h 512159"/>
                <a:gd name="connsiteX882" fmla="*/ 131588 w 264461"/>
                <a:gd name="connsiteY882" fmla="*/ 100727 h 512159"/>
                <a:gd name="connsiteX883" fmla="*/ 131340 w 264461"/>
                <a:gd name="connsiteY883" fmla="*/ 99860 h 512159"/>
                <a:gd name="connsiteX884" fmla="*/ 131340 w 264461"/>
                <a:gd name="connsiteY884" fmla="*/ 98088 h 512159"/>
                <a:gd name="connsiteX885" fmla="*/ 131093 w 264461"/>
                <a:gd name="connsiteY885" fmla="*/ 97565 h 512159"/>
                <a:gd name="connsiteX886" fmla="*/ 129426 w 264461"/>
                <a:gd name="connsiteY886" fmla="*/ 99241 h 512159"/>
                <a:gd name="connsiteX887" fmla="*/ 128702 w 264461"/>
                <a:gd name="connsiteY887" fmla="*/ 99041 h 512159"/>
                <a:gd name="connsiteX888" fmla="*/ 128292 w 264461"/>
                <a:gd name="connsiteY888" fmla="*/ 98241 h 512159"/>
                <a:gd name="connsiteX889" fmla="*/ 128111 w 264461"/>
                <a:gd name="connsiteY889" fmla="*/ 96584 h 512159"/>
                <a:gd name="connsiteX890" fmla="*/ 128292 w 264461"/>
                <a:gd name="connsiteY890" fmla="*/ 94193 h 512159"/>
                <a:gd name="connsiteX891" fmla="*/ 129273 w 264461"/>
                <a:gd name="connsiteY891" fmla="*/ 90773 h 512159"/>
                <a:gd name="connsiteX892" fmla="*/ 130921 w 264461"/>
                <a:gd name="connsiteY892" fmla="*/ 90088 h 512159"/>
                <a:gd name="connsiteX893" fmla="*/ 133378 w 264461"/>
                <a:gd name="connsiteY893" fmla="*/ 90488 h 512159"/>
                <a:gd name="connsiteX894" fmla="*/ 136198 w 264461"/>
                <a:gd name="connsiteY894" fmla="*/ 92421 h 512159"/>
                <a:gd name="connsiteX895" fmla="*/ 137046 w 264461"/>
                <a:gd name="connsiteY895" fmla="*/ 93612 h 512159"/>
                <a:gd name="connsiteX896" fmla="*/ 137027 w 264461"/>
                <a:gd name="connsiteY896" fmla="*/ 94564 h 512159"/>
                <a:gd name="connsiteX897" fmla="*/ 136026 w 264461"/>
                <a:gd name="connsiteY897" fmla="*/ 96021 h 512159"/>
                <a:gd name="connsiteX898" fmla="*/ 149618 w 264461"/>
                <a:gd name="connsiteY898" fmla="*/ 85525 h 512159"/>
                <a:gd name="connsiteX899" fmla="*/ 146599 w 264461"/>
                <a:gd name="connsiteY899" fmla="*/ 85582 h 512159"/>
                <a:gd name="connsiteX900" fmla="*/ 148161 w 264461"/>
                <a:gd name="connsiteY900" fmla="*/ 82496 h 512159"/>
                <a:gd name="connsiteX901" fmla="*/ 149981 w 264461"/>
                <a:gd name="connsiteY901" fmla="*/ 81715 h 512159"/>
                <a:gd name="connsiteX902" fmla="*/ 153419 w 264461"/>
                <a:gd name="connsiteY902" fmla="*/ 82058 h 512159"/>
                <a:gd name="connsiteX903" fmla="*/ 152810 w 264461"/>
                <a:gd name="connsiteY903" fmla="*/ 83449 h 512159"/>
                <a:gd name="connsiteX904" fmla="*/ 149618 w 264461"/>
                <a:gd name="connsiteY904" fmla="*/ 85525 h 512159"/>
                <a:gd name="connsiteX905" fmla="*/ 144799 w 264461"/>
                <a:gd name="connsiteY905" fmla="*/ 87849 h 512159"/>
                <a:gd name="connsiteX906" fmla="*/ 142504 w 264461"/>
                <a:gd name="connsiteY906" fmla="*/ 89145 h 512159"/>
                <a:gd name="connsiteX907" fmla="*/ 141522 w 264461"/>
                <a:gd name="connsiteY907" fmla="*/ 88078 h 512159"/>
                <a:gd name="connsiteX908" fmla="*/ 141265 w 264461"/>
                <a:gd name="connsiteY908" fmla="*/ 84725 h 512159"/>
                <a:gd name="connsiteX909" fmla="*/ 138531 w 264461"/>
                <a:gd name="connsiteY909" fmla="*/ 83287 h 512159"/>
                <a:gd name="connsiteX910" fmla="*/ 137198 w 264461"/>
                <a:gd name="connsiteY910" fmla="*/ 82391 h 512159"/>
                <a:gd name="connsiteX911" fmla="*/ 136169 w 264461"/>
                <a:gd name="connsiteY911" fmla="*/ 80696 h 512159"/>
                <a:gd name="connsiteX912" fmla="*/ 136427 w 264461"/>
                <a:gd name="connsiteY912" fmla="*/ 80172 h 512159"/>
                <a:gd name="connsiteX913" fmla="*/ 138208 w 264461"/>
                <a:gd name="connsiteY913" fmla="*/ 79477 h 512159"/>
                <a:gd name="connsiteX914" fmla="*/ 141256 w 264461"/>
                <a:gd name="connsiteY914" fmla="*/ 82553 h 512159"/>
                <a:gd name="connsiteX915" fmla="*/ 142504 w 264461"/>
                <a:gd name="connsiteY915" fmla="*/ 85030 h 512159"/>
                <a:gd name="connsiteX916" fmla="*/ 144761 w 264461"/>
                <a:gd name="connsiteY916" fmla="*/ 85763 h 512159"/>
                <a:gd name="connsiteX917" fmla="*/ 145047 w 264461"/>
                <a:gd name="connsiteY917" fmla="*/ 86144 h 512159"/>
                <a:gd name="connsiteX918" fmla="*/ 144799 w 264461"/>
                <a:gd name="connsiteY918" fmla="*/ 87849 h 512159"/>
                <a:gd name="connsiteX919" fmla="*/ 182785 w 264461"/>
                <a:gd name="connsiteY919" fmla="*/ 16050 h 512159"/>
                <a:gd name="connsiteX920" fmla="*/ 183337 w 264461"/>
                <a:gd name="connsiteY920" fmla="*/ 19869 h 512159"/>
                <a:gd name="connsiteX921" fmla="*/ 184718 w 264461"/>
                <a:gd name="connsiteY921" fmla="*/ 18879 h 512159"/>
                <a:gd name="connsiteX922" fmla="*/ 186804 w 264461"/>
                <a:gd name="connsiteY922" fmla="*/ 22536 h 512159"/>
                <a:gd name="connsiteX923" fmla="*/ 187871 w 264461"/>
                <a:gd name="connsiteY923" fmla="*/ 22536 h 512159"/>
                <a:gd name="connsiteX924" fmla="*/ 189624 w 264461"/>
                <a:gd name="connsiteY924" fmla="*/ 21088 h 512159"/>
                <a:gd name="connsiteX925" fmla="*/ 189271 w 264461"/>
                <a:gd name="connsiteY925" fmla="*/ 24489 h 512159"/>
                <a:gd name="connsiteX926" fmla="*/ 187452 w 264461"/>
                <a:gd name="connsiteY926" fmla="*/ 33890 h 512159"/>
                <a:gd name="connsiteX927" fmla="*/ 186937 w 264461"/>
                <a:gd name="connsiteY927" fmla="*/ 35481 h 512159"/>
                <a:gd name="connsiteX928" fmla="*/ 186595 w 264461"/>
                <a:gd name="connsiteY928" fmla="*/ 38329 h 512159"/>
                <a:gd name="connsiteX929" fmla="*/ 186233 w 264461"/>
                <a:gd name="connsiteY929" fmla="*/ 38891 h 512159"/>
                <a:gd name="connsiteX930" fmla="*/ 185699 w 264461"/>
                <a:gd name="connsiteY930" fmla="*/ 44634 h 512159"/>
                <a:gd name="connsiteX931" fmla="*/ 184470 w 264461"/>
                <a:gd name="connsiteY931" fmla="*/ 46520 h 512159"/>
                <a:gd name="connsiteX932" fmla="*/ 183442 w 264461"/>
                <a:gd name="connsiteY932" fmla="*/ 51016 h 512159"/>
                <a:gd name="connsiteX933" fmla="*/ 183023 w 264461"/>
                <a:gd name="connsiteY933" fmla="*/ 51454 h 512159"/>
                <a:gd name="connsiteX934" fmla="*/ 181518 w 264461"/>
                <a:gd name="connsiteY934" fmla="*/ 49730 h 512159"/>
                <a:gd name="connsiteX935" fmla="*/ 183023 w 264461"/>
                <a:gd name="connsiteY935" fmla="*/ 42863 h 512159"/>
                <a:gd name="connsiteX936" fmla="*/ 183642 w 264461"/>
                <a:gd name="connsiteY936" fmla="*/ 38862 h 512159"/>
                <a:gd name="connsiteX937" fmla="*/ 183242 w 264461"/>
                <a:gd name="connsiteY937" fmla="*/ 36786 h 512159"/>
                <a:gd name="connsiteX938" fmla="*/ 182394 w 264461"/>
                <a:gd name="connsiteY938" fmla="*/ 34909 h 512159"/>
                <a:gd name="connsiteX939" fmla="*/ 180089 w 264461"/>
                <a:gd name="connsiteY939" fmla="*/ 34852 h 512159"/>
                <a:gd name="connsiteX940" fmla="*/ 178146 w 264461"/>
                <a:gd name="connsiteY940" fmla="*/ 35719 h 512159"/>
                <a:gd name="connsiteX941" fmla="*/ 177736 w 264461"/>
                <a:gd name="connsiteY941" fmla="*/ 34614 h 512159"/>
                <a:gd name="connsiteX942" fmla="*/ 177679 w 264461"/>
                <a:gd name="connsiteY942" fmla="*/ 33128 h 512159"/>
                <a:gd name="connsiteX943" fmla="*/ 177212 w 264461"/>
                <a:gd name="connsiteY943" fmla="*/ 32633 h 512159"/>
                <a:gd name="connsiteX944" fmla="*/ 174631 w 264461"/>
                <a:gd name="connsiteY944" fmla="*/ 32737 h 512159"/>
                <a:gd name="connsiteX945" fmla="*/ 173869 w 264461"/>
                <a:gd name="connsiteY945" fmla="*/ 32328 h 512159"/>
                <a:gd name="connsiteX946" fmla="*/ 173364 w 264461"/>
                <a:gd name="connsiteY946" fmla="*/ 30956 h 512159"/>
                <a:gd name="connsiteX947" fmla="*/ 173269 w 264461"/>
                <a:gd name="connsiteY947" fmla="*/ 29861 h 512159"/>
                <a:gd name="connsiteX948" fmla="*/ 175603 w 264461"/>
                <a:gd name="connsiteY948" fmla="*/ 29004 h 512159"/>
                <a:gd name="connsiteX949" fmla="*/ 177794 w 264461"/>
                <a:gd name="connsiteY949" fmla="*/ 29328 h 512159"/>
                <a:gd name="connsiteX950" fmla="*/ 180994 w 264461"/>
                <a:gd name="connsiteY950" fmla="*/ 27146 h 512159"/>
                <a:gd name="connsiteX951" fmla="*/ 178994 w 264461"/>
                <a:gd name="connsiteY951" fmla="*/ 19822 h 512159"/>
                <a:gd name="connsiteX952" fmla="*/ 176336 w 264461"/>
                <a:gd name="connsiteY952" fmla="*/ 19126 h 512159"/>
                <a:gd name="connsiteX953" fmla="*/ 175726 w 264461"/>
                <a:gd name="connsiteY953" fmla="*/ 18412 h 512159"/>
                <a:gd name="connsiteX954" fmla="*/ 176241 w 264461"/>
                <a:gd name="connsiteY954" fmla="*/ 17164 h 512159"/>
                <a:gd name="connsiteX955" fmla="*/ 177698 w 264461"/>
                <a:gd name="connsiteY955" fmla="*/ 16488 h 512159"/>
                <a:gd name="connsiteX956" fmla="*/ 179937 w 264461"/>
                <a:gd name="connsiteY956" fmla="*/ 12744 h 512159"/>
                <a:gd name="connsiteX957" fmla="*/ 181280 w 264461"/>
                <a:gd name="connsiteY957" fmla="*/ 12154 h 512159"/>
                <a:gd name="connsiteX958" fmla="*/ 182947 w 264461"/>
                <a:gd name="connsiteY958" fmla="*/ 12259 h 512159"/>
                <a:gd name="connsiteX959" fmla="*/ 182785 w 264461"/>
                <a:gd name="connsiteY959" fmla="*/ 16050 h 512159"/>
                <a:gd name="connsiteX960" fmla="*/ 189890 w 264461"/>
                <a:gd name="connsiteY960" fmla="*/ 17336 h 512159"/>
                <a:gd name="connsiteX961" fmla="*/ 189214 w 264461"/>
                <a:gd name="connsiteY961" fmla="*/ 17955 h 512159"/>
                <a:gd name="connsiteX962" fmla="*/ 186604 w 264461"/>
                <a:gd name="connsiteY962" fmla="*/ 12440 h 512159"/>
                <a:gd name="connsiteX963" fmla="*/ 188538 w 264461"/>
                <a:gd name="connsiteY963" fmla="*/ 6106 h 512159"/>
                <a:gd name="connsiteX964" fmla="*/ 190881 w 264461"/>
                <a:gd name="connsiteY964" fmla="*/ 6306 h 512159"/>
                <a:gd name="connsiteX965" fmla="*/ 191252 w 264461"/>
                <a:gd name="connsiteY965" fmla="*/ 7963 h 512159"/>
                <a:gd name="connsiteX966" fmla="*/ 191024 w 264461"/>
                <a:gd name="connsiteY966" fmla="*/ 9497 h 512159"/>
                <a:gd name="connsiteX967" fmla="*/ 189833 w 264461"/>
                <a:gd name="connsiteY967" fmla="*/ 9630 h 512159"/>
                <a:gd name="connsiteX968" fmla="*/ 189728 w 264461"/>
                <a:gd name="connsiteY968" fmla="*/ 10096 h 512159"/>
                <a:gd name="connsiteX969" fmla="*/ 190100 w 264461"/>
                <a:gd name="connsiteY969" fmla="*/ 13040 h 512159"/>
                <a:gd name="connsiteX970" fmla="*/ 190119 w 264461"/>
                <a:gd name="connsiteY970" fmla="*/ 16450 h 512159"/>
                <a:gd name="connsiteX971" fmla="*/ 189890 w 264461"/>
                <a:gd name="connsiteY971" fmla="*/ 17336 h 512159"/>
                <a:gd name="connsiteX972" fmla="*/ 197053 w 264461"/>
                <a:gd name="connsiteY972" fmla="*/ 1086 h 512159"/>
                <a:gd name="connsiteX973" fmla="*/ 197053 w 264461"/>
                <a:gd name="connsiteY973" fmla="*/ 1715 h 512159"/>
                <a:gd name="connsiteX974" fmla="*/ 195662 w 264461"/>
                <a:gd name="connsiteY974" fmla="*/ 6325 h 512159"/>
                <a:gd name="connsiteX975" fmla="*/ 195681 w 264461"/>
                <a:gd name="connsiteY975" fmla="*/ 8087 h 512159"/>
                <a:gd name="connsiteX976" fmla="*/ 193443 w 264461"/>
                <a:gd name="connsiteY976" fmla="*/ 7915 h 512159"/>
                <a:gd name="connsiteX977" fmla="*/ 193091 w 264461"/>
                <a:gd name="connsiteY977" fmla="*/ 7353 h 512159"/>
                <a:gd name="connsiteX978" fmla="*/ 192672 w 264461"/>
                <a:gd name="connsiteY978" fmla="*/ 4715 h 512159"/>
                <a:gd name="connsiteX979" fmla="*/ 192957 w 264461"/>
                <a:gd name="connsiteY979" fmla="*/ 1905 h 512159"/>
                <a:gd name="connsiteX980" fmla="*/ 193272 w 264461"/>
                <a:gd name="connsiteY980" fmla="*/ 1172 h 512159"/>
                <a:gd name="connsiteX981" fmla="*/ 193919 w 264461"/>
                <a:gd name="connsiteY981" fmla="*/ 876 h 512159"/>
                <a:gd name="connsiteX982" fmla="*/ 194624 w 264461"/>
                <a:gd name="connsiteY982" fmla="*/ 1429 h 512159"/>
                <a:gd name="connsiteX983" fmla="*/ 195739 w 264461"/>
                <a:gd name="connsiteY983" fmla="*/ 0 h 512159"/>
                <a:gd name="connsiteX984" fmla="*/ 196320 w 264461"/>
                <a:gd name="connsiteY984" fmla="*/ 29 h 512159"/>
                <a:gd name="connsiteX985" fmla="*/ 197053 w 264461"/>
                <a:gd name="connsiteY985" fmla="*/ 1086 h 51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</a:cxnLst>
              <a:rect l="l" t="t" r="r" b="b"/>
              <a:pathLst>
                <a:path w="264461" h="512159">
                  <a:moveTo>
                    <a:pt x="189271" y="484203"/>
                  </a:moveTo>
                  <a:lnTo>
                    <a:pt x="187033" y="485651"/>
                  </a:lnTo>
                  <a:lnTo>
                    <a:pt x="186328" y="487356"/>
                  </a:lnTo>
                  <a:lnTo>
                    <a:pt x="185785" y="488023"/>
                  </a:lnTo>
                  <a:lnTo>
                    <a:pt x="184309" y="488461"/>
                  </a:lnTo>
                  <a:lnTo>
                    <a:pt x="182842" y="488470"/>
                  </a:lnTo>
                  <a:lnTo>
                    <a:pt x="177260" y="485061"/>
                  </a:lnTo>
                  <a:lnTo>
                    <a:pt x="175974" y="485213"/>
                  </a:lnTo>
                  <a:lnTo>
                    <a:pt x="177251" y="483651"/>
                  </a:lnTo>
                  <a:lnTo>
                    <a:pt x="180718" y="482375"/>
                  </a:lnTo>
                  <a:lnTo>
                    <a:pt x="182670" y="480689"/>
                  </a:lnTo>
                  <a:lnTo>
                    <a:pt x="187176" y="482317"/>
                  </a:lnTo>
                  <a:lnTo>
                    <a:pt x="189271" y="484203"/>
                  </a:lnTo>
                  <a:close/>
                  <a:moveTo>
                    <a:pt x="105565" y="370189"/>
                  </a:moveTo>
                  <a:lnTo>
                    <a:pt x="106689" y="371018"/>
                  </a:lnTo>
                  <a:lnTo>
                    <a:pt x="109509" y="370884"/>
                  </a:lnTo>
                  <a:lnTo>
                    <a:pt x="108575" y="372732"/>
                  </a:lnTo>
                  <a:lnTo>
                    <a:pt x="105470" y="374790"/>
                  </a:lnTo>
                  <a:lnTo>
                    <a:pt x="103384" y="376819"/>
                  </a:lnTo>
                  <a:lnTo>
                    <a:pt x="100860" y="378514"/>
                  </a:lnTo>
                  <a:lnTo>
                    <a:pt x="99641" y="376561"/>
                  </a:lnTo>
                  <a:lnTo>
                    <a:pt x="98222" y="376637"/>
                  </a:lnTo>
                  <a:lnTo>
                    <a:pt x="96050" y="372885"/>
                  </a:lnTo>
                  <a:lnTo>
                    <a:pt x="95660" y="367265"/>
                  </a:lnTo>
                  <a:lnTo>
                    <a:pt x="98498" y="365798"/>
                  </a:lnTo>
                  <a:lnTo>
                    <a:pt x="102422" y="365884"/>
                  </a:lnTo>
                  <a:lnTo>
                    <a:pt x="105565" y="370189"/>
                  </a:lnTo>
                  <a:close/>
                  <a:moveTo>
                    <a:pt x="47339" y="282445"/>
                  </a:moveTo>
                  <a:lnTo>
                    <a:pt x="51111" y="283616"/>
                  </a:lnTo>
                  <a:lnTo>
                    <a:pt x="53921" y="283598"/>
                  </a:lnTo>
                  <a:lnTo>
                    <a:pt x="56416" y="286998"/>
                  </a:lnTo>
                  <a:lnTo>
                    <a:pt x="57750" y="292351"/>
                  </a:lnTo>
                  <a:lnTo>
                    <a:pt x="60865" y="297628"/>
                  </a:lnTo>
                  <a:lnTo>
                    <a:pt x="64941" y="302200"/>
                  </a:lnTo>
                  <a:lnTo>
                    <a:pt x="65103" y="304990"/>
                  </a:lnTo>
                  <a:lnTo>
                    <a:pt x="63646" y="306486"/>
                  </a:lnTo>
                  <a:lnTo>
                    <a:pt x="60607" y="308343"/>
                  </a:lnTo>
                  <a:lnTo>
                    <a:pt x="60617" y="310334"/>
                  </a:lnTo>
                  <a:lnTo>
                    <a:pt x="62627" y="309334"/>
                  </a:lnTo>
                  <a:lnTo>
                    <a:pt x="64360" y="308877"/>
                  </a:lnTo>
                  <a:lnTo>
                    <a:pt x="68532" y="309315"/>
                  </a:lnTo>
                  <a:lnTo>
                    <a:pt x="69990" y="311334"/>
                  </a:lnTo>
                  <a:lnTo>
                    <a:pt x="70999" y="314354"/>
                  </a:lnTo>
                  <a:lnTo>
                    <a:pt x="71533" y="316830"/>
                  </a:lnTo>
                  <a:lnTo>
                    <a:pt x="71171" y="319516"/>
                  </a:lnTo>
                  <a:lnTo>
                    <a:pt x="70047" y="318659"/>
                  </a:lnTo>
                  <a:lnTo>
                    <a:pt x="68904" y="316259"/>
                  </a:lnTo>
                  <a:lnTo>
                    <a:pt x="67637" y="315154"/>
                  </a:lnTo>
                  <a:lnTo>
                    <a:pt x="66161" y="314554"/>
                  </a:lnTo>
                  <a:lnTo>
                    <a:pt x="66827" y="317859"/>
                  </a:lnTo>
                  <a:lnTo>
                    <a:pt x="66560" y="322269"/>
                  </a:lnTo>
                  <a:lnTo>
                    <a:pt x="67199" y="322679"/>
                  </a:lnTo>
                  <a:lnTo>
                    <a:pt x="69180" y="322755"/>
                  </a:lnTo>
                  <a:lnTo>
                    <a:pt x="67875" y="327250"/>
                  </a:lnTo>
                  <a:lnTo>
                    <a:pt x="65160" y="328470"/>
                  </a:lnTo>
                  <a:lnTo>
                    <a:pt x="62008" y="328927"/>
                  </a:lnTo>
                  <a:lnTo>
                    <a:pt x="61246" y="330518"/>
                  </a:lnTo>
                  <a:lnTo>
                    <a:pt x="60674" y="332565"/>
                  </a:lnTo>
                  <a:lnTo>
                    <a:pt x="59026" y="335614"/>
                  </a:lnTo>
                  <a:lnTo>
                    <a:pt x="56855" y="337338"/>
                  </a:lnTo>
                  <a:lnTo>
                    <a:pt x="54168" y="336985"/>
                  </a:lnTo>
                  <a:lnTo>
                    <a:pt x="51540" y="335623"/>
                  </a:lnTo>
                  <a:lnTo>
                    <a:pt x="49244" y="335347"/>
                  </a:lnTo>
                  <a:lnTo>
                    <a:pt x="47644" y="336156"/>
                  </a:lnTo>
                  <a:lnTo>
                    <a:pt x="46606" y="336909"/>
                  </a:lnTo>
                  <a:lnTo>
                    <a:pt x="45596" y="336775"/>
                  </a:lnTo>
                  <a:lnTo>
                    <a:pt x="42710" y="337061"/>
                  </a:lnTo>
                  <a:lnTo>
                    <a:pt x="39995" y="337004"/>
                  </a:lnTo>
                  <a:lnTo>
                    <a:pt x="39605" y="335814"/>
                  </a:lnTo>
                  <a:lnTo>
                    <a:pt x="40072" y="332232"/>
                  </a:lnTo>
                  <a:lnTo>
                    <a:pt x="39462" y="331261"/>
                  </a:lnTo>
                  <a:lnTo>
                    <a:pt x="36871" y="330765"/>
                  </a:lnTo>
                  <a:lnTo>
                    <a:pt x="35909" y="329908"/>
                  </a:lnTo>
                  <a:lnTo>
                    <a:pt x="34414" y="327431"/>
                  </a:lnTo>
                  <a:lnTo>
                    <a:pt x="34119" y="326269"/>
                  </a:lnTo>
                  <a:lnTo>
                    <a:pt x="33909" y="324669"/>
                  </a:lnTo>
                  <a:lnTo>
                    <a:pt x="32328" y="322602"/>
                  </a:lnTo>
                  <a:lnTo>
                    <a:pt x="30413" y="321116"/>
                  </a:lnTo>
                  <a:lnTo>
                    <a:pt x="29289" y="321040"/>
                  </a:lnTo>
                  <a:lnTo>
                    <a:pt x="27051" y="323460"/>
                  </a:lnTo>
                  <a:lnTo>
                    <a:pt x="25203" y="325907"/>
                  </a:lnTo>
                  <a:lnTo>
                    <a:pt x="25851" y="327136"/>
                  </a:lnTo>
                  <a:lnTo>
                    <a:pt x="26451" y="328746"/>
                  </a:lnTo>
                  <a:lnTo>
                    <a:pt x="25451" y="329908"/>
                  </a:lnTo>
                  <a:lnTo>
                    <a:pt x="22412" y="332556"/>
                  </a:lnTo>
                  <a:lnTo>
                    <a:pt x="21936" y="333585"/>
                  </a:lnTo>
                  <a:lnTo>
                    <a:pt x="21117" y="334146"/>
                  </a:lnTo>
                  <a:lnTo>
                    <a:pt x="19669" y="333413"/>
                  </a:lnTo>
                  <a:lnTo>
                    <a:pt x="16059" y="333585"/>
                  </a:lnTo>
                  <a:lnTo>
                    <a:pt x="14402" y="333118"/>
                  </a:lnTo>
                  <a:lnTo>
                    <a:pt x="12468" y="331165"/>
                  </a:lnTo>
                  <a:lnTo>
                    <a:pt x="7753" y="329860"/>
                  </a:lnTo>
                  <a:lnTo>
                    <a:pt x="6963" y="326727"/>
                  </a:lnTo>
                  <a:lnTo>
                    <a:pt x="6058" y="326136"/>
                  </a:lnTo>
                  <a:lnTo>
                    <a:pt x="714" y="320754"/>
                  </a:lnTo>
                  <a:lnTo>
                    <a:pt x="0" y="318954"/>
                  </a:lnTo>
                  <a:lnTo>
                    <a:pt x="695" y="317878"/>
                  </a:lnTo>
                  <a:lnTo>
                    <a:pt x="2686" y="316249"/>
                  </a:lnTo>
                  <a:lnTo>
                    <a:pt x="9382" y="313544"/>
                  </a:lnTo>
                  <a:lnTo>
                    <a:pt x="10439" y="312458"/>
                  </a:lnTo>
                  <a:lnTo>
                    <a:pt x="10658" y="311496"/>
                  </a:lnTo>
                  <a:lnTo>
                    <a:pt x="8687" y="310401"/>
                  </a:lnTo>
                  <a:lnTo>
                    <a:pt x="6915" y="309181"/>
                  </a:lnTo>
                  <a:lnTo>
                    <a:pt x="6315" y="308391"/>
                  </a:lnTo>
                  <a:lnTo>
                    <a:pt x="6267" y="307696"/>
                  </a:lnTo>
                  <a:lnTo>
                    <a:pt x="7277" y="306791"/>
                  </a:lnTo>
                  <a:lnTo>
                    <a:pt x="9296" y="306724"/>
                  </a:lnTo>
                  <a:lnTo>
                    <a:pt x="10896" y="307134"/>
                  </a:lnTo>
                  <a:lnTo>
                    <a:pt x="12163" y="306324"/>
                  </a:lnTo>
                  <a:lnTo>
                    <a:pt x="14392" y="305505"/>
                  </a:lnTo>
                  <a:lnTo>
                    <a:pt x="15888" y="304476"/>
                  </a:lnTo>
                  <a:lnTo>
                    <a:pt x="17173" y="301819"/>
                  </a:lnTo>
                  <a:lnTo>
                    <a:pt x="18535" y="299428"/>
                  </a:lnTo>
                  <a:lnTo>
                    <a:pt x="18679" y="298132"/>
                  </a:lnTo>
                  <a:lnTo>
                    <a:pt x="19869" y="293570"/>
                  </a:lnTo>
                  <a:lnTo>
                    <a:pt x="20526" y="292437"/>
                  </a:lnTo>
                  <a:lnTo>
                    <a:pt x="24755" y="289446"/>
                  </a:lnTo>
                  <a:lnTo>
                    <a:pt x="25822" y="291084"/>
                  </a:lnTo>
                  <a:lnTo>
                    <a:pt x="27908" y="291484"/>
                  </a:lnTo>
                  <a:lnTo>
                    <a:pt x="29775" y="289979"/>
                  </a:lnTo>
                  <a:lnTo>
                    <a:pt x="32013" y="285226"/>
                  </a:lnTo>
                  <a:lnTo>
                    <a:pt x="33566" y="284931"/>
                  </a:lnTo>
                  <a:lnTo>
                    <a:pt x="35280" y="285322"/>
                  </a:lnTo>
                  <a:lnTo>
                    <a:pt x="38652" y="284721"/>
                  </a:lnTo>
                  <a:lnTo>
                    <a:pt x="44634" y="282502"/>
                  </a:lnTo>
                  <a:lnTo>
                    <a:pt x="47339" y="282445"/>
                  </a:lnTo>
                  <a:close/>
                  <a:moveTo>
                    <a:pt x="81277" y="272729"/>
                  </a:moveTo>
                  <a:lnTo>
                    <a:pt x="77905" y="272767"/>
                  </a:lnTo>
                  <a:lnTo>
                    <a:pt x="76686" y="272358"/>
                  </a:lnTo>
                  <a:lnTo>
                    <a:pt x="75228" y="271215"/>
                  </a:lnTo>
                  <a:lnTo>
                    <a:pt x="73590" y="264738"/>
                  </a:lnTo>
                  <a:lnTo>
                    <a:pt x="74181" y="262442"/>
                  </a:lnTo>
                  <a:lnTo>
                    <a:pt x="74847" y="261318"/>
                  </a:lnTo>
                  <a:lnTo>
                    <a:pt x="75590" y="260442"/>
                  </a:lnTo>
                  <a:lnTo>
                    <a:pt x="77371" y="260080"/>
                  </a:lnTo>
                  <a:lnTo>
                    <a:pt x="79143" y="261309"/>
                  </a:lnTo>
                  <a:lnTo>
                    <a:pt x="79810" y="262452"/>
                  </a:lnTo>
                  <a:lnTo>
                    <a:pt x="81296" y="266833"/>
                  </a:lnTo>
                  <a:lnTo>
                    <a:pt x="81572" y="270586"/>
                  </a:lnTo>
                  <a:lnTo>
                    <a:pt x="81277" y="272729"/>
                  </a:lnTo>
                  <a:close/>
                  <a:moveTo>
                    <a:pt x="53921" y="249927"/>
                  </a:moveTo>
                  <a:lnTo>
                    <a:pt x="54883" y="256032"/>
                  </a:lnTo>
                  <a:lnTo>
                    <a:pt x="55826" y="259804"/>
                  </a:lnTo>
                  <a:lnTo>
                    <a:pt x="55893" y="261090"/>
                  </a:lnTo>
                  <a:lnTo>
                    <a:pt x="55007" y="262880"/>
                  </a:lnTo>
                  <a:lnTo>
                    <a:pt x="50597" y="265262"/>
                  </a:lnTo>
                  <a:lnTo>
                    <a:pt x="49206" y="265271"/>
                  </a:lnTo>
                  <a:lnTo>
                    <a:pt x="49149" y="264690"/>
                  </a:lnTo>
                  <a:lnTo>
                    <a:pt x="50139" y="262271"/>
                  </a:lnTo>
                  <a:lnTo>
                    <a:pt x="49282" y="259518"/>
                  </a:lnTo>
                  <a:lnTo>
                    <a:pt x="49701" y="257423"/>
                  </a:lnTo>
                  <a:lnTo>
                    <a:pt x="49292" y="257042"/>
                  </a:lnTo>
                  <a:lnTo>
                    <a:pt x="48435" y="257337"/>
                  </a:lnTo>
                  <a:lnTo>
                    <a:pt x="45272" y="260661"/>
                  </a:lnTo>
                  <a:lnTo>
                    <a:pt x="44215" y="260985"/>
                  </a:lnTo>
                  <a:lnTo>
                    <a:pt x="44101" y="260309"/>
                  </a:lnTo>
                  <a:lnTo>
                    <a:pt x="44882" y="257585"/>
                  </a:lnTo>
                  <a:lnTo>
                    <a:pt x="44977" y="255718"/>
                  </a:lnTo>
                  <a:lnTo>
                    <a:pt x="45444" y="254575"/>
                  </a:lnTo>
                  <a:lnTo>
                    <a:pt x="46301" y="253517"/>
                  </a:lnTo>
                  <a:lnTo>
                    <a:pt x="47320" y="252727"/>
                  </a:lnTo>
                  <a:lnTo>
                    <a:pt x="48149" y="252612"/>
                  </a:lnTo>
                  <a:lnTo>
                    <a:pt x="49025" y="253432"/>
                  </a:lnTo>
                  <a:lnTo>
                    <a:pt x="51578" y="251146"/>
                  </a:lnTo>
                  <a:lnTo>
                    <a:pt x="53921" y="249927"/>
                  </a:lnTo>
                  <a:close/>
                  <a:moveTo>
                    <a:pt x="58169" y="255451"/>
                  </a:moveTo>
                  <a:lnTo>
                    <a:pt x="57607" y="255956"/>
                  </a:lnTo>
                  <a:lnTo>
                    <a:pt x="56254" y="255813"/>
                  </a:lnTo>
                  <a:lnTo>
                    <a:pt x="55750" y="255041"/>
                  </a:lnTo>
                  <a:lnTo>
                    <a:pt x="55473" y="253860"/>
                  </a:lnTo>
                  <a:lnTo>
                    <a:pt x="55445" y="251698"/>
                  </a:lnTo>
                  <a:lnTo>
                    <a:pt x="56264" y="250145"/>
                  </a:lnTo>
                  <a:lnTo>
                    <a:pt x="59731" y="247802"/>
                  </a:lnTo>
                  <a:lnTo>
                    <a:pt x="58160" y="246974"/>
                  </a:lnTo>
                  <a:lnTo>
                    <a:pt x="58102" y="246383"/>
                  </a:lnTo>
                  <a:lnTo>
                    <a:pt x="58998" y="244431"/>
                  </a:lnTo>
                  <a:lnTo>
                    <a:pt x="62722" y="241392"/>
                  </a:lnTo>
                  <a:lnTo>
                    <a:pt x="63722" y="240840"/>
                  </a:lnTo>
                  <a:lnTo>
                    <a:pt x="64713" y="240925"/>
                  </a:lnTo>
                  <a:lnTo>
                    <a:pt x="62789" y="246317"/>
                  </a:lnTo>
                  <a:lnTo>
                    <a:pt x="58169" y="255451"/>
                  </a:lnTo>
                  <a:close/>
                  <a:moveTo>
                    <a:pt x="63303" y="230124"/>
                  </a:moveTo>
                  <a:lnTo>
                    <a:pt x="52654" y="232801"/>
                  </a:lnTo>
                  <a:lnTo>
                    <a:pt x="48987" y="232563"/>
                  </a:lnTo>
                  <a:lnTo>
                    <a:pt x="48654" y="231248"/>
                  </a:lnTo>
                  <a:lnTo>
                    <a:pt x="49387" y="230372"/>
                  </a:lnTo>
                  <a:lnTo>
                    <a:pt x="52426" y="229524"/>
                  </a:lnTo>
                  <a:lnTo>
                    <a:pt x="53654" y="223076"/>
                  </a:lnTo>
                  <a:lnTo>
                    <a:pt x="49063" y="220094"/>
                  </a:lnTo>
                  <a:lnTo>
                    <a:pt x="48825" y="219265"/>
                  </a:lnTo>
                  <a:lnTo>
                    <a:pt x="49187" y="217846"/>
                  </a:lnTo>
                  <a:lnTo>
                    <a:pt x="49721" y="217208"/>
                  </a:lnTo>
                  <a:lnTo>
                    <a:pt x="52502" y="215703"/>
                  </a:lnTo>
                  <a:lnTo>
                    <a:pt x="53673" y="215370"/>
                  </a:lnTo>
                  <a:lnTo>
                    <a:pt x="54626" y="215570"/>
                  </a:lnTo>
                  <a:lnTo>
                    <a:pt x="56588" y="217313"/>
                  </a:lnTo>
                  <a:lnTo>
                    <a:pt x="58798" y="220961"/>
                  </a:lnTo>
                  <a:lnTo>
                    <a:pt x="61760" y="221542"/>
                  </a:lnTo>
                  <a:lnTo>
                    <a:pt x="63770" y="223085"/>
                  </a:lnTo>
                  <a:lnTo>
                    <a:pt x="63303" y="230124"/>
                  </a:lnTo>
                  <a:close/>
                  <a:moveTo>
                    <a:pt x="41119" y="218504"/>
                  </a:moveTo>
                  <a:lnTo>
                    <a:pt x="39605" y="218770"/>
                  </a:lnTo>
                  <a:lnTo>
                    <a:pt x="39491" y="218084"/>
                  </a:lnTo>
                  <a:lnTo>
                    <a:pt x="42129" y="214808"/>
                  </a:lnTo>
                  <a:lnTo>
                    <a:pt x="43834" y="214265"/>
                  </a:lnTo>
                  <a:lnTo>
                    <a:pt x="44434" y="214589"/>
                  </a:lnTo>
                  <a:lnTo>
                    <a:pt x="43196" y="216494"/>
                  </a:lnTo>
                  <a:lnTo>
                    <a:pt x="41119" y="218504"/>
                  </a:lnTo>
                  <a:close/>
                  <a:moveTo>
                    <a:pt x="19488" y="199977"/>
                  </a:moveTo>
                  <a:lnTo>
                    <a:pt x="17135" y="200644"/>
                  </a:lnTo>
                  <a:lnTo>
                    <a:pt x="16268" y="200254"/>
                  </a:lnTo>
                  <a:lnTo>
                    <a:pt x="16116" y="199635"/>
                  </a:lnTo>
                  <a:lnTo>
                    <a:pt x="16650" y="197949"/>
                  </a:lnTo>
                  <a:lnTo>
                    <a:pt x="18450" y="197348"/>
                  </a:lnTo>
                  <a:lnTo>
                    <a:pt x="19755" y="198263"/>
                  </a:lnTo>
                  <a:lnTo>
                    <a:pt x="19964" y="199092"/>
                  </a:lnTo>
                  <a:lnTo>
                    <a:pt x="19488" y="199977"/>
                  </a:lnTo>
                  <a:close/>
                  <a:moveTo>
                    <a:pt x="49911" y="200015"/>
                  </a:moveTo>
                  <a:lnTo>
                    <a:pt x="49120" y="200644"/>
                  </a:lnTo>
                  <a:lnTo>
                    <a:pt x="48120" y="200520"/>
                  </a:lnTo>
                  <a:lnTo>
                    <a:pt x="47130" y="199711"/>
                  </a:lnTo>
                  <a:lnTo>
                    <a:pt x="45815" y="197406"/>
                  </a:lnTo>
                  <a:lnTo>
                    <a:pt x="48768" y="195805"/>
                  </a:lnTo>
                  <a:lnTo>
                    <a:pt x="49949" y="196748"/>
                  </a:lnTo>
                  <a:lnTo>
                    <a:pt x="50397" y="197825"/>
                  </a:lnTo>
                  <a:lnTo>
                    <a:pt x="50416" y="199015"/>
                  </a:lnTo>
                  <a:lnTo>
                    <a:pt x="49911" y="200015"/>
                  </a:lnTo>
                  <a:close/>
                  <a:moveTo>
                    <a:pt x="23955" y="192624"/>
                  </a:moveTo>
                  <a:lnTo>
                    <a:pt x="22822" y="192900"/>
                  </a:lnTo>
                  <a:lnTo>
                    <a:pt x="21346" y="192634"/>
                  </a:lnTo>
                  <a:lnTo>
                    <a:pt x="20431" y="191872"/>
                  </a:lnTo>
                  <a:lnTo>
                    <a:pt x="19507" y="188852"/>
                  </a:lnTo>
                  <a:lnTo>
                    <a:pt x="19336" y="187023"/>
                  </a:lnTo>
                  <a:lnTo>
                    <a:pt x="19745" y="183614"/>
                  </a:lnTo>
                  <a:lnTo>
                    <a:pt x="19650" y="179527"/>
                  </a:lnTo>
                  <a:lnTo>
                    <a:pt x="22698" y="179403"/>
                  </a:lnTo>
                  <a:lnTo>
                    <a:pt x="23488" y="179994"/>
                  </a:lnTo>
                  <a:lnTo>
                    <a:pt x="24012" y="192100"/>
                  </a:lnTo>
                  <a:lnTo>
                    <a:pt x="23955" y="192624"/>
                  </a:lnTo>
                  <a:close/>
                  <a:moveTo>
                    <a:pt x="53502" y="173384"/>
                  </a:moveTo>
                  <a:lnTo>
                    <a:pt x="53464" y="175574"/>
                  </a:lnTo>
                  <a:lnTo>
                    <a:pt x="52987" y="178156"/>
                  </a:lnTo>
                  <a:lnTo>
                    <a:pt x="53597" y="180889"/>
                  </a:lnTo>
                  <a:lnTo>
                    <a:pt x="53740" y="182842"/>
                  </a:lnTo>
                  <a:lnTo>
                    <a:pt x="54864" y="183461"/>
                  </a:lnTo>
                  <a:lnTo>
                    <a:pt x="55550" y="184356"/>
                  </a:lnTo>
                  <a:lnTo>
                    <a:pt x="60560" y="185356"/>
                  </a:lnTo>
                  <a:lnTo>
                    <a:pt x="65218" y="185071"/>
                  </a:lnTo>
                  <a:lnTo>
                    <a:pt x="66113" y="185871"/>
                  </a:lnTo>
                  <a:lnTo>
                    <a:pt x="66218" y="187147"/>
                  </a:lnTo>
                  <a:lnTo>
                    <a:pt x="65484" y="188548"/>
                  </a:lnTo>
                  <a:lnTo>
                    <a:pt x="62827" y="191100"/>
                  </a:lnTo>
                  <a:lnTo>
                    <a:pt x="59664" y="195224"/>
                  </a:lnTo>
                  <a:lnTo>
                    <a:pt x="58721" y="196082"/>
                  </a:lnTo>
                  <a:lnTo>
                    <a:pt x="57702" y="196120"/>
                  </a:lnTo>
                  <a:lnTo>
                    <a:pt x="56969" y="195748"/>
                  </a:lnTo>
                  <a:lnTo>
                    <a:pt x="56445" y="188414"/>
                  </a:lnTo>
                  <a:lnTo>
                    <a:pt x="53016" y="189357"/>
                  </a:lnTo>
                  <a:lnTo>
                    <a:pt x="50254" y="189252"/>
                  </a:lnTo>
                  <a:lnTo>
                    <a:pt x="48739" y="188357"/>
                  </a:lnTo>
                  <a:lnTo>
                    <a:pt x="47682" y="186633"/>
                  </a:lnTo>
                  <a:lnTo>
                    <a:pt x="45539" y="182194"/>
                  </a:lnTo>
                  <a:lnTo>
                    <a:pt x="39310" y="180442"/>
                  </a:lnTo>
                  <a:lnTo>
                    <a:pt x="37547" y="177984"/>
                  </a:lnTo>
                  <a:lnTo>
                    <a:pt x="37014" y="176498"/>
                  </a:lnTo>
                  <a:lnTo>
                    <a:pt x="37233" y="175679"/>
                  </a:lnTo>
                  <a:lnTo>
                    <a:pt x="38528" y="173850"/>
                  </a:lnTo>
                  <a:lnTo>
                    <a:pt x="40148" y="174498"/>
                  </a:lnTo>
                  <a:lnTo>
                    <a:pt x="41148" y="174098"/>
                  </a:lnTo>
                  <a:lnTo>
                    <a:pt x="41757" y="173279"/>
                  </a:lnTo>
                  <a:lnTo>
                    <a:pt x="41748" y="172603"/>
                  </a:lnTo>
                  <a:lnTo>
                    <a:pt x="40900" y="171012"/>
                  </a:lnTo>
                  <a:lnTo>
                    <a:pt x="40862" y="170517"/>
                  </a:lnTo>
                  <a:lnTo>
                    <a:pt x="47234" y="168497"/>
                  </a:lnTo>
                  <a:lnTo>
                    <a:pt x="47796" y="165335"/>
                  </a:lnTo>
                  <a:lnTo>
                    <a:pt x="49178" y="165078"/>
                  </a:lnTo>
                  <a:lnTo>
                    <a:pt x="50759" y="166116"/>
                  </a:lnTo>
                  <a:lnTo>
                    <a:pt x="52921" y="169402"/>
                  </a:lnTo>
                  <a:lnTo>
                    <a:pt x="53502" y="173384"/>
                  </a:lnTo>
                  <a:close/>
                  <a:moveTo>
                    <a:pt x="25136" y="164525"/>
                  </a:moveTo>
                  <a:lnTo>
                    <a:pt x="28156" y="167326"/>
                  </a:lnTo>
                  <a:lnTo>
                    <a:pt x="25755" y="171974"/>
                  </a:lnTo>
                  <a:lnTo>
                    <a:pt x="22069" y="171955"/>
                  </a:lnTo>
                  <a:lnTo>
                    <a:pt x="16878" y="168564"/>
                  </a:lnTo>
                  <a:lnTo>
                    <a:pt x="16859" y="167869"/>
                  </a:lnTo>
                  <a:lnTo>
                    <a:pt x="17288" y="166849"/>
                  </a:lnTo>
                  <a:lnTo>
                    <a:pt x="18069" y="166040"/>
                  </a:lnTo>
                  <a:lnTo>
                    <a:pt x="18878" y="165849"/>
                  </a:lnTo>
                  <a:lnTo>
                    <a:pt x="20164" y="166402"/>
                  </a:lnTo>
                  <a:lnTo>
                    <a:pt x="21955" y="165506"/>
                  </a:lnTo>
                  <a:lnTo>
                    <a:pt x="23384" y="165792"/>
                  </a:lnTo>
                  <a:lnTo>
                    <a:pt x="25136" y="164525"/>
                  </a:lnTo>
                  <a:close/>
                  <a:moveTo>
                    <a:pt x="52054" y="130245"/>
                  </a:moveTo>
                  <a:lnTo>
                    <a:pt x="48654" y="139094"/>
                  </a:lnTo>
                  <a:lnTo>
                    <a:pt x="47320" y="139313"/>
                  </a:lnTo>
                  <a:lnTo>
                    <a:pt x="46149" y="141522"/>
                  </a:lnTo>
                  <a:lnTo>
                    <a:pt x="42529" y="143951"/>
                  </a:lnTo>
                  <a:lnTo>
                    <a:pt x="45691" y="143999"/>
                  </a:lnTo>
                  <a:lnTo>
                    <a:pt x="46577" y="144809"/>
                  </a:lnTo>
                  <a:lnTo>
                    <a:pt x="46596" y="146552"/>
                  </a:lnTo>
                  <a:lnTo>
                    <a:pt x="45996" y="147561"/>
                  </a:lnTo>
                  <a:lnTo>
                    <a:pt x="41910" y="151581"/>
                  </a:lnTo>
                  <a:lnTo>
                    <a:pt x="39100" y="153105"/>
                  </a:lnTo>
                  <a:lnTo>
                    <a:pt x="36071" y="157296"/>
                  </a:lnTo>
                  <a:lnTo>
                    <a:pt x="34537" y="157344"/>
                  </a:lnTo>
                  <a:lnTo>
                    <a:pt x="33023" y="160001"/>
                  </a:lnTo>
                  <a:lnTo>
                    <a:pt x="31785" y="161172"/>
                  </a:lnTo>
                  <a:lnTo>
                    <a:pt x="31080" y="161172"/>
                  </a:lnTo>
                  <a:lnTo>
                    <a:pt x="30280" y="160582"/>
                  </a:lnTo>
                  <a:lnTo>
                    <a:pt x="28403" y="157982"/>
                  </a:lnTo>
                  <a:lnTo>
                    <a:pt x="31813" y="155420"/>
                  </a:lnTo>
                  <a:lnTo>
                    <a:pt x="32128" y="153981"/>
                  </a:lnTo>
                  <a:lnTo>
                    <a:pt x="34461" y="152476"/>
                  </a:lnTo>
                  <a:lnTo>
                    <a:pt x="34261" y="152010"/>
                  </a:lnTo>
                  <a:lnTo>
                    <a:pt x="30556" y="149895"/>
                  </a:lnTo>
                  <a:lnTo>
                    <a:pt x="29099" y="148476"/>
                  </a:lnTo>
                  <a:lnTo>
                    <a:pt x="29232" y="147733"/>
                  </a:lnTo>
                  <a:lnTo>
                    <a:pt x="31013" y="146095"/>
                  </a:lnTo>
                  <a:lnTo>
                    <a:pt x="30175" y="145885"/>
                  </a:lnTo>
                  <a:lnTo>
                    <a:pt x="29604" y="144999"/>
                  </a:lnTo>
                  <a:lnTo>
                    <a:pt x="28575" y="144656"/>
                  </a:lnTo>
                  <a:lnTo>
                    <a:pt x="28260" y="143837"/>
                  </a:lnTo>
                  <a:lnTo>
                    <a:pt x="28070" y="141665"/>
                  </a:lnTo>
                  <a:lnTo>
                    <a:pt x="28346" y="139446"/>
                  </a:lnTo>
                  <a:lnTo>
                    <a:pt x="29423" y="138465"/>
                  </a:lnTo>
                  <a:lnTo>
                    <a:pt x="29861" y="137417"/>
                  </a:lnTo>
                  <a:lnTo>
                    <a:pt x="30299" y="137093"/>
                  </a:lnTo>
                  <a:lnTo>
                    <a:pt x="31966" y="137655"/>
                  </a:lnTo>
                  <a:lnTo>
                    <a:pt x="33661" y="139437"/>
                  </a:lnTo>
                  <a:lnTo>
                    <a:pt x="35642" y="138751"/>
                  </a:lnTo>
                  <a:lnTo>
                    <a:pt x="37938" y="139084"/>
                  </a:lnTo>
                  <a:lnTo>
                    <a:pt x="37985" y="138674"/>
                  </a:lnTo>
                  <a:lnTo>
                    <a:pt x="36300" y="134303"/>
                  </a:lnTo>
                  <a:lnTo>
                    <a:pt x="36604" y="133407"/>
                  </a:lnTo>
                  <a:lnTo>
                    <a:pt x="37519" y="132388"/>
                  </a:lnTo>
                  <a:lnTo>
                    <a:pt x="42815" y="129254"/>
                  </a:lnTo>
                  <a:lnTo>
                    <a:pt x="49416" y="123977"/>
                  </a:lnTo>
                  <a:lnTo>
                    <a:pt x="51016" y="123149"/>
                  </a:lnTo>
                  <a:lnTo>
                    <a:pt x="51502" y="123873"/>
                  </a:lnTo>
                  <a:lnTo>
                    <a:pt x="52168" y="126606"/>
                  </a:lnTo>
                  <a:lnTo>
                    <a:pt x="52054" y="130245"/>
                  </a:lnTo>
                  <a:close/>
                  <a:moveTo>
                    <a:pt x="134626" y="122482"/>
                  </a:moveTo>
                  <a:lnTo>
                    <a:pt x="134855" y="126654"/>
                  </a:lnTo>
                  <a:lnTo>
                    <a:pt x="134541" y="127921"/>
                  </a:lnTo>
                  <a:lnTo>
                    <a:pt x="133902" y="129483"/>
                  </a:lnTo>
                  <a:lnTo>
                    <a:pt x="131883" y="132388"/>
                  </a:lnTo>
                  <a:lnTo>
                    <a:pt x="126568" y="136531"/>
                  </a:lnTo>
                  <a:lnTo>
                    <a:pt x="116843" y="146018"/>
                  </a:lnTo>
                  <a:lnTo>
                    <a:pt x="111090" y="150704"/>
                  </a:lnTo>
                  <a:lnTo>
                    <a:pt x="110299" y="152953"/>
                  </a:lnTo>
                  <a:lnTo>
                    <a:pt x="109871" y="156077"/>
                  </a:lnTo>
                  <a:lnTo>
                    <a:pt x="113309" y="156696"/>
                  </a:lnTo>
                  <a:lnTo>
                    <a:pt x="114643" y="157753"/>
                  </a:lnTo>
                  <a:lnTo>
                    <a:pt x="113824" y="159334"/>
                  </a:lnTo>
                  <a:lnTo>
                    <a:pt x="108728" y="164830"/>
                  </a:lnTo>
                  <a:lnTo>
                    <a:pt x="107232" y="169783"/>
                  </a:lnTo>
                  <a:lnTo>
                    <a:pt x="111138" y="169602"/>
                  </a:lnTo>
                  <a:lnTo>
                    <a:pt x="114357" y="168650"/>
                  </a:lnTo>
                  <a:lnTo>
                    <a:pt x="120767" y="165563"/>
                  </a:lnTo>
                  <a:lnTo>
                    <a:pt x="126797" y="163268"/>
                  </a:lnTo>
                  <a:lnTo>
                    <a:pt x="129692" y="163173"/>
                  </a:lnTo>
                  <a:lnTo>
                    <a:pt x="135322" y="165002"/>
                  </a:lnTo>
                  <a:lnTo>
                    <a:pt x="136598" y="165059"/>
                  </a:lnTo>
                  <a:lnTo>
                    <a:pt x="138989" y="164211"/>
                  </a:lnTo>
                  <a:lnTo>
                    <a:pt x="141408" y="164059"/>
                  </a:lnTo>
                  <a:lnTo>
                    <a:pt x="157772" y="164630"/>
                  </a:lnTo>
                  <a:lnTo>
                    <a:pt x="162325" y="163554"/>
                  </a:lnTo>
                  <a:lnTo>
                    <a:pt x="165335" y="164840"/>
                  </a:lnTo>
                  <a:lnTo>
                    <a:pt x="167849" y="168040"/>
                  </a:lnTo>
                  <a:lnTo>
                    <a:pt x="170240" y="173936"/>
                  </a:lnTo>
                  <a:lnTo>
                    <a:pt x="170164" y="174917"/>
                  </a:lnTo>
                  <a:lnTo>
                    <a:pt x="168716" y="177594"/>
                  </a:lnTo>
                  <a:lnTo>
                    <a:pt x="166049" y="180947"/>
                  </a:lnTo>
                  <a:lnTo>
                    <a:pt x="163754" y="185556"/>
                  </a:lnTo>
                  <a:lnTo>
                    <a:pt x="163087" y="188033"/>
                  </a:lnTo>
                  <a:lnTo>
                    <a:pt x="162639" y="190748"/>
                  </a:lnTo>
                  <a:lnTo>
                    <a:pt x="161915" y="193253"/>
                  </a:lnTo>
                  <a:lnTo>
                    <a:pt x="157353" y="204969"/>
                  </a:lnTo>
                  <a:lnTo>
                    <a:pt x="152905" y="211426"/>
                  </a:lnTo>
                  <a:lnTo>
                    <a:pt x="150924" y="215998"/>
                  </a:lnTo>
                  <a:lnTo>
                    <a:pt x="148476" y="219628"/>
                  </a:lnTo>
                  <a:lnTo>
                    <a:pt x="146113" y="221913"/>
                  </a:lnTo>
                  <a:lnTo>
                    <a:pt x="143599" y="223438"/>
                  </a:lnTo>
                  <a:lnTo>
                    <a:pt x="136322" y="225057"/>
                  </a:lnTo>
                  <a:lnTo>
                    <a:pt x="134283" y="226219"/>
                  </a:lnTo>
                  <a:lnTo>
                    <a:pt x="131854" y="228210"/>
                  </a:lnTo>
                  <a:lnTo>
                    <a:pt x="129302" y="229200"/>
                  </a:lnTo>
                  <a:lnTo>
                    <a:pt x="132293" y="229076"/>
                  </a:lnTo>
                  <a:lnTo>
                    <a:pt x="135255" y="227971"/>
                  </a:lnTo>
                  <a:lnTo>
                    <a:pt x="140656" y="227571"/>
                  </a:lnTo>
                  <a:lnTo>
                    <a:pt x="146866" y="231381"/>
                  </a:lnTo>
                  <a:lnTo>
                    <a:pt x="146285" y="234496"/>
                  </a:lnTo>
                  <a:lnTo>
                    <a:pt x="143789" y="236954"/>
                  </a:lnTo>
                  <a:lnTo>
                    <a:pt x="138113" y="237344"/>
                  </a:lnTo>
                  <a:lnTo>
                    <a:pt x="132807" y="242802"/>
                  </a:lnTo>
                  <a:lnTo>
                    <a:pt x="130416" y="244478"/>
                  </a:lnTo>
                  <a:lnTo>
                    <a:pt x="127883" y="245307"/>
                  </a:lnTo>
                  <a:lnTo>
                    <a:pt x="124720" y="245059"/>
                  </a:lnTo>
                  <a:lnTo>
                    <a:pt x="118977" y="243602"/>
                  </a:lnTo>
                  <a:lnTo>
                    <a:pt x="116462" y="242078"/>
                  </a:lnTo>
                  <a:lnTo>
                    <a:pt x="118729" y="244564"/>
                  </a:lnTo>
                  <a:lnTo>
                    <a:pt x="121310" y="245859"/>
                  </a:lnTo>
                  <a:lnTo>
                    <a:pt x="136255" y="248917"/>
                  </a:lnTo>
                  <a:lnTo>
                    <a:pt x="137160" y="248593"/>
                  </a:lnTo>
                  <a:lnTo>
                    <a:pt x="141922" y="245374"/>
                  </a:lnTo>
                  <a:lnTo>
                    <a:pt x="148276" y="245326"/>
                  </a:lnTo>
                  <a:lnTo>
                    <a:pt x="160363" y="251250"/>
                  </a:lnTo>
                  <a:lnTo>
                    <a:pt x="163839" y="255775"/>
                  </a:lnTo>
                  <a:lnTo>
                    <a:pt x="168830" y="262223"/>
                  </a:lnTo>
                  <a:lnTo>
                    <a:pt x="171545" y="264738"/>
                  </a:lnTo>
                  <a:lnTo>
                    <a:pt x="173507" y="267014"/>
                  </a:lnTo>
                  <a:lnTo>
                    <a:pt x="174717" y="270415"/>
                  </a:lnTo>
                  <a:lnTo>
                    <a:pt x="177060" y="281616"/>
                  </a:lnTo>
                  <a:lnTo>
                    <a:pt x="179737" y="292494"/>
                  </a:lnTo>
                  <a:lnTo>
                    <a:pt x="183232" y="304209"/>
                  </a:lnTo>
                  <a:lnTo>
                    <a:pt x="184823" y="307448"/>
                  </a:lnTo>
                  <a:lnTo>
                    <a:pt x="186909" y="309715"/>
                  </a:lnTo>
                  <a:lnTo>
                    <a:pt x="197463" y="314916"/>
                  </a:lnTo>
                  <a:lnTo>
                    <a:pt x="199815" y="316640"/>
                  </a:lnTo>
                  <a:lnTo>
                    <a:pt x="203911" y="321631"/>
                  </a:lnTo>
                  <a:lnTo>
                    <a:pt x="207864" y="326936"/>
                  </a:lnTo>
                  <a:lnTo>
                    <a:pt x="211541" y="331003"/>
                  </a:lnTo>
                  <a:lnTo>
                    <a:pt x="215512" y="334289"/>
                  </a:lnTo>
                  <a:lnTo>
                    <a:pt x="213588" y="335994"/>
                  </a:lnTo>
                  <a:lnTo>
                    <a:pt x="212274" y="338671"/>
                  </a:lnTo>
                  <a:lnTo>
                    <a:pt x="213265" y="342300"/>
                  </a:lnTo>
                  <a:lnTo>
                    <a:pt x="214874" y="345757"/>
                  </a:lnTo>
                  <a:lnTo>
                    <a:pt x="218046" y="351282"/>
                  </a:lnTo>
                  <a:lnTo>
                    <a:pt x="220846" y="357292"/>
                  </a:lnTo>
                  <a:lnTo>
                    <a:pt x="219818" y="356388"/>
                  </a:lnTo>
                  <a:lnTo>
                    <a:pt x="218732" y="355892"/>
                  </a:lnTo>
                  <a:lnTo>
                    <a:pt x="217246" y="356045"/>
                  </a:lnTo>
                  <a:lnTo>
                    <a:pt x="215798" y="355759"/>
                  </a:lnTo>
                  <a:lnTo>
                    <a:pt x="213122" y="353873"/>
                  </a:lnTo>
                  <a:lnTo>
                    <a:pt x="210550" y="351558"/>
                  </a:lnTo>
                  <a:lnTo>
                    <a:pt x="205435" y="352492"/>
                  </a:lnTo>
                  <a:lnTo>
                    <a:pt x="202597" y="352073"/>
                  </a:lnTo>
                  <a:lnTo>
                    <a:pt x="200130" y="352139"/>
                  </a:lnTo>
                  <a:lnTo>
                    <a:pt x="204806" y="353473"/>
                  </a:lnTo>
                  <a:lnTo>
                    <a:pt x="209921" y="353568"/>
                  </a:lnTo>
                  <a:lnTo>
                    <a:pt x="221199" y="363636"/>
                  </a:lnTo>
                  <a:lnTo>
                    <a:pt x="225009" y="369579"/>
                  </a:lnTo>
                  <a:lnTo>
                    <a:pt x="227276" y="377400"/>
                  </a:lnTo>
                  <a:lnTo>
                    <a:pt x="225733" y="380905"/>
                  </a:lnTo>
                  <a:lnTo>
                    <a:pt x="223333" y="383172"/>
                  </a:lnTo>
                  <a:lnTo>
                    <a:pt x="221094" y="385753"/>
                  </a:lnTo>
                  <a:lnTo>
                    <a:pt x="218989" y="388677"/>
                  </a:lnTo>
                  <a:lnTo>
                    <a:pt x="225247" y="392954"/>
                  </a:lnTo>
                  <a:lnTo>
                    <a:pt x="226600" y="392830"/>
                  </a:lnTo>
                  <a:lnTo>
                    <a:pt x="227981" y="392230"/>
                  </a:lnTo>
                  <a:lnTo>
                    <a:pt x="229314" y="390773"/>
                  </a:lnTo>
                  <a:lnTo>
                    <a:pt x="231553" y="387220"/>
                  </a:lnTo>
                  <a:lnTo>
                    <a:pt x="232705" y="385963"/>
                  </a:lnTo>
                  <a:lnTo>
                    <a:pt x="236601" y="385505"/>
                  </a:lnTo>
                  <a:lnTo>
                    <a:pt x="239868" y="385782"/>
                  </a:lnTo>
                  <a:lnTo>
                    <a:pt x="243116" y="386572"/>
                  </a:lnTo>
                  <a:lnTo>
                    <a:pt x="245983" y="386324"/>
                  </a:lnTo>
                  <a:lnTo>
                    <a:pt x="251746" y="387848"/>
                  </a:lnTo>
                  <a:lnTo>
                    <a:pt x="254708" y="389220"/>
                  </a:lnTo>
                  <a:lnTo>
                    <a:pt x="262052" y="395383"/>
                  </a:lnTo>
                  <a:lnTo>
                    <a:pt x="263642" y="398755"/>
                  </a:lnTo>
                  <a:lnTo>
                    <a:pt x="264376" y="403098"/>
                  </a:lnTo>
                  <a:lnTo>
                    <a:pt x="264461" y="407899"/>
                  </a:lnTo>
                  <a:lnTo>
                    <a:pt x="263223" y="412270"/>
                  </a:lnTo>
                  <a:lnTo>
                    <a:pt x="261804" y="416214"/>
                  </a:lnTo>
                  <a:lnTo>
                    <a:pt x="260928" y="421291"/>
                  </a:lnTo>
                  <a:lnTo>
                    <a:pt x="260309" y="423120"/>
                  </a:lnTo>
                  <a:lnTo>
                    <a:pt x="259442" y="424548"/>
                  </a:lnTo>
                  <a:lnTo>
                    <a:pt x="255556" y="428539"/>
                  </a:lnTo>
                  <a:lnTo>
                    <a:pt x="252974" y="430178"/>
                  </a:lnTo>
                  <a:lnTo>
                    <a:pt x="251888" y="429463"/>
                  </a:lnTo>
                  <a:lnTo>
                    <a:pt x="250717" y="429558"/>
                  </a:lnTo>
                  <a:lnTo>
                    <a:pt x="250593" y="430521"/>
                  </a:lnTo>
                  <a:lnTo>
                    <a:pt x="251822" y="432549"/>
                  </a:lnTo>
                  <a:lnTo>
                    <a:pt x="251831" y="434997"/>
                  </a:lnTo>
                  <a:lnTo>
                    <a:pt x="249536" y="436807"/>
                  </a:lnTo>
                  <a:lnTo>
                    <a:pt x="247202" y="437579"/>
                  </a:lnTo>
                  <a:lnTo>
                    <a:pt x="243297" y="436616"/>
                  </a:lnTo>
                  <a:lnTo>
                    <a:pt x="237877" y="439988"/>
                  </a:lnTo>
                  <a:lnTo>
                    <a:pt x="241773" y="441722"/>
                  </a:lnTo>
                  <a:lnTo>
                    <a:pt x="242563" y="443560"/>
                  </a:lnTo>
                  <a:lnTo>
                    <a:pt x="241592" y="446789"/>
                  </a:lnTo>
                  <a:lnTo>
                    <a:pt x="239144" y="448228"/>
                  </a:lnTo>
                  <a:lnTo>
                    <a:pt x="236420" y="448866"/>
                  </a:lnTo>
                  <a:lnTo>
                    <a:pt x="233639" y="449018"/>
                  </a:lnTo>
                  <a:lnTo>
                    <a:pt x="231334" y="449809"/>
                  </a:lnTo>
                  <a:lnTo>
                    <a:pt x="229124" y="451333"/>
                  </a:lnTo>
                  <a:lnTo>
                    <a:pt x="231895" y="450532"/>
                  </a:lnTo>
                  <a:lnTo>
                    <a:pt x="233819" y="451237"/>
                  </a:lnTo>
                  <a:lnTo>
                    <a:pt x="235029" y="453942"/>
                  </a:lnTo>
                  <a:lnTo>
                    <a:pt x="236125" y="454723"/>
                  </a:lnTo>
                  <a:lnTo>
                    <a:pt x="241554" y="455876"/>
                  </a:lnTo>
                  <a:lnTo>
                    <a:pt x="244907" y="455867"/>
                  </a:lnTo>
                  <a:lnTo>
                    <a:pt x="251384" y="455209"/>
                  </a:lnTo>
                  <a:lnTo>
                    <a:pt x="254498" y="455219"/>
                  </a:lnTo>
                  <a:lnTo>
                    <a:pt x="255603" y="455714"/>
                  </a:lnTo>
                  <a:lnTo>
                    <a:pt x="255622" y="457953"/>
                  </a:lnTo>
                  <a:lnTo>
                    <a:pt x="255146" y="463439"/>
                  </a:lnTo>
                  <a:lnTo>
                    <a:pt x="254289" y="464573"/>
                  </a:lnTo>
                  <a:lnTo>
                    <a:pt x="245707" y="469164"/>
                  </a:lnTo>
                  <a:lnTo>
                    <a:pt x="243945" y="472364"/>
                  </a:lnTo>
                  <a:lnTo>
                    <a:pt x="243459" y="474298"/>
                  </a:lnTo>
                  <a:lnTo>
                    <a:pt x="238439" y="473955"/>
                  </a:lnTo>
                  <a:lnTo>
                    <a:pt x="236086" y="476002"/>
                  </a:lnTo>
                  <a:lnTo>
                    <a:pt x="232019" y="477364"/>
                  </a:lnTo>
                  <a:lnTo>
                    <a:pt x="228876" y="478803"/>
                  </a:lnTo>
                  <a:lnTo>
                    <a:pt x="225800" y="480622"/>
                  </a:lnTo>
                  <a:lnTo>
                    <a:pt x="223266" y="481165"/>
                  </a:lnTo>
                  <a:lnTo>
                    <a:pt x="212341" y="479003"/>
                  </a:lnTo>
                  <a:lnTo>
                    <a:pt x="205740" y="479184"/>
                  </a:lnTo>
                  <a:lnTo>
                    <a:pt x="196796" y="481070"/>
                  </a:lnTo>
                  <a:lnTo>
                    <a:pt x="194491" y="480755"/>
                  </a:lnTo>
                  <a:lnTo>
                    <a:pt x="191043" y="478955"/>
                  </a:lnTo>
                  <a:lnTo>
                    <a:pt x="187500" y="477736"/>
                  </a:lnTo>
                  <a:lnTo>
                    <a:pt x="183432" y="477203"/>
                  </a:lnTo>
                  <a:lnTo>
                    <a:pt x="179918" y="475526"/>
                  </a:lnTo>
                  <a:lnTo>
                    <a:pt x="182108" y="478736"/>
                  </a:lnTo>
                  <a:lnTo>
                    <a:pt x="177241" y="481832"/>
                  </a:lnTo>
                  <a:lnTo>
                    <a:pt x="174993" y="482441"/>
                  </a:lnTo>
                  <a:lnTo>
                    <a:pt x="172660" y="482346"/>
                  </a:lnTo>
                  <a:lnTo>
                    <a:pt x="167897" y="483184"/>
                  </a:lnTo>
                  <a:lnTo>
                    <a:pt x="163468" y="482727"/>
                  </a:lnTo>
                  <a:lnTo>
                    <a:pt x="164135" y="484918"/>
                  </a:lnTo>
                  <a:lnTo>
                    <a:pt x="165316" y="486832"/>
                  </a:lnTo>
                  <a:lnTo>
                    <a:pt x="164354" y="487661"/>
                  </a:lnTo>
                  <a:lnTo>
                    <a:pt x="163344" y="487871"/>
                  </a:lnTo>
                  <a:lnTo>
                    <a:pt x="154943" y="486432"/>
                  </a:lnTo>
                  <a:lnTo>
                    <a:pt x="153753" y="486699"/>
                  </a:lnTo>
                  <a:lnTo>
                    <a:pt x="152714" y="488032"/>
                  </a:lnTo>
                  <a:lnTo>
                    <a:pt x="149657" y="487318"/>
                  </a:lnTo>
                  <a:lnTo>
                    <a:pt x="146685" y="485080"/>
                  </a:lnTo>
                  <a:lnTo>
                    <a:pt x="143532" y="483565"/>
                  </a:lnTo>
                  <a:lnTo>
                    <a:pt x="140217" y="482851"/>
                  </a:lnTo>
                  <a:lnTo>
                    <a:pt x="137588" y="483098"/>
                  </a:lnTo>
                  <a:lnTo>
                    <a:pt x="126759" y="486642"/>
                  </a:lnTo>
                  <a:lnTo>
                    <a:pt x="124596" y="490185"/>
                  </a:lnTo>
                  <a:lnTo>
                    <a:pt x="123510" y="495205"/>
                  </a:lnTo>
                  <a:lnTo>
                    <a:pt x="121948" y="499653"/>
                  </a:lnTo>
                  <a:lnTo>
                    <a:pt x="119396" y="503073"/>
                  </a:lnTo>
                  <a:lnTo>
                    <a:pt x="116357" y="503520"/>
                  </a:lnTo>
                  <a:lnTo>
                    <a:pt x="113500" y="501148"/>
                  </a:lnTo>
                  <a:lnTo>
                    <a:pt x="108070" y="498538"/>
                  </a:lnTo>
                  <a:lnTo>
                    <a:pt x="106223" y="496767"/>
                  </a:lnTo>
                  <a:lnTo>
                    <a:pt x="105632" y="496662"/>
                  </a:lnTo>
                  <a:lnTo>
                    <a:pt x="105023" y="497291"/>
                  </a:lnTo>
                  <a:lnTo>
                    <a:pt x="102889" y="498091"/>
                  </a:lnTo>
                  <a:lnTo>
                    <a:pt x="100689" y="498129"/>
                  </a:lnTo>
                  <a:lnTo>
                    <a:pt x="97288" y="498834"/>
                  </a:lnTo>
                  <a:lnTo>
                    <a:pt x="91373" y="500958"/>
                  </a:lnTo>
                  <a:lnTo>
                    <a:pt x="88982" y="502396"/>
                  </a:lnTo>
                  <a:lnTo>
                    <a:pt x="83848" y="506368"/>
                  </a:lnTo>
                  <a:lnTo>
                    <a:pt x="82801" y="507464"/>
                  </a:lnTo>
                  <a:lnTo>
                    <a:pt x="80934" y="511455"/>
                  </a:lnTo>
                  <a:lnTo>
                    <a:pt x="78086" y="512159"/>
                  </a:lnTo>
                  <a:lnTo>
                    <a:pt x="75476" y="509607"/>
                  </a:lnTo>
                  <a:lnTo>
                    <a:pt x="72504" y="508711"/>
                  </a:lnTo>
                  <a:lnTo>
                    <a:pt x="69370" y="509578"/>
                  </a:lnTo>
                  <a:lnTo>
                    <a:pt x="67475" y="510940"/>
                  </a:lnTo>
                  <a:lnTo>
                    <a:pt x="66589" y="509835"/>
                  </a:lnTo>
                  <a:lnTo>
                    <a:pt x="66560" y="507568"/>
                  </a:lnTo>
                  <a:lnTo>
                    <a:pt x="68847" y="504863"/>
                  </a:lnTo>
                  <a:lnTo>
                    <a:pt x="74952" y="502815"/>
                  </a:lnTo>
                  <a:lnTo>
                    <a:pt x="80315" y="497491"/>
                  </a:lnTo>
                  <a:lnTo>
                    <a:pt x="82943" y="494243"/>
                  </a:lnTo>
                  <a:lnTo>
                    <a:pt x="83991" y="492405"/>
                  </a:lnTo>
                  <a:lnTo>
                    <a:pt x="85277" y="491233"/>
                  </a:lnTo>
                  <a:lnTo>
                    <a:pt x="86954" y="490795"/>
                  </a:lnTo>
                  <a:lnTo>
                    <a:pt x="87821" y="488766"/>
                  </a:lnTo>
                  <a:lnTo>
                    <a:pt x="95259" y="480593"/>
                  </a:lnTo>
                  <a:lnTo>
                    <a:pt x="95869" y="478717"/>
                  </a:lnTo>
                  <a:lnTo>
                    <a:pt x="96240" y="475345"/>
                  </a:lnTo>
                  <a:lnTo>
                    <a:pt x="96850" y="472097"/>
                  </a:lnTo>
                  <a:lnTo>
                    <a:pt x="102908" y="469992"/>
                  </a:lnTo>
                  <a:lnTo>
                    <a:pt x="105804" y="463144"/>
                  </a:lnTo>
                  <a:lnTo>
                    <a:pt x="106604" y="462601"/>
                  </a:lnTo>
                  <a:lnTo>
                    <a:pt x="115052" y="461343"/>
                  </a:lnTo>
                  <a:lnTo>
                    <a:pt x="121320" y="461448"/>
                  </a:lnTo>
                  <a:lnTo>
                    <a:pt x="127549" y="462791"/>
                  </a:lnTo>
                  <a:lnTo>
                    <a:pt x="130740" y="462915"/>
                  </a:lnTo>
                  <a:lnTo>
                    <a:pt x="133940" y="462448"/>
                  </a:lnTo>
                  <a:lnTo>
                    <a:pt x="136455" y="460591"/>
                  </a:lnTo>
                  <a:lnTo>
                    <a:pt x="140751" y="453885"/>
                  </a:lnTo>
                  <a:lnTo>
                    <a:pt x="143170" y="450923"/>
                  </a:lnTo>
                  <a:lnTo>
                    <a:pt x="145942" y="448246"/>
                  </a:lnTo>
                  <a:lnTo>
                    <a:pt x="148533" y="445189"/>
                  </a:lnTo>
                  <a:lnTo>
                    <a:pt x="152733" y="439512"/>
                  </a:lnTo>
                  <a:lnTo>
                    <a:pt x="149895" y="441474"/>
                  </a:lnTo>
                  <a:lnTo>
                    <a:pt x="146466" y="444579"/>
                  </a:lnTo>
                  <a:lnTo>
                    <a:pt x="144475" y="446380"/>
                  </a:lnTo>
                  <a:lnTo>
                    <a:pt x="138151" y="448190"/>
                  </a:lnTo>
                  <a:lnTo>
                    <a:pt x="135426" y="450037"/>
                  </a:lnTo>
                  <a:lnTo>
                    <a:pt x="130654" y="454200"/>
                  </a:lnTo>
                  <a:lnTo>
                    <a:pt x="129740" y="454543"/>
                  </a:lnTo>
                  <a:lnTo>
                    <a:pt x="122539" y="453542"/>
                  </a:lnTo>
                  <a:lnTo>
                    <a:pt x="117186" y="448142"/>
                  </a:lnTo>
                  <a:lnTo>
                    <a:pt x="113767" y="445932"/>
                  </a:lnTo>
                  <a:lnTo>
                    <a:pt x="112357" y="445675"/>
                  </a:lnTo>
                  <a:lnTo>
                    <a:pt x="110890" y="446332"/>
                  </a:lnTo>
                  <a:lnTo>
                    <a:pt x="107766" y="447008"/>
                  </a:lnTo>
                  <a:lnTo>
                    <a:pt x="104584" y="446894"/>
                  </a:lnTo>
                  <a:lnTo>
                    <a:pt x="106213" y="444389"/>
                  </a:lnTo>
                  <a:lnTo>
                    <a:pt x="108423" y="442989"/>
                  </a:lnTo>
                  <a:lnTo>
                    <a:pt x="103470" y="442017"/>
                  </a:lnTo>
                  <a:lnTo>
                    <a:pt x="102089" y="441255"/>
                  </a:lnTo>
                  <a:lnTo>
                    <a:pt x="100517" y="439493"/>
                  </a:lnTo>
                  <a:lnTo>
                    <a:pt x="96631" y="439198"/>
                  </a:lnTo>
                  <a:lnTo>
                    <a:pt x="94783" y="439646"/>
                  </a:lnTo>
                  <a:lnTo>
                    <a:pt x="91659" y="441970"/>
                  </a:lnTo>
                  <a:lnTo>
                    <a:pt x="86725" y="444437"/>
                  </a:lnTo>
                  <a:lnTo>
                    <a:pt x="80772" y="441017"/>
                  </a:lnTo>
                  <a:lnTo>
                    <a:pt x="79610" y="439522"/>
                  </a:lnTo>
                  <a:lnTo>
                    <a:pt x="79638" y="436616"/>
                  </a:lnTo>
                  <a:lnTo>
                    <a:pt x="78743" y="434312"/>
                  </a:lnTo>
                  <a:lnTo>
                    <a:pt x="77095" y="433502"/>
                  </a:lnTo>
                  <a:lnTo>
                    <a:pt x="79200" y="430501"/>
                  </a:lnTo>
                  <a:lnTo>
                    <a:pt x="81753" y="428501"/>
                  </a:lnTo>
                  <a:lnTo>
                    <a:pt x="87354" y="426511"/>
                  </a:lnTo>
                  <a:lnTo>
                    <a:pt x="95840" y="421777"/>
                  </a:lnTo>
                  <a:lnTo>
                    <a:pt x="100603" y="419757"/>
                  </a:lnTo>
                  <a:lnTo>
                    <a:pt x="105023" y="416271"/>
                  </a:lnTo>
                  <a:lnTo>
                    <a:pt x="106851" y="414138"/>
                  </a:lnTo>
                  <a:lnTo>
                    <a:pt x="108175" y="411213"/>
                  </a:lnTo>
                  <a:lnTo>
                    <a:pt x="109490" y="407632"/>
                  </a:lnTo>
                  <a:lnTo>
                    <a:pt x="111366" y="404708"/>
                  </a:lnTo>
                  <a:lnTo>
                    <a:pt x="109547" y="404013"/>
                  </a:lnTo>
                  <a:lnTo>
                    <a:pt x="108728" y="401812"/>
                  </a:lnTo>
                  <a:lnTo>
                    <a:pt x="108947" y="399574"/>
                  </a:lnTo>
                  <a:lnTo>
                    <a:pt x="109785" y="397583"/>
                  </a:lnTo>
                  <a:lnTo>
                    <a:pt x="109033" y="395088"/>
                  </a:lnTo>
                  <a:lnTo>
                    <a:pt x="107690" y="392478"/>
                  </a:lnTo>
                  <a:lnTo>
                    <a:pt x="107766" y="390439"/>
                  </a:lnTo>
                  <a:lnTo>
                    <a:pt x="108128" y="388258"/>
                  </a:lnTo>
                  <a:lnTo>
                    <a:pt x="104718" y="388373"/>
                  </a:lnTo>
                  <a:lnTo>
                    <a:pt x="101317" y="389058"/>
                  </a:lnTo>
                  <a:lnTo>
                    <a:pt x="98231" y="390601"/>
                  </a:lnTo>
                  <a:lnTo>
                    <a:pt x="95240" y="392697"/>
                  </a:lnTo>
                  <a:lnTo>
                    <a:pt x="92583" y="393087"/>
                  </a:lnTo>
                  <a:lnTo>
                    <a:pt x="92621" y="391411"/>
                  </a:lnTo>
                  <a:lnTo>
                    <a:pt x="93774" y="389334"/>
                  </a:lnTo>
                  <a:lnTo>
                    <a:pt x="96783" y="386362"/>
                  </a:lnTo>
                  <a:lnTo>
                    <a:pt x="100003" y="383896"/>
                  </a:lnTo>
                  <a:lnTo>
                    <a:pt x="101146" y="382019"/>
                  </a:lnTo>
                  <a:lnTo>
                    <a:pt x="102051" y="379838"/>
                  </a:lnTo>
                  <a:lnTo>
                    <a:pt x="103651" y="378085"/>
                  </a:lnTo>
                  <a:lnTo>
                    <a:pt x="107861" y="374771"/>
                  </a:lnTo>
                  <a:lnTo>
                    <a:pt x="115929" y="371037"/>
                  </a:lnTo>
                  <a:lnTo>
                    <a:pt x="117129" y="370818"/>
                  </a:lnTo>
                  <a:lnTo>
                    <a:pt x="120291" y="371256"/>
                  </a:lnTo>
                  <a:lnTo>
                    <a:pt x="123406" y="370684"/>
                  </a:lnTo>
                  <a:lnTo>
                    <a:pt x="126130" y="369341"/>
                  </a:lnTo>
                  <a:lnTo>
                    <a:pt x="128844" y="369056"/>
                  </a:lnTo>
                  <a:lnTo>
                    <a:pt x="134960" y="372932"/>
                  </a:lnTo>
                  <a:lnTo>
                    <a:pt x="133140" y="366932"/>
                  </a:lnTo>
                  <a:lnTo>
                    <a:pt x="135836" y="365493"/>
                  </a:lnTo>
                  <a:lnTo>
                    <a:pt x="139741" y="370923"/>
                  </a:lnTo>
                  <a:lnTo>
                    <a:pt x="141189" y="371494"/>
                  </a:lnTo>
                  <a:lnTo>
                    <a:pt x="144256" y="370704"/>
                  </a:lnTo>
                  <a:lnTo>
                    <a:pt x="143075" y="369789"/>
                  </a:lnTo>
                  <a:lnTo>
                    <a:pt x="141694" y="369732"/>
                  </a:lnTo>
                  <a:lnTo>
                    <a:pt x="139884" y="368913"/>
                  </a:lnTo>
                  <a:lnTo>
                    <a:pt x="138360" y="367170"/>
                  </a:lnTo>
                  <a:lnTo>
                    <a:pt x="135826" y="361626"/>
                  </a:lnTo>
                  <a:lnTo>
                    <a:pt x="135969" y="358330"/>
                  </a:lnTo>
                  <a:lnTo>
                    <a:pt x="137674" y="354902"/>
                  </a:lnTo>
                  <a:lnTo>
                    <a:pt x="139560" y="351739"/>
                  </a:lnTo>
                  <a:lnTo>
                    <a:pt x="137979" y="351111"/>
                  </a:lnTo>
                  <a:lnTo>
                    <a:pt x="136712" y="349901"/>
                  </a:lnTo>
                  <a:lnTo>
                    <a:pt x="136350" y="346729"/>
                  </a:lnTo>
                  <a:lnTo>
                    <a:pt x="136845" y="343919"/>
                  </a:lnTo>
                  <a:lnTo>
                    <a:pt x="140237" y="341443"/>
                  </a:lnTo>
                  <a:lnTo>
                    <a:pt x="141236" y="337671"/>
                  </a:lnTo>
                  <a:lnTo>
                    <a:pt x="141656" y="333508"/>
                  </a:lnTo>
                  <a:lnTo>
                    <a:pt x="141094" y="331594"/>
                  </a:lnTo>
                  <a:lnTo>
                    <a:pt x="137722" y="331899"/>
                  </a:lnTo>
                  <a:lnTo>
                    <a:pt x="136084" y="332680"/>
                  </a:lnTo>
                  <a:lnTo>
                    <a:pt x="134617" y="333908"/>
                  </a:lnTo>
                  <a:lnTo>
                    <a:pt x="133112" y="333832"/>
                  </a:lnTo>
                  <a:lnTo>
                    <a:pt x="128949" y="329222"/>
                  </a:lnTo>
                  <a:lnTo>
                    <a:pt x="126578" y="325726"/>
                  </a:lnTo>
                  <a:lnTo>
                    <a:pt x="122320" y="318316"/>
                  </a:lnTo>
                  <a:lnTo>
                    <a:pt x="121720" y="313868"/>
                  </a:lnTo>
                  <a:lnTo>
                    <a:pt x="125120" y="304248"/>
                  </a:lnTo>
                  <a:lnTo>
                    <a:pt x="130378" y="298066"/>
                  </a:lnTo>
                  <a:lnTo>
                    <a:pt x="136569" y="295904"/>
                  </a:lnTo>
                  <a:lnTo>
                    <a:pt x="135369" y="295494"/>
                  </a:lnTo>
                  <a:lnTo>
                    <a:pt x="125930" y="295408"/>
                  </a:lnTo>
                  <a:lnTo>
                    <a:pt x="122815" y="296170"/>
                  </a:lnTo>
                  <a:lnTo>
                    <a:pt x="119929" y="298704"/>
                  </a:lnTo>
                  <a:lnTo>
                    <a:pt x="118300" y="299485"/>
                  </a:lnTo>
                  <a:lnTo>
                    <a:pt x="116586" y="299771"/>
                  </a:lnTo>
                  <a:lnTo>
                    <a:pt x="115024" y="301028"/>
                  </a:lnTo>
                  <a:lnTo>
                    <a:pt x="113500" y="302771"/>
                  </a:lnTo>
                  <a:lnTo>
                    <a:pt x="111909" y="303895"/>
                  </a:lnTo>
                  <a:lnTo>
                    <a:pt x="108756" y="303600"/>
                  </a:lnTo>
                  <a:lnTo>
                    <a:pt x="107232" y="303971"/>
                  </a:lnTo>
                  <a:lnTo>
                    <a:pt x="106137" y="302962"/>
                  </a:lnTo>
                  <a:lnTo>
                    <a:pt x="105213" y="301295"/>
                  </a:lnTo>
                  <a:lnTo>
                    <a:pt x="104013" y="300847"/>
                  </a:lnTo>
                  <a:lnTo>
                    <a:pt x="102670" y="301362"/>
                  </a:lnTo>
                  <a:lnTo>
                    <a:pt x="99831" y="303609"/>
                  </a:lnTo>
                  <a:lnTo>
                    <a:pt x="96955" y="304933"/>
                  </a:lnTo>
                  <a:lnTo>
                    <a:pt x="93478" y="303514"/>
                  </a:lnTo>
                  <a:lnTo>
                    <a:pt x="88916" y="300866"/>
                  </a:lnTo>
                  <a:lnTo>
                    <a:pt x="88021" y="301838"/>
                  </a:lnTo>
                  <a:lnTo>
                    <a:pt x="87011" y="304295"/>
                  </a:lnTo>
                  <a:lnTo>
                    <a:pt x="86430" y="308115"/>
                  </a:lnTo>
                  <a:lnTo>
                    <a:pt x="83191" y="304790"/>
                  </a:lnTo>
                  <a:lnTo>
                    <a:pt x="80438" y="300342"/>
                  </a:lnTo>
                  <a:lnTo>
                    <a:pt x="79505" y="297542"/>
                  </a:lnTo>
                  <a:lnTo>
                    <a:pt x="79438" y="294380"/>
                  </a:lnTo>
                  <a:lnTo>
                    <a:pt x="80934" y="293151"/>
                  </a:lnTo>
                  <a:lnTo>
                    <a:pt x="82563" y="294275"/>
                  </a:lnTo>
                  <a:lnTo>
                    <a:pt x="84982" y="286760"/>
                  </a:lnTo>
                  <a:lnTo>
                    <a:pt x="89801" y="276930"/>
                  </a:lnTo>
                  <a:lnTo>
                    <a:pt x="91507" y="274044"/>
                  </a:lnTo>
                  <a:lnTo>
                    <a:pt x="92697" y="270262"/>
                  </a:lnTo>
                  <a:lnTo>
                    <a:pt x="92497" y="267786"/>
                  </a:lnTo>
                  <a:lnTo>
                    <a:pt x="91440" y="265690"/>
                  </a:lnTo>
                  <a:lnTo>
                    <a:pt x="86954" y="260928"/>
                  </a:lnTo>
                  <a:lnTo>
                    <a:pt x="87011" y="257032"/>
                  </a:lnTo>
                  <a:lnTo>
                    <a:pt x="87487" y="252632"/>
                  </a:lnTo>
                  <a:lnTo>
                    <a:pt x="88706" y="249984"/>
                  </a:lnTo>
                  <a:lnTo>
                    <a:pt x="89220" y="249479"/>
                  </a:lnTo>
                  <a:lnTo>
                    <a:pt x="95174" y="249546"/>
                  </a:lnTo>
                  <a:lnTo>
                    <a:pt x="92850" y="248174"/>
                  </a:lnTo>
                  <a:lnTo>
                    <a:pt x="88220" y="244183"/>
                  </a:lnTo>
                  <a:lnTo>
                    <a:pt x="88306" y="242764"/>
                  </a:lnTo>
                  <a:lnTo>
                    <a:pt x="89392" y="239058"/>
                  </a:lnTo>
                  <a:lnTo>
                    <a:pt x="88887" y="239430"/>
                  </a:lnTo>
                  <a:lnTo>
                    <a:pt x="87897" y="241145"/>
                  </a:lnTo>
                  <a:lnTo>
                    <a:pt x="86001" y="245288"/>
                  </a:lnTo>
                  <a:lnTo>
                    <a:pt x="84849" y="246250"/>
                  </a:lnTo>
                  <a:lnTo>
                    <a:pt x="81572" y="247231"/>
                  </a:lnTo>
                  <a:lnTo>
                    <a:pt x="80972" y="249260"/>
                  </a:lnTo>
                  <a:lnTo>
                    <a:pt x="80448" y="249793"/>
                  </a:lnTo>
                  <a:lnTo>
                    <a:pt x="78819" y="250022"/>
                  </a:lnTo>
                  <a:lnTo>
                    <a:pt x="78314" y="251917"/>
                  </a:lnTo>
                  <a:lnTo>
                    <a:pt x="77953" y="252041"/>
                  </a:lnTo>
                  <a:lnTo>
                    <a:pt x="77486" y="250003"/>
                  </a:lnTo>
                  <a:lnTo>
                    <a:pt x="77438" y="246612"/>
                  </a:lnTo>
                  <a:lnTo>
                    <a:pt x="78086" y="243487"/>
                  </a:lnTo>
                  <a:lnTo>
                    <a:pt x="79324" y="241040"/>
                  </a:lnTo>
                  <a:lnTo>
                    <a:pt x="84125" y="235468"/>
                  </a:lnTo>
                  <a:lnTo>
                    <a:pt x="81791" y="237192"/>
                  </a:lnTo>
                  <a:lnTo>
                    <a:pt x="76495" y="242345"/>
                  </a:lnTo>
                  <a:lnTo>
                    <a:pt x="73790" y="245726"/>
                  </a:lnTo>
                  <a:lnTo>
                    <a:pt x="73066" y="246869"/>
                  </a:lnTo>
                  <a:lnTo>
                    <a:pt x="72847" y="247831"/>
                  </a:lnTo>
                  <a:lnTo>
                    <a:pt x="72857" y="248936"/>
                  </a:lnTo>
                  <a:lnTo>
                    <a:pt x="74066" y="254851"/>
                  </a:lnTo>
                  <a:lnTo>
                    <a:pt x="73714" y="257585"/>
                  </a:lnTo>
                  <a:lnTo>
                    <a:pt x="69151" y="275539"/>
                  </a:lnTo>
                  <a:lnTo>
                    <a:pt x="68284" y="277330"/>
                  </a:lnTo>
                  <a:lnTo>
                    <a:pt x="67494" y="278263"/>
                  </a:lnTo>
                  <a:lnTo>
                    <a:pt x="66742" y="278482"/>
                  </a:lnTo>
                  <a:lnTo>
                    <a:pt x="64494" y="278139"/>
                  </a:lnTo>
                  <a:lnTo>
                    <a:pt x="63494" y="276796"/>
                  </a:lnTo>
                  <a:lnTo>
                    <a:pt x="63503" y="275282"/>
                  </a:lnTo>
                  <a:lnTo>
                    <a:pt x="63922" y="273006"/>
                  </a:lnTo>
                  <a:lnTo>
                    <a:pt x="65817" y="264500"/>
                  </a:lnTo>
                  <a:lnTo>
                    <a:pt x="66637" y="262128"/>
                  </a:lnTo>
                  <a:lnTo>
                    <a:pt x="67856" y="259918"/>
                  </a:lnTo>
                  <a:lnTo>
                    <a:pt x="70542" y="256051"/>
                  </a:lnTo>
                  <a:lnTo>
                    <a:pt x="70475" y="255794"/>
                  </a:lnTo>
                  <a:lnTo>
                    <a:pt x="68685" y="256556"/>
                  </a:lnTo>
                  <a:lnTo>
                    <a:pt x="67923" y="256308"/>
                  </a:lnTo>
                  <a:lnTo>
                    <a:pt x="67370" y="255537"/>
                  </a:lnTo>
                  <a:lnTo>
                    <a:pt x="67723" y="244002"/>
                  </a:lnTo>
                  <a:lnTo>
                    <a:pt x="69180" y="240192"/>
                  </a:lnTo>
                  <a:lnTo>
                    <a:pt x="69723" y="234639"/>
                  </a:lnTo>
                  <a:lnTo>
                    <a:pt x="70980" y="229867"/>
                  </a:lnTo>
                  <a:lnTo>
                    <a:pt x="72437" y="226381"/>
                  </a:lnTo>
                  <a:lnTo>
                    <a:pt x="73552" y="221913"/>
                  </a:lnTo>
                  <a:lnTo>
                    <a:pt x="75219" y="219923"/>
                  </a:lnTo>
                  <a:lnTo>
                    <a:pt x="75667" y="216875"/>
                  </a:lnTo>
                  <a:lnTo>
                    <a:pt x="77543" y="213570"/>
                  </a:lnTo>
                  <a:lnTo>
                    <a:pt x="78991" y="210112"/>
                  </a:lnTo>
                  <a:lnTo>
                    <a:pt x="78210" y="210455"/>
                  </a:lnTo>
                  <a:lnTo>
                    <a:pt x="68942" y="219446"/>
                  </a:lnTo>
                  <a:lnTo>
                    <a:pt x="66580" y="221075"/>
                  </a:lnTo>
                  <a:lnTo>
                    <a:pt x="63360" y="220637"/>
                  </a:lnTo>
                  <a:lnTo>
                    <a:pt x="60903" y="219628"/>
                  </a:lnTo>
                  <a:lnTo>
                    <a:pt x="58979" y="217503"/>
                  </a:lnTo>
                  <a:lnTo>
                    <a:pt x="58121" y="213417"/>
                  </a:lnTo>
                  <a:lnTo>
                    <a:pt x="55750" y="213312"/>
                  </a:lnTo>
                  <a:lnTo>
                    <a:pt x="53721" y="212608"/>
                  </a:lnTo>
                  <a:lnTo>
                    <a:pt x="53740" y="212055"/>
                  </a:lnTo>
                  <a:lnTo>
                    <a:pt x="56359" y="209826"/>
                  </a:lnTo>
                  <a:lnTo>
                    <a:pt x="60560" y="209064"/>
                  </a:lnTo>
                  <a:lnTo>
                    <a:pt x="64494" y="205483"/>
                  </a:lnTo>
                  <a:lnTo>
                    <a:pt x="60998" y="203063"/>
                  </a:lnTo>
                  <a:lnTo>
                    <a:pt x="61293" y="202292"/>
                  </a:lnTo>
                  <a:lnTo>
                    <a:pt x="64341" y="200225"/>
                  </a:lnTo>
                  <a:lnTo>
                    <a:pt x="68218" y="193281"/>
                  </a:lnTo>
                  <a:lnTo>
                    <a:pt x="68999" y="186871"/>
                  </a:lnTo>
                  <a:lnTo>
                    <a:pt x="67151" y="183852"/>
                  </a:lnTo>
                  <a:lnTo>
                    <a:pt x="66484" y="181870"/>
                  </a:lnTo>
                  <a:lnTo>
                    <a:pt x="62779" y="179661"/>
                  </a:lnTo>
                  <a:lnTo>
                    <a:pt x="62160" y="176832"/>
                  </a:lnTo>
                  <a:lnTo>
                    <a:pt x="62589" y="175241"/>
                  </a:lnTo>
                  <a:lnTo>
                    <a:pt x="63798" y="173689"/>
                  </a:lnTo>
                  <a:lnTo>
                    <a:pt x="65618" y="172488"/>
                  </a:lnTo>
                  <a:lnTo>
                    <a:pt x="68475" y="171326"/>
                  </a:lnTo>
                  <a:lnTo>
                    <a:pt x="65884" y="170088"/>
                  </a:lnTo>
                  <a:lnTo>
                    <a:pt x="64913" y="168621"/>
                  </a:lnTo>
                  <a:lnTo>
                    <a:pt x="64179" y="166497"/>
                  </a:lnTo>
                  <a:lnTo>
                    <a:pt x="64113" y="165268"/>
                  </a:lnTo>
                  <a:lnTo>
                    <a:pt x="65456" y="159782"/>
                  </a:lnTo>
                  <a:lnTo>
                    <a:pt x="66237" y="157515"/>
                  </a:lnTo>
                  <a:lnTo>
                    <a:pt x="67770" y="154619"/>
                  </a:lnTo>
                  <a:lnTo>
                    <a:pt x="74704" y="154781"/>
                  </a:lnTo>
                  <a:lnTo>
                    <a:pt x="75505" y="153505"/>
                  </a:lnTo>
                  <a:lnTo>
                    <a:pt x="76295" y="153457"/>
                  </a:lnTo>
                  <a:lnTo>
                    <a:pt x="79838" y="154629"/>
                  </a:lnTo>
                  <a:lnTo>
                    <a:pt x="79315" y="153371"/>
                  </a:lnTo>
                  <a:lnTo>
                    <a:pt x="73514" y="146466"/>
                  </a:lnTo>
                  <a:lnTo>
                    <a:pt x="72990" y="145152"/>
                  </a:lnTo>
                  <a:lnTo>
                    <a:pt x="74647" y="141418"/>
                  </a:lnTo>
                  <a:lnTo>
                    <a:pt x="74762" y="139751"/>
                  </a:lnTo>
                  <a:lnTo>
                    <a:pt x="74523" y="137970"/>
                  </a:lnTo>
                  <a:lnTo>
                    <a:pt x="75000" y="136608"/>
                  </a:lnTo>
                  <a:lnTo>
                    <a:pt x="76838" y="135969"/>
                  </a:lnTo>
                  <a:lnTo>
                    <a:pt x="82439" y="136027"/>
                  </a:lnTo>
                  <a:lnTo>
                    <a:pt x="83820" y="135398"/>
                  </a:lnTo>
                  <a:lnTo>
                    <a:pt x="83191" y="133588"/>
                  </a:lnTo>
                  <a:lnTo>
                    <a:pt x="81886" y="131207"/>
                  </a:lnTo>
                  <a:lnTo>
                    <a:pt x="81629" y="129207"/>
                  </a:lnTo>
                  <a:lnTo>
                    <a:pt x="81934" y="127435"/>
                  </a:lnTo>
                  <a:lnTo>
                    <a:pt x="82001" y="123863"/>
                  </a:lnTo>
                  <a:lnTo>
                    <a:pt x="82258" y="122282"/>
                  </a:lnTo>
                  <a:lnTo>
                    <a:pt x="83591" y="119910"/>
                  </a:lnTo>
                  <a:lnTo>
                    <a:pt x="84687" y="119206"/>
                  </a:lnTo>
                  <a:lnTo>
                    <a:pt x="86049" y="118796"/>
                  </a:lnTo>
                  <a:lnTo>
                    <a:pt x="89125" y="119586"/>
                  </a:lnTo>
                  <a:lnTo>
                    <a:pt x="90297" y="120539"/>
                  </a:lnTo>
                  <a:lnTo>
                    <a:pt x="91649" y="122796"/>
                  </a:lnTo>
                  <a:lnTo>
                    <a:pt x="92640" y="122615"/>
                  </a:lnTo>
                  <a:lnTo>
                    <a:pt x="96469" y="120158"/>
                  </a:lnTo>
                  <a:lnTo>
                    <a:pt x="97622" y="119805"/>
                  </a:lnTo>
                  <a:lnTo>
                    <a:pt x="99193" y="122654"/>
                  </a:lnTo>
                  <a:lnTo>
                    <a:pt x="105737" y="120387"/>
                  </a:lnTo>
                  <a:lnTo>
                    <a:pt x="114528" y="119377"/>
                  </a:lnTo>
                  <a:lnTo>
                    <a:pt x="119815" y="117881"/>
                  </a:lnTo>
                  <a:lnTo>
                    <a:pt x="125378" y="117338"/>
                  </a:lnTo>
                  <a:lnTo>
                    <a:pt x="130568" y="115634"/>
                  </a:lnTo>
                  <a:lnTo>
                    <a:pt x="136074" y="116415"/>
                  </a:lnTo>
                  <a:lnTo>
                    <a:pt x="136265" y="117405"/>
                  </a:lnTo>
                  <a:lnTo>
                    <a:pt x="135979" y="118777"/>
                  </a:lnTo>
                  <a:lnTo>
                    <a:pt x="134626" y="122482"/>
                  </a:lnTo>
                  <a:close/>
                  <a:moveTo>
                    <a:pt x="139455" y="110890"/>
                  </a:moveTo>
                  <a:lnTo>
                    <a:pt x="139198" y="111042"/>
                  </a:lnTo>
                  <a:lnTo>
                    <a:pt x="138217" y="110099"/>
                  </a:lnTo>
                  <a:lnTo>
                    <a:pt x="136617" y="106718"/>
                  </a:lnTo>
                  <a:lnTo>
                    <a:pt x="139141" y="106042"/>
                  </a:lnTo>
                  <a:lnTo>
                    <a:pt x="140332" y="106461"/>
                  </a:lnTo>
                  <a:lnTo>
                    <a:pt x="139884" y="107899"/>
                  </a:lnTo>
                  <a:lnTo>
                    <a:pt x="139455" y="110890"/>
                  </a:lnTo>
                  <a:close/>
                  <a:moveTo>
                    <a:pt x="133150" y="108185"/>
                  </a:moveTo>
                  <a:lnTo>
                    <a:pt x="131616" y="108871"/>
                  </a:lnTo>
                  <a:lnTo>
                    <a:pt x="130102" y="108823"/>
                  </a:lnTo>
                  <a:lnTo>
                    <a:pt x="127740" y="105842"/>
                  </a:lnTo>
                  <a:lnTo>
                    <a:pt x="126844" y="103670"/>
                  </a:lnTo>
                  <a:lnTo>
                    <a:pt x="127006" y="102232"/>
                  </a:lnTo>
                  <a:lnTo>
                    <a:pt x="127997" y="101746"/>
                  </a:lnTo>
                  <a:lnTo>
                    <a:pt x="130283" y="102451"/>
                  </a:lnTo>
                  <a:lnTo>
                    <a:pt x="131464" y="104937"/>
                  </a:lnTo>
                  <a:lnTo>
                    <a:pt x="131616" y="106547"/>
                  </a:lnTo>
                  <a:lnTo>
                    <a:pt x="131893" y="107175"/>
                  </a:lnTo>
                  <a:lnTo>
                    <a:pt x="133312" y="107813"/>
                  </a:lnTo>
                  <a:lnTo>
                    <a:pt x="133150" y="108185"/>
                  </a:lnTo>
                  <a:close/>
                  <a:moveTo>
                    <a:pt x="136026" y="96021"/>
                  </a:moveTo>
                  <a:lnTo>
                    <a:pt x="135664" y="97298"/>
                  </a:lnTo>
                  <a:lnTo>
                    <a:pt x="137693" y="97269"/>
                  </a:lnTo>
                  <a:lnTo>
                    <a:pt x="140636" y="98355"/>
                  </a:lnTo>
                  <a:lnTo>
                    <a:pt x="142418" y="98488"/>
                  </a:lnTo>
                  <a:lnTo>
                    <a:pt x="143904" y="99841"/>
                  </a:lnTo>
                  <a:lnTo>
                    <a:pt x="143084" y="102365"/>
                  </a:lnTo>
                  <a:lnTo>
                    <a:pt x="142199" y="103079"/>
                  </a:lnTo>
                  <a:lnTo>
                    <a:pt x="141198" y="103222"/>
                  </a:lnTo>
                  <a:lnTo>
                    <a:pt x="137693" y="100698"/>
                  </a:lnTo>
                  <a:lnTo>
                    <a:pt x="133102" y="101746"/>
                  </a:lnTo>
                  <a:lnTo>
                    <a:pt x="132188" y="101422"/>
                  </a:lnTo>
                  <a:lnTo>
                    <a:pt x="131588" y="100727"/>
                  </a:lnTo>
                  <a:lnTo>
                    <a:pt x="131340" y="99860"/>
                  </a:lnTo>
                  <a:lnTo>
                    <a:pt x="131340" y="98088"/>
                  </a:lnTo>
                  <a:lnTo>
                    <a:pt x="131093" y="97565"/>
                  </a:lnTo>
                  <a:lnTo>
                    <a:pt x="129426" y="99241"/>
                  </a:lnTo>
                  <a:lnTo>
                    <a:pt x="128702" y="99041"/>
                  </a:lnTo>
                  <a:lnTo>
                    <a:pt x="128292" y="98241"/>
                  </a:lnTo>
                  <a:lnTo>
                    <a:pt x="128111" y="96584"/>
                  </a:lnTo>
                  <a:lnTo>
                    <a:pt x="128292" y="94193"/>
                  </a:lnTo>
                  <a:lnTo>
                    <a:pt x="129273" y="90773"/>
                  </a:lnTo>
                  <a:lnTo>
                    <a:pt x="130921" y="90088"/>
                  </a:lnTo>
                  <a:lnTo>
                    <a:pt x="133378" y="90488"/>
                  </a:lnTo>
                  <a:lnTo>
                    <a:pt x="136198" y="92421"/>
                  </a:lnTo>
                  <a:lnTo>
                    <a:pt x="137046" y="93612"/>
                  </a:lnTo>
                  <a:lnTo>
                    <a:pt x="137027" y="94564"/>
                  </a:lnTo>
                  <a:lnTo>
                    <a:pt x="136026" y="96021"/>
                  </a:lnTo>
                  <a:close/>
                  <a:moveTo>
                    <a:pt x="149618" y="85525"/>
                  </a:moveTo>
                  <a:lnTo>
                    <a:pt x="146599" y="85582"/>
                  </a:lnTo>
                  <a:lnTo>
                    <a:pt x="148161" y="82496"/>
                  </a:lnTo>
                  <a:lnTo>
                    <a:pt x="149981" y="81715"/>
                  </a:lnTo>
                  <a:lnTo>
                    <a:pt x="153419" y="82058"/>
                  </a:lnTo>
                  <a:lnTo>
                    <a:pt x="152810" y="83449"/>
                  </a:lnTo>
                  <a:lnTo>
                    <a:pt x="149618" y="85525"/>
                  </a:lnTo>
                  <a:close/>
                  <a:moveTo>
                    <a:pt x="144799" y="87849"/>
                  </a:moveTo>
                  <a:lnTo>
                    <a:pt x="142504" y="89145"/>
                  </a:lnTo>
                  <a:lnTo>
                    <a:pt x="141522" y="88078"/>
                  </a:lnTo>
                  <a:lnTo>
                    <a:pt x="141265" y="84725"/>
                  </a:lnTo>
                  <a:lnTo>
                    <a:pt x="138531" y="83287"/>
                  </a:lnTo>
                  <a:lnTo>
                    <a:pt x="137198" y="82391"/>
                  </a:lnTo>
                  <a:lnTo>
                    <a:pt x="136169" y="80696"/>
                  </a:lnTo>
                  <a:lnTo>
                    <a:pt x="136427" y="80172"/>
                  </a:lnTo>
                  <a:lnTo>
                    <a:pt x="138208" y="79477"/>
                  </a:lnTo>
                  <a:lnTo>
                    <a:pt x="141256" y="82553"/>
                  </a:lnTo>
                  <a:lnTo>
                    <a:pt x="142504" y="85030"/>
                  </a:lnTo>
                  <a:lnTo>
                    <a:pt x="144761" y="85763"/>
                  </a:lnTo>
                  <a:lnTo>
                    <a:pt x="145047" y="86144"/>
                  </a:lnTo>
                  <a:lnTo>
                    <a:pt x="144799" y="87849"/>
                  </a:lnTo>
                  <a:close/>
                  <a:moveTo>
                    <a:pt x="182785" y="16050"/>
                  </a:moveTo>
                  <a:lnTo>
                    <a:pt x="183337" y="19869"/>
                  </a:lnTo>
                  <a:lnTo>
                    <a:pt x="184718" y="18879"/>
                  </a:lnTo>
                  <a:lnTo>
                    <a:pt x="186804" y="22536"/>
                  </a:lnTo>
                  <a:lnTo>
                    <a:pt x="187871" y="22536"/>
                  </a:lnTo>
                  <a:lnTo>
                    <a:pt x="189624" y="21088"/>
                  </a:lnTo>
                  <a:lnTo>
                    <a:pt x="189271" y="24489"/>
                  </a:lnTo>
                  <a:lnTo>
                    <a:pt x="187452" y="33890"/>
                  </a:lnTo>
                  <a:lnTo>
                    <a:pt x="186937" y="35481"/>
                  </a:lnTo>
                  <a:lnTo>
                    <a:pt x="186595" y="38329"/>
                  </a:lnTo>
                  <a:lnTo>
                    <a:pt x="186233" y="38891"/>
                  </a:lnTo>
                  <a:lnTo>
                    <a:pt x="185699" y="44634"/>
                  </a:lnTo>
                  <a:lnTo>
                    <a:pt x="184470" y="46520"/>
                  </a:lnTo>
                  <a:lnTo>
                    <a:pt x="183442" y="51016"/>
                  </a:lnTo>
                  <a:lnTo>
                    <a:pt x="183023" y="51454"/>
                  </a:lnTo>
                  <a:lnTo>
                    <a:pt x="181518" y="49730"/>
                  </a:lnTo>
                  <a:lnTo>
                    <a:pt x="183023" y="42863"/>
                  </a:lnTo>
                  <a:lnTo>
                    <a:pt x="183642" y="38862"/>
                  </a:lnTo>
                  <a:lnTo>
                    <a:pt x="183242" y="36786"/>
                  </a:lnTo>
                  <a:lnTo>
                    <a:pt x="182394" y="34909"/>
                  </a:lnTo>
                  <a:lnTo>
                    <a:pt x="180089" y="34852"/>
                  </a:lnTo>
                  <a:lnTo>
                    <a:pt x="178146" y="35719"/>
                  </a:lnTo>
                  <a:lnTo>
                    <a:pt x="177736" y="34614"/>
                  </a:lnTo>
                  <a:lnTo>
                    <a:pt x="177679" y="33128"/>
                  </a:lnTo>
                  <a:lnTo>
                    <a:pt x="177212" y="32633"/>
                  </a:lnTo>
                  <a:lnTo>
                    <a:pt x="174631" y="32737"/>
                  </a:lnTo>
                  <a:lnTo>
                    <a:pt x="173869" y="32328"/>
                  </a:lnTo>
                  <a:lnTo>
                    <a:pt x="173364" y="30956"/>
                  </a:lnTo>
                  <a:lnTo>
                    <a:pt x="173269" y="29861"/>
                  </a:lnTo>
                  <a:lnTo>
                    <a:pt x="175603" y="29004"/>
                  </a:lnTo>
                  <a:lnTo>
                    <a:pt x="177794" y="29328"/>
                  </a:lnTo>
                  <a:lnTo>
                    <a:pt x="180994" y="27146"/>
                  </a:lnTo>
                  <a:lnTo>
                    <a:pt x="178994" y="19822"/>
                  </a:lnTo>
                  <a:lnTo>
                    <a:pt x="176336" y="19126"/>
                  </a:lnTo>
                  <a:lnTo>
                    <a:pt x="175726" y="18412"/>
                  </a:lnTo>
                  <a:lnTo>
                    <a:pt x="176241" y="17164"/>
                  </a:lnTo>
                  <a:lnTo>
                    <a:pt x="177698" y="16488"/>
                  </a:lnTo>
                  <a:lnTo>
                    <a:pt x="179937" y="12744"/>
                  </a:lnTo>
                  <a:lnTo>
                    <a:pt x="181280" y="12154"/>
                  </a:lnTo>
                  <a:lnTo>
                    <a:pt x="182947" y="12259"/>
                  </a:lnTo>
                  <a:lnTo>
                    <a:pt x="182785" y="16050"/>
                  </a:lnTo>
                  <a:close/>
                  <a:moveTo>
                    <a:pt x="189890" y="17336"/>
                  </a:moveTo>
                  <a:lnTo>
                    <a:pt x="189214" y="17955"/>
                  </a:lnTo>
                  <a:lnTo>
                    <a:pt x="186604" y="12440"/>
                  </a:lnTo>
                  <a:lnTo>
                    <a:pt x="188538" y="6106"/>
                  </a:lnTo>
                  <a:lnTo>
                    <a:pt x="190881" y="6306"/>
                  </a:lnTo>
                  <a:lnTo>
                    <a:pt x="191252" y="7963"/>
                  </a:lnTo>
                  <a:lnTo>
                    <a:pt x="191024" y="9497"/>
                  </a:lnTo>
                  <a:lnTo>
                    <a:pt x="189833" y="9630"/>
                  </a:lnTo>
                  <a:lnTo>
                    <a:pt x="189728" y="10096"/>
                  </a:lnTo>
                  <a:lnTo>
                    <a:pt x="190100" y="13040"/>
                  </a:lnTo>
                  <a:lnTo>
                    <a:pt x="190119" y="16450"/>
                  </a:lnTo>
                  <a:lnTo>
                    <a:pt x="189890" y="17336"/>
                  </a:lnTo>
                  <a:close/>
                  <a:moveTo>
                    <a:pt x="197053" y="1086"/>
                  </a:moveTo>
                  <a:lnTo>
                    <a:pt x="197053" y="1715"/>
                  </a:lnTo>
                  <a:lnTo>
                    <a:pt x="195662" y="6325"/>
                  </a:lnTo>
                  <a:lnTo>
                    <a:pt x="195681" y="8087"/>
                  </a:lnTo>
                  <a:lnTo>
                    <a:pt x="193443" y="7915"/>
                  </a:lnTo>
                  <a:lnTo>
                    <a:pt x="193091" y="7353"/>
                  </a:lnTo>
                  <a:lnTo>
                    <a:pt x="192672" y="4715"/>
                  </a:lnTo>
                  <a:lnTo>
                    <a:pt x="192957" y="1905"/>
                  </a:lnTo>
                  <a:lnTo>
                    <a:pt x="193272" y="1172"/>
                  </a:lnTo>
                  <a:lnTo>
                    <a:pt x="193919" y="876"/>
                  </a:lnTo>
                  <a:lnTo>
                    <a:pt x="194624" y="1429"/>
                  </a:lnTo>
                  <a:lnTo>
                    <a:pt x="195739" y="0"/>
                  </a:lnTo>
                  <a:lnTo>
                    <a:pt x="196320" y="29"/>
                  </a:lnTo>
                  <a:lnTo>
                    <a:pt x="197053" y="1086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4" name="Forme libre : forme 22">
              <a:extLst>
                <a:ext uri="{FF2B5EF4-FFF2-40B4-BE49-F238E27FC236}">
                  <a16:creationId xmlns:a16="http://schemas.microsoft.com/office/drawing/2014/main" id="{2D2F31E6-A3CC-C7B6-DEE1-CA15BF29C208}"/>
                </a:ext>
              </a:extLst>
            </p:cNvPr>
            <p:cNvSpPr/>
            <p:nvPr/>
          </p:nvSpPr>
          <p:spPr>
            <a:xfrm>
              <a:off x="5041550" y="4516433"/>
              <a:ext cx="9335" cy="8003"/>
            </a:xfrm>
            <a:custGeom>
              <a:avLst/>
              <a:gdLst>
                <a:gd name="connsiteX0" fmla="*/ 3581 w 3581"/>
                <a:gd name="connsiteY0" fmla="*/ 486 h 3190"/>
                <a:gd name="connsiteX1" fmla="*/ 2638 w 3581"/>
                <a:gd name="connsiteY1" fmla="*/ 3191 h 3190"/>
                <a:gd name="connsiteX2" fmla="*/ 190 w 3581"/>
                <a:gd name="connsiteY2" fmla="*/ 2277 h 3190"/>
                <a:gd name="connsiteX3" fmla="*/ 0 w 3581"/>
                <a:gd name="connsiteY3" fmla="*/ 1572 h 3190"/>
                <a:gd name="connsiteX4" fmla="*/ 2781 w 3581"/>
                <a:gd name="connsiteY4" fmla="*/ 0 h 3190"/>
                <a:gd name="connsiteX5" fmla="*/ 3353 w 3581"/>
                <a:gd name="connsiteY5" fmla="*/ 10 h 3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81" h="3190">
                  <a:moveTo>
                    <a:pt x="3581" y="486"/>
                  </a:moveTo>
                  <a:lnTo>
                    <a:pt x="2638" y="3191"/>
                  </a:lnTo>
                  <a:lnTo>
                    <a:pt x="190" y="2277"/>
                  </a:lnTo>
                  <a:lnTo>
                    <a:pt x="0" y="1572"/>
                  </a:lnTo>
                  <a:lnTo>
                    <a:pt x="2781" y="0"/>
                  </a:lnTo>
                  <a:lnTo>
                    <a:pt x="3353" y="10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5" name="Forme libre : forme 23">
              <a:extLst>
                <a:ext uri="{FF2B5EF4-FFF2-40B4-BE49-F238E27FC236}">
                  <a16:creationId xmlns:a16="http://schemas.microsoft.com/office/drawing/2014/main" id="{D33929D7-10A2-A9F7-94F0-A5908CF25656}"/>
                </a:ext>
              </a:extLst>
            </p:cNvPr>
            <p:cNvSpPr/>
            <p:nvPr/>
          </p:nvSpPr>
          <p:spPr>
            <a:xfrm>
              <a:off x="4852695" y="5739953"/>
              <a:ext cx="1538" cy="4182"/>
            </a:xfrm>
            <a:custGeom>
              <a:avLst/>
              <a:gdLst>
                <a:gd name="connsiteX0" fmla="*/ 591 w 590"/>
                <a:gd name="connsiteY0" fmla="*/ 0 h 1667"/>
                <a:gd name="connsiteX1" fmla="*/ 505 w 590"/>
                <a:gd name="connsiteY1" fmla="*/ 448 h 1667"/>
                <a:gd name="connsiteX2" fmla="*/ 553 w 590"/>
                <a:gd name="connsiteY2" fmla="*/ 771 h 1667"/>
                <a:gd name="connsiteX3" fmla="*/ 486 w 590"/>
                <a:gd name="connsiteY3" fmla="*/ 1667 h 1667"/>
                <a:gd name="connsiteX4" fmla="*/ 305 w 590"/>
                <a:gd name="connsiteY4" fmla="*/ 1648 h 1667"/>
                <a:gd name="connsiteX5" fmla="*/ 0 w 590"/>
                <a:gd name="connsiteY5" fmla="*/ 1191 h 1667"/>
                <a:gd name="connsiteX6" fmla="*/ 29 w 590"/>
                <a:gd name="connsiteY6" fmla="*/ 571 h 1667"/>
                <a:gd name="connsiteX7" fmla="*/ 324 w 590"/>
                <a:gd name="connsiteY7" fmla="*/ 410 h 1667"/>
                <a:gd name="connsiteX8" fmla="*/ 124 w 590"/>
                <a:gd name="connsiteY8" fmla="*/ 29 h 1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0" h="1667">
                  <a:moveTo>
                    <a:pt x="591" y="0"/>
                  </a:moveTo>
                  <a:lnTo>
                    <a:pt x="505" y="448"/>
                  </a:lnTo>
                  <a:lnTo>
                    <a:pt x="553" y="771"/>
                  </a:lnTo>
                  <a:lnTo>
                    <a:pt x="486" y="1667"/>
                  </a:lnTo>
                  <a:lnTo>
                    <a:pt x="305" y="1648"/>
                  </a:lnTo>
                  <a:lnTo>
                    <a:pt x="0" y="1191"/>
                  </a:lnTo>
                  <a:lnTo>
                    <a:pt x="29" y="571"/>
                  </a:lnTo>
                  <a:lnTo>
                    <a:pt x="324" y="410"/>
                  </a:lnTo>
                  <a:lnTo>
                    <a:pt x="124" y="29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6" name="Forme libre : forme 24">
              <a:extLst>
                <a:ext uri="{FF2B5EF4-FFF2-40B4-BE49-F238E27FC236}">
                  <a16:creationId xmlns:a16="http://schemas.microsoft.com/office/drawing/2014/main" id="{2B2B0878-F127-3B66-B2D3-679E13DC3F24}"/>
                </a:ext>
              </a:extLst>
            </p:cNvPr>
            <p:cNvSpPr/>
            <p:nvPr/>
          </p:nvSpPr>
          <p:spPr>
            <a:xfrm>
              <a:off x="6595008" y="5259861"/>
              <a:ext cx="598278" cy="580885"/>
            </a:xfrm>
            <a:custGeom>
              <a:avLst/>
              <a:gdLst>
                <a:gd name="connsiteX0" fmla="*/ 178422 w 229505"/>
                <a:gd name="connsiteY0" fmla="*/ 1086 h 231543"/>
                <a:gd name="connsiteX1" fmla="*/ 180813 w 229505"/>
                <a:gd name="connsiteY1" fmla="*/ 1810 h 231543"/>
                <a:gd name="connsiteX2" fmla="*/ 182204 w 229505"/>
                <a:gd name="connsiteY2" fmla="*/ 2982 h 231543"/>
                <a:gd name="connsiteX3" fmla="*/ 183071 w 229505"/>
                <a:gd name="connsiteY3" fmla="*/ 4058 h 231543"/>
                <a:gd name="connsiteX4" fmla="*/ 184395 w 229505"/>
                <a:gd name="connsiteY4" fmla="*/ 4982 h 231543"/>
                <a:gd name="connsiteX5" fmla="*/ 185385 w 229505"/>
                <a:gd name="connsiteY5" fmla="*/ 5191 h 231543"/>
                <a:gd name="connsiteX6" fmla="*/ 186147 w 229505"/>
                <a:gd name="connsiteY6" fmla="*/ 8363 h 231543"/>
                <a:gd name="connsiteX7" fmla="*/ 186547 w 229505"/>
                <a:gd name="connsiteY7" fmla="*/ 12287 h 231543"/>
                <a:gd name="connsiteX8" fmla="*/ 185947 w 229505"/>
                <a:gd name="connsiteY8" fmla="*/ 13983 h 231543"/>
                <a:gd name="connsiteX9" fmla="*/ 184185 w 229505"/>
                <a:gd name="connsiteY9" fmla="*/ 14373 h 231543"/>
                <a:gd name="connsiteX10" fmla="*/ 178680 w 229505"/>
                <a:gd name="connsiteY10" fmla="*/ 18069 h 231543"/>
                <a:gd name="connsiteX11" fmla="*/ 178546 w 229505"/>
                <a:gd name="connsiteY11" fmla="*/ 21450 h 231543"/>
                <a:gd name="connsiteX12" fmla="*/ 178623 w 229505"/>
                <a:gd name="connsiteY12" fmla="*/ 23079 h 231543"/>
                <a:gd name="connsiteX13" fmla="*/ 178737 w 229505"/>
                <a:gd name="connsiteY13" fmla="*/ 24241 h 231543"/>
                <a:gd name="connsiteX14" fmla="*/ 179318 w 229505"/>
                <a:gd name="connsiteY14" fmla="*/ 25213 h 231543"/>
                <a:gd name="connsiteX15" fmla="*/ 179318 w 229505"/>
                <a:gd name="connsiteY15" fmla="*/ 26613 h 231543"/>
                <a:gd name="connsiteX16" fmla="*/ 178708 w 229505"/>
                <a:gd name="connsiteY16" fmla="*/ 28118 h 231543"/>
                <a:gd name="connsiteX17" fmla="*/ 176308 w 229505"/>
                <a:gd name="connsiteY17" fmla="*/ 30632 h 231543"/>
                <a:gd name="connsiteX18" fmla="*/ 174641 w 229505"/>
                <a:gd name="connsiteY18" fmla="*/ 32623 h 231543"/>
                <a:gd name="connsiteX19" fmla="*/ 172774 w 229505"/>
                <a:gd name="connsiteY19" fmla="*/ 35328 h 231543"/>
                <a:gd name="connsiteX20" fmla="*/ 171727 w 229505"/>
                <a:gd name="connsiteY20" fmla="*/ 35662 h 231543"/>
                <a:gd name="connsiteX21" fmla="*/ 170898 w 229505"/>
                <a:gd name="connsiteY21" fmla="*/ 36138 h 231543"/>
                <a:gd name="connsiteX22" fmla="*/ 170145 w 229505"/>
                <a:gd name="connsiteY22" fmla="*/ 34652 h 231543"/>
                <a:gd name="connsiteX23" fmla="*/ 166002 w 229505"/>
                <a:gd name="connsiteY23" fmla="*/ 32014 h 231543"/>
                <a:gd name="connsiteX24" fmla="*/ 156410 w 229505"/>
                <a:gd name="connsiteY24" fmla="*/ 30471 h 231543"/>
                <a:gd name="connsiteX25" fmla="*/ 151829 w 229505"/>
                <a:gd name="connsiteY25" fmla="*/ 28518 h 231543"/>
                <a:gd name="connsiteX26" fmla="*/ 149819 w 229505"/>
                <a:gd name="connsiteY26" fmla="*/ 28880 h 231543"/>
                <a:gd name="connsiteX27" fmla="*/ 145923 w 229505"/>
                <a:gd name="connsiteY27" fmla="*/ 26699 h 231543"/>
                <a:gd name="connsiteX28" fmla="*/ 143256 w 229505"/>
                <a:gd name="connsiteY28" fmla="*/ 27661 h 231543"/>
                <a:gd name="connsiteX29" fmla="*/ 137599 w 229505"/>
                <a:gd name="connsiteY29" fmla="*/ 31537 h 231543"/>
                <a:gd name="connsiteX30" fmla="*/ 134541 w 229505"/>
                <a:gd name="connsiteY30" fmla="*/ 31118 h 231543"/>
                <a:gd name="connsiteX31" fmla="*/ 131274 w 229505"/>
                <a:gd name="connsiteY31" fmla="*/ 28785 h 231543"/>
                <a:gd name="connsiteX32" fmla="*/ 129150 w 229505"/>
                <a:gd name="connsiteY32" fmla="*/ 28356 h 231543"/>
                <a:gd name="connsiteX33" fmla="*/ 126654 w 229505"/>
                <a:gd name="connsiteY33" fmla="*/ 29585 h 231543"/>
                <a:gd name="connsiteX34" fmla="*/ 122663 w 229505"/>
                <a:gd name="connsiteY34" fmla="*/ 34042 h 231543"/>
                <a:gd name="connsiteX35" fmla="*/ 118596 w 229505"/>
                <a:gd name="connsiteY35" fmla="*/ 36224 h 231543"/>
                <a:gd name="connsiteX36" fmla="*/ 114958 w 229505"/>
                <a:gd name="connsiteY36" fmla="*/ 35376 h 231543"/>
                <a:gd name="connsiteX37" fmla="*/ 110062 w 229505"/>
                <a:gd name="connsiteY37" fmla="*/ 35395 h 231543"/>
                <a:gd name="connsiteX38" fmla="*/ 109538 w 229505"/>
                <a:gd name="connsiteY38" fmla="*/ 37881 h 231543"/>
                <a:gd name="connsiteX39" fmla="*/ 110480 w 229505"/>
                <a:gd name="connsiteY39" fmla="*/ 39605 h 231543"/>
                <a:gd name="connsiteX40" fmla="*/ 113157 w 229505"/>
                <a:gd name="connsiteY40" fmla="*/ 42539 h 231543"/>
                <a:gd name="connsiteX41" fmla="*/ 111900 w 229505"/>
                <a:gd name="connsiteY41" fmla="*/ 44739 h 231543"/>
                <a:gd name="connsiteX42" fmla="*/ 112833 w 229505"/>
                <a:gd name="connsiteY42" fmla="*/ 46939 h 231543"/>
                <a:gd name="connsiteX43" fmla="*/ 114577 w 229505"/>
                <a:gd name="connsiteY43" fmla="*/ 47387 h 231543"/>
                <a:gd name="connsiteX44" fmla="*/ 117215 w 229505"/>
                <a:gd name="connsiteY44" fmla="*/ 47263 h 231543"/>
                <a:gd name="connsiteX45" fmla="*/ 122082 w 229505"/>
                <a:gd name="connsiteY45" fmla="*/ 50111 h 231543"/>
                <a:gd name="connsiteX46" fmla="*/ 124216 w 229505"/>
                <a:gd name="connsiteY46" fmla="*/ 53112 h 231543"/>
                <a:gd name="connsiteX47" fmla="*/ 125578 w 229505"/>
                <a:gd name="connsiteY47" fmla="*/ 56388 h 231543"/>
                <a:gd name="connsiteX48" fmla="*/ 122606 w 229505"/>
                <a:gd name="connsiteY48" fmla="*/ 54035 h 231543"/>
                <a:gd name="connsiteX49" fmla="*/ 120635 w 229505"/>
                <a:gd name="connsiteY49" fmla="*/ 51768 h 231543"/>
                <a:gd name="connsiteX50" fmla="*/ 117882 w 229505"/>
                <a:gd name="connsiteY50" fmla="*/ 50949 h 231543"/>
                <a:gd name="connsiteX51" fmla="*/ 114062 w 229505"/>
                <a:gd name="connsiteY51" fmla="*/ 49016 h 231543"/>
                <a:gd name="connsiteX52" fmla="*/ 111662 w 229505"/>
                <a:gd name="connsiteY52" fmla="*/ 48692 h 231543"/>
                <a:gd name="connsiteX53" fmla="*/ 109109 w 229505"/>
                <a:gd name="connsiteY53" fmla="*/ 50035 h 231543"/>
                <a:gd name="connsiteX54" fmla="*/ 108909 w 229505"/>
                <a:gd name="connsiteY54" fmla="*/ 51549 h 231543"/>
                <a:gd name="connsiteX55" fmla="*/ 111662 w 229505"/>
                <a:gd name="connsiteY55" fmla="*/ 54378 h 231543"/>
                <a:gd name="connsiteX56" fmla="*/ 114176 w 229505"/>
                <a:gd name="connsiteY56" fmla="*/ 56121 h 231543"/>
                <a:gd name="connsiteX57" fmla="*/ 115510 w 229505"/>
                <a:gd name="connsiteY57" fmla="*/ 57531 h 231543"/>
                <a:gd name="connsiteX58" fmla="*/ 116396 w 229505"/>
                <a:gd name="connsiteY58" fmla="*/ 60665 h 231543"/>
                <a:gd name="connsiteX59" fmla="*/ 115891 w 229505"/>
                <a:gd name="connsiteY59" fmla="*/ 61722 h 231543"/>
                <a:gd name="connsiteX60" fmla="*/ 114958 w 229505"/>
                <a:gd name="connsiteY60" fmla="*/ 62713 h 231543"/>
                <a:gd name="connsiteX61" fmla="*/ 111976 w 229505"/>
                <a:gd name="connsiteY61" fmla="*/ 60741 h 231543"/>
                <a:gd name="connsiteX62" fmla="*/ 107414 w 229505"/>
                <a:gd name="connsiteY62" fmla="*/ 53721 h 231543"/>
                <a:gd name="connsiteX63" fmla="*/ 101051 w 229505"/>
                <a:gd name="connsiteY63" fmla="*/ 52321 h 231543"/>
                <a:gd name="connsiteX64" fmla="*/ 99984 w 229505"/>
                <a:gd name="connsiteY64" fmla="*/ 53788 h 231543"/>
                <a:gd name="connsiteX65" fmla="*/ 101241 w 229505"/>
                <a:gd name="connsiteY65" fmla="*/ 57503 h 231543"/>
                <a:gd name="connsiteX66" fmla="*/ 102146 w 229505"/>
                <a:gd name="connsiteY66" fmla="*/ 58941 h 231543"/>
                <a:gd name="connsiteX67" fmla="*/ 107681 w 229505"/>
                <a:gd name="connsiteY67" fmla="*/ 62941 h 231543"/>
                <a:gd name="connsiteX68" fmla="*/ 107242 w 229505"/>
                <a:gd name="connsiteY68" fmla="*/ 63789 h 231543"/>
                <a:gd name="connsiteX69" fmla="*/ 106432 w 229505"/>
                <a:gd name="connsiteY69" fmla="*/ 64151 h 231543"/>
                <a:gd name="connsiteX70" fmla="*/ 100242 w 229505"/>
                <a:gd name="connsiteY70" fmla="*/ 61865 h 231543"/>
                <a:gd name="connsiteX71" fmla="*/ 98441 w 229505"/>
                <a:gd name="connsiteY71" fmla="*/ 58388 h 231543"/>
                <a:gd name="connsiteX72" fmla="*/ 98013 w 229505"/>
                <a:gd name="connsiteY72" fmla="*/ 53978 h 231543"/>
                <a:gd name="connsiteX73" fmla="*/ 92297 w 229505"/>
                <a:gd name="connsiteY73" fmla="*/ 50911 h 231543"/>
                <a:gd name="connsiteX74" fmla="*/ 86906 w 229505"/>
                <a:gd name="connsiteY74" fmla="*/ 47568 h 231543"/>
                <a:gd name="connsiteX75" fmla="*/ 85697 w 229505"/>
                <a:gd name="connsiteY75" fmla="*/ 44396 h 231543"/>
                <a:gd name="connsiteX76" fmla="*/ 86811 w 229505"/>
                <a:gd name="connsiteY76" fmla="*/ 43215 h 231543"/>
                <a:gd name="connsiteX77" fmla="*/ 87602 w 229505"/>
                <a:gd name="connsiteY77" fmla="*/ 40882 h 231543"/>
                <a:gd name="connsiteX78" fmla="*/ 84640 w 229505"/>
                <a:gd name="connsiteY78" fmla="*/ 41310 h 231543"/>
                <a:gd name="connsiteX79" fmla="*/ 82782 w 229505"/>
                <a:gd name="connsiteY79" fmla="*/ 42786 h 231543"/>
                <a:gd name="connsiteX80" fmla="*/ 79782 w 229505"/>
                <a:gd name="connsiteY80" fmla="*/ 44215 h 231543"/>
                <a:gd name="connsiteX81" fmla="*/ 79658 w 229505"/>
                <a:gd name="connsiteY81" fmla="*/ 46558 h 231543"/>
                <a:gd name="connsiteX82" fmla="*/ 80134 w 229505"/>
                <a:gd name="connsiteY82" fmla="*/ 48730 h 231543"/>
                <a:gd name="connsiteX83" fmla="*/ 79143 w 229505"/>
                <a:gd name="connsiteY83" fmla="*/ 51883 h 231543"/>
                <a:gd name="connsiteX84" fmla="*/ 78172 w 229505"/>
                <a:gd name="connsiteY84" fmla="*/ 57360 h 231543"/>
                <a:gd name="connsiteX85" fmla="*/ 78781 w 229505"/>
                <a:gd name="connsiteY85" fmla="*/ 60227 h 231543"/>
                <a:gd name="connsiteX86" fmla="*/ 85297 w 229505"/>
                <a:gd name="connsiteY86" fmla="*/ 68428 h 231543"/>
                <a:gd name="connsiteX87" fmla="*/ 87525 w 229505"/>
                <a:gd name="connsiteY87" fmla="*/ 74371 h 231543"/>
                <a:gd name="connsiteX88" fmla="*/ 89125 w 229505"/>
                <a:gd name="connsiteY88" fmla="*/ 76619 h 231543"/>
                <a:gd name="connsiteX89" fmla="*/ 92459 w 229505"/>
                <a:gd name="connsiteY89" fmla="*/ 79096 h 231543"/>
                <a:gd name="connsiteX90" fmla="*/ 95936 w 229505"/>
                <a:gd name="connsiteY90" fmla="*/ 83696 h 231543"/>
                <a:gd name="connsiteX91" fmla="*/ 97403 w 229505"/>
                <a:gd name="connsiteY91" fmla="*/ 86087 h 231543"/>
                <a:gd name="connsiteX92" fmla="*/ 98450 w 229505"/>
                <a:gd name="connsiteY92" fmla="*/ 90002 h 231543"/>
                <a:gd name="connsiteX93" fmla="*/ 95527 w 229505"/>
                <a:gd name="connsiteY93" fmla="*/ 92421 h 231543"/>
                <a:gd name="connsiteX94" fmla="*/ 93831 w 229505"/>
                <a:gd name="connsiteY94" fmla="*/ 92516 h 231543"/>
                <a:gd name="connsiteX95" fmla="*/ 92888 w 229505"/>
                <a:gd name="connsiteY95" fmla="*/ 91450 h 231543"/>
                <a:gd name="connsiteX96" fmla="*/ 94202 w 229505"/>
                <a:gd name="connsiteY96" fmla="*/ 88783 h 231543"/>
                <a:gd name="connsiteX97" fmla="*/ 94012 w 229505"/>
                <a:gd name="connsiteY97" fmla="*/ 87154 h 231543"/>
                <a:gd name="connsiteX98" fmla="*/ 89497 w 229505"/>
                <a:gd name="connsiteY98" fmla="*/ 84630 h 231543"/>
                <a:gd name="connsiteX99" fmla="*/ 87592 w 229505"/>
                <a:gd name="connsiteY99" fmla="*/ 85477 h 231543"/>
                <a:gd name="connsiteX100" fmla="*/ 85392 w 229505"/>
                <a:gd name="connsiteY100" fmla="*/ 87116 h 231543"/>
                <a:gd name="connsiteX101" fmla="*/ 86649 w 229505"/>
                <a:gd name="connsiteY101" fmla="*/ 90164 h 231543"/>
                <a:gd name="connsiteX102" fmla="*/ 88059 w 229505"/>
                <a:gd name="connsiteY102" fmla="*/ 92173 h 231543"/>
                <a:gd name="connsiteX103" fmla="*/ 88773 w 229505"/>
                <a:gd name="connsiteY103" fmla="*/ 94936 h 231543"/>
                <a:gd name="connsiteX104" fmla="*/ 91478 w 229505"/>
                <a:gd name="connsiteY104" fmla="*/ 94698 h 231543"/>
                <a:gd name="connsiteX105" fmla="*/ 87840 w 229505"/>
                <a:gd name="connsiteY105" fmla="*/ 97793 h 231543"/>
                <a:gd name="connsiteX106" fmla="*/ 84420 w 229505"/>
                <a:gd name="connsiteY106" fmla="*/ 99374 h 231543"/>
                <a:gd name="connsiteX107" fmla="*/ 81058 w 229505"/>
                <a:gd name="connsiteY107" fmla="*/ 99470 h 231543"/>
                <a:gd name="connsiteX108" fmla="*/ 78915 w 229505"/>
                <a:gd name="connsiteY108" fmla="*/ 99756 h 231543"/>
                <a:gd name="connsiteX109" fmla="*/ 78172 w 229505"/>
                <a:gd name="connsiteY109" fmla="*/ 100546 h 231543"/>
                <a:gd name="connsiteX110" fmla="*/ 79915 w 229505"/>
                <a:gd name="connsiteY110" fmla="*/ 101117 h 231543"/>
                <a:gd name="connsiteX111" fmla="*/ 81334 w 229505"/>
                <a:gd name="connsiteY111" fmla="*/ 101175 h 231543"/>
                <a:gd name="connsiteX112" fmla="*/ 83649 w 229505"/>
                <a:gd name="connsiteY112" fmla="*/ 102841 h 231543"/>
                <a:gd name="connsiteX113" fmla="*/ 90231 w 229505"/>
                <a:gd name="connsiteY113" fmla="*/ 104832 h 231543"/>
                <a:gd name="connsiteX114" fmla="*/ 93374 w 229505"/>
                <a:gd name="connsiteY114" fmla="*/ 107356 h 231543"/>
                <a:gd name="connsiteX115" fmla="*/ 96460 w 229505"/>
                <a:gd name="connsiteY115" fmla="*/ 107585 h 231543"/>
                <a:gd name="connsiteX116" fmla="*/ 99556 w 229505"/>
                <a:gd name="connsiteY116" fmla="*/ 112204 h 231543"/>
                <a:gd name="connsiteX117" fmla="*/ 104918 w 229505"/>
                <a:gd name="connsiteY117" fmla="*/ 113433 h 231543"/>
                <a:gd name="connsiteX118" fmla="*/ 107975 w 229505"/>
                <a:gd name="connsiteY118" fmla="*/ 118091 h 231543"/>
                <a:gd name="connsiteX119" fmla="*/ 112033 w 229505"/>
                <a:gd name="connsiteY119" fmla="*/ 119006 h 231543"/>
                <a:gd name="connsiteX120" fmla="*/ 115538 w 229505"/>
                <a:gd name="connsiteY120" fmla="*/ 120720 h 231543"/>
                <a:gd name="connsiteX121" fmla="*/ 116557 w 229505"/>
                <a:gd name="connsiteY121" fmla="*/ 122349 h 231543"/>
                <a:gd name="connsiteX122" fmla="*/ 117072 w 229505"/>
                <a:gd name="connsiteY122" fmla="*/ 125301 h 231543"/>
                <a:gd name="connsiteX123" fmla="*/ 117300 w 229505"/>
                <a:gd name="connsiteY123" fmla="*/ 131540 h 231543"/>
                <a:gd name="connsiteX124" fmla="*/ 118063 w 229505"/>
                <a:gd name="connsiteY124" fmla="*/ 136170 h 231543"/>
                <a:gd name="connsiteX125" fmla="*/ 118091 w 229505"/>
                <a:gd name="connsiteY125" fmla="*/ 137627 h 231543"/>
                <a:gd name="connsiteX126" fmla="*/ 117901 w 229505"/>
                <a:gd name="connsiteY126" fmla="*/ 139808 h 231543"/>
                <a:gd name="connsiteX127" fmla="*/ 116948 w 229505"/>
                <a:gd name="connsiteY127" fmla="*/ 140875 h 231543"/>
                <a:gd name="connsiteX128" fmla="*/ 115662 w 229505"/>
                <a:gd name="connsiteY128" fmla="*/ 140913 h 231543"/>
                <a:gd name="connsiteX129" fmla="*/ 113138 w 229505"/>
                <a:gd name="connsiteY129" fmla="*/ 137513 h 231543"/>
                <a:gd name="connsiteX130" fmla="*/ 109281 w 229505"/>
                <a:gd name="connsiteY130" fmla="*/ 133931 h 231543"/>
                <a:gd name="connsiteX131" fmla="*/ 105204 w 229505"/>
                <a:gd name="connsiteY131" fmla="*/ 129664 h 231543"/>
                <a:gd name="connsiteX132" fmla="*/ 104042 w 229505"/>
                <a:gd name="connsiteY132" fmla="*/ 128911 h 231543"/>
                <a:gd name="connsiteX133" fmla="*/ 103089 w 229505"/>
                <a:gd name="connsiteY133" fmla="*/ 128845 h 231543"/>
                <a:gd name="connsiteX134" fmla="*/ 100908 w 229505"/>
                <a:gd name="connsiteY134" fmla="*/ 130283 h 231543"/>
                <a:gd name="connsiteX135" fmla="*/ 94850 w 229505"/>
                <a:gd name="connsiteY135" fmla="*/ 131398 h 231543"/>
                <a:gd name="connsiteX136" fmla="*/ 92012 w 229505"/>
                <a:gd name="connsiteY136" fmla="*/ 132960 h 231543"/>
                <a:gd name="connsiteX137" fmla="*/ 90945 w 229505"/>
                <a:gd name="connsiteY137" fmla="*/ 133302 h 231543"/>
                <a:gd name="connsiteX138" fmla="*/ 90650 w 229505"/>
                <a:gd name="connsiteY138" fmla="*/ 134122 h 231543"/>
                <a:gd name="connsiteX139" fmla="*/ 91983 w 229505"/>
                <a:gd name="connsiteY139" fmla="*/ 134969 h 231543"/>
                <a:gd name="connsiteX140" fmla="*/ 93612 w 229505"/>
                <a:gd name="connsiteY140" fmla="*/ 136922 h 231543"/>
                <a:gd name="connsiteX141" fmla="*/ 93612 w 229505"/>
                <a:gd name="connsiteY141" fmla="*/ 139580 h 231543"/>
                <a:gd name="connsiteX142" fmla="*/ 94965 w 229505"/>
                <a:gd name="connsiteY142" fmla="*/ 142808 h 231543"/>
                <a:gd name="connsiteX143" fmla="*/ 96707 w 229505"/>
                <a:gd name="connsiteY143" fmla="*/ 143637 h 231543"/>
                <a:gd name="connsiteX144" fmla="*/ 98975 w 229505"/>
                <a:gd name="connsiteY144" fmla="*/ 143570 h 231543"/>
                <a:gd name="connsiteX145" fmla="*/ 100279 w 229505"/>
                <a:gd name="connsiteY145" fmla="*/ 144171 h 231543"/>
                <a:gd name="connsiteX146" fmla="*/ 100613 w 229505"/>
                <a:gd name="connsiteY146" fmla="*/ 145456 h 231543"/>
                <a:gd name="connsiteX147" fmla="*/ 101937 w 229505"/>
                <a:gd name="connsiteY147" fmla="*/ 146952 h 231543"/>
                <a:gd name="connsiteX148" fmla="*/ 102804 w 229505"/>
                <a:gd name="connsiteY148" fmla="*/ 148066 h 231543"/>
                <a:gd name="connsiteX149" fmla="*/ 102775 w 229505"/>
                <a:gd name="connsiteY149" fmla="*/ 148857 h 231543"/>
                <a:gd name="connsiteX150" fmla="*/ 96441 w 229505"/>
                <a:gd name="connsiteY150" fmla="*/ 150962 h 231543"/>
                <a:gd name="connsiteX151" fmla="*/ 95117 w 229505"/>
                <a:gd name="connsiteY151" fmla="*/ 151924 h 231543"/>
                <a:gd name="connsiteX152" fmla="*/ 94002 w 229505"/>
                <a:gd name="connsiteY152" fmla="*/ 152419 h 231543"/>
                <a:gd name="connsiteX153" fmla="*/ 92355 w 229505"/>
                <a:gd name="connsiteY153" fmla="*/ 151419 h 231543"/>
                <a:gd name="connsiteX154" fmla="*/ 92259 w 229505"/>
                <a:gd name="connsiteY154" fmla="*/ 148847 h 231543"/>
                <a:gd name="connsiteX155" fmla="*/ 90088 w 229505"/>
                <a:gd name="connsiteY155" fmla="*/ 147466 h 231543"/>
                <a:gd name="connsiteX156" fmla="*/ 88097 w 229505"/>
                <a:gd name="connsiteY156" fmla="*/ 146276 h 231543"/>
                <a:gd name="connsiteX157" fmla="*/ 85706 w 229505"/>
                <a:gd name="connsiteY157" fmla="*/ 145771 h 231543"/>
                <a:gd name="connsiteX158" fmla="*/ 83677 w 229505"/>
                <a:gd name="connsiteY158" fmla="*/ 143989 h 231543"/>
                <a:gd name="connsiteX159" fmla="*/ 82353 w 229505"/>
                <a:gd name="connsiteY159" fmla="*/ 145428 h 231543"/>
                <a:gd name="connsiteX160" fmla="*/ 83411 w 229505"/>
                <a:gd name="connsiteY160" fmla="*/ 150419 h 231543"/>
                <a:gd name="connsiteX161" fmla="*/ 85706 w 229505"/>
                <a:gd name="connsiteY161" fmla="*/ 153848 h 231543"/>
                <a:gd name="connsiteX162" fmla="*/ 89554 w 229505"/>
                <a:gd name="connsiteY162" fmla="*/ 163030 h 231543"/>
                <a:gd name="connsiteX163" fmla="*/ 91297 w 229505"/>
                <a:gd name="connsiteY163" fmla="*/ 168431 h 231543"/>
                <a:gd name="connsiteX164" fmla="*/ 91650 w 229505"/>
                <a:gd name="connsiteY164" fmla="*/ 171040 h 231543"/>
                <a:gd name="connsiteX165" fmla="*/ 90783 w 229505"/>
                <a:gd name="connsiteY165" fmla="*/ 175374 h 231543"/>
                <a:gd name="connsiteX166" fmla="*/ 92679 w 229505"/>
                <a:gd name="connsiteY166" fmla="*/ 178584 h 231543"/>
                <a:gd name="connsiteX167" fmla="*/ 93974 w 229505"/>
                <a:gd name="connsiteY167" fmla="*/ 181880 h 231543"/>
                <a:gd name="connsiteX168" fmla="*/ 92555 w 229505"/>
                <a:gd name="connsiteY168" fmla="*/ 181756 h 231543"/>
                <a:gd name="connsiteX169" fmla="*/ 91317 w 229505"/>
                <a:gd name="connsiteY169" fmla="*/ 180594 h 231543"/>
                <a:gd name="connsiteX170" fmla="*/ 89240 w 229505"/>
                <a:gd name="connsiteY170" fmla="*/ 179222 h 231543"/>
                <a:gd name="connsiteX171" fmla="*/ 85220 w 229505"/>
                <a:gd name="connsiteY171" fmla="*/ 173955 h 231543"/>
                <a:gd name="connsiteX172" fmla="*/ 83820 w 229505"/>
                <a:gd name="connsiteY172" fmla="*/ 170669 h 231543"/>
                <a:gd name="connsiteX173" fmla="*/ 82144 w 229505"/>
                <a:gd name="connsiteY173" fmla="*/ 170412 h 231543"/>
                <a:gd name="connsiteX174" fmla="*/ 79229 w 229505"/>
                <a:gd name="connsiteY174" fmla="*/ 170888 h 231543"/>
                <a:gd name="connsiteX175" fmla="*/ 76048 w 229505"/>
                <a:gd name="connsiteY175" fmla="*/ 177908 h 231543"/>
                <a:gd name="connsiteX176" fmla="*/ 76058 w 229505"/>
                <a:gd name="connsiteY176" fmla="*/ 181918 h 231543"/>
                <a:gd name="connsiteX177" fmla="*/ 74409 w 229505"/>
                <a:gd name="connsiteY177" fmla="*/ 180966 h 231543"/>
                <a:gd name="connsiteX178" fmla="*/ 73000 w 229505"/>
                <a:gd name="connsiteY178" fmla="*/ 179718 h 231543"/>
                <a:gd name="connsiteX179" fmla="*/ 73171 w 229505"/>
                <a:gd name="connsiteY179" fmla="*/ 175327 h 231543"/>
                <a:gd name="connsiteX180" fmla="*/ 73029 w 229505"/>
                <a:gd name="connsiteY180" fmla="*/ 173479 h 231543"/>
                <a:gd name="connsiteX181" fmla="*/ 69161 w 229505"/>
                <a:gd name="connsiteY181" fmla="*/ 167478 h 231543"/>
                <a:gd name="connsiteX182" fmla="*/ 67389 w 229505"/>
                <a:gd name="connsiteY182" fmla="*/ 166802 h 231543"/>
                <a:gd name="connsiteX183" fmla="*/ 66561 w 229505"/>
                <a:gd name="connsiteY183" fmla="*/ 164773 h 231543"/>
                <a:gd name="connsiteX184" fmla="*/ 65132 w 229505"/>
                <a:gd name="connsiteY184" fmla="*/ 162601 h 231543"/>
                <a:gd name="connsiteX185" fmla="*/ 63294 w 229505"/>
                <a:gd name="connsiteY185" fmla="*/ 163011 h 231543"/>
                <a:gd name="connsiteX186" fmla="*/ 61789 w 229505"/>
                <a:gd name="connsiteY186" fmla="*/ 163887 h 231543"/>
                <a:gd name="connsiteX187" fmla="*/ 61379 w 229505"/>
                <a:gd name="connsiteY187" fmla="*/ 167164 h 231543"/>
                <a:gd name="connsiteX188" fmla="*/ 61227 w 229505"/>
                <a:gd name="connsiteY188" fmla="*/ 170097 h 231543"/>
                <a:gd name="connsiteX189" fmla="*/ 60103 w 229505"/>
                <a:gd name="connsiteY189" fmla="*/ 172298 h 231543"/>
                <a:gd name="connsiteX190" fmla="*/ 55979 w 229505"/>
                <a:gd name="connsiteY190" fmla="*/ 168116 h 231543"/>
                <a:gd name="connsiteX191" fmla="*/ 51826 w 229505"/>
                <a:gd name="connsiteY191" fmla="*/ 160858 h 231543"/>
                <a:gd name="connsiteX192" fmla="*/ 51721 w 229505"/>
                <a:gd name="connsiteY192" fmla="*/ 156877 h 231543"/>
                <a:gd name="connsiteX193" fmla="*/ 54759 w 229505"/>
                <a:gd name="connsiteY193" fmla="*/ 153229 h 231543"/>
                <a:gd name="connsiteX194" fmla="*/ 54397 w 229505"/>
                <a:gd name="connsiteY194" fmla="*/ 150619 h 231543"/>
                <a:gd name="connsiteX195" fmla="*/ 51521 w 229505"/>
                <a:gd name="connsiteY195" fmla="*/ 145456 h 231543"/>
                <a:gd name="connsiteX196" fmla="*/ 47368 w 229505"/>
                <a:gd name="connsiteY196" fmla="*/ 142132 h 231543"/>
                <a:gd name="connsiteX197" fmla="*/ 45044 w 229505"/>
                <a:gd name="connsiteY197" fmla="*/ 141142 h 231543"/>
                <a:gd name="connsiteX198" fmla="*/ 43948 w 229505"/>
                <a:gd name="connsiteY198" fmla="*/ 137598 h 231543"/>
                <a:gd name="connsiteX199" fmla="*/ 41729 w 229505"/>
                <a:gd name="connsiteY199" fmla="*/ 135769 h 231543"/>
                <a:gd name="connsiteX200" fmla="*/ 39929 w 229505"/>
                <a:gd name="connsiteY200" fmla="*/ 134912 h 231543"/>
                <a:gd name="connsiteX201" fmla="*/ 39577 w 229505"/>
                <a:gd name="connsiteY201" fmla="*/ 133655 h 231543"/>
                <a:gd name="connsiteX202" fmla="*/ 40120 w 229505"/>
                <a:gd name="connsiteY202" fmla="*/ 132722 h 231543"/>
                <a:gd name="connsiteX203" fmla="*/ 44482 w 229505"/>
                <a:gd name="connsiteY203" fmla="*/ 129074 h 231543"/>
                <a:gd name="connsiteX204" fmla="*/ 47035 w 229505"/>
                <a:gd name="connsiteY204" fmla="*/ 123339 h 231543"/>
                <a:gd name="connsiteX205" fmla="*/ 48302 w 229505"/>
                <a:gd name="connsiteY205" fmla="*/ 123073 h 231543"/>
                <a:gd name="connsiteX206" fmla="*/ 50911 w 229505"/>
                <a:gd name="connsiteY206" fmla="*/ 124435 h 231543"/>
                <a:gd name="connsiteX207" fmla="*/ 53845 w 229505"/>
                <a:gd name="connsiteY207" fmla="*/ 124082 h 231543"/>
                <a:gd name="connsiteX208" fmla="*/ 56245 w 229505"/>
                <a:gd name="connsiteY208" fmla="*/ 120720 h 231543"/>
                <a:gd name="connsiteX209" fmla="*/ 58284 w 229505"/>
                <a:gd name="connsiteY209" fmla="*/ 118891 h 231543"/>
                <a:gd name="connsiteX210" fmla="*/ 61722 w 229505"/>
                <a:gd name="connsiteY210" fmla="*/ 119129 h 231543"/>
                <a:gd name="connsiteX211" fmla="*/ 69485 w 229505"/>
                <a:gd name="connsiteY211" fmla="*/ 123615 h 231543"/>
                <a:gd name="connsiteX212" fmla="*/ 77829 w 229505"/>
                <a:gd name="connsiteY212" fmla="*/ 126178 h 231543"/>
                <a:gd name="connsiteX213" fmla="*/ 81992 w 229505"/>
                <a:gd name="connsiteY213" fmla="*/ 128416 h 231543"/>
                <a:gd name="connsiteX214" fmla="*/ 84354 w 229505"/>
                <a:gd name="connsiteY214" fmla="*/ 130635 h 231543"/>
                <a:gd name="connsiteX215" fmla="*/ 85601 w 229505"/>
                <a:gd name="connsiteY215" fmla="*/ 131093 h 231543"/>
                <a:gd name="connsiteX216" fmla="*/ 87582 w 229505"/>
                <a:gd name="connsiteY216" fmla="*/ 131407 h 231543"/>
                <a:gd name="connsiteX217" fmla="*/ 87497 w 229505"/>
                <a:gd name="connsiteY217" fmla="*/ 129750 h 231543"/>
                <a:gd name="connsiteX218" fmla="*/ 86868 w 229505"/>
                <a:gd name="connsiteY218" fmla="*/ 128283 h 231543"/>
                <a:gd name="connsiteX219" fmla="*/ 88516 w 229505"/>
                <a:gd name="connsiteY219" fmla="*/ 127483 h 231543"/>
                <a:gd name="connsiteX220" fmla="*/ 92983 w 229505"/>
                <a:gd name="connsiteY220" fmla="*/ 127521 h 231543"/>
                <a:gd name="connsiteX221" fmla="*/ 93793 w 229505"/>
                <a:gd name="connsiteY221" fmla="*/ 126740 h 231543"/>
                <a:gd name="connsiteX222" fmla="*/ 94622 w 229505"/>
                <a:gd name="connsiteY222" fmla="*/ 125482 h 231543"/>
                <a:gd name="connsiteX223" fmla="*/ 93698 w 229505"/>
                <a:gd name="connsiteY223" fmla="*/ 124044 h 231543"/>
                <a:gd name="connsiteX224" fmla="*/ 92221 w 229505"/>
                <a:gd name="connsiteY224" fmla="*/ 123358 h 231543"/>
                <a:gd name="connsiteX225" fmla="*/ 90640 w 229505"/>
                <a:gd name="connsiteY225" fmla="*/ 123168 h 231543"/>
                <a:gd name="connsiteX226" fmla="*/ 89602 w 229505"/>
                <a:gd name="connsiteY226" fmla="*/ 122711 h 231543"/>
                <a:gd name="connsiteX227" fmla="*/ 87916 w 229505"/>
                <a:gd name="connsiteY227" fmla="*/ 123168 h 231543"/>
                <a:gd name="connsiteX228" fmla="*/ 85297 w 229505"/>
                <a:gd name="connsiteY228" fmla="*/ 122053 h 231543"/>
                <a:gd name="connsiteX229" fmla="*/ 83934 w 229505"/>
                <a:gd name="connsiteY229" fmla="*/ 121139 h 231543"/>
                <a:gd name="connsiteX230" fmla="*/ 83144 w 229505"/>
                <a:gd name="connsiteY230" fmla="*/ 120196 h 231543"/>
                <a:gd name="connsiteX231" fmla="*/ 78581 w 229505"/>
                <a:gd name="connsiteY231" fmla="*/ 118320 h 231543"/>
                <a:gd name="connsiteX232" fmla="*/ 74257 w 229505"/>
                <a:gd name="connsiteY232" fmla="*/ 115138 h 231543"/>
                <a:gd name="connsiteX233" fmla="*/ 73276 w 229505"/>
                <a:gd name="connsiteY233" fmla="*/ 116939 h 231543"/>
                <a:gd name="connsiteX234" fmla="*/ 71524 w 229505"/>
                <a:gd name="connsiteY234" fmla="*/ 117910 h 231543"/>
                <a:gd name="connsiteX235" fmla="*/ 69038 w 229505"/>
                <a:gd name="connsiteY235" fmla="*/ 118053 h 231543"/>
                <a:gd name="connsiteX236" fmla="*/ 62046 w 229505"/>
                <a:gd name="connsiteY236" fmla="*/ 116034 h 231543"/>
                <a:gd name="connsiteX237" fmla="*/ 57751 w 229505"/>
                <a:gd name="connsiteY237" fmla="*/ 117577 h 231543"/>
                <a:gd name="connsiteX238" fmla="*/ 55407 w 229505"/>
                <a:gd name="connsiteY238" fmla="*/ 117977 h 231543"/>
                <a:gd name="connsiteX239" fmla="*/ 53616 w 229505"/>
                <a:gd name="connsiteY239" fmla="*/ 118015 h 231543"/>
                <a:gd name="connsiteX240" fmla="*/ 51416 w 229505"/>
                <a:gd name="connsiteY240" fmla="*/ 118701 h 231543"/>
                <a:gd name="connsiteX241" fmla="*/ 48873 w 229505"/>
                <a:gd name="connsiteY241" fmla="*/ 119110 h 231543"/>
                <a:gd name="connsiteX242" fmla="*/ 46673 w 229505"/>
                <a:gd name="connsiteY242" fmla="*/ 116177 h 231543"/>
                <a:gd name="connsiteX243" fmla="*/ 45749 w 229505"/>
                <a:gd name="connsiteY243" fmla="*/ 113900 h 231543"/>
                <a:gd name="connsiteX244" fmla="*/ 45101 w 229505"/>
                <a:gd name="connsiteY244" fmla="*/ 113472 h 231543"/>
                <a:gd name="connsiteX245" fmla="*/ 45072 w 229505"/>
                <a:gd name="connsiteY245" fmla="*/ 115614 h 231543"/>
                <a:gd name="connsiteX246" fmla="*/ 44368 w 229505"/>
                <a:gd name="connsiteY246" fmla="*/ 117329 h 231543"/>
                <a:gd name="connsiteX247" fmla="*/ 41139 w 229505"/>
                <a:gd name="connsiteY247" fmla="*/ 118291 h 231543"/>
                <a:gd name="connsiteX248" fmla="*/ 39281 w 229505"/>
                <a:gd name="connsiteY248" fmla="*/ 116958 h 231543"/>
                <a:gd name="connsiteX249" fmla="*/ 37852 w 229505"/>
                <a:gd name="connsiteY249" fmla="*/ 112929 h 231543"/>
                <a:gd name="connsiteX250" fmla="*/ 36052 w 229505"/>
                <a:gd name="connsiteY250" fmla="*/ 107795 h 231543"/>
                <a:gd name="connsiteX251" fmla="*/ 32881 w 229505"/>
                <a:gd name="connsiteY251" fmla="*/ 103642 h 231543"/>
                <a:gd name="connsiteX252" fmla="*/ 30299 w 229505"/>
                <a:gd name="connsiteY252" fmla="*/ 102556 h 231543"/>
                <a:gd name="connsiteX253" fmla="*/ 30080 w 229505"/>
                <a:gd name="connsiteY253" fmla="*/ 100270 h 231543"/>
                <a:gd name="connsiteX254" fmla="*/ 30309 w 229505"/>
                <a:gd name="connsiteY254" fmla="*/ 98441 h 231543"/>
                <a:gd name="connsiteX255" fmla="*/ 33404 w 229505"/>
                <a:gd name="connsiteY255" fmla="*/ 97984 h 231543"/>
                <a:gd name="connsiteX256" fmla="*/ 38243 w 229505"/>
                <a:gd name="connsiteY256" fmla="*/ 99898 h 231543"/>
                <a:gd name="connsiteX257" fmla="*/ 39243 w 229505"/>
                <a:gd name="connsiteY257" fmla="*/ 99517 h 231543"/>
                <a:gd name="connsiteX258" fmla="*/ 40329 w 229505"/>
                <a:gd name="connsiteY258" fmla="*/ 98631 h 231543"/>
                <a:gd name="connsiteX259" fmla="*/ 40120 w 229505"/>
                <a:gd name="connsiteY259" fmla="*/ 96679 h 231543"/>
                <a:gd name="connsiteX260" fmla="*/ 39414 w 229505"/>
                <a:gd name="connsiteY260" fmla="*/ 94936 h 231543"/>
                <a:gd name="connsiteX261" fmla="*/ 38081 w 229505"/>
                <a:gd name="connsiteY261" fmla="*/ 94860 h 231543"/>
                <a:gd name="connsiteX262" fmla="*/ 37157 w 229505"/>
                <a:gd name="connsiteY262" fmla="*/ 95060 h 231543"/>
                <a:gd name="connsiteX263" fmla="*/ 34176 w 229505"/>
                <a:gd name="connsiteY263" fmla="*/ 94698 h 231543"/>
                <a:gd name="connsiteX264" fmla="*/ 30356 w 229505"/>
                <a:gd name="connsiteY264" fmla="*/ 95669 h 231543"/>
                <a:gd name="connsiteX265" fmla="*/ 28585 w 229505"/>
                <a:gd name="connsiteY265" fmla="*/ 94755 h 231543"/>
                <a:gd name="connsiteX266" fmla="*/ 27994 w 229505"/>
                <a:gd name="connsiteY266" fmla="*/ 93641 h 231543"/>
                <a:gd name="connsiteX267" fmla="*/ 24794 w 229505"/>
                <a:gd name="connsiteY267" fmla="*/ 90888 h 231543"/>
                <a:gd name="connsiteX268" fmla="*/ 22032 w 229505"/>
                <a:gd name="connsiteY268" fmla="*/ 87192 h 231543"/>
                <a:gd name="connsiteX269" fmla="*/ 17555 w 229505"/>
                <a:gd name="connsiteY269" fmla="*/ 84725 h 231543"/>
                <a:gd name="connsiteX270" fmla="*/ 14631 w 229505"/>
                <a:gd name="connsiteY270" fmla="*/ 77181 h 231543"/>
                <a:gd name="connsiteX271" fmla="*/ 12173 w 229505"/>
                <a:gd name="connsiteY271" fmla="*/ 73886 h 231543"/>
                <a:gd name="connsiteX272" fmla="*/ 9554 w 229505"/>
                <a:gd name="connsiteY272" fmla="*/ 71523 h 231543"/>
                <a:gd name="connsiteX273" fmla="*/ 10126 w 229505"/>
                <a:gd name="connsiteY273" fmla="*/ 71485 h 231543"/>
                <a:gd name="connsiteX274" fmla="*/ 11116 w 229505"/>
                <a:gd name="connsiteY274" fmla="*/ 71885 h 231543"/>
                <a:gd name="connsiteX275" fmla="*/ 13021 w 229505"/>
                <a:gd name="connsiteY275" fmla="*/ 73181 h 231543"/>
                <a:gd name="connsiteX276" fmla="*/ 15040 w 229505"/>
                <a:gd name="connsiteY276" fmla="*/ 73457 h 231543"/>
                <a:gd name="connsiteX277" fmla="*/ 16145 w 229505"/>
                <a:gd name="connsiteY277" fmla="*/ 72600 h 231543"/>
                <a:gd name="connsiteX278" fmla="*/ 16783 w 229505"/>
                <a:gd name="connsiteY278" fmla="*/ 71809 h 231543"/>
                <a:gd name="connsiteX279" fmla="*/ 17193 w 229505"/>
                <a:gd name="connsiteY279" fmla="*/ 70514 h 231543"/>
                <a:gd name="connsiteX280" fmla="*/ 17364 w 229505"/>
                <a:gd name="connsiteY280" fmla="*/ 68999 h 231543"/>
                <a:gd name="connsiteX281" fmla="*/ 17698 w 229505"/>
                <a:gd name="connsiteY281" fmla="*/ 68494 h 231543"/>
                <a:gd name="connsiteX282" fmla="*/ 19250 w 229505"/>
                <a:gd name="connsiteY282" fmla="*/ 68675 h 231543"/>
                <a:gd name="connsiteX283" fmla="*/ 19745 w 229505"/>
                <a:gd name="connsiteY283" fmla="*/ 68294 h 231543"/>
                <a:gd name="connsiteX284" fmla="*/ 19727 w 229505"/>
                <a:gd name="connsiteY284" fmla="*/ 66932 h 231543"/>
                <a:gd name="connsiteX285" fmla="*/ 18726 w 229505"/>
                <a:gd name="connsiteY285" fmla="*/ 65237 h 231543"/>
                <a:gd name="connsiteX286" fmla="*/ 17850 w 229505"/>
                <a:gd name="connsiteY286" fmla="*/ 63151 h 231543"/>
                <a:gd name="connsiteX287" fmla="*/ 17850 w 229505"/>
                <a:gd name="connsiteY287" fmla="*/ 62160 h 231543"/>
                <a:gd name="connsiteX288" fmla="*/ 18584 w 229505"/>
                <a:gd name="connsiteY288" fmla="*/ 61760 h 231543"/>
                <a:gd name="connsiteX289" fmla="*/ 19793 w 229505"/>
                <a:gd name="connsiteY289" fmla="*/ 60855 h 231543"/>
                <a:gd name="connsiteX290" fmla="*/ 20441 w 229505"/>
                <a:gd name="connsiteY290" fmla="*/ 59731 h 231543"/>
                <a:gd name="connsiteX291" fmla="*/ 21727 w 229505"/>
                <a:gd name="connsiteY291" fmla="*/ 59169 h 231543"/>
                <a:gd name="connsiteX292" fmla="*/ 23622 w 229505"/>
                <a:gd name="connsiteY292" fmla="*/ 59065 h 231543"/>
                <a:gd name="connsiteX293" fmla="*/ 25737 w 229505"/>
                <a:gd name="connsiteY293" fmla="*/ 58569 h 231543"/>
                <a:gd name="connsiteX294" fmla="*/ 27108 w 229505"/>
                <a:gd name="connsiteY294" fmla="*/ 57360 h 231543"/>
                <a:gd name="connsiteX295" fmla="*/ 27308 w 229505"/>
                <a:gd name="connsiteY295" fmla="*/ 56169 h 231543"/>
                <a:gd name="connsiteX296" fmla="*/ 28166 w 229505"/>
                <a:gd name="connsiteY296" fmla="*/ 52874 h 231543"/>
                <a:gd name="connsiteX297" fmla="*/ 28728 w 229505"/>
                <a:gd name="connsiteY297" fmla="*/ 51254 h 231543"/>
                <a:gd name="connsiteX298" fmla="*/ 29632 w 229505"/>
                <a:gd name="connsiteY298" fmla="*/ 49778 h 231543"/>
                <a:gd name="connsiteX299" fmla="*/ 30119 w 229505"/>
                <a:gd name="connsiteY299" fmla="*/ 47787 h 231543"/>
                <a:gd name="connsiteX300" fmla="*/ 31090 w 229505"/>
                <a:gd name="connsiteY300" fmla="*/ 45911 h 231543"/>
                <a:gd name="connsiteX301" fmla="*/ 33109 w 229505"/>
                <a:gd name="connsiteY301" fmla="*/ 45120 h 231543"/>
                <a:gd name="connsiteX302" fmla="*/ 34938 w 229505"/>
                <a:gd name="connsiteY302" fmla="*/ 44196 h 231543"/>
                <a:gd name="connsiteX303" fmla="*/ 36319 w 229505"/>
                <a:gd name="connsiteY303" fmla="*/ 41777 h 231543"/>
                <a:gd name="connsiteX304" fmla="*/ 37100 w 229505"/>
                <a:gd name="connsiteY304" fmla="*/ 39710 h 231543"/>
                <a:gd name="connsiteX305" fmla="*/ 37100 w 229505"/>
                <a:gd name="connsiteY305" fmla="*/ 38443 h 231543"/>
                <a:gd name="connsiteX306" fmla="*/ 35938 w 229505"/>
                <a:gd name="connsiteY306" fmla="*/ 36367 h 231543"/>
                <a:gd name="connsiteX307" fmla="*/ 35081 w 229505"/>
                <a:gd name="connsiteY307" fmla="*/ 34347 h 231543"/>
                <a:gd name="connsiteX308" fmla="*/ 35309 w 229505"/>
                <a:gd name="connsiteY308" fmla="*/ 31718 h 231543"/>
                <a:gd name="connsiteX309" fmla="*/ 38938 w 229505"/>
                <a:gd name="connsiteY309" fmla="*/ 31499 h 231543"/>
                <a:gd name="connsiteX310" fmla="*/ 40205 w 229505"/>
                <a:gd name="connsiteY310" fmla="*/ 31252 h 231543"/>
                <a:gd name="connsiteX311" fmla="*/ 44920 w 229505"/>
                <a:gd name="connsiteY311" fmla="*/ 31109 h 231543"/>
                <a:gd name="connsiteX312" fmla="*/ 47073 w 229505"/>
                <a:gd name="connsiteY312" fmla="*/ 29699 h 231543"/>
                <a:gd name="connsiteX313" fmla="*/ 48559 w 229505"/>
                <a:gd name="connsiteY313" fmla="*/ 29832 h 231543"/>
                <a:gd name="connsiteX314" fmla="*/ 51664 w 229505"/>
                <a:gd name="connsiteY314" fmla="*/ 31052 h 231543"/>
                <a:gd name="connsiteX315" fmla="*/ 53054 w 229505"/>
                <a:gd name="connsiteY315" fmla="*/ 30089 h 231543"/>
                <a:gd name="connsiteX316" fmla="*/ 57112 w 229505"/>
                <a:gd name="connsiteY316" fmla="*/ 28185 h 231543"/>
                <a:gd name="connsiteX317" fmla="*/ 61122 w 229505"/>
                <a:gd name="connsiteY317" fmla="*/ 22641 h 231543"/>
                <a:gd name="connsiteX318" fmla="*/ 62827 w 229505"/>
                <a:gd name="connsiteY318" fmla="*/ 21812 h 231543"/>
                <a:gd name="connsiteX319" fmla="*/ 66723 w 229505"/>
                <a:gd name="connsiteY319" fmla="*/ 21469 h 231543"/>
                <a:gd name="connsiteX320" fmla="*/ 67942 w 229505"/>
                <a:gd name="connsiteY320" fmla="*/ 20831 h 231543"/>
                <a:gd name="connsiteX321" fmla="*/ 69361 w 229505"/>
                <a:gd name="connsiteY321" fmla="*/ 20955 h 231543"/>
                <a:gd name="connsiteX322" fmla="*/ 73724 w 229505"/>
                <a:gd name="connsiteY322" fmla="*/ 22079 h 231543"/>
                <a:gd name="connsiteX323" fmla="*/ 76200 w 229505"/>
                <a:gd name="connsiteY323" fmla="*/ 22250 h 231543"/>
                <a:gd name="connsiteX324" fmla="*/ 79143 w 229505"/>
                <a:gd name="connsiteY324" fmla="*/ 21479 h 231543"/>
                <a:gd name="connsiteX325" fmla="*/ 82382 w 229505"/>
                <a:gd name="connsiteY325" fmla="*/ 20126 h 231543"/>
                <a:gd name="connsiteX326" fmla="*/ 83191 w 229505"/>
                <a:gd name="connsiteY326" fmla="*/ 15373 h 231543"/>
                <a:gd name="connsiteX327" fmla="*/ 83963 w 229505"/>
                <a:gd name="connsiteY327" fmla="*/ 14688 h 231543"/>
                <a:gd name="connsiteX328" fmla="*/ 85973 w 229505"/>
                <a:gd name="connsiteY328" fmla="*/ 14497 h 231543"/>
                <a:gd name="connsiteX329" fmla="*/ 87497 w 229505"/>
                <a:gd name="connsiteY329" fmla="*/ 14535 h 231543"/>
                <a:gd name="connsiteX330" fmla="*/ 90431 w 229505"/>
                <a:gd name="connsiteY330" fmla="*/ 14916 h 231543"/>
                <a:gd name="connsiteX331" fmla="*/ 93917 w 229505"/>
                <a:gd name="connsiteY331" fmla="*/ 15040 h 231543"/>
                <a:gd name="connsiteX332" fmla="*/ 96155 w 229505"/>
                <a:gd name="connsiteY332" fmla="*/ 12811 h 231543"/>
                <a:gd name="connsiteX333" fmla="*/ 99689 w 229505"/>
                <a:gd name="connsiteY333" fmla="*/ 12649 h 231543"/>
                <a:gd name="connsiteX334" fmla="*/ 101327 w 229505"/>
                <a:gd name="connsiteY334" fmla="*/ 12325 h 231543"/>
                <a:gd name="connsiteX335" fmla="*/ 104061 w 229505"/>
                <a:gd name="connsiteY335" fmla="*/ 12773 h 231543"/>
                <a:gd name="connsiteX336" fmla="*/ 106718 w 229505"/>
                <a:gd name="connsiteY336" fmla="*/ 12754 h 231543"/>
                <a:gd name="connsiteX337" fmla="*/ 110119 w 229505"/>
                <a:gd name="connsiteY337" fmla="*/ 11820 h 231543"/>
                <a:gd name="connsiteX338" fmla="*/ 113291 w 229505"/>
                <a:gd name="connsiteY338" fmla="*/ 10287 h 231543"/>
                <a:gd name="connsiteX339" fmla="*/ 115767 w 229505"/>
                <a:gd name="connsiteY339" fmla="*/ 10421 h 231543"/>
                <a:gd name="connsiteX340" fmla="*/ 116777 w 229505"/>
                <a:gd name="connsiteY340" fmla="*/ 10144 h 231543"/>
                <a:gd name="connsiteX341" fmla="*/ 117348 w 229505"/>
                <a:gd name="connsiteY341" fmla="*/ 9820 h 231543"/>
                <a:gd name="connsiteX342" fmla="*/ 117967 w 229505"/>
                <a:gd name="connsiteY342" fmla="*/ 7753 h 231543"/>
                <a:gd name="connsiteX343" fmla="*/ 122625 w 229505"/>
                <a:gd name="connsiteY343" fmla="*/ 7620 h 231543"/>
                <a:gd name="connsiteX344" fmla="*/ 124206 w 229505"/>
                <a:gd name="connsiteY344" fmla="*/ 7820 h 231543"/>
                <a:gd name="connsiteX345" fmla="*/ 126807 w 229505"/>
                <a:gd name="connsiteY345" fmla="*/ 7877 h 231543"/>
                <a:gd name="connsiteX346" fmla="*/ 129512 w 229505"/>
                <a:gd name="connsiteY346" fmla="*/ 6744 h 231543"/>
                <a:gd name="connsiteX347" fmla="*/ 130321 w 229505"/>
                <a:gd name="connsiteY347" fmla="*/ 6839 h 231543"/>
                <a:gd name="connsiteX348" fmla="*/ 131683 w 229505"/>
                <a:gd name="connsiteY348" fmla="*/ 9868 h 231543"/>
                <a:gd name="connsiteX349" fmla="*/ 132398 w 229505"/>
                <a:gd name="connsiteY349" fmla="*/ 10744 h 231543"/>
                <a:gd name="connsiteX350" fmla="*/ 133865 w 229505"/>
                <a:gd name="connsiteY350" fmla="*/ 11554 h 231543"/>
                <a:gd name="connsiteX351" fmla="*/ 137141 w 229505"/>
                <a:gd name="connsiteY351" fmla="*/ 13821 h 231543"/>
                <a:gd name="connsiteX352" fmla="*/ 137732 w 229505"/>
                <a:gd name="connsiteY352" fmla="*/ 13221 h 231543"/>
                <a:gd name="connsiteX353" fmla="*/ 139103 w 229505"/>
                <a:gd name="connsiteY353" fmla="*/ 12459 h 231543"/>
                <a:gd name="connsiteX354" fmla="*/ 143028 w 229505"/>
                <a:gd name="connsiteY354" fmla="*/ 13497 h 231543"/>
                <a:gd name="connsiteX355" fmla="*/ 146771 w 229505"/>
                <a:gd name="connsiteY355" fmla="*/ 15240 h 231543"/>
                <a:gd name="connsiteX356" fmla="*/ 149914 w 229505"/>
                <a:gd name="connsiteY356" fmla="*/ 17802 h 231543"/>
                <a:gd name="connsiteX357" fmla="*/ 153410 w 229505"/>
                <a:gd name="connsiteY357" fmla="*/ 17059 h 231543"/>
                <a:gd name="connsiteX358" fmla="*/ 157286 w 229505"/>
                <a:gd name="connsiteY358" fmla="*/ 15802 h 231543"/>
                <a:gd name="connsiteX359" fmla="*/ 159811 w 229505"/>
                <a:gd name="connsiteY359" fmla="*/ 15440 h 231543"/>
                <a:gd name="connsiteX360" fmla="*/ 162554 w 229505"/>
                <a:gd name="connsiteY360" fmla="*/ 15259 h 231543"/>
                <a:gd name="connsiteX361" fmla="*/ 164182 w 229505"/>
                <a:gd name="connsiteY361" fmla="*/ 14716 h 231543"/>
                <a:gd name="connsiteX362" fmla="*/ 167888 w 229505"/>
                <a:gd name="connsiteY362" fmla="*/ 15373 h 231543"/>
                <a:gd name="connsiteX363" fmla="*/ 171708 w 229505"/>
                <a:gd name="connsiteY363" fmla="*/ 13992 h 231543"/>
                <a:gd name="connsiteX364" fmla="*/ 173546 w 229505"/>
                <a:gd name="connsiteY364" fmla="*/ 12754 h 231543"/>
                <a:gd name="connsiteX365" fmla="*/ 174079 w 229505"/>
                <a:gd name="connsiteY365" fmla="*/ 11001 h 231543"/>
                <a:gd name="connsiteX366" fmla="*/ 173774 w 229505"/>
                <a:gd name="connsiteY366" fmla="*/ 7925 h 231543"/>
                <a:gd name="connsiteX367" fmla="*/ 172907 w 229505"/>
                <a:gd name="connsiteY367" fmla="*/ 4839 h 231543"/>
                <a:gd name="connsiteX368" fmla="*/ 171993 w 229505"/>
                <a:gd name="connsiteY368" fmla="*/ 3696 h 231543"/>
                <a:gd name="connsiteX369" fmla="*/ 171698 w 229505"/>
                <a:gd name="connsiteY369" fmla="*/ 2515 h 231543"/>
                <a:gd name="connsiteX370" fmla="*/ 172222 w 229505"/>
                <a:gd name="connsiteY370" fmla="*/ 1410 h 231543"/>
                <a:gd name="connsiteX371" fmla="*/ 172812 w 229505"/>
                <a:gd name="connsiteY371" fmla="*/ 648 h 231543"/>
                <a:gd name="connsiteX372" fmla="*/ 175308 w 229505"/>
                <a:gd name="connsiteY372" fmla="*/ 0 h 231543"/>
                <a:gd name="connsiteX373" fmla="*/ 178422 w 229505"/>
                <a:gd name="connsiteY373" fmla="*/ 1086 h 231543"/>
                <a:gd name="connsiteX374" fmla="*/ 137075 w 229505"/>
                <a:gd name="connsiteY374" fmla="*/ 40053 h 231543"/>
                <a:gd name="connsiteX375" fmla="*/ 133645 w 229505"/>
                <a:gd name="connsiteY375" fmla="*/ 41300 h 231543"/>
                <a:gd name="connsiteX376" fmla="*/ 130160 w 229505"/>
                <a:gd name="connsiteY376" fmla="*/ 38929 h 231543"/>
                <a:gd name="connsiteX377" fmla="*/ 130188 w 229505"/>
                <a:gd name="connsiteY377" fmla="*/ 37519 h 231543"/>
                <a:gd name="connsiteX378" fmla="*/ 132026 w 229505"/>
                <a:gd name="connsiteY378" fmla="*/ 34652 h 231543"/>
                <a:gd name="connsiteX379" fmla="*/ 133036 w 229505"/>
                <a:gd name="connsiteY379" fmla="*/ 33804 h 231543"/>
                <a:gd name="connsiteX380" fmla="*/ 135598 w 229505"/>
                <a:gd name="connsiteY380" fmla="*/ 34033 h 231543"/>
                <a:gd name="connsiteX381" fmla="*/ 137056 w 229505"/>
                <a:gd name="connsiteY381" fmla="*/ 36004 h 231543"/>
                <a:gd name="connsiteX382" fmla="*/ 137399 w 229505"/>
                <a:gd name="connsiteY382" fmla="*/ 36938 h 231543"/>
                <a:gd name="connsiteX383" fmla="*/ 136922 w 229505"/>
                <a:gd name="connsiteY383" fmla="*/ 38519 h 231543"/>
                <a:gd name="connsiteX384" fmla="*/ 137075 w 229505"/>
                <a:gd name="connsiteY384" fmla="*/ 40053 h 231543"/>
                <a:gd name="connsiteX385" fmla="*/ 161449 w 229505"/>
                <a:gd name="connsiteY385" fmla="*/ 46663 h 231543"/>
                <a:gd name="connsiteX386" fmla="*/ 158420 w 229505"/>
                <a:gd name="connsiteY386" fmla="*/ 47577 h 231543"/>
                <a:gd name="connsiteX387" fmla="*/ 155086 w 229505"/>
                <a:gd name="connsiteY387" fmla="*/ 44691 h 231543"/>
                <a:gd name="connsiteX388" fmla="*/ 158305 w 229505"/>
                <a:gd name="connsiteY388" fmla="*/ 43529 h 231543"/>
                <a:gd name="connsiteX389" fmla="*/ 159801 w 229505"/>
                <a:gd name="connsiteY389" fmla="*/ 44368 h 231543"/>
                <a:gd name="connsiteX390" fmla="*/ 160868 w 229505"/>
                <a:gd name="connsiteY390" fmla="*/ 45358 h 231543"/>
                <a:gd name="connsiteX391" fmla="*/ 161449 w 229505"/>
                <a:gd name="connsiteY391" fmla="*/ 46663 h 231543"/>
                <a:gd name="connsiteX392" fmla="*/ 154810 w 229505"/>
                <a:gd name="connsiteY392" fmla="*/ 62112 h 231543"/>
                <a:gd name="connsiteX393" fmla="*/ 153801 w 229505"/>
                <a:gd name="connsiteY393" fmla="*/ 63284 h 231543"/>
                <a:gd name="connsiteX394" fmla="*/ 153048 w 229505"/>
                <a:gd name="connsiteY394" fmla="*/ 65304 h 231543"/>
                <a:gd name="connsiteX395" fmla="*/ 152648 w 229505"/>
                <a:gd name="connsiteY395" fmla="*/ 68189 h 231543"/>
                <a:gd name="connsiteX396" fmla="*/ 151086 w 229505"/>
                <a:gd name="connsiteY396" fmla="*/ 68256 h 231543"/>
                <a:gd name="connsiteX397" fmla="*/ 150143 w 229505"/>
                <a:gd name="connsiteY397" fmla="*/ 67675 h 231543"/>
                <a:gd name="connsiteX398" fmla="*/ 149829 w 229505"/>
                <a:gd name="connsiteY398" fmla="*/ 66580 h 231543"/>
                <a:gd name="connsiteX399" fmla="*/ 149771 w 229505"/>
                <a:gd name="connsiteY399" fmla="*/ 65199 h 231543"/>
                <a:gd name="connsiteX400" fmla="*/ 149086 w 229505"/>
                <a:gd name="connsiteY400" fmla="*/ 65256 h 231543"/>
                <a:gd name="connsiteX401" fmla="*/ 148533 w 229505"/>
                <a:gd name="connsiteY401" fmla="*/ 66751 h 231543"/>
                <a:gd name="connsiteX402" fmla="*/ 148047 w 229505"/>
                <a:gd name="connsiteY402" fmla="*/ 67428 h 231543"/>
                <a:gd name="connsiteX403" fmla="*/ 146476 w 229505"/>
                <a:gd name="connsiteY403" fmla="*/ 67571 h 231543"/>
                <a:gd name="connsiteX404" fmla="*/ 144752 w 229505"/>
                <a:gd name="connsiteY404" fmla="*/ 66647 h 231543"/>
                <a:gd name="connsiteX405" fmla="*/ 144838 w 229505"/>
                <a:gd name="connsiteY405" fmla="*/ 64656 h 231543"/>
                <a:gd name="connsiteX406" fmla="*/ 144495 w 229505"/>
                <a:gd name="connsiteY406" fmla="*/ 62341 h 231543"/>
                <a:gd name="connsiteX407" fmla="*/ 144647 w 229505"/>
                <a:gd name="connsiteY407" fmla="*/ 61532 h 231543"/>
                <a:gd name="connsiteX408" fmla="*/ 149362 w 229505"/>
                <a:gd name="connsiteY408" fmla="*/ 61331 h 231543"/>
                <a:gd name="connsiteX409" fmla="*/ 150743 w 229505"/>
                <a:gd name="connsiteY409" fmla="*/ 63037 h 231543"/>
                <a:gd name="connsiteX410" fmla="*/ 152410 w 229505"/>
                <a:gd name="connsiteY410" fmla="*/ 62046 h 231543"/>
                <a:gd name="connsiteX411" fmla="*/ 153095 w 229505"/>
                <a:gd name="connsiteY411" fmla="*/ 60979 h 231543"/>
                <a:gd name="connsiteX412" fmla="*/ 155115 w 229505"/>
                <a:gd name="connsiteY412" fmla="*/ 60312 h 231543"/>
                <a:gd name="connsiteX413" fmla="*/ 154810 w 229505"/>
                <a:gd name="connsiteY413" fmla="*/ 62112 h 231543"/>
                <a:gd name="connsiteX414" fmla="*/ 11535 w 229505"/>
                <a:gd name="connsiteY414" fmla="*/ 81172 h 231543"/>
                <a:gd name="connsiteX415" fmla="*/ 12116 w 229505"/>
                <a:gd name="connsiteY415" fmla="*/ 83106 h 231543"/>
                <a:gd name="connsiteX416" fmla="*/ 8782 w 229505"/>
                <a:gd name="connsiteY416" fmla="*/ 81905 h 231543"/>
                <a:gd name="connsiteX417" fmla="*/ 6354 w 229505"/>
                <a:gd name="connsiteY417" fmla="*/ 80181 h 231543"/>
                <a:gd name="connsiteX418" fmla="*/ 4344 w 229505"/>
                <a:gd name="connsiteY418" fmla="*/ 75905 h 231543"/>
                <a:gd name="connsiteX419" fmla="*/ 67 w 229505"/>
                <a:gd name="connsiteY419" fmla="*/ 71038 h 231543"/>
                <a:gd name="connsiteX420" fmla="*/ 0 w 229505"/>
                <a:gd name="connsiteY420" fmla="*/ 69618 h 231543"/>
                <a:gd name="connsiteX421" fmla="*/ 1629 w 229505"/>
                <a:gd name="connsiteY421" fmla="*/ 68542 h 231543"/>
                <a:gd name="connsiteX422" fmla="*/ 5144 w 229505"/>
                <a:gd name="connsiteY422" fmla="*/ 67780 h 231543"/>
                <a:gd name="connsiteX423" fmla="*/ 6563 w 229505"/>
                <a:gd name="connsiteY423" fmla="*/ 68571 h 231543"/>
                <a:gd name="connsiteX424" fmla="*/ 7477 w 229505"/>
                <a:gd name="connsiteY424" fmla="*/ 69390 h 231543"/>
                <a:gd name="connsiteX425" fmla="*/ 7763 w 229505"/>
                <a:gd name="connsiteY425" fmla="*/ 70323 h 231543"/>
                <a:gd name="connsiteX426" fmla="*/ 5772 w 229505"/>
                <a:gd name="connsiteY426" fmla="*/ 72190 h 231543"/>
                <a:gd name="connsiteX427" fmla="*/ 5363 w 229505"/>
                <a:gd name="connsiteY427" fmla="*/ 73038 h 231543"/>
                <a:gd name="connsiteX428" fmla="*/ 6896 w 229505"/>
                <a:gd name="connsiteY428" fmla="*/ 74714 h 231543"/>
                <a:gd name="connsiteX429" fmla="*/ 6877 w 229505"/>
                <a:gd name="connsiteY429" fmla="*/ 75390 h 231543"/>
                <a:gd name="connsiteX430" fmla="*/ 7515 w 229505"/>
                <a:gd name="connsiteY430" fmla="*/ 78639 h 231543"/>
                <a:gd name="connsiteX431" fmla="*/ 8268 w 229505"/>
                <a:gd name="connsiteY431" fmla="*/ 79858 h 231543"/>
                <a:gd name="connsiteX432" fmla="*/ 10202 w 229505"/>
                <a:gd name="connsiteY432" fmla="*/ 80839 h 231543"/>
                <a:gd name="connsiteX433" fmla="*/ 11535 w 229505"/>
                <a:gd name="connsiteY433" fmla="*/ 81172 h 231543"/>
                <a:gd name="connsiteX434" fmla="*/ 180804 w 229505"/>
                <a:gd name="connsiteY434" fmla="*/ 84725 h 231543"/>
                <a:gd name="connsiteX435" fmla="*/ 180337 w 229505"/>
                <a:gd name="connsiteY435" fmla="*/ 86763 h 231543"/>
                <a:gd name="connsiteX436" fmla="*/ 184033 w 229505"/>
                <a:gd name="connsiteY436" fmla="*/ 90145 h 231543"/>
                <a:gd name="connsiteX437" fmla="*/ 185290 w 229505"/>
                <a:gd name="connsiteY437" fmla="*/ 92288 h 231543"/>
                <a:gd name="connsiteX438" fmla="*/ 185757 w 229505"/>
                <a:gd name="connsiteY438" fmla="*/ 94364 h 231543"/>
                <a:gd name="connsiteX439" fmla="*/ 185443 w 229505"/>
                <a:gd name="connsiteY439" fmla="*/ 94964 h 231543"/>
                <a:gd name="connsiteX440" fmla="*/ 184042 w 229505"/>
                <a:gd name="connsiteY440" fmla="*/ 93840 h 231543"/>
                <a:gd name="connsiteX441" fmla="*/ 182890 w 229505"/>
                <a:gd name="connsiteY441" fmla="*/ 93478 h 231543"/>
                <a:gd name="connsiteX442" fmla="*/ 183280 w 229505"/>
                <a:gd name="connsiteY442" fmla="*/ 94964 h 231543"/>
                <a:gd name="connsiteX443" fmla="*/ 184461 w 229505"/>
                <a:gd name="connsiteY443" fmla="*/ 96241 h 231543"/>
                <a:gd name="connsiteX444" fmla="*/ 182366 w 229505"/>
                <a:gd name="connsiteY444" fmla="*/ 96974 h 231543"/>
                <a:gd name="connsiteX445" fmla="*/ 180270 w 229505"/>
                <a:gd name="connsiteY445" fmla="*/ 96936 h 231543"/>
                <a:gd name="connsiteX446" fmla="*/ 174136 w 229505"/>
                <a:gd name="connsiteY446" fmla="*/ 95155 h 231543"/>
                <a:gd name="connsiteX447" fmla="*/ 172727 w 229505"/>
                <a:gd name="connsiteY447" fmla="*/ 93259 h 231543"/>
                <a:gd name="connsiteX448" fmla="*/ 176394 w 229505"/>
                <a:gd name="connsiteY448" fmla="*/ 90411 h 231543"/>
                <a:gd name="connsiteX449" fmla="*/ 177137 w 229505"/>
                <a:gd name="connsiteY449" fmla="*/ 89259 h 231543"/>
                <a:gd name="connsiteX450" fmla="*/ 174546 w 229505"/>
                <a:gd name="connsiteY450" fmla="*/ 89373 h 231543"/>
                <a:gd name="connsiteX451" fmla="*/ 171774 w 229505"/>
                <a:gd name="connsiteY451" fmla="*/ 92755 h 231543"/>
                <a:gd name="connsiteX452" fmla="*/ 167336 w 229505"/>
                <a:gd name="connsiteY452" fmla="*/ 91269 h 231543"/>
                <a:gd name="connsiteX453" fmla="*/ 165974 w 229505"/>
                <a:gd name="connsiteY453" fmla="*/ 89906 h 231543"/>
                <a:gd name="connsiteX454" fmla="*/ 165668 w 229505"/>
                <a:gd name="connsiteY454" fmla="*/ 89173 h 231543"/>
                <a:gd name="connsiteX455" fmla="*/ 167421 w 229505"/>
                <a:gd name="connsiteY455" fmla="*/ 86163 h 231543"/>
                <a:gd name="connsiteX456" fmla="*/ 170545 w 229505"/>
                <a:gd name="connsiteY456" fmla="*/ 86268 h 231543"/>
                <a:gd name="connsiteX457" fmla="*/ 172193 w 229505"/>
                <a:gd name="connsiteY457" fmla="*/ 85592 h 231543"/>
                <a:gd name="connsiteX458" fmla="*/ 174241 w 229505"/>
                <a:gd name="connsiteY458" fmla="*/ 84639 h 231543"/>
                <a:gd name="connsiteX459" fmla="*/ 174260 w 229505"/>
                <a:gd name="connsiteY459" fmla="*/ 83211 h 231543"/>
                <a:gd name="connsiteX460" fmla="*/ 179137 w 229505"/>
                <a:gd name="connsiteY460" fmla="*/ 82887 h 231543"/>
                <a:gd name="connsiteX461" fmla="*/ 180804 w 229505"/>
                <a:gd name="connsiteY461" fmla="*/ 84725 h 231543"/>
                <a:gd name="connsiteX462" fmla="*/ 113386 w 229505"/>
                <a:gd name="connsiteY462" fmla="*/ 90611 h 231543"/>
                <a:gd name="connsiteX463" fmla="*/ 112138 w 229505"/>
                <a:gd name="connsiteY463" fmla="*/ 91012 h 231543"/>
                <a:gd name="connsiteX464" fmla="*/ 113386 w 229505"/>
                <a:gd name="connsiteY464" fmla="*/ 88268 h 231543"/>
                <a:gd name="connsiteX465" fmla="*/ 115596 w 229505"/>
                <a:gd name="connsiteY465" fmla="*/ 86849 h 231543"/>
                <a:gd name="connsiteX466" fmla="*/ 114767 w 229505"/>
                <a:gd name="connsiteY466" fmla="*/ 89154 h 231543"/>
                <a:gd name="connsiteX467" fmla="*/ 113386 w 229505"/>
                <a:gd name="connsiteY467" fmla="*/ 90611 h 231543"/>
                <a:gd name="connsiteX468" fmla="*/ 110490 w 229505"/>
                <a:gd name="connsiteY468" fmla="*/ 92116 h 231543"/>
                <a:gd name="connsiteX469" fmla="*/ 109300 w 229505"/>
                <a:gd name="connsiteY469" fmla="*/ 93278 h 231543"/>
                <a:gd name="connsiteX470" fmla="*/ 107452 w 229505"/>
                <a:gd name="connsiteY470" fmla="*/ 92774 h 231543"/>
                <a:gd name="connsiteX471" fmla="*/ 105518 w 229505"/>
                <a:gd name="connsiteY471" fmla="*/ 88887 h 231543"/>
                <a:gd name="connsiteX472" fmla="*/ 110490 w 229505"/>
                <a:gd name="connsiteY472" fmla="*/ 92116 h 231543"/>
                <a:gd name="connsiteX473" fmla="*/ 100755 w 229505"/>
                <a:gd name="connsiteY473" fmla="*/ 97450 h 231543"/>
                <a:gd name="connsiteX474" fmla="*/ 102270 w 229505"/>
                <a:gd name="connsiteY474" fmla="*/ 101165 h 231543"/>
                <a:gd name="connsiteX475" fmla="*/ 103690 w 229505"/>
                <a:gd name="connsiteY475" fmla="*/ 102413 h 231543"/>
                <a:gd name="connsiteX476" fmla="*/ 106661 w 229505"/>
                <a:gd name="connsiteY476" fmla="*/ 103889 h 231543"/>
                <a:gd name="connsiteX477" fmla="*/ 108061 w 229505"/>
                <a:gd name="connsiteY477" fmla="*/ 104080 h 231543"/>
                <a:gd name="connsiteX478" fmla="*/ 113138 w 229505"/>
                <a:gd name="connsiteY478" fmla="*/ 106747 h 231543"/>
                <a:gd name="connsiteX479" fmla="*/ 119034 w 229505"/>
                <a:gd name="connsiteY479" fmla="*/ 107280 h 231543"/>
                <a:gd name="connsiteX480" fmla="*/ 119796 w 229505"/>
                <a:gd name="connsiteY480" fmla="*/ 108052 h 231543"/>
                <a:gd name="connsiteX481" fmla="*/ 120520 w 229505"/>
                <a:gd name="connsiteY481" fmla="*/ 110100 h 231543"/>
                <a:gd name="connsiteX482" fmla="*/ 121720 w 229505"/>
                <a:gd name="connsiteY482" fmla="*/ 111709 h 231543"/>
                <a:gd name="connsiteX483" fmla="*/ 122025 w 229505"/>
                <a:gd name="connsiteY483" fmla="*/ 112957 h 231543"/>
                <a:gd name="connsiteX484" fmla="*/ 121396 w 229505"/>
                <a:gd name="connsiteY484" fmla="*/ 114348 h 231543"/>
                <a:gd name="connsiteX485" fmla="*/ 122263 w 229505"/>
                <a:gd name="connsiteY485" fmla="*/ 118586 h 231543"/>
                <a:gd name="connsiteX486" fmla="*/ 123749 w 229505"/>
                <a:gd name="connsiteY486" fmla="*/ 122606 h 231543"/>
                <a:gd name="connsiteX487" fmla="*/ 125988 w 229505"/>
                <a:gd name="connsiteY487" fmla="*/ 124549 h 231543"/>
                <a:gd name="connsiteX488" fmla="*/ 128778 w 229505"/>
                <a:gd name="connsiteY488" fmla="*/ 125139 h 231543"/>
                <a:gd name="connsiteX489" fmla="*/ 131436 w 229505"/>
                <a:gd name="connsiteY489" fmla="*/ 125054 h 231543"/>
                <a:gd name="connsiteX490" fmla="*/ 132102 w 229505"/>
                <a:gd name="connsiteY490" fmla="*/ 125854 h 231543"/>
                <a:gd name="connsiteX491" fmla="*/ 131836 w 229505"/>
                <a:gd name="connsiteY491" fmla="*/ 129359 h 231543"/>
                <a:gd name="connsiteX492" fmla="*/ 130712 w 229505"/>
                <a:gd name="connsiteY492" fmla="*/ 130731 h 231543"/>
                <a:gd name="connsiteX493" fmla="*/ 129797 w 229505"/>
                <a:gd name="connsiteY493" fmla="*/ 131064 h 231543"/>
                <a:gd name="connsiteX494" fmla="*/ 129007 w 229505"/>
                <a:gd name="connsiteY494" fmla="*/ 130702 h 231543"/>
                <a:gd name="connsiteX495" fmla="*/ 128283 w 229505"/>
                <a:gd name="connsiteY495" fmla="*/ 129883 h 231543"/>
                <a:gd name="connsiteX496" fmla="*/ 127502 w 229505"/>
                <a:gd name="connsiteY496" fmla="*/ 129492 h 231543"/>
                <a:gd name="connsiteX497" fmla="*/ 125978 w 229505"/>
                <a:gd name="connsiteY497" fmla="*/ 129426 h 231543"/>
                <a:gd name="connsiteX498" fmla="*/ 124863 w 229505"/>
                <a:gd name="connsiteY498" fmla="*/ 128016 h 231543"/>
                <a:gd name="connsiteX499" fmla="*/ 122034 w 229505"/>
                <a:gd name="connsiteY499" fmla="*/ 126082 h 231543"/>
                <a:gd name="connsiteX500" fmla="*/ 121511 w 229505"/>
                <a:gd name="connsiteY500" fmla="*/ 124921 h 231543"/>
                <a:gd name="connsiteX501" fmla="*/ 121415 w 229505"/>
                <a:gd name="connsiteY501" fmla="*/ 123139 h 231543"/>
                <a:gd name="connsiteX502" fmla="*/ 120215 w 229505"/>
                <a:gd name="connsiteY502" fmla="*/ 121825 h 231543"/>
                <a:gd name="connsiteX503" fmla="*/ 119110 w 229505"/>
                <a:gd name="connsiteY503" fmla="*/ 119329 h 231543"/>
                <a:gd name="connsiteX504" fmla="*/ 118063 w 229505"/>
                <a:gd name="connsiteY504" fmla="*/ 118634 h 231543"/>
                <a:gd name="connsiteX505" fmla="*/ 117482 w 229505"/>
                <a:gd name="connsiteY505" fmla="*/ 117377 h 231543"/>
                <a:gd name="connsiteX506" fmla="*/ 117434 w 229505"/>
                <a:gd name="connsiteY506" fmla="*/ 116843 h 231543"/>
                <a:gd name="connsiteX507" fmla="*/ 113319 w 229505"/>
                <a:gd name="connsiteY507" fmla="*/ 116472 h 231543"/>
                <a:gd name="connsiteX508" fmla="*/ 109919 w 229505"/>
                <a:gd name="connsiteY508" fmla="*/ 116462 h 231543"/>
                <a:gd name="connsiteX509" fmla="*/ 107032 w 229505"/>
                <a:gd name="connsiteY509" fmla="*/ 115043 h 231543"/>
                <a:gd name="connsiteX510" fmla="*/ 106137 w 229505"/>
                <a:gd name="connsiteY510" fmla="*/ 111319 h 231543"/>
                <a:gd name="connsiteX511" fmla="*/ 104423 w 229505"/>
                <a:gd name="connsiteY511" fmla="*/ 110319 h 231543"/>
                <a:gd name="connsiteX512" fmla="*/ 103137 w 229505"/>
                <a:gd name="connsiteY512" fmla="*/ 109261 h 231543"/>
                <a:gd name="connsiteX513" fmla="*/ 102070 w 229505"/>
                <a:gd name="connsiteY513" fmla="*/ 107795 h 231543"/>
                <a:gd name="connsiteX514" fmla="*/ 99365 w 229505"/>
                <a:gd name="connsiteY514" fmla="*/ 105099 h 231543"/>
                <a:gd name="connsiteX515" fmla="*/ 96374 w 229505"/>
                <a:gd name="connsiteY515" fmla="*/ 102841 h 231543"/>
                <a:gd name="connsiteX516" fmla="*/ 93479 w 229505"/>
                <a:gd name="connsiteY516" fmla="*/ 101346 h 231543"/>
                <a:gd name="connsiteX517" fmla="*/ 90411 w 229505"/>
                <a:gd name="connsiteY517" fmla="*/ 100365 h 231543"/>
                <a:gd name="connsiteX518" fmla="*/ 87916 w 229505"/>
                <a:gd name="connsiteY518" fmla="*/ 101518 h 231543"/>
                <a:gd name="connsiteX519" fmla="*/ 86459 w 229505"/>
                <a:gd name="connsiteY519" fmla="*/ 101251 h 231543"/>
                <a:gd name="connsiteX520" fmla="*/ 86163 w 229505"/>
                <a:gd name="connsiteY520" fmla="*/ 100470 h 231543"/>
                <a:gd name="connsiteX521" fmla="*/ 89268 w 229505"/>
                <a:gd name="connsiteY521" fmla="*/ 98917 h 231543"/>
                <a:gd name="connsiteX522" fmla="*/ 93536 w 229505"/>
                <a:gd name="connsiteY522" fmla="*/ 95945 h 231543"/>
                <a:gd name="connsiteX523" fmla="*/ 96536 w 229505"/>
                <a:gd name="connsiteY523" fmla="*/ 94964 h 231543"/>
                <a:gd name="connsiteX524" fmla="*/ 97993 w 229505"/>
                <a:gd name="connsiteY524" fmla="*/ 94840 h 231543"/>
                <a:gd name="connsiteX525" fmla="*/ 100755 w 229505"/>
                <a:gd name="connsiteY525" fmla="*/ 97450 h 231543"/>
                <a:gd name="connsiteX526" fmla="*/ 134417 w 229505"/>
                <a:gd name="connsiteY526" fmla="*/ 102565 h 231543"/>
                <a:gd name="connsiteX527" fmla="*/ 131598 w 229505"/>
                <a:gd name="connsiteY527" fmla="*/ 103394 h 231543"/>
                <a:gd name="connsiteX528" fmla="*/ 130845 w 229505"/>
                <a:gd name="connsiteY528" fmla="*/ 103261 h 231543"/>
                <a:gd name="connsiteX529" fmla="*/ 131474 w 229505"/>
                <a:gd name="connsiteY529" fmla="*/ 102213 h 231543"/>
                <a:gd name="connsiteX530" fmla="*/ 131522 w 229505"/>
                <a:gd name="connsiteY530" fmla="*/ 101775 h 231543"/>
                <a:gd name="connsiteX531" fmla="*/ 128702 w 229505"/>
                <a:gd name="connsiteY531" fmla="*/ 99851 h 231543"/>
                <a:gd name="connsiteX532" fmla="*/ 129035 w 229505"/>
                <a:gd name="connsiteY532" fmla="*/ 97355 h 231543"/>
                <a:gd name="connsiteX533" fmla="*/ 129369 w 229505"/>
                <a:gd name="connsiteY533" fmla="*/ 96717 h 231543"/>
                <a:gd name="connsiteX534" fmla="*/ 131464 w 229505"/>
                <a:gd name="connsiteY534" fmla="*/ 98022 h 231543"/>
                <a:gd name="connsiteX535" fmla="*/ 131922 w 229505"/>
                <a:gd name="connsiteY535" fmla="*/ 100194 h 231543"/>
                <a:gd name="connsiteX536" fmla="*/ 134417 w 229505"/>
                <a:gd name="connsiteY536" fmla="*/ 102565 h 231543"/>
                <a:gd name="connsiteX537" fmla="*/ 27813 w 229505"/>
                <a:gd name="connsiteY537" fmla="*/ 109404 h 231543"/>
                <a:gd name="connsiteX538" fmla="*/ 26775 w 229505"/>
                <a:gd name="connsiteY538" fmla="*/ 109671 h 231543"/>
                <a:gd name="connsiteX539" fmla="*/ 25880 w 229505"/>
                <a:gd name="connsiteY539" fmla="*/ 109490 h 231543"/>
                <a:gd name="connsiteX540" fmla="*/ 25070 w 229505"/>
                <a:gd name="connsiteY540" fmla="*/ 109642 h 231543"/>
                <a:gd name="connsiteX541" fmla="*/ 24279 w 229505"/>
                <a:gd name="connsiteY541" fmla="*/ 110290 h 231543"/>
                <a:gd name="connsiteX542" fmla="*/ 24365 w 229505"/>
                <a:gd name="connsiteY542" fmla="*/ 107595 h 231543"/>
                <a:gd name="connsiteX543" fmla="*/ 25289 w 229505"/>
                <a:gd name="connsiteY543" fmla="*/ 104232 h 231543"/>
                <a:gd name="connsiteX544" fmla="*/ 26413 w 229505"/>
                <a:gd name="connsiteY544" fmla="*/ 102270 h 231543"/>
                <a:gd name="connsiteX545" fmla="*/ 28004 w 229505"/>
                <a:gd name="connsiteY545" fmla="*/ 101356 h 231543"/>
                <a:gd name="connsiteX546" fmla="*/ 28680 w 229505"/>
                <a:gd name="connsiteY546" fmla="*/ 102899 h 231543"/>
                <a:gd name="connsiteX547" fmla="*/ 28556 w 229505"/>
                <a:gd name="connsiteY547" fmla="*/ 108385 h 231543"/>
                <a:gd name="connsiteX548" fmla="*/ 27813 w 229505"/>
                <a:gd name="connsiteY548" fmla="*/ 109404 h 231543"/>
                <a:gd name="connsiteX549" fmla="*/ 172355 w 229505"/>
                <a:gd name="connsiteY549" fmla="*/ 122672 h 231543"/>
                <a:gd name="connsiteX550" fmla="*/ 169802 w 229505"/>
                <a:gd name="connsiteY550" fmla="*/ 124587 h 231543"/>
                <a:gd name="connsiteX551" fmla="*/ 166954 w 229505"/>
                <a:gd name="connsiteY551" fmla="*/ 121815 h 231543"/>
                <a:gd name="connsiteX552" fmla="*/ 166488 w 229505"/>
                <a:gd name="connsiteY552" fmla="*/ 120920 h 231543"/>
                <a:gd name="connsiteX553" fmla="*/ 168583 w 229505"/>
                <a:gd name="connsiteY553" fmla="*/ 119796 h 231543"/>
                <a:gd name="connsiteX554" fmla="*/ 169622 w 229505"/>
                <a:gd name="connsiteY554" fmla="*/ 118072 h 231543"/>
                <a:gd name="connsiteX555" fmla="*/ 168783 w 229505"/>
                <a:gd name="connsiteY555" fmla="*/ 115948 h 231543"/>
                <a:gd name="connsiteX556" fmla="*/ 165878 w 229505"/>
                <a:gd name="connsiteY556" fmla="*/ 112805 h 231543"/>
                <a:gd name="connsiteX557" fmla="*/ 165735 w 229505"/>
                <a:gd name="connsiteY557" fmla="*/ 110576 h 231543"/>
                <a:gd name="connsiteX558" fmla="*/ 170183 w 229505"/>
                <a:gd name="connsiteY558" fmla="*/ 109633 h 231543"/>
                <a:gd name="connsiteX559" fmla="*/ 172803 w 229505"/>
                <a:gd name="connsiteY559" fmla="*/ 111576 h 231543"/>
                <a:gd name="connsiteX560" fmla="*/ 174136 w 229505"/>
                <a:gd name="connsiteY560" fmla="*/ 111709 h 231543"/>
                <a:gd name="connsiteX561" fmla="*/ 173622 w 229505"/>
                <a:gd name="connsiteY561" fmla="*/ 113567 h 231543"/>
                <a:gd name="connsiteX562" fmla="*/ 173850 w 229505"/>
                <a:gd name="connsiteY562" fmla="*/ 114167 h 231543"/>
                <a:gd name="connsiteX563" fmla="*/ 174050 w 229505"/>
                <a:gd name="connsiteY563" fmla="*/ 119787 h 231543"/>
                <a:gd name="connsiteX564" fmla="*/ 172812 w 229505"/>
                <a:gd name="connsiteY564" fmla="*/ 120577 h 231543"/>
                <a:gd name="connsiteX565" fmla="*/ 172612 w 229505"/>
                <a:gd name="connsiteY565" fmla="*/ 122120 h 231543"/>
                <a:gd name="connsiteX566" fmla="*/ 172355 w 229505"/>
                <a:gd name="connsiteY566" fmla="*/ 122672 h 231543"/>
                <a:gd name="connsiteX567" fmla="*/ 29728 w 229505"/>
                <a:gd name="connsiteY567" fmla="*/ 118901 h 231543"/>
                <a:gd name="connsiteX568" fmla="*/ 28403 w 229505"/>
                <a:gd name="connsiteY568" fmla="*/ 119272 h 231543"/>
                <a:gd name="connsiteX569" fmla="*/ 26727 w 229505"/>
                <a:gd name="connsiteY569" fmla="*/ 116024 h 231543"/>
                <a:gd name="connsiteX570" fmla="*/ 26118 w 229505"/>
                <a:gd name="connsiteY570" fmla="*/ 113776 h 231543"/>
                <a:gd name="connsiteX571" fmla="*/ 26823 w 229505"/>
                <a:gd name="connsiteY571" fmla="*/ 113652 h 231543"/>
                <a:gd name="connsiteX572" fmla="*/ 27490 w 229505"/>
                <a:gd name="connsiteY572" fmla="*/ 113910 h 231543"/>
                <a:gd name="connsiteX573" fmla="*/ 28194 w 229505"/>
                <a:gd name="connsiteY573" fmla="*/ 114757 h 231543"/>
                <a:gd name="connsiteX574" fmla="*/ 28194 w 229505"/>
                <a:gd name="connsiteY574" fmla="*/ 115624 h 231543"/>
                <a:gd name="connsiteX575" fmla="*/ 28480 w 229505"/>
                <a:gd name="connsiteY575" fmla="*/ 116557 h 231543"/>
                <a:gd name="connsiteX576" fmla="*/ 29213 w 229505"/>
                <a:gd name="connsiteY576" fmla="*/ 117672 h 231543"/>
                <a:gd name="connsiteX577" fmla="*/ 29728 w 229505"/>
                <a:gd name="connsiteY577" fmla="*/ 118901 h 231543"/>
                <a:gd name="connsiteX578" fmla="*/ 25822 w 229505"/>
                <a:gd name="connsiteY578" fmla="*/ 117072 h 231543"/>
                <a:gd name="connsiteX579" fmla="*/ 26156 w 229505"/>
                <a:gd name="connsiteY579" fmla="*/ 120996 h 231543"/>
                <a:gd name="connsiteX580" fmla="*/ 28042 w 229505"/>
                <a:gd name="connsiteY580" fmla="*/ 121729 h 231543"/>
                <a:gd name="connsiteX581" fmla="*/ 30547 w 229505"/>
                <a:gd name="connsiteY581" fmla="*/ 125254 h 231543"/>
                <a:gd name="connsiteX582" fmla="*/ 30337 w 229505"/>
                <a:gd name="connsiteY582" fmla="*/ 127054 h 231543"/>
                <a:gd name="connsiteX583" fmla="*/ 29813 w 229505"/>
                <a:gd name="connsiteY583" fmla="*/ 127673 h 231543"/>
                <a:gd name="connsiteX584" fmla="*/ 25661 w 229505"/>
                <a:gd name="connsiteY584" fmla="*/ 126006 h 231543"/>
                <a:gd name="connsiteX585" fmla="*/ 24670 w 229505"/>
                <a:gd name="connsiteY585" fmla="*/ 126759 h 231543"/>
                <a:gd name="connsiteX586" fmla="*/ 23460 w 229505"/>
                <a:gd name="connsiteY586" fmla="*/ 126454 h 231543"/>
                <a:gd name="connsiteX587" fmla="*/ 22708 w 229505"/>
                <a:gd name="connsiteY587" fmla="*/ 124501 h 231543"/>
                <a:gd name="connsiteX588" fmla="*/ 22793 w 229505"/>
                <a:gd name="connsiteY588" fmla="*/ 123816 h 231543"/>
                <a:gd name="connsiteX589" fmla="*/ 22117 w 229505"/>
                <a:gd name="connsiteY589" fmla="*/ 122644 h 231543"/>
                <a:gd name="connsiteX590" fmla="*/ 21546 w 229505"/>
                <a:gd name="connsiteY590" fmla="*/ 122120 h 231543"/>
                <a:gd name="connsiteX591" fmla="*/ 19917 w 229505"/>
                <a:gd name="connsiteY591" fmla="*/ 123673 h 231543"/>
                <a:gd name="connsiteX592" fmla="*/ 18888 w 229505"/>
                <a:gd name="connsiteY592" fmla="*/ 123958 h 231543"/>
                <a:gd name="connsiteX593" fmla="*/ 18888 w 229505"/>
                <a:gd name="connsiteY593" fmla="*/ 122539 h 231543"/>
                <a:gd name="connsiteX594" fmla="*/ 20403 w 229505"/>
                <a:gd name="connsiteY594" fmla="*/ 118634 h 231543"/>
                <a:gd name="connsiteX595" fmla="*/ 21107 w 229505"/>
                <a:gd name="connsiteY595" fmla="*/ 117977 h 231543"/>
                <a:gd name="connsiteX596" fmla="*/ 22346 w 229505"/>
                <a:gd name="connsiteY596" fmla="*/ 119262 h 231543"/>
                <a:gd name="connsiteX597" fmla="*/ 23365 w 229505"/>
                <a:gd name="connsiteY597" fmla="*/ 118786 h 231543"/>
                <a:gd name="connsiteX598" fmla="*/ 24136 w 229505"/>
                <a:gd name="connsiteY598" fmla="*/ 116672 h 231543"/>
                <a:gd name="connsiteX599" fmla="*/ 24184 w 229505"/>
                <a:gd name="connsiteY599" fmla="*/ 114567 h 231543"/>
                <a:gd name="connsiteX600" fmla="*/ 24537 w 229505"/>
                <a:gd name="connsiteY600" fmla="*/ 113948 h 231543"/>
                <a:gd name="connsiteX601" fmla="*/ 25822 w 229505"/>
                <a:gd name="connsiteY601" fmla="*/ 117072 h 231543"/>
                <a:gd name="connsiteX602" fmla="*/ 104375 w 229505"/>
                <a:gd name="connsiteY602" fmla="*/ 132560 h 231543"/>
                <a:gd name="connsiteX603" fmla="*/ 103318 w 229505"/>
                <a:gd name="connsiteY603" fmla="*/ 133388 h 231543"/>
                <a:gd name="connsiteX604" fmla="*/ 102127 w 229505"/>
                <a:gd name="connsiteY604" fmla="*/ 133350 h 231543"/>
                <a:gd name="connsiteX605" fmla="*/ 101279 w 229505"/>
                <a:gd name="connsiteY605" fmla="*/ 133045 h 231543"/>
                <a:gd name="connsiteX606" fmla="*/ 100861 w 229505"/>
                <a:gd name="connsiteY606" fmla="*/ 132379 h 231543"/>
                <a:gd name="connsiteX607" fmla="*/ 101385 w 229505"/>
                <a:gd name="connsiteY607" fmla="*/ 132064 h 231543"/>
                <a:gd name="connsiteX608" fmla="*/ 102004 w 229505"/>
                <a:gd name="connsiteY608" fmla="*/ 130721 h 231543"/>
                <a:gd name="connsiteX609" fmla="*/ 102575 w 229505"/>
                <a:gd name="connsiteY609" fmla="*/ 130359 h 231543"/>
                <a:gd name="connsiteX610" fmla="*/ 103423 w 229505"/>
                <a:gd name="connsiteY610" fmla="*/ 130531 h 231543"/>
                <a:gd name="connsiteX611" fmla="*/ 103947 w 229505"/>
                <a:gd name="connsiteY611" fmla="*/ 131074 h 231543"/>
                <a:gd name="connsiteX612" fmla="*/ 104375 w 229505"/>
                <a:gd name="connsiteY612" fmla="*/ 132560 h 231543"/>
                <a:gd name="connsiteX613" fmla="*/ 142885 w 229505"/>
                <a:gd name="connsiteY613" fmla="*/ 138160 h 231543"/>
                <a:gd name="connsiteX614" fmla="*/ 142094 w 229505"/>
                <a:gd name="connsiteY614" fmla="*/ 140418 h 231543"/>
                <a:gd name="connsiteX615" fmla="*/ 140008 w 229505"/>
                <a:gd name="connsiteY615" fmla="*/ 137789 h 231543"/>
                <a:gd name="connsiteX616" fmla="*/ 137722 w 229505"/>
                <a:gd name="connsiteY616" fmla="*/ 135989 h 231543"/>
                <a:gd name="connsiteX617" fmla="*/ 136865 w 229505"/>
                <a:gd name="connsiteY617" fmla="*/ 134408 h 231543"/>
                <a:gd name="connsiteX618" fmla="*/ 135474 w 229505"/>
                <a:gd name="connsiteY618" fmla="*/ 133455 h 231543"/>
                <a:gd name="connsiteX619" fmla="*/ 135094 w 229505"/>
                <a:gd name="connsiteY619" fmla="*/ 131331 h 231543"/>
                <a:gd name="connsiteX620" fmla="*/ 136779 w 229505"/>
                <a:gd name="connsiteY620" fmla="*/ 130464 h 231543"/>
                <a:gd name="connsiteX621" fmla="*/ 137503 w 229505"/>
                <a:gd name="connsiteY621" fmla="*/ 130378 h 231543"/>
                <a:gd name="connsiteX622" fmla="*/ 139237 w 229505"/>
                <a:gd name="connsiteY622" fmla="*/ 132960 h 231543"/>
                <a:gd name="connsiteX623" fmla="*/ 141942 w 229505"/>
                <a:gd name="connsiteY623" fmla="*/ 133255 h 231543"/>
                <a:gd name="connsiteX624" fmla="*/ 141732 w 229505"/>
                <a:gd name="connsiteY624" fmla="*/ 134846 h 231543"/>
                <a:gd name="connsiteX625" fmla="*/ 142590 w 229505"/>
                <a:gd name="connsiteY625" fmla="*/ 136893 h 231543"/>
                <a:gd name="connsiteX626" fmla="*/ 142885 w 229505"/>
                <a:gd name="connsiteY626" fmla="*/ 138160 h 231543"/>
                <a:gd name="connsiteX627" fmla="*/ 33204 w 229505"/>
                <a:gd name="connsiteY627" fmla="*/ 136627 h 231543"/>
                <a:gd name="connsiteX628" fmla="*/ 36024 w 229505"/>
                <a:gd name="connsiteY628" fmla="*/ 139903 h 231543"/>
                <a:gd name="connsiteX629" fmla="*/ 33747 w 229505"/>
                <a:gd name="connsiteY629" fmla="*/ 139094 h 231543"/>
                <a:gd name="connsiteX630" fmla="*/ 31328 w 229505"/>
                <a:gd name="connsiteY630" fmla="*/ 141361 h 231543"/>
                <a:gd name="connsiteX631" fmla="*/ 28261 w 229505"/>
                <a:gd name="connsiteY631" fmla="*/ 138713 h 231543"/>
                <a:gd name="connsiteX632" fmla="*/ 26423 w 229505"/>
                <a:gd name="connsiteY632" fmla="*/ 136027 h 231543"/>
                <a:gd name="connsiteX633" fmla="*/ 26013 w 229505"/>
                <a:gd name="connsiteY633" fmla="*/ 134950 h 231543"/>
                <a:gd name="connsiteX634" fmla="*/ 27937 w 229505"/>
                <a:gd name="connsiteY634" fmla="*/ 132436 h 231543"/>
                <a:gd name="connsiteX635" fmla="*/ 29728 w 229505"/>
                <a:gd name="connsiteY635" fmla="*/ 135017 h 231543"/>
                <a:gd name="connsiteX636" fmla="*/ 31899 w 229505"/>
                <a:gd name="connsiteY636" fmla="*/ 135427 h 231543"/>
                <a:gd name="connsiteX637" fmla="*/ 33204 w 229505"/>
                <a:gd name="connsiteY637" fmla="*/ 136627 h 231543"/>
                <a:gd name="connsiteX638" fmla="*/ 191881 w 229505"/>
                <a:gd name="connsiteY638" fmla="*/ 136417 h 231543"/>
                <a:gd name="connsiteX639" fmla="*/ 195168 w 229505"/>
                <a:gd name="connsiteY639" fmla="*/ 137531 h 231543"/>
                <a:gd name="connsiteX640" fmla="*/ 196082 w 229505"/>
                <a:gd name="connsiteY640" fmla="*/ 137408 h 231543"/>
                <a:gd name="connsiteX641" fmla="*/ 197634 w 229505"/>
                <a:gd name="connsiteY641" fmla="*/ 137808 h 231543"/>
                <a:gd name="connsiteX642" fmla="*/ 198044 w 229505"/>
                <a:gd name="connsiteY642" fmla="*/ 139846 h 231543"/>
                <a:gd name="connsiteX643" fmla="*/ 195987 w 229505"/>
                <a:gd name="connsiteY643" fmla="*/ 140141 h 231543"/>
                <a:gd name="connsiteX644" fmla="*/ 192424 w 229505"/>
                <a:gd name="connsiteY644" fmla="*/ 142018 h 231543"/>
                <a:gd name="connsiteX645" fmla="*/ 190910 w 229505"/>
                <a:gd name="connsiteY645" fmla="*/ 141608 h 231543"/>
                <a:gd name="connsiteX646" fmla="*/ 189100 w 229505"/>
                <a:gd name="connsiteY646" fmla="*/ 139980 h 231543"/>
                <a:gd name="connsiteX647" fmla="*/ 186224 w 229505"/>
                <a:gd name="connsiteY647" fmla="*/ 139808 h 231543"/>
                <a:gd name="connsiteX648" fmla="*/ 185376 w 229505"/>
                <a:gd name="connsiteY648" fmla="*/ 139360 h 231543"/>
                <a:gd name="connsiteX649" fmla="*/ 186919 w 229505"/>
                <a:gd name="connsiteY649" fmla="*/ 137436 h 231543"/>
                <a:gd name="connsiteX650" fmla="*/ 189719 w 229505"/>
                <a:gd name="connsiteY650" fmla="*/ 136465 h 231543"/>
                <a:gd name="connsiteX651" fmla="*/ 191881 w 229505"/>
                <a:gd name="connsiteY651" fmla="*/ 136417 h 231543"/>
                <a:gd name="connsiteX652" fmla="*/ 125892 w 229505"/>
                <a:gd name="connsiteY652" fmla="*/ 144304 h 231543"/>
                <a:gd name="connsiteX653" fmla="*/ 124102 w 229505"/>
                <a:gd name="connsiteY653" fmla="*/ 145933 h 231543"/>
                <a:gd name="connsiteX654" fmla="*/ 123797 w 229505"/>
                <a:gd name="connsiteY654" fmla="*/ 143485 h 231543"/>
                <a:gd name="connsiteX655" fmla="*/ 124949 w 229505"/>
                <a:gd name="connsiteY655" fmla="*/ 140903 h 231543"/>
                <a:gd name="connsiteX656" fmla="*/ 126521 w 229505"/>
                <a:gd name="connsiteY656" fmla="*/ 140741 h 231543"/>
                <a:gd name="connsiteX657" fmla="*/ 127102 w 229505"/>
                <a:gd name="connsiteY657" fmla="*/ 141875 h 231543"/>
                <a:gd name="connsiteX658" fmla="*/ 125892 w 229505"/>
                <a:gd name="connsiteY658" fmla="*/ 144304 h 231543"/>
                <a:gd name="connsiteX659" fmla="*/ 149952 w 229505"/>
                <a:gd name="connsiteY659" fmla="*/ 143542 h 231543"/>
                <a:gd name="connsiteX660" fmla="*/ 148962 w 229505"/>
                <a:gd name="connsiteY660" fmla="*/ 145713 h 231543"/>
                <a:gd name="connsiteX661" fmla="*/ 147295 w 229505"/>
                <a:gd name="connsiteY661" fmla="*/ 145380 h 231543"/>
                <a:gd name="connsiteX662" fmla="*/ 144504 w 229505"/>
                <a:gd name="connsiteY662" fmla="*/ 143047 h 231543"/>
                <a:gd name="connsiteX663" fmla="*/ 143552 w 229505"/>
                <a:gd name="connsiteY663" fmla="*/ 141989 h 231543"/>
                <a:gd name="connsiteX664" fmla="*/ 143028 w 229505"/>
                <a:gd name="connsiteY664" fmla="*/ 140951 h 231543"/>
                <a:gd name="connsiteX665" fmla="*/ 144171 w 229505"/>
                <a:gd name="connsiteY665" fmla="*/ 140827 h 231543"/>
                <a:gd name="connsiteX666" fmla="*/ 145571 w 229505"/>
                <a:gd name="connsiteY666" fmla="*/ 141932 h 231543"/>
                <a:gd name="connsiteX667" fmla="*/ 149143 w 229505"/>
                <a:gd name="connsiteY667" fmla="*/ 142513 h 231543"/>
                <a:gd name="connsiteX668" fmla="*/ 149952 w 229505"/>
                <a:gd name="connsiteY668" fmla="*/ 143542 h 231543"/>
                <a:gd name="connsiteX669" fmla="*/ 170622 w 229505"/>
                <a:gd name="connsiteY669" fmla="*/ 145904 h 231543"/>
                <a:gd name="connsiteX670" fmla="*/ 169374 w 229505"/>
                <a:gd name="connsiteY670" fmla="*/ 146037 h 231543"/>
                <a:gd name="connsiteX671" fmla="*/ 169755 w 229505"/>
                <a:gd name="connsiteY671" fmla="*/ 144694 h 231543"/>
                <a:gd name="connsiteX672" fmla="*/ 172145 w 229505"/>
                <a:gd name="connsiteY672" fmla="*/ 142361 h 231543"/>
                <a:gd name="connsiteX673" fmla="*/ 175499 w 229505"/>
                <a:gd name="connsiteY673" fmla="*/ 142247 h 231543"/>
                <a:gd name="connsiteX674" fmla="*/ 178546 w 229505"/>
                <a:gd name="connsiteY674" fmla="*/ 141075 h 231543"/>
                <a:gd name="connsiteX675" fmla="*/ 179232 w 229505"/>
                <a:gd name="connsiteY675" fmla="*/ 141037 h 231543"/>
                <a:gd name="connsiteX676" fmla="*/ 177775 w 229505"/>
                <a:gd name="connsiteY676" fmla="*/ 142875 h 231543"/>
                <a:gd name="connsiteX677" fmla="*/ 175317 w 229505"/>
                <a:gd name="connsiteY677" fmla="*/ 144590 h 231543"/>
                <a:gd name="connsiteX678" fmla="*/ 170622 w 229505"/>
                <a:gd name="connsiteY678" fmla="*/ 145904 h 231543"/>
                <a:gd name="connsiteX679" fmla="*/ 153877 w 229505"/>
                <a:gd name="connsiteY679" fmla="*/ 149600 h 231543"/>
                <a:gd name="connsiteX680" fmla="*/ 151315 w 229505"/>
                <a:gd name="connsiteY680" fmla="*/ 149809 h 231543"/>
                <a:gd name="connsiteX681" fmla="*/ 151467 w 229505"/>
                <a:gd name="connsiteY681" fmla="*/ 147247 h 231543"/>
                <a:gd name="connsiteX682" fmla="*/ 152419 w 229505"/>
                <a:gd name="connsiteY682" fmla="*/ 146580 h 231543"/>
                <a:gd name="connsiteX683" fmla="*/ 155486 w 229505"/>
                <a:gd name="connsiteY683" fmla="*/ 147857 h 231543"/>
                <a:gd name="connsiteX684" fmla="*/ 155334 w 229505"/>
                <a:gd name="connsiteY684" fmla="*/ 148657 h 231543"/>
                <a:gd name="connsiteX685" fmla="*/ 153877 w 229505"/>
                <a:gd name="connsiteY685" fmla="*/ 149600 h 231543"/>
                <a:gd name="connsiteX686" fmla="*/ 141590 w 229505"/>
                <a:gd name="connsiteY686" fmla="*/ 147104 h 231543"/>
                <a:gd name="connsiteX687" fmla="*/ 141456 w 229505"/>
                <a:gd name="connsiteY687" fmla="*/ 150581 h 231543"/>
                <a:gd name="connsiteX688" fmla="*/ 140751 w 229505"/>
                <a:gd name="connsiteY688" fmla="*/ 150552 h 231543"/>
                <a:gd name="connsiteX689" fmla="*/ 140341 w 229505"/>
                <a:gd name="connsiteY689" fmla="*/ 150019 h 231543"/>
                <a:gd name="connsiteX690" fmla="*/ 140322 w 229505"/>
                <a:gd name="connsiteY690" fmla="*/ 148685 h 231543"/>
                <a:gd name="connsiteX691" fmla="*/ 140627 w 229505"/>
                <a:gd name="connsiteY691" fmla="*/ 146590 h 231543"/>
                <a:gd name="connsiteX692" fmla="*/ 141590 w 229505"/>
                <a:gd name="connsiteY692" fmla="*/ 147104 h 231543"/>
                <a:gd name="connsiteX693" fmla="*/ 128026 w 229505"/>
                <a:gd name="connsiteY693" fmla="*/ 152105 h 231543"/>
                <a:gd name="connsiteX694" fmla="*/ 126502 w 229505"/>
                <a:gd name="connsiteY694" fmla="*/ 153124 h 231543"/>
                <a:gd name="connsiteX695" fmla="*/ 127007 w 229505"/>
                <a:gd name="connsiteY695" fmla="*/ 150800 h 231543"/>
                <a:gd name="connsiteX696" fmla="*/ 126254 w 229505"/>
                <a:gd name="connsiteY696" fmla="*/ 149590 h 231543"/>
                <a:gd name="connsiteX697" fmla="*/ 126921 w 229505"/>
                <a:gd name="connsiteY697" fmla="*/ 148562 h 231543"/>
                <a:gd name="connsiteX698" fmla="*/ 127902 w 229505"/>
                <a:gd name="connsiteY698" fmla="*/ 147733 h 231543"/>
                <a:gd name="connsiteX699" fmla="*/ 128359 w 229505"/>
                <a:gd name="connsiteY699" fmla="*/ 148590 h 231543"/>
                <a:gd name="connsiteX700" fmla="*/ 129236 w 229505"/>
                <a:gd name="connsiteY700" fmla="*/ 149981 h 231543"/>
                <a:gd name="connsiteX701" fmla="*/ 128026 w 229505"/>
                <a:gd name="connsiteY701" fmla="*/ 152105 h 231543"/>
                <a:gd name="connsiteX702" fmla="*/ 130369 w 229505"/>
                <a:gd name="connsiteY702" fmla="*/ 159439 h 231543"/>
                <a:gd name="connsiteX703" fmla="*/ 129378 w 229505"/>
                <a:gd name="connsiteY703" fmla="*/ 159944 h 231543"/>
                <a:gd name="connsiteX704" fmla="*/ 127731 w 229505"/>
                <a:gd name="connsiteY704" fmla="*/ 159210 h 231543"/>
                <a:gd name="connsiteX705" fmla="*/ 128169 w 229505"/>
                <a:gd name="connsiteY705" fmla="*/ 157382 h 231543"/>
                <a:gd name="connsiteX706" fmla="*/ 129312 w 229505"/>
                <a:gd name="connsiteY706" fmla="*/ 156601 h 231543"/>
                <a:gd name="connsiteX707" fmla="*/ 130521 w 229505"/>
                <a:gd name="connsiteY707" fmla="*/ 157201 h 231543"/>
                <a:gd name="connsiteX708" fmla="*/ 130702 w 229505"/>
                <a:gd name="connsiteY708" fmla="*/ 158029 h 231543"/>
                <a:gd name="connsiteX709" fmla="*/ 130369 w 229505"/>
                <a:gd name="connsiteY709" fmla="*/ 159439 h 231543"/>
                <a:gd name="connsiteX710" fmla="*/ 157705 w 229505"/>
                <a:gd name="connsiteY710" fmla="*/ 164697 h 231543"/>
                <a:gd name="connsiteX711" fmla="*/ 155324 w 229505"/>
                <a:gd name="connsiteY711" fmla="*/ 165954 h 231543"/>
                <a:gd name="connsiteX712" fmla="*/ 153696 w 229505"/>
                <a:gd name="connsiteY712" fmla="*/ 164135 h 231543"/>
                <a:gd name="connsiteX713" fmla="*/ 152791 w 229505"/>
                <a:gd name="connsiteY713" fmla="*/ 161268 h 231543"/>
                <a:gd name="connsiteX714" fmla="*/ 157153 w 229505"/>
                <a:gd name="connsiteY714" fmla="*/ 157058 h 231543"/>
                <a:gd name="connsiteX715" fmla="*/ 158201 w 229505"/>
                <a:gd name="connsiteY715" fmla="*/ 157439 h 231543"/>
                <a:gd name="connsiteX716" fmla="*/ 158830 w 229505"/>
                <a:gd name="connsiteY716" fmla="*/ 158525 h 231543"/>
                <a:gd name="connsiteX717" fmla="*/ 158735 w 229505"/>
                <a:gd name="connsiteY717" fmla="*/ 162306 h 231543"/>
                <a:gd name="connsiteX718" fmla="*/ 157705 w 229505"/>
                <a:gd name="connsiteY718" fmla="*/ 164697 h 231543"/>
                <a:gd name="connsiteX719" fmla="*/ 150572 w 229505"/>
                <a:gd name="connsiteY719" fmla="*/ 161335 h 231543"/>
                <a:gd name="connsiteX720" fmla="*/ 148447 w 229505"/>
                <a:gd name="connsiteY720" fmla="*/ 163906 h 231543"/>
                <a:gd name="connsiteX721" fmla="*/ 146676 w 229505"/>
                <a:gd name="connsiteY721" fmla="*/ 163630 h 231543"/>
                <a:gd name="connsiteX722" fmla="*/ 145933 w 229505"/>
                <a:gd name="connsiteY722" fmla="*/ 162449 h 231543"/>
                <a:gd name="connsiteX723" fmla="*/ 147028 w 229505"/>
                <a:gd name="connsiteY723" fmla="*/ 160030 h 231543"/>
                <a:gd name="connsiteX724" fmla="*/ 149400 w 229505"/>
                <a:gd name="connsiteY724" fmla="*/ 158658 h 231543"/>
                <a:gd name="connsiteX725" fmla="*/ 150476 w 229505"/>
                <a:gd name="connsiteY725" fmla="*/ 159020 h 231543"/>
                <a:gd name="connsiteX726" fmla="*/ 150372 w 229505"/>
                <a:gd name="connsiteY726" fmla="*/ 160811 h 231543"/>
                <a:gd name="connsiteX727" fmla="*/ 150572 w 229505"/>
                <a:gd name="connsiteY727" fmla="*/ 161335 h 231543"/>
                <a:gd name="connsiteX728" fmla="*/ 197101 w 229505"/>
                <a:gd name="connsiteY728" fmla="*/ 164973 h 231543"/>
                <a:gd name="connsiteX729" fmla="*/ 194434 w 229505"/>
                <a:gd name="connsiteY729" fmla="*/ 165430 h 231543"/>
                <a:gd name="connsiteX730" fmla="*/ 194910 w 229505"/>
                <a:gd name="connsiteY730" fmla="*/ 162782 h 231543"/>
                <a:gd name="connsiteX731" fmla="*/ 193606 w 229505"/>
                <a:gd name="connsiteY731" fmla="*/ 160696 h 231543"/>
                <a:gd name="connsiteX732" fmla="*/ 195682 w 229505"/>
                <a:gd name="connsiteY732" fmla="*/ 161868 h 231543"/>
                <a:gd name="connsiteX733" fmla="*/ 197006 w 229505"/>
                <a:gd name="connsiteY733" fmla="*/ 163278 h 231543"/>
                <a:gd name="connsiteX734" fmla="*/ 197654 w 229505"/>
                <a:gd name="connsiteY734" fmla="*/ 163544 h 231543"/>
                <a:gd name="connsiteX735" fmla="*/ 197501 w 229505"/>
                <a:gd name="connsiteY735" fmla="*/ 164392 h 231543"/>
                <a:gd name="connsiteX736" fmla="*/ 197101 w 229505"/>
                <a:gd name="connsiteY736" fmla="*/ 164973 h 231543"/>
                <a:gd name="connsiteX737" fmla="*/ 135655 w 229505"/>
                <a:gd name="connsiteY737" fmla="*/ 166230 h 231543"/>
                <a:gd name="connsiteX738" fmla="*/ 135170 w 229505"/>
                <a:gd name="connsiteY738" fmla="*/ 166373 h 231543"/>
                <a:gd name="connsiteX739" fmla="*/ 134464 w 229505"/>
                <a:gd name="connsiteY739" fmla="*/ 164973 h 231543"/>
                <a:gd name="connsiteX740" fmla="*/ 134322 w 229505"/>
                <a:gd name="connsiteY740" fmla="*/ 163668 h 231543"/>
                <a:gd name="connsiteX741" fmla="*/ 134598 w 229505"/>
                <a:gd name="connsiteY741" fmla="*/ 162897 h 231543"/>
                <a:gd name="connsiteX742" fmla="*/ 135522 w 229505"/>
                <a:gd name="connsiteY742" fmla="*/ 162821 h 231543"/>
                <a:gd name="connsiteX743" fmla="*/ 136779 w 229505"/>
                <a:gd name="connsiteY743" fmla="*/ 165306 h 231543"/>
                <a:gd name="connsiteX744" fmla="*/ 135655 w 229505"/>
                <a:gd name="connsiteY744" fmla="*/ 166230 h 231543"/>
                <a:gd name="connsiteX745" fmla="*/ 166078 w 229505"/>
                <a:gd name="connsiteY745" fmla="*/ 170583 h 231543"/>
                <a:gd name="connsiteX746" fmla="*/ 163716 w 229505"/>
                <a:gd name="connsiteY746" fmla="*/ 170860 h 231543"/>
                <a:gd name="connsiteX747" fmla="*/ 162963 w 229505"/>
                <a:gd name="connsiteY747" fmla="*/ 170612 h 231543"/>
                <a:gd name="connsiteX748" fmla="*/ 164402 w 229505"/>
                <a:gd name="connsiteY748" fmla="*/ 170041 h 231543"/>
                <a:gd name="connsiteX749" fmla="*/ 165402 w 229505"/>
                <a:gd name="connsiteY749" fmla="*/ 169431 h 231543"/>
                <a:gd name="connsiteX750" fmla="*/ 165888 w 229505"/>
                <a:gd name="connsiteY750" fmla="*/ 168697 h 231543"/>
                <a:gd name="connsiteX751" fmla="*/ 168279 w 229505"/>
                <a:gd name="connsiteY751" fmla="*/ 167402 h 231543"/>
                <a:gd name="connsiteX752" fmla="*/ 169850 w 229505"/>
                <a:gd name="connsiteY752" fmla="*/ 165706 h 231543"/>
                <a:gd name="connsiteX753" fmla="*/ 171555 w 229505"/>
                <a:gd name="connsiteY753" fmla="*/ 166859 h 231543"/>
                <a:gd name="connsiteX754" fmla="*/ 169422 w 229505"/>
                <a:gd name="connsiteY754" fmla="*/ 167630 h 231543"/>
                <a:gd name="connsiteX755" fmla="*/ 166078 w 229505"/>
                <a:gd name="connsiteY755" fmla="*/ 170583 h 231543"/>
                <a:gd name="connsiteX756" fmla="*/ 195225 w 229505"/>
                <a:gd name="connsiteY756" fmla="*/ 172688 h 231543"/>
                <a:gd name="connsiteX757" fmla="*/ 194396 w 229505"/>
                <a:gd name="connsiteY757" fmla="*/ 172726 h 231543"/>
                <a:gd name="connsiteX758" fmla="*/ 195386 w 229505"/>
                <a:gd name="connsiteY758" fmla="*/ 171126 h 231543"/>
                <a:gd name="connsiteX759" fmla="*/ 198206 w 229505"/>
                <a:gd name="connsiteY759" fmla="*/ 168926 h 231543"/>
                <a:gd name="connsiteX760" fmla="*/ 202311 w 229505"/>
                <a:gd name="connsiteY760" fmla="*/ 166983 h 231543"/>
                <a:gd name="connsiteX761" fmla="*/ 203673 w 229505"/>
                <a:gd name="connsiteY761" fmla="*/ 166773 h 231543"/>
                <a:gd name="connsiteX762" fmla="*/ 205988 w 229505"/>
                <a:gd name="connsiteY762" fmla="*/ 167973 h 231543"/>
                <a:gd name="connsiteX763" fmla="*/ 201740 w 229505"/>
                <a:gd name="connsiteY763" fmla="*/ 169964 h 231543"/>
                <a:gd name="connsiteX764" fmla="*/ 200606 w 229505"/>
                <a:gd name="connsiteY764" fmla="*/ 171012 h 231543"/>
                <a:gd name="connsiteX765" fmla="*/ 197472 w 229505"/>
                <a:gd name="connsiteY765" fmla="*/ 171240 h 231543"/>
                <a:gd name="connsiteX766" fmla="*/ 195225 w 229505"/>
                <a:gd name="connsiteY766" fmla="*/ 172688 h 231543"/>
                <a:gd name="connsiteX767" fmla="*/ 153314 w 229505"/>
                <a:gd name="connsiteY767" fmla="*/ 174450 h 231543"/>
                <a:gd name="connsiteX768" fmla="*/ 152848 w 229505"/>
                <a:gd name="connsiteY768" fmla="*/ 174974 h 231543"/>
                <a:gd name="connsiteX769" fmla="*/ 150829 w 229505"/>
                <a:gd name="connsiteY769" fmla="*/ 172879 h 231543"/>
                <a:gd name="connsiteX770" fmla="*/ 150057 w 229505"/>
                <a:gd name="connsiteY770" fmla="*/ 171660 h 231543"/>
                <a:gd name="connsiteX771" fmla="*/ 151019 w 229505"/>
                <a:gd name="connsiteY771" fmla="*/ 170640 h 231543"/>
                <a:gd name="connsiteX772" fmla="*/ 153991 w 229505"/>
                <a:gd name="connsiteY772" fmla="*/ 173022 h 231543"/>
                <a:gd name="connsiteX773" fmla="*/ 153314 w 229505"/>
                <a:gd name="connsiteY773" fmla="*/ 174450 h 231543"/>
                <a:gd name="connsiteX774" fmla="*/ 130702 w 229505"/>
                <a:gd name="connsiteY774" fmla="*/ 171469 h 231543"/>
                <a:gd name="connsiteX775" fmla="*/ 130750 w 229505"/>
                <a:gd name="connsiteY775" fmla="*/ 173422 h 231543"/>
                <a:gd name="connsiteX776" fmla="*/ 130559 w 229505"/>
                <a:gd name="connsiteY776" fmla="*/ 174117 h 231543"/>
                <a:gd name="connsiteX777" fmla="*/ 125092 w 229505"/>
                <a:gd name="connsiteY777" fmla="*/ 175060 h 231543"/>
                <a:gd name="connsiteX778" fmla="*/ 125597 w 229505"/>
                <a:gd name="connsiteY778" fmla="*/ 172822 h 231543"/>
                <a:gd name="connsiteX779" fmla="*/ 125930 w 229505"/>
                <a:gd name="connsiteY779" fmla="*/ 172117 h 231543"/>
                <a:gd name="connsiteX780" fmla="*/ 127740 w 229505"/>
                <a:gd name="connsiteY780" fmla="*/ 173155 h 231543"/>
                <a:gd name="connsiteX781" fmla="*/ 128407 w 229505"/>
                <a:gd name="connsiteY781" fmla="*/ 172622 h 231543"/>
                <a:gd name="connsiteX782" fmla="*/ 128674 w 229505"/>
                <a:gd name="connsiteY782" fmla="*/ 172012 h 231543"/>
                <a:gd name="connsiteX783" fmla="*/ 130702 w 229505"/>
                <a:gd name="connsiteY783" fmla="*/ 171469 h 231543"/>
                <a:gd name="connsiteX784" fmla="*/ 219570 w 229505"/>
                <a:gd name="connsiteY784" fmla="*/ 178432 h 231543"/>
                <a:gd name="connsiteX785" fmla="*/ 218990 w 229505"/>
                <a:gd name="connsiteY785" fmla="*/ 178956 h 231543"/>
                <a:gd name="connsiteX786" fmla="*/ 217647 w 229505"/>
                <a:gd name="connsiteY786" fmla="*/ 177441 h 231543"/>
                <a:gd name="connsiteX787" fmla="*/ 217580 w 229505"/>
                <a:gd name="connsiteY787" fmla="*/ 176651 h 231543"/>
                <a:gd name="connsiteX788" fmla="*/ 218951 w 229505"/>
                <a:gd name="connsiteY788" fmla="*/ 175746 h 231543"/>
                <a:gd name="connsiteX789" fmla="*/ 219637 w 229505"/>
                <a:gd name="connsiteY789" fmla="*/ 175536 h 231543"/>
                <a:gd name="connsiteX790" fmla="*/ 219837 w 229505"/>
                <a:gd name="connsiteY790" fmla="*/ 176156 h 231543"/>
                <a:gd name="connsiteX791" fmla="*/ 219818 w 229505"/>
                <a:gd name="connsiteY791" fmla="*/ 177479 h 231543"/>
                <a:gd name="connsiteX792" fmla="*/ 219570 w 229505"/>
                <a:gd name="connsiteY792" fmla="*/ 178432 h 231543"/>
                <a:gd name="connsiteX793" fmla="*/ 182156 w 229505"/>
                <a:gd name="connsiteY793" fmla="*/ 177394 h 231543"/>
                <a:gd name="connsiteX794" fmla="*/ 180042 w 229505"/>
                <a:gd name="connsiteY794" fmla="*/ 178184 h 231543"/>
                <a:gd name="connsiteX795" fmla="*/ 178699 w 229505"/>
                <a:gd name="connsiteY795" fmla="*/ 179851 h 231543"/>
                <a:gd name="connsiteX796" fmla="*/ 177061 w 229505"/>
                <a:gd name="connsiteY796" fmla="*/ 178670 h 231543"/>
                <a:gd name="connsiteX797" fmla="*/ 177061 w 229505"/>
                <a:gd name="connsiteY797" fmla="*/ 177070 h 231543"/>
                <a:gd name="connsiteX798" fmla="*/ 178851 w 229505"/>
                <a:gd name="connsiteY798" fmla="*/ 177565 h 231543"/>
                <a:gd name="connsiteX799" fmla="*/ 180108 w 229505"/>
                <a:gd name="connsiteY799" fmla="*/ 176660 h 231543"/>
                <a:gd name="connsiteX800" fmla="*/ 179727 w 229505"/>
                <a:gd name="connsiteY800" fmla="*/ 175641 h 231543"/>
                <a:gd name="connsiteX801" fmla="*/ 181099 w 229505"/>
                <a:gd name="connsiteY801" fmla="*/ 176117 h 231543"/>
                <a:gd name="connsiteX802" fmla="*/ 182156 w 229505"/>
                <a:gd name="connsiteY802" fmla="*/ 177394 h 231543"/>
                <a:gd name="connsiteX803" fmla="*/ 156010 w 229505"/>
                <a:gd name="connsiteY803" fmla="*/ 183775 h 231543"/>
                <a:gd name="connsiteX804" fmla="*/ 154772 w 229505"/>
                <a:gd name="connsiteY804" fmla="*/ 185519 h 231543"/>
                <a:gd name="connsiteX805" fmla="*/ 153019 w 229505"/>
                <a:gd name="connsiteY805" fmla="*/ 184899 h 231543"/>
                <a:gd name="connsiteX806" fmla="*/ 153734 w 229505"/>
                <a:gd name="connsiteY806" fmla="*/ 184242 h 231543"/>
                <a:gd name="connsiteX807" fmla="*/ 154153 w 229505"/>
                <a:gd name="connsiteY807" fmla="*/ 183385 h 231543"/>
                <a:gd name="connsiteX808" fmla="*/ 154200 w 229505"/>
                <a:gd name="connsiteY808" fmla="*/ 182147 h 231543"/>
                <a:gd name="connsiteX809" fmla="*/ 153724 w 229505"/>
                <a:gd name="connsiteY809" fmla="*/ 181385 h 231543"/>
                <a:gd name="connsiteX810" fmla="*/ 154048 w 229505"/>
                <a:gd name="connsiteY810" fmla="*/ 181108 h 231543"/>
                <a:gd name="connsiteX811" fmla="*/ 155610 w 229505"/>
                <a:gd name="connsiteY811" fmla="*/ 182385 h 231543"/>
                <a:gd name="connsiteX812" fmla="*/ 156010 w 229505"/>
                <a:gd name="connsiteY812" fmla="*/ 183775 h 231543"/>
                <a:gd name="connsiteX813" fmla="*/ 219104 w 229505"/>
                <a:gd name="connsiteY813" fmla="*/ 199044 h 231543"/>
                <a:gd name="connsiteX814" fmla="*/ 217180 w 229505"/>
                <a:gd name="connsiteY814" fmla="*/ 199739 h 231543"/>
                <a:gd name="connsiteX815" fmla="*/ 216513 w 229505"/>
                <a:gd name="connsiteY815" fmla="*/ 199654 h 231543"/>
                <a:gd name="connsiteX816" fmla="*/ 215713 w 229505"/>
                <a:gd name="connsiteY816" fmla="*/ 198130 h 231543"/>
                <a:gd name="connsiteX817" fmla="*/ 216827 w 229505"/>
                <a:gd name="connsiteY817" fmla="*/ 194453 h 231543"/>
                <a:gd name="connsiteX818" fmla="*/ 215798 w 229505"/>
                <a:gd name="connsiteY818" fmla="*/ 192081 h 231543"/>
                <a:gd name="connsiteX819" fmla="*/ 215732 w 229505"/>
                <a:gd name="connsiteY819" fmla="*/ 191081 h 231543"/>
                <a:gd name="connsiteX820" fmla="*/ 217294 w 229505"/>
                <a:gd name="connsiteY820" fmla="*/ 189690 h 231543"/>
                <a:gd name="connsiteX821" fmla="*/ 218380 w 229505"/>
                <a:gd name="connsiteY821" fmla="*/ 187605 h 231543"/>
                <a:gd name="connsiteX822" fmla="*/ 221028 w 229505"/>
                <a:gd name="connsiteY822" fmla="*/ 185347 h 231543"/>
                <a:gd name="connsiteX823" fmla="*/ 227895 w 229505"/>
                <a:gd name="connsiteY823" fmla="*/ 182671 h 231543"/>
                <a:gd name="connsiteX824" fmla="*/ 229505 w 229505"/>
                <a:gd name="connsiteY824" fmla="*/ 182423 h 231543"/>
                <a:gd name="connsiteX825" fmla="*/ 229458 w 229505"/>
                <a:gd name="connsiteY825" fmla="*/ 184518 h 231543"/>
                <a:gd name="connsiteX826" fmla="*/ 227162 w 229505"/>
                <a:gd name="connsiteY826" fmla="*/ 189814 h 231543"/>
                <a:gd name="connsiteX827" fmla="*/ 225123 w 229505"/>
                <a:gd name="connsiteY827" fmla="*/ 192462 h 231543"/>
                <a:gd name="connsiteX828" fmla="*/ 225666 w 229505"/>
                <a:gd name="connsiteY828" fmla="*/ 194577 h 231543"/>
                <a:gd name="connsiteX829" fmla="*/ 222399 w 229505"/>
                <a:gd name="connsiteY829" fmla="*/ 195167 h 231543"/>
                <a:gd name="connsiteX830" fmla="*/ 219104 w 229505"/>
                <a:gd name="connsiteY830" fmla="*/ 199044 h 231543"/>
                <a:gd name="connsiteX831" fmla="*/ 91088 w 229505"/>
                <a:gd name="connsiteY831" fmla="*/ 190472 h 231543"/>
                <a:gd name="connsiteX832" fmla="*/ 90774 w 229505"/>
                <a:gd name="connsiteY832" fmla="*/ 191900 h 231543"/>
                <a:gd name="connsiteX833" fmla="*/ 88021 w 229505"/>
                <a:gd name="connsiteY833" fmla="*/ 190919 h 231543"/>
                <a:gd name="connsiteX834" fmla="*/ 87259 w 229505"/>
                <a:gd name="connsiteY834" fmla="*/ 189443 h 231543"/>
                <a:gd name="connsiteX835" fmla="*/ 87116 w 229505"/>
                <a:gd name="connsiteY835" fmla="*/ 186166 h 231543"/>
                <a:gd name="connsiteX836" fmla="*/ 87840 w 229505"/>
                <a:gd name="connsiteY836" fmla="*/ 184566 h 231543"/>
                <a:gd name="connsiteX837" fmla="*/ 88316 w 229505"/>
                <a:gd name="connsiteY837" fmla="*/ 184061 h 231543"/>
                <a:gd name="connsiteX838" fmla="*/ 89583 w 229505"/>
                <a:gd name="connsiteY838" fmla="*/ 185909 h 231543"/>
                <a:gd name="connsiteX839" fmla="*/ 92240 w 229505"/>
                <a:gd name="connsiteY839" fmla="*/ 188605 h 231543"/>
                <a:gd name="connsiteX840" fmla="*/ 91088 w 229505"/>
                <a:gd name="connsiteY840" fmla="*/ 190472 h 231543"/>
                <a:gd name="connsiteX841" fmla="*/ 201282 w 229505"/>
                <a:gd name="connsiteY841" fmla="*/ 214256 h 231543"/>
                <a:gd name="connsiteX842" fmla="*/ 200263 w 229505"/>
                <a:gd name="connsiteY842" fmla="*/ 216094 h 231543"/>
                <a:gd name="connsiteX843" fmla="*/ 199225 w 229505"/>
                <a:gd name="connsiteY843" fmla="*/ 214541 h 231543"/>
                <a:gd name="connsiteX844" fmla="*/ 199673 w 229505"/>
                <a:gd name="connsiteY844" fmla="*/ 212750 h 231543"/>
                <a:gd name="connsiteX845" fmla="*/ 198473 w 229505"/>
                <a:gd name="connsiteY845" fmla="*/ 209921 h 231543"/>
                <a:gd name="connsiteX846" fmla="*/ 200749 w 229505"/>
                <a:gd name="connsiteY846" fmla="*/ 205712 h 231543"/>
                <a:gd name="connsiteX847" fmla="*/ 200797 w 229505"/>
                <a:gd name="connsiteY847" fmla="*/ 203664 h 231543"/>
                <a:gd name="connsiteX848" fmla="*/ 202540 w 229505"/>
                <a:gd name="connsiteY848" fmla="*/ 202616 h 231543"/>
                <a:gd name="connsiteX849" fmla="*/ 202112 w 229505"/>
                <a:gd name="connsiteY849" fmla="*/ 206093 h 231543"/>
                <a:gd name="connsiteX850" fmla="*/ 200778 w 229505"/>
                <a:gd name="connsiteY850" fmla="*/ 208874 h 231543"/>
                <a:gd name="connsiteX851" fmla="*/ 202159 w 229505"/>
                <a:gd name="connsiteY851" fmla="*/ 211188 h 231543"/>
                <a:gd name="connsiteX852" fmla="*/ 202816 w 229505"/>
                <a:gd name="connsiteY852" fmla="*/ 213817 h 231543"/>
                <a:gd name="connsiteX853" fmla="*/ 201282 w 229505"/>
                <a:gd name="connsiteY853" fmla="*/ 214256 h 231543"/>
                <a:gd name="connsiteX854" fmla="*/ 112433 w 229505"/>
                <a:gd name="connsiteY854" fmla="*/ 211960 h 231543"/>
                <a:gd name="connsiteX855" fmla="*/ 114262 w 229505"/>
                <a:gd name="connsiteY855" fmla="*/ 212198 h 231543"/>
                <a:gd name="connsiteX856" fmla="*/ 116739 w 229505"/>
                <a:gd name="connsiteY856" fmla="*/ 212160 h 231543"/>
                <a:gd name="connsiteX857" fmla="*/ 117300 w 229505"/>
                <a:gd name="connsiteY857" fmla="*/ 211960 h 231543"/>
                <a:gd name="connsiteX858" fmla="*/ 118882 w 229505"/>
                <a:gd name="connsiteY858" fmla="*/ 210045 h 231543"/>
                <a:gd name="connsiteX859" fmla="*/ 120825 w 229505"/>
                <a:gd name="connsiteY859" fmla="*/ 210007 h 231543"/>
                <a:gd name="connsiteX860" fmla="*/ 121673 w 229505"/>
                <a:gd name="connsiteY860" fmla="*/ 211893 h 231543"/>
                <a:gd name="connsiteX861" fmla="*/ 119701 w 229505"/>
                <a:gd name="connsiteY861" fmla="*/ 212760 h 231543"/>
                <a:gd name="connsiteX862" fmla="*/ 119301 w 229505"/>
                <a:gd name="connsiteY862" fmla="*/ 213255 h 231543"/>
                <a:gd name="connsiteX863" fmla="*/ 119682 w 229505"/>
                <a:gd name="connsiteY863" fmla="*/ 213655 h 231543"/>
                <a:gd name="connsiteX864" fmla="*/ 121158 w 229505"/>
                <a:gd name="connsiteY864" fmla="*/ 214446 h 231543"/>
                <a:gd name="connsiteX865" fmla="*/ 123216 w 229505"/>
                <a:gd name="connsiteY865" fmla="*/ 214151 h 231543"/>
                <a:gd name="connsiteX866" fmla="*/ 123273 w 229505"/>
                <a:gd name="connsiteY866" fmla="*/ 215637 h 231543"/>
                <a:gd name="connsiteX867" fmla="*/ 123730 w 229505"/>
                <a:gd name="connsiteY867" fmla="*/ 216846 h 231543"/>
                <a:gd name="connsiteX868" fmla="*/ 124739 w 229505"/>
                <a:gd name="connsiteY868" fmla="*/ 217570 h 231543"/>
                <a:gd name="connsiteX869" fmla="*/ 125845 w 229505"/>
                <a:gd name="connsiteY869" fmla="*/ 217713 h 231543"/>
                <a:gd name="connsiteX870" fmla="*/ 128274 w 229505"/>
                <a:gd name="connsiteY870" fmla="*/ 217504 h 231543"/>
                <a:gd name="connsiteX871" fmla="*/ 130664 w 229505"/>
                <a:gd name="connsiteY871" fmla="*/ 217027 h 231543"/>
                <a:gd name="connsiteX872" fmla="*/ 133131 w 229505"/>
                <a:gd name="connsiteY872" fmla="*/ 216075 h 231543"/>
                <a:gd name="connsiteX873" fmla="*/ 135655 w 229505"/>
                <a:gd name="connsiteY873" fmla="*/ 215589 h 231543"/>
                <a:gd name="connsiteX874" fmla="*/ 143190 w 229505"/>
                <a:gd name="connsiteY874" fmla="*/ 216075 h 231543"/>
                <a:gd name="connsiteX875" fmla="*/ 145895 w 229505"/>
                <a:gd name="connsiteY875" fmla="*/ 218132 h 231543"/>
                <a:gd name="connsiteX876" fmla="*/ 151048 w 229505"/>
                <a:gd name="connsiteY876" fmla="*/ 218380 h 231543"/>
                <a:gd name="connsiteX877" fmla="*/ 155829 w 229505"/>
                <a:gd name="connsiteY877" fmla="*/ 219466 h 231543"/>
                <a:gd name="connsiteX878" fmla="*/ 158344 w 229505"/>
                <a:gd name="connsiteY878" fmla="*/ 218751 h 231543"/>
                <a:gd name="connsiteX879" fmla="*/ 162639 w 229505"/>
                <a:gd name="connsiteY879" fmla="*/ 218084 h 231543"/>
                <a:gd name="connsiteX880" fmla="*/ 163326 w 229505"/>
                <a:gd name="connsiteY880" fmla="*/ 218808 h 231543"/>
                <a:gd name="connsiteX881" fmla="*/ 162773 w 229505"/>
                <a:gd name="connsiteY881" fmla="*/ 223447 h 231543"/>
                <a:gd name="connsiteX882" fmla="*/ 163039 w 229505"/>
                <a:gd name="connsiteY882" fmla="*/ 224800 h 231543"/>
                <a:gd name="connsiteX883" fmla="*/ 164278 w 229505"/>
                <a:gd name="connsiteY883" fmla="*/ 225447 h 231543"/>
                <a:gd name="connsiteX884" fmla="*/ 165497 w 229505"/>
                <a:gd name="connsiteY884" fmla="*/ 225133 h 231543"/>
                <a:gd name="connsiteX885" fmla="*/ 167002 w 229505"/>
                <a:gd name="connsiteY885" fmla="*/ 223609 h 231543"/>
                <a:gd name="connsiteX886" fmla="*/ 170602 w 229505"/>
                <a:gd name="connsiteY886" fmla="*/ 222437 h 231543"/>
                <a:gd name="connsiteX887" fmla="*/ 174336 w 229505"/>
                <a:gd name="connsiteY887" fmla="*/ 222437 h 231543"/>
                <a:gd name="connsiteX888" fmla="*/ 177489 w 229505"/>
                <a:gd name="connsiteY888" fmla="*/ 219351 h 231543"/>
                <a:gd name="connsiteX889" fmla="*/ 178413 w 229505"/>
                <a:gd name="connsiteY889" fmla="*/ 219170 h 231543"/>
                <a:gd name="connsiteX890" fmla="*/ 177832 w 229505"/>
                <a:gd name="connsiteY890" fmla="*/ 220685 h 231543"/>
                <a:gd name="connsiteX891" fmla="*/ 177355 w 229505"/>
                <a:gd name="connsiteY891" fmla="*/ 224247 h 231543"/>
                <a:gd name="connsiteX892" fmla="*/ 176689 w 229505"/>
                <a:gd name="connsiteY892" fmla="*/ 226333 h 231543"/>
                <a:gd name="connsiteX893" fmla="*/ 176384 w 229505"/>
                <a:gd name="connsiteY893" fmla="*/ 227972 h 231543"/>
                <a:gd name="connsiteX894" fmla="*/ 174279 w 229505"/>
                <a:gd name="connsiteY894" fmla="*/ 228819 h 231543"/>
                <a:gd name="connsiteX895" fmla="*/ 171108 w 229505"/>
                <a:gd name="connsiteY895" fmla="*/ 228962 h 231543"/>
                <a:gd name="connsiteX896" fmla="*/ 165307 w 229505"/>
                <a:gd name="connsiteY896" fmla="*/ 228600 h 231543"/>
                <a:gd name="connsiteX897" fmla="*/ 159458 w 229505"/>
                <a:gd name="connsiteY897" fmla="*/ 229181 h 231543"/>
                <a:gd name="connsiteX898" fmla="*/ 148628 w 229505"/>
                <a:gd name="connsiteY898" fmla="*/ 230743 h 231543"/>
                <a:gd name="connsiteX899" fmla="*/ 137779 w 229505"/>
                <a:gd name="connsiteY899" fmla="*/ 231543 h 231543"/>
                <a:gd name="connsiteX900" fmla="*/ 136322 w 229505"/>
                <a:gd name="connsiteY900" fmla="*/ 231019 h 231543"/>
                <a:gd name="connsiteX901" fmla="*/ 136293 w 229505"/>
                <a:gd name="connsiteY901" fmla="*/ 228953 h 231543"/>
                <a:gd name="connsiteX902" fmla="*/ 136065 w 229505"/>
                <a:gd name="connsiteY902" fmla="*/ 227524 h 231543"/>
                <a:gd name="connsiteX903" fmla="*/ 135360 w 229505"/>
                <a:gd name="connsiteY903" fmla="*/ 226524 h 231543"/>
                <a:gd name="connsiteX904" fmla="*/ 132007 w 229505"/>
                <a:gd name="connsiteY904" fmla="*/ 225666 h 231543"/>
                <a:gd name="connsiteX905" fmla="*/ 128807 w 229505"/>
                <a:gd name="connsiteY905" fmla="*/ 224200 h 231543"/>
                <a:gd name="connsiteX906" fmla="*/ 116263 w 229505"/>
                <a:gd name="connsiteY906" fmla="*/ 222199 h 231543"/>
                <a:gd name="connsiteX907" fmla="*/ 113300 w 229505"/>
                <a:gd name="connsiteY907" fmla="*/ 221409 h 231543"/>
                <a:gd name="connsiteX908" fmla="*/ 108500 w 229505"/>
                <a:gd name="connsiteY908" fmla="*/ 221818 h 231543"/>
                <a:gd name="connsiteX909" fmla="*/ 106738 w 229505"/>
                <a:gd name="connsiteY909" fmla="*/ 221761 h 231543"/>
                <a:gd name="connsiteX910" fmla="*/ 105528 w 229505"/>
                <a:gd name="connsiteY910" fmla="*/ 221047 h 231543"/>
                <a:gd name="connsiteX911" fmla="*/ 104690 w 229505"/>
                <a:gd name="connsiteY911" fmla="*/ 219808 h 231543"/>
                <a:gd name="connsiteX912" fmla="*/ 104309 w 229505"/>
                <a:gd name="connsiteY912" fmla="*/ 215875 h 231543"/>
                <a:gd name="connsiteX913" fmla="*/ 104909 w 229505"/>
                <a:gd name="connsiteY913" fmla="*/ 211979 h 231543"/>
                <a:gd name="connsiteX914" fmla="*/ 105947 w 229505"/>
                <a:gd name="connsiteY914" fmla="*/ 210950 h 231543"/>
                <a:gd name="connsiteX915" fmla="*/ 106423 w 229505"/>
                <a:gd name="connsiteY915" fmla="*/ 212122 h 231543"/>
                <a:gd name="connsiteX916" fmla="*/ 107652 w 229505"/>
                <a:gd name="connsiteY916" fmla="*/ 212665 h 231543"/>
                <a:gd name="connsiteX917" fmla="*/ 108795 w 229505"/>
                <a:gd name="connsiteY917" fmla="*/ 211484 h 231543"/>
                <a:gd name="connsiteX918" fmla="*/ 108785 w 229505"/>
                <a:gd name="connsiteY918" fmla="*/ 209693 h 231543"/>
                <a:gd name="connsiteX919" fmla="*/ 109366 w 229505"/>
                <a:gd name="connsiteY919" fmla="*/ 208036 h 231543"/>
                <a:gd name="connsiteX920" fmla="*/ 110271 w 229505"/>
                <a:gd name="connsiteY920" fmla="*/ 208731 h 231543"/>
                <a:gd name="connsiteX921" fmla="*/ 110871 w 229505"/>
                <a:gd name="connsiteY921" fmla="*/ 211284 h 231543"/>
                <a:gd name="connsiteX922" fmla="*/ 112433 w 229505"/>
                <a:gd name="connsiteY922" fmla="*/ 211960 h 231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</a:cxnLst>
              <a:rect l="l" t="t" r="r" b="b"/>
              <a:pathLst>
                <a:path w="229505" h="231543">
                  <a:moveTo>
                    <a:pt x="178422" y="1086"/>
                  </a:moveTo>
                  <a:lnTo>
                    <a:pt x="180813" y="1810"/>
                  </a:lnTo>
                  <a:lnTo>
                    <a:pt x="182204" y="2982"/>
                  </a:lnTo>
                  <a:lnTo>
                    <a:pt x="183071" y="4058"/>
                  </a:lnTo>
                  <a:lnTo>
                    <a:pt x="184395" y="4982"/>
                  </a:lnTo>
                  <a:lnTo>
                    <a:pt x="185385" y="5191"/>
                  </a:lnTo>
                  <a:lnTo>
                    <a:pt x="186147" y="8363"/>
                  </a:lnTo>
                  <a:lnTo>
                    <a:pt x="186547" y="12287"/>
                  </a:lnTo>
                  <a:lnTo>
                    <a:pt x="185947" y="13983"/>
                  </a:lnTo>
                  <a:lnTo>
                    <a:pt x="184185" y="14373"/>
                  </a:lnTo>
                  <a:lnTo>
                    <a:pt x="178680" y="18069"/>
                  </a:lnTo>
                  <a:lnTo>
                    <a:pt x="178546" y="21450"/>
                  </a:lnTo>
                  <a:lnTo>
                    <a:pt x="178623" y="23079"/>
                  </a:lnTo>
                  <a:lnTo>
                    <a:pt x="178737" y="24241"/>
                  </a:lnTo>
                  <a:lnTo>
                    <a:pt x="179318" y="25213"/>
                  </a:lnTo>
                  <a:lnTo>
                    <a:pt x="179318" y="26613"/>
                  </a:lnTo>
                  <a:lnTo>
                    <a:pt x="178708" y="28118"/>
                  </a:lnTo>
                  <a:lnTo>
                    <a:pt x="176308" y="30632"/>
                  </a:lnTo>
                  <a:lnTo>
                    <a:pt x="174641" y="32623"/>
                  </a:lnTo>
                  <a:lnTo>
                    <a:pt x="172774" y="35328"/>
                  </a:lnTo>
                  <a:lnTo>
                    <a:pt x="171727" y="35662"/>
                  </a:lnTo>
                  <a:lnTo>
                    <a:pt x="170898" y="36138"/>
                  </a:lnTo>
                  <a:lnTo>
                    <a:pt x="170145" y="34652"/>
                  </a:lnTo>
                  <a:lnTo>
                    <a:pt x="166002" y="32014"/>
                  </a:lnTo>
                  <a:lnTo>
                    <a:pt x="156410" y="30471"/>
                  </a:lnTo>
                  <a:lnTo>
                    <a:pt x="151829" y="28518"/>
                  </a:lnTo>
                  <a:lnTo>
                    <a:pt x="149819" y="28880"/>
                  </a:lnTo>
                  <a:lnTo>
                    <a:pt x="145923" y="26699"/>
                  </a:lnTo>
                  <a:lnTo>
                    <a:pt x="143256" y="27661"/>
                  </a:lnTo>
                  <a:lnTo>
                    <a:pt x="137599" y="31537"/>
                  </a:lnTo>
                  <a:lnTo>
                    <a:pt x="134541" y="31118"/>
                  </a:lnTo>
                  <a:lnTo>
                    <a:pt x="131274" y="28785"/>
                  </a:lnTo>
                  <a:lnTo>
                    <a:pt x="129150" y="28356"/>
                  </a:lnTo>
                  <a:lnTo>
                    <a:pt x="126654" y="29585"/>
                  </a:lnTo>
                  <a:lnTo>
                    <a:pt x="122663" y="34042"/>
                  </a:lnTo>
                  <a:lnTo>
                    <a:pt x="118596" y="36224"/>
                  </a:lnTo>
                  <a:lnTo>
                    <a:pt x="114958" y="35376"/>
                  </a:lnTo>
                  <a:lnTo>
                    <a:pt x="110062" y="35395"/>
                  </a:lnTo>
                  <a:lnTo>
                    <a:pt x="109538" y="37881"/>
                  </a:lnTo>
                  <a:lnTo>
                    <a:pt x="110480" y="39605"/>
                  </a:lnTo>
                  <a:lnTo>
                    <a:pt x="113157" y="42539"/>
                  </a:lnTo>
                  <a:lnTo>
                    <a:pt x="111900" y="44739"/>
                  </a:lnTo>
                  <a:lnTo>
                    <a:pt x="112833" y="46939"/>
                  </a:lnTo>
                  <a:lnTo>
                    <a:pt x="114577" y="47387"/>
                  </a:lnTo>
                  <a:lnTo>
                    <a:pt x="117215" y="47263"/>
                  </a:lnTo>
                  <a:lnTo>
                    <a:pt x="122082" y="50111"/>
                  </a:lnTo>
                  <a:lnTo>
                    <a:pt x="124216" y="53112"/>
                  </a:lnTo>
                  <a:lnTo>
                    <a:pt x="125578" y="56388"/>
                  </a:lnTo>
                  <a:lnTo>
                    <a:pt x="122606" y="54035"/>
                  </a:lnTo>
                  <a:lnTo>
                    <a:pt x="120635" y="51768"/>
                  </a:lnTo>
                  <a:lnTo>
                    <a:pt x="117882" y="50949"/>
                  </a:lnTo>
                  <a:lnTo>
                    <a:pt x="114062" y="49016"/>
                  </a:lnTo>
                  <a:lnTo>
                    <a:pt x="111662" y="48692"/>
                  </a:lnTo>
                  <a:lnTo>
                    <a:pt x="109109" y="50035"/>
                  </a:lnTo>
                  <a:lnTo>
                    <a:pt x="108909" y="51549"/>
                  </a:lnTo>
                  <a:lnTo>
                    <a:pt x="111662" y="54378"/>
                  </a:lnTo>
                  <a:lnTo>
                    <a:pt x="114176" y="56121"/>
                  </a:lnTo>
                  <a:lnTo>
                    <a:pt x="115510" y="57531"/>
                  </a:lnTo>
                  <a:lnTo>
                    <a:pt x="116396" y="60665"/>
                  </a:lnTo>
                  <a:lnTo>
                    <a:pt x="115891" y="61722"/>
                  </a:lnTo>
                  <a:lnTo>
                    <a:pt x="114958" y="62713"/>
                  </a:lnTo>
                  <a:lnTo>
                    <a:pt x="111976" y="60741"/>
                  </a:lnTo>
                  <a:lnTo>
                    <a:pt x="107414" y="53721"/>
                  </a:lnTo>
                  <a:lnTo>
                    <a:pt x="101051" y="52321"/>
                  </a:lnTo>
                  <a:lnTo>
                    <a:pt x="99984" y="53788"/>
                  </a:lnTo>
                  <a:lnTo>
                    <a:pt x="101241" y="57503"/>
                  </a:lnTo>
                  <a:lnTo>
                    <a:pt x="102146" y="58941"/>
                  </a:lnTo>
                  <a:lnTo>
                    <a:pt x="107681" y="62941"/>
                  </a:lnTo>
                  <a:lnTo>
                    <a:pt x="107242" y="63789"/>
                  </a:lnTo>
                  <a:lnTo>
                    <a:pt x="106432" y="64151"/>
                  </a:lnTo>
                  <a:lnTo>
                    <a:pt x="100242" y="61865"/>
                  </a:lnTo>
                  <a:lnTo>
                    <a:pt x="98441" y="58388"/>
                  </a:lnTo>
                  <a:lnTo>
                    <a:pt x="98013" y="53978"/>
                  </a:lnTo>
                  <a:lnTo>
                    <a:pt x="92297" y="50911"/>
                  </a:lnTo>
                  <a:lnTo>
                    <a:pt x="86906" y="47568"/>
                  </a:lnTo>
                  <a:lnTo>
                    <a:pt x="85697" y="44396"/>
                  </a:lnTo>
                  <a:lnTo>
                    <a:pt x="86811" y="43215"/>
                  </a:lnTo>
                  <a:lnTo>
                    <a:pt x="87602" y="40882"/>
                  </a:lnTo>
                  <a:lnTo>
                    <a:pt x="84640" y="41310"/>
                  </a:lnTo>
                  <a:lnTo>
                    <a:pt x="82782" y="42786"/>
                  </a:lnTo>
                  <a:lnTo>
                    <a:pt x="79782" y="44215"/>
                  </a:lnTo>
                  <a:lnTo>
                    <a:pt x="79658" y="46558"/>
                  </a:lnTo>
                  <a:lnTo>
                    <a:pt x="80134" y="48730"/>
                  </a:lnTo>
                  <a:lnTo>
                    <a:pt x="79143" y="51883"/>
                  </a:lnTo>
                  <a:lnTo>
                    <a:pt x="78172" y="57360"/>
                  </a:lnTo>
                  <a:lnTo>
                    <a:pt x="78781" y="60227"/>
                  </a:lnTo>
                  <a:lnTo>
                    <a:pt x="85297" y="68428"/>
                  </a:lnTo>
                  <a:lnTo>
                    <a:pt x="87525" y="74371"/>
                  </a:lnTo>
                  <a:lnTo>
                    <a:pt x="89125" y="76619"/>
                  </a:lnTo>
                  <a:lnTo>
                    <a:pt x="92459" y="79096"/>
                  </a:lnTo>
                  <a:lnTo>
                    <a:pt x="95936" y="83696"/>
                  </a:lnTo>
                  <a:lnTo>
                    <a:pt x="97403" y="86087"/>
                  </a:lnTo>
                  <a:lnTo>
                    <a:pt x="98450" y="90002"/>
                  </a:lnTo>
                  <a:lnTo>
                    <a:pt x="95527" y="92421"/>
                  </a:lnTo>
                  <a:lnTo>
                    <a:pt x="93831" y="92516"/>
                  </a:lnTo>
                  <a:lnTo>
                    <a:pt x="92888" y="91450"/>
                  </a:lnTo>
                  <a:lnTo>
                    <a:pt x="94202" y="88783"/>
                  </a:lnTo>
                  <a:lnTo>
                    <a:pt x="94012" y="87154"/>
                  </a:lnTo>
                  <a:lnTo>
                    <a:pt x="89497" y="84630"/>
                  </a:lnTo>
                  <a:lnTo>
                    <a:pt x="87592" y="85477"/>
                  </a:lnTo>
                  <a:lnTo>
                    <a:pt x="85392" y="87116"/>
                  </a:lnTo>
                  <a:lnTo>
                    <a:pt x="86649" y="90164"/>
                  </a:lnTo>
                  <a:lnTo>
                    <a:pt x="88059" y="92173"/>
                  </a:lnTo>
                  <a:lnTo>
                    <a:pt x="88773" y="94936"/>
                  </a:lnTo>
                  <a:lnTo>
                    <a:pt x="91478" y="94698"/>
                  </a:lnTo>
                  <a:lnTo>
                    <a:pt x="87840" y="97793"/>
                  </a:lnTo>
                  <a:lnTo>
                    <a:pt x="84420" y="99374"/>
                  </a:lnTo>
                  <a:lnTo>
                    <a:pt x="81058" y="99470"/>
                  </a:lnTo>
                  <a:lnTo>
                    <a:pt x="78915" y="99756"/>
                  </a:lnTo>
                  <a:lnTo>
                    <a:pt x="78172" y="100546"/>
                  </a:lnTo>
                  <a:lnTo>
                    <a:pt x="79915" y="101117"/>
                  </a:lnTo>
                  <a:lnTo>
                    <a:pt x="81334" y="101175"/>
                  </a:lnTo>
                  <a:lnTo>
                    <a:pt x="83649" y="102841"/>
                  </a:lnTo>
                  <a:lnTo>
                    <a:pt x="90231" y="104832"/>
                  </a:lnTo>
                  <a:lnTo>
                    <a:pt x="93374" y="107356"/>
                  </a:lnTo>
                  <a:lnTo>
                    <a:pt x="96460" y="107585"/>
                  </a:lnTo>
                  <a:lnTo>
                    <a:pt x="99556" y="112204"/>
                  </a:lnTo>
                  <a:lnTo>
                    <a:pt x="104918" y="113433"/>
                  </a:lnTo>
                  <a:lnTo>
                    <a:pt x="107975" y="118091"/>
                  </a:lnTo>
                  <a:lnTo>
                    <a:pt x="112033" y="119006"/>
                  </a:lnTo>
                  <a:lnTo>
                    <a:pt x="115538" y="120720"/>
                  </a:lnTo>
                  <a:lnTo>
                    <a:pt x="116557" y="122349"/>
                  </a:lnTo>
                  <a:lnTo>
                    <a:pt x="117072" y="125301"/>
                  </a:lnTo>
                  <a:lnTo>
                    <a:pt x="117300" y="131540"/>
                  </a:lnTo>
                  <a:lnTo>
                    <a:pt x="118063" y="136170"/>
                  </a:lnTo>
                  <a:lnTo>
                    <a:pt x="118091" y="137627"/>
                  </a:lnTo>
                  <a:lnTo>
                    <a:pt x="117901" y="139808"/>
                  </a:lnTo>
                  <a:lnTo>
                    <a:pt x="116948" y="140875"/>
                  </a:lnTo>
                  <a:lnTo>
                    <a:pt x="115662" y="140913"/>
                  </a:lnTo>
                  <a:lnTo>
                    <a:pt x="113138" y="137513"/>
                  </a:lnTo>
                  <a:lnTo>
                    <a:pt x="109281" y="133931"/>
                  </a:lnTo>
                  <a:lnTo>
                    <a:pt x="105204" y="129664"/>
                  </a:lnTo>
                  <a:lnTo>
                    <a:pt x="104042" y="128911"/>
                  </a:lnTo>
                  <a:lnTo>
                    <a:pt x="103089" y="128845"/>
                  </a:lnTo>
                  <a:lnTo>
                    <a:pt x="100908" y="130283"/>
                  </a:lnTo>
                  <a:lnTo>
                    <a:pt x="94850" y="131398"/>
                  </a:lnTo>
                  <a:lnTo>
                    <a:pt x="92012" y="132960"/>
                  </a:lnTo>
                  <a:lnTo>
                    <a:pt x="90945" y="133302"/>
                  </a:lnTo>
                  <a:lnTo>
                    <a:pt x="90650" y="134122"/>
                  </a:lnTo>
                  <a:lnTo>
                    <a:pt x="91983" y="134969"/>
                  </a:lnTo>
                  <a:lnTo>
                    <a:pt x="93612" y="136922"/>
                  </a:lnTo>
                  <a:lnTo>
                    <a:pt x="93612" y="139580"/>
                  </a:lnTo>
                  <a:lnTo>
                    <a:pt x="94965" y="142808"/>
                  </a:lnTo>
                  <a:lnTo>
                    <a:pt x="96707" y="143637"/>
                  </a:lnTo>
                  <a:lnTo>
                    <a:pt x="98975" y="143570"/>
                  </a:lnTo>
                  <a:lnTo>
                    <a:pt x="100279" y="144171"/>
                  </a:lnTo>
                  <a:lnTo>
                    <a:pt x="100613" y="145456"/>
                  </a:lnTo>
                  <a:lnTo>
                    <a:pt x="101937" y="146952"/>
                  </a:lnTo>
                  <a:lnTo>
                    <a:pt x="102804" y="148066"/>
                  </a:lnTo>
                  <a:lnTo>
                    <a:pt x="102775" y="148857"/>
                  </a:lnTo>
                  <a:lnTo>
                    <a:pt x="96441" y="150962"/>
                  </a:lnTo>
                  <a:lnTo>
                    <a:pt x="95117" y="151924"/>
                  </a:lnTo>
                  <a:lnTo>
                    <a:pt x="94002" y="152419"/>
                  </a:lnTo>
                  <a:lnTo>
                    <a:pt x="92355" y="151419"/>
                  </a:lnTo>
                  <a:lnTo>
                    <a:pt x="92259" y="148847"/>
                  </a:lnTo>
                  <a:lnTo>
                    <a:pt x="90088" y="147466"/>
                  </a:lnTo>
                  <a:lnTo>
                    <a:pt x="88097" y="146276"/>
                  </a:lnTo>
                  <a:lnTo>
                    <a:pt x="85706" y="145771"/>
                  </a:lnTo>
                  <a:lnTo>
                    <a:pt x="83677" y="143989"/>
                  </a:lnTo>
                  <a:lnTo>
                    <a:pt x="82353" y="145428"/>
                  </a:lnTo>
                  <a:lnTo>
                    <a:pt x="83411" y="150419"/>
                  </a:lnTo>
                  <a:lnTo>
                    <a:pt x="85706" y="153848"/>
                  </a:lnTo>
                  <a:lnTo>
                    <a:pt x="89554" y="163030"/>
                  </a:lnTo>
                  <a:lnTo>
                    <a:pt x="91297" y="168431"/>
                  </a:lnTo>
                  <a:lnTo>
                    <a:pt x="91650" y="171040"/>
                  </a:lnTo>
                  <a:lnTo>
                    <a:pt x="90783" y="175374"/>
                  </a:lnTo>
                  <a:lnTo>
                    <a:pt x="92679" y="178584"/>
                  </a:lnTo>
                  <a:lnTo>
                    <a:pt x="93974" y="181880"/>
                  </a:lnTo>
                  <a:lnTo>
                    <a:pt x="92555" y="181756"/>
                  </a:lnTo>
                  <a:lnTo>
                    <a:pt x="91317" y="180594"/>
                  </a:lnTo>
                  <a:lnTo>
                    <a:pt x="89240" y="179222"/>
                  </a:lnTo>
                  <a:lnTo>
                    <a:pt x="85220" y="173955"/>
                  </a:lnTo>
                  <a:lnTo>
                    <a:pt x="83820" y="170669"/>
                  </a:lnTo>
                  <a:lnTo>
                    <a:pt x="82144" y="170412"/>
                  </a:lnTo>
                  <a:lnTo>
                    <a:pt x="79229" y="170888"/>
                  </a:lnTo>
                  <a:lnTo>
                    <a:pt x="76048" y="177908"/>
                  </a:lnTo>
                  <a:lnTo>
                    <a:pt x="76058" y="181918"/>
                  </a:lnTo>
                  <a:lnTo>
                    <a:pt x="74409" y="180966"/>
                  </a:lnTo>
                  <a:lnTo>
                    <a:pt x="73000" y="179718"/>
                  </a:lnTo>
                  <a:lnTo>
                    <a:pt x="73171" y="175327"/>
                  </a:lnTo>
                  <a:lnTo>
                    <a:pt x="73029" y="173479"/>
                  </a:lnTo>
                  <a:lnTo>
                    <a:pt x="69161" y="167478"/>
                  </a:lnTo>
                  <a:lnTo>
                    <a:pt x="67389" y="166802"/>
                  </a:lnTo>
                  <a:lnTo>
                    <a:pt x="66561" y="164773"/>
                  </a:lnTo>
                  <a:lnTo>
                    <a:pt x="65132" y="162601"/>
                  </a:lnTo>
                  <a:lnTo>
                    <a:pt x="63294" y="163011"/>
                  </a:lnTo>
                  <a:lnTo>
                    <a:pt x="61789" y="163887"/>
                  </a:lnTo>
                  <a:lnTo>
                    <a:pt x="61379" y="167164"/>
                  </a:lnTo>
                  <a:lnTo>
                    <a:pt x="61227" y="170097"/>
                  </a:lnTo>
                  <a:lnTo>
                    <a:pt x="60103" y="172298"/>
                  </a:lnTo>
                  <a:lnTo>
                    <a:pt x="55979" y="168116"/>
                  </a:lnTo>
                  <a:lnTo>
                    <a:pt x="51826" y="160858"/>
                  </a:lnTo>
                  <a:lnTo>
                    <a:pt x="51721" y="156877"/>
                  </a:lnTo>
                  <a:lnTo>
                    <a:pt x="54759" y="153229"/>
                  </a:lnTo>
                  <a:lnTo>
                    <a:pt x="54397" y="150619"/>
                  </a:lnTo>
                  <a:lnTo>
                    <a:pt x="51521" y="145456"/>
                  </a:lnTo>
                  <a:lnTo>
                    <a:pt x="47368" y="142132"/>
                  </a:lnTo>
                  <a:lnTo>
                    <a:pt x="45044" y="141142"/>
                  </a:lnTo>
                  <a:lnTo>
                    <a:pt x="43948" y="137598"/>
                  </a:lnTo>
                  <a:lnTo>
                    <a:pt x="41729" y="135769"/>
                  </a:lnTo>
                  <a:lnTo>
                    <a:pt x="39929" y="134912"/>
                  </a:lnTo>
                  <a:lnTo>
                    <a:pt x="39577" y="133655"/>
                  </a:lnTo>
                  <a:lnTo>
                    <a:pt x="40120" y="132722"/>
                  </a:lnTo>
                  <a:lnTo>
                    <a:pt x="44482" y="129074"/>
                  </a:lnTo>
                  <a:lnTo>
                    <a:pt x="47035" y="123339"/>
                  </a:lnTo>
                  <a:lnTo>
                    <a:pt x="48302" y="123073"/>
                  </a:lnTo>
                  <a:lnTo>
                    <a:pt x="50911" y="124435"/>
                  </a:lnTo>
                  <a:lnTo>
                    <a:pt x="53845" y="124082"/>
                  </a:lnTo>
                  <a:lnTo>
                    <a:pt x="56245" y="120720"/>
                  </a:lnTo>
                  <a:lnTo>
                    <a:pt x="58284" y="118891"/>
                  </a:lnTo>
                  <a:lnTo>
                    <a:pt x="61722" y="119129"/>
                  </a:lnTo>
                  <a:lnTo>
                    <a:pt x="69485" y="123615"/>
                  </a:lnTo>
                  <a:lnTo>
                    <a:pt x="77829" y="126178"/>
                  </a:lnTo>
                  <a:lnTo>
                    <a:pt x="81992" y="128416"/>
                  </a:lnTo>
                  <a:lnTo>
                    <a:pt x="84354" y="130635"/>
                  </a:lnTo>
                  <a:lnTo>
                    <a:pt x="85601" y="131093"/>
                  </a:lnTo>
                  <a:lnTo>
                    <a:pt x="87582" y="131407"/>
                  </a:lnTo>
                  <a:lnTo>
                    <a:pt x="87497" y="129750"/>
                  </a:lnTo>
                  <a:lnTo>
                    <a:pt x="86868" y="128283"/>
                  </a:lnTo>
                  <a:lnTo>
                    <a:pt x="88516" y="127483"/>
                  </a:lnTo>
                  <a:lnTo>
                    <a:pt x="92983" y="127521"/>
                  </a:lnTo>
                  <a:lnTo>
                    <a:pt x="93793" y="126740"/>
                  </a:lnTo>
                  <a:lnTo>
                    <a:pt x="94622" y="125482"/>
                  </a:lnTo>
                  <a:lnTo>
                    <a:pt x="93698" y="124044"/>
                  </a:lnTo>
                  <a:lnTo>
                    <a:pt x="92221" y="123358"/>
                  </a:lnTo>
                  <a:lnTo>
                    <a:pt x="90640" y="123168"/>
                  </a:lnTo>
                  <a:lnTo>
                    <a:pt x="89602" y="122711"/>
                  </a:lnTo>
                  <a:lnTo>
                    <a:pt x="87916" y="123168"/>
                  </a:lnTo>
                  <a:lnTo>
                    <a:pt x="85297" y="122053"/>
                  </a:lnTo>
                  <a:lnTo>
                    <a:pt x="83934" y="121139"/>
                  </a:lnTo>
                  <a:lnTo>
                    <a:pt x="83144" y="120196"/>
                  </a:lnTo>
                  <a:lnTo>
                    <a:pt x="78581" y="118320"/>
                  </a:lnTo>
                  <a:lnTo>
                    <a:pt x="74257" y="115138"/>
                  </a:lnTo>
                  <a:lnTo>
                    <a:pt x="73276" y="116939"/>
                  </a:lnTo>
                  <a:lnTo>
                    <a:pt x="71524" y="117910"/>
                  </a:lnTo>
                  <a:lnTo>
                    <a:pt x="69038" y="118053"/>
                  </a:lnTo>
                  <a:lnTo>
                    <a:pt x="62046" y="116034"/>
                  </a:lnTo>
                  <a:lnTo>
                    <a:pt x="57751" y="117577"/>
                  </a:lnTo>
                  <a:lnTo>
                    <a:pt x="55407" y="117977"/>
                  </a:lnTo>
                  <a:lnTo>
                    <a:pt x="53616" y="118015"/>
                  </a:lnTo>
                  <a:lnTo>
                    <a:pt x="51416" y="118701"/>
                  </a:lnTo>
                  <a:lnTo>
                    <a:pt x="48873" y="119110"/>
                  </a:lnTo>
                  <a:lnTo>
                    <a:pt x="46673" y="116177"/>
                  </a:lnTo>
                  <a:lnTo>
                    <a:pt x="45749" y="113900"/>
                  </a:lnTo>
                  <a:lnTo>
                    <a:pt x="45101" y="113472"/>
                  </a:lnTo>
                  <a:lnTo>
                    <a:pt x="45072" y="115614"/>
                  </a:lnTo>
                  <a:lnTo>
                    <a:pt x="44368" y="117329"/>
                  </a:lnTo>
                  <a:lnTo>
                    <a:pt x="41139" y="118291"/>
                  </a:lnTo>
                  <a:lnTo>
                    <a:pt x="39281" y="116958"/>
                  </a:lnTo>
                  <a:lnTo>
                    <a:pt x="37852" y="112929"/>
                  </a:lnTo>
                  <a:lnTo>
                    <a:pt x="36052" y="107795"/>
                  </a:lnTo>
                  <a:lnTo>
                    <a:pt x="32881" y="103642"/>
                  </a:lnTo>
                  <a:lnTo>
                    <a:pt x="30299" y="102556"/>
                  </a:lnTo>
                  <a:lnTo>
                    <a:pt x="30080" y="100270"/>
                  </a:lnTo>
                  <a:lnTo>
                    <a:pt x="30309" y="98441"/>
                  </a:lnTo>
                  <a:lnTo>
                    <a:pt x="33404" y="97984"/>
                  </a:lnTo>
                  <a:lnTo>
                    <a:pt x="38243" y="99898"/>
                  </a:lnTo>
                  <a:lnTo>
                    <a:pt x="39243" y="99517"/>
                  </a:lnTo>
                  <a:lnTo>
                    <a:pt x="40329" y="98631"/>
                  </a:lnTo>
                  <a:lnTo>
                    <a:pt x="40120" y="96679"/>
                  </a:lnTo>
                  <a:lnTo>
                    <a:pt x="39414" y="94936"/>
                  </a:lnTo>
                  <a:lnTo>
                    <a:pt x="38081" y="94860"/>
                  </a:lnTo>
                  <a:lnTo>
                    <a:pt x="37157" y="95060"/>
                  </a:lnTo>
                  <a:lnTo>
                    <a:pt x="34176" y="94698"/>
                  </a:lnTo>
                  <a:lnTo>
                    <a:pt x="30356" y="95669"/>
                  </a:lnTo>
                  <a:lnTo>
                    <a:pt x="28585" y="94755"/>
                  </a:lnTo>
                  <a:lnTo>
                    <a:pt x="27994" y="93641"/>
                  </a:lnTo>
                  <a:lnTo>
                    <a:pt x="24794" y="90888"/>
                  </a:lnTo>
                  <a:lnTo>
                    <a:pt x="22032" y="87192"/>
                  </a:lnTo>
                  <a:lnTo>
                    <a:pt x="17555" y="84725"/>
                  </a:lnTo>
                  <a:lnTo>
                    <a:pt x="14631" y="77181"/>
                  </a:lnTo>
                  <a:lnTo>
                    <a:pt x="12173" y="73886"/>
                  </a:lnTo>
                  <a:lnTo>
                    <a:pt x="9554" y="71523"/>
                  </a:lnTo>
                  <a:lnTo>
                    <a:pt x="10126" y="71485"/>
                  </a:lnTo>
                  <a:lnTo>
                    <a:pt x="11116" y="71885"/>
                  </a:lnTo>
                  <a:lnTo>
                    <a:pt x="13021" y="73181"/>
                  </a:lnTo>
                  <a:lnTo>
                    <a:pt x="15040" y="73457"/>
                  </a:lnTo>
                  <a:lnTo>
                    <a:pt x="16145" y="72600"/>
                  </a:lnTo>
                  <a:lnTo>
                    <a:pt x="16783" y="71809"/>
                  </a:lnTo>
                  <a:lnTo>
                    <a:pt x="17193" y="70514"/>
                  </a:lnTo>
                  <a:lnTo>
                    <a:pt x="17364" y="68999"/>
                  </a:lnTo>
                  <a:lnTo>
                    <a:pt x="17698" y="68494"/>
                  </a:lnTo>
                  <a:lnTo>
                    <a:pt x="19250" y="68675"/>
                  </a:lnTo>
                  <a:lnTo>
                    <a:pt x="19745" y="68294"/>
                  </a:lnTo>
                  <a:lnTo>
                    <a:pt x="19727" y="66932"/>
                  </a:lnTo>
                  <a:lnTo>
                    <a:pt x="18726" y="65237"/>
                  </a:lnTo>
                  <a:lnTo>
                    <a:pt x="17850" y="63151"/>
                  </a:lnTo>
                  <a:lnTo>
                    <a:pt x="17850" y="62160"/>
                  </a:lnTo>
                  <a:lnTo>
                    <a:pt x="18584" y="61760"/>
                  </a:lnTo>
                  <a:lnTo>
                    <a:pt x="19793" y="60855"/>
                  </a:lnTo>
                  <a:lnTo>
                    <a:pt x="20441" y="59731"/>
                  </a:lnTo>
                  <a:lnTo>
                    <a:pt x="21727" y="59169"/>
                  </a:lnTo>
                  <a:lnTo>
                    <a:pt x="23622" y="59065"/>
                  </a:lnTo>
                  <a:lnTo>
                    <a:pt x="25737" y="58569"/>
                  </a:lnTo>
                  <a:lnTo>
                    <a:pt x="27108" y="57360"/>
                  </a:lnTo>
                  <a:lnTo>
                    <a:pt x="27308" y="56169"/>
                  </a:lnTo>
                  <a:lnTo>
                    <a:pt x="28166" y="52874"/>
                  </a:lnTo>
                  <a:lnTo>
                    <a:pt x="28728" y="51254"/>
                  </a:lnTo>
                  <a:lnTo>
                    <a:pt x="29632" y="49778"/>
                  </a:lnTo>
                  <a:lnTo>
                    <a:pt x="30119" y="47787"/>
                  </a:lnTo>
                  <a:lnTo>
                    <a:pt x="31090" y="45911"/>
                  </a:lnTo>
                  <a:lnTo>
                    <a:pt x="33109" y="45120"/>
                  </a:lnTo>
                  <a:lnTo>
                    <a:pt x="34938" y="44196"/>
                  </a:lnTo>
                  <a:lnTo>
                    <a:pt x="36319" y="41777"/>
                  </a:lnTo>
                  <a:lnTo>
                    <a:pt x="37100" y="39710"/>
                  </a:lnTo>
                  <a:lnTo>
                    <a:pt x="37100" y="38443"/>
                  </a:lnTo>
                  <a:lnTo>
                    <a:pt x="35938" y="36367"/>
                  </a:lnTo>
                  <a:lnTo>
                    <a:pt x="35081" y="34347"/>
                  </a:lnTo>
                  <a:lnTo>
                    <a:pt x="35309" y="31718"/>
                  </a:lnTo>
                  <a:lnTo>
                    <a:pt x="38938" y="31499"/>
                  </a:lnTo>
                  <a:lnTo>
                    <a:pt x="40205" y="31252"/>
                  </a:lnTo>
                  <a:lnTo>
                    <a:pt x="44920" y="31109"/>
                  </a:lnTo>
                  <a:lnTo>
                    <a:pt x="47073" y="29699"/>
                  </a:lnTo>
                  <a:lnTo>
                    <a:pt x="48559" y="29832"/>
                  </a:lnTo>
                  <a:lnTo>
                    <a:pt x="51664" y="31052"/>
                  </a:lnTo>
                  <a:lnTo>
                    <a:pt x="53054" y="30089"/>
                  </a:lnTo>
                  <a:lnTo>
                    <a:pt x="57112" y="28185"/>
                  </a:lnTo>
                  <a:lnTo>
                    <a:pt x="61122" y="22641"/>
                  </a:lnTo>
                  <a:lnTo>
                    <a:pt x="62827" y="21812"/>
                  </a:lnTo>
                  <a:lnTo>
                    <a:pt x="66723" y="21469"/>
                  </a:lnTo>
                  <a:lnTo>
                    <a:pt x="67942" y="20831"/>
                  </a:lnTo>
                  <a:lnTo>
                    <a:pt x="69361" y="20955"/>
                  </a:lnTo>
                  <a:lnTo>
                    <a:pt x="73724" y="22079"/>
                  </a:lnTo>
                  <a:lnTo>
                    <a:pt x="76200" y="22250"/>
                  </a:lnTo>
                  <a:lnTo>
                    <a:pt x="79143" y="21479"/>
                  </a:lnTo>
                  <a:lnTo>
                    <a:pt x="82382" y="20126"/>
                  </a:lnTo>
                  <a:lnTo>
                    <a:pt x="83191" y="15373"/>
                  </a:lnTo>
                  <a:lnTo>
                    <a:pt x="83963" y="14688"/>
                  </a:lnTo>
                  <a:lnTo>
                    <a:pt x="85973" y="14497"/>
                  </a:lnTo>
                  <a:lnTo>
                    <a:pt x="87497" y="14535"/>
                  </a:lnTo>
                  <a:lnTo>
                    <a:pt x="90431" y="14916"/>
                  </a:lnTo>
                  <a:lnTo>
                    <a:pt x="93917" y="15040"/>
                  </a:lnTo>
                  <a:lnTo>
                    <a:pt x="96155" y="12811"/>
                  </a:lnTo>
                  <a:lnTo>
                    <a:pt x="99689" y="12649"/>
                  </a:lnTo>
                  <a:lnTo>
                    <a:pt x="101327" y="12325"/>
                  </a:lnTo>
                  <a:lnTo>
                    <a:pt x="104061" y="12773"/>
                  </a:lnTo>
                  <a:lnTo>
                    <a:pt x="106718" y="12754"/>
                  </a:lnTo>
                  <a:lnTo>
                    <a:pt x="110119" y="11820"/>
                  </a:lnTo>
                  <a:lnTo>
                    <a:pt x="113291" y="10287"/>
                  </a:lnTo>
                  <a:lnTo>
                    <a:pt x="115767" y="10421"/>
                  </a:lnTo>
                  <a:lnTo>
                    <a:pt x="116777" y="10144"/>
                  </a:lnTo>
                  <a:lnTo>
                    <a:pt x="117348" y="9820"/>
                  </a:lnTo>
                  <a:lnTo>
                    <a:pt x="117967" y="7753"/>
                  </a:lnTo>
                  <a:lnTo>
                    <a:pt x="122625" y="7620"/>
                  </a:lnTo>
                  <a:lnTo>
                    <a:pt x="124206" y="7820"/>
                  </a:lnTo>
                  <a:lnTo>
                    <a:pt x="126807" y="7877"/>
                  </a:lnTo>
                  <a:lnTo>
                    <a:pt x="129512" y="6744"/>
                  </a:lnTo>
                  <a:lnTo>
                    <a:pt x="130321" y="6839"/>
                  </a:lnTo>
                  <a:lnTo>
                    <a:pt x="131683" y="9868"/>
                  </a:lnTo>
                  <a:lnTo>
                    <a:pt x="132398" y="10744"/>
                  </a:lnTo>
                  <a:lnTo>
                    <a:pt x="133865" y="11554"/>
                  </a:lnTo>
                  <a:lnTo>
                    <a:pt x="137141" y="13821"/>
                  </a:lnTo>
                  <a:lnTo>
                    <a:pt x="137732" y="13221"/>
                  </a:lnTo>
                  <a:lnTo>
                    <a:pt x="139103" y="12459"/>
                  </a:lnTo>
                  <a:lnTo>
                    <a:pt x="143028" y="13497"/>
                  </a:lnTo>
                  <a:lnTo>
                    <a:pt x="146771" y="15240"/>
                  </a:lnTo>
                  <a:lnTo>
                    <a:pt x="149914" y="17802"/>
                  </a:lnTo>
                  <a:lnTo>
                    <a:pt x="153410" y="17059"/>
                  </a:lnTo>
                  <a:lnTo>
                    <a:pt x="157286" y="15802"/>
                  </a:lnTo>
                  <a:lnTo>
                    <a:pt x="159811" y="15440"/>
                  </a:lnTo>
                  <a:lnTo>
                    <a:pt x="162554" y="15259"/>
                  </a:lnTo>
                  <a:lnTo>
                    <a:pt x="164182" y="14716"/>
                  </a:lnTo>
                  <a:lnTo>
                    <a:pt x="167888" y="15373"/>
                  </a:lnTo>
                  <a:lnTo>
                    <a:pt x="171708" y="13992"/>
                  </a:lnTo>
                  <a:lnTo>
                    <a:pt x="173546" y="12754"/>
                  </a:lnTo>
                  <a:lnTo>
                    <a:pt x="174079" y="11001"/>
                  </a:lnTo>
                  <a:lnTo>
                    <a:pt x="173774" y="7925"/>
                  </a:lnTo>
                  <a:lnTo>
                    <a:pt x="172907" y="4839"/>
                  </a:lnTo>
                  <a:lnTo>
                    <a:pt x="171993" y="3696"/>
                  </a:lnTo>
                  <a:lnTo>
                    <a:pt x="171698" y="2515"/>
                  </a:lnTo>
                  <a:lnTo>
                    <a:pt x="172222" y="1410"/>
                  </a:lnTo>
                  <a:lnTo>
                    <a:pt x="172812" y="648"/>
                  </a:lnTo>
                  <a:lnTo>
                    <a:pt x="175308" y="0"/>
                  </a:lnTo>
                  <a:lnTo>
                    <a:pt x="178422" y="1086"/>
                  </a:lnTo>
                  <a:close/>
                  <a:moveTo>
                    <a:pt x="137075" y="40053"/>
                  </a:moveTo>
                  <a:lnTo>
                    <a:pt x="133645" y="41300"/>
                  </a:lnTo>
                  <a:lnTo>
                    <a:pt x="130160" y="38929"/>
                  </a:lnTo>
                  <a:lnTo>
                    <a:pt x="130188" y="37519"/>
                  </a:lnTo>
                  <a:lnTo>
                    <a:pt x="132026" y="34652"/>
                  </a:lnTo>
                  <a:lnTo>
                    <a:pt x="133036" y="33804"/>
                  </a:lnTo>
                  <a:lnTo>
                    <a:pt x="135598" y="34033"/>
                  </a:lnTo>
                  <a:lnTo>
                    <a:pt x="137056" y="36004"/>
                  </a:lnTo>
                  <a:lnTo>
                    <a:pt x="137399" y="36938"/>
                  </a:lnTo>
                  <a:lnTo>
                    <a:pt x="136922" y="38519"/>
                  </a:lnTo>
                  <a:lnTo>
                    <a:pt x="137075" y="40053"/>
                  </a:lnTo>
                  <a:close/>
                  <a:moveTo>
                    <a:pt x="161449" y="46663"/>
                  </a:moveTo>
                  <a:lnTo>
                    <a:pt x="158420" y="47577"/>
                  </a:lnTo>
                  <a:lnTo>
                    <a:pt x="155086" y="44691"/>
                  </a:lnTo>
                  <a:lnTo>
                    <a:pt x="158305" y="43529"/>
                  </a:lnTo>
                  <a:lnTo>
                    <a:pt x="159801" y="44368"/>
                  </a:lnTo>
                  <a:lnTo>
                    <a:pt x="160868" y="45358"/>
                  </a:lnTo>
                  <a:lnTo>
                    <a:pt x="161449" y="46663"/>
                  </a:lnTo>
                  <a:close/>
                  <a:moveTo>
                    <a:pt x="154810" y="62112"/>
                  </a:moveTo>
                  <a:lnTo>
                    <a:pt x="153801" y="63284"/>
                  </a:lnTo>
                  <a:lnTo>
                    <a:pt x="153048" y="65304"/>
                  </a:lnTo>
                  <a:lnTo>
                    <a:pt x="152648" y="68189"/>
                  </a:lnTo>
                  <a:lnTo>
                    <a:pt x="151086" y="68256"/>
                  </a:lnTo>
                  <a:lnTo>
                    <a:pt x="150143" y="67675"/>
                  </a:lnTo>
                  <a:lnTo>
                    <a:pt x="149829" y="66580"/>
                  </a:lnTo>
                  <a:lnTo>
                    <a:pt x="149771" y="65199"/>
                  </a:lnTo>
                  <a:lnTo>
                    <a:pt x="149086" y="65256"/>
                  </a:lnTo>
                  <a:lnTo>
                    <a:pt x="148533" y="66751"/>
                  </a:lnTo>
                  <a:lnTo>
                    <a:pt x="148047" y="67428"/>
                  </a:lnTo>
                  <a:lnTo>
                    <a:pt x="146476" y="67571"/>
                  </a:lnTo>
                  <a:lnTo>
                    <a:pt x="144752" y="66647"/>
                  </a:lnTo>
                  <a:lnTo>
                    <a:pt x="144838" y="64656"/>
                  </a:lnTo>
                  <a:lnTo>
                    <a:pt x="144495" y="62341"/>
                  </a:lnTo>
                  <a:lnTo>
                    <a:pt x="144647" y="61532"/>
                  </a:lnTo>
                  <a:lnTo>
                    <a:pt x="149362" y="61331"/>
                  </a:lnTo>
                  <a:lnTo>
                    <a:pt x="150743" y="63037"/>
                  </a:lnTo>
                  <a:lnTo>
                    <a:pt x="152410" y="62046"/>
                  </a:lnTo>
                  <a:lnTo>
                    <a:pt x="153095" y="60979"/>
                  </a:lnTo>
                  <a:lnTo>
                    <a:pt x="155115" y="60312"/>
                  </a:lnTo>
                  <a:lnTo>
                    <a:pt x="154810" y="62112"/>
                  </a:lnTo>
                  <a:close/>
                  <a:moveTo>
                    <a:pt x="11535" y="81172"/>
                  </a:moveTo>
                  <a:lnTo>
                    <a:pt x="12116" y="83106"/>
                  </a:lnTo>
                  <a:lnTo>
                    <a:pt x="8782" y="81905"/>
                  </a:lnTo>
                  <a:lnTo>
                    <a:pt x="6354" y="80181"/>
                  </a:lnTo>
                  <a:lnTo>
                    <a:pt x="4344" y="75905"/>
                  </a:lnTo>
                  <a:lnTo>
                    <a:pt x="67" y="71038"/>
                  </a:lnTo>
                  <a:lnTo>
                    <a:pt x="0" y="69618"/>
                  </a:lnTo>
                  <a:lnTo>
                    <a:pt x="1629" y="68542"/>
                  </a:lnTo>
                  <a:lnTo>
                    <a:pt x="5144" y="67780"/>
                  </a:lnTo>
                  <a:lnTo>
                    <a:pt x="6563" y="68571"/>
                  </a:lnTo>
                  <a:lnTo>
                    <a:pt x="7477" y="69390"/>
                  </a:lnTo>
                  <a:lnTo>
                    <a:pt x="7763" y="70323"/>
                  </a:lnTo>
                  <a:lnTo>
                    <a:pt x="5772" y="72190"/>
                  </a:lnTo>
                  <a:lnTo>
                    <a:pt x="5363" y="73038"/>
                  </a:lnTo>
                  <a:lnTo>
                    <a:pt x="6896" y="74714"/>
                  </a:lnTo>
                  <a:lnTo>
                    <a:pt x="6877" y="75390"/>
                  </a:lnTo>
                  <a:lnTo>
                    <a:pt x="7515" y="78639"/>
                  </a:lnTo>
                  <a:lnTo>
                    <a:pt x="8268" y="79858"/>
                  </a:lnTo>
                  <a:lnTo>
                    <a:pt x="10202" y="80839"/>
                  </a:lnTo>
                  <a:lnTo>
                    <a:pt x="11535" y="81172"/>
                  </a:lnTo>
                  <a:close/>
                  <a:moveTo>
                    <a:pt x="180804" y="84725"/>
                  </a:moveTo>
                  <a:lnTo>
                    <a:pt x="180337" y="86763"/>
                  </a:lnTo>
                  <a:lnTo>
                    <a:pt x="184033" y="90145"/>
                  </a:lnTo>
                  <a:lnTo>
                    <a:pt x="185290" y="92288"/>
                  </a:lnTo>
                  <a:lnTo>
                    <a:pt x="185757" y="94364"/>
                  </a:lnTo>
                  <a:lnTo>
                    <a:pt x="185443" y="94964"/>
                  </a:lnTo>
                  <a:lnTo>
                    <a:pt x="184042" y="93840"/>
                  </a:lnTo>
                  <a:lnTo>
                    <a:pt x="182890" y="93478"/>
                  </a:lnTo>
                  <a:lnTo>
                    <a:pt x="183280" y="94964"/>
                  </a:lnTo>
                  <a:lnTo>
                    <a:pt x="184461" y="96241"/>
                  </a:lnTo>
                  <a:lnTo>
                    <a:pt x="182366" y="96974"/>
                  </a:lnTo>
                  <a:lnTo>
                    <a:pt x="180270" y="96936"/>
                  </a:lnTo>
                  <a:lnTo>
                    <a:pt x="174136" y="95155"/>
                  </a:lnTo>
                  <a:lnTo>
                    <a:pt x="172727" y="93259"/>
                  </a:lnTo>
                  <a:lnTo>
                    <a:pt x="176394" y="90411"/>
                  </a:lnTo>
                  <a:lnTo>
                    <a:pt x="177137" y="89259"/>
                  </a:lnTo>
                  <a:lnTo>
                    <a:pt x="174546" y="89373"/>
                  </a:lnTo>
                  <a:lnTo>
                    <a:pt x="171774" y="92755"/>
                  </a:lnTo>
                  <a:lnTo>
                    <a:pt x="167336" y="91269"/>
                  </a:lnTo>
                  <a:lnTo>
                    <a:pt x="165974" y="89906"/>
                  </a:lnTo>
                  <a:lnTo>
                    <a:pt x="165668" y="89173"/>
                  </a:lnTo>
                  <a:lnTo>
                    <a:pt x="167421" y="86163"/>
                  </a:lnTo>
                  <a:lnTo>
                    <a:pt x="170545" y="86268"/>
                  </a:lnTo>
                  <a:lnTo>
                    <a:pt x="172193" y="85592"/>
                  </a:lnTo>
                  <a:lnTo>
                    <a:pt x="174241" y="84639"/>
                  </a:lnTo>
                  <a:lnTo>
                    <a:pt x="174260" y="83211"/>
                  </a:lnTo>
                  <a:lnTo>
                    <a:pt x="179137" y="82887"/>
                  </a:lnTo>
                  <a:lnTo>
                    <a:pt x="180804" y="84725"/>
                  </a:lnTo>
                  <a:close/>
                  <a:moveTo>
                    <a:pt x="113386" y="90611"/>
                  </a:moveTo>
                  <a:lnTo>
                    <a:pt x="112138" y="91012"/>
                  </a:lnTo>
                  <a:lnTo>
                    <a:pt x="113386" y="88268"/>
                  </a:lnTo>
                  <a:lnTo>
                    <a:pt x="115596" y="86849"/>
                  </a:lnTo>
                  <a:lnTo>
                    <a:pt x="114767" y="89154"/>
                  </a:lnTo>
                  <a:lnTo>
                    <a:pt x="113386" y="90611"/>
                  </a:lnTo>
                  <a:close/>
                  <a:moveTo>
                    <a:pt x="110490" y="92116"/>
                  </a:moveTo>
                  <a:lnTo>
                    <a:pt x="109300" y="93278"/>
                  </a:lnTo>
                  <a:lnTo>
                    <a:pt x="107452" y="92774"/>
                  </a:lnTo>
                  <a:lnTo>
                    <a:pt x="105518" y="88887"/>
                  </a:lnTo>
                  <a:lnTo>
                    <a:pt x="110490" y="92116"/>
                  </a:lnTo>
                  <a:close/>
                  <a:moveTo>
                    <a:pt x="100755" y="97450"/>
                  </a:moveTo>
                  <a:lnTo>
                    <a:pt x="102270" y="101165"/>
                  </a:lnTo>
                  <a:lnTo>
                    <a:pt x="103690" y="102413"/>
                  </a:lnTo>
                  <a:lnTo>
                    <a:pt x="106661" y="103889"/>
                  </a:lnTo>
                  <a:lnTo>
                    <a:pt x="108061" y="104080"/>
                  </a:lnTo>
                  <a:lnTo>
                    <a:pt x="113138" y="106747"/>
                  </a:lnTo>
                  <a:lnTo>
                    <a:pt x="119034" y="107280"/>
                  </a:lnTo>
                  <a:lnTo>
                    <a:pt x="119796" y="108052"/>
                  </a:lnTo>
                  <a:lnTo>
                    <a:pt x="120520" y="110100"/>
                  </a:lnTo>
                  <a:lnTo>
                    <a:pt x="121720" y="111709"/>
                  </a:lnTo>
                  <a:lnTo>
                    <a:pt x="122025" y="112957"/>
                  </a:lnTo>
                  <a:lnTo>
                    <a:pt x="121396" y="114348"/>
                  </a:lnTo>
                  <a:lnTo>
                    <a:pt x="122263" y="118586"/>
                  </a:lnTo>
                  <a:lnTo>
                    <a:pt x="123749" y="122606"/>
                  </a:lnTo>
                  <a:lnTo>
                    <a:pt x="125988" y="124549"/>
                  </a:lnTo>
                  <a:lnTo>
                    <a:pt x="128778" y="125139"/>
                  </a:lnTo>
                  <a:lnTo>
                    <a:pt x="131436" y="125054"/>
                  </a:lnTo>
                  <a:lnTo>
                    <a:pt x="132102" y="125854"/>
                  </a:lnTo>
                  <a:lnTo>
                    <a:pt x="131836" y="129359"/>
                  </a:lnTo>
                  <a:lnTo>
                    <a:pt x="130712" y="130731"/>
                  </a:lnTo>
                  <a:lnTo>
                    <a:pt x="129797" y="131064"/>
                  </a:lnTo>
                  <a:lnTo>
                    <a:pt x="129007" y="130702"/>
                  </a:lnTo>
                  <a:lnTo>
                    <a:pt x="128283" y="129883"/>
                  </a:lnTo>
                  <a:lnTo>
                    <a:pt x="127502" y="129492"/>
                  </a:lnTo>
                  <a:lnTo>
                    <a:pt x="125978" y="129426"/>
                  </a:lnTo>
                  <a:lnTo>
                    <a:pt x="124863" y="128016"/>
                  </a:lnTo>
                  <a:lnTo>
                    <a:pt x="122034" y="126082"/>
                  </a:lnTo>
                  <a:lnTo>
                    <a:pt x="121511" y="124921"/>
                  </a:lnTo>
                  <a:lnTo>
                    <a:pt x="121415" y="123139"/>
                  </a:lnTo>
                  <a:lnTo>
                    <a:pt x="120215" y="121825"/>
                  </a:lnTo>
                  <a:lnTo>
                    <a:pt x="119110" y="119329"/>
                  </a:lnTo>
                  <a:lnTo>
                    <a:pt x="118063" y="118634"/>
                  </a:lnTo>
                  <a:lnTo>
                    <a:pt x="117482" y="117377"/>
                  </a:lnTo>
                  <a:lnTo>
                    <a:pt x="117434" y="116843"/>
                  </a:lnTo>
                  <a:lnTo>
                    <a:pt x="113319" y="116472"/>
                  </a:lnTo>
                  <a:lnTo>
                    <a:pt x="109919" y="116462"/>
                  </a:lnTo>
                  <a:lnTo>
                    <a:pt x="107032" y="115043"/>
                  </a:lnTo>
                  <a:lnTo>
                    <a:pt x="106137" y="111319"/>
                  </a:lnTo>
                  <a:lnTo>
                    <a:pt x="104423" y="110319"/>
                  </a:lnTo>
                  <a:lnTo>
                    <a:pt x="103137" y="109261"/>
                  </a:lnTo>
                  <a:lnTo>
                    <a:pt x="102070" y="107795"/>
                  </a:lnTo>
                  <a:lnTo>
                    <a:pt x="99365" y="105099"/>
                  </a:lnTo>
                  <a:lnTo>
                    <a:pt x="96374" y="102841"/>
                  </a:lnTo>
                  <a:lnTo>
                    <a:pt x="93479" y="101346"/>
                  </a:lnTo>
                  <a:lnTo>
                    <a:pt x="90411" y="100365"/>
                  </a:lnTo>
                  <a:lnTo>
                    <a:pt x="87916" y="101518"/>
                  </a:lnTo>
                  <a:lnTo>
                    <a:pt x="86459" y="101251"/>
                  </a:lnTo>
                  <a:lnTo>
                    <a:pt x="86163" y="100470"/>
                  </a:lnTo>
                  <a:lnTo>
                    <a:pt x="89268" y="98917"/>
                  </a:lnTo>
                  <a:lnTo>
                    <a:pt x="93536" y="95945"/>
                  </a:lnTo>
                  <a:lnTo>
                    <a:pt x="96536" y="94964"/>
                  </a:lnTo>
                  <a:lnTo>
                    <a:pt x="97993" y="94840"/>
                  </a:lnTo>
                  <a:lnTo>
                    <a:pt x="100755" y="97450"/>
                  </a:lnTo>
                  <a:close/>
                  <a:moveTo>
                    <a:pt x="134417" y="102565"/>
                  </a:moveTo>
                  <a:lnTo>
                    <a:pt x="131598" y="103394"/>
                  </a:lnTo>
                  <a:lnTo>
                    <a:pt x="130845" y="103261"/>
                  </a:lnTo>
                  <a:lnTo>
                    <a:pt x="131474" y="102213"/>
                  </a:lnTo>
                  <a:lnTo>
                    <a:pt x="131522" y="101775"/>
                  </a:lnTo>
                  <a:lnTo>
                    <a:pt x="128702" y="99851"/>
                  </a:lnTo>
                  <a:lnTo>
                    <a:pt x="129035" y="97355"/>
                  </a:lnTo>
                  <a:lnTo>
                    <a:pt x="129369" y="96717"/>
                  </a:lnTo>
                  <a:lnTo>
                    <a:pt x="131464" y="98022"/>
                  </a:lnTo>
                  <a:lnTo>
                    <a:pt x="131922" y="100194"/>
                  </a:lnTo>
                  <a:lnTo>
                    <a:pt x="134417" y="102565"/>
                  </a:lnTo>
                  <a:close/>
                  <a:moveTo>
                    <a:pt x="27813" y="109404"/>
                  </a:moveTo>
                  <a:lnTo>
                    <a:pt x="26775" y="109671"/>
                  </a:lnTo>
                  <a:lnTo>
                    <a:pt x="25880" y="109490"/>
                  </a:lnTo>
                  <a:lnTo>
                    <a:pt x="25070" y="109642"/>
                  </a:lnTo>
                  <a:lnTo>
                    <a:pt x="24279" y="110290"/>
                  </a:lnTo>
                  <a:lnTo>
                    <a:pt x="24365" y="107595"/>
                  </a:lnTo>
                  <a:lnTo>
                    <a:pt x="25289" y="104232"/>
                  </a:lnTo>
                  <a:lnTo>
                    <a:pt x="26413" y="102270"/>
                  </a:lnTo>
                  <a:lnTo>
                    <a:pt x="28004" y="101356"/>
                  </a:lnTo>
                  <a:lnTo>
                    <a:pt x="28680" y="102899"/>
                  </a:lnTo>
                  <a:lnTo>
                    <a:pt x="28556" y="108385"/>
                  </a:lnTo>
                  <a:lnTo>
                    <a:pt x="27813" y="109404"/>
                  </a:lnTo>
                  <a:close/>
                  <a:moveTo>
                    <a:pt x="172355" y="122672"/>
                  </a:moveTo>
                  <a:lnTo>
                    <a:pt x="169802" y="124587"/>
                  </a:lnTo>
                  <a:lnTo>
                    <a:pt x="166954" y="121815"/>
                  </a:lnTo>
                  <a:lnTo>
                    <a:pt x="166488" y="120920"/>
                  </a:lnTo>
                  <a:lnTo>
                    <a:pt x="168583" y="119796"/>
                  </a:lnTo>
                  <a:lnTo>
                    <a:pt x="169622" y="118072"/>
                  </a:lnTo>
                  <a:lnTo>
                    <a:pt x="168783" y="115948"/>
                  </a:lnTo>
                  <a:lnTo>
                    <a:pt x="165878" y="112805"/>
                  </a:lnTo>
                  <a:lnTo>
                    <a:pt x="165735" y="110576"/>
                  </a:lnTo>
                  <a:lnTo>
                    <a:pt x="170183" y="109633"/>
                  </a:lnTo>
                  <a:lnTo>
                    <a:pt x="172803" y="111576"/>
                  </a:lnTo>
                  <a:lnTo>
                    <a:pt x="174136" y="111709"/>
                  </a:lnTo>
                  <a:lnTo>
                    <a:pt x="173622" y="113567"/>
                  </a:lnTo>
                  <a:lnTo>
                    <a:pt x="173850" y="114167"/>
                  </a:lnTo>
                  <a:lnTo>
                    <a:pt x="174050" y="119787"/>
                  </a:lnTo>
                  <a:lnTo>
                    <a:pt x="172812" y="120577"/>
                  </a:lnTo>
                  <a:lnTo>
                    <a:pt x="172612" y="122120"/>
                  </a:lnTo>
                  <a:lnTo>
                    <a:pt x="172355" y="122672"/>
                  </a:lnTo>
                  <a:close/>
                  <a:moveTo>
                    <a:pt x="29728" y="118901"/>
                  </a:moveTo>
                  <a:lnTo>
                    <a:pt x="28403" y="119272"/>
                  </a:lnTo>
                  <a:lnTo>
                    <a:pt x="26727" y="116024"/>
                  </a:lnTo>
                  <a:lnTo>
                    <a:pt x="26118" y="113776"/>
                  </a:lnTo>
                  <a:lnTo>
                    <a:pt x="26823" y="113652"/>
                  </a:lnTo>
                  <a:lnTo>
                    <a:pt x="27490" y="113910"/>
                  </a:lnTo>
                  <a:lnTo>
                    <a:pt x="28194" y="114757"/>
                  </a:lnTo>
                  <a:lnTo>
                    <a:pt x="28194" y="115624"/>
                  </a:lnTo>
                  <a:lnTo>
                    <a:pt x="28480" y="116557"/>
                  </a:lnTo>
                  <a:lnTo>
                    <a:pt x="29213" y="117672"/>
                  </a:lnTo>
                  <a:lnTo>
                    <a:pt x="29728" y="118901"/>
                  </a:lnTo>
                  <a:close/>
                  <a:moveTo>
                    <a:pt x="25822" y="117072"/>
                  </a:moveTo>
                  <a:lnTo>
                    <a:pt x="26156" y="120996"/>
                  </a:lnTo>
                  <a:lnTo>
                    <a:pt x="28042" y="121729"/>
                  </a:lnTo>
                  <a:lnTo>
                    <a:pt x="30547" y="125254"/>
                  </a:lnTo>
                  <a:lnTo>
                    <a:pt x="30337" y="127054"/>
                  </a:lnTo>
                  <a:lnTo>
                    <a:pt x="29813" y="127673"/>
                  </a:lnTo>
                  <a:lnTo>
                    <a:pt x="25661" y="126006"/>
                  </a:lnTo>
                  <a:lnTo>
                    <a:pt x="24670" y="126759"/>
                  </a:lnTo>
                  <a:lnTo>
                    <a:pt x="23460" y="126454"/>
                  </a:lnTo>
                  <a:lnTo>
                    <a:pt x="22708" y="124501"/>
                  </a:lnTo>
                  <a:lnTo>
                    <a:pt x="22793" y="123816"/>
                  </a:lnTo>
                  <a:lnTo>
                    <a:pt x="22117" y="122644"/>
                  </a:lnTo>
                  <a:lnTo>
                    <a:pt x="21546" y="122120"/>
                  </a:lnTo>
                  <a:lnTo>
                    <a:pt x="19917" y="123673"/>
                  </a:lnTo>
                  <a:lnTo>
                    <a:pt x="18888" y="123958"/>
                  </a:lnTo>
                  <a:lnTo>
                    <a:pt x="18888" y="122539"/>
                  </a:lnTo>
                  <a:lnTo>
                    <a:pt x="20403" y="118634"/>
                  </a:lnTo>
                  <a:lnTo>
                    <a:pt x="21107" y="117977"/>
                  </a:lnTo>
                  <a:lnTo>
                    <a:pt x="22346" y="119262"/>
                  </a:lnTo>
                  <a:lnTo>
                    <a:pt x="23365" y="118786"/>
                  </a:lnTo>
                  <a:lnTo>
                    <a:pt x="24136" y="116672"/>
                  </a:lnTo>
                  <a:lnTo>
                    <a:pt x="24184" y="114567"/>
                  </a:lnTo>
                  <a:lnTo>
                    <a:pt x="24537" y="113948"/>
                  </a:lnTo>
                  <a:lnTo>
                    <a:pt x="25822" y="117072"/>
                  </a:lnTo>
                  <a:close/>
                  <a:moveTo>
                    <a:pt x="104375" y="132560"/>
                  </a:moveTo>
                  <a:lnTo>
                    <a:pt x="103318" y="133388"/>
                  </a:lnTo>
                  <a:lnTo>
                    <a:pt x="102127" y="133350"/>
                  </a:lnTo>
                  <a:lnTo>
                    <a:pt x="101279" y="133045"/>
                  </a:lnTo>
                  <a:lnTo>
                    <a:pt x="100861" y="132379"/>
                  </a:lnTo>
                  <a:lnTo>
                    <a:pt x="101385" y="132064"/>
                  </a:lnTo>
                  <a:lnTo>
                    <a:pt x="102004" y="130721"/>
                  </a:lnTo>
                  <a:lnTo>
                    <a:pt x="102575" y="130359"/>
                  </a:lnTo>
                  <a:lnTo>
                    <a:pt x="103423" y="130531"/>
                  </a:lnTo>
                  <a:lnTo>
                    <a:pt x="103947" y="131074"/>
                  </a:lnTo>
                  <a:lnTo>
                    <a:pt x="104375" y="132560"/>
                  </a:lnTo>
                  <a:close/>
                  <a:moveTo>
                    <a:pt x="142885" y="138160"/>
                  </a:moveTo>
                  <a:lnTo>
                    <a:pt x="142094" y="140418"/>
                  </a:lnTo>
                  <a:lnTo>
                    <a:pt x="140008" y="137789"/>
                  </a:lnTo>
                  <a:lnTo>
                    <a:pt x="137722" y="135989"/>
                  </a:lnTo>
                  <a:lnTo>
                    <a:pt x="136865" y="134408"/>
                  </a:lnTo>
                  <a:lnTo>
                    <a:pt x="135474" y="133455"/>
                  </a:lnTo>
                  <a:lnTo>
                    <a:pt x="135094" y="131331"/>
                  </a:lnTo>
                  <a:lnTo>
                    <a:pt x="136779" y="130464"/>
                  </a:lnTo>
                  <a:lnTo>
                    <a:pt x="137503" y="130378"/>
                  </a:lnTo>
                  <a:lnTo>
                    <a:pt x="139237" y="132960"/>
                  </a:lnTo>
                  <a:lnTo>
                    <a:pt x="141942" y="133255"/>
                  </a:lnTo>
                  <a:lnTo>
                    <a:pt x="141732" y="134846"/>
                  </a:lnTo>
                  <a:lnTo>
                    <a:pt x="142590" y="136893"/>
                  </a:lnTo>
                  <a:lnTo>
                    <a:pt x="142885" y="138160"/>
                  </a:lnTo>
                  <a:close/>
                  <a:moveTo>
                    <a:pt x="33204" y="136627"/>
                  </a:moveTo>
                  <a:lnTo>
                    <a:pt x="36024" y="139903"/>
                  </a:lnTo>
                  <a:lnTo>
                    <a:pt x="33747" y="139094"/>
                  </a:lnTo>
                  <a:lnTo>
                    <a:pt x="31328" y="141361"/>
                  </a:lnTo>
                  <a:lnTo>
                    <a:pt x="28261" y="138713"/>
                  </a:lnTo>
                  <a:lnTo>
                    <a:pt x="26423" y="136027"/>
                  </a:lnTo>
                  <a:lnTo>
                    <a:pt x="26013" y="134950"/>
                  </a:lnTo>
                  <a:lnTo>
                    <a:pt x="27937" y="132436"/>
                  </a:lnTo>
                  <a:lnTo>
                    <a:pt x="29728" y="135017"/>
                  </a:lnTo>
                  <a:lnTo>
                    <a:pt x="31899" y="135427"/>
                  </a:lnTo>
                  <a:lnTo>
                    <a:pt x="33204" y="136627"/>
                  </a:lnTo>
                  <a:close/>
                  <a:moveTo>
                    <a:pt x="191881" y="136417"/>
                  </a:moveTo>
                  <a:lnTo>
                    <a:pt x="195168" y="137531"/>
                  </a:lnTo>
                  <a:lnTo>
                    <a:pt x="196082" y="137408"/>
                  </a:lnTo>
                  <a:lnTo>
                    <a:pt x="197634" y="137808"/>
                  </a:lnTo>
                  <a:lnTo>
                    <a:pt x="198044" y="139846"/>
                  </a:lnTo>
                  <a:lnTo>
                    <a:pt x="195987" y="140141"/>
                  </a:lnTo>
                  <a:lnTo>
                    <a:pt x="192424" y="142018"/>
                  </a:lnTo>
                  <a:lnTo>
                    <a:pt x="190910" y="141608"/>
                  </a:lnTo>
                  <a:lnTo>
                    <a:pt x="189100" y="139980"/>
                  </a:lnTo>
                  <a:lnTo>
                    <a:pt x="186224" y="139808"/>
                  </a:lnTo>
                  <a:lnTo>
                    <a:pt x="185376" y="139360"/>
                  </a:lnTo>
                  <a:lnTo>
                    <a:pt x="186919" y="137436"/>
                  </a:lnTo>
                  <a:lnTo>
                    <a:pt x="189719" y="136465"/>
                  </a:lnTo>
                  <a:lnTo>
                    <a:pt x="191881" y="136417"/>
                  </a:lnTo>
                  <a:close/>
                  <a:moveTo>
                    <a:pt x="125892" y="144304"/>
                  </a:moveTo>
                  <a:lnTo>
                    <a:pt x="124102" y="145933"/>
                  </a:lnTo>
                  <a:lnTo>
                    <a:pt x="123797" y="143485"/>
                  </a:lnTo>
                  <a:lnTo>
                    <a:pt x="124949" y="140903"/>
                  </a:lnTo>
                  <a:lnTo>
                    <a:pt x="126521" y="140741"/>
                  </a:lnTo>
                  <a:lnTo>
                    <a:pt x="127102" y="141875"/>
                  </a:lnTo>
                  <a:lnTo>
                    <a:pt x="125892" y="144304"/>
                  </a:lnTo>
                  <a:close/>
                  <a:moveTo>
                    <a:pt x="149952" y="143542"/>
                  </a:moveTo>
                  <a:lnTo>
                    <a:pt x="148962" y="145713"/>
                  </a:lnTo>
                  <a:lnTo>
                    <a:pt x="147295" y="145380"/>
                  </a:lnTo>
                  <a:lnTo>
                    <a:pt x="144504" y="143047"/>
                  </a:lnTo>
                  <a:lnTo>
                    <a:pt x="143552" y="141989"/>
                  </a:lnTo>
                  <a:lnTo>
                    <a:pt x="143028" y="140951"/>
                  </a:lnTo>
                  <a:lnTo>
                    <a:pt x="144171" y="140827"/>
                  </a:lnTo>
                  <a:lnTo>
                    <a:pt x="145571" y="141932"/>
                  </a:lnTo>
                  <a:lnTo>
                    <a:pt x="149143" y="142513"/>
                  </a:lnTo>
                  <a:lnTo>
                    <a:pt x="149952" y="143542"/>
                  </a:lnTo>
                  <a:close/>
                  <a:moveTo>
                    <a:pt x="170622" y="145904"/>
                  </a:moveTo>
                  <a:lnTo>
                    <a:pt x="169374" y="146037"/>
                  </a:lnTo>
                  <a:lnTo>
                    <a:pt x="169755" y="144694"/>
                  </a:lnTo>
                  <a:lnTo>
                    <a:pt x="172145" y="142361"/>
                  </a:lnTo>
                  <a:lnTo>
                    <a:pt x="175499" y="142247"/>
                  </a:lnTo>
                  <a:lnTo>
                    <a:pt x="178546" y="141075"/>
                  </a:lnTo>
                  <a:lnTo>
                    <a:pt x="179232" y="141037"/>
                  </a:lnTo>
                  <a:lnTo>
                    <a:pt x="177775" y="142875"/>
                  </a:lnTo>
                  <a:lnTo>
                    <a:pt x="175317" y="144590"/>
                  </a:lnTo>
                  <a:lnTo>
                    <a:pt x="170622" y="145904"/>
                  </a:lnTo>
                  <a:close/>
                  <a:moveTo>
                    <a:pt x="153877" y="149600"/>
                  </a:moveTo>
                  <a:lnTo>
                    <a:pt x="151315" y="149809"/>
                  </a:lnTo>
                  <a:lnTo>
                    <a:pt x="151467" y="147247"/>
                  </a:lnTo>
                  <a:lnTo>
                    <a:pt x="152419" y="146580"/>
                  </a:lnTo>
                  <a:lnTo>
                    <a:pt x="155486" y="147857"/>
                  </a:lnTo>
                  <a:lnTo>
                    <a:pt x="155334" y="148657"/>
                  </a:lnTo>
                  <a:lnTo>
                    <a:pt x="153877" y="149600"/>
                  </a:lnTo>
                  <a:close/>
                  <a:moveTo>
                    <a:pt x="141590" y="147104"/>
                  </a:moveTo>
                  <a:lnTo>
                    <a:pt x="141456" y="150581"/>
                  </a:lnTo>
                  <a:lnTo>
                    <a:pt x="140751" y="150552"/>
                  </a:lnTo>
                  <a:lnTo>
                    <a:pt x="140341" y="150019"/>
                  </a:lnTo>
                  <a:lnTo>
                    <a:pt x="140322" y="148685"/>
                  </a:lnTo>
                  <a:lnTo>
                    <a:pt x="140627" y="146590"/>
                  </a:lnTo>
                  <a:lnTo>
                    <a:pt x="141590" y="147104"/>
                  </a:lnTo>
                  <a:close/>
                  <a:moveTo>
                    <a:pt x="128026" y="152105"/>
                  </a:moveTo>
                  <a:lnTo>
                    <a:pt x="126502" y="153124"/>
                  </a:lnTo>
                  <a:lnTo>
                    <a:pt x="127007" y="150800"/>
                  </a:lnTo>
                  <a:lnTo>
                    <a:pt x="126254" y="149590"/>
                  </a:lnTo>
                  <a:lnTo>
                    <a:pt x="126921" y="148562"/>
                  </a:lnTo>
                  <a:lnTo>
                    <a:pt x="127902" y="147733"/>
                  </a:lnTo>
                  <a:lnTo>
                    <a:pt x="128359" y="148590"/>
                  </a:lnTo>
                  <a:lnTo>
                    <a:pt x="129236" y="149981"/>
                  </a:lnTo>
                  <a:lnTo>
                    <a:pt x="128026" y="152105"/>
                  </a:lnTo>
                  <a:close/>
                  <a:moveTo>
                    <a:pt x="130369" y="159439"/>
                  </a:moveTo>
                  <a:lnTo>
                    <a:pt x="129378" y="159944"/>
                  </a:lnTo>
                  <a:lnTo>
                    <a:pt x="127731" y="159210"/>
                  </a:lnTo>
                  <a:lnTo>
                    <a:pt x="128169" y="157382"/>
                  </a:lnTo>
                  <a:lnTo>
                    <a:pt x="129312" y="156601"/>
                  </a:lnTo>
                  <a:lnTo>
                    <a:pt x="130521" y="157201"/>
                  </a:lnTo>
                  <a:lnTo>
                    <a:pt x="130702" y="158029"/>
                  </a:lnTo>
                  <a:lnTo>
                    <a:pt x="130369" y="159439"/>
                  </a:lnTo>
                  <a:close/>
                  <a:moveTo>
                    <a:pt x="157705" y="164697"/>
                  </a:moveTo>
                  <a:lnTo>
                    <a:pt x="155324" y="165954"/>
                  </a:lnTo>
                  <a:lnTo>
                    <a:pt x="153696" y="164135"/>
                  </a:lnTo>
                  <a:lnTo>
                    <a:pt x="152791" y="161268"/>
                  </a:lnTo>
                  <a:lnTo>
                    <a:pt x="157153" y="157058"/>
                  </a:lnTo>
                  <a:lnTo>
                    <a:pt x="158201" y="157439"/>
                  </a:lnTo>
                  <a:lnTo>
                    <a:pt x="158830" y="158525"/>
                  </a:lnTo>
                  <a:lnTo>
                    <a:pt x="158735" y="162306"/>
                  </a:lnTo>
                  <a:lnTo>
                    <a:pt x="157705" y="164697"/>
                  </a:lnTo>
                  <a:close/>
                  <a:moveTo>
                    <a:pt x="150572" y="161335"/>
                  </a:moveTo>
                  <a:lnTo>
                    <a:pt x="148447" y="163906"/>
                  </a:lnTo>
                  <a:lnTo>
                    <a:pt x="146676" y="163630"/>
                  </a:lnTo>
                  <a:lnTo>
                    <a:pt x="145933" y="162449"/>
                  </a:lnTo>
                  <a:lnTo>
                    <a:pt x="147028" y="160030"/>
                  </a:lnTo>
                  <a:lnTo>
                    <a:pt x="149400" y="158658"/>
                  </a:lnTo>
                  <a:lnTo>
                    <a:pt x="150476" y="159020"/>
                  </a:lnTo>
                  <a:lnTo>
                    <a:pt x="150372" y="160811"/>
                  </a:lnTo>
                  <a:lnTo>
                    <a:pt x="150572" y="161335"/>
                  </a:lnTo>
                  <a:close/>
                  <a:moveTo>
                    <a:pt x="197101" y="164973"/>
                  </a:moveTo>
                  <a:lnTo>
                    <a:pt x="194434" y="165430"/>
                  </a:lnTo>
                  <a:lnTo>
                    <a:pt x="194910" y="162782"/>
                  </a:lnTo>
                  <a:lnTo>
                    <a:pt x="193606" y="160696"/>
                  </a:lnTo>
                  <a:lnTo>
                    <a:pt x="195682" y="161868"/>
                  </a:lnTo>
                  <a:lnTo>
                    <a:pt x="197006" y="163278"/>
                  </a:lnTo>
                  <a:lnTo>
                    <a:pt x="197654" y="163544"/>
                  </a:lnTo>
                  <a:lnTo>
                    <a:pt x="197501" y="164392"/>
                  </a:lnTo>
                  <a:lnTo>
                    <a:pt x="197101" y="164973"/>
                  </a:lnTo>
                  <a:close/>
                  <a:moveTo>
                    <a:pt x="135655" y="166230"/>
                  </a:moveTo>
                  <a:lnTo>
                    <a:pt x="135170" y="166373"/>
                  </a:lnTo>
                  <a:lnTo>
                    <a:pt x="134464" y="164973"/>
                  </a:lnTo>
                  <a:lnTo>
                    <a:pt x="134322" y="163668"/>
                  </a:lnTo>
                  <a:lnTo>
                    <a:pt x="134598" y="162897"/>
                  </a:lnTo>
                  <a:lnTo>
                    <a:pt x="135522" y="162821"/>
                  </a:lnTo>
                  <a:lnTo>
                    <a:pt x="136779" y="165306"/>
                  </a:lnTo>
                  <a:lnTo>
                    <a:pt x="135655" y="166230"/>
                  </a:lnTo>
                  <a:close/>
                  <a:moveTo>
                    <a:pt x="166078" y="170583"/>
                  </a:moveTo>
                  <a:lnTo>
                    <a:pt x="163716" y="170860"/>
                  </a:lnTo>
                  <a:lnTo>
                    <a:pt x="162963" y="170612"/>
                  </a:lnTo>
                  <a:lnTo>
                    <a:pt x="164402" y="170041"/>
                  </a:lnTo>
                  <a:lnTo>
                    <a:pt x="165402" y="169431"/>
                  </a:lnTo>
                  <a:lnTo>
                    <a:pt x="165888" y="168697"/>
                  </a:lnTo>
                  <a:lnTo>
                    <a:pt x="168279" y="167402"/>
                  </a:lnTo>
                  <a:lnTo>
                    <a:pt x="169850" y="165706"/>
                  </a:lnTo>
                  <a:lnTo>
                    <a:pt x="171555" y="166859"/>
                  </a:lnTo>
                  <a:lnTo>
                    <a:pt x="169422" y="167630"/>
                  </a:lnTo>
                  <a:lnTo>
                    <a:pt x="166078" y="170583"/>
                  </a:lnTo>
                  <a:close/>
                  <a:moveTo>
                    <a:pt x="195225" y="172688"/>
                  </a:moveTo>
                  <a:lnTo>
                    <a:pt x="194396" y="172726"/>
                  </a:lnTo>
                  <a:lnTo>
                    <a:pt x="195386" y="171126"/>
                  </a:lnTo>
                  <a:lnTo>
                    <a:pt x="198206" y="168926"/>
                  </a:lnTo>
                  <a:lnTo>
                    <a:pt x="202311" y="166983"/>
                  </a:lnTo>
                  <a:lnTo>
                    <a:pt x="203673" y="166773"/>
                  </a:lnTo>
                  <a:lnTo>
                    <a:pt x="205988" y="167973"/>
                  </a:lnTo>
                  <a:lnTo>
                    <a:pt x="201740" y="169964"/>
                  </a:lnTo>
                  <a:lnTo>
                    <a:pt x="200606" y="171012"/>
                  </a:lnTo>
                  <a:lnTo>
                    <a:pt x="197472" y="171240"/>
                  </a:lnTo>
                  <a:lnTo>
                    <a:pt x="195225" y="172688"/>
                  </a:lnTo>
                  <a:close/>
                  <a:moveTo>
                    <a:pt x="153314" y="174450"/>
                  </a:moveTo>
                  <a:lnTo>
                    <a:pt x="152848" y="174974"/>
                  </a:lnTo>
                  <a:lnTo>
                    <a:pt x="150829" y="172879"/>
                  </a:lnTo>
                  <a:lnTo>
                    <a:pt x="150057" y="171660"/>
                  </a:lnTo>
                  <a:lnTo>
                    <a:pt x="151019" y="170640"/>
                  </a:lnTo>
                  <a:lnTo>
                    <a:pt x="153991" y="173022"/>
                  </a:lnTo>
                  <a:lnTo>
                    <a:pt x="153314" y="174450"/>
                  </a:lnTo>
                  <a:close/>
                  <a:moveTo>
                    <a:pt x="130702" y="171469"/>
                  </a:moveTo>
                  <a:lnTo>
                    <a:pt x="130750" y="173422"/>
                  </a:lnTo>
                  <a:lnTo>
                    <a:pt x="130559" y="174117"/>
                  </a:lnTo>
                  <a:lnTo>
                    <a:pt x="125092" y="175060"/>
                  </a:lnTo>
                  <a:lnTo>
                    <a:pt x="125597" y="172822"/>
                  </a:lnTo>
                  <a:lnTo>
                    <a:pt x="125930" y="172117"/>
                  </a:lnTo>
                  <a:lnTo>
                    <a:pt x="127740" y="173155"/>
                  </a:lnTo>
                  <a:lnTo>
                    <a:pt x="128407" y="172622"/>
                  </a:lnTo>
                  <a:lnTo>
                    <a:pt x="128674" y="172012"/>
                  </a:lnTo>
                  <a:lnTo>
                    <a:pt x="130702" y="171469"/>
                  </a:lnTo>
                  <a:close/>
                  <a:moveTo>
                    <a:pt x="219570" y="178432"/>
                  </a:moveTo>
                  <a:lnTo>
                    <a:pt x="218990" y="178956"/>
                  </a:lnTo>
                  <a:lnTo>
                    <a:pt x="217647" y="177441"/>
                  </a:lnTo>
                  <a:lnTo>
                    <a:pt x="217580" y="176651"/>
                  </a:lnTo>
                  <a:lnTo>
                    <a:pt x="218951" y="175746"/>
                  </a:lnTo>
                  <a:lnTo>
                    <a:pt x="219637" y="175536"/>
                  </a:lnTo>
                  <a:lnTo>
                    <a:pt x="219837" y="176156"/>
                  </a:lnTo>
                  <a:lnTo>
                    <a:pt x="219818" y="177479"/>
                  </a:lnTo>
                  <a:lnTo>
                    <a:pt x="219570" y="178432"/>
                  </a:lnTo>
                  <a:close/>
                  <a:moveTo>
                    <a:pt x="182156" y="177394"/>
                  </a:moveTo>
                  <a:lnTo>
                    <a:pt x="180042" y="178184"/>
                  </a:lnTo>
                  <a:lnTo>
                    <a:pt x="178699" y="179851"/>
                  </a:lnTo>
                  <a:lnTo>
                    <a:pt x="177061" y="178670"/>
                  </a:lnTo>
                  <a:lnTo>
                    <a:pt x="177061" y="177070"/>
                  </a:lnTo>
                  <a:lnTo>
                    <a:pt x="178851" y="177565"/>
                  </a:lnTo>
                  <a:lnTo>
                    <a:pt x="180108" y="176660"/>
                  </a:lnTo>
                  <a:lnTo>
                    <a:pt x="179727" y="175641"/>
                  </a:lnTo>
                  <a:lnTo>
                    <a:pt x="181099" y="176117"/>
                  </a:lnTo>
                  <a:lnTo>
                    <a:pt x="182156" y="177394"/>
                  </a:lnTo>
                  <a:close/>
                  <a:moveTo>
                    <a:pt x="156010" y="183775"/>
                  </a:moveTo>
                  <a:lnTo>
                    <a:pt x="154772" y="185519"/>
                  </a:lnTo>
                  <a:lnTo>
                    <a:pt x="153019" y="184899"/>
                  </a:lnTo>
                  <a:lnTo>
                    <a:pt x="153734" y="184242"/>
                  </a:lnTo>
                  <a:lnTo>
                    <a:pt x="154153" y="183385"/>
                  </a:lnTo>
                  <a:lnTo>
                    <a:pt x="154200" y="182147"/>
                  </a:lnTo>
                  <a:lnTo>
                    <a:pt x="153724" y="181385"/>
                  </a:lnTo>
                  <a:lnTo>
                    <a:pt x="154048" y="181108"/>
                  </a:lnTo>
                  <a:lnTo>
                    <a:pt x="155610" y="182385"/>
                  </a:lnTo>
                  <a:lnTo>
                    <a:pt x="156010" y="183775"/>
                  </a:lnTo>
                  <a:close/>
                  <a:moveTo>
                    <a:pt x="219104" y="199044"/>
                  </a:moveTo>
                  <a:lnTo>
                    <a:pt x="217180" y="199739"/>
                  </a:lnTo>
                  <a:lnTo>
                    <a:pt x="216513" y="199654"/>
                  </a:lnTo>
                  <a:lnTo>
                    <a:pt x="215713" y="198130"/>
                  </a:lnTo>
                  <a:lnTo>
                    <a:pt x="216827" y="194453"/>
                  </a:lnTo>
                  <a:lnTo>
                    <a:pt x="215798" y="192081"/>
                  </a:lnTo>
                  <a:lnTo>
                    <a:pt x="215732" y="191081"/>
                  </a:lnTo>
                  <a:lnTo>
                    <a:pt x="217294" y="189690"/>
                  </a:lnTo>
                  <a:lnTo>
                    <a:pt x="218380" y="187605"/>
                  </a:lnTo>
                  <a:lnTo>
                    <a:pt x="221028" y="185347"/>
                  </a:lnTo>
                  <a:lnTo>
                    <a:pt x="227895" y="182671"/>
                  </a:lnTo>
                  <a:lnTo>
                    <a:pt x="229505" y="182423"/>
                  </a:lnTo>
                  <a:lnTo>
                    <a:pt x="229458" y="184518"/>
                  </a:lnTo>
                  <a:lnTo>
                    <a:pt x="227162" y="189814"/>
                  </a:lnTo>
                  <a:lnTo>
                    <a:pt x="225123" y="192462"/>
                  </a:lnTo>
                  <a:lnTo>
                    <a:pt x="225666" y="194577"/>
                  </a:lnTo>
                  <a:lnTo>
                    <a:pt x="222399" y="195167"/>
                  </a:lnTo>
                  <a:lnTo>
                    <a:pt x="219104" y="199044"/>
                  </a:lnTo>
                  <a:close/>
                  <a:moveTo>
                    <a:pt x="91088" y="190472"/>
                  </a:moveTo>
                  <a:lnTo>
                    <a:pt x="90774" y="191900"/>
                  </a:lnTo>
                  <a:lnTo>
                    <a:pt x="88021" y="190919"/>
                  </a:lnTo>
                  <a:lnTo>
                    <a:pt x="87259" y="189443"/>
                  </a:lnTo>
                  <a:lnTo>
                    <a:pt x="87116" y="186166"/>
                  </a:lnTo>
                  <a:lnTo>
                    <a:pt x="87840" y="184566"/>
                  </a:lnTo>
                  <a:lnTo>
                    <a:pt x="88316" y="184061"/>
                  </a:lnTo>
                  <a:lnTo>
                    <a:pt x="89583" y="185909"/>
                  </a:lnTo>
                  <a:lnTo>
                    <a:pt x="92240" y="188605"/>
                  </a:lnTo>
                  <a:lnTo>
                    <a:pt x="91088" y="190472"/>
                  </a:lnTo>
                  <a:close/>
                  <a:moveTo>
                    <a:pt x="201282" y="214256"/>
                  </a:moveTo>
                  <a:lnTo>
                    <a:pt x="200263" y="216094"/>
                  </a:lnTo>
                  <a:lnTo>
                    <a:pt x="199225" y="214541"/>
                  </a:lnTo>
                  <a:lnTo>
                    <a:pt x="199673" y="212750"/>
                  </a:lnTo>
                  <a:lnTo>
                    <a:pt x="198473" y="209921"/>
                  </a:lnTo>
                  <a:lnTo>
                    <a:pt x="200749" y="205712"/>
                  </a:lnTo>
                  <a:lnTo>
                    <a:pt x="200797" y="203664"/>
                  </a:lnTo>
                  <a:lnTo>
                    <a:pt x="202540" y="202616"/>
                  </a:lnTo>
                  <a:lnTo>
                    <a:pt x="202112" y="206093"/>
                  </a:lnTo>
                  <a:lnTo>
                    <a:pt x="200778" y="208874"/>
                  </a:lnTo>
                  <a:lnTo>
                    <a:pt x="202159" y="211188"/>
                  </a:lnTo>
                  <a:lnTo>
                    <a:pt x="202816" y="213817"/>
                  </a:lnTo>
                  <a:lnTo>
                    <a:pt x="201282" y="214256"/>
                  </a:lnTo>
                  <a:close/>
                  <a:moveTo>
                    <a:pt x="112433" y="211960"/>
                  </a:moveTo>
                  <a:lnTo>
                    <a:pt x="114262" y="212198"/>
                  </a:lnTo>
                  <a:lnTo>
                    <a:pt x="116739" y="212160"/>
                  </a:lnTo>
                  <a:lnTo>
                    <a:pt x="117300" y="211960"/>
                  </a:lnTo>
                  <a:lnTo>
                    <a:pt x="118882" y="210045"/>
                  </a:lnTo>
                  <a:lnTo>
                    <a:pt x="120825" y="210007"/>
                  </a:lnTo>
                  <a:lnTo>
                    <a:pt x="121673" y="211893"/>
                  </a:lnTo>
                  <a:lnTo>
                    <a:pt x="119701" y="212760"/>
                  </a:lnTo>
                  <a:lnTo>
                    <a:pt x="119301" y="213255"/>
                  </a:lnTo>
                  <a:lnTo>
                    <a:pt x="119682" y="213655"/>
                  </a:lnTo>
                  <a:lnTo>
                    <a:pt x="121158" y="214446"/>
                  </a:lnTo>
                  <a:lnTo>
                    <a:pt x="123216" y="214151"/>
                  </a:lnTo>
                  <a:lnTo>
                    <a:pt x="123273" y="215637"/>
                  </a:lnTo>
                  <a:lnTo>
                    <a:pt x="123730" y="216846"/>
                  </a:lnTo>
                  <a:lnTo>
                    <a:pt x="124739" y="217570"/>
                  </a:lnTo>
                  <a:lnTo>
                    <a:pt x="125845" y="217713"/>
                  </a:lnTo>
                  <a:lnTo>
                    <a:pt x="128274" y="217504"/>
                  </a:lnTo>
                  <a:lnTo>
                    <a:pt x="130664" y="217027"/>
                  </a:lnTo>
                  <a:lnTo>
                    <a:pt x="133131" y="216075"/>
                  </a:lnTo>
                  <a:lnTo>
                    <a:pt x="135655" y="215589"/>
                  </a:lnTo>
                  <a:lnTo>
                    <a:pt x="143190" y="216075"/>
                  </a:lnTo>
                  <a:lnTo>
                    <a:pt x="145895" y="218132"/>
                  </a:lnTo>
                  <a:lnTo>
                    <a:pt x="151048" y="218380"/>
                  </a:lnTo>
                  <a:lnTo>
                    <a:pt x="155829" y="219466"/>
                  </a:lnTo>
                  <a:lnTo>
                    <a:pt x="158344" y="218751"/>
                  </a:lnTo>
                  <a:lnTo>
                    <a:pt x="162639" y="218084"/>
                  </a:lnTo>
                  <a:lnTo>
                    <a:pt x="163326" y="218808"/>
                  </a:lnTo>
                  <a:lnTo>
                    <a:pt x="162773" y="223447"/>
                  </a:lnTo>
                  <a:lnTo>
                    <a:pt x="163039" y="224800"/>
                  </a:lnTo>
                  <a:lnTo>
                    <a:pt x="164278" y="225447"/>
                  </a:lnTo>
                  <a:lnTo>
                    <a:pt x="165497" y="225133"/>
                  </a:lnTo>
                  <a:lnTo>
                    <a:pt x="167002" y="223609"/>
                  </a:lnTo>
                  <a:lnTo>
                    <a:pt x="170602" y="222437"/>
                  </a:lnTo>
                  <a:lnTo>
                    <a:pt x="174336" y="222437"/>
                  </a:lnTo>
                  <a:lnTo>
                    <a:pt x="177489" y="219351"/>
                  </a:lnTo>
                  <a:lnTo>
                    <a:pt x="178413" y="219170"/>
                  </a:lnTo>
                  <a:lnTo>
                    <a:pt x="177832" y="220685"/>
                  </a:lnTo>
                  <a:lnTo>
                    <a:pt x="177355" y="224247"/>
                  </a:lnTo>
                  <a:lnTo>
                    <a:pt x="176689" y="226333"/>
                  </a:lnTo>
                  <a:lnTo>
                    <a:pt x="176384" y="227972"/>
                  </a:lnTo>
                  <a:lnTo>
                    <a:pt x="174279" y="228819"/>
                  </a:lnTo>
                  <a:lnTo>
                    <a:pt x="171108" y="228962"/>
                  </a:lnTo>
                  <a:lnTo>
                    <a:pt x="165307" y="228600"/>
                  </a:lnTo>
                  <a:lnTo>
                    <a:pt x="159458" y="229181"/>
                  </a:lnTo>
                  <a:lnTo>
                    <a:pt x="148628" y="230743"/>
                  </a:lnTo>
                  <a:lnTo>
                    <a:pt x="137779" y="231543"/>
                  </a:lnTo>
                  <a:lnTo>
                    <a:pt x="136322" y="231019"/>
                  </a:lnTo>
                  <a:lnTo>
                    <a:pt x="136293" y="228953"/>
                  </a:lnTo>
                  <a:lnTo>
                    <a:pt x="136065" y="227524"/>
                  </a:lnTo>
                  <a:lnTo>
                    <a:pt x="135360" y="226524"/>
                  </a:lnTo>
                  <a:lnTo>
                    <a:pt x="132007" y="225666"/>
                  </a:lnTo>
                  <a:lnTo>
                    <a:pt x="128807" y="224200"/>
                  </a:lnTo>
                  <a:lnTo>
                    <a:pt x="116263" y="222199"/>
                  </a:lnTo>
                  <a:lnTo>
                    <a:pt x="113300" y="221409"/>
                  </a:lnTo>
                  <a:lnTo>
                    <a:pt x="108500" y="221818"/>
                  </a:lnTo>
                  <a:lnTo>
                    <a:pt x="106738" y="221761"/>
                  </a:lnTo>
                  <a:lnTo>
                    <a:pt x="105528" y="221047"/>
                  </a:lnTo>
                  <a:lnTo>
                    <a:pt x="104690" y="219808"/>
                  </a:lnTo>
                  <a:lnTo>
                    <a:pt x="104309" y="215875"/>
                  </a:lnTo>
                  <a:lnTo>
                    <a:pt x="104909" y="211979"/>
                  </a:lnTo>
                  <a:lnTo>
                    <a:pt x="105947" y="210950"/>
                  </a:lnTo>
                  <a:lnTo>
                    <a:pt x="106423" y="212122"/>
                  </a:lnTo>
                  <a:lnTo>
                    <a:pt x="107652" y="212665"/>
                  </a:lnTo>
                  <a:lnTo>
                    <a:pt x="108795" y="211484"/>
                  </a:lnTo>
                  <a:lnTo>
                    <a:pt x="108785" y="209693"/>
                  </a:lnTo>
                  <a:lnTo>
                    <a:pt x="109366" y="208036"/>
                  </a:lnTo>
                  <a:lnTo>
                    <a:pt x="110271" y="208731"/>
                  </a:lnTo>
                  <a:lnTo>
                    <a:pt x="110871" y="211284"/>
                  </a:lnTo>
                  <a:lnTo>
                    <a:pt x="112433" y="211960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7" name="Forme libre : forme 25">
              <a:extLst>
                <a:ext uri="{FF2B5EF4-FFF2-40B4-BE49-F238E27FC236}">
                  <a16:creationId xmlns:a16="http://schemas.microsoft.com/office/drawing/2014/main" id="{319B5B2C-9F1F-2791-FB53-D608070F6A29}"/>
                </a:ext>
              </a:extLst>
            </p:cNvPr>
            <p:cNvSpPr/>
            <p:nvPr/>
          </p:nvSpPr>
          <p:spPr>
            <a:xfrm>
              <a:off x="6167709" y="4813723"/>
              <a:ext cx="410190" cy="384438"/>
            </a:xfrm>
            <a:custGeom>
              <a:avLst/>
              <a:gdLst>
                <a:gd name="connsiteX0" fmla="*/ 80239 w 157353"/>
                <a:gd name="connsiteY0" fmla="*/ 1305 h 153238"/>
                <a:gd name="connsiteX1" fmla="*/ 81677 w 157353"/>
                <a:gd name="connsiteY1" fmla="*/ 1886 h 153238"/>
                <a:gd name="connsiteX2" fmla="*/ 86439 w 157353"/>
                <a:gd name="connsiteY2" fmla="*/ 4534 h 153238"/>
                <a:gd name="connsiteX3" fmla="*/ 89735 w 157353"/>
                <a:gd name="connsiteY3" fmla="*/ 7515 h 153238"/>
                <a:gd name="connsiteX4" fmla="*/ 91564 w 157353"/>
                <a:gd name="connsiteY4" fmla="*/ 10820 h 153238"/>
                <a:gd name="connsiteX5" fmla="*/ 94040 w 157353"/>
                <a:gd name="connsiteY5" fmla="*/ 13373 h 153238"/>
                <a:gd name="connsiteX6" fmla="*/ 97164 w 157353"/>
                <a:gd name="connsiteY6" fmla="*/ 15183 h 153238"/>
                <a:gd name="connsiteX7" fmla="*/ 99641 w 157353"/>
                <a:gd name="connsiteY7" fmla="*/ 17631 h 153238"/>
                <a:gd name="connsiteX8" fmla="*/ 101470 w 157353"/>
                <a:gd name="connsiteY8" fmla="*/ 20717 h 153238"/>
                <a:gd name="connsiteX9" fmla="*/ 104032 w 157353"/>
                <a:gd name="connsiteY9" fmla="*/ 22450 h 153238"/>
                <a:gd name="connsiteX10" fmla="*/ 107318 w 157353"/>
                <a:gd name="connsiteY10" fmla="*/ 22822 h 153238"/>
                <a:gd name="connsiteX11" fmla="*/ 109394 w 157353"/>
                <a:gd name="connsiteY11" fmla="*/ 23879 h 153238"/>
                <a:gd name="connsiteX12" fmla="*/ 110271 w 157353"/>
                <a:gd name="connsiteY12" fmla="*/ 25622 h 153238"/>
                <a:gd name="connsiteX13" fmla="*/ 112062 w 157353"/>
                <a:gd name="connsiteY13" fmla="*/ 27194 h 153238"/>
                <a:gd name="connsiteX14" fmla="*/ 114758 w 157353"/>
                <a:gd name="connsiteY14" fmla="*/ 28603 h 153238"/>
                <a:gd name="connsiteX15" fmla="*/ 118939 w 157353"/>
                <a:gd name="connsiteY15" fmla="*/ 29375 h 153238"/>
                <a:gd name="connsiteX16" fmla="*/ 126959 w 157353"/>
                <a:gd name="connsiteY16" fmla="*/ 29566 h 153238"/>
                <a:gd name="connsiteX17" fmla="*/ 127673 w 157353"/>
                <a:gd name="connsiteY17" fmla="*/ 29604 h 153238"/>
                <a:gd name="connsiteX18" fmla="*/ 129483 w 157353"/>
                <a:gd name="connsiteY18" fmla="*/ 30042 h 153238"/>
                <a:gd name="connsiteX19" fmla="*/ 131597 w 157353"/>
                <a:gd name="connsiteY19" fmla="*/ 29489 h 153238"/>
                <a:gd name="connsiteX20" fmla="*/ 134179 w 157353"/>
                <a:gd name="connsiteY20" fmla="*/ 28394 h 153238"/>
                <a:gd name="connsiteX21" fmla="*/ 135007 w 157353"/>
                <a:gd name="connsiteY21" fmla="*/ 27737 h 153238"/>
                <a:gd name="connsiteX22" fmla="*/ 137713 w 157353"/>
                <a:gd name="connsiteY22" fmla="*/ 24136 h 153238"/>
                <a:gd name="connsiteX23" fmla="*/ 139208 w 157353"/>
                <a:gd name="connsiteY23" fmla="*/ 24451 h 153238"/>
                <a:gd name="connsiteX24" fmla="*/ 142180 w 157353"/>
                <a:gd name="connsiteY24" fmla="*/ 24012 h 153238"/>
                <a:gd name="connsiteX25" fmla="*/ 143980 w 157353"/>
                <a:gd name="connsiteY25" fmla="*/ 23212 h 153238"/>
                <a:gd name="connsiteX26" fmla="*/ 144113 w 157353"/>
                <a:gd name="connsiteY26" fmla="*/ 23212 h 153238"/>
                <a:gd name="connsiteX27" fmla="*/ 143999 w 157353"/>
                <a:gd name="connsiteY27" fmla="*/ 24136 h 153238"/>
                <a:gd name="connsiteX28" fmla="*/ 143799 w 157353"/>
                <a:gd name="connsiteY28" fmla="*/ 25746 h 153238"/>
                <a:gd name="connsiteX29" fmla="*/ 142342 w 157353"/>
                <a:gd name="connsiteY29" fmla="*/ 26879 h 153238"/>
                <a:gd name="connsiteX30" fmla="*/ 143818 w 157353"/>
                <a:gd name="connsiteY30" fmla="*/ 29499 h 153238"/>
                <a:gd name="connsiteX31" fmla="*/ 145228 w 157353"/>
                <a:gd name="connsiteY31" fmla="*/ 33747 h 153238"/>
                <a:gd name="connsiteX32" fmla="*/ 144437 w 157353"/>
                <a:gd name="connsiteY32" fmla="*/ 35843 h 153238"/>
                <a:gd name="connsiteX33" fmla="*/ 145399 w 157353"/>
                <a:gd name="connsiteY33" fmla="*/ 37471 h 153238"/>
                <a:gd name="connsiteX34" fmla="*/ 148104 w 157353"/>
                <a:gd name="connsiteY34" fmla="*/ 38643 h 153238"/>
                <a:gd name="connsiteX35" fmla="*/ 148352 w 157353"/>
                <a:gd name="connsiteY35" fmla="*/ 39110 h 153238"/>
                <a:gd name="connsiteX36" fmla="*/ 147524 w 157353"/>
                <a:gd name="connsiteY36" fmla="*/ 39595 h 153238"/>
                <a:gd name="connsiteX37" fmla="*/ 146838 w 157353"/>
                <a:gd name="connsiteY37" fmla="*/ 40977 h 153238"/>
                <a:gd name="connsiteX38" fmla="*/ 146761 w 157353"/>
                <a:gd name="connsiteY38" fmla="*/ 43491 h 153238"/>
                <a:gd name="connsiteX39" fmla="*/ 149123 w 157353"/>
                <a:gd name="connsiteY39" fmla="*/ 45872 h 153238"/>
                <a:gd name="connsiteX40" fmla="*/ 153924 w 157353"/>
                <a:gd name="connsiteY40" fmla="*/ 48101 h 153238"/>
                <a:gd name="connsiteX41" fmla="*/ 155457 w 157353"/>
                <a:gd name="connsiteY41" fmla="*/ 48473 h 153238"/>
                <a:gd name="connsiteX42" fmla="*/ 156048 w 157353"/>
                <a:gd name="connsiteY42" fmla="*/ 49330 h 153238"/>
                <a:gd name="connsiteX43" fmla="*/ 156848 w 157353"/>
                <a:gd name="connsiteY43" fmla="*/ 49892 h 153238"/>
                <a:gd name="connsiteX44" fmla="*/ 157325 w 157353"/>
                <a:gd name="connsiteY44" fmla="*/ 50578 h 153238"/>
                <a:gd name="connsiteX45" fmla="*/ 157353 w 157353"/>
                <a:gd name="connsiteY45" fmla="*/ 51463 h 153238"/>
                <a:gd name="connsiteX46" fmla="*/ 157001 w 157353"/>
                <a:gd name="connsiteY46" fmla="*/ 52073 h 153238"/>
                <a:gd name="connsiteX47" fmla="*/ 154724 w 157353"/>
                <a:gd name="connsiteY47" fmla="*/ 52283 h 153238"/>
                <a:gd name="connsiteX48" fmla="*/ 152133 w 157353"/>
                <a:gd name="connsiteY48" fmla="*/ 52264 h 153238"/>
                <a:gd name="connsiteX49" fmla="*/ 150286 w 157353"/>
                <a:gd name="connsiteY49" fmla="*/ 51187 h 153238"/>
                <a:gd name="connsiteX50" fmla="*/ 150114 w 157353"/>
                <a:gd name="connsiteY50" fmla="*/ 51978 h 153238"/>
                <a:gd name="connsiteX51" fmla="*/ 150086 w 157353"/>
                <a:gd name="connsiteY51" fmla="*/ 52873 h 153238"/>
                <a:gd name="connsiteX52" fmla="*/ 148295 w 157353"/>
                <a:gd name="connsiteY52" fmla="*/ 53416 h 153238"/>
                <a:gd name="connsiteX53" fmla="*/ 149286 w 157353"/>
                <a:gd name="connsiteY53" fmla="*/ 59579 h 153238"/>
                <a:gd name="connsiteX54" fmla="*/ 148885 w 157353"/>
                <a:gd name="connsiteY54" fmla="*/ 61350 h 153238"/>
                <a:gd name="connsiteX55" fmla="*/ 148228 w 157353"/>
                <a:gd name="connsiteY55" fmla="*/ 61951 h 153238"/>
                <a:gd name="connsiteX56" fmla="*/ 147618 w 157353"/>
                <a:gd name="connsiteY56" fmla="*/ 61703 h 153238"/>
                <a:gd name="connsiteX57" fmla="*/ 146866 w 157353"/>
                <a:gd name="connsiteY57" fmla="*/ 61636 h 153238"/>
                <a:gd name="connsiteX58" fmla="*/ 146495 w 157353"/>
                <a:gd name="connsiteY58" fmla="*/ 62217 h 153238"/>
                <a:gd name="connsiteX59" fmla="*/ 146809 w 157353"/>
                <a:gd name="connsiteY59" fmla="*/ 63532 h 153238"/>
                <a:gd name="connsiteX60" fmla="*/ 145047 w 157353"/>
                <a:gd name="connsiteY60" fmla="*/ 63684 h 153238"/>
                <a:gd name="connsiteX61" fmla="*/ 142247 w 157353"/>
                <a:gd name="connsiteY61" fmla="*/ 63008 h 153238"/>
                <a:gd name="connsiteX62" fmla="*/ 140961 w 157353"/>
                <a:gd name="connsiteY62" fmla="*/ 61817 h 153238"/>
                <a:gd name="connsiteX63" fmla="*/ 140741 w 157353"/>
                <a:gd name="connsiteY63" fmla="*/ 60608 h 153238"/>
                <a:gd name="connsiteX64" fmla="*/ 140722 w 157353"/>
                <a:gd name="connsiteY64" fmla="*/ 59474 h 153238"/>
                <a:gd name="connsiteX65" fmla="*/ 139827 w 157353"/>
                <a:gd name="connsiteY65" fmla="*/ 57617 h 153238"/>
                <a:gd name="connsiteX66" fmla="*/ 137598 w 157353"/>
                <a:gd name="connsiteY66" fmla="*/ 55693 h 153238"/>
                <a:gd name="connsiteX67" fmla="*/ 132941 w 157353"/>
                <a:gd name="connsiteY67" fmla="*/ 55378 h 153238"/>
                <a:gd name="connsiteX68" fmla="*/ 131216 w 157353"/>
                <a:gd name="connsiteY68" fmla="*/ 54769 h 153238"/>
                <a:gd name="connsiteX69" fmla="*/ 129435 w 157353"/>
                <a:gd name="connsiteY69" fmla="*/ 54073 h 153238"/>
                <a:gd name="connsiteX70" fmla="*/ 127492 w 157353"/>
                <a:gd name="connsiteY70" fmla="*/ 53549 h 153238"/>
                <a:gd name="connsiteX71" fmla="*/ 125702 w 157353"/>
                <a:gd name="connsiteY71" fmla="*/ 53597 h 153238"/>
                <a:gd name="connsiteX72" fmla="*/ 123540 w 157353"/>
                <a:gd name="connsiteY72" fmla="*/ 54112 h 153238"/>
                <a:gd name="connsiteX73" fmla="*/ 119768 w 157353"/>
                <a:gd name="connsiteY73" fmla="*/ 53264 h 153238"/>
                <a:gd name="connsiteX74" fmla="*/ 118491 w 157353"/>
                <a:gd name="connsiteY74" fmla="*/ 54397 h 153238"/>
                <a:gd name="connsiteX75" fmla="*/ 116510 w 157353"/>
                <a:gd name="connsiteY75" fmla="*/ 55702 h 153238"/>
                <a:gd name="connsiteX76" fmla="*/ 114862 w 157353"/>
                <a:gd name="connsiteY76" fmla="*/ 55674 h 153238"/>
                <a:gd name="connsiteX77" fmla="*/ 111586 w 157353"/>
                <a:gd name="connsiteY77" fmla="*/ 52645 h 153238"/>
                <a:gd name="connsiteX78" fmla="*/ 110604 w 157353"/>
                <a:gd name="connsiteY78" fmla="*/ 52454 h 153238"/>
                <a:gd name="connsiteX79" fmla="*/ 107738 w 157353"/>
                <a:gd name="connsiteY79" fmla="*/ 53997 h 153238"/>
                <a:gd name="connsiteX80" fmla="*/ 106566 w 157353"/>
                <a:gd name="connsiteY80" fmla="*/ 54083 h 153238"/>
                <a:gd name="connsiteX81" fmla="*/ 105670 w 157353"/>
                <a:gd name="connsiteY81" fmla="*/ 53597 h 153238"/>
                <a:gd name="connsiteX82" fmla="*/ 101794 w 157353"/>
                <a:gd name="connsiteY82" fmla="*/ 52435 h 153238"/>
                <a:gd name="connsiteX83" fmla="*/ 100041 w 157353"/>
                <a:gd name="connsiteY83" fmla="*/ 52188 h 153238"/>
                <a:gd name="connsiteX84" fmla="*/ 98755 w 157353"/>
                <a:gd name="connsiteY84" fmla="*/ 52740 h 153238"/>
                <a:gd name="connsiteX85" fmla="*/ 96479 w 157353"/>
                <a:gd name="connsiteY85" fmla="*/ 52149 h 153238"/>
                <a:gd name="connsiteX86" fmla="*/ 90954 w 157353"/>
                <a:gd name="connsiteY86" fmla="*/ 48177 h 153238"/>
                <a:gd name="connsiteX87" fmla="*/ 87535 w 157353"/>
                <a:gd name="connsiteY87" fmla="*/ 51197 h 153238"/>
                <a:gd name="connsiteX88" fmla="*/ 80582 w 157353"/>
                <a:gd name="connsiteY88" fmla="*/ 50444 h 153238"/>
                <a:gd name="connsiteX89" fmla="*/ 78514 w 157353"/>
                <a:gd name="connsiteY89" fmla="*/ 52511 h 153238"/>
                <a:gd name="connsiteX90" fmla="*/ 76152 w 157353"/>
                <a:gd name="connsiteY90" fmla="*/ 56426 h 153238"/>
                <a:gd name="connsiteX91" fmla="*/ 74238 w 157353"/>
                <a:gd name="connsiteY91" fmla="*/ 58293 h 153238"/>
                <a:gd name="connsiteX92" fmla="*/ 72571 w 157353"/>
                <a:gd name="connsiteY92" fmla="*/ 57626 h 153238"/>
                <a:gd name="connsiteX93" fmla="*/ 70599 w 157353"/>
                <a:gd name="connsiteY93" fmla="*/ 55902 h 153238"/>
                <a:gd name="connsiteX94" fmla="*/ 67151 w 157353"/>
                <a:gd name="connsiteY94" fmla="*/ 51473 h 153238"/>
                <a:gd name="connsiteX95" fmla="*/ 65408 w 157353"/>
                <a:gd name="connsiteY95" fmla="*/ 50673 h 153238"/>
                <a:gd name="connsiteX96" fmla="*/ 63408 w 157353"/>
                <a:gd name="connsiteY96" fmla="*/ 50482 h 153238"/>
                <a:gd name="connsiteX97" fmla="*/ 61665 w 157353"/>
                <a:gd name="connsiteY97" fmla="*/ 50978 h 153238"/>
                <a:gd name="connsiteX98" fmla="*/ 60732 w 157353"/>
                <a:gd name="connsiteY98" fmla="*/ 51873 h 153238"/>
                <a:gd name="connsiteX99" fmla="*/ 60017 w 157353"/>
                <a:gd name="connsiteY99" fmla="*/ 58341 h 153238"/>
                <a:gd name="connsiteX100" fmla="*/ 59388 w 157353"/>
                <a:gd name="connsiteY100" fmla="*/ 64027 h 153238"/>
                <a:gd name="connsiteX101" fmla="*/ 59350 w 157353"/>
                <a:gd name="connsiteY101" fmla="*/ 67427 h 153238"/>
                <a:gd name="connsiteX102" fmla="*/ 63179 w 157353"/>
                <a:gd name="connsiteY102" fmla="*/ 70571 h 153238"/>
                <a:gd name="connsiteX103" fmla="*/ 67704 w 157353"/>
                <a:gd name="connsiteY103" fmla="*/ 75971 h 153238"/>
                <a:gd name="connsiteX104" fmla="*/ 69152 w 157353"/>
                <a:gd name="connsiteY104" fmla="*/ 76590 h 153238"/>
                <a:gd name="connsiteX105" fmla="*/ 69875 w 157353"/>
                <a:gd name="connsiteY105" fmla="*/ 78352 h 153238"/>
                <a:gd name="connsiteX106" fmla="*/ 70933 w 157353"/>
                <a:gd name="connsiteY106" fmla="*/ 82896 h 153238"/>
                <a:gd name="connsiteX107" fmla="*/ 72124 w 157353"/>
                <a:gd name="connsiteY107" fmla="*/ 87992 h 153238"/>
                <a:gd name="connsiteX108" fmla="*/ 74419 w 157353"/>
                <a:gd name="connsiteY108" fmla="*/ 91364 h 153238"/>
                <a:gd name="connsiteX109" fmla="*/ 76486 w 157353"/>
                <a:gd name="connsiteY109" fmla="*/ 93764 h 153238"/>
                <a:gd name="connsiteX110" fmla="*/ 79010 w 157353"/>
                <a:gd name="connsiteY110" fmla="*/ 95878 h 153238"/>
                <a:gd name="connsiteX111" fmla="*/ 82182 w 157353"/>
                <a:gd name="connsiteY111" fmla="*/ 99184 h 153238"/>
                <a:gd name="connsiteX112" fmla="*/ 84773 w 157353"/>
                <a:gd name="connsiteY112" fmla="*/ 102813 h 153238"/>
                <a:gd name="connsiteX113" fmla="*/ 85458 w 157353"/>
                <a:gd name="connsiteY113" fmla="*/ 104146 h 153238"/>
                <a:gd name="connsiteX114" fmla="*/ 90497 w 157353"/>
                <a:gd name="connsiteY114" fmla="*/ 108928 h 153238"/>
                <a:gd name="connsiteX115" fmla="*/ 95384 w 157353"/>
                <a:gd name="connsiteY115" fmla="*/ 113795 h 153238"/>
                <a:gd name="connsiteX116" fmla="*/ 99746 w 157353"/>
                <a:gd name="connsiteY116" fmla="*/ 115500 h 153238"/>
                <a:gd name="connsiteX117" fmla="*/ 100432 w 157353"/>
                <a:gd name="connsiteY117" fmla="*/ 116396 h 153238"/>
                <a:gd name="connsiteX118" fmla="*/ 100470 w 157353"/>
                <a:gd name="connsiteY118" fmla="*/ 120129 h 153238"/>
                <a:gd name="connsiteX119" fmla="*/ 100946 w 157353"/>
                <a:gd name="connsiteY119" fmla="*/ 121530 h 153238"/>
                <a:gd name="connsiteX120" fmla="*/ 103861 w 157353"/>
                <a:gd name="connsiteY120" fmla="*/ 125435 h 153238"/>
                <a:gd name="connsiteX121" fmla="*/ 109814 w 157353"/>
                <a:gd name="connsiteY121" fmla="*/ 131140 h 153238"/>
                <a:gd name="connsiteX122" fmla="*/ 110500 w 157353"/>
                <a:gd name="connsiteY122" fmla="*/ 132455 h 153238"/>
                <a:gd name="connsiteX123" fmla="*/ 110700 w 157353"/>
                <a:gd name="connsiteY123" fmla="*/ 133426 h 153238"/>
                <a:gd name="connsiteX124" fmla="*/ 110319 w 157353"/>
                <a:gd name="connsiteY124" fmla="*/ 134169 h 153238"/>
                <a:gd name="connsiteX125" fmla="*/ 108757 w 157353"/>
                <a:gd name="connsiteY125" fmla="*/ 134950 h 153238"/>
                <a:gd name="connsiteX126" fmla="*/ 107480 w 157353"/>
                <a:gd name="connsiteY126" fmla="*/ 134083 h 153238"/>
                <a:gd name="connsiteX127" fmla="*/ 101937 w 157353"/>
                <a:gd name="connsiteY127" fmla="*/ 128521 h 153238"/>
                <a:gd name="connsiteX128" fmla="*/ 96574 w 157353"/>
                <a:gd name="connsiteY128" fmla="*/ 125006 h 153238"/>
                <a:gd name="connsiteX129" fmla="*/ 90526 w 157353"/>
                <a:gd name="connsiteY129" fmla="*/ 118376 h 153238"/>
                <a:gd name="connsiteX130" fmla="*/ 82429 w 157353"/>
                <a:gd name="connsiteY130" fmla="*/ 115748 h 153238"/>
                <a:gd name="connsiteX131" fmla="*/ 76914 w 157353"/>
                <a:gd name="connsiteY131" fmla="*/ 112833 h 153238"/>
                <a:gd name="connsiteX132" fmla="*/ 73571 w 157353"/>
                <a:gd name="connsiteY132" fmla="*/ 113271 h 153238"/>
                <a:gd name="connsiteX133" fmla="*/ 69885 w 157353"/>
                <a:gd name="connsiteY133" fmla="*/ 114186 h 153238"/>
                <a:gd name="connsiteX134" fmla="*/ 67609 w 157353"/>
                <a:gd name="connsiteY134" fmla="*/ 114214 h 153238"/>
                <a:gd name="connsiteX135" fmla="*/ 65990 w 157353"/>
                <a:gd name="connsiteY135" fmla="*/ 113690 h 153238"/>
                <a:gd name="connsiteX136" fmla="*/ 64846 w 157353"/>
                <a:gd name="connsiteY136" fmla="*/ 111881 h 153238"/>
                <a:gd name="connsiteX137" fmla="*/ 65018 w 157353"/>
                <a:gd name="connsiteY137" fmla="*/ 110480 h 153238"/>
                <a:gd name="connsiteX138" fmla="*/ 64818 w 157353"/>
                <a:gd name="connsiteY138" fmla="*/ 108661 h 153238"/>
                <a:gd name="connsiteX139" fmla="*/ 61589 w 157353"/>
                <a:gd name="connsiteY139" fmla="*/ 105737 h 153238"/>
                <a:gd name="connsiteX140" fmla="*/ 57178 w 157353"/>
                <a:gd name="connsiteY140" fmla="*/ 102956 h 153238"/>
                <a:gd name="connsiteX141" fmla="*/ 53007 w 157353"/>
                <a:gd name="connsiteY141" fmla="*/ 99355 h 153238"/>
                <a:gd name="connsiteX142" fmla="*/ 44625 w 157353"/>
                <a:gd name="connsiteY142" fmla="*/ 89602 h 153238"/>
                <a:gd name="connsiteX143" fmla="*/ 42939 w 157353"/>
                <a:gd name="connsiteY143" fmla="*/ 86449 h 153238"/>
                <a:gd name="connsiteX144" fmla="*/ 44587 w 157353"/>
                <a:gd name="connsiteY144" fmla="*/ 85849 h 153238"/>
                <a:gd name="connsiteX145" fmla="*/ 45834 w 157353"/>
                <a:gd name="connsiteY145" fmla="*/ 85906 h 153238"/>
                <a:gd name="connsiteX146" fmla="*/ 47244 w 157353"/>
                <a:gd name="connsiteY146" fmla="*/ 85258 h 153238"/>
                <a:gd name="connsiteX147" fmla="*/ 49530 w 157353"/>
                <a:gd name="connsiteY147" fmla="*/ 85249 h 153238"/>
                <a:gd name="connsiteX148" fmla="*/ 52235 w 157353"/>
                <a:gd name="connsiteY148" fmla="*/ 85887 h 153238"/>
                <a:gd name="connsiteX149" fmla="*/ 49845 w 157353"/>
                <a:gd name="connsiteY149" fmla="*/ 83791 h 153238"/>
                <a:gd name="connsiteX150" fmla="*/ 46863 w 157353"/>
                <a:gd name="connsiteY150" fmla="*/ 81734 h 153238"/>
                <a:gd name="connsiteX151" fmla="*/ 39148 w 157353"/>
                <a:gd name="connsiteY151" fmla="*/ 73543 h 153238"/>
                <a:gd name="connsiteX152" fmla="*/ 36843 w 157353"/>
                <a:gd name="connsiteY152" fmla="*/ 69656 h 153238"/>
                <a:gd name="connsiteX153" fmla="*/ 36576 w 157353"/>
                <a:gd name="connsiteY153" fmla="*/ 65465 h 153238"/>
                <a:gd name="connsiteX154" fmla="*/ 37148 w 157353"/>
                <a:gd name="connsiteY154" fmla="*/ 59712 h 153238"/>
                <a:gd name="connsiteX155" fmla="*/ 35757 w 157353"/>
                <a:gd name="connsiteY155" fmla="*/ 55578 h 153238"/>
                <a:gd name="connsiteX156" fmla="*/ 29804 w 157353"/>
                <a:gd name="connsiteY156" fmla="*/ 50216 h 153238"/>
                <a:gd name="connsiteX157" fmla="*/ 27623 w 157353"/>
                <a:gd name="connsiteY157" fmla="*/ 47387 h 153238"/>
                <a:gd name="connsiteX158" fmla="*/ 23232 w 157353"/>
                <a:gd name="connsiteY158" fmla="*/ 45701 h 153238"/>
                <a:gd name="connsiteX159" fmla="*/ 21260 w 157353"/>
                <a:gd name="connsiteY159" fmla="*/ 45863 h 153238"/>
                <a:gd name="connsiteX160" fmla="*/ 20079 w 157353"/>
                <a:gd name="connsiteY160" fmla="*/ 47958 h 153238"/>
                <a:gd name="connsiteX161" fmla="*/ 19222 w 157353"/>
                <a:gd name="connsiteY161" fmla="*/ 52606 h 153238"/>
                <a:gd name="connsiteX162" fmla="*/ 15326 w 157353"/>
                <a:gd name="connsiteY162" fmla="*/ 58721 h 153238"/>
                <a:gd name="connsiteX163" fmla="*/ 14031 w 157353"/>
                <a:gd name="connsiteY163" fmla="*/ 61370 h 153238"/>
                <a:gd name="connsiteX164" fmla="*/ 11992 w 157353"/>
                <a:gd name="connsiteY164" fmla="*/ 64808 h 153238"/>
                <a:gd name="connsiteX165" fmla="*/ 10220 w 157353"/>
                <a:gd name="connsiteY165" fmla="*/ 65046 h 153238"/>
                <a:gd name="connsiteX166" fmla="*/ 9182 w 157353"/>
                <a:gd name="connsiteY166" fmla="*/ 64741 h 153238"/>
                <a:gd name="connsiteX167" fmla="*/ 6020 w 157353"/>
                <a:gd name="connsiteY167" fmla="*/ 58950 h 153238"/>
                <a:gd name="connsiteX168" fmla="*/ 3000 w 157353"/>
                <a:gd name="connsiteY168" fmla="*/ 54550 h 153238"/>
                <a:gd name="connsiteX169" fmla="*/ 2581 w 157353"/>
                <a:gd name="connsiteY169" fmla="*/ 52464 h 153238"/>
                <a:gd name="connsiteX170" fmla="*/ 2305 w 157353"/>
                <a:gd name="connsiteY170" fmla="*/ 49892 h 153238"/>
                <a:gd name="connsiteX171" fmla="*/ 0 w 157353"/>
                <a:gd name="connsiteY171" fmla="*/ 40396 h 153238"/>
                <a:gd name="connsiteX172" fmla="*/ 1619 w 157353"/>
                <a:gd name="connsiteY172" fmla="*/ 39062 h 153238"/>
                <a:gd name="connsiteX173" fmla="*/ 2620 w 157353"/>
                <a:gd name="connsiteY173" fmla="*/ 40586 h 153238"/>
                <a:gd name="connsiteX174" fmla="*/ 9659 w 157353"/>
                <a:gd name="connsiteY174" fmla="*/ 42424 h 153238"/>
                <a:gd name="connsiteX175" fmla="*/ 11182 w 157353"/>
                <a:gd name="connsiteY175" fmla="*/ 41615 h 153238"/>
                <a:gd name="connsiteX176" fmla="*/ 12106 w 157353"/>
                <a:gd name="connsiteY176" fmla="*/ 40367 h 153238"/>
                <a:gd name="connsiteX177" fmla="*/ 12106 w 157353"/>
                <a:gd name="connsiteY177" fmla="*/ 39576 h 153238"/>
                <a:gd name="connsiteX178" fmla="*/ 12706 w 157353"/>
                <a:gd name="connsiteY178" fmla="*/ 39348 h 153238"/>
                <a:gd name="connsiteX179" fmla="*/ 15183 w 157353"/>
                <a:gd name="connsiteY179" fmla="*/ 40548 h 153238"/>
                <a:gd name="connsiteX180" fmla="*/ 17202 w 157353"/>
                <a:gd name="connsiteY180" fmla="*/ 40272 h 153238"/>
                <a:gd name="connsiteX181" fmla="*/ 20460 w 157353"/>
                <a:gd name="connsiteY181" fmla="*/ 40214 h 153238"/>
                <a:gd name="connsiteX182" fmla="*/ 22784 w 157353"/>
                <a:gd name="connsiteY182" fmla="*/ 40414 h 153238"/>
                <a:gd name="connsiteX183" fmla="*/ 24327 w 157353"/>
                <a:gd name="connsiteY183" fmla="*/ 39491 h 153238"/>
                <a:gd name="connsiteX184" fmla="*/ 26404 w 157353"/>
                <a:gd name="connsiteY184" fmla="*/ 36090 h 153238"/>
                <a:gd name="connsiteX185" fmla="*/ 27175 w 157353"/>
                <a:gd name="connsiteY185" fmla="*/ 34185 h 153238"/>
                <a:gd name="connsiteX186" fmla="*/ 28108 w 157353"/>
                <a:gd name="connsiteY186" fmla="*/ 33728 h 153238"/>
                <a:gd name="connsiteX187" fmla="*/ 28718 w 157353"/>
                <a:gd name="connsiteY187" fmla="*/ 33957 h 153238"/>
                <a:gd name="connsiteX188" fmla="*/ 29166 w 157353"/>
                <a:gd name="connsiteY188" fmla="*/ 35528 h 153238"/>
                <a:gd name="connsiteX189" fmla="*/ 30261 w 157353"/>
                <a:gd name="connsiteY189" fmla="*/ 36995 h 153238"/>
                <a:gd name="connsiteX190" fmla="*/ 32509 w 157353"/>
                <a:gd name="connsiteY190" fmla="*/ 39386 h 153238"/>
                <a:gd name="connsiteX191" fmla="*/ 34100 w 157353"/>
                <a:gd name="connsiteY191" fmla="*/ 40538 h 153238"/>
                <a:gd name="connsiteX192" fmla="*/ 35538 w 157353"/>
                <a:gd name="connsiteY192" fmla="*/ 40948 h 153238"/>
                <a:gd name="connsiteX193" fmla="*/ 36948 w 157353"/>
                <a:gd name="connsiteY193" fmla="*/ 39986 h 153238"/>
                <a:gd name="connsiteX194" fmla="*/ 38405 w 157353"/>
                <a:gd name="connsiteY194" fmla="*/ 39710 h 153238"/>
                <a:gd name="connsiteX195" fmla="*/ 42577 w 157353"/>
                <a:gd name="connsiteY195" fmla="*/ 41577 h 153238"/>
                <a:gd name="connsiteX196" fmla="*/ 46101 w 157353"/>
                <a:gd name="connsiteY196" fmla="*/ 41929 h 153238"/>
                <a:gd name="connsiteX197" fmla="*/ 48702 w 157353"/>
                <a:gd name="connsiteY197" fmla="*/ 40957 h 153238"/>
                <a:gd name="connsiteX198" fmla="*/ 48359 w 157353"/>
                <a:gd name="connsiteY198" fmla="*/ 39614 h 153238"/>
                <a:gd name="connsiteX199" fmla="*/ 47406 w 157353"/>
                <a:gd name="connsiteY199" fmla="*/ 38119 h 153238"/>
                <a:gd name="connsiteX200" fmla="*/ 47206 w 157353"/>
                <a:gd name="connsiteY200" fmla="*/ 36671 h 153238"/>
                <a:gd name="connsiteX201" fmla="*/ 47377 w 157353"/>
                <a:gd name="connsiteY201" fmla="*/ 35414 h 153238"/>
                <a:gd name="connsiteX202" fmla="*/ 49168 w 157353"/>
                <a:gd name="connsiteY202" fmla="*/ 34166 h 153238"/>
                <a:gd name="connsiteX203" fmla="*/ 49082 w 157353"/>
                <a:gd name="connsiteY203" fmla="*/ 33614 h 153238"/>
                <a:gd name="connsiteX204" fmla="*/ 46920 w 157353"/>
                <a:gd name="connsiteY204" fmla="*/ 31413 h 153238"/>
                <a:gd name="connsiteX205" fmla="*/ 47025 w 157353"/>
                <a:gd name="connsiteY205" fmla="*/ 30842 h 153238"/>
                <a:gd name="connsiteX206" fmla="*/ 51759 w 157353"/>
                <a:gd name="connsiteY206" fmla="*/ 28356 h 153238"/>
                <a:gd name="connsiteX207" fmla="*/ 56322 w 157353"/>
                <a:gd name="connsiteY207" fmla="*/ 26965 h 153238"/>
                <a:gd name="connsiteX208" fmla="*/ 57055 w 157353"/>
                <a:gd name="connsiteY208" fmla="*/ 25889 h 153238"/>
                <a:gd name="connsiteX209" fmla="*/ 57474 w 157353"/>
                <a:gd name="connsiteY209" fmla="*/ 24270 h 153238"/>
                <a:gd name="connsiteX210" fmla="*/ 57674 w 157353"/>
                <a:gd name="connsiteY210" fmla="*/ 21231 h 153238"/>
                <a:gd name="connsiteX211" fmla="*/ 57426 w 157353"/>
                <a:gd name="connsiteY211" fmla="*/ 18745 h 153238"/>
                <a:gd name="connsiteX212" fmla="*/ 55579 w 157353"/>
                <a:gd name="connsiteY212" fmla="*/ 16411 h 153238"/>
                <a:gd name="connsiteX213" fmla="*/ 55464 w 157353"/>
                <a:gd name="connsiteY213" fmla="*/ 15230 h 153238"/>
                <a:gd name="connsiteX214" fmla="*/ 55902 w 157353"/>
                <a:gd name="connsiteY214" fmla="*/ 14002 h 153238"/>
                <a:gd name="connsiteX215" fmla="*/ 56626 w 157353"/>
                <a:gd name="connsiteY215" fmla="*/ 12887 h 153238"/>
                <a:gd name="connsiteX216" fmla="*/ 58455 w 157353"/>
                <a:gd name="connsiteY216" fmla="*/ 12411 h 153238"/>
                <a:gd name="connsiteX217" fmla="*/ 60598 w 157353"/>
                <a:gd name="connsiteY217" fmla="*/ 11611 h 153238"/>
                <a:gd name="connsiteX218" fmla="*/ 62294 w 157353"/>
                <a:gd name="connsiteY218" fmla="*/ 10687 h 153238"/>
                <a:gd name="connsiteX219" fmla="*/ 64580 w 157353"/>
                <a:gd name="connsiteY219" fmla="*/ 9925 h 153238"/>
                <a:gd name="connsiteX220" fmla="*/ 66380 w 157353"/>
                <a:gd name="connsiteY220" fmla="*/ 8858 h 153238"/>
                <a:gd name="connsiteX221" fmla="*/ 68142 w 157353"/>
                <a:gd name="connsiteY221" fmla="*/ 6315 h 153238"/>
                <a:gd name="connsiteX222" fmla="*/ 69209 w 157353"/>
                <a:gd name="connsiteY222" fmla="*/ 5896 h 153238"/>
                <a:gd name="connsiteX223" fmla="*/ 72437 w 157353"/>
                <a:gd name="connsiteY223" fmla="*/ 6258 h 153238"/>
                <a:gd name="connsiteX224" fmla="*/ 73133 w 157353"/>
                <a:gd name="connsiteY224" fmla="*/ 5629 h 153238"/>
                <a:gd name="connsiteX225" fmla="*/ 72685 w 157353"/>
                <a:gd name="connsiteY225" fmla="*/ 1972 h 153238"/>
                <a:gd name="connsiteX226" fmla="*/ 73266 w 157353"/>
                <a:gd name="connsiteY226" fmla="*/ 1038 h 153238"/>
                <a:gd name="connsiteX227" fmla="*/ 74409 w 157353"/>
                <a:gd name="connsiteY227" fmla="*/ 514 h 153238"/>
                <a:gd name="connsiteX228" fmla="*/ 74943 w 157353"/>
                <a:gd name="connsiteY228" fmla="*/ 0 h 153238"/>
                <a:gd name="connsiteX229" fmla="*/ 77791 w 157353"/>
                <a:gd name="connsiteY229" fmla="*/ 400 h 153238"/>
                <a:gd name="connsiteX230" fmla="*/ 80239 w 157353"/>
                <a:gd name="connsiteY230" fmla="*/ 1305 h 153238"/>
                <a:gd name="connsiteX231" fmla="*/ 34643 w 157353"/>
                <a:gd name="connsiteY231" fmla="*/ 59446 h 153238"/>
                <a:gd name="connsiteX232" fmla="*/ 31347 w 157353"/>
                <a:gd name="connsiteY232" fmla="*/ 60255 h 153238"/>
                <a:gd name="connsiteX233" fmla="*/ 29776 w 157353"/>
                <a:gd name="connsiteY233" fmla="*/ 58807 h 153238"/>
                <a:gd name="connsiteX234" fmla="*/ 29366 w 157353"/>
                <a:gd name="connsiteY234" fmla="*/ 57617 h 153238"/>
                <a:gd name="connsiteX235" fmla="*/ 26651 w 157353"/>
                <a:gd name="connsiteY235" fmla="*/ 57236 h 153238"/>
                <a:gd name="connsiteX236" fmla="*/ 25013 w 157353"/>
                <a:gd name="connsiteY236" fmla="*/ 55588 h 153238"/>
                <a:gd name="connsiteX237" fmla="*/ 24679 w 157353"/>
                <a:gd name="connsiteY237" fmla="*/ 54855 h 153238"/>
                <a:gd name="connsiteX238" fmla="*/ 27004 w 157353"/>
                <a:gd name="connsiteY238" fmla="*/ 53035 h 153238"/>
                <a:gd name="connsiteX239" fmla="*/ 28242 w 157353"/>
                <a:gd name="connsiteY239" fmla="*/ 50092 h 153238"/>
                <a:gd name="connsiteX240" fmla="*/ 29813 w 157353"/>
                <a:gd name="connsiteY240" fmla="*/ 51864 h 153238"/>
                <a:gd name="connsiteX241" fmla="*/ 31718 w 157353"/>
                <a:gd name="connsiteY241" fmla="*/ 55188 h 153238"/>
                <a:gd name="connsiteX242" fmla="*/ 32738 w 157353"/>
                <a:gd name="connsiteY242" fmla="*/ 56112 h 153238"/>
                <a:gd name="connsiteX243" fmla="*/ 34643 w 157353"/>
                <a:gd name="connsiteY243" fmla="*/ 59446 h 153238"/>
                <a:gd name="connsiteX244" fmla="*/ 26022 w 157353"/>
                <a:gd name="connsiteY244" fmla="*/ 71352 h 153238"/>
                <a:gd name="connsiteX245" fmla="*/ 25813 w 157353"/>
                <a:gd name="connsiteY245" fmla="*/ 72800 h 153238"/>
                <a:gd name="connsiteX246" fmla="*/ 24194 w 157353"/>
                <a:gd name="connsiteY246" fmla="*/ 70961 h 153238"/>
                <a:gd name="connsiteX247" fmla="*/ 23374 w 157353"/>
                <a:gd name="connsiteY247" fmla="*/ 67666 h 153238"/>
                <a:gd name="connsiteX248" fmla="*/ 21327 w 157353"/>
                <a:gd name="connsiteY248" fmla="*/ 62322 h 153238"/>
                <a:gd name="connsiteX249" fmla="*/ 21060 w 157353"/>
                <a:gd name="connsiteY249" fmla="*/ 60817 h 153238"/>
                <a:gd name="connsiteX250" fmla="*/ 22117 w 157353"/>
                <a:gd name="connsiteY250" fmla="*/ 59331 h 153238"/>
                <a:gd name="connsiteX251" fmla="*/ 22060 w 157353"/>
                <a:gd name="connsiteY251" fmla="*/ 57817 h 153238"/>
                <a:gd name="connsiteX252" fmla="*/ 20612 w 157353"/>
                <a:gd name="connsiteY252" fmla="*/ 53111 h 153238"/>
                <a:gd name="connsiteX253" fmla="*/ 21822 w 157353"/>
                <a:gd name="connsiteY253" fmla="*/ 52340 h 153238"/>
                <a:gd name="connsiteX254" fmla="*/ 22546 w 157353"/>
                <a:gd name="connsiteY254" fmla="*/ 52244 h 153238"/>
                <a:gd name="connsiteX255" fmla="*/ 22841 w 157353"/>
                <a:gd name="connsiteY255" fmla="*/ 55512 h 153238"/>
                <a:gd name="connsiteX256" fmla="*/ 23498 w 157353"/>
                <a:gd name="connsiteY256" fmla="*/ 57388 h 153238"/>
                <a:gd name="connsiteX257" fmla="*/ 25470 w 157353"/>
                <a:gd name="connsiteY257" fmla="*/ 59693 h 153238"/>
                <a:gd name="connsiteX258" fmla="*/ 25070 w 157353"/>
                <a:gd name="connsiteY258" fmla="*/ 63494 h 153238"/>
                <a:gd name="connsiteX259" fmla="*/ 25470 w 157353"/>
                <a:gd name="connsiteY259" fmla="*/ 68894 h 153238"/>
                <a:gd name="connsiteX260" fmla="*/ 25870 w 157353"/>
                <a:gd name="connsiteY260" fmla="*/ 70094 h 153238"/>
                <a:gd name="connsiteX261" fmla="*/ 26022 w 157353"/>
                <a:gd name="connsiteY261" fmla="*/ 71352 h 153238"/>
                <a:gd name="connsiteX262" fmla="*/ 35204 w 157353"/>
                <a:gd name="connsiteY262" fmla="*/ 67646 h 153238"/>
                <a:gd name="connsiteX263" fmla="*/ 35881 w 157353"/>
                <a:gd name="connsiteY263" fmla="*/ 69304 h 153238"/>
                <a:gd name="connsiteX264" fmla="*/ 33366 w 157353"/>
                <a:gd name="connsiteY264" fmla="*/ 67808 h 153238"/>
                <a:gd name="connsiteX265" fmla="*/ 31109 w 157353"/>
                <a:gd name="connsiteY265" fmla="*/ 67237 h 153238"/>
                <a:gd name="connsiteX266" fmla="*/ 30632 w 157353"/>
                <a:gd name="connsiteY266" fmla="*/ 66113 h 153238"/>
                <a:gd name="connsiteX267" fmla="*/ 30956 w 157353"/>
                <a:gd name="connsiteY267" fmla="*/ 65189 h 153238"/>
                <a:gd name="connsiteX268" fmla="*/ 31442 w 157353"/>
                <a:gd name="connsiteY268" fmla="*/ 64294 h 153238"/>
                <a:gd name="connsiteX269" fmla="*/ 33147 w 157353"/>
                <a:gd name="connsiteY269" fmla="*/ 64418 h 153238"/>
                <a:gd name="connsiteX270" fmla="*/ 33404 w 157353"/>
                <a:gd name="connsiteY270" fmla="*/ 65294 h 153238"/>
                <a:gd name="connsiteX271" fmla="*/ 35204 w 157353"/>
                <a:gd name="connsiteY271" fmla="*/ 67646 h 153238"/>
                <a:gd name="connsiteX272" fmla="*/ 44748 w 157353"/>
                <a:gd name="connsiteY272" fmla="*/ 83468 h 153238"/>
                <a:gd name="connsiteX273" fmla="*/ 44063 w 157353"/>
                <a:gd name="connsiteY273" fmla="*/ 84458 h 153238"/>
                <a:gd name="connsiteX274" fmla="*/ 42329 w 157353"/>
                <a:gd name="connsiteY274" fmla="*/ 82639 h 153238"/>
                <a:gd name="connsiteX275" fmla="*/ 40739 w 157353"/>
                <a:gd name="connsiteY275" fmla="*/ 81343 h 153238"/>
                <a:gd name="connsiteX276" fmla="*/ 39605 w 157353"/>
                <a:gd name="connsiteY276" fmla="*/ 79800 h 153238"/>
                <a:gd name="connsiteX277" fmla="*/ 37376 w 157353"/>
                <a:gd name="connsiteY277" fmla="*/ 77876 h 153238"/>
                <a:gd name="connsiteX278" fmla="*/ 36624 w 157353"/>
                <a:gd name="connsiteY278" fmla="*/ 75676 h 153238"/>
                <a:gd name="connsiteX279" fmla="*/ 33300 w 157353"/>
                <a:gd name="connsiteY279" fmla="*/ 71180 h 153238"/>
                <a:gd name="connsiteX280" fmla="*/ 32804 w 157353"/>
                <a:gd name="connsiteY280" fmla="*/ 69961 h 153238"/>
                <a:gd name="connsiteX281" fmla="*/ 34461 w 157353"/>
                <a:gd name="connsiteY281" fmla="*/ 71780 h 153238"/>
                <a:gd name="connsiteX282" fmla="*/ 35843 w 157353"/>
                <a:gd name="connsiteY282" fmla="*/ 72923 h 153238"/>
                <a:gd name="connsiteX283" fmla="*/ 36986 w 157353"/>
                <a:gd name="connsiteY283" fmla="*/ 73200 h 153238"/>
                <a:gd name="connsiteX284" fmla="*/ 39881 w 157353"/>
                <a:gd name="connsiteY284" fmla="*/ 76067 h 153238"/>
                <a:gd name="connsiteX285" fmla="*/ 42729 w 157353"/>
                <a:gd name="connsiteY285" fmla="*/ 79743 h 153238"/>
                <a:gd name="connsiteX286" fmla="*/ 46120 w 157353"/>
                <a:gd name="connsiteY286" fmla="*/ 82934 h 153238"/>
                <a:gd name="connsiteX287" fmla="*/ 45415 w 157353"/>
                <a:gd name="connsiteY287" fmla="*/ 83029 h 153238"/>
                <a:gd name="connsiteX288" fmla="*/ 44748 w 157353"/>
                <a:gd name="connsiteY288" fmla="*/ 83468 h 153238"/>
                <a:gd name="connsiteX289" fmla="*/ 44758 w 157353"/>
                <a:gd name="connsiteY289" fmla="*/ 98812 h 153238"/>
                <a:gd name="connsiteX290" fmla="*/ 45139 w 157353"/>
                <a:gd name="connsiteY290" fmla="*/ 99355 h 153238"/>
                <a:gd name="connsiteX291" fmla="*/ 45101 w 157353"/>
                <a:gd name="connsiteY291" fmla="*/ 99727 h 153238"/>
                <a:gd name="connsiteX292" fmla="*/ 43710 w 157353"/>
                <a:gd name="connsiteY292" fmla="*/ 99203 h 153238"/>
                <a:gd name="connsiteX293" fmla="*/ 43339 w 157353"/>
                <a:gd name="connsiteY293" fmla="*/ 99374 h 153238"/>
                <a:gd name="connsiteX294" fmla="*/ 36795 w 157353"/>
                <a:gd name="connsiteY294" fmla="*/ 91287 h 153238"/>
                <a:gd name="connsiteX295" fmla="*/ 36090 w 157353"/>
                <a:gd name="connsiteY295" fmla="*/ 89706 h 153238"/>
                <a:gd name="connsiteX296" fmla="*/ 38434 w 157353"/>
                <a:gd name="connsiteY296" fmla="*/ 91592 h 153238"/>
                <a:gd name="connsiteX297" fmla="*/ 44758 w 157353"/>
                <a:gd name="connsiteY297" fmla="*/ 98812 h 153238"/>
                <a:gd name="connsiteX298" fmla="*/ 45882 w 157353"/>
                <a:gd name="connsiteY298" fmla="*/ 93631 h 153238"/>
                <a:gd name="connsiteX299" fmla="*/ 46301 w 157353"/>
                <a:gd name="connsiteY299" fmla="*/ 94935 h 153238"/>
                <a:gd name="connsiteX300" fmla="*/ 42967 w 157353"/>
                <a:gd name="connsiteY300" fmla="*/ 92478 h 153238"/>
                <a:gd name="connsiteX301" fmla="*/ 41700 w 157353"/>
                <a:gd name="connsiteY301" fmla="*/ 90830 h 153238"/>
                <a:gd name="connsiteX302" fmla="*/ 41472 w 157353"/>
                <a:gd name="connsiteY302" fmla="*/ 90088 h 153238"/>
                <a:gd name="connsiteX303" fmla="*/ 45882 w 157353"/>
                <a:gd name="connsiteY303" fmla="*/ 93631 h 153238"/>
                <a:gd name="connsiteX304" fmla="*/ 49635 w 157353"/>
                <a:gd name="connsiteY304" fmla="*/ 96907 h 153238"/>
                <a:gd name="connsiteX305" fmla="*/ 51397 w 157353"/>
                <a:gd name="connsiteY305" fmla="*/ 99660 h 153238"/>
                <a:gd name="connsiteX306" fmla="*/ 49711 w 157353"/>
                <a:gd name="connsiteY306" fmla="*/ 99088 h 153238"/>
                <a:gd name="connsiteX307" fmla="*/ 47959 w 157353"/>
                <a:gd name="connsiteY307" fmla="*/ 97393 h 153238"/>
                <a:gd name="connsiteX308" fmla="*/ 46930 w 157353"/>
                <a:gd name="connsiteY308" fmla="*/ 95545 h 153238"/>
                <a:gd name="connsiteX309" fmla="*/ 49635 w 157353"/>
                <a:gd name="connsiteY309" fmla="*/ 96907 h 153238"/>
                <a:gd name="connsiteX310" fmla="*/ 87430 w 157353"/>
                <a:gd name="connsiteY310" fmla="*/ 122777 h 153238"/>
                <a:gd name="connsiteX311" fmla="*/ 83211 w 157353"/>
                <a:gd name="connsiteY311" fmla="*/ 122872 h 153238"/>
                <a:gd name="connsiteX312" fmla="*/ 79543 w 157353"/>
                <a:gd name="connsiteY312" fmla="*/ 122206 h 153238"/>
                <a:gd name="connsiteX313" fmla="*/ 77753 w 157353"/>
                <a:gd name="connsiteY313" fmla="*/ 121072 h 153238"/>
                <a:gd name="connsiteX314" fmla="*/ 77886 w 157353"/>
                <a:gd name="connsiteY314" fmla="*/ 120110 h 153238"/>
                <a:gd name="connsiteX315" fmla="*/ 78438 w 157353"/>
                <a:gd name="connsiteY315" fmla="*/ 118510 h 153238"/>
                <a:gd name="connsiteX316" fmla="*/ 82525 w 157353"/>
                <a:gd name="connsiteY316" fmla="*/ 118701 h 153238"/>
                <a:gd name="connsiteX317" fmla="*/ 88745 w 157353"/>
                <a:gd name="connsiteY317" fmla="*/ 119834 h 153238"/>
                <a:gd name="connsiteX318" fmla="*/ 90268 w 157353"/>
                <a:gd name="connsiteY318" fmla="*/ 121158 h 153238"/>
                <a:gd name="connsiteX319" fmla="*/ 89792 w 157353"/>
                <a:gd name="connsiteY319" fmla="*/ 121768 h 153238"/>
                <a:gd name="connsiteX320" fmla="*/ 87430 w 157353"/>
                <a:gd name="connsiteY320" fmla="*/ 122777 h 153238"/>
                <a:gd name="connsiteX321" fmla="*/ 98355 w 157353"/>
                <a:gd name="connsiteY321" fmla="*/ 128073 h 153238"/>
                <a:gd name="connsiteX322" fmla="*/ 96488 w 157353"/>
                <a:gd name="connsiteY322" fmla="*/ 128454 h 153238"/>
                <a:gd name="connsiteX323" fmla="*/ 84591 w 157353"/>
                <a:gd name="connsiteY323" fmla="*/ 128168 h 153238"/>
                <a:gd name="connsiteX324" fmla="*/ 81134 w 157353"/>
                <a:gd name="connsiteY324" fmla="*/ 127406 h 153238"/>
                <a:gd name="connsiteX325" fmla="*/ 77286 w 157353"/>
                <a:gd name="connsiteY325" fmla="*/ 125454 h 153238"/>
                <a:gd name="connsiteX326" fmla="*/ 76505 w 157353"/>
                <a:gd name="connsiteY326" fmla="*/ 124854 h 153238"/>
                <a:gd name="connsiteX327" fmla="*/ 80372 w 157353"/>
                <a:gd name="connsiteY327" fmla="*/ 124282 h 153238"/>
                <a:gd name="connsiteX328" fmla="*/ 83972 w 157353"/>
                <a:gd name="connsiteY328" fmla="*/ 124854 h 153238"/>
                <a:gd name="connsiteX329" fmla="*/ 85077 w 157353"/>
                <a:gd name="connsiteY329" fmla="*/ 126273 h 153238"/>
                <a:gd name="connsiteX330" fmla="*/ 94802 w 157353"/>
                <a:gd name="connsiteY330" fmla="*/ 127406 h 153238"/>
                <a:gd name="connsiteX331" fmla="*/ 98355 w 157353"/>
                <a:gd name="connsiteY331" fmla="*/ 128073 h 153238"/>
                <a:gd name="connsiteX332" fmla="*/ 111014 w 157353"/>
                <a:gd name="connsiteY332" fmla="*/ 136407 h 153238"/>
                <a:gd name="connsiteX333" fmla="*/ 112957 w 157353"/>
                <a:gd name="connsiteY333" fmla="*/ 135741 h 153238"/>
                <a:gd name="connsiteX334" fmla="*/ 114605 w 157353"/>
                <a:gd name="connsiteY334" fmla="*/ 136227 h 153238"/>
                <a:gd name="connsiteX335" fmla="*/ 115653 w 157353"/>
                <a:gd name="connsiteY335" fmla="*/ 138303 h 153238"/>
                <a:gd name="connsiteX336" fmla="*/ 117720 w 157353"/>
                <a:gd name="connsiteY336" fmla="*/ 139675 h 153238"/>
                <a:gd name="connsiteX337" fmla="*/ 121082 w 157353"/>
                <a:gd name="connsiteY337" fmla="*/ 142075 h 153238"/>
                <a:gd name="connsiteX338" fmla="*/ 123206 w 157353"/>
                <a:gd name="connsiteY338" fmla="*/ 143913 h 153238"/>
                <a:gd name="connsiteX339" fmla="*/ 128016 w 157353"/>
                <a:gd name="connsiteY339" fmla="*/ 147209 h 153238"/>
                <a:gd name="connsiteX340" fmla="*/ 129159 w 157353"/>
                <a:gd name="connsiteY340" fmla="*/ 147666 h 153238"/>
                <a:gd name="connsiteX341" fmla="*/ 131559 w 157353"/>
                <a:gd name="connsiteY341" fmla="*/ 148647 h 153238"/>
                <a:gd name="connsiteX342" fmla="*/ 131607 w 157353"/>
                <a:gd name="connsiteY342" fmla="*/ 149981 h 153238"/>
                <a:gd name="connsiteX343" fmla="*/ 132636 w 157353"/>
                <a:gd name="connsiteY343" fmla="*/ 151495 h 153238"/>
                <a:gd name="connsiteX344" fmla="*/ 133721 w 157353"/>
                <a:gd name="connsiteY344" fmla="*/ 153238 h 153238"/>
                <a:gd name="connsiteX345" fmla="*/ 128787 w 157353"/>
                <a:gd name="connsiteY345" fmla="*/ 149809 h 153238"/>
                <a:gd name="connsiteX346" fmla="*/ 124187 w 157353"/>
                <a:gd name="connsiteY346" fmla="*/ 145970 h 153238"/>
                <a:gd name="connsiteX347" fmla="*/ 115186 w 157353"/>
                <a:gd name="connsiteY347" fmla="*/ 140046 h 153238"/>
                <a:gd name="connsiteX348" fmla="*/ 108804 w 157353"/>
                <a:gd name="connsiteY348" fmla="*/ 138608 h 153238"/>
                <a:gd name="connsiteX349" fmla="*/ 100069 w 157353"/>
                <a:gd name="connsiteY349" fmla="*/ 133836 h 153238"/>
                <a:gd name="connsiteX350" fmla="*/ 94383 w 157353"/>
                <a:gd name="connsiteY350" fmla="*/ 132140 h 153238"/>
                <a:gd name="connsiteX351" fmla="*/ 96555 w 157353"/>
                <a:gd name="connsiteY351" fmla="*/ 131750 h 153238"/>
                <a:gd name="connsiteX352" fmla="*/ 99050 w 157353"/>
                <a:gd name="connsiteY352" fmla="*/ 131740 h 153238"/>
                <a:gd name="connsiteX353" fmla="*/ 112519 w 157353"/>
                <a:gd name="connsiteY353" fmla="*/ 138113 h 153238"/>
                <a:gd name="connsiteX354" fmla="*/ 111014 w 157353"/>
                <a:gd name="connsiteY354" fmla="*/ 136407 h 153238"/>
                <a:gd name="connsiteX355" fmla="*/ 83839 w 157353"/>
                <a:gd name="connsiteY355" fmla="*/ 132788 h 153238"/>
                <a:gd name="connsiteX356" fmla="*/ 88782 w 157353"/>
                <a:gd name="connsiteY356" fmla="*/ 133807 h 153238"/>
                <a:gd name="connsiteX357" fmla="*/ 92402 w 157353"/>
                <a:gd name="connsiteY357" fmla="*/ 133340 h 153238"/>
                <a:gd name="connsiteX358" fmla="*/ 95678 w 157353"/>
                <a:gd name="connsiteY358" fmla="*/ 133969 h 153238"/>
                <a:gd name="connsiteX359" fmla="*/ 97717 w 157353"/>
                <a:gd name="connsiteY359" fmla="*/ 135122 h 153238"/>
                <a:gd name="connsiteX360" fmla="*/ 98203 w 157353"/>
                <a:gd name="connsiteY360" fmla="*/ 135693 h 153238"/>
                <a:gd name="connsiteX361" fmla="*/ 95565 w 157353"/>
                <a:gd name="connsiteY361" fmla="*/ 135769 h 153238"/>
                <a:gd name="connsiteX362" fmla="*/ 92573 w 157353"/>
                <a:gd name="connsiteY362" fmla="*/ 135303 h 153238"/>
                <a:gd name="connsiteX363" fmla="*/ 89183 w 157353"/>
                <a:gd name="connsiteY363" fmla="*/ 136474 h 153238"/>
                <a:gd name="connsiteX364" fmla="*/ 86192 w 157353"/>
                <a:gd name="connsiteY364" fmla="*/ 135855 h 153238"/>
                <a:gd name="connsiteX365" fmla="*/ 85058 w 157353"/>
                <a:gd name="connsiteY365" fmla="*/ 135084 h 153238"/>
                <a:gd name="connsiteX366" fmla="*/ 84258 w 157353"/>
                <a:gd name="connsiteY366" fmla="*/ 134131 h 153238"/>
                <a:gd name="connsiteX367" fmla="*/ 83839 w 157353"/>
                <a:gd name="connsiteY367" fmla="*/ 132788 h 153238"/>
                <a:gd name="connsiteX368" fmla="*/ 109424 w 157353"/>
                <a:gd name="connsiteY368" fmla="*/ 141056 h 153238"/>
                <a:gd name="connsiteX369" fmla="*/ 113072 w 157353"/>
                <a:gd name="connsiteY369" fmla="*/ 143542 h 153238"/>
                <a:gd name="connsiteX370" fmla="*/ 102375 w 157353"/>
                <a:gd name="connsiteY370" fmla="*/ 140275 h 153238"/>
                <a:gd name="connsiteX371" fmla="*/ 103584 w 157353"/>
                <a:gd name="connsiteY371" fmla="*/ 139979 h 153238"/>
                <a:gd name="connsiteX372" fmla="*/ 104718 w 157353"/>
                <a:gd name="connsiteY372" fmla="*/ 139913 h 153238"/>
                <a:gd name="connsiteX373" fmla="*/ 109424 w 157353"/>
                <a:gd name="connsiteY373" fmla="*/ 141056 h 153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</a:cxnLst>
              <a:rect l="l" t="t" r="r" b="b"/>
              <a:pathLst>
                <a:path w="157353" h="153238">
                  <a:moveTo>
                    <a:pt x="80239" y="1305"/>
                  </a:moveTo>
                  <a:lnTo>
                    <a:pt x="81677" y="1886"/>
                  </a:lnTo>
                  <a:lnTo>
                    <a:pt x="86439" y="4534"/>
                  </a:lnTo>
                  <a:lnTo>
                    <a:pt x="89735" y="7515"/>
                  </a:lnTo>
                  <a:lnTo>
                    <a:pt x="91564" y="10820"/>
                  </a:lnTo>
                  <a:lnTo>
                    <a:pt x="94040" y="13373"/>
                  </a:lnTo>
                  <a:lnTo>
                    <a:pt x="97164" y="15183"/>
                  </a:lnTo>
                  <a:lnTo>
                    <a:pt x="99641" y="17631"/>
                  </a:lnTo>
                  <a:lnTo>
                    <a:pt x="101470" y="20717"/>
                  </a:lnTo>
                  <a:lnTo>
                    <a:pt x="104032" y="22450"/>
                  </a:lnTo>
                  <a:lnTo>
                    <a:pt x="107318" y="22822"/>
                  </a:lnTo>
                  <a:lnTo>
                    <a:pt x="109394" y="23879"/>
                  </a:lnTo>
                  <a:lnTo>
                    <a:pt x="110271" y="25622"/>
                  </a:lnTo>
                  <a:lnTo>
                    <a:pt x="112062" y="27194"/>
                  </a:lnTo>
                  <a:lnTo>
                    <a:pt x="114758" y="28603"/>
                  </a:lnTo>
                  <a:lnTo>
                    <a:pt x="118939" y="29375"/>
                  </a:lnTo>
                  <a:lnTo>
                    <a:pt x="126959" y="29566"/>
                  </a:lnTo>
                  <a:lnTo>
                    <a:pt x="127673" y="29604"/>
                  </a:lnTo>
                  <a:lnTo>
                    <a:pt x="129483" y="30042"/>
                  </a:lnTo>
                  <a:lnTo>
                    <a:pt x="131597" y="29489"/>
                  </a:lnTo>
                  <a:lnTo>
                    <a:pt x="134179" y="28394"/>
                  </a:lnTo>
                  <a:lnTo>
                    <a:pt x="135007" y="27737"/>
                  </a:lnTo>
                  <a:lnTo>
                    <a:pt x="137713" y="24136"/>
                  </a:lnTo>
                  <a:lnTo>
                    <a:pt x="139208" y="24451"/>
                  </a:lnTo>
                  <a:lnTo>
                    <a:pt x="142180" y="24012"/>
                  </a:lnTo>
                  <a:lnTo>
                    <a:pt x="143980" y="23212"/>
                  </a:lnTo>
                  <a:lnTo>
                    <a:pt x="144113" y="23212"/>
                  </a:lnTo>
                  <a:lnTo>
                    <a:pt x="143999" y="24136"/>
                  </a:lnTo>
                  <a:lnTo>
                    <a:pt x="143799" y="25746"/>
                  </a:lnTo>
                  <a:lnTo>
                    <a:pt x="142342" y="26879"/>
                  </a:lnTo>
                  <a:lnTo>
                    <a:pt x="143818" y="29499"/>
                  </a:lnTo>
                  <a:lnTo>
                    <a:pt x="145228" y="33747"/>
                  </a:lnTo>
                  <a:lnTo>
                    <a:pt x="144437" y="35843"/>
                  </a:lnTo>
                  <a:lnTo>
                    <a:pt x="145399" y="37471"/>
                  </a:lnTo>
                  <a:lnTo>
                    <a:pt x="148104" y="38643"/>
                  </a:lnTo>
                  <a:lnTo>
                    <a:pt x="148352" y="39110"/>
                  </a:lnTo>
                  <a:lnTo>
                    <a:pt x="147524" y="39595"/>
                  </a:lnTo>
                  <a:lnTo>
                    <a:pt x="146838" y="40977"/>
                  </a:lnTo>
                  <a:lnTo>
                    <a:pt x="146761" y="43491"/>
                  </a:lnTo>
                  <a:lnTo>
                    <a:pt x="149123" y="45872"/>
                  </a:lnTo>
                  <a:lnTo>
                    <a:pt x="153924" y="48101"/>
                  </a:lnTo>
                  <a:lnTo>
                    <a:pt x="155457" y="48473"/>
                  </a:lnTo>
                  <a:lnTo>
                    <a:pt x="156048" y="49330"/>
                  </a:lnTo>
                  <a:lnTo>
                    <a:pt x="156848" y="49892"/>
                  </a:lnTo>
                  <a:lnTo>
                    <a:pt x="157325" y="50578"/>
                  </a:lnTo>
                  <a:lnTo>
                    <a:pt x="157353" y="51463"/>
                  </a:lnTo>
                  <a:lnTo>
                    <a:pt x="157001" y="52073"/>
                  </a:lnTo>
                  <a:lnTo>
                    <a:pt x="154724" y="52283"/>
                  </a:lnTo>
                  <a:lnTo>
                    <a:pt x="152133" y="52264"/>
                  </a:lnTo>
                  <a:lnTo>
                    <a:pt x="150286" y="51187"/>
                  </a:lnTo>
                  <a:lnTo>
                    <a:pt x="150114" y="51978"/>
                  </a:lnTo>
                  <a:lnTo>
                    <a:pt x="150086" y="52873"/>
                  </a:lnTo>
                  <a:lnTo>
                    <a:pt x="148295" y="53416"/>
                  </a:lnTo>
                  <a:lnTo>
                    <a:pt x="149286" y="59579"/>
                  </a:lnTo>
                  <a:lnTo>
                    <a:pt x="148885" y="61350"/>
                  </a:lnTo>
                  <a:lnTo>
                    <a:pt x="148228" y="61951"/>
                  </a:lnTo>
                  <a:lnTo>
                    <a:pt x="147618" y="61703"/>
                  </a:lnTo>
                  <a:lnTo>
                    <a:pt x="146866" y="61636"/>
                  </a:lnTo>
                  <a:lnTo>
                    <a:pt x="146495" y="62217"/>
                  </a:lnTo>
                  <a:lnTo>
                    <a:pt x="146809" y="63532"/>
                  </a:lnTo>
                  <a:lnTo>
                    <a:pt x="145047" y="63684"/>
                  </a:lnTo>
                  <a:lnTo>
                    <a:pt x="142247" y="63008"/>
                  </a:lnTo>
                  <a:lnTo>
                    <a:pt x="140961" y="61817"/>
                  </a:lnTo>
                  <a:lnTo>
                    <a:pt x="140741" y="60608"/>
                  </a:lnTo>
                  <a:lnTo>
                    <a:pt x="140722" y="59474"/>
                  </a:lnTo>
                  <a:lnTo>
                    <a:pt x="139827" y="57617"/>
                  </a:lnTo>
                  <a:lnTo>
                    <a:pt x="137598" y="55693"/>
                  </a:lnTo>
                  <a:lnTo>
                    <a:pt x="132941" y="55378"/>
                  </a:lnTo>
                  <a:lnTo>
                    <a:pt x="131216" y="54769"/>
                  </a:lnTo>
                  <a:lnTo>
                    <a:pt x="129435" y="54073"/>
                  </a:lnTo>
                  <a:lnTo>
                    <a:pt x="127492" y="53549"/>
                  </a:lnTo>
                  <a:lnTo>
                    <a:pt x="125702" y="53597"/>
                  </a:lnTo>
                  <a:lnTo>
                    <a:pt x="123540" y="54112"/>
                  </a:lnTo>
                  <a:lnTo>
                    <a:pt x="119768" y="53264"/>
                  </a:lnTo>
                  <a:lnTo>
                    <a:pt x="118491" y="54397"/>
                  </a:lnTo>
                  <a:lnTo>
                    <a:pt x="116510" y="55702"/>
                  </a:lnTo>
                  <a:lnTo>
                    <a:pt x="114862" y="55674"/>
                  </a:lnTo>
                  <a:lnTo>
                    <a:pt x="111586" y="52645"/>
                  </a:lnTo>
                  <a:lnTo>
                    <a:pt x="110604" y="52454"/>
                  </a:lnTo>
                  <a:lnTo>
                    <a:pt x="107738" y="53997"/>
                  </a:lnTo>
                  <a:lnTo>
                    <a:pt x="106566" y="54083"/>
                  </a:lnTo>
                  <a:lnTo>
                    <a:pt x="105670" y="53597"/>
                  </a:lnTo>
                  <a:lnTo>
                    <a:pt x="101794" y="52435"/>
                  </a:lnTo>
                  <a:lnTo>
                    <a:pt x="100041" y="52188"/>
                  </a:lnTo>
                  <a:lnTo>
                    <a:pt x="98755" y="52740"/>
                  </a:lnTo>
                  <a:lnTo>
                    <a:pt x="96479" y="52149"/>
                  </a:lnTo>
                  <a:lnTo>
                    <a:pt x="90954" y="48177"/>
                  </a:lnTo>
                  <a:lnTo>
                    <a:pt x="87535" y="51197"/>
                  </a:lnTo>
                  <a:lnTo>
                    <a:pt x="80582" y="50444"/>
                  </a:lnTo>
                  <a:lnTo>
                    <a:pt x="78514" y="52511"/>
                  </a:lnTo>
                  <a:lnTo>
                    <a:pt x="76152" y="56426"/>
                  </a:lnTo>
                  <a:lnTo>
                    <a:pt x="74238" y="58293"/>
                  </a:lnTo>
                  <a:lnTo>
                    <a:pt x="72571" y="57626"/>
                  </a:lnTo>
                  <a:lnTo>
                    <a:pt x="70599" y="55902"/>
                  </a:lnTo>
                  <a:lnTo>
                    <a:pt x="67151" y="51473"/>
                  </a:lnTo>
                  <a:lnTo>
                    <a:pt x="65408" y="50673"/>
                  </a:lnTo>
                  <a:lnTo>
                    <a:pt x="63408" y="50482"/>
                  </a:lnTo>
                  <a:lnTo>
                    <a:pt x="61665" y="50978"/>
                  </a:lnTo>
                  <a:lnTo>
                    <a:pt x="60732" y="51873"/>
                  </a:lnTo>
                  <a:lnTo>
                    <a:pt x="60017" y="58341"/>
                  </a:lnTo>
                  <a:lnTo>
                    <a:pt x="59388" y="64027"/>
                  </a:lnTo>
                  <a:lnTo>
                    <a:pt x="59350" y="67427"/>
                  </a:lnTo>
                  <a:lnTo>
                    <a:pt x="63179" y="70571"/>
                  </a:lnTo>
                  <a:lnTo>
                    <a:pt x="67704" y="75971"/>
                  </a:lnTo>
                  <a:lnTo>
                    <a:pt x="69152" y="76590"/>
                  </a:lnTo>
                  <a:lnTo>
                    <a:pt x="69875" y="78352"/>
                  </a:lnTo>
                  <a:lnTo>
                    <a:pt x="70933" y="82896"/>
                  </a:lnTo>
                  <a:lnTo>
                    <a:pt x="72124" y="87992"/>
                  </a:lnTo>
                  <a:lnTo>
                    <a:pt x="74419" y="91364"/>
                  </a:lnTo>
                  <a:lnTo>
                    <a:pt x="76486" y="93764"/>
                  </a:lnTo>
                  <a:lnTo>
                    <a:pt x="79010" y="95878"/>
                  </a:lnTo>
                  <a:lnTo>
                    <a:pt x="82182" y="99184"/>
                  </a:lnTo>
                  <a:lnTo>
                    <a:pt x="84773" y="102813"/>
                  </a:lnTo>
                  <a:lnTo>
                    <a:pt x="85458" y="104146"/>
                  </a:lnTo>
                  <a:lnTo>
                    <a:pt x="90497" y="108928"/>
                  </a:lnTo>
                  <a:lnTo>
                    <a:pt x="95384" y="113795"/>
                  </a:lnTo>
                  <a:lnTo>
                    <a:pt x="99746" y="115500"/>
                  </a:lnTo>
                  <a:lnTo>
                    <a:pt x="100432" y="116396"/>
                  </a:lnTo>
                  <a:lnTo>
                    <a:pt x="100470" y="120129"/>
                  </a:lnTo>
                  <a:lnTo>
                    <a:pt x="100946" y="121530"/>
                  </a:lnTo>
                  <a:lnTo>
                    <a:pt x="103861" y="125435"/>
                  </a:lnTo>
                  <a:lnTo>
                    <a:pt x="109814" y="131140"/>
                  </a:lnTo>
                  <a:lnTo>
                    <a:pt x="110500" y="132455"/>
                  </a:lnTo>
                  <a:lnTo>
                    <a:pt x="110700" y="133426"/>
                  </a:lnTo>
                  <a:lnTo>
                    <a:pt x="110319" y="134169"/>
                  </a:lnTo>
                  <a:lnTo>
                    <a:pt x="108757" y="134950"/>
                  </a:lnTo>
                  <a:lnTo>
                    <a:pt x="107480" y="134083"/>
                  </a:lnTo>
                  <a:lnTo>
                    <a:pt x="101937" y="128521"/>
                  </a:lnTo>
                  <a:lnTo>
                    <a:pt x="96574" y="125006"/>
                  </a:lnTo>
                  <a:lnTo>
                    <a:pt x="90526" y="118376"/>
                  </a:lnTo>
                  <a:lnTo>
                    <a:pt x="82429" y="115748"/>
                  </a:lnTo>
                  <a:lnTo>
                    <a:pt x="76914" y="112833"/>
                  </a:lnTo>
                  <a:lnTo>
                    <a:pt x="73571" y="113271"/>
                  </a:lnTo>
                  <a:lnTo>
                    <a:pt x="69885" y="114186"/>
                  </a:lnTo>
                  <a:lnTo>
                    <a:pt x="67609" y="114214"/>
                  </a:lnTo>
                  <a:lnTo>
                    <a:pt x="65990" y="113690"/>
                  </a:lnTo>
                  <a:lnTo>
                    <a:pt x="64846" y="111881"/>
                  </a:lnTo>
                  <a:lnTo>
                    <a:pt x="65018" y="110480"/>
                  </a:lnTo>
                  <a:lnTo>
                    <a:pt x="64818" y="108661"/>
                  </a:lnTo>
                  <a:lnTo>
                    <a:pt x="61589" y="105737"/>
                  </a:lnTo>
                  <a:lnTo>
                    <a:pt x="57178" y="102956"/>
                  </a:lnTo>
                  <a:lnTo>
                    <a:pt x="53007" y="99355"/>
                  </a:lnTo>
                  <a:lnTo>
                    <a:pt x="44625" y="89602"/>
                  </a:lnTo>
                  <a:lnTo>
                    <a:pt x="42939" y="86449"/>
                  </a:lnTo>
                  <a:lnTo>
                    <a:pt x="44587" y="85849"/>
                  </a:lnTo>
                  <a:lnTo>
                    <a:pt x="45834" y="85906"/>
                  </a:lnTo>
                  <a:lnTo>
                    <a:pt x="47244" y="85258"/>
                  </a:lnTo>
                  <a:lnTo>
                    <a:pt x="49530" y="85249"/>
                  </a:lnTo>
                  <a:lnTo>
                    <a:pt x="52235" y="85887"/>
                  </a:lnTo>
                  <a:lnTo>
                    <a:pt x="49845" y="83791"/>
                  </a:lnTo>
                  <a:lnTo>
                    <a:pt x="46863" y="81734"/>
                  </a:lnTo>
                  <a:lnTo>
                    <a:pt x="39148" y="73543"/>
                  </a:lnTo>
                  <a:lnTo>
                    <a:pt x="36843" y="69656"/>
                  </a:lnTo>
                  <a:lnTo>
                    <a:pt x="36576" y="65465"/>
                  </a:lnTo>
                  <a:lnTo>
                    <a:pt x="37148" y="59712"/>
                  </a:lnTo>
                  <a:lnTo>
                    <a:pt x="35757" y="55578"/>
                  </a:lnTo>
                  <a:lnTo>
                    <a:pt x="29804" y="50216"/>
                  </a:lnTo>
                  <a:lnTo>
                    <a:pt x="27623" y="47387"/>
                  </a:lnTo>
                  <a:lnTo>
                    <a:pt x="23232" y="45701"/>
                  </a:lnTo>
                  <a:lnTo>
                    <a:pt x="21260" y="45863"/>
                  </a:lnTo>
                  <a:lnTo>
                    <a:pt x="20079" y="47958"/>
                  </a:lnTo>
                  <a:lnTo>
                    <a:pt x="19222" y="52606"/>
                  </a:lnTo>
                  <a:lnTo>
                    <a:pt x="15326" y="58721"/>
                  </a:lnTo>
                  <a:lnTo>
                    <a:pt x="14031" y="61370"/>
                  </a:lnTo>
                  <a:lnTo>
                    <a:pt x="11992" y="64808"/>
                  </a:lnTo>
                  <a:lnTo>
                    <a:pt x="10220" y="65046"/>
                  </a:lnTo>
                  <a:lnTo>
                    <a:pt x="9182" y="64741"/>
                  </a:lnTo>
                  <a:lnTo>
                    <a:pt x="6020" y="58950"/>
                  </a:lnTo>
                  <a:lnTo>
                    <a:pt x="3000" y="54550"/>
                  </a:lnTo>
                  <a:lnTo>
                    <a:pt x="2581" y="52464"/>
                  </a:lnTo>
                  <a:lnTo>
                    <a:pt x="2305" y="49892"/>
                  </a:lnTo>
                  <a:lnTo>
                    <a:pt x="0" y="40396"/>
                  </a:lnTo>
                  <a:lnTo>
                    <a:pt x="1619" y="39062"/>
                  </a:lnTo>
                  <a:lnTo>
                    <a:pt x="2620" y="40586"/>
                  </a:lnTo>
                  <a:lnTo>
                    <a:pt x="9659" y="42424"/>
                  </a:lnTo>
                  <a:lnTo>
                    <a:pt x="11182" y="41615"/>
                  </a:lnTo>
                  <a:lnTo>
                    <a:pt x="12106" y="40367"/>
                  </a:lnTo>
                  <a:lnTo>
                    <a:pt x="12106" y="39576"/>
                  </a:lnTo>
                  <a:lnTo>
                    <a:pt x="12706" y="39348"/>
                  </a:lnTo>
                  <a:lnTo>
                    <a:pt x="15183" y="40548"/>
                  </a:lnTo>
                  <a:lnTo>
                    <a:pt x="17202" y="40272"/>
                  </a:lnTo>
                  <a:lnTo>
                    <a:pt x="20460" y="40214"/>
                  </a:lnTo>
                  <a:lnTo>
                    <a:pt x="22784" y="40414"/>
                  </a:lnTo>
                  <a:lnTo>
                    <a:pt x="24327" y="39491"/>
                  </a:lnTo>
                  <a:lnTo>
                    <a:pt x="26404" y="36090"/>
                  </a:lnTo>
                  <a:lnTo>
                    <a:pt x="27175" y="34185"/>
                  </a:lnTo>
                  <a:lnTo>
                    <a:pt x="28108" y="33728"/>
                  </a:lnTo>
                  <a:lnTo>
                    <a:pt x="28718" y="33957"/>
                  </a:lnTo>
                  <a:lnTo>
                    <a:pt x="29166" y="35528"/>
                  </a:lnTo>
                  <a:lnTo>
                    <a:pt x="30261" y="36995"/>
                  </a:lnTo>
                  <a:lnTo>
                    <a:pt x="32509" y="39386"/>
                  </a:lnTo>
                  <a:lnTo>
                    <a:pt x="34100" y="40538"/>
                  </a:lnTo>
                  <a:lnTo>
                    <a:pt x="35538" y="40948"/>
                  </a:lnTo>
                  <a:lnTo>
                    <a:pt x="36948" y="39986"/>
                  </a:lnTo>
                  <a:lnTo>
                    <a:pt x="38405" y="39710"/>
                  </a:lnTo>
                  <a:lnTo>
                    <a:pt x="42577" y="41577"/>
                  </a:lnTo>
                  <a:lnTo>
                    <a:pt x="46101" y="41929"/>
                  </a:lnTo>
                  <a:lnTo>
                    <a:pt x="48702" y="40957"/>
                  </a:lnTo>
                  <a:lnTo>
                    <a:pt x="48359" y="39614"/>
                  </a:lnTo>
                  <a:lnTo>
                    <a:pt x="47406" y="38119"/>
                  </a:lnTo>
                  <a:lnTo>
                    <a:pt x="47206" y="36671"/>
                  </a:lnTo>
                  <a:lnTo>
                    <a:pt x="47377" y="35414"/>
                  </a:lnTo>
                  <a:lnTo>
                    <a:pt x="49168" y="34166"/>
                  </a:lnTo>
                  <a:lnTo>
                    <a:pt x="49082" y="33614"/>
                  </a:lnTo>
                  <a:lnTo>
                    <a:pt x="46920" y="31413"/>
                  </a:lnTo>
                  <a:lnTo>
                    <a:pt x="47025" y="30842"/>
                  </a:lnTo>
                  <a:lnTo>
                    <a:pt x="51759" y="28356"/>
                  </a:lnTo>
                  <a:lnTo>
                    <a:pt x="56322" y="26965"/>
                  </a:lnTo>
                  <a:lnTo>
                    <a:pt x="57055" y="25889"/>
                  </a:lnTo>
                  <a:lnTo>
                    <a:pt x="57474" y="24270"/>
                  </a:lnTo>
                  <a:lnTo>
                    <a:pt x="57674" y="21231"/>
                  </a:lnTo>
                  <a:lnTo>
                    <a:pt x="57426" y="18745"/>
                  </a:lnTo>
                  <a:lnTo>
                    <a:pt x="55579" y="16411"/>
                  </a:lnTo>
                  <a:lnTo>
                    <a:pt x="55464" y="15230"/>
                  </a:lnTo>
                  <a:lnTo>
                    <a:pt x="55902" y="14002"/>
                  </a:lnTo>
                  <a:lnTo>
                    <a:pt x="56626" y="12887"/>
                  </a:lnTo>
                  <a:lnTo>
                    <a:pt x="58455" y="12411"/>
                  </a:lnTo>
                  <a:lnTo>
                    <a:pt x="60598" y="11611"/>
                  </a:lnTo>
                  <a:lnTo>
                    <a:pt x="62294" y="10687"/>
                  </a:lnTo>
                  <a:lnTo>
                    <a:pt x="64580" y="9925"/>
                  </a:lnTo>
                  <a:lnTo>
                    <a:pt x="66380" y="8858"/>
                  </a:lnTo>
                  <a:lnTo>
                    <a:pt x="68142" y="6315"/>
                  </a:lnTo>
                  <a:lnTo>
                    <a:pt x="69209" y="5896"/>
                  </a:lnTo>
                  <a:lnTo>
                    <a:pt x="72437" y="6258"/>
                  </a:lnTo>
                  <a:lnTo>
                    <a:pt x="73133" y="5629"/>
                  </a:lnTo>
                  <a:lnTo>
                    <a:pt x="72685" y="1972"/>
                  </a:lnTo>
                  <a:lnTo>
                    <a:pt x="73266" y="1038"/>
                  </a:lnTo>
                  <a:lnTo>
                    <a:pt x="74409" y="514"/>
                  </a:lnTo>
                  <a:lnTo>
                    <a:pt x="74943" y="0"/>
                  </a:lnTo>
                  <a:lnTo>
                    <a:pt x="77791" y="400"/>
                  </a:lnTo>
                  <a:lnTo>
                    <a:pt x="80239" y="1305"/>
                  </a:lnTo>
                  <a:close/>
                  <a:moveTo>
                    <a:pt x="34643" y="59446"/>
                  </a:moveTo>
                  <a:lnTo>
                    <a:pt x="31347" y="60255"/>
                  </a:lnTo>
                  <a:lnTo>
                    <a:pt x="29776" y="58807"/>
                  </a:lnTo>
                  <a:lnTo>
                    <a:pt x="29366" y="57617"/>
                  </a:lnTo>
                  <a:lnTo>
                    <a:pt x="26651" y="57236"/>
                  </a:lnTo>
                  <a:lnTo>
                    <a:pt x="25013" y="55588"/>
                  </a:lnTo>
                  <a:lnTo>
                    <a:pt x="24679" y="54855"/>
                  </a:lnTo>
                  <a:lnTo>
                    <a:pt x="27004" y="53035"/>
                  </a:lnTo>
                  <a:lnTo>
                    <a:pt x="28242" y="50092"/>
                  </a:lnTo>
                  <a:lnTo>
                    <a:pt x="29813" y="51864"/>
                  </a:lnTo>
                  <a:lnTo>
                    <a:pt x="31718" y="55188"/>
                  </a:lnTo>
                  <a:lnTo>
                    <a:pt x="32738" y="56112"/>
                  </a:lnTo>
                  <a:lnTo>
                    <a:pt x="34643" y="59446"/>
                  </a:lnTo>
                  <a:close/>
                  <a:moveTo>
                    <a:pt x="26022" y="71352"/>
                  </a:moveTo>
                  <a:lnTo>
                    <a:pt x="25813" y="72800"/>
                  </a:lnTo>
                  <a:lnTo>
                    <a:pt x="24194" y="70961"/>
                  </a:lnTo>
                  <a:lnTo>
                    <a:pt x="23374" y="67666"/>
                  </a:lnTo>
                  <a:lnTo>
                    <a:pt x="21327" y="62322"/>
                  </a:lnTo>
                  <a:lnTo>
                    <a:pt x="21060" y="60817"/>
                  </a:lnTo>
                  <a:lnTo>
                    <a:pt x="22117" y="59331"/>
                  </a:lnTo>
                  <a:lnTo>
                    <a:pt x="22060" y="57817"/>
                  </a:lnTo>
                  <a:lnTo>
                    <a:pt x="20612" y="53111"/>
                  </a:lnTo>
                  <a:lnTo>
                    <a:pt x="21822" y="52340"/>
                  </a:lnTo>
                  <a:lnTo>
                    <a:pt x="22546" y="52244"/>
                  </a:lnTo>
                  <a:lnTo>
                    <a:pt x="22841" y="55512"/>
                  </a:lnTo>
                  <a:lnTo>
                    <a:pt x="23498" y="57388"/>
                  </a:lnTo>
                  <a:lnTo>
                    <a:pt x="25470" y="59693"/>
                  </a:lnTo>
                  <a:lnTo>
                    <a:pt x="25070" y="63494"/>
                  </a:lnTo>
                  <a:lnTo>
                    <a:pt x="25470" y="68894"/>
                  </a:lnTo>
                  <a:lnTo>
                    <a:pt x="25870" y="70094"/>
                  </a:lnTo>
                  <a:lnTo>
                    <a:pt x="26022" y="71352"/>
                  </a:lnTo>
                  <a:close/>
                  <a:moveTo>
                    <a:pt x="35204" y="67646"/>
                  </a:moveTo>
                  <a:lnTo>
                    <a:pt x="35881" y="69304"/>
                  </a:lnTo>
                  <a:lnTo>
                    <a:pt x="33366" y="67808"/>
                  </a:lnTo>
                  <a:lnTo>
                    <a:pt x="31109" y="67237"/>
                  </a:lnTo>
                  <a:lnTo>
                    <a:pt x="30632" y="66113"/>
                  </a:lnTo>
                  <a:lnTo>
                    <a:pt x="30956" y="65189"/>
                  </a:lnTo>
                  <a:lnTo>
                    <a:pt x="31442" y="64294"/>
                  </a:lnTo>
                  <a:lnTo>
                    <a:pt x="33147" y="64418"/>
                  </a:lnTo>
                  <a:lnTo>
                    <a:pt x="33404" y="65294"/>
                  </a:lnTo>
                  <a:lnTo>
                    <a:pt x="35204" y="67646"/>
                  </a:lnTo>
                  <a:close/>
                  <a:moveTo>
                    <a:pt x="44748" y="83468"/>
                  </a:moveTo>
                  <a:lnTo>
                    <a:pt x="44063" y="84458"/>
                  </a:lnTo>
                  <a:lnTo>
                    <a:pt x="42329" y="82639"/>
                  </a:lnTo>
                  <a:lnTo>
                    <a:pt x="40739" y="81343"/>
                  </a:lnTo>
                  <a:lnTo>
                    <a:pt x="39605" y="79800"/>
                  </a:lnTo>
                  <a:lnTo>
                    <a:pt x="37376" y="77876"/>
                  </a:lnTo>
                  <a:lnTo>
                    <a:pt x="36624" y="75676"/>
                  </a:lnTo>
                  <a:lnTo>
                    <a:pt x="33300" y="71180"/>
                  </a:lnTo>
                  <a:lnTo>
                    <a:pt x="32804" y="69961"/>
                  </a:lnTo>
                  <a:lnTo>
                    <a:pt x="34461" y="71780"/>
                  </a:lnTo>
                  <a:lnTo>
                    <a:pt x="35843" y="72923"/>
                  </a:lnTo>
                  <a:lnTo>
                    <a:pt x="36986" y="73200"/>
                  </a:lnTo>
                  <a:lnTo>
                    <a:pt x="39881" y="76067"/>
                  </a:lnTo>
                  <a:lnTo>
                    <a:pt x="42729" y="79743"/>
                  </a:lnTo>
                  <a:lnTo>
                    <a:pt x="46120" y="82934"/>
                  </a:lnTo>
                  <a:lnTo>
                    <a:pt x="45415" y="83029"/>
                  </a:lnTo>
                  <a:lnTo>
                    <a:pt x="44748" y="83468"/>
                  </a:lnTo>
                  <a:close/>
                  <a:moveTo>
                    <a:pt x="44758" y="98812"/>
                  </a:moveTo>
                  <a:lnTo>
                    <a:pt x="45139" y="99355"/>
                  </a:lnTo>
                  <a:lnTo>
                    <a:pt x="45101" y="99727"/>
                  </a:lnTo>
                  <a:lnTo>
                    <a:pt x="43710" y="99203"/>
                  </a:lnTo>
                  <a:lnTo>
                    <a:pt x="43339" y="99374"/>
                  </a:lnTo>
                  <a:lnTo>
                    <a:pt x="36795" y="91287"/>
                  </a:lnTo>
                  <a:lnTo>
                    <a:pt x="36090" y="89706"/>
                  </a:lnTo>
                  <a:lnTo>
                    <a:pt x="38434" y="91592"/>
                  </a:lnTo>
                  <a:lnTo>
                    <a:pt x="44758" y="98812"/>
                  </a:lnTo>
                  <a:close/>
                  <a:moveTo>
                    <a:pt x="45882" y="93631"/>
                  </a:moveTo>
                  <a:lnTo>
                    <a:pt x="46301" y="94935"/>
                  </a:lnTo>
                  <a:lnTo>
                    <a:pt x="42967" y="92478"/>
                  </a:lnTo>
                  <a:lnTo>
                    <a:pt x="41700" y="90830"/>
                  </a:lnTo>
                  <a:lnTo>
                    <a:pt x="41472" y="90088"/>
                  </a:lnTo>
                  <a:lnTo>
                    <a:pt x="45882" y="93631"/>
                  </a:lnTo>
                  <a:close/>
                  <a:moveTo>
                    <a:pt x="49635" y="96907"/>
                  </a:moveTo>
                  <a:lnTo>
                    <a:pt x="51397" y="99660"/>
                  </a:lnTo>
                  <a:lnTo>
                    <a:pt x="49711" y="99088"/>
                  </a:lnTo>
                  <a:lnTo>
                    <a:pt x="47959" y="97393"/>
                  </a:lnTo>
                  <a:lnTo>
                    <a:pt x="46930" y="95545"/>
                  </a:lnTo>
                  <a:lnTo>
                    <a:pt x="49635" y="96907"/>
                  </a:lnTo>
                  <a:close/>
                  <a:moveTo>
                    <a:pt x="87430" y="122777"/>
                  </a:moveTo>
                  <a:lnTo>
                    <a:pt x="83211" y="122872"/>
                  </a:lnTo>
                  <a:lnTo>
                    <a:pt x="79543" y="122206"/>
                  </a:lnTo>
                  <a:lnTo>
                    <a:pt x="77753" y="121072"/>
                  </a:lnTo>
                  <a:lnTo>
                    <a:pt x="77886" y="120110"/>
                  </a:lnTo>
                  <a:lnTo>
                    <a:pt x="78438" y="118510"/>
                  </a:lnTo>
                  <a:lnTo>
                    <a:pt x="82525" y="118701"/>
                  </a:lnTo>
                  <a:lnTo>
                    <a:pt x="88745" y="119834"/>
                  </a:lnTo>
                  <a:lnTo>
                    <a:pt x="90268" y="121158"/>
                  </a:lnTo>
                  <a:lnTo>
                    <a:pt x="89792" y="121768"/>
                  </a:lnTo>
                  <a:lnTo>
                    <a:pt x="87430" y="122777"/>
                  </a:lnTo>
                  <a:close/>
                  <a:moveTo>
                    <a:pt x="98355" y="128073"/>
                  </a:moveTo>
                  <a:lnTo>
                    <a:pt x="96488" y="128454"/>
                  </a:lnTo>
                  <a:lnTo>
                    <a:pt x="84591" y="128168"/>
                  </a:lnTo>
                  <a:lnTo>
                    <a:pt x="81134" y="127406"/>
                  </a:lnTo>
                  <a:lnTo>
                    <a:pt x="77286" y="125454"/>
                  </a:lnTo>
                  <a:lnTo>
                    <a:pt x="76505" y="124854"/>
                  </a:lnTo>
                  <a:lnTo>
                    <a:pt x="80372" y="124282"/>
                  </a:lnTo>
                  <a:lnTo>
                    <a:pt x="83972" y="124854"/>
                  </a:lnTo>
                  <a:lnTo>
                    <a:pt x="85077" y="126273"/>
                  </a:lnTo>
                  <a:lnTo>
                    <a:pt x="94802" y="127406"/>
                  </a:lnTo>
                  <a:lnTo>
                    <a:pt x="98355" y="128073"/>
                  </a:lnTo>
                  <a:close/>
                  <a:moveTo>
                    <a:pt x="111014" y="136407"/>
                  </a:moveTo>
                  <a:lnTo>
                    <a:pt x="112957" y="135741"/>
                  </a:lnTo>
                  <a:lnTo>
                    <a:pt x="114605" y="136227"/>
                  </a:lnTo>
                  <a:lnTo>
                    <a:pt x="115653" y="138303"/>
                  </a:lnTo>
                  <a:lnTo>
                    <a:pt x="117720" y="139675"/>
                  </a:lnTo>
                  <a:lnTo>
                    <a:pt x="121082" y="142075"/>
                  </a:lnTo>
                  <a:lnTo>
                    <a:pt x="123206" y="143913"/>
                  </a:lnTo>
                  <a:lnTo>
                    <a:pt x="128016" y="147209"/>
                  </a:lnTo>
                  <a:lnTo>
                    <a:pt x="129159" y="147666"/>
                  </a:lnTo>
                  <a:lnTo>
                    <a:pt x="131559" y="148647"/>
                  </a:lnTo>
                  <a:lnTo>
                    <a:pt x="131607" y="149981"/>
                  </a:lnTo>
                  <a:lnTo>
                    <a:pt x="132636" y="151495"/>
                  </a:lnTo>
                  <a:lnTo>
                    <a:pt x="133721" y="153238"/>
                  </a:lnTo>
                  <a:lnTo>
                    <a:pt x="128787" y="149809"/>
                  </a:lnTo>
                  <a:lnTo>
                    <a:pt x="124187" y="145970"/>
                  </a:lnTo>
                  <a:lnTo>
                    <a:pt x="115186" y="140046"/>
                  </a:lnTo>
                  <a:lnTo>
                    <a:pt x="108804" y="138608"/>
                  </a:lnTo>
                  <a:lnTo>
                    <a:pt x="100069" y="133836"/>
                  </a:lnTo>
                  <a:lnTo>
                    <a:pt x="94383" y="132140"/>
                  </a:lnTo>
                  <a:lnTo>
                    <a:pt x="96555" y="131750"/>
                  </a:lnTo>
                  <a:lnTo>
                    <a:pt x="99050" y="131740"/>
                  </a:lnTo>
                  <a:lnTo>
                    <a:pt x="112519" y="138113"/>
                  </a:lnTo>
                  <a:lnTo>
                    <a:pt x="111014" y="136407"/>
                  </a:lnTo>
                  <a:close/>
                  <a:moveTo>
                    <a:pt x="83839" y="132788"/>
                  </a:moveTo>
                  <a:lnTo>
                    <a:pt x="88782" y="133807"/>
                  </a:lnTo>
                  <a:lnTo>
                    <a:pt x="92402" y="133340"/>
                  </a:lnTo>
                  <a:lnTo>
                    <a:pt x="95678" y="133969"/>
                  </a:lnTo>
                  <a:lnTo>
                    <a:pt x="97717" y="135122"/>
                  </a:lnTo>
                  <a:lnTo>
                    <a:pt x="98203" y="135693"/>
                  </a:lnTo>
                  <a:lnTo>
                    <a:pt x="95565" y="135769"/>
                  </a:lnTo>
                  <a:lnTo>
                    <a:pt x="92573" y="135303"/>
                  </a:lnTo>
                  <a:lnTo>
                    <a:pt x="89183" y="136474"/>
                  </a:lnTo>
                  <a:lnTo>
                    <a:pt x="86192" y="135855"/>
                  </a:lnTo>
                  <a:lnTo>
                    <a:pt x="85058" y="135084"/>
                  </a:lnTo>
                  <a:lnTo>
                    <a:pt x="84258" y="134131"/>
                  </a:lnTo>
                  <a:lnTo>
                    <a:pt x="83839" y="132788"/>
                  </a:lnTo>
                  <a:close/>
                  <a:moveTo>
                    <a:pt x="109424" y="141056"/>
                  </a:moveTo>
                  <a:lnTo>
                    <a:pt x="113072" y="143542"/>
                  </a:lnTo>
                  <a:lnTo>
                    <a:pt x="102375" y="140275"/>
                  </a:lnTo>
                  <a:lnTo>
                    <a:pt x="103584" y="139979"/>
                  </a:lnTo>
                  <a:lnTo>
                    <a:pt x="104718" y="139913"/>
                  </a:lnTo>
                  <a:lnTo>
                    <a:pt x="109424" y="141056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8" name="Forme libre : forme 26">
              <a:extLst>
                <a:ext uri="{FF2B5EF4-FFF2-40B4-BE49-F238E27FC236}">
                  <a16:creationId xmlns:a16="http://schemas.microsoft.com/office/drawing/2014/main" id="{0AC4486D-97B9-6AD3-C3C3-3A1691D2789E}"/>
                </a:ext>
              </a:extLst>
            </p:cNvPr>
            <p:cNvSpPr/>
            <p:nvPr/>
          </p:nvSpPr>
          <p:spPr>
            <a:xfrm>
              <a:off x="6347379" y="4613642"/>
              <a:ext cx="472710" cy="275399"/>
            </a:xfrm>
            <a:custGeom>
              <a:avLst/>
              <a:gdLst>
                <a:gd name="connsiteX0" fmla="*/ 161439 w 181336"/>
                <a:gd name="connsiteY0" fmla="*/ 5953 h 109775"/>
                <a:gd name="connsiteX1" fmla="*/ 163982 w 181336"/>
                <a:gd name="connsiteY1" fmla="*/ 5629 h 109775"/>
                <a:gd name="connsiteX2" fmla="*/ 164087 w 181336"/>
                <a:gd name="connsiteY2" fmla="*/ 5677 h 109775"/>
                <a:gd name="connsiteX3" fmla="*/ 164687 w 181336"/>
                <a:gd name="connsiteY3" fmla="*/ 5867 h 109775"/>
                <a:gd name="connsiteX4" fmla="*/ 165116 w 181336"/>
                <a:gd name="connsiteY4" fmla="*/ 7734 h 109775"/>
                <a:gd name="connsiteX5" fmla="*/ 165182 w 181336"/>
                <a:gd name="connsiteY5" fmla="*/ 7858 h 109775"/>
                <a:gd name="connsiteX6" fmla="*/ 165802 w 181336"/>
                <a:gd name="connsiteY6" fmla="*/ 9087 h 109775"/>
                <a:gd name="connsiteX7" fmla="*/ 166373 w 181336"/>
                <a:gd name="connsiteY7" fmla="*/ 10716 h 109775"/>
                <a:gd name="connsiteX8" fmla="*/ 167268 w 181336"/>
                <a:gd name="connsiteY8" fmla="*/ 11944 h 109775"/>
                <a:gd name="connsiteX9" fmla="*/ 169240 w 181336"/>
                <a:gd name="connsiteY9" fmla="*/ 12449 h 109775"/>
                <a:gd name="connsiteX10" fmla="*/ 171812 w 181336"/>
                <a:gd name="connsiteY10" fmla="*/ 13964 h 109775"/>
                <a:gd name="connsiteX11" fmla="*/ 173479 w 181336"/>
                <a:gd name="connsiteY11" fmla="*/ 16821 h 109775"/>
                <a:gd name="connsiteX12" fmla="*/ 175984 w 181336"/>
                <a:gd name="connsiteY12" fmla="*/ 18002 h 109775"/>
                <a:gd name="connsiteX13" fmla="*/ 176165 w 181336"/>
                <a:gd name="connsiteY13" fmla="*/ 18031 h 109775"/>
                <a:gd name="connsiteX14" fmla="*/ 176660 w 181336"/>
                <a:gd name="connsiteY14" fmla="*/ 17897 h 109775"/>
                <a:gd name="connsiteX15" fmla="*/ 178470 w 181336"/>
                <a:gd name="connsiteY15" fmla="*/ 17793 h 109775"/>
                <a:gd name="connsiteX16" fmla="*/ 178822 w 181336"/>
                <a:gd name="connsiteY16" fmla="*/ 18364 h 109775"/>
                <a:gd name="connsiteX17" fmla="*/ 180261 w 181336"/>
                <a:gd name="connsiteY17" fmla="*/ 19764 h 109775"/>
                <a:gd name="connsiteX18" fmla="*/ 180823 w 181336"/>
                <a:gd name="connsiteY18" fmla="*/ 20984 h 109775"/>
                <a:gd name="connsiteX19" fmla="*/ 180537 w 181336"/>
                <a:gd name="connsiteY19" fmla="*/ 22279 h 109775"/>
                <a:gd name="connsiteX20" fmla="*/ 180794 w 181336"/>
                <a:gd name="connsiteY20" fmla="*/ 23746 h 109775"/>
                <a:gd name="connsiteX21" fmla="*/ 181337 w 181336"/>
                <a:gd name="connsiteY21" fmla="*/ 24260 h 109775"/>
                <a:gd name="connsiteX22" fmla="*/ 180680 w 181336"/>
                <a:gd name="connsiteY22" fmla="*/ 25241 h 109775"/>
                <a:gd name="connsiteX23" fmla="*/ 176003 w 181336"/>
                <a:gd name="connsiteY23" fmla="*/ 30156 h 109775"/>
                <a:gd name="connsiteX24" fmla="*/ 174164 w 181336"/>
                <a:gd name="connsiteY24" fmla="*/ 31452 h 109775"/>
                <a:gd name="connsiteX25" fmla="*/ 172955 w 181336"/>
                <a:gd name="connsiteY25" fmla="*/ 31718 h 109775"/>
                <a:gd name="connsiteX26" fmla="*/ 171040 w 181336"/>
                <a:gd name="connsiteY26" fmla="*/ 31204 h 109775"/>
                <a:gd name="connsiteX27" fmla="*/ 169069 w 181336"/>
                <a:gd name="connsiteY27" fmla="*/ 31595 h 109775"/>
                <a:gd name="connsiteX28" fmla="*/ 167307 w 181336"/>
                <a:gd name="connsiteY28" fmla="*/ 32642 h 109775"/>
                <a:gd name="connsiteX29" fmla="*/ 165678 w 181336"/>
                <a:gd name="connsiteY29" fmla="*/ 32976 h 109775"/>
                <a:gd name="connsiteX30" fmla="*/ 164449 w 181336"/>
                <a:gd name="connsiteY30" fmla="*/ 34223 h 109775"/>
                <a:gd name="connsiteX31" fmla="*/ 162858 w 181336"/>
                <a:gd name="connsiteY31" fmla="*/ 36890 h 109775"/>
                <a:gd name="connsiteX32" fmla="*/ 160896 w 181336"/>
                <a:gd name="connsiteY32" fmla="*/ 39138 h 109775"/>
                <a:gd name="connsiteX33" fmla="*/ 158925 w 181336"/>
                <a:gd name="connsiteY33" fmla="*/ 40539 h 109775"/>
                <a:gd name="connsiteX34" fmla="*/ 157896 w 181336"/>
                <a:gd name="connsiteY34" fmla="*/ 41786 h 109775"/>
                <a:gd name="connsiteX35" fmla="*/ 157782 w 181336"/>
                <a:gd name="connsiteY35" fmla="*/ 46092 h 109775"/>
                <a:gd name="connsiteX36" fmla="*/ 156686 w 181336"/>
                <a:gd name="connsiteY36" fmla="*/ 47330 h 109775"/>
                <a:gd name="connsiteX37" fmla="*/ 155219 w 181336"/>
                <a:gd name="connsiteY37" fmla="*/ 48578 h 109775"/>
                <a:gd name="connsiteX38" fmla="*/ 154410 w 181336"/>
                <a:gd name="connsiteY38" fmla="*/ 49673 h 109775"/>
                <a:gd name="connsiteX39" fmla="*/ 152172 w 181336"/>
                <a:gd name="connsiteY39" fmla="*/ 56207 h 109775"/>
                <a:gd name="connsiteX40" fmla="*/ 150476 w 181336"/>
                <a:gd name="connsiteY40" fmla="*/ 58293 h 109775"/>
                <a:gd name="connsiteX41" fmla="*/ 148857 w 181336"/>
                <a:gd name="connsiteY41" fmla="*/ 59893 h 109775"/>
                <a:gd name="connsiteX42" fmla="*/ 148590 w 181336"/>
                <a:gd name="connsiteY42" fmla="*/ 61351 h 109775"/>
                <a:gd name="connsiteX43" fmla="*/ 148618 w 181336"/>
                <a:gd name="connsiteY43" fmla="*/ 63027 h 109775"/>
                <a:gd name="connsiteX44" fmla="*/ 146790 w 181336"/>
                <a:gd name="connsiteY44" fmla="*/ 66361 h 109775"/>
                <a:gd name="connsiteX45" fmla="*/ 144389 w 181336"/>
                <a:gd name="connsiteY45" fmla="*/ 69809 h 109775"/>
                <a:gd name="connsiteX46" fmla="*/ 143932 w 181336"/>
                <a:gd name="connsiteY46" fmla="*/ 71228 h 109775"/>
                <a:gd name="connsiteX47" fmla="*/ 144466 w 181336"/>
                <a:gd name="connsiteY47" fmla="*/ 73133 h 109775"/>
                <a:gd name="connsiteX48" fmla="*/ 142161 w 181336"/>
                <a:gd name="connsiteY48" fmla="*/ 75324 h 109775"/>
                <a:gd name="connsiteX49" fmla="*/ 140837 w 181336"/>
                <a:gd name="connsiteY49" fmla="*/ 76381 h 109775"/>
                <a:gd name="connsiteX50" fmla="*/ 139732 w 181336"/>
                <a:gd name="connsiteY50" fmla="*/ 76876 h 109775"/>
                <a:gd name="connsiteX51" fmla="*/ 139046 w 181336"/>
                <a:gd name="connsiteY51" fmla="*/ 78248 h 109775"/>
                <a:gd name="connsiteX52" fmla="*/ 137922 w 181336"/>
                <a:gd name="connsiteY52" fmla="*/ 81591 h 109775"/>
                <a:gd name="connsiteX53" fmla="*/ 138217 w 181336"/>
                <a:gd name="connsiteY53" fmla="*/ 83077 h 109775"/>
                <a:gd name="connsiteX54" fmla="*/ 138246 w 181336"/>
                <a:gd name="connsiteY54" fmla="*/ 84449 h 109775"/>
                <a:gd name="connsiteX55" fmla="*/ 136303 w 181336"/>
                <a:gd name="connsiteY55" fmla="*/ 85249 h 109775"/>
                <a:gd name="connsiteX56" fmla="*/ 135731 w 181336"/>
                <a:gd name="connsiteY56" fmla="*/ 86754 h 109775"/>
                <a:gd name="connsiteX57" fmla="*/ 135236 w 181336"/>
                <a:gd name="connsiteY57" fmla="*/ 88621 h 109775"/>
                <a:gd name="connsiteX58" fmla="*/ 134426 w 181336"/>
                <a:gd name="connsiteY58" fmla="*/ 89459 h 109775"/>
                <a:gd name="connsiteX59" fmla="*/ 132245 w 181336"/>
                <a:gd name="connsiteY59" fmla="*/ 91012 h 109775"/>
                <a:gd name="connsiteX60" fmla="*/ 126816 w 181336"/>
                <a:gd name="connsiteY60" fmla="*/ 90335 h 109775"/>
                <a:gd name="connsiteX61" fmla="*/ 124768 w 181336"/>
                <a:gd name="connsiteY61" fmla="*/ 90859 h 109775"/>
                <a:gd name="connsiteX62" fmla="*/ 124158 w 181336"/>
                <a:gd name="connsiteY62" fmla="*/ 91964 h 109775"/>
                <a:gd name="connsiteX63" fmla="*/ 124034 w 181336"/>
                <a:gd name="connsiteY63" fmla="*/ 92850 h 109775"/>
                <a:gd name="connsiteX64" fmla="*/ 123349 w 181336"/>
                <a:gd name="connsiteY64" fmla="*/ 93688 h 109775"/>
                <a:gd name="connsiteX65" fmla="*/ 122120 w 181336"/>
                <a:gd name="connsiteY65" fmla="*/ 94726 h 109775"/>
                <a:gd name="connsiteX66" fmla="*/ 120853 w 181336"/>
                <a:gd name="connsiteY66" fmla="*/ 95193 h 109775"/>
                <a:gd name="connsiteX67" fmla="*/ 118024 w 181336"/>
                <a:gd name="connsiteY67" fmla="*/ 93907 h 109775"/>
                <a:gd name="connsiteX68" fmla="*/ 111957 w 181336"/>
                <a:gd name="connsiteY68" fmla="*/ 95222 h 109775"/>
                <a:gd name="connsiteX69" fmla="*/ 110909 w 181336"/>
                <a:gd name="connsiteY69" fmla="*/ 96155 h 109775"/>
                <a:gd name="connsiteX70" fmla="*/ 110061 w 181336"/>
                <a:gd name="connsiteY70" fmla="*/ 95479 h 109775"/>
                <a:gd name="connsiteX71" fmla="*/ 108756 w 181336"/>
                <a:gd name="connsiteY71" fmla="*/ 94879 h 109775"/>
                <a:gd name="connsiteX72" fmla="*/ 102689 w 181336"/>
                <a:gd name="connsiteY72" fmla="*/ 94117 h 109775"/>
                <a:gd name="connsiteX73" fmla="*/ 100289 w 181336"/>
                <a:gd name="connsiteY73" fmla="*/ 94717 h 109775"/>
                <a:gd name="connsiteX74" fmla="*/ 97079 w 181336"/>
                <a:gd name="connsiteY74" fmla="*/ 94488 h 109775"/>
                <a:gd name="connsiteX75" fmla="*/ 94116 w 181336"/>
                <a:gd name="connsiteY75" fmla="*/ 93821 h 109775"/>
                <a:gd name="connsiteX76" fmla="*/ 91897 w 181336"/>
                <a:gd name="connsiteY76" fmla="*/ 94364 h 109775"/>
                <a:gd name="connsiteX77" fmla="*/ 89945 w 181336"/>
                <a:gd name="connsiteY77" fmla="*/ 96974 h 109775"/>
                <a:gd name="connsiteX78" fmla="*/ 88973 w 181336"/>
                <a:gd name="connsiteY78" fmla="*/ 97850 h 109775"/>
                <a:gd name="connsiteX79" fmla="*/ 88211 w 181336"/>
                <a:gd name="connsiteY79" fmla="*/ 98412 h 109775"/>
                <a:gd name="connsiteX80" fmla="*/ 86544 w 181336"/>
                <a:gd name="connsiteY80" fmla="*/ 99231 h 109775"/>
                <a:gd name="connsiteX81" fmla="*/ 85144 w 181336"/>
                <a:gd name="connsiteY81" fmla="*/ 100212 h 109775"/>
                <a:gd name="connsiteX82" fmla="*/ 83286 w 181336"/>
                <a:gd name="connsiteY82" fmla="*/ 100917 h 109775"/>
                <a:gd name="connsiteX83" fmla="*/ 81619 w 181336"/>
                <a:gd name="connsiteY83" fmla="*/ 100822 h 109775"/>
                <a:gd name="connsiteX84" fmla="*/ 80048 w 181336"/>
                <a:gd name="connsiteY84" fmla="*/ 99698 h 109775"/>
                <a:gd name="connsiteX85" fmla="*/ 79486 w 181336"/>
                <a:gd name="connsiteY85" fmla="*/ 99956 h 109775"/>
                <a:gd name="connsiteX86" fmla="*/ 78991 w 181336"/>
                <a:gd name="connsiteY86" fmla="*/ 100994 h 109775"/>
                <a:gd name="connsiteX87" fmla="*/ 78134 w 181336"/>
                <a:gd name="connsiteY87" fmla="*/ 101870 h 109775"/>
                <a:gd name="connsiteX88" fmla="*/ 75781 w 181336"/>
                <a:gd name="connsiteY88" fmla="*/ 102956 h 109775"/>
                <a:gd name="connsiteX89" fmla="*/ 75181 w 181336"/>
                <a:gd name="connsiteY89" fmla="*/ 102937 h 109775"/>
                <a:gd name="connsiteX90" fmla="*/ 75047 w 181336"/>
                <a:gd name="connsiteY90" fmla="*/ 102937 h 109775"/>
                <a:gd name="connsiteX91" fmla="*/ 73247 w 181336"/>
                <a:gd name="connsiteY91" fmla="*/ 103737 h 109775"/>
                <a:gd name="connsiteX92" fmla="*/ 70275 w 181336"/>
                <a:gd name="connsiteY92" fmla="*/ 104185 h 109775"/>
                <a:gd name="connsiteX93" fmla="*/ 68780 w 181336"/>
                <a:gd name="connsiteY93" fmla="*/ 103870 h 109775"/>
                <a:gd name="connsiteX94" fmla="*/ 66075 w 181336"/>
                <a:gd name="connsiteY94" fmla="*/ 107471 h 109775"/>
                <a:gd name="connsiteX95" fmla="*/ 65246 w 181336"/>
                <a:gd name="connsiteY95" fmla="*/ 108128 h 109775"/>
                <a:gd name="connsiteX96" fmla="*/ 62665 w 181336"/>
                <a:gd name="connsiteY96" fmla="*/ 109223 h 109775"/>
                <a:gd name="connsiteX97" fmla="*/ 60560 w 181336"/>
                <a:gd name="connsiteY97" fmla="*/ 109776 h 109775"/>
                <a:gd name="connsiteX98" fmla="*/ 58750 w 181336"/>
                <a:gd name="connsiteY98" fmla="*/ 109338 h 109775"/>
                <a:gd name="connsiteX99" fmla="*/ 58035 w 181336"/>
                <a:gd name="connsiteY99" fmla="*/ 109299 h 109775"/>
                <a:gd name="connsiteX100" fmla="*/ 50016 w 181336"/>
                <a:gd name="connsiteY100" fmla="*/ 109119 h 109775"/>
                <a:gd name="connsiteX101" fmla="*/ 45825 w 181336"/>
                <a:gd name="connsiteY101" fmla="*/ 108347 h 109775"/>
                <a:gd name="connsiteX102" fmla="*/ 43139 w 181336"/>
                <a:gd name="connsiteY102" fmla="*/ 106937 h 109775"/>
                <a:gd name="connsiteX103" fmla="*/ 41348 w 181336"/>
                <a:gd name="connsiteY103" fmla="*/ 105366 h 109775"/>
                <a:gd name="connsiteX104" fmla="*/ 40471 w 181336"/>
                <a:gd name="connsiteY104" fmla="*/ 103622 h 109775"/>
                <a:gd name="connsiteX105" fmla="*/ 38395 w 181336"/>
                <a:gd name="connsiteY105" fmla="*/ 102575 h 109775"/>
                <a:gd name="connsiteX106" fmla="*/ 35109 w 181336"/>
                <a:gd name="connsiteY106" fmla="*/ 102203 h 109775"/>
                <a:gd name="connsiteX107" fmla="*/ 32556 w 181336"/>
                <a:gd name="connsiteY107" fmla="*/ 100470 h 109775"/>
                <a:gd name="connsiteX108" fmla="*/ 30718 w 181336"/>
                <a:gd name="connsiteY108" fmla="*/ 97384 h 109775"/>
                <a:gd name="connsiteX109" fmla="*/ 28251 w 181336"/>
                <a:gd name="connsiteY109" fmla="*/ 94936 h 109775"/>
                <a:gd name="connsiteX110" fmla="*/ 25117 w 181336"/>
                <a:gd name="connsiteY110" fmla="*/ 93126 h 109775"/>
                <a:gd name="connsiteX111" fmla="*/ 22641 w 181336"/>
                <a:gd name="connsiteY111" fmla="*/ 90573 h 109775"/>
                <a:gd name="connsiteX112" fmla="*/ 20812 w 181336"/>
                <a:gd name="connsiteY112" fmla="*/ 87268 h 109775"/>
                <a:gd name="connsiteX113" fmla="*/ 17516 w 181336"/>
                <a:gd name="connsiteY113" fmla="*/ 84287 h 109775"/>
                <a:gd name="connsiteX114" fmla="*/ 12754 w 181336"/>
                <a:gd name="connsiteY114" fmla="*/ 81639 h 109775"/>
                <a:gd name="connsiteX115" fmla="*/ 11316 w 181336"/>
                <a:gd name="connsiteY115" fmla="*/ 81058 h 109775"/>
                <a:gd name="connsiteX116" fmla="*/ 11030 w 181336"/>
                <a:gd name="connsiteY116" fmla="*/ 80201 h 109775"/>
                <a:gd name="connsiteX117" fmla="*/ 8706 w 181336"/>
                <a:gd name="connsiteY117" fmla="*/ 76905 h 109775"/>
                <a:gd name="connsiteX118" fmla="*/ 7705 w 181336"/>
                <a:gd name="connsiteY118" fmla="*/ 75686 h 109775"/>
                <a:gd name="connsiteX119" fmla="*/ 7801 w 181336"/>
                <a:gd name="connsiteY119" fmla="*/ 74048 h 109775"/>
                <a:gd name="connsiteX120" fmla="*/ 7334 w 181336"/>
                <a:gd name="connsiteY120" fmla="*/ 73114 h 109775"/>
                <a:gd name="connsiteX121" fmla="*/ 6486 w 181336"/>
                <a:gd name="connsiteY121" fmla="*/ 72466 h 109775"/>
                <a:gd name="connsiteX122" fmla="*/ 6029 w 181336"/>
                <a:gd name="connsiteY122" fmla="*/ 70095 h 109775"/>
                <a:gd name="connsiteX123" fmla="*/ 5762 w 181336"/>
                <a:gd name="connsiteY123" fmla="*/ 68323 h 109775"/>
                <a:gd name="connsiteX124" fmla="*/ 5096 w 181336"/>
                <a:gd name="connsiteY124" fmla="*/ 67180 h 109775"/>
                <a:gd name="connsiteX125" fmla="*/ 0 w 181336"/>
                <a:gd name="connsiteY125" fmla="*/ 66942 h 109775"/>
                <a:gd name="connsiteX126" fmla="*/ 4267 w 181336"/>
                <a:gd name="connsiteY126" fmla="*/ 62713 h 109775"/>
                <a:gd name="connsiteX127" fmla="*/ 6391 w 181336"/>
                <a:gd name="connsiteY127" fmla="*/ 61532 h 109775"/>
                <a:gd name="connsiteX128" fmla="*/ 8849 w 181336"/>
                <a:gd name="connsiteY128" fmla="*/ 61732 h 109775"/>
                <a:gd name="connsiteX129" fmla="*/ 9639 w 181336"/>
                <a:gd name="connsiteY129" fmla="*/ 61351 h 109775"/>
                <a:gd name="connsiteX130" fmla="*/ 9849 w 181336"/>
                <a:gd name="connsiteY130" fmla="*/ 60731 h 109775"/>
                <a:gd name="connsiteX131" fmla="*/ 10268 w 181336"/>
                <a:gd name="connsiteY131" fmla="*/ 59350 h 109775"/>
                <a:gd name="connsiteX132" fmla="*/ 10477 w 181336"/>
                <a:gd name="connsiteY132" fmla="*/ 58046 h 109775"/>
                <a:gd name="connsiteX133" fmla="*/ 10687 w 181336"/>
                <a:gd name="connsiteY133" fmla="*/ 56807 h 109775"/>
                <a:gd name="connsiteX134" fmla="*/ 10420 w 181336"/>
                <a:gd name="connsiteY134" fmla="*/ 56121 h 109775"/>
                <a:gd name="connsiteX135" fmla="*/ 9230 w 181336"/>
                <a:gd name="connsiteY135" fmla="*/ 55902 h 109775"/>
                <a:gd name="connsiteX136" fmla="*/ 8658 w 181336"/>
                <a:gd name="connsiteY136" fmla="*/ 52864 h 109775"/>
                <a:gd name="connsiteX137" fmla="*/ 9267 w 181336"/>
                <a:gd name="connsiteY137" fmla="*/ 51711 h 109775"/>
                <a:gd name="connsiteX138" fmla="*/ 9877 w 181336"/>
                <a:gd name="connsiteY138" fmla="*/ 50911 h 109775"/>
                <a:gd name="connsiteX139" fmla="*/ 9125 w 181336"/>
                <a:gd name="connsiteY139" fmla="*/ 47206 h 109775"/>
                <a:gd name="connsiteX140" fmla="*/ 9353 w 181336"/>
                <a:gd name="connsiteY140" fmla="*/ 45939 h 109775"/>
                <a:gd name="connsiteX141" fmla="*/ 11277 w 181336"/>
                <a:gd name="connsiteY141" fmla="*/ 45739 h 109775"/>
                <a:gd name="connsiteX142" fmla="*/ 12868 w 181336"/>
                <a:gd name="connsiteY142" fmla="*/ 44949 h 109775"/>
                <a:gd name="connsiteX143" fmla="*/ 14173 w 181336"/>
                <a:gd name="connsiteY143" fmla="*/ 44053 h 109775"/>
                <a:gd name="connsiteX144" fmla="*/ 14535 w 181336"/>
                <a:gd name="connsiteY144" fmla="*/ 42901 h 109775"/>
                <a:gd name="connsiteX145" fmla="*/ 15602 w 181336"/>
                <a:gd name="connsiteY145" fmla="*/ 40557 h 109775"/>
                <a:gd name="connsiteX146" fmla="*/ 14621 w 181336"/>
                <a:gd name="connsiteY146" fmla="*/ 37681 h 109775"/>
                <a:gd name="connsiteX147" fmla="*/ 9067 w 181336"/>
                <a:gd name="connsiteY147" fmla="*/ 35805 h 109775"/>
                <a:gd name="connsiteX148" fmla="*/ 8782 w 181336"/>
                <a:gd name="connsiteY148" fmla="*/ 35090 h 109775"/>
                <a:gd name="connsiteX149" fmla="*/ 10068 w 181336"/>
                <a:gd name="connsiteY149" fmla="*/ 34271 h 109775"/>
                <a:gd name="connsiteX150" fmla="*/ 11449 w 181336"/>
                <a:gd name="connsiteY150" fmla="*/ 33109 h 109775"/>
                <a:gd name="connsiteX151" fmla="*/ 12249 w 181336"/>
                <a:gd name="connsiteY151" fmla="*/ 32195 h 109775"/>
                <a:gd name="connsiteX152" fmla="*/ 13316 w 181336"/>
                <a:gd name="connsiteY152" fmla="*/ 32071 h 109775"/>
                <a:gd name="connsiteX153" fmla="*/ 14821 w 181336"/>
                <a:gd name="connsiteY153" fmla="*/ 32538 h 109775"/>
                <a:gd name="connsiteX154" fmla="*/ 17507 w 181336"/>
                <a:gd name="connsiteY154" fmla="*/ 34623 h 109775"/>
                <a:gd name="connsiteX155" fmla="*/ 18526 w 181336"/>
                <a:gd name="connsiteY155" fmla="*/ 34928 h 109775"/>
                <a:gd name="connsiteX156" fmla="*/ 19517 w 181336"/>
                <a:gd name="connsiteY156" fmla="*/ 34319 h 109775"/>
                <a:gd name="connsiteX157" fmla="*/ 20574 w 181336"/>
                <a:gd name="connsiteY157" fmla="*/ 34185 h 109775"/>
                <a:gd name="connsiteX158" fmla="*/ 23536 w 181336"/>
                <a:gd name="connsiteY158" fmla="*/ 34262 h 109775"/>
                <a:gd name="connsiteX159" fmla="*/ 26032 w 181336"/>
                <a:gd name="connsiteY159" fmla="*/ 33776 h 109775"/>
                <a:gd name="connsiteX160" fmla="*/ 25470 w 181336"/>
                <a:gd name="connsiteY160" fmla="*/ 31557 h 109775"/>
                <a:gd name="connsiteX161" fmla="*/ 25479 w 181336"/>
                <a:gd name="connsiteY161" fmla="*/ 29937 h 109775"/>
                <a:gd name="connsiteX162" fmla="*/ 25051 w 181336"/>
                <a:gd name="connsiteY162" fmla="*/ 28642 h 109775"/>
                <a:gd name="connsiteX163" fmla="*/ 25317 w 181336"/>
                <a:gd name="connsiteY163" fmla="*/ 27222 h 109775"/>
                <a:gd name="connsiteX164" fmla="*/ 26327 w 181336"/>
                <a:gd name="connsiteY164" fmla="*/ 26108 h 109775"/>
                <a:gd name="connsiteX165" fmla="*/ 26632 w 181336"/>
                <a:gd name="connsiteY165" fmla="*/ 23613 h 109775"/>
                <a:gd name="connsiteX166" fmla="*/ 28184 w 181336"/>
                <a:gd name="connsiteY166" fmla="*/ 21927 h 109775"/>
                <a:gd name="connsiteX167" fmla="*/ 28918 w 181336"/>
                <a:gd name="connsiteY167" fmla="*/ 21679 h 109775"/>
                <a:gd name="connsiteX168" fmla="*/ 31661 w 181336"/>
                <a:gd name="connsiteY168" fmla="*/ 21993 h 109775"/>
                <a:gd name="connsiteX169" fmla="*/ 32308 w 181336"/>
                <a:gd name="connsiteY169" fmla="*/ 22431 h 109775"/>
                <a:gd name="connsiteX170" fmla="*/ 32728 w 181336"/>
                <a:gd name="connsiteY170" fmla="*/ 22527 h 109775"/>
                <a:gd name="connsiteX171" fmla="*/ 37099 w 181336"/>
                <a:gd name="connsiteY171" fmla="*/ 26632 h 109775"/>
                <a:gd name="connsiteX172" fmla="*/ 41234 w 181336"/>
                <a:gd name="connsiteY172" fmla="*/ 29718 h 109775"/>
                <a:gd name="connsiteX173" fmla="*/ 44615 w 181336"/>
                <a:gd name="connsiteY173" fmla="*/ 31299 h 109775"/>
                <a:gd name="connsiteX174" fmla="*/ 49587 w 181336"/>
                <a:gd name="connsiteY174" fmla="*/ 31423 h 109775"/>
                <a:gd name="connsiteX175" fmla="*/ 54873 w 181336"/>
                <a:gd name="connsiteY175" fmla="*/ 31566 h 109775"/>
                <a:gd name="connsiteX176" fmla="*/ 63712 w 181336"/>
                <a:gd name="connsiteY176" fmla="*/ 31023 h 109775"/>
                <a:gd name="connsiteX177" fmla="*/ 70342 w 181336"/>
                <a:gd name="connsiteY177" fmla="*/ 30623 h 109775"/>
                <a:gd name="connsiteX178" fmla="*/ 70780 w 181336"/>
                <a:gd name="connsiteY178" fmla="*/ 29851 h 109775"/>
                <a:gd name="connsiteX179" fmla="*/ 71781 w 181336"/>
                <a:gd name="connsiteY179" fmla="*/ 28013 h 109775"/>
                <a:gd name="connsiteX180" fmla="*/ 70980 w 181336"/>
                <a:gd name="connsiteY180" fmla="*/ 26432 h 109775"/>
                <a:gd name="connsiteX181" fmla="*/ 71028 w 181336"/>
                <a:gd name="connsiteY181" fmla="*/ 24575 h 109775"/>
                <a:gd name="connsiteX182" fmla="*/ 72142 w 181336"/>
                <a:gd name="connsiteY182" fmla="*/ 22155 h 109775"/>
                <a:gd name="connsiteX183" fmla="*/ 75419 w 181336"/>
                <a:gd name="connsiteY183" fmla="*/ 20136 h 109775"/>
                <a:gd name="connsiteX184" fmla="*/ 84801 w 181336"/>
                <a:gd name="connsiteY184" fmla="*/ 19250 h 109775"/>
                <a:gd name="connsiteX185" fmla="*/ 90192 w 181336"/>
                <a:gd name="connsiteY185" fmla="*/ 17745 h 109775"/>
                <a:gd name="connsiteX186" fmla="*/ 91011 w 181336"/>
                <a:gd name="connsiteY186" fmla="*/ 15697 h 109775"/>
                <a:gd name="connsiteX187" fmla="*/ 92793 w 181336"/>
                <a:gd name="connsiteY187" fmla="*/ 13668 h 109775"/>
                <a:gd name="connsiteX188" fmla="*/ 94431 w 181336"/>
                <a:gd name="connsiteY188" fmla="*/ 13259 h 109775"/>
                <a:gd name="connsiteX189" fmla="*/ 96669 w 181336"/>
                <a:gd name="connsiteY189" fmla="*/ 14192 h 109775"/>
                <a:gd name="connsiteX190" fmla="*/ 99365 w 181336"/>
                <a:gd name="connsiteY190" fmla="*/ 15973 h 109775"/>
                <a:gd name="connsiteX191" fmla="*/ 101736 w 181336"/>
                <a:gd name="connsiteY191" fmla="*/ 16926 h 109775"/>
                <a:gd name="connsiteX192" fmla="*/ 103118 w 181336"/>
                <a:gd name="connsiteY192" fmla="*/ 16316 h 109775"/>
                <a:gd name="connsiteX193" fmla="*/ 107880 w 181336"/>
                <a:gd name="connsiteY193" fmla="*/ 13306 h 109775"/>
                <a:gd name="connsiteX194" fmla="*/ 113366 w 181336"/>
                <a:gd name="connsiteY194" fmla="*/ 10354 h 109775"/>
                <a:gd name="connsiteX195" fmla="*/ 117138 w 181336"/>
                <a:gd name="connsiteY195" fmla="*/ 2353 h 109775"/>
                <a:gd name="connsiteX196" fmla="*/ 117548 w 181336"/>
                <a:gd name="connsiteY196" fmla="*/ 1067 h 109775"/>
                <a:gd name="connsiteX197" fmla="*/ 121634 w 181336"/>
                <a:gd name="connsiteY197" fmla="*/ 153 h 109775"/>
                <a:gd name="connsiteX198" fmla="*/ 127606 w 181336"/>
                <a:gd name="connsiteY198" fmla="*/ 315 h 109775"/>
                <a:gd name="connsiteX199" fmla="*/ 130673 w 181336"/>
                <a:gd name="connsiteY199" fmla="*/ 1362 h 109775"/>
                <a:gd name="connsiteX200" fmla="*/ 132979 w 181336"/>
                <a:gd name="connsiteY200" fmla="*/ 1915 h 109775"/>
                <a:gd name="connsiteX201" fmla="*/ 136427 w 181336"/>
                <a:gd name="connsiteY201" fmla="*/ 1724 h 109775"/>
                <a:gd name="connsiteX202" fmla="*/ 141398 w 181336"/>
                <a:gd name="connsiteY202" fmla="*/ 0 h 109775"/>
                <a:gd name="connsiteX203" fmla="*/ 143237 w 181336"/>
                <a:gd name="connsiteY203" fmla="*/ 48 h 109775"/>
                <a:gd name="connsiteX204" fmla="*/ 144666 w 181336"/>
                <a:gd name="connsiteY204" fmla="*/ 1267 h 109775"/>
                <a:gd name="connsiteX205" fmla="*/ 146228 w 181336"/>
                <a:gd name="connsiteY205" fmla="*/ 2324 h 109775"/>
                <a:gd name="connsiteX206" fmla="*/ 147285 w 181336"/>
                <a:gd name="connsiteY206" fmla="*/ 3610 h 109775"/>
                <a:gd name="connsiteX207" fmla="*/ 148085 w 181336"/>
                <a:gd name="connsiteY207" fmla="*/ 5429 h 109775"/>
                <a:gd name="connsiteX208" fmla="*/ 148514 w 181336"/>
                <a:gd name="connsiteY208" fmla="*/ 6106 h 109775"/>
                <a:gd name="connsiteX209" fmla="*/ 149209 w 181336"/>
                <a:gd name="connsiteY209" fmla="*/ 7039 h 109775"/>
                <a:gd name="connsiteX210" fmla="*/ 150466 w 181336"/>
                <a:gd name="connsiteY210" fmla="*/ 8315 h 109775"/>
                <a:gd name="connsiteX211" fmla="*/ 151676 w 181336"/>
                <a:gd name="connsiteY211" fmla="*/ 8649 h 109775"/>
                <a:gd name="connsiteX212" fmla="*/ 160887 w 181336"/>
                <a:gd name="connsiteY212" fmla="*/ 6430 h 10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</a:cxnLst>
              <a:rect l="l" t="t" r="r" b="b"/>
              <a:pathLst>
                <a:path w="181336" h="109775">
                  <a:moveTo>
                    <a:pt x="161439" y="5953"/>
                  </a:moveTo>
                  <a:lnTo>
                    <a:pt x="163982" y="5629"/>
                  </a:lnTo>
                  <a:lnTo>
                    <a:pt x="164087" y="5677"/>
                  </a:lnTo>
                  <a:lnTo>
                    <a:pt x="164687" y="5867"/>
                  </a:lnTo>
                  <a:lnTo>
                    <a:pt x="165116" y="7734"/>
                  </a:lnTo>
                  <a:lnTo>
                    <a:pt x="165182" y="7858"/>
                  </a:lnTo>
                  <a:lnTo>
                    <a:pt x="165802" y="9087"/>
                  </a:lnTo>
                  <a:lnTo>
                    <a:pt x="166373" y="10716"/>
                  </a:lnTo>
                  <a:lnTo>
                    <a:pt x="167268" y="11944"/>
                  </a:lnTo>
                  <a:lnTo>
                    <a:pt x="169240" y="12449"/>
                  </a:lnTo>
                  <a:lnTo>
                    <a:pt x="171812" y="13964"/>
                  </a:lnTo>
                  <a:lnTo>
                    <a:pt x="173479" y="16821"/>
                  </a:lnTo>
                  <a:lnTo>
                    <a:pt x="175984" y="18002"/>
                  </a:lnTo>
                  <a:lnTo>
                    <a:pt x="176165" y="18031"/>
                  </a:lnTo>
                  <a:lnTo>
                    <a:pt x="176660" y="17897"/>
                  </a:lnTo>
                  <a:lnTo>
                    <a:pt x="178470" y="17793"/>
                  </a:lnTo>
                  <a:lnTo>
                    <a:pt x="178822" y="18364"/>
                  </a:lnTo>
                  <a:lnTo>
                    <a:pt x="180261" y="19764"/>
                  </a:lnTo>
                  <a:lnTo>
                    <a:pt x="180823" y="20984"/>
                  </a:lnTo>
                  <a:lnTo>
                    <a:pt x="180537" y="22279"/>
                  </a:lnTo>
                  <a:lnTo>
                    <a:pt x="180794" y="23746"/>
                  </a:lnTo>
                  <a:lnTo>
                    <a:pt x="181337" y="24260"/>
                  </a:lnTo>
                  <a:lnTo>
                    <a:pt x="180680" y="25241"/>
                  </a:lnTo>
                  <a:lnTo>
                    <a:pt x="176003" y="30156"/>
                  </a:lnTo>
                  <a:lnTo>
                    <a:pt x="174164" y="31452"/>
                  </a:lnTo>
                  <a:lnTo>
                    <a:pt x="172955" y="31718"/>
                  </a:lnTo>
                  <a:lnTo>
                    <a:pt x="171040" y="31204"/>
                  </a:lnTo>
                  <a:lnTo>
                    <a:pt x="169069" y="31595"/>
                  </a:lnTo>
                  <a:lnTo>
                    <a:pt x="167307" y="32642"/>
                  </a:lnTo>
                  <a:lnTo>
                    <a:pt x="165678" y="32976"/>
                  </a:lnTo>
                  <a:lnTo>
                    <a:pt x="164449" y="34223"/>
                  </a:lnTo>
                  <a:lnTo>
                    <a:pt x="162858" y="36890"/>
                  </a:lnTo>
                  <a:lnTo>
                    <a:pt x="160896" y="39138"/>
                  </a:lnTo>
                  <a:lnTo>
                    <a:pt x="158925" y="40539"/>
                  </a:lnTo>
                  <a:lnTo>
                    <a:pt x="157896" y="41786"/>
                  </a:lnTo>
                  <a:lnTo>
                    <a:pt x="157782" y="46092"/>
                  </a:lnTo>
                  <a:lnTo>
                    <a:pt x="156686" y="47330"/>
                  </a:lnTo>
                  <a:lnTo>
                    <a:pt x="155219" y="48578"/>
                  </a:lnTo>
                  <a:lnTo>
                    <a:pt x="154410" y="49673"/>
                  </a:lnTo>
                  <a:lnTo>
                    <a:pt x="152172" y="56207"/>
                  </a:lnTo>
                  <a:lnTo>
                    <a:pt x="150476" y="58293"/>
                  </a:lnTo>
                  <a:lnTo>
                    <a:pt x="148857" y="59893"/>
                  </a:lnTo>
                  <a:lnTo>
                    <a:pt x="148590" y="61351"/>
                  </a:lnTo>
                  <a:lnTo>
                    <a:pt x="148618" y="63027"/>
                  </a:lnTo>
                  <a:lnTo>
                    <a:pt x="146790" y="66361"/>
                  </a:lnTo>
                  <a:lnTo>
                    <a:pt x="144389" y="69809"/>
                  </a:lnTo>
                  <a:lnTo>
                    <a:pt x="143932" y="71228"/>
                  </a:lnTo>
                  <a:lnTo>
                    <a:pt x="144466" y="73133"/>
                  </a:lnTo>
                  <a:lnTo>
                    <a:pt x="142161" y="75324"/>
                  </a:lnTo>
                  <a:lnTo>
                    <a:pt x="140837" y="76381"/>
                  </a:lnTo>
                  <a:lnTo>
                    <a:pt x="139732" y="76876"/>
                  </a:lnTo>
                  <a:lnTo>
                    <a:pt x="139046" y="78248"/>
                  </a:lnTo>
                  <a:lnTo>
                    <a:pt x="137922" y="81591"/>
                  </a:lnTo>
                  <a:lnTo>
                    <a:pt x="138217" y="83077"/>
                  </a:lnTo>
                  <a:lnTo>
                    <a:pt x="138246" y="84449"/>
                  </a:lnTo>
                  <a:lnTo>
                    <a:pt x="136303" y="85249"/>
                  </a:lnTo>
                  <a:lnTo>
                    <a:pt x="135731" y="86754"/>
                  </a:lnTo>
                  <a:lnTo>
                    <a:pt x="135236" y="88621"/>
                  </a:lnTo>
                  <a:lnTo>
                    <a:pt x="134426" y="89459"/>
                  </a:lnTo>
                  <a:lnTo>
                    <a:pt x="132245" y="91012"/>
                  </a:lnTo>
                  <a:lnTo>
                    <a:pt x="126816" y="90335"/>
                  </a:lnTo>
                  <a:lnTo>
                    <a:pt x="124768" y="90859"/>
                  </a:lnTo>
                  <a:lnTo>
                    <a:pt x="124158" y="91964"/>
                  </a:lnTo>
                  <a:lnTo>
                    <a:pt x="124034" y="92850"/>
                  </a:lnTo>
                  <a:lnTo>
                    <a:pt x="123349" y="93688"/>
                  </a:lnTo>
                  <a:lnTo>
                    <a:pt x="122120" y="94726"/>
                  </a:lnTo>
                  <a:lnTo>
                    <a:pt x="120853" y="95193"/>
                  </a:lnTo>
                  <a:lnTo>
                    <a:pt x="118024" y="93907"/>
                  </a:lnTo>
                  <a:lnTo>
                    <a:pt x="111957" y="95222"/>
                  </a:lnTo>
                  <a:lnTo>
                    <a:pt x="110909" y="96155"/>
                  </a:lnTo>
                  <a:lnTo>
                    <a:pt x="110061" y="95479"/>
                  </a:lnTo>
                  <a:lnTo>
                    <a:pt x="108756" y="94879"/>
                  </a:lnTo>
                  <a:lnTo>
                    <a:pt x="102689" y="94117"/>
                  </a:lnTo>
                  <a:lnTo>
                    <a:pt x="100289" y="94717"/>
                  </a:lnTo>
                  <a:lnTo>
                    <a:pt x="97079" y="94488"/>
                  </a:lnTo>
                  <a:lnTo>
                    <a:pt x="94116" y="93821"/>
                  </a:lnTo>
                  <a:lnTo>
                    <a:pt x="91897" y="94364"/>
                  </a:lnTo>
                  <a:lnTo>
                    <a:pt x="89945" y="96974"/>
                  </a:lnTo>
                  <a:lnTo>
                    <a:pt x="88973" y="97850"/>
                  </a:lnTo>
                  <a:lnTo>
                    <a:pt x="88211" y="98412"/>
                  </a:lnTo>
                  <a:lnTo>
                    <a:pt x="86544" y="99231"/>
                  </a:lnTo>
                  <a:lnTo>
                    <a:pt x="85144" y="100212"/>
                  </a:lnTo>
                  <a:lnTo>
                    <a:pt x="83286" y="100917"/>
                  </a:lnTo>
                  <a:lnTo>
                    <a:pt x="81619" y="100822"/>
                  </a:lnTo>
                  <a:lnTo>
                    <a:pt x="80048" y="99698"/>
                  </a:lnTo>
                  <a:lnTo>
                    <a:pt x="79486" y="99956"/>
                  </a:lnTo>
                  <a:lnTo>
                    <a:pt x="78991" y="100994"/>
                  </a:lnTo>
                  <a:lnTo>
                    <a:pt x="78134" y="101870"/>
                  </a:lnTo>
                  <a:lnTo>
                    <a:pt x="75781" y="102956"/>
                  </a:lnTo>
                  <a:lnTo>
                    <a:pt x="75181" y="102937"/>
                  </a:lnTo>
                  <a:lnTo>
                    <a:pt x="75047" y="102937"/>
                  </a:lnTo>
                  <a:lnTo>
                    <a:pt x="73247" y="103737"/>
                  </a:lnTo>
                  <a:lnTo>
                    <a:pt x="70275" y="104185"/>
                  </a:lnTo>
                  <a:lnTo>
                    <a:pt x="68780" y="103870"/>
                  </a:lnTo>
                  <a:lnTo>
                    <a:pt x="66075" y="107471"/>
                  </a:lnTo>
                  <a:lnTo>
                    <a:pt x="65246" y="108128"/>
                  </a:lnTo>
                  <a:lnTo>
                    <a:pt x="62665" y="109223"/>
                  </a:lnTo>
                  <a:lnTo>
                    <a:pt x="60560" y="109776"/>
                  </a:lnTo>
                  <a:lnTo>
                    <a:pt x="58750" y="109338"/>
                  </a:lnTo>
                  <a:lnTo>
                    <a:pt x="58035" y="109299"/>
                  </a:lnTo>
                  <a:lnTo>
                    <a:pt x="50016" y="109119"/>
                  </a:lnTo>
                  <a:lnTo>
                    <a:pt x="45825" y="108347"/>
                  </a:lnTo>
                  <a:lnTo>
                    <a:pt x="43139" y="106937"/>
                  </a:lnTo>
                  <a:lnTo>
                    <a:pt x="41348" y="105366"/>
                  </a:lnTo>
                  <a:lnTo>
                    <a:pt x="40471" y="103622"/>
                  </a:lnTo>
                  <a:lnTo>
                    <a:pt x="38395" y="102575"/>
                  </a:lnTo>
                  <a:lnTo>
                    <a:pt x="35109" y="102203"/>
                  </a:lnTo>
                  <a:lnTo>
                    <a:pt x="32556" y="100470"/>
                  </a:lnTo>
                  <a:lnTo>
                    <a:pt x="30718" y="97384"/>
                  </a:lnTo>
                  <a:lnTo>
                    <a:pt x="28251" y="94936"/>
                  </a:lnTo>
                  <a:lnTo>
                    <a:pt x="25117" y="93126"/>
                  </a:lnTo>
                  <a:lnTo>
                    <a:pt x="22641" y="90573"/>
                  </a:lnTo>
                  <a:lnTo>
                    <a:pt x="20812" y="87268"/>
                  </a:lnTo>
                  <a:lnTo>
                    <a:pt x="17516" y="84287"/>
                  </a:lnTo>
                  <a:lnTo>
                    <a:pt x="12754" y="81639"/>
                  </a:lnTo>
                  <a:lnTo>
                    <a:pt x="11316" y="81058"/>
                  </a:lnTo>
                  <a:lnTo>
                    <a:pt x="11030" y="80201"/>
                  </a:lnTo>
                  <a:lnTo>
                    <a:pt x="8706" y="76905"/>
                  </a:lnTo>
                  <a:lnTo>
                    <a:pt x="7705" y="75686"/>
                  </a:lnTo>
                  <a:lnTo>
                    <a:pt x="7801" y="74048"/>
                  </a:lnTo>
                  <a:lnTo>
                    <a:pt x="7334" y="73114"/>
                  </a:lnTo>
                  <a:lnTo>
                    <a:pt x="6486" y="72466"/>
                  </a:lnTo>
                  <a:lnTo>
                    <a:pt x="6029" y="70095"/>
                  </a:lnTo>
                  <a:lnTo>
                    <a:pt x="5762" y="68323"/>
                  </a:lnTo>
                  <a:lnTo>
                    <a:pt x="5096" y="67180"/>
                  </a:lnTo>
                  <a:lnTo>
                    <a:pt x="0" y="66942"/>
                  </a:lnTo>
                  <a:lnTo>
                    <a:pt x="4267" y="62713"/>
                  </a:lnTo>
                  <a:lnTo>
                    <a:pt x="6391" y="61532"/>
                  </a:lnTo>
                  <a:lnTo>
                    <a:pt x="8849" y="61732"/>
                  </a:lnTo>
                  <a:lnTo>
                    <a:pt x="9639" y="61351"/>
                  </a:lnTo>
                  <a:lnTo>
                    <a:pt x="9849" y="60731"/>
                  </a:lnTo>
                  <a:lnTo>
                    <a:pt x="10268" y="59350"/>
                  </a:lnTo>
                  <a:lnTo>
                    <a:pt x="10477" y="58046"/>
                  </a:lnTo>
                  <a:lnTo>
                    <a:pt x="10687" y="56807"/>
                  </a:lnTo>
                  <a:lnTo>
                    <a:pt x="10420" y="56121"/>
                  </a:lnTo>
                  <a:lnTo>
                    <a:pt x="9230" y="55902"/>
                  </a:lnTo>
                  <a:lnTo>
                    <a:pt x="8658" y="52864"/>
                  </a:lnTo>
                  <a:lnTo>
                    <a:pt x="9267" y="51711"/>
                  </a:lnTo>
                  <a:lnTo>
                    <a:pt x="9877" y="50911"/>
                  </a:lnTo>
                  <a:lnTo>
                    <a:pt x="9125" y="47206"/>
                  </a:lnTo>
                  <a:lnTo>
                    <a:pt x="9353" y="45939"/>
                  </a:lnTo>
                  <a:lnTo>
                    <a:pt x="11277" y="45739"/>
                  </a:lnTo>
                  <a:lnTo>
                    <a:pt x="12868" y="44949"/>
                  </a:lnTo>
                  <a:lnTo>
                    <a:pt x="14173" y="44053"/>
                  </a:lnTo>
                  <a:lnTo>
                    <a:pt x="14535" y="42901"/>
                  </a:lnTo>
                  <a:lnTo>
                    <a:pt x="15602" y="40557"/>
                  </a:lnTo>
                  <a:lnTo>
                    <a:pt x="14621" y="37681"/>
                  </a:lnTo>
                  <a:lnTo>
                    <a:pt x="9067" y="35805"/>
                  </a:lnTo>
                  <a:lnTo>
                    <a:pt x="8782" y="35090"/>
                  </a:lnTo>
                  <a:lnTo>
                    <a:pt x="10068" y="34271"/>
                  </a:lnTo>
                  <a:lnTo>
                    <a:pt x="11449" y="33109"/>
                  </a:lnTo>
                  <a:lnTo>
                    <a:pt x="12249" y="32195"/>
                  </a:lnTo>
                  <a:lnTo>
                    <a:pt x="13316" y="32071"/>
                  </a:lnTo>
                  <a:lnTo>
                    <a:pt x="14821" y="32538"/>
                  </a:lnTo>
                  <a:lnTo>
                    <a:pt x="17507" y="34623"/>
                  </a:lnTo>
                  <a:lnTo>
                    <a:pt x="18526" y="34928"/>
                  </a:lnTo>
                  <a:lnTo>
                    <a:pt x="19517" y="34319"/>
                  </a:lnTo>
                  <a:lnTo>
                    <a:pt x="20574" y="34185"/>
                  </a:lnTo>
                  <a:lnTo>
                    <a:pt x="23536" y="34262"/>
                  </a:lnTo>
                  <a:lnTo>
                    <a:pt x="26032" y="33776"/>
                  </a:lnTo>
                  <a:lnTo>
                    <a:pt x="25470" y="31557"/>
                  </a:lnTo>
                  <a:lnTo>
                    <a:pt x="25479" y="29937"/>
                  </a:lnTo>
                  <a:lnTo>
                    <a:pt x="25051" y="28642"/>
                  </a:lnTo>
                  <a:lnTo>
                    <a:pt x="25317" y="27222"/>
                  </a:lnTo>
                  <a:lnTo>
                    <a:pt x="26327" y="26108"/>
                  </a:lnTo>
                  <a:lnTo>
                    <a:pt x="26632" y="23613"/>
                  </a:lnTo>
                  <a:lnTo>
                    <a:pt x="28184" y="21927"/>
                  </a:lnTo>
                  <a:lnTo>
                    <a:pt x="28918" y="21679"/>
                  </a:lnTo>
                  <a:lnTo>
                    <a:pt x="31661" y="21993"/>
                  </a:lnTo>
                  <a:lnTo>
                    <a:pt x="32308" y="22431"/>
                  </a:lnTo>
                  <a:lnTo>
                    <a:pt x="32728" y="22527"/>
                  </a:lnTo>
                  <a:lnTo>
                    <a:pt x="37099" y="26632"/>
                  </a:lnTo>
                  <a:lnTo>
                    <a:pt x="41234" y="29718"/>
                  </a:lnTo>
                  <a:lnTo>
                    <a:pt x="44615" y="31299"/>
                  </a:lnTo>
                  <a:lnTo>
                    <a:pt x="49587" y="31423"/>
                  </a:lnTo>
                  <a:lnTo>
                    <a:pt x="54873" y="31566"/>
                  </a:lnTo>
                  <a:lnTo>
                    <a:pt x="63712" y="31023"/>
                  </a:lnTo>
                  <a:lnTo>
                    <a:pt x="70342" y="30623"/>
                  </a:lnTo>
                  <a:lnTo>
                    <a:pt x="70780" y="29851"/>
                  </a:lnTo>
                  <a:lnTo>
                    <a:pt x="71781" y="28013"/>
                  </a:lnTo>
                  <a:lnTo>
                    <a:pt x="70980" y="26432"/>
                  </a:lnTo>
                  <a:lnTo>
                    <a:pt x="71028" y="24575"/>
                  </a:lnTo>
                  <a:lnTo>
                    <a:pt x="72142" y="22155"/>
                  </a:lnTo>
                  <a:lnTo>
                    <a:pt x="75419" y="20136"/>
                  </a:lnTo>
                  <a:lnTo>
                    <a:pt x="84801" y="19250"/>
                  </a:lnTo>
                  <a:lnTo>
                    <a:pt x="90192" y="17745"/>
                  </a:lnTo>
                  <a:lnTo>
                    <a:pt x="91011" y="15697"/>
                  </a:lnTo>
                  <a:lnTo>
                    <a:pt x="92793" y="13668"/>
                  </a:lnTo>
                  <a:lnTo>
                    <a:pt x="94431" y="13259"/>
                  </a:lnTo>
                  <a:lnTo>
                    <a:pt x="96669" y="14192"/>
                  </a:lnTo>
                  <a:lnTo>
                    <a:pt x="99365" y="15973"/>
                  </a:lnTo>
                  <a:lnTo>
                    <a:pt x="101736" y="16926"/>
                  </a:lnTo>
                  <a:lnTo>
                    <a:pt x="103118" y="16316"/>
                  </a:lnTo>
                  <a:lnTo>
                    <a:pt x="107880" y="13306"/>
                  </a:lnTo>
                  <a:lnTo>
                    <a:pt x="113366" y="10354"/>
                  </a:lnTo>
                  <a:lnTo>
                    <a:pt x="117138" y="2353"/>
                  </a:lnTo>
                  <a:lnTo>
                    <a:pt x="117548" y="1067"/>
                  </a:lnTo>
                  <a:lnTo>
                    <a:pt x="121634" y="153"/>
                  </a:lnTo>
                  <a:lnTo>
                    <a:pt x="127606" y="315"/>
                  </a:lnTo>
                  <a:lnTo>
                    <a:pt x="130673" y="1362"/>
                  </a:lnTo>
                  <a:lnTo>
                    <a:pt x="132979" y="1915"/>
                  </a:lnTo>
                  <a:lnTo>
                    <a:pt x="136427" y="1724"/>
                  </a:lnTo>
                  <a:lnTo>
                    <a:pt x="141398" y="0"/>
                  </a:lnTo>
                  <a:lnTo>
                    <a:pt x="143237" y="48"/>
                  </a:lnTo>
                  <a:lnTo>
                    <a:pt x="144666" y="1267"/>
                  </a:lnTo>
                  <a:lnTo>
                    <a:pt x="146228" y="2324"/>
                  </a:lnTo>
                  <a:lnTo>
                    <a:pt x="147285" y="3610"/>
                  </a:lnTo>
                  <a:lnTo>
                    <a:pt x="148085" y="5429"/>
                  </a:lnTo>
                  <a:lnTo>
                    <a:pt x="148514" y="6106"/>
                  </a:lnTo>
                  <a:lnTo>
                    <a:pt x="149209" y="7039"/>
                  </a:lnTo>
                  <a:lnTo>
                    <a:pt x="150466" y="8315"/>
                  </a:lnTo>
                  <a:lnTo>
                    <a:pt x="151676" y="8649"/>
                  </a:lnTo>
                  <a:lnTo>
                    <a:pt x="160887" y="6430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9" name="Forme libre : forme 27">
              <a:extLst>
                <a:ext uri="{FF2B5EF4-FFF2-40B4-BE49-F238E27FC236}">
                  <a16:creationId xmlns:a16="http://schemas.microsoft.com/office/drawing/2014/main" id="{4C54B8D5-751D-E064-5C78-13818AACE900}"/>
                </a:ext>
              </a:extLst>
            </p:cNvPr>
            <p:cNvSpPr/>
            <p:nvPr/>
          </p:nvSpPr>
          <p:spPr>
            <a:xfrm>
              <a:off x="4501997" y="3872246"/>
              <a:ext cx="303991" cy="437391"/>
            </a:xfrm>
            <a:custGeom>
              <a:avLst/>
              <a:gdLst>
                <a:gd name="connsiteX0" fmla="*/ 84744 w 116614"/>
                <a:gd name="connsiteY0" fmla="*/ 12811 h 174345"/>
                <a:gd name="connsiteX1" fmla="*/ 80515 w 116614"/>
                <a:gd name="connsiteY1" fmla="*/ 15802 h 174345"/>
                <a:gd name="connsiteX2" fmla="*/ 79858 w 116614"/>
                <a:gd name="connsiteY2" fmla="*/ 16936 h 174345"/>
                <a:gd name="connsiteX3" fmla="*/ 78667 w 116614"/>
                <a:gd name="connsiteY3" fmla="*/ 21498 h 174345"/>
                <a:gd name="connsiteX4" fmla="*/ 78524 w 116614"/>
                <a:gd name="connsiteY4" fmla="*/ 22793 h 174345"/>
                <a:gd name="connsiteX5" fmla="*/ 77162 w 116614"/>
                <a:gd name="connsiteY5" fmla="*/ 25184 h 174345"/>
                <a:gd name="connsiteX6" fmla="*/ 75876 w 116614"/>
                <a:gd name="connsiteY6" fmla="*/ 27842 h 174345"/>
                <a:gd name="connsiteX7" fmla="*/ 74381 w 116614"/>
                <a:gd name="connsiteY7" fmla="*/ 28870 h 174345"/>
                <a:gd name="connsiteX8" fmla="*/ 72152 w 116614"/>
                <a:gd name="connsiteY8" fmla="*/ 29689 h 174345"/>
                <a:gd name="connsiteX9" fmla="*/ 70885 w 116614"/>
                <a:gd name="connsiteY9" fmla="*/ 30499 h 174345"/>
                <a:gd name="connsiteX10" fmla="*/ 69285 w 116614"/>
                <a:gd name="connsiteY10" fmla="*/ 30089 h 174345"/>
                <a:gd name="connsiteX11" fmla="*/ 67266 w 116614"/>
                <a:gd name="connsiteY11" fmla="*/ 30156 h 174345"/>
                <a:gd name="connsiteX12" fmla="*/ 66256 w 116614"/>
                <a:gd name="connsiteY12" fmla="*/ 31061 h 174345"/>
                <a:gd name="connsiteX13" fmla="*/ 66304 w 116614"/>
                <a:gd name="connsiteY13" fmla="*/ 31756 h 174345"/>
                <a:gd name="connsiteX14" fmla="*/ 66903 w 116614"/>
                <a:gd name="connsiteY14" fmla="*/ 32547 h 174345"/>
                <a:gd name="connsiteX15" fmla="*/ 68675 w 116614"/>
                <a:gd name="connsiteY15" fmla="*/ 33766 h 174345"/>
                <a:gd name="connsiteX16" fmla="*/ 70647 w 116614"/>
                <a:gd name="connsiteY16" fmla="*/ 34862 h 174345"/>
                <a:gd name="connsiteX17" fmla="*/ 70428 w 116614"/>
                <a:gd name="connsiteY17" fmla="*/ 35824 h 174345"/>
                <a:gd name="connsiteX18" fmla="*/ 69370 w 116614"/>
                <a:gd name="connsiteY18" fmla="*/ 36909 h 174345"/>
                <a:gd name="connsiteX19" fmla="*/ 62674 w 116614"/>
                <a:gd name="connsiteY19" fmla="*/ 39614 h 174345"/>
                <a:gd name="connsiteX20" fmla="*/ 60684 w 116614"/>
                <a:gd name="connsiteY20" fmla="*/ 41243 h 174345"/>
                <a:gd name="connsiteX21" fmla="*/ 59988 w 116614"/>
                <a:gd name="connsiteY21" fmla="*/ 42320 h 174345"/>
                <a:gd name="connsiteX22" fmla="*/ 60703 w 116614"/>
                <a:gd name="connsiteY22" fmla="*/ 44120 h 174345"/>
                <a:gd name="connsiteX23" fmla="*/ 66046 w 116614"/>
                <a:gd name="connsiteY23" fmla="*/ 49502 h 174345"/>
                <a:gd name="connsiteX24" fmla="*/ 66951 w 116614"/>
                <a:gd name="connsiteY24" fmla="*/ 50092 h 174345"/>
                <a:gd name="connsiteX25" fmla="*/ 67742 w 116614"/>
                <a:gd name="connsiteY25" fmla="*/ 53226 h 174345"/>
                <a:gd name="connsiteX26" fmla="*/ 72457 w 116614"/>
                <a:gd name="connsiteY26" fmla="*/ 54531 h 174345"/>
                <a:gd name="connsiteX27" fmla="*/ 74390 w 116614"/>
                <a:gd name="connsiteY27" fmla="*/ 56483 h 174345"/>
                <a:gd name="connsiteX28" fmla="*/ 76048 w 116614"/>
                <a:gd name="connsiteY28" fmla="*/ 56950 h 174345"/>
                <a:gd name="connsiteX29" fmla="*/ 79658 w 116614"/>
                <a:gd name="connsiteY29" fmla="*/ 56779 h 174345"/>
                <a:gd name="connsiteX30" fmla="*/ 81106 w 116614"/>
                <a:gd name="connsiteY30" fmla="*/ 57512 h 174345"/>
                <a:gd name="connsiteX31" fmla="*/ 81925 w 116614"/>
                <a:gd name="connsiteY31" fmla="*/ 56950 h 174345"/>
                <a:gd name="connsiteX32" fmla="*/ 82401 w 116614"/>
                <a:gd name="connsiteY32" fmla="*/ 55921 h 174345"/>
                <a:gd name="connsiteX33" fmla="*/ 85439 w 116614"/>
                <a:gd name="connsiteY33" fmla="*/ 53273 h 174345"/>
                <a:gd name="connsiteX34" fmla="*/ 86439 w 116614"/>
                <a:gd name="connsiteY34" fmla="*/ 52111 h 174345"/>
                <a:gd name="connsiteX35" fmla="*/ 85839 w 116614"/>
                <a:gd name="connsiteY35" fmla="*/ 50502 h 174345"/>
                <a:gd name="connsiteX36" fmla="*/ 85192 w 116614"/>
                <a:gd name="connsiteY36" fmla="*/ 49273 h 174345"/>
                <a:gd name="connsiteX37" fmla="*/ 87039 w 116614"/>
                <a:gd name="connsiteY37" fmla="*/ 46825 h 174345"/>
                <a:gd name="connsiteX38" fmla="*/ 89278 w 116614"/>
                <a:gd name="connsiteY38" fmla="*/ 44406 h 174345"/>
                <a:gd name="connsiteX39" fmla="*/ 90402 w 116614"/>
                <a:gd name="connsiteY39" fmla="*/ 44482 h 174345"/>
                <a:gd name="connsiteX40" fmla="*/ 92316 w 116614"/>
                <a:gd name="connsiteY40" fmla="*/ 45968 h 174345"/>
                <a:gd name="connsiteX41" fmla="*/ 93897 w 116614"/>
                <a:gd name="connsiteY41" fmla="*/ 48035 h 174345"/>
                <a:gd name="connsiteX42" fmla="*/ 94107 w 116614"/>
                <a:gd name="connsiteY42" fmla="*/ 49635 h 174345"/>
                <a:gd name="connsiteX43" fmla="*/ 94402 w 116614"/>
                <a:gd name="connsiteY43" fmla="*/ 50797 h 174345"/>
                <a:gd name="connsiteX44" fmla="*/ 95898 w 116614"/>
                <a:gd name="connsiteY44" fmla="*/ 53273 h 174345"/>
                <a:gd name="connsiteX45" fmla="*/ 96860 w 116614"/>
                <a:gd name="connsiteY45" fmla="*/ 54131 h 174345"/>
                <a:gd name="connsiteX46" fmla="*/ 99451 w 116614"/>
                <a:gd name="connsiteY46" fmla="*/ 54626 h 174345"/>
                <a:gd name="connsiteX47" fmla="*/ 100060 w 116614"/>
                <a:gd name="connsiteY47" fmla="*/ 55597 h 174345"/>
                <a:gd name="connsiteX48" fmla="*/ 99593 w 116614"/>
                <a:gd name="connsiteY48" fmla="*/ 59179 h 174345"/>
                <a:gd name="connsiteX49" fmla="*/ 99984 w 116614"/>
                <a:gd name="connsiteY49" fmla="*/ 60370 h 174345"/>
                <a:gd name="connsiteX50" fmla="*/ 102699 w 116614"/>
                <a:gd name="connsiteY50" fmla="*/ 60427 h 174345"/>
                <a:gd name="connsiteX51" fmla="*/ 105585 w 116614"/>
                <a:gd name="connsiteY51" fmla="*/ 60141 h 174345"/>
                <a:gd name="connsiteX52" fmla="*/ 106594 w 116614"/>
                <a:gd name="connsiteY52" fmla="*/ 60274 h 174345"/>
                <a:gd name="connsiteX53" fmla="*/ 107632 w 116614"/>
                <a:gd name="connsiteY53" fmla="*/ 59522 h 174345"/>
                <a:gd name="connsiteX54" fmla="*/ 109233 w 116614"/>
                <a:gd name="connsiteY54" fmla="*/ 58712 h 174345"/>
                <a:gd name="connsiteX55" fmla="*/ 111528 w 116614"/>
                <a:gd name="connsiteY55" fmla="*/ 58989 h 174345"/>
                <a:gd name="connsiteX56" fmla="*/ 112652 w 116614"/>
                <a:gd name="connsiteY56" fmla="*/ 60589 h 174345"/>
                <a:gd name="connsiteX57" fmla="*/ 113157 w 116614"/>
                <a:gd name="connsiteY57" fmla="*/ 62236 h 174345"/>
                <a:gd name="connsiteX58" fmla="*/ 111185 w 116614"/>
                <a:gd name="connsiteY58" fmla="*/ 62855 h 174345"/>
                <a:gd name="connsiteX59" fmla="*/ 109128 w 116614"/>
                <a:gd name="connsiteY59" fmla="*/ 62522 h 174345"/>
                <a:gd name="connsiteX60" fmla="*/ 108128 w 116614"/>
                <a:gd name="connsiteY60" fmla="*/ 63598 h 174345"/>
                <a:gd name="connsiteX61" fmla="*/ 108061 w 116614"/>
                <a:gd name="connsiteY61" fmla="*/ 65675 h 174345"/>
                <a:gd name="connsiteX62" fmla="*/ 108756 w 116614"/>
                <a:gd name="connsiteY62" fmla="*/ 68352 h 174345"/>
                <a:gd name="connsiteX63" fmla="*/ 110137 w 116614"/>
                <a:gd name="connsiteY63" fmla="*/ 70247 h 174345"/>
                <a:gd name="connsiteX64" fmla="*/ 111233 w 116614"/>
                <a:gd name="connsiteY64" fmla="*/ 74514 h 174345"/>
                <a:gd name="connsiteX65" fmla="*/ 112147 w 116614"/>
                <a:gd name="connsiteY65" fmla="*/ 79238 h 174345"/>
                <a:gd name="connsiteX66" fmla="*/ 113557 w 116614"/>
                <a:gd name="connsiteY66" fmla="*/ 82087 h 174345"/>
                <a:gd name="connsiteX67" fmla="*/ 113852 w 116614"/>
                <a:gd name="connsiteY67" fmla="*/ 85611 h 174345"/>
                <a:gd name="connsiteX68" fmla="*/ 113643 w 116614"/>
                <a:gd name="connsiteY68" fmla="*/ 87344 h 174345"/>
                <a:gd name="connsiteX69" fmla="*/ 113900 w 116614"/>
                <a:gd name="connsiteY69" fmla="*/ 90459 h 174345"/>
                <a:gd name="connsiteX70" fmla="*/ 113300 w 116614"/>
                <a:gd name="connsiteY70" fmla="*/ 91554 h 174345"/>
                <a:gd name="connsiteX71" fmla="*/ 113747 w 116614"/>
                <a:gd name="connsiteY71" fmla="*/ 94469 h 174345"/>
                <a:gd name="connsiteX72" fmla="*/ 115414 w 116614"/>
                <a:gd name="connsiteY72" fmla="*/ 100479 h 174345"/>
                <a:gd name="connsiteX73" fmla="*/ 116148 w 116614"/>
                <a:gd name="connsiteY73" fmla="*/ 103823 h 174345"/>
                <a:gd name="connsiteX74" fmla="*/ 116615 w 116614"/>
                <a:gd name="connsiteY74" fmla="*/ 111100 h 174345"/>
                <a:gd name="connsiteX75" fmla="*/ 115433 w 116614"/>
                <a:gd name="connsiteY75" fmla="*/ 113814 h 174345"/>
                <a:gd name="connsiteX76" fmla="*/ 113852 w 116614"/>
                <a:gd name="connsiteY76" fmla="*/ 116396 h 174345"/>
                <a:gd name="connsiteX77" fmla="*/ 112814 w 116614"/>
                <a:gd name="connsiteY77" fmla="*/ 119444 h 174345"/>
                <a:gd name="connsiteX78" fmla="*/ 112023 w 116614"/>
                <a:gd name="connsiteY78" fmla="*/ 122730 h 174345"/>
                <a:gd name="connsiteX79" fmla="*/ 111538 w 116614"/>
                <a:gd name="connsiteY79" fmla="*/ 128016 h 174345"/>
                <a:gd name="connsiteX80" fmla="*/ 108109 w 116614"/>
                <a:gd name="connsiteY80" fmla="*/ 134188 h 174345"/>
                <a:gd name="connsiteX81" fmla="*/ 106651 w 116614"/>
                <a:gd name="connsiteY81" fmla="*/ 135722 h 174345"/>
                <a:gd name="connsiteX82" fmla="*/ 104956 w 116614"/>
                <a:gd name="connsiteY82" fmla="*/ 136665 h 174345"/>
                <a:gd name="connsiteX83" fmla="*/ 108652 w 116614"/>
                <a:gd name="connsiteY83" fmla="*/ 140970 h 174345"/>
                <a:gd name="connsiteX84" fmla="*/ 105632 w 116614"/>
                <a:gd name="connsiteY84" fmla="*/ 142885 h 174345"/>
                <a:gd name="connsiteX85" fmla="*/ 102346 w 116614"/>
                <a:gd name="connsiteY85" fmla="*/ 143485 h 174345"/>
                <a:gd name="connsiteX86" fmla="*/ 98708 w 116614"/>
                <a:gd name="connsiteY86" fmla="*/ 142408 h 174345"/>
                <a:gd name="connsiteX87" fmla="*/ 96441 w 116614"/>
                <a:gd name="connsiteY87" fmla="*/ 142542 h 174345"/>
                <a:gd name="connsiteX88" fmla="*/ 94364 w 116614"/>
                <a:gd name="connsiteY88" fmla="*/ 143933 h 174345"/>
                <a:gd name="connsiteX89" fmla="*/ 93554 w 116614"/>
                <a:gd name="connsiteY89" fmla="*/ 144771 h 174345"/>
                <a:gd name="connsiteX90" fmla="*/ 92897 w 116614"/>
                <a:gd name="connsiteY90" fmla="*/ 144371 h 174345"/>
                <a:gd name="connsiteX91" fmla="*/ 91535 w 116614"/>
                <a:gd name="connsiteY91" fmla="*/ 140846 h 174345"/>
                <a:gd name="connsiteX92" fmla="*/ 90535 w 116614"/>
                <a:gd name="connsiteY92" fmla="*/ 144485 h 174345"/>
                <a:gd name="connsiteX93" fmla="*/ 88440 w 116614"/>
                <a:gd name="connsiteY93" fmla="*/ 145647 h 174345"/>
                <a:gd name="connsiteX94" fmla="*/ 84849 w 116614"/>
                <a:gd name="connsiteY94" fmla="*/ 145399 h 174345"/>
                <a:gd name="connsiteX95" fmla="*/ 78848 w 116614"/>
                <a:gd name="connsiteY95" fmla="*/ 146371 h 174345"/>
                <a:gd name="connsiteX96" fmla="*/ 76533 w 116614"/>
                <a:gd name="connsiteY96" fmla="*/ 147399 h 174345"/>
                <a:gd name="connsiteX97" fmla="*/ 75571 w 116614"/>
                <a:gd name="connsiteY97" fmla="*/ 149019 h 174345"/>
                <a:gd name="connsiteX98" fmla="*/ 74857 w 116614"/>
                <a:gd name="connsiteY98" fmla="*/ 150886 h 174345"/>
                <a:gd name="connsiteX99" fmla="*/ 73914 w 116614"/>
                <a:gd name="connsiteY99" fmla="*/ 151981 h 174345"/>
                <a:gd name="connsiteX100" fmla="*/ 72857 w 116614"/>
                <a:gd name="connsiteY100" fmla="*/ 152562 h 174345"/>
                <a:gd name="connsiteX101" fmla="*/ 68218 w 116614"/>
                <a:gd name="connsiteY101" fmla="*/ 153934 h 174345"/>
                <a:gd name="connsiteX102" fmla="*/ 67304 w 116614"/>
                <a:gd name="connsiteY102" fmla="*/ 154486 h 174345"/>
                <a:gd name="connsiteX103" fmla="*/ 65151 w 116614"/>
                <a:gd name="connsiteY103" fmla="*/ 157486 h 174345"/>
                <a:gd name="connsiteX104" fmla="*/ 62341 w 116614"/>
                <a:gd name="connsiteY104" fmla="*/ 159220 h 174345"/>
                <a:gd name="connsiteX105" fmla="*/ 60007 w 116614"/>
                <a:gd name="connsiteY105" fmla="*/ 159744 h 174345"/>
                <a:gd name="connsiteX106" fmla="*/ 57941 w 116614"/>
                <a:gd name="connsiteY106" fmla="*/ 158001 h 174345"/>
                <a:gd name="connsiteX107" fmla="*/ 57093 w 116614"/>
                <a:gd name="connsiteY107" fmla="*/ 156953 h 174345"/>
                <a:gd name="connsiteX108" fmla="*/ 56131 w 116614"/>
                <a:gd name="connsiteY108" fmla="*/ 156420 h 174345"/>
                <a:gd name="connsiteX109" fmla="*/ 52949 w 116614"/>
                <a:gd name="connsiteY109" fmla="*/ 156505 h 174345"/>
                <a:gd name="connsiteX110" fmla="*/ 53950 w 116614"/>
                <a:gd name="connsiteY110" fmla="*/ 157048 h 174345"/>
                <a:gd name="connsiteX111" fmla="*/ 54597 w 116614"/>
                <a:gd name="connsiteY111" fmla="*/ 158277 h 174345"/>
                <a:gd name="connsiteX112" fmla="*/ 54912 w 116614"/>
                <a:gd name="connsiteY112" fmla="*/ 160639 h 174345"/>
                <a:gd name="connsiteX113" fmla="*/ 54550 w 116614"/>
                <a:gd name="connsiteY113" fmla="*/ 162954 h 174345"/>
                <a:gd name="connsiteX114" fmla="*/ 52978 w 116614"/>
                <a:gd name="connsiteY114" fmla="*/ 164125 h 174345"/>
                <a:gd name="connsiteX115" fmla="*/ 51111 w 116614"/>
                <a:gd name="connsiteY115" fmla="*/ 164344 h 174345"/>
                <a:gd name="connsiteX116" fmla="*/ 48158 w 116614"/>
                <a:gd name="connsiteY116" fmla="*/ 166735 h 174345"/>
                <a:gd name="connsiteX117" fmla="*/ 44253 w 116614"/>
                <a:gd name="connsiteY117" fmla="*/ 167383 h 174345"/>
                <a:gd name="connsiteX118" fmla="*/ 42139 w 116614"/>
                <a:gd name="connsiteY118" fmla="*/ 169583 h 174345"/>
                <a:gd name="connsiteX119" fmla="*/ 29223 w 116614"/>
                <a:gd name="connsiteY119" fmla="*/ 173298 h 174345"/>
                <a:gd name="connsiteX120" fmla="*/ 28489 w 116614"/>
                <a:gd name="connsiteY120" fmla="*/ 173336 h 174345"/>
                <a:gd name="connsiteX121" fmla="*/ 26708 w 116614"/>
                <a:gd name="connsiteY121" fmla="*/ 172393 h 174345"/>
                <a:gd name="connsiteX122" fmla="*/ 24775 w 116614"/>
                <a:gd name="connsiteY122" fmla="*/ 171974 h 174345"/>
                <a:gd name="connsiteX123" fmla="*/ 22850 w 116614"/>
                <a:gd name="connsiteY123" fmla="*/ 172269 h 174345"/>
                <a:gd name="connsiteX124" fmla="*/ 17440 w 116614"/>
                <a:gd name="connsiteY124" fmla="*/ 174346 h 174345"/>
                <a:gd name="connsiteX125" fmla="*/ 14821 w 116614"/>
                <a:gd name="connsiteY125" fmla="*/ 173936 h 174345"/>
                <a:gd name="connsiteX126" fmla="*/ 18164 w 116614"/>
                <a:gd name="connsiteY126" fmla="*/ 168774 h 174345"/>
                <a:gd name="connsiteX127" fmla="*/ 22650 w 116614"/>
                <a:gd name="connsiteY127" fmla="*/ 166164 h 174345"/>
                <a:gd name="connsiteX128" fmla="*/ 23117 w 116614"/>
                <a:gd name="connsiteY128" fmla="*/ 165450 h 174345"/>
                <a:gd name="connsiteX129" fmla="*/ 21650 w 116614"/>
                <a:gd name="connsiteY129" fmla="*/ 165097 h 174345"/>
                <a:gd name="connsiteX130" fmla="*/ 13116 w 116614"/>
                <a:gd name="connsiteY130" fmla="*/ 166907 h 174345"/>
                <a:gd name="connsiteX131" fmla="*/ 10154 w 116614"/>
                <a:gd name="connsiteY131" fmla="*/ 168450 h 174345"/>
                <a:gd name="connsiteX132" fmla="*/ 7191 w 116614"/>
                <a:gd name="connsiteY132" fmla="*/ 168898 h 174345"/>
                <a:gd name="connsiteX133" fmla="*/ 8563 w 116614"/>
                <a:gd name="connsiteY133" fmla="*/ 166535 h 174345"/>
                <a:gd name="connsiteX134" fmla="*/ 12382 w 116614"/>
                <a:gd name="connsiteY134" fmla="*/ 163306 h 174345"/>
                <a:gd name="connsiteX135" fmla="*/ 14431 w 116614"/>
                <a:gd name="connsiteY135" fmla="*/ 161782 h 174345"/>
                <a:gd name="connsiteX136" fmla="*/ 15678 w 116614"/>
                <a:gd name="connsiteY136" fmla="*/ 161173 h 174345"/>
                <a:gd name="connsiteX137" fmla="*/ 17107 w 116614"/>
                <a:gd name="connsiteY137" fmla="*/ 159268 h 174345"/>
                <a:gd name="connsiteX138" fmla="*/ 21136 w 116614"/>
                <a:gd name="connsiteY138" fmla="*/ 157106 h 174345"/>
                <a:gd name="connsiteX139" fmla="*/ 8163 w 116614"/>
                <a:gd name="connsiteY139" fmla="*/ 161563 h 174345"/>
                <a:gd name="connsiteX140" fmla="*/ 4753 w 116614"/>
                <a:gd name="connsiteY140" fmla="*/ 161020 h 174345"/>
                <a:gd name="connsiteX141" fmla="*/ 3953 w 116614"/>
                <a:gd name="connsiteY141" fmla="*/ 159782 h 174345"/>
                <a:gd name="connsiteX142" fmla="*/ 1305 w 116614"/>
                <a:gd name="connsiteY142" fmla="*/ 160372 h 174345"/>
                <a:gd name="connsiteX143" fmla="*/ 295 w 116614"/>
                <a:gd name="connsiteY143" fmla="*/ 157353 h 174345"/>
                <a:gd name="connsiteX144" fmla="*/ 4229 w 116614"/>
                <a:gd name="connsiteY144" fmla="*/ 152791 h 174345"/>
                <a:gd name="connsiteX145" fmla="*/ 6525 w 116614"/>
                <a:gd name="connsiteY145" fmla="*/ 150819 h 174345"/>
                <a:gd name="connsiteX146" fmla="*/ 9249 w 116614"/>
                <a:gd name="connsiteY146" fmla="*/ 149752 h 174345"/>
                <a:gd name="connsiteX147" fmla="*/ 11868 w 116614"/>
                <a:gd name="connsiteY147" fmla="*/ 148219 h 174345"/>
                <a:gd name="connsiteX148" fmla="*/ 12840 w 116614"/>
                <a:gd name="connsiteY148" fmla="*/ 146352 h 174345"/>
                <a:gd name="connsiteX149" fmla="*/ 11611 w 116614"/>
                <a:gd name="connsiteY149" fmla="*/ 145752 h 174345"/>
                <a:gd name="connsiteX150" fmla="*/ 3762 w 116614"/>
                <a:gd name="connsiteY150" fmla="*/ 146228 h 174345"/>
                <a:gd name="connsiteX151" fmla="*/ 0 w 116614"/>
                <a:gd name="connsiteY151" fmla="*/ 145828 h 174345"/>
                <a:gd name="connsiteX152" fmla="*/ 200 w 116614"/>
                <a:gd name="connsiteY152" fmla="*/ 144342 h 174345"/>
                <a:gd name="connsiteX153" fmla="*/ 895 w 116614"/>
                <a:gd name="connsiteY153" fmla="*/ 142694 h 174345"/>
                <a:gd name="connsiteX154" fmla="*/ 4791 w 116614"/>
                <a:gd name="connsiteY154" fmla="*/ 139875 h 174345"/>
                <a:gd name="connsiteX155" fmla="*/ 6906 w 116614"/>
                <a:gd name="connsiteY155" fmla="*/ 139427 h 174345"/>
                <a:gd name="connsiteX156" fmla="*/ 8782 w 116614"/>
                <a:gd name="connsiteY156" fmla="*/ 139694 h 174345"/>
                <a:gd name="connsiteX157" fmla="*/ 10611 w 116614"/>
                <a:gd name="connsiteY157" fmla="*/ 140418 h 174345"/>
                <a:gd name="connsiteX158" fmla="*/ 12106 w 116614"/>
                <a:gd name="connsiteY158" fmla="*/ 141361 h 174345"/>
                <a:gd name="connsiteX159" fmla="*/ 16526 w 116614"/>
                <a:gd name="connsiteY159" fmla="*/ 140818 h 174345"/>
                <a:gd name="connsiteX160" fmla="*/ 14678 w 116614"/>
                <a:gd name="connsiteY160" fmla="*/ 139017 h 174345"/>
                <a:gd name="connsiteX161" fmla="*/ 14354 w 116614"/>
                <a:gd name="connsiteY161" fmla="*/ 135350 h 174345"/>
                <a:gd name="connsiteX162" fmla="*/ 12945 w 116614"/>
                <a:gd name="connsiteY162" fmla="*/ 134122 h 174345"/>
                <a:gd name="connsiteX163" fmla="*/ 14745 w 116614"/>
                <a:gd name="connsiteY163" fmla="*/ 132417 h 174345"/>
                <a:gd name="connsiteX164" fmla="*/ 16812 w 116614"/>
                <a:gd name="connsiteY164" fmla="*/ 131388 h 174345"/>
                <a:gd name="connsiteX165" fmla="*/ 20260 w 116614"/>
                <a:gd name="connsiteY165" fmla="*/ 127854 h 174345"/>
                <a:gd name="connsiteX166" fmla="*/ 21489 w 116614"/>
                <a:gd name="connsiteY166" fmla="*/ 127311 h 174345"/>
                <a:gd name="connsiteX167" fmla="*/ 28308 w 116614"/>
                <a:gd name="connsiteY167" fmla="*/ 126454 h 174345"/>
                <a:gd name="connsiteX168" fmla="*/ 35661 w 116614"/>
                <a:gd name="connsiteY168" fmla="*/ 124597 h 174345"/>
                <a:gd name="connsiteX169" fmla="*/ 42948 w 116614"/>
                <a:gd name="connsiteY169" fmla="*/ 122025 h 174345"/>
                <a:gd name="connsiteX170" fmla="*/ 39205 w 116614"/>
                <a:gd name="connsiteY170" fmla="*/ 120587 h 174345"/>
                <a:gd name="connsiteX171" fmla="*/ 37414 w 116614"/>
                <a:gd name="connsiteY171" fmla="*/ 118682 h 174345"/>
                <a:gd name="connsiteX172" fmla="*/ 34538 w 116614"/>
                <a:gd name="connsiteY172" fmla="*/ 122520 h 174345"/>
                <a:gd name="connsiteX173" fmla="*/ 32461 w 116614"/>
                <a:gd name="connsiteY173" fmla="*/ 123987 h 174345"/>
                <a:gd name="connsiteX174" fmla="*/ 26613 w 116614"/>
                <a:gd name="connsiteY174" fmla="*/ 124778 h 174345"/>
                <a:gd name="connsiteX175" fmla="*/ 24765 w 116614"/>
                <a:gd name="connsiteY175" fmla="*/ 124349 h 174345"/>
                <a:gd name="connsiteX176" fmla="*/ 22155 w 116614"/>
                <a:gd name="connsiteY176" fmla="*/ 123158 h 174345"/>
                <a:gd name="connsiteX177" fmla="*/ 21346 w 116614"/>
                <a:gd name="connsiteY177" fmla="*/ 123606 h 174345"/>
                <a:gd name="connsiteX178" fmla="*/ 20593 w 116614"/>
                <a:gd name="connsiteY178" fmla="*/ 124520 h 174345"/>
                <a:gd name="connsiteX179" fmla="*/ 16716 w 116614"/>
                <a:gd name="connsiteY179" fmla="*/ 126397 h 174345"/>
                <a:gd name="connsiteX180" fmla="*/ 12649 w 116614"/>
                <a:gd name="connsiteY180" fmla="*/ 126845 h 174345"/>
                <a:gd name="connsiteX181" fmla="*/ 17383 w 116614"/>
                <a:gd name="connsiteY181" fmla="*/ 123397 h 174345"/>
                <a:gd name="connsiteX182" fmla="*/ 23393 w 116614"/>
                <a:gd name="connsiteY182" fmla="*/ 117538 h 174345"/>
                <a:gd name="connsiteX183" fmla="*/ 24727 w 116614"/>
                <a:gd name="connsiteY183" fmla="*/ 115691 h 174345"/>
                <a:gd name="connsiteX184" fmla="*/ 26632 w 116614"/>
                <a:gd name="connsiteY184" fmla="*/ 112462 h 174345"/>
                <a:gd name="connsiteX185" fmla="*/ 26041 w 116614"/>
                <a:gd name="connsiteY185" fmla="*/ 111023 h 174345"/>
                <a:gd name="connsiteX186" fmla="*/ 24803 w 116614"/>
                <a:gd name="connsiteY186" fmla="*/ 110204 h 174345"/>
                <a:gd name="connsiteX187" fmla="*/ 29156 w 116614"/>
                <a:gd name="connsiteY187" fmla="*/ 103537 h 174345"/>
                <a:gd name="connsiteX188" fmla="*/ 30690 w 116614"/>
                <a:gd name="connsiteY188" fmla="*/ 102327 h 174345"/>
                <a:gd name="connsiteX189" fmla="*/ 33471 w 116614"/>
                <a:gd name="connsiteY189" fmla="*/ 102127 h 174345"/>
                <a:gd name="connsiteX190" fmla="*/ 35519 w 116614"/>
                <a:gd name="connsiteY190" fmla="*/ 101070 h 174345"/>
                <a:gd name="connsiteX191" fmla="*/ 36424 w 116614"/>
                <a:gd name="connsiteY191" fmla="*/ 101070 h 174345"/>
                <a:gd name="connsiteX192" fmla="*/ 37233 w 116614"/>
                <a:gd name="connsiteY192" fmla="*/ 100670 h 174345"/>
                <a:gd name="connsiteX193" fmla="*/ 39024 w 116614"/>
                <a:gd name="connsiteY193" fmla="*/ 98670 h 174345"/>
                <a:gd name="connsiteX194" fmla="*/ 36262 w 116614"/>
                <a:gd name="connsiteY194" fmla="*/ 97393 h 174345"/>
                <a:gd name="connsiteX195" fmla="*/ 33404 w 116614"/>
                <a:gd name="connsiteY195" fmla="*/ 96736 h 174345"/>
                <a:gd name="connsiteX196" fmla="*/ 24574 w 116614"/>
                <a:gd name="connsiteY196" fmla="*/ 97431 h 174345"/>
                <a:gd name="connsiteX197" fmla="*/ 23413 w 116614"/>
                <a:gd name="connsiteY197" fmla="*/ 97279 h 174345"/>
                <a:gd name="connsiteX198" fmla="*/ 22317 w 116614"/>
                <a:gd name="connsiteY198" fmla="*/ 96660 h 174345"/>
                <a:gd name="connsiteX199" fmla="*/ 21603 w 116614"/>
                <a:gd name="connsiteY199" fmla="*/ 95774 h 174345"/>
                <a:gd name="connsiteX200" fmla="*/ 21069 w 116614"/>
                <a:gd name="connsiteY200" fmla="*/ 93497 h 174345"/>
                <a:gd name="connsiteX201" fmla="*/ 20422 w 116614"/>
                <a:gd name="connsiteY201" fmla="*/ 92983 h 174345"/>
                <a:gd name="connsiteX202" fmla="*/ 18431 w 116614"/>
                <a:gd name="connsiteY202" fmla="*/ 92983 h 174345"/>
                <a:gd name="connsiteX203" fmla="*/ 16459 w 116614"/>
                <a:gd name="connsiteY203" fmla="*/ 93679 h 174345"/>
                <a:gd name="connsiteX204" fmla="*/ 15088 w 116614"/>
                <a:gd name="connsiteY204" fmla="*/ 93612 h 174345"/>
                <a:gd name="connsiteX205" fmla="*/ 13745 w 116614"/>
                <a:gd name="connsiteY205" fmla="*/ 92612 h 174345"/>
                <a:gd name="connsiteX206" fmla="*/ 15897 w 116614"/>
                <a:gd name="connsiteY206" fmla="*/ 90278 h 174345"/>
                <a:gd name="connsiteX207" fmla="*/ 13125 w 116614"/>
                <a:gd name="connsiteY207" fmla="*/ 89726 h 174345"/>
                <a:gd name="connsiteX208" fmla="*/ 10325 w 116614"/>
                <a:gd name="connsiteY208" fmla="*/ 90183 h 174345"/>
                <a:gd name="connsiteX209" fmla="*/ 7991 w 116614"/>
                <a:gd name="connsiteY209" fmla="*/ 89468 h 174345"/>
                <a:gd name="connsiteX210" fmla="*/ 7925 w 116614"/>
                <a:gd name="connsiteY210" fmla="*/ 88002 h 174345"/>
                <a:gd name="connsiteX211" fmla="*/ 8982 w 116614"/>
                <a:gd name="connsiteY211" fmla="*/ 86535 h 174345"/>
                <a:gd name="connsiteX212" fmla="*/ 7591 w 116614"/>
                <a:gd name="connsiteY212" fmla="*/ 85144 h 174345"/>
                <a:gd name="connsiteX213" fmla="*/ 7306 w 116614"/>
                <a:gd name="connsiteY213" fmla="*/ 83382 h 174345"/>
                <a:gd name="connsiteX214" fmla="*/ 8782 w 116614"/>
                <a:gd name="connsiteY214" fmla="*/ 82515 h 174345"/>
                <a:gd name="connsiteX215" fmla="*/ 10392 w 116614"/>
                <a:gd name="connsiteY215" fmla="*/ 82801 h 174345"/>
                <a:gd name="connsiteX216" fmla="*/ 13678 w 116614"/>
                <a:gd name="connsiteY216" fmla="*/ 81496 h 174345"/>
                <a:gd name="connsiteX217" fmla="*/ 17897 w 116614"/>
                <a:gd name="connsiteY217" fmla="*/ 80867 h 174345"/>
                <a:gd name="connsiteX218" fmla="*/ 14278 w 116614"/>
                <a:gd name="connsiteY218" fmla="*/ 79581 h 174345"/>
                <a:gd name="connsiteX219" fmla="*/ 12840 w 116614"/>
                <a:gd name="connsiteY219" fmla="*/ 78477 h 174345"/>
                <a:gd name="connsiteX220" fmla="*/ 12773 w 116614"/>
                <a:gd name="connsiteY220" fmla="*/ 76791 h 174345"/>
                <a:gd name="connsiteX221" fmla="*/ 13059 w 116614"/>
                <a:gd name="connsiteY221" fmla="*/ 75343 h 174345"/>
                <a:gd name="connsiteX222" fmla="*/ 17240 w 116614"/>
                <a:gd name="connsiteY222" fmla="*/ 72895 h 174345"/>
                <a:gd name="connsiteX223" fmla="*/ 21698 w 116614"/>
                <a:gd name="connsiteY223" fmla="*/ 71819 h 174345"/>
                <a:gd name="connsiteX224" fmla="*/ 21365 w 116614"/>
                <a:gd name="connsiteY224" fmla="*/ 70209 h 174345"/>
                <a:gd name="connsiteX225" fmla="*/ 21679 w 116614"/>
                <a:gd name="connsiteY225" fmla="*/ 68456 h 174345"/>
                <a:gd name="connsiteX226" fmla="*/ 17174 w 116614"/>
                <a:gd name="connsiteY226" fmla="*/ 67951 h 174345"/>
                <a:gd name="connsiteX227" fmla="*/ 12725 w 116614"/>
                <a:gd name="connsiteY227" fmla="*/ 69180 h 174345"/>
                <a:gd name="connsiteX228" fmla="*/ 13202 w 116614"/>
                <a:gd name="connsiteY228" fmla="*/ 65837 h 174345"/>
                <a:gd name="connsiteX229" fmla="*/ 14268 w 116614"/>
                <a:gd name="connsiteY229" fmla="*/ 62808 h 174345"/>
                <a:gd name="connsiteX230" fmla="*/ 14478 w 116614"/>
                <a:gd name="connsiteY230" fmla="*/ 60817 h 174345"/>
                <a:gd name="connsiteX231" fmla="*/ 14268 w 116614"/>
                <a:gd name="connsiteY231" fmla="*/ 58674 h 174345"/>
                <a:gd name="connsiteX232" fmla="*/ 12182 w 116614"/>
                <a:gd name="connsiteY232" fmla="*/ 59589 h 174345"/>
                <a:gd name="connsiteX233" fmla="*/ 11944 w 116614"/>
                <a:gd name="connsiteY233" fmla="*/ 56569 h 174345"/>
                <a:gd name="connsiteX234" fmla="*/ 11049 w 116614"/>
                <a:gd name="connsiteY234" fmla="*/ 54502 h 174345"/>
                <a:gd name="connsiteX235" fmla="*/ 7953 w 116614"/>
                <a:gd name="connsiteY235" fmla="*/ 55931 h 174345"/>
                <a:gd name="connsiteX236" fmla="*/ 8029 w 116614"/>
                <a:gd name="connsiteY236" fmla="*/ 53188 h 174345"/>
                <a:gd name="connsiteX237" fmla="*/ 8925 w 116614"/>
                <a:gd name="connsiteY237" fmla="*/ 51273 h 174345"/>
                <a:gd name="connsiteX238" fmla="*/ 10535 w 116614"/>
                <a:gd name="connsiteY238" fmla="*/ 50445 h 174345"/>
                <a:gd name="connsiteX239" fmla="*/ 12135 w 116614"/>
                <a:gd name="connsiteY239" fmla="*/ 50806 h 174345"/>
                <a:gd name="connsiteX240" fmla="*/ 15116 w 116614"/>
                <a:gd name="connsiteY240" fmla="*/ 50778 h 174345"/>
                <a:gd name="connsiteX241" fmla="*/ 17993 w 116614"/>
                <a:gd name="connsiteY241" fmla="*/ 49330 h 174345"/>
                <a:gd name="connsiteX242" fmla="*/ 22136 w 116614"/>
                <a:gd name="connsiteY242" fmla="*/ 48959 h 174345"/>
                <a:gd name="connsiteX243" fmla="*/ 28727 w 116614"/>
                <a:gd name="connsiteY243" fmla="*/ 49406 h 174345"/>
                <a:gd name="connsiteX244" fmla="*/ 33261 w 116614"/>
                <a:gd name="connsiteY244" fmla="*/ 53473 h 174345"/>
                <a:gd name="connsiteX245" fmla="*/ 34433 w 116614"/>
                <a:gd name="connsiteY245" fmla="*/ 52750 h 174345"/>
                <a:gd name="connsiteX246" fmla="*/ 36243 w 116614"/>
                <a:gd name="connsiteY246" fmla="*/ 50178 h 174345"/>
                <a:gd name="connsiteX247" fmla="*/ 37090 w 116614"/>
                <a:gd name="connsiteY247" fmla="*/ 49892 h 174345"/>
                <a:gd name="connsiteX248" fmla="*/ 43929 w 116614"/>
                <a:gd name="connsiteY248" fmla="*/ 51016 h 174345"/>
                <a:gd name="connsiteX249" fmla="*/ 48168 w 116614"/>
                <a:gd name="connsiteY249" fmla="*/ 52492 h 174345"/>
                <a:gd name="connsiteX250" fmla="*/ 49301 w 116614"/>
                <a:gd name="connsiteY250" fmla="*/ 52035 h 174345"/>
                <a:gd name="connsiteX251" fmla="*/ 48692 w 116614"/>
                <a:gd name="connsiteY251" fmla="*/ 49187 h 174345"/>
                <a:gd name="connsiteX252" fmla="*/ 47235 w 116614"/>
                <a:gd name="connsiteY252" fmla="*/ 47206 h 174345"/>
                <a:gd name="connsiteX253" fmla="*/ 49063 w 116614"/>
                <a:gd name="connsiteY253" fmla="*/ 44615 h 174345"/>
                <a:gd name="connsiteX254" fmla="*/ 51292 w 116614"/>
                <a:gd name="connsiteY254" fmla="*/ 42853 h 174345"/>
                <a:gd name="connsiteX255" fmla="*/ 52787 w 116614"/>
                <a:gd name="connsiteY255" fmla="*/ 41977 h 174345"/>
                <a:gd name="connsiteX256" fmla="*/ 56226 w 116614"/>
                <a:gd name="connsiteY256" fmla="*/ 40882 h 174345"/>
                <a:gd name="connsiteX257" fmla="*/ 57731 w 116614"/>
                <a:gd name="connsiteY257" fmla="*/ 39853 h 174345"/>
                <a:gd name="connsiteX258" fmla="*/ 58731 w 116614"/>
                <a:gd name="connsiteY258" fmla="*/ 36500 h 174345"/>
                <a:gd name="connsiteX259" fmla="*/ 60322 w 116614"/>
                <a:gd name="connsiteY259" fmla="*/ 33709 h 174345"/>
                <a:gd name="connsiteX260" fmla="*/ 51683 w 116614"/>
                <a:gd name="connsiteY260" fmla="*/ 35157 h 174345"/>
                <a:gd name="connsiteX261" fmla="*/ 43462 w 116614"/>
                <a:gd name="connsiteY261" fmla="*/ 31842 h 174345"/>
                <a:gd name="connsiteX262" fmla="*/ 44768 w 116614"/>
                <a:gd name="connsiteY262" fmla="*/ 29499 h 174345"/>
                <a:gd name="connsiteX263" fmla="*/ 46501 w 116614"/>
                <a:gd name="connsiteY263" fmla="*/ 28165 h 174345"/>
                <a:gd name="connsiteX264" fmla="*/ 49492 w 116614"/>
                <a:gd name="connsiteY264" fmla="*/ 27146 h 174345"/>
                <a:gd name="connsiteX265" fmla="*/ 49778 w 116614"/>
                <a:gd name="connsiteY265" fmla="*/ 25918 h 174345"/>
                <a:gd name="connsiteX266" fmla="*/ 51292 w 116614"/>
                <a:gd name="connsiteY266" fmla="*/ 24898 h 174345"/>
                <a:gd name="connsiteX267" fmla="*/ 53797 w 116614"/>
                <a:gd name="connsiteY267" fmla="*/ 22212 h 174345"/>
                <a:gd name="connsiteX268" fmla="*/ 52873 w 116614"/>
                <a:gd name="connsiteY268" fmla="*/ 18698 h 174345"/>
                <a:gd name="connsiteX269" fmla="*/ 53369 w 116614"/>
                <a:gd name="connsiteY269" fmla="*/ 16126 h 174345"/>
                <a:gd name="connsiteX270" fmla="*/ 55169 w 116614"/>
                <a:gd name="connsiteY270" fmla="*/ 14449 h 174345"/>
                <a:gd name="connsiteX271" fmla="*/ 55731 w 116614"/>
                <a:gd name="connsiteY271" fmla="*/ 12040 h 174345"/>
                <a:gd name="connsiteX272" fmla="*/ 56531 w 116614"/>
                <a:gd name="connsiteY272" fmla="*/ 10258 h 174345"/>
                <a:gd name="connsiteX273" fmla="*/ 60188 w 116614"/>
                <a:gd name="connsiteY273" fmla="*/ 9620 h 174345"/>
                <a:gd name="connsiteX274" fmla="*/ 63703 w 116614"/>
                <a:gd name="connsiteY274" fmla="*/ 7972 h 174345"/>
                <a:gd name="connsiteX275" fmla="*/ 64970 w 116614"/>
                <a:gd name="connsiteY275" fmla="*/ 8134 h 174345"/>
                <a:gd name="connsiteX276" fmla="*/ 69132 w 116614"/>
                <a:gd name="connsiteY276" fmla="*/ 7753 h 174345"/>
                <a:gd name="connsiteX277" fmla="*/ 70533 w 116614"/>
                <a:gd name="connsiteY277" fmla="*/ 8420 h 174345"/>
                <a:gd name="connsiteX278" fmla="*/ 70209 w 116614"/>
                <a:gd name="connsiteY278" fmla="*/ 5496 h 174345"/>
                <a:gd name="connsiteX279" fmla="*/ 72762 w 116614"/>
                <a:gd name="connsiteY279" fmla="*/ 5115 h 174345"/>
                <a:gd name="connsiteX280" fmla="*/ 73752 w 116614"/>
                <a:gd name="connsiteY280" fmla="*/ 5696 h 174345"/>
                <a:gd name="connsiteX281" fmla="*/ 74190 w 116614"/>
                <a:gd name="connsiteY281" fmla="*/ 7772 h 174345"/>
                <a:gd name="connsiteX282" fmla="*/ 75352 w 116614"/>
                <a:gd name="connsiteY282" fmla="*/ 9097 h 174345"/>
                <a:gd name="connsiteX283" fmla="*/ 75714 w 116614"/>
                <a:gd name="connsiteY283" fmla="*/ 11392 h 174345"/>
                <a:gd name="connsiteX284" fmla="*/ 74933 w 116614"/>
                <a:gd name="connsiteY284" fmla="*/ 13164 h 174345"/>
                <a:gd name="connsiteX285" fmla="*/ 73628 w 116614"/>
                <a:gd name="connsiteY285" fmla="*/ 14526 h 174345"/>
                <a:gd name="connsiteX286" fmla="*/ 74819 w 116614"/>
                <a:gd name="connsiteY286" fmla="*/ 15916 h 174345"/>
                <a:gd name="connsiteX287" fmla="*/ 72980 w 116614"/>
                <a:gd name="connsiteY287" fmla="*/ 18440 h 174345"/>
                <a:gd name="connsiteX288" fmla="*/ 74962 w 116614"/>
                <a:gd name="connsiteY288" fmla="*/ 17364 h 174345"/>
                <a:gd name="connsiteX289" fmla="*/ 77791 w 116614"/>
                <a:gd name="connsiteY289" fmla="*/ 14897 h 174345"/>
                <a:gd name="connsiteX290" fmla="*/ 77638 w 116614"/>
                <a:gd name="connsiteY290" fmla="*/ 12887 h 174345"/>
                <a:gd name="connsiteX291" fmla="*/ 77162 w 116614"/>
                <a:gd name="connsiteY291" fmla="*/ 10344 h 174345"/>
                <a:gd name="connsiteX292" fmla="*/ 76372 w 116614"/>
                <a:gd name="connsiteY292" fmla="*/ 8049 h 174345"/>
                <a:gd name="connsiteX293" fmla="*/ 76733 w 116614"/>
                <a:gd name="connsiteY293" fmla="*/ 5515 h 174345"/>
                <a:gd name="connsiteX294" fmla="*/ 78324 w 116614"/>
                <a:gd name="connsiteY294" fmla="*/ 3934 h 174345"/>
                <a:gd name="connsiteX295" fmla="*/ 82505 w 116614"/>
                <a:gd name="connsiteY295" fmla="*/ 3134 h 174345"/>
                <a:gd name="connsiteX296" fmla="*/ 80791 w 116614"/>
                <a:gd name="connsiteY296" fmla="*/ 257 h 174345"/>
                <a:gd name="connsiteX297" fmla="*/ 82315 w 116614"/>
                <a:gd name="connsiteY297" fmla="*/ 0 h 174345"/>
                <a:gd name="connsiteX298" fmla="*/ 83972 w 116614"/>
                <a:gd name="connsiteY298" fmla="*/ 600 h 174345"/>
                <a:gd name="connsiteX299" fmla="*/ 86411 w 116614"/>
                <a:gd name="connsiteY299" fmla="*/ 2838 h 174345"/>
                <a:gd name="connsiteX300" fmla="*/ 88954 w 116614"/>
                <a:gd name="connsiteY300" fmla="*/ 4601 h 174345"/>
                <a:gd name="connsiteX301" fmla="*/ 91583 w 116614"/>
                <a:gd name="connsiteY301" fmla="*/ 5991 h 174345"/>
                <a:gd name="connsiteX302" fmla="*/ 89049 w 116614"/>
                <a:gd name="connsiteY302" fmla="*/ 8773 h 174345"/>
                <a:gd name="connsiteX303" fmla="*/ 85935 w 116614"/>
                <a:gd name="connsiteY303" fmla="*/ 10706 h 174345"/>
                <a:gd name="connsiteX304" fmla="*/ 84744 w 116614"/>
                <a:gd name="connsiteY304" fmla="*/ 12811 h 174345"/>
                <a:gd name="connsiteX305" fmla="*/ 11782 w 116614"/>
                <a:gd name="connsiteY305" fmla="*/ 66961 h 174345"/>
                <a:gd name="connsiteX306" fmla="*/ 11668 w 116614"/>
                <a:gd name="connsiteY306" fmla="*/ 68256 h 174345"/>
                <a:gd name="connsiteX307" fmla="*/ 9687 w 116614"/>
                <a:gd name="connsiteY307" fmla="*/ 66628 h 174345"/>
                <a:gd name="connsiteX308" fmla="*/ 8725 w 116614"/>
                <a:gd name="connsiteY308" fmla="*/ 64846 h 174345"/>
                <a:gd name="connsiteX309" fmla="*/ 3296 w 116614"/>
                <a:gd name="connsiteY309" fmla="*/ 64037 h 174345"/>
                <a:gd name="connsiteX310" fmla="*/ 5553 w 116614"/>
                <a:gd name="connsiteY310" fmla="*/ 62256 h 174345"/>
                <a:gd name="connsiteX311" fmla="*/ 6658 w 116614"/>
                <a:gd name="connsiteY311" fmla="*/ 62779 h 174345"/>
                <a:gd name="connsiteX312" fmla="*/ 10496 w 116614"/>
                <a:gd name="connsiteY312" fmla="*/ 62855 h 174345"/>
                <a:gd name="connsiteX313" fmla="*/ 11573 w 116614"/>
                <a:gd name="connsiteY313" fmla="*/ 63598 h 174345"/>
                <a:gd name="connsiteX314" fmla="*/ 11782 w 116614"/>
                <a:gd name="connsiteY314" fmla="*/ 66961 h 174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</a:cxnLst>
              <a:rect l="l" t="t" r="r" b="b"/>
              <a:pathLst>
                <a:path w="116614" h="174345">
                  <a:moveTo>
                    <a:pt x="84744" y="12811"/>
                  </a:moveTo>
                  <a:lnTo>
                    <a:pt x="80515" y="15802"/>
                  </a:lnTo>
                  <a:lnTo>
                    <a:pt x="79858" y="16936"/>
                  </a:lnTo>
                  <a:lnTo>
                    <a:pt x="78667" y="21498"/>
                  </a:lnTo>
                  <a:lnTo>
                    <a:pt x="78524" y="22793"/>
                  </a:lnTo>
                  <a:lnTo>
                    <a:pt x="77162" y="25184"/>
                  </a:lnTo>
                  <a:lnTo>
                    <a:pt x="75876" y="27842"/>
                  </a:lnTo>
                  <a:lnTo>
                    <a:pt x="74381" y="28870"/>
                  </a:lnTo>
                  <a:lnTo>
                    <a:pt x="72152" y="29689"/>
                  </a:lnTo>
                  <a:lnTo>
                    <a:pt x="70885" y="30499"/>
                  </a:lnTo>
                  <a:lnTo>
                    <a:pt x="69285" y="30089"/>
                  </a:lnTo>
                  <a:lnTo>
                    <a:pt x="67266" y="30156"/>
                  </a:lnTo>
                  <a:lnTo>
                    <a:pt x="66256" y="31061"/>
                  </a:lnTo>
                  <a:lnTo>
                    <a:pt x="66304" y="31756"/>
                  </a:lnTo>
                  <a:lnTo>
                    <a:pt x="66903" y="32547"/>
                  </a:lnTo>
                  <a:lnTo>
                    <a:pt x="68675" y="33766"/>
                  </a:lnTo>
                  <a:lnTo>
                    <a:pt x="70647" y="34862"/>
                  </a:lnTo>
                  <a:lnTo>
                    <a:pt x="70428" y="35824"/>
                  </a:lnTo>
                  <a:lnTo>
                    <a:pt x="69370" y="36909"/>
                  </a:lnTo>
                  <a:lnTo>
                    <a:pt x="62674" y="39614"/>
                  </a:lnTo>
                  <a:lnTo>
                    <a:pt x="60684" y="41243"/>
                  </a:lnTo>
                  <a:lnTo>
                    <a:pt x="59988" y="42320"/>
                  </a:lnTo>
                  <a:lnTo>
                    <a:pt x="60703" y="44120"/>
                  </a:lnTo>
                  <a:lnTo>
                    <a:pt x="66046" y="49502"/>
                  </a:lnTo>
                  <a:lnTo>
                    <a:pt x="66951" y="50092"/>
                  </a:lnTo>
                  <a:lnTo>
                    <a:pt x="67742" y="53226"/>
                  </a:lnTo>
                  <a:lnTo>
                    <a:pt x="72457" y="54531"/>
                  </a:lnTo>
                  <a:lnTo>
                    <a:pt x="74390" y="56483"/>
                  </a:lnTo>
                  <a:lnTo>
                    <a:pt x="76048" y="56950"/>
                  </a:lnTo>
                  <a:lnTo>
                    <a:pt x="79658" y="56779"/>
                  </a:lnTo>
                  <a:lnTo>
                    <a:pt x="81106" y="57512"/>
                  </a:lnTo>
                  <a:lnTo>
                    <a:pt x="81925" y="56950"/>
                  </a:lnTo>
                  <a:lnTo>
                    <a:pt x="82401" y="55921"/>
                  </a:lnTo>
                  <a:lnTo>
                    <a:pt x="85439" y="53273"/>
                  </a:lnTo>
                  <a:lnTo>
                    <a:pt x="86439" y="52111"/>
                  </a:lnTo>
                  <a:lnTo>
                    <a:pt x="85839" y="50502"/>
                  </a:lnTo>
                  <a:lnTo>
                    <a:pt x="85192" y="49273"/>
                  </a:lnTo>
                  <a:lnTo>
                    <a:pt x="87039" y="46825"/>
                  </a:lnTo>
                  <a:lnTo>
                    <a:pt x="89278" y="44406"/>
                  </a:lnTo>
                  <a:lnTo>
                    <a:pt x="90402" y="44482"/>
                  </a:lnTo>
                  <a:lnTo>
                    <a:pt x="92316" y="45968"/>
                  </a:lnTo>
                  <a:lnTo>
                    <a:pt x="93897" y="48035"/>
                  </a:lnTo>
                  <a:lnTo>
                    <a:pt x="94107" y="49635"/>
                  </a:lnTo>
                  <a:lnTo>
                    <a:pt x="94402" y="50797"/>
                  </a:lnTo>
                  <a:lnTo>
                    <a:pt x="95898" y="53273"/>
                  </a:lnTo>
                  <a:lnTo>
                    <a:pt x="96860" y="54131"/>
                  </a:lnTo>
                  <a:lnTo>
                    <a:pt x="99451" y="54626"/>
                  </a:lnTo>
                  <a:lnTo>
                    <a:pt x="100060" y="55597"/>
                  </a:lnTo>
                  <a:lnTo>
                    <a:pt x="99593" y="59179"/>
                  </a:lnTo>
                  <a:lnTo>
                    <a:pt x="99984" y="60370"/>
                  </a:lnTo>
                  <a:lnTo>
                    <a:pt x="102699" y="60427"/>
                  </a:lnTo>
                  <a:lnTo>
                    <a:pt x="105585" y="60141"/>
                  </a:lnTo>
                  <a:lnTo>
                    <a:pt x="106594" y="60274"/>
                  </a:lnTo>
                  <a:lnTo>
                    <a:pt x="107632" y="59522"/>
                  </a:lnTo>
                  <a:lnTo>
                    <a:pt x="109233" y="58712"/>
                  </a:lnTo>
                  <a:lnTo>
                    <a:pt x="111528" y="58989"/>
                  </a:lnTo>
                  <a:lnTo>
                    <a:pt x="112652" y="60589"/>
                  </a:lnTo>
                  <a:lnTo>
                    <a:pt x="113157" y="62236"/>
                  </a:lnTo>
                  <a:lnTo>
                    <a:pt x="111185" y="62855"/>
                  </a:lnTo>
                  <a:lnTo>
                    <a:pt x="109128" y="62522"/>
                  </a:lnTo>
                  <a:lnTo>
                    <a:pt x="108128" y="63598"/>
                  </a:lnTo>
                  <a:lnTo>
                    <a:pt x="108061" y="65675"/>
                  </a:lnTo>
                  <a:lnTo>
                    <a:pt x="108756" y="68352"/>
                  </a:lnTo>
                  <a:lnTo>
                    <a:pt x="110137" y="70247"/>
                  </a:lnTo>
                  <a:lnTo>
                    <a:pt x="111233" y="74514"/>
                  </a:lnTo>
                  <a:lnTo>
                    <a:pt x="112147" y="79238"/>
                  </a:lnTo>
                  <a:lnTo>
                    <a:pt x="113557" y="82087"/>
                  </a:lnTo>
                  <a:lnTo>
                    <a:pt x="113852" y="85611"/>
                  </a:lnTo>
                  <a:lnTo>
                    <a:pt x="113643" y="87344"/>
                  </a:lnTo>
                  <a:lnTo>
                    <a:pt x="113900" y="90459"/>
                  </a:lnTo>
                  <a:lnTo>
                    <a:pt x="113300" y="91554"/>
                  </a:lnTo>
                  <a:lnTo>
                    <a:pt x="113747" y="94469"/>
                  </a:lnTo>
                  <a:lnTo>
                    <a:pt x="115414" y="100479"/>
                  </a:lnTo>
                  <a:lnTo>
                    <a:pt x="116148" y="103823"/>
                  </a:lnTo>
                  <a:lnTo>
                    <a:pt x="116615" y="111100"/>
                  </a:lnTo>
                  <a:lnTo>
                    <a:pt x="115433" y="113814"/>
                  </a:lnTo>
                  <a:lnTo>
                    <a:pt x="113852" y="116396"/>
                  </a:lnTo>
                  <a:lnTo>
                    <a:pt x="112814" y="119444"/>
                  </a:lnTo>
                  <a:lnTo>
                    <a:pt x="112023" y="122730"/>
                  </a:lnTo>
                  <a:lnTo>
                    <a:pt x="111538" y="128016"/>
                  </a:lnTo>
                  <a:lnTo>
                    <a:pt x="108109" y="134188"/>
                  </a:lnTo>
                  <a:lnTo>
                    <a:pt x="106651" y="135722"/>
                  </a:lnTo>
                  <a:lnTo>
                    <a:pt x="104956" y="136665"/>
                  </a:lnTo>
                  <a:lnTo>
                    <a:pt x="108652" y="140970"/>
                  </a:lnTo>
                  <a:lnTo>
                    <a:pt x="105632" y="142885"/>
                  </a:lnTo>
                  <a:lnTo>
                    <a:pt x="102346" y="143485"/>
                  </a:lnTo>
                  <a:lnTo>
                    <a:pt x="98708" y="142408"/>
                  </a:lnTo>
                  <a:lnTo>
                    <a:pt x="96441" y="142542"/>
                  </a:lnTo>
                  <a:lnTo>
                    <a:pt x="94364" y="143933"/>
                  </a:lnTo>
                  <a:lnTo>
                    <a:pt x="93554" y="144771"/>
                  </a:lnTo>
                  <a:lnTo>
                    <a:pt x="92897" y="144371"/>
                  </a:lnTo>
                  <a:lnTo>
                    <a:pt x="91535" y="140846"/>
                  </a:lnTo>
                  <a:lnTo>
                    <a:pt x="90535" y="144485"/>
                  </a:lnTo>
                  <a:lnTo>
                    <a:pt x="88440" y="145647"/>
                  </a:lnTo>
                  <a:lnTo>
                    <a:pt x="84849" y="145399"/>
                  </a:lnTo>
                  <a:lnTo>
                    <a:pt x="78848" y="146371"/>
                  </a:lnTo>
                  <a:lnTo>
                    <a:pt x="76533" y="147399"/>
                  </a:lnTo>
                  <a:lnTo>
                    <a:pt x="75571" y="149019"/>
                  </a:lnTo>
                  <a:lnTo>
                    <a:pt x="74857" y="150886"/>
                  </a:lnTo>
                  <a:lnTo>
                    <a:pt x="73914" y="151981"/>
                  </a:lnTo>
                  <a:lnTo>
                    <a:pt x="72857" y="152562"/>
                  </a:lnTo>
                  <a:lnTo>
                    <a:pt x="68218" y="153934"/>
                  </a:lnTo>
                  <a:lnTo>
                    <a:pt x="67304" y="154486"/>
                  </a:lnTo>
                  <a:lnTo>
                    <a:pt x="65151" y="157486"/>
                  </a:lnTo>
                  <a:lnTo>
                    <a:pt x="62341" y="159220"/>
                  </a:lnTo>
                  <a:lnTo>
                    <a:pt x="60007" y="159744"/>
                  </a:lnTo>
                  <a:lnTo>
                    <a:pt x="57941" y="158001"/>
                  </a:lnTo>
                  <a:lnTo>
                    <a:pt x="57093" y="156953"/>
                  </a:lnTo>
                  <a:lnTo>
                    <a:pt x="56131" y="156420"/>
                  </a:lnTo>
                  <a:lnTo>
                    <a:pt x="52949" y="156505"/>
                  </a:lnTo>
                  <a:lnTo>
                    <a:pt x="53950" y="157048"/>
                  </a:lnTo>
                  <a:lnTo>
                    <a:pt x="54597" y="158277"/>
                  </a:lnTo>
                  <a:lnTo>
                    <a:pt x="54912" y="160639"/>
                  </a:lnTo>
                  <a:lnTo>
                    <a:pt x="54550" y="162954"/>
                  </a:lnTo>
                  <a:lnTo>
                    <a:pt x="52978" y="164125"/>
                  </a:lnTo>
                  <a:lnTo>
                    <a:pt x="51111" y="164344"/>
                  </a:lnTo>
                  <a:lnTo>
                    <a:pt x="48158" y="166735"/>
                  </a:lnTo>
                  <a:lnTo>
                    <a:pt x="44253" y="167383"/>
                  </a:lnTo>
                  <a:lnTo>
                    <a:pt x="42139" y="169583"/>
                  </a:lnTo>
                  <a:lnTo>
                    <a:pt x="29223" y="173298"/>
                  </a:lnTo>
                  <a:lnTo>
                    <a:pt x="28489" y="173336"/>
                  </a:lnTo>
                  <a:lnTo>
                    <a:pt x="26708" y="172393"/>
                  </a:lnTo>
                  <a:lnTo>
                    <a:pt x="24775" y="171974"/>
                  </a:lnTo>
                  <a:lnTo>
                    <a:pt x="22850" y="172269"/>
                  </a:lnTo>
                  <a:lnTo>
                    <a:pt x="17440" y="174346"/>
                  </a:lnTo>
                  <a:lnTo>
                    <a:pt x="14821" y="173936"/>
                  </a:lnTo>
                  <a:lnTo>
                    <a:pt x="18164" y="168774"/>
                  </a:lnTo>
                  <a:lnTo>
                    <a:pt x="22650" y="166164"/>
                  </a:lnTo>
                  <a:lnTo>
                    <a:pt x="23117" y="165450"/>
                  </a:lnTo>
                  <a:lnTo>
                    <a:pt x="21650" y="165097"/>
                  </a:lnTo>
                  <a:lnTo>
                    <a:pt x="13116" y="166907"/>
                  </a:lnTo>
                  <a:lnTo>
                    <a:pt x="10154" y="168450"/>
                  </a:lnTo>
                  <a:lnTo>
                    <a:pt x="7191" y="168898"/>
                  </a:lnTo>
                  <a:lnTo>
                    <a:pt x="8563" y="166535"/>
                  </a:lnTo>
                  <a:lnTo>
                    <a:pt x="12382" y="163306"/>
                  </a:lnTo>
                  <a:lnTo>
                    <a:pt x="14431" y="161782"/>
                  </a:lnTo>
                  <a:lnTo>
                    <a:pt x="15678" y="161173"/>
                  </a:lnTo>
                  <a:lnTo>
                    <a:pt x="17107" y="159268"/>
                  </a:lnTo>
                  <a:lnTo>
                    <a:pt x="21136" y="157106"/>
                  </a:lnTo>
                  <a:lnTo>
                    <a:pt x="8163" y="161563"/>
                  </a:lnTo>
                  <a:lnTo>
                    <a:pt x="4753" y="161020"/>
                  </a:lnTo>
                  <a:lnTo>
                    <a:pt x="3953" y="159782"/>
                  </a:lnTo>
                  <a:lnTo>
                    <a:pt x="1305" y="160372"/>
                  </a:lnTo>
                  <a:lnTo>
                    <a:pt x="295" y="157353"/>
                  </a:lnTo>
                  <a:lnTo>
                    <a:pt x="4229" y="152791"/>
                  </a:lnTo>
                  <a:lnTo>
                    <a:pt x="6525" y="150819"/>
                  </a:lnTo>
                  <a:lnTo>
                    <a:pt x="9249" y="149752"/>
                  </a:lnTo>
                  <a:lnTo>
                    <a:pt x="11868" y="148219"/>
                  </a:lnTo>
                  <a:lnTo>
                    <a:pt x="12840" y="146352"/>
                  </a:lnTo>
                  <a:lnTo>
                    <a:pt x="11611" y="145752"/>
                  </a:lnTo>
                  <a:lnTo>
                    <a:pt x="3762" y="146228"/>
                  </a:lnTo>
                  <a:lnTo>
                    <a:pt x="0" y="145828"/>
                  </a:lnTo>
                  <a:lnTo>
                    <a:pt x="200" y="144342"/>
                  </a:lnTo>
                  <a:lnTo>
                    <a:pt x="895" y="142694"/>
                  </a:lnTo>
                  <a:lnTo>
                    <a:pt x="4791" y="139875"/>
                  </a:lnTo>
                  <a:lnTo>
                    <a:pt x="6906" y="139427"/>
                  </a:lnTo>
                  <a:lnTo>
                    <a:pt x="8782" y="139694"/>
                  </a:lnTo>
                  <a:lnTo>
                    <a:pt x="10611" y="140418"/>
                  </a:lnTo>
                  <a:lnTo>
                    <a:pt x="12106" y="141361"/>
                  </a:lnTo>
                  <a:lnTo>
                    <a:pt x="16526" y="140818"/>
                  </a:lnTo>
                  <a:lnTo>
                    <a:pt x="14678" y="139017"/>
                  </a:lnTo>
                  <a:lnTo>
                    <a:pt x="14354" y="135350"/>
                  </a:lnTo>
                  <a:lnTo>
                    <a:pt x="12945" y="134122"/>
                  </a:lnTo>
                  <a:lnTo>
                    <a:pt x="14745" y="132417"/>
                  </a:lnTo>
                  <a:lnTo>
                    <a:pt x="16812" y="131388"/>
                  </a:lnTo>
                  <a:lnTo>
                    <a:pt x="20260" y="127854"/>
                  </a:lnTo>
                  <a:lnTo>
                    <a:pt x="21489" y="127311"/>
                  </a:lnTo>
                  <a:lnTo>
                    <a:pt x="28308" y="126454"/>
                  </a:lnTo>
                  <a:lnTo>
                    <a:pt x="35661" y="124597"/>
                  </a:lnTo>
                  <a:lnTo>
                    <a:pt x="42948" y="122025"/>
                  </a:lnTo>
                  <a:lnTo>
                    <a:pt x="39205" y="120587"/>
                  </a:lnTo>
                  <a:lnTo>
                    <a:pt x="37414" y="118682"/>
                  </a:lnTo>
                  <a:lnTo>
                    <a:pt x="34538" y="122520"/>
                  </a:lnTo>
                  <a:lnTo>
                    <a:pt x="32461" y="123987"/>
                  </a:lnTo>
                  <a:lnTo>
                    <a:pt x="26613" y="124778"/>
                  </a:lnTo>
                  <a:lnTo>
                    <a:pt x="24765" y="124349"/>
                  </a:lnTo>
                  <a:lnTo>
                    <a:pt x="22155" y="123158"/>
                  </a:lnTo>
                  <a:lnTo>
                    <a:pt x="21346" y="123606"/>
                  </a:lnTo>
                  <a:lnTo>
                    <a:pt x="20593" y="124520"/>
                  </a:lnTo>
                  <a:lnTo>
                    <a:pt x="16716" y="126397"/>
                  </a:lnTo>
                  <a:lnTo>
                    <a:pt x="12649" y="126845"/>
                  </a:lnTo>
                  <a:lnTo>
                    <a:pt x="17383" y="123397"/>
                  </a:lnTo>
                  <a:lnTo>
                    <a:pt x="23393" y="117538"/>
                  </a:lnTo>
                  <a:lnTo>
                    <a:pt x="24727" y="115691"/>
                  </a:lnTo>
                  <a:lnTo>
                    <a:pt x="26632" y="112462"/>
                  </a:lnTo>
                  <a:lnTo>
                    <a:pt x="26041" y="111023"/>
                  </a:lnTo>
                  <a:lnTo>
                    <a:pt x="24803" y="110204"/>
                  </a:lnTo>
                  <a:lnTo>
                    <a:pt x="29156" y="103537"/>
                  </a:lnTo>
                  <a:lnTo>
                    <a:pt x="30690" y="102327"/>
                  </a:lnTo>
                  <a:lnTo>
                    <a:pt x="33471" y="102127"/>
                  </a:lnTo>
                  <a:lnTo>
                    <a:pt x="35519" y="101070"/>
                  </a:lnTo>
                  <a:lnTo>
                    <a:pt x="36424" y="101070"/>
                  </a:lnTo>
                  <a:lnTo>
                    <a:pt x="37233" y="100670"/>
                  </a:lnTo>
                  <a:lnTo>
                    <a:pt x="39024" y="98670"/>
                  </a:lnTo>
                  <a:lnTo>
                    <a:pt x="36262" y="97393"/>
                  </a:lnTo>
                  <a:lnTo>
                    <a:pt x="33404" y="96736"/>
                  </a:lnTo>
                  <a:lnTo>
                    <a:pt x="24574" y="97431"/>
                  </a:lnTo>
                  <a:lnTo>
                    <a:pt x="23413" y="97279"/>
                  </a:lnTo>
                  <a:lnTo>
                    <a:pt x="22317" y="96660"/>
                  </a:lnTo>
                  <a:lnTo>
                    <a:pt x="21603" y="95774"/>
                  </a:lnTo>
                  <a:lnTo>
                    <a:pt x="21069" y="93497"/>
                  </a:lnTo>
                  <a:lnTo>
                    <a:pt x="20422" y="92983"/>
                  </a:lnTo>
                  <a:lnTo>
                    <a:pt x="18431" y="92983"/>
                  </a:lnTo>
                  <a:lnTo>
                    <a:pt x="16459" y="93679"/>
                  </a:lnTo>
                  <a:lnTo>
                    <a:pt x="15088" y="93612"/>
                  </a:lnTo>
                  <a:lnTo>
                    <a:pt x="13745" y="92612"/>
                  </a:lnTo>
                  <a:lnTo>
                    <a:pt x="15897" y="90278"/>
                  </a:lnTo>
                  <a:lnTo>
                    <a:pt x="13125" y="89726"/>
                  </a:lnTo>
                  <a:lnTo>
                    <a:pt x="10325" y="90183"/>
                  </a:lnTo>
                  <a:lnTo>
                    <a:pt x="7991" y="89468"/>
                  </a:lnTo>
                  <a:lnTo>
                    <a:pt x="7925" y="88002"/>
                  </a:lnTo>
                  <a:lnTo>
                    <a:pt x="8982" y="86535"/>
                  </a:lnTo>
                  <a:lnTo>
                    <a:pt x="7591" y="85144"/>
                  </a:lnTo>
                  <a:lnTo>
                    <a:pt x="7306" y="83382"/>
                  </a:lnTo>
                  <a:lnTo>
                    <a:pt x="8782" y="82515"/>
                  </a:lnTo>
                  <a:lnTo>
                    <a:pt x="10392" y="82801"/>
                  </a:lnTo>
                  <a:lnTo>
                    <a:pt x="13678" y="81496"/>
                  </a:lnTo>
                  <a:lnTo>
                    <a:pt x="17897" y="80867"/>
                  </a:lnTo>
                  <a:lnTo>
                    <a:pt x="14278" y="79581"/>
                  </a:lnTo>
                  <a:lnTo>
                    <a:pt x="12840" y="78477"/>
                  </a:lnTo>
                  <a:lnTo>
                    <a:pt x="12773" y="76791"/>
                  </a:lnTo>
                  <a:lnTo>
                    <a:pt x="13059" y="75343"/>
                  </a:lnTo>
                  <a:lnTo>
                    <a:pt x="17240" y="72895"/>
                  </a:lnTo>
                  <a:lnTo>
                    <a:pt x="21698" y="71819"/>
                  </a:lnTo>
                  <a:lnTo>
                    <a:pt x="21365" y="70209"/>
                  </a:lnTo>
                  <a:lnTo>
                    <a:pt x="21679" y="68456"/>
                  </a:lnTo>
                  <a:lnTo>
                    <a:pt x="17174" y="67951"/>
                  </a:lnTo>
                  <a:lnTo>
                    <a:pt x="12725" y="69180"/>
                  </a:lnTo>
                  <a:lnTo>
                    <a:pt x="13202" y="65837"/>
                  </a:lnTo>
                  <a:lnTo>
                    <a:pt x="14268" y="62808"/>
                  </a:lnTo>
                  <a:lnTo>
                    <a:pt x="14478" y="60817"/>
                  </a:lnTo>
                  <a:lnTo>
                    <a:pt x="14268" y="58674"/>
                  </a:lnTo>
                  <a:lnTo>
                    <a:pt x="12182" y="59589"/>
                  </a:lnTo>
                  <a:lnTo>
                    <a:pt x="11944" y="56569"/>
                  </a:lnTo>
                  <a:lnTo>
                    <a:pt x="11049" y="54502"/>
                  </a:lnTo>
                  <a:lnTo>
                    <a:pt x="7953" y="55931"/>
                  </a:lnTo>
                  <a:lnTo>
                    <a:pt x="8029" y="53188"/>
                  </a:lnTo>
                  <a:lnTo>
                    <a:pt x="8925" y="51273"/>
                  </a:lnTo>
                  <a:lnTo>
                    <a:pt x="10535" y="50445"/>
                  </a:lnTo>
                  <a:lnTo>
                    <a:pt x="12135" y="50806"/>
                  </a:lnTo>
                  <a:lnTo>
                    <a:pt x="15116" y="50778"/>
                  </a:lnTo>
                  <a:lnTo>
                    <a:pt x="17993" y="49330"/>
                  </a:lnTo>
                  <a:lnTo>
                    <a:pt x="22136" y="48959"/>
                  </a:lnTo>
                  <a:lnTo>
                    <a:pt x="28727" y="49406"/>
                  </a:lnTo>
                  <a:lnTo>
                    <a:pt x="33261" y="53473"/>
                  </a:lnTo>
                  <a:lnTo>
                    <a:pt x="34433" y="52750"/>
                  </a:lnTo>
                  <a:lnTo>
                    <a:pt x="36243" y="50178"/>
                  </a:lnTo>
                  <a:lnTo>
                    <a:pt x="37090" y="49892"/>
                  </a:lnTo>
                  <a:lnTo>
                    <a:pt x="43929" y="51016"/>
                  </a:lnTo>
                  <a:lnTo>
                    <a:pt x="48168" y="52492"/>
                  </a:lnTo>
                  <a:lnTo>
                    <a:pt x="49301" y="52035"/>
                  </a:lnTo>
                  <a:lnTo>
                    <a:pt x="48692" y="49187"/>
                  </a:lnTo>
                  <a:lnTo>
                    <a:pt x="47235" y="47206"/>
                  </a:lnTo>
                  <a:lnTo>
                    <a:pt x="49063" y="44615"/>
                  </a:lnTo>
                  <a:lnTo>
                    <a:pt x="51292" y="42853"/>
                  </a:lnTo>
                  <a:lnTo>
                    <a:pt x="52787" y="41977"/>
                  </a:lnTo>
                  <a:lnTo>
                    <a:pt x="56226" y="40882"/>
                  </a:lnTo>
                  <a:lnTo>
                    <a:pt x="57731" y="39853"/>
                  </a:lnTo>
                  <a:lnTo>
                    <a:pt x="58731" y="36500"/>
                  </a:lnTo>
                  <a:lnTo>
                    <a:pt x="60322" y="33709"/>
                  </a:lnTo>
                  <a:lnTo>
                    <a:pt x="51683" y="35157"/>
                  </a:lnTo>
                  <a:lnTo>
                    <a:pt x="43462" y="31842"/>
                  </a:lnTo>
                  <a:lnTo>
                    <a:pt x="44768" y="29499"/>
                  </a:lnTo>
                  <a:lnTo>
                    <a:pt x="46501" y="28165"/>
                  </a:lnTo>
                  <a:lnTo>
                    <a:pt x="49492" y="27146"/>
                  </a:lnTo>
                  <a:lnTo>
                    <a:pt x="49778" y="25918"/>
                  </a:lnTo>
                  <a:lnTo>
                    <a:pt x="51292" y="24898"/>
                  </a:lnTo>
                  <a:lnTo>
                    <a:pt x="53797" y="22212"/>
                  </a:lnTo>
                  <a:lnTo>
                    <a:pt x="52873" y="18698"/>
                  </a:lnTo>
                  <a:lnTo>
                    <a:pt x="53369" y="16126"/>
                  </a:lnTo>
                  <a:lnTo>
                    <a:pt x="55169" y="14449"/>
                  </a:lnTo>
                  <a:lnTo>
                    <a:pt x="55731" y="12040"/>
                  </a:lnTo>
                  <a:lnTo>
                    <a:pt x="56531" y="10258"/>
                  </a:lnTo>
                  <a:lnTo>
                    <a:pt x="60188" y="9620"/>
                  </a:lnTo>
                  <a:lnTo>
                    <a:pt x="63703" y="7972"/>
                  </a:lnTo>
                  <a:lnTo>
                    <a:pt x="64970" y="8134"/>
                  </a:lnTo>
                  <a:lnTo>
                    <a:pt x="69132" y="7753"/>
                  </a:lnTo>
                  <a:lnTo>
                    <a:pt x="70533" y="8420"/>
                  </a:lnTo>
                  <a:lnTo>
                    <a:pt x="70209" y="5496"/>
                  </a:lnTo>
                  <a:lnTo>
                    <a:pt x="72762" y="5115"/>
                  </a:lnTo>
                  <a:lnTo>
                    <a:pt x="73752" y="5696"/>
                  </a:lnTo>
                  <a:lnTo>
                    <a:pt x="74190" y="7772"/>
                  </a:lnTo>
                  <a:lnTo>
                    <a:pt x="75352" y="9097"/>
                  </a:lnTo>
                  <a:lnTo>
                    <a:pt x="75714" y="11392"/>
                  </a:lnTo>
                  <a:lnTo>
                    <a:pt x="74933" y="13164"/>
                  </a:lnTo>
                  <a:lnTo>
                    <a:pt x="73628" y="14526"/>
                  </a:lnTo>
                  <a:lnTo>
                    <a:pt x="74819" y="15916"/>
                  </a:lnTo>
                  <a:lnTo>
                    <a:pt x="72980" y="18440"/>
                  </a:lnTo>
                  <a:lnTo>
                    <a:pt x="74962" y="17364"/>
                  </a:lnTo>
                  <a:lnTo>
                    <a:pt x="77791" y="14897"/>
                  </a:lnTo>
                  <a:lnTo>
                    <a:pt x="77638" y="12887"/>
                  </a:lnTo>
                  <a:lnTo>
                    <a:pt x="77162" y="10344"/>
                  </a:lnTo>
                  <a:lnTo>
                    <a:pt x="76372" y="8049"/>
                  </a:lnTo>
                  <a:lnTo>
                    <a:pt x="76733" y="5515"/>
                  </a:lnTo>
                  <a:lnTo>
                    <a:pt x="78324" y="3934"/>
                  </a:lnTo>
                  <a:lnTo>
                    <a:pt x="82505" y="3134"/>
                  </a:lnTo>
                  <a:lnTo>
                    <a:pt x="80791" y="257"/>
                  </a:lnTo>
                  <a:lnTo>
                    <a:pt x="82315" y="0"/>
                  </a:lnTo>
                  <a:lnTo>
                    <a:pt x="83972" y="600"/>
                  </a:lnTo>
                  <a:lnTo>
                    <a:pt x="86411" y="2838"/>
                  </a:lnTo>
                  <a:lnTo>
                    <a:pt x="88954" y="4601"/>
                  </a:lnTo>
                  <a:lnTo>
                    <a:pt x="91583" y="5991"/>
                  </a:lnTo>
                  <a:lnTo>
                    <a:pt x="89049" y="8773"/>
                  </a:lnTo>
                  <a:lnTo>
                    <a:pt x="85935" y="10706"/>
                  </a:lnTo>
                  <a:lnTo>
                    <a:pt x="84744" y="12811"/>
                  </a:lnTo>
                  <a:close/>
                  <a:moveTo>
                    <a:pt x="11782" y="66961"/>
                  </a:moveTo>
                  <a:lnTo>
                    <a:pt x="11668" y="68256"/>
                  </a:lnTo>
                  <a:lnTo>
                    <a:pt x="9687" y="66628"/>
                  </a:lnTo>
                  <a:lnTo>
                    <a:pt x="8725" y="64846"/>
                  </a:lnTo>
                  <a:lnTo>
                    <a:pt x="3296" y="64037"/>
                  </a:lnTo>
                  <a:lnTo>
                    <a:pt x="5553" y="62256"/>
                  </a:lnTo>
                  <a:lnTo>
                    <a:pt x="6658" y="62779"/>
                  </a:lnTo>
                  <a:lnTo>
                    <a:pt x="10496" y="62855"/>
                  </a:lnTo>
                  <a:lnTo>
                    <a:pt x="11573" y="63598"/>
                  </a:lnTo>
                  <a:lnTo>
                    <a:pt x="11782" y="66961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0" name="Forme libre : forme 28">
              <a:extLst>
                <a:ext uri="{FF2B5EF4-FFF2-40B4-BE49-F238E27FC236}">
                  <a16:creationId xmlns:a16="http://schemas.microsoft.com/office/drawing/2014/main" id="{9C51C5A2-9DB1-3A3A-AFC9-B9083A6B8265}"/>
                </a:ext>
              </a:extLst>
            </p:cNvPr>
            <p:cNvSpPr/>
            <p:nvPr/>
          </p:nvSpPr>
          <p:spPr>
            <a:xfrm>
              <a:off x="4892494" y="3983792"/>
              <a:ext cx="31159" cy="39883"/>
            </a:xfrm>
            <a:custGeom>
              <a:avLst/>
              <a:gdLst>
                <a:gd name="connsiteX0" fmla="*/ 9973 w 11953"/>
                <a:gd name="connsiteY0" fmla="*/ 10135 h 15897"/>
                <a:gd name="connsiteX1" fmla="*/ 4572 w 11953"/>
                <a:gd name="connsiteY1" fmla="*/ 15897 h 15897"/>
                <a:gd name="connsiteX2" fmla="*/ 2381 w 11953"/>
                <a:gd name="connsiteY2" fmla="*/ 14869 h 15897"/>
                <a:gd name="connsiteX3" fmla="*/ 515 w 11953"/>
                <a:gd name="connsiteY3" fmla="*/ 15412 h 15897"/>
                <a:gd name="connsiteX4" fmla="*/ 0 w 11953"/>
                <a:gd name="connsiteY4" fmla="*/ 15250 h 15897"/>
                <a:gd name="connsiteX5" fmla="*/ 1057 w 11953"/>
                <a:gd name="connsiteY5" fmla="*/ 13164 h 15897"/>
                <a:gd name="connsiteX6" fmla="*/ 2315 w 11953"/>
                <a:gd name="connsiteY6" fmla="*/ 8334 h 15897"/>
                <a:gd name="connsiteX7" fmla="*/ 4553 w 11953"/>
                <a:gd name="connsiteY7" fmla="*/ 6420 h 15897"/>
                <a:gd name="connsiteX8" fmla="*/ 7391 w 11953"/>
                <a:gd name="connsiteY8" fmla="*/ 1391 h 15897"/>
                <a:gd name="connsiteX9" fmla="*/ 9640 w 11953"/>
                <a:gd name="connsiteY9" fmla="*/ 0 h 15897"/>
                <a:gd name="connsiteX10" fmla="*/ 10411 w 11953"/>
                <a:gd name="connsiteY10" fmla="*/ 191 h 15897"/>
                <a:gd name="connsiteX11" fmla="*/ 10906 w 11953"/>
                <a:gd name="connsiteY11" fmla="*/ 667 h 15897"/>
                <a:gd name="connsiteX12" fmla="*/ 11954 w 11953"/>
                <a:gd name="connsiteY12" fmla="*/ 6315 h 15897"/>
                <a:gd name="connsiteX13" fmla="*/ 10506 w 11953"/>
                <a:gd name="connsiteY13" fmla="*/ 8306 h 1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953" h="15897">
                  <a:moveTo>
                    <a:pt x="9973" y="10135"/>
                  </a:moveTo>
                  <a:lnTo>
                    <a:pt x="4572" y="15897"/>
                  </a:lnTo>
                  <a:lnTo>
                    <a:pt x="2381" y="14869"/>
                  </a:lnTo>
                  <a:lnTo>
                    <a:pt x="515" y="15412"/>
                  </a:lnTo>
                  <a:lnTo>
                    <a:pt x="0" y="15250"/>
                  </a:lnTo>
                  <a:lnTo>
                    <a:pt x="1057" y="13164"/>
                  </a:lnTo>
                  <a:lnTo>
                    <a:pt x="2315" y="8334"/>
                  </a:lnTo>
                  <a:lnTo>
                    <a:pt x="4553" y="6420"/>
                  </a:lnTo>
                  <a:lnTo>
                    <a:pt x="7391" y="1391"/>
                  </a:lnTo>
                  <a:lnTo>
                    <a:pt x="9640" y="0"/>
                  </a:lnTo>
                  <a:lnTo>
                    <a:pt x="10411" y="191"/>
                  </a:lnTo>
                  <a:lnTo>
                    <a:pt x="10906" y="667"/>
                  </a:lnTo>
                  <a:lnTo>
                    <a:pt x="11954" y="6315"/>
                  </a:lnTo>
                  <a:lnTo>
                    <a:pt x="10506" y="8306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1" name="Forme libre : forme 30">
              <a:extLst>
                <a:ext uri="{FF2B5EF4-FFF2-40B4-BE49-F238E27FC236}">
                  <a16:creationId xmlns:a16="http://schemas.microsoft.com/office/drawing/2014/main" id="{27B6BB02-C3C4-13D8-EFDA-DC9A25FD503C}"/>
                </a:ext>
              </a:extLst>
            </p:cNvPr>
            <p:cNvSpPr/>
            <p:nvPr/>
          </p:nvSpPr>
          <p:spPr>
            <a:xfrm>
              <a:off x="5687874" y="4760460"/>
              <a:ext cx="826314" cy="935811"/>
            </a:xfrm>
            <a:custGeom>
              <a:avLst/>
              <a:gdLst>
                <a:gd name="connsiteX0" fmla="*/ 189024 w 316982"/>
                <a:gd name="connsiteY0" fmla="*/ 21745 h 373017"/>
                <a:gd name="connsiteX1" fmla="*/ 188481 w 316982"/>
                <a:gd name="connsiteY1" fmla="*/ 23965 h 373017"/>
                <a:gd name="connsiteX2" fmla="*/ 187347 w 316982"/>
                <a:gd name="connsiteY2" fmla="*/ 24517 h 373017"/>
                <a:gd name="connsiteX3" fmla="*/ 185366 w 316982"/>
                <a:gd name="connsiteY3" fmla="*/ 25813 h 373017"/>
                <a:gd name="connsiteX4" fmla="*/ 183099 w 316982"/>
                <a:gd name="connsiteY4" fmla="*/ 27584 h 373017"/>
                <a:gd name="connsiteX5" fmla="*/ 180985 w 316982"/>
                <a:gd name="connsiteY5" fmla="*/ 29575 h 373017"/>
                <a:gd name="connsiteX6" fmla="*/ 180413 w 316982"/>
                <a:gd name="connsiteY6" fmla="*/ 31737 h 373017"/>
                <a:gd name="connsiteX7" fmla="*/ 180994 w 316982"/>
                <a:gd name="connsiteY7" fmla="*/ 33147 h 373017"/>
                <a:gd name="connsiteX8" fmla="*/ 181565 w 316982"/>
                <a:gd name="connsiteY8" fmla="*/ 33633 h 373017"/>
                <a:gd name="connsiteX9" fmla="*/ 182337 w 316982"/>
                <a:gd name="connsiteY9" fmla="*/ 33204 h 373017"/>
                <a:gd name="connsiteX10" fmla="*/ 183461 w 316982"/>
                <a:gd name="connsiteY10" fmla="*/ 33471 h 373017"/>
                <a:gd name="connsiteX11" fmla="*/ 184870 w 316982"/>
                <a:gd name="connsiteY11" fmla="*/ 34242 h 373017"/>
                <a:gd name="connsiteX12" fmla="*/ 187223 w 316982"/>
                <a:gd name="connsiteY12" fmla="*/ 34995 h 373017"/>
                <a:gd name="connsiteX13" fmla="*/ 187290 w 316982"/>
                <a:gd name="connsiteY13" fmla="*/ 35738 h 373017"/>
                <a:gd name="connsiteX14" fmla="*/ 186795 w 316982"/>
                <a:gd name="connsiteY14" fmla="*/ 36690 h 373017"/>
                <a:gd name="connsiteX15" fmla="*/ 184966 w 316982"/>
                <a:gd name="connsiteY15" fmla="*/ 38376 h 373017"/>
                <a:gd name="connsiteX16" fmla="*/ 183318 w 316982"/>
                <a:gd name="connsiteY16" fmla="*/ 40281 h 373017"/>
                <a:gd name="connsiteX17" fmla="*/ 183156 w 316982"/>
                <a:gd name="connsiteY17" fmla="*/ 41443 h 373017"/>
                <a:gd name="connsiteX18" fmla="*/ 183356 w 316982"/>
                <a:gd name="connsiteY18" fmla="*/ 42291 h 373017"/>
                <a:gd name="connsiteX19" fmla="*/ 183927 w 316982"/>
                <a:gd name="connsiteY19" fmla="*/ 42805 h 373017"/>
                <a:gd name="connsiteX20" fmla="*/ 186366 w 316982"/>
                <a:gd name="connsiteY20" fmla="*/ 42577 h 373017"/>
                <a:gd name="connsiteX21" fmla="*/ 186728 w 316982"/>
                <a:gd name="connsiteY21" fmla="*/ 43272 h 373017"/>
                <a:gd name="connsiteX22" fmla="*/ 185537 w 316982"/>
                <a:gd name="connsiteY22" fmla="*/ 48158 h 373017"/>
                <a:gd name="connsiteX23" fmla="*/ 185909 w 316982"/>
                <a:gd name="connsiteY23" fmla="*/ 48987 h 373017"/>
                <a:gd name="connsiteX24" fmla="*/ 188052 w 316982"/>
                <a:gd name="connsiteY24" fmla="*/ 49768 h 373017"/>
                <a:gd name="connsiteX25" fmla="*/ 189614 w 316982"/>
                <a:gd name="connsiteY25" fmla="*/ 50940 h 373017"/>
                <a:gd name="connsiteX26" fmla="*/ 192539 w 316982"/>
                <a:gd name="connsiteY26" fmla="*/ 54026 h 373017"/>
                <a:gd name="connsiteX27" fmla="*/ 193700 w 316982"/>
                <a:gd name="connsiteY27" fmla="*/ 56521 h 373017"/>
                <a:gd name="connsiteX28" fmla="*/ 192900 w 316982"/>
                <a:gd name="connsiteY28" fmla="*/ 57360 h 373017"/>
                <a:gd name="connsiteX29" fmla="*/ 191062 w 316982"/>
                <a:gd name="connsiteY29" fmla="*/ 57769 h 373017"/>
                <a:gd name="connsiteX30" fmla="*/ 189567 w 316982"/>
                <a:gd name="connsiteY30" fmla="*/ 57560 h 373017"/>
                <a:gd name="connsiteX31" fmla="*/ 191262 w 316982"/>
                <a:gd name="connsiteY31" fmla="*/ 56055 h 373017"/>
                <a:gd name="connsiteX32" fmla="*/ 187119 w 316982"/>
                <a:gd name="connsiteY32" fmla="*/ 50568 h 373017"/>
                <a:gd name="connsiteX33" fmla="*/ 185242 w 316982"/>
                <a:gd name="connsiteY33" fmla="*/ 50578 h 373017"/>
                <a:gd name="connsiteX34" fmla="*/ 182756 w 316982"/>
                <a:gd name="connsiteY34" fmla="*/ 52902 h 373017"/>
                <a:gd name="connsiteX35" fmla="*/ 175841 w 316982"/>
                <a:gd name="connsiteY35" fmla="*/ 50549 h 373017"/>
                <a:gd name="connsiteX36" fmla="*/ 174517 w 316982"/>
                <a:gd name="connsiteY36" fmla="*/ 51502 h 373017"/>
                <a:gd name="connsiteX37" fmla="*/ 173536 w 316982"/>
                <a:gd name="connsiteY37" fmla="*/ 53359 h 373017"/>
                <a:gd name="connsiteX38" fmla="*/ 171136 w 316982"/>
                <a:gd name="connsiteY38" fmla="*/ 55664 h 373017"/>
                <a:gd name="connsiteX39" fmla="*/ 167735 w 316982"/>
                <a:gd name="connsiteY39" fmla="*/ 56674 h 373017"/>
                <a:gd name="connsiteX40" fmla="*/ 163944 w 316982"/>
                <a:gd name="connsiteY40" fmla="*/ 59207 h 373017"/>
                <a:gd name="connsiteX41" fmla="*/ 159953 w 316982"/>
                <a:gd name="connsiteY41" fmla="*/ 60998 h 373017"/>
                <a:gd name="connsiteX42" fmla="*/ 156905 w 316982"/>
                <a:gd name="connsiteY42" fmla="*/ 62351 h 373017"/>
                <a:gd name="connsiteX43" fmla="*/ 155153 w 316982"/>
                <a:gd name="connsiteY43" fmla="*/ 62112 h 373017"/>
                <a:gd name="connsiteX44" fmla="*/ 157934 w 316982"/>
                <a:gd name="connsiteY44" fmla="*/ 59188 h 373017"/>
                <a:gd name="connsiteX45" fmla="*/ 156753 w 316982"/>
                <a:gd name="connsiteY45" fmla="*/ 59131 h 373017"/>
                <a:gd name="connsiteX46" fmla="*/ 153057 w 316982"/>
                <a:gd name="connsiteY46" fmla="*/ 61198 h 373017"/>
                <a:gd name="connsiteX47" fmla="*/ 150933 w 316982"/>
                <a:gd name="connsiteY47" fmla="*/ 62941 h 373017"/>
                <a:gd name="connsiteX48" fmla="*/ 150247 w 316982"/>
                <a:gd name="connsiteY48" fmla="*/ 65875 h 373017"/>
                <a:gd name="connsiteX49" fmla="*/ 149628 w 316982"/>
                <a:gd name="connsiteY49" fmla="*/ 70695 h 373017"/>
                <a:gd name="connsiteX50" fmla="*/ 151247 w 316982"/>
                <a:gd name="connsiteY50" fmla="*/ 71971 h 373017"/>
                <a:gd name="connsiteX51" fmla="*/ 154086 w 316982"/>
                <a:gd name="connsiteY51" fmla="*/ 78314 h 373017"/>
                <a:gd name="connsiteX52" fmla="*/ 157581 w 316982"/>
                <a:gd name="connsiteY52" fmla="*/ 81020 h 373017"/>
                <a:gd name="connsiteX53" fmla="*/ 156905 w 316982"/>
                <a:gd name="connsiteY53" fmla="*/ 83601 h 373017"/>
                <a:gd name="connsiteX54" fmla="*/ 155981 w 316982"/>
                <a:gd name="connsiteY54" fmla="*/ 85639 h 373017"/>
                <a:gd name="connsiteX55" fmla="*/ 153867 w 316982"/>
                <a:gd name="connsiteY55" fmla="*/ 87401 h 373017"/>
                <a:gd name="connsiteX56" fmla="*/ 152114 w 316982"/>
                <a:gd name="connsiteY56" fmla="*/ 86096 h 373017"/>
                <a:gd name="connsiteX57" fmla="*/ 151038 w 316982"/>
                <a:gd name="connsiteY57" fmla="*/ 86125 h 373017"/>
                <a:gd name="connsiteX58" fmla="*/ 150228 w 316982"/>
                <a:gd name="connsiteY58" fmla="*/ 90249 h 373017"/>
                <a:gd name="connsiteX59" fmla="*/ 151743 w 316982"/>
                <a:gd name="connsiteY59" fmla="*/ 101213 h 373017"/>
                <a:gd name="connsiteX60" fmla="*/ 154181 w 316982"/>
                <a:gd name="connsiteY60" fmla="*/ 108871 h 373017"/>
                <a:gd name="connsiteX61" fmla="*/ 156600 w 316982"/>
                <a:gd name="connsiteY61" fmla="*/ 112204 h 373017"/>
                <a:gd name="connsiteX62" fmla="*/ 162058 w 316982"/>
                <a:gd name="connsiteY62" fmla="*/ 117377 h 373017"/>
                <a:gd name="connsiteX63" fmla="*/ 167830 w 316982"/>
                <a:gd name="connsiteY63" fmla="*/ 120101 h 373017"/>
                <a:gd name="connsiteX64" fmla="*/ 178213 w 316982"/>
                <a:gd name="connsiteY64" fmla="*/ 128778 h 373017"/>
                <a:gd name="connsiteX65" fmla="*/ 183909 w 316982"/>
                <a:gd name="connsiteY65" fmla="*/ 131521 h 373017"/>
                <a:gd name="connsiteX66" fmla="*/ 185404 w 316982"/>
                <a:gd name="connsiteY66" fmla="*/ 133007 h 373017"/>
                <a:gd name="connsiteX67" fmla="*/ 188852 w 316982"/>
                <a:gd name="connsiteY67" fmla="*/ 139665 h 373017"/>
                <a:gd name="connsiteX68" fmla="*/ 191833 w 316982"/>
                <a:gd name="connsiteY68" fmla="*/ 147333 h 373017"/>
                <a:gd name="connsiteX69" fmla="*/ 195044 w 316982"/>
                <a:gd name="connsiteY69" fmla="*/ 159315 h 373017"/>
                <a:gd name="connsiteX70" fmla="*/ 197330 w 316982"/>
                <a:gd name="connsiteY70" fmla="*/ 165192 h 373017"/>
                <a:gd name="connsiteX71" fmla="*/ 201940 w 316982"/>
                <a:gd name="connsiteY71" fmla="*/ 171821 h 373017"/>
                <a:gd name="connsiteX72" fmla="*/ 211503 w 316982"/>
                <a:gd name="connsiteY72" fmla="*/ 181270 h 373017"/>
                <a:gd name="connsiteX73" fmla="*/ 220199 w 316982"/>
                <a:gd name="connsiteY73" fmla="*/ 188157 h 373017"/>
                <a:gd name="connsiteX74" fmla="*/ 228295 w 316982"/>
                <a:gd name="connsiteY74" fmla="*/ 192405 h 373017"/>
                <a:gd name="connsiteX75" fmla="*/ 234610 w 316982"/>
                <a:gd name="connsiteY75" fmla="*/ 193148 h 373017"/>
                <a:gd name="connsiteX76" fmla="*/ 249555 w 316982"/>
                <a:gd name="connsiteY76" fmla="*/ 192214 h 373017"/>
                <a:gd name="connsiteX77" fmla="*/ 252155 w 316982"/>
                <a:gd name="connsiteY77" fmla="*/ 192614 h 373017"/>
                <a:gd name="connsiteX78" fmla="*/ 254917 w 316982"/>
                <a:gd name="connsiteY78" fmla="*/ 193758 h 373017"/>
                <a:gd name="connsiteX79" fmla="*/ 255575 w 316982"/>
                <a:gd name="connsiteY79" fmla="*/ 196701 h 373017"/>
                <a:gd name="connsiteX80" fmla="*/ 254565 w 316982"/>
                <a:gd name="connsiteY80" fmla="*/ 198682 h 373017"/>
                <a:gd name="connsiteX81" fmla="*/ 251422 w 316982"/>
                <a:gd name="connsiteY81" fmla="*/ 200739 h 373017"/>
                <a:gd name="connsiteX82" fmla="*/ 248221 w 316982"/>
                <a:gd name="connsiteY82" fmla="*/ 203587 h 373017"/>
                <a:gd name="connsiteX83" fmla="*/ 247869 w 316982"/>
                <a:gd name="connsiteY83" fmla="*/ 207464 h 373017"/>
                <a:gd name="connsiteX84" fmla="*/ 250860 w 316982"/>
                <a:gd name="connsiteY84" fmla="*/ 210188 h 373017"/>
                <a:gd name="connsiteX85" fmla="*/ 265281 w 316982"/>
                <a:gd name="connsiteY85" fmla="*/ 217399 h 373017"/>
                <a:gd name="connsiteX86" fmla="*/ 280026 w 316982"/>
                <a:gd name="connsiteY86" fmla="*/ 223409 h 373017"/>
                <a:gd name="connsiteX87" fmla="*/ 284617 w 316982"/>
                <a:gd name="connsiteY87" fmla="*/ 226466 h 373017"/>
                <a:gd name="connsiteX88" fmla="*/ 289941 w 316982"/>
                <a:gd name="connsiteY88" fmla="*/ 231219 h 373017"/>
                <a:gd name="connsiteX89" fmla="*/ 302790 w 316982"/>
                <a:gd name="connsiteY89" fmla="*/ 237734 h 373017"/>
                <a:gd name="connsiteX90" fmla="*/ 304962 w 316982"/>
                <a:gd name="connsiteY90" fmla="*/ 240897 h 373017"/>
                <a:gd name="connsiteX91" fmla="*/ 312772 w 316982"/>
                <a:gd name="connsiteY91" fmla="*/ 247688 h 373017"/>
                <a:gd name="connsiteX92" fmla="*/ 316306 w 316982"/>
                <a:gd name="connsiteY92" fmla="*/ 252917 h 373017"/>
                <a:gd name="connsiteX93" fmla="*/ 316982 w 316982"/>
                <a:gd name="connsiteY93" fmla="*/ 256965 h 373017"/>
                <a:gd name="connsiteX94" fmla="*/ 315297 w 316982"/>
                <a:gd name="connsiteY94" fmla="*/ 261071 h 373017"/>
                <a:gd name="connsiteX95" fmla="*/ 314515 w 316982"/>
                <a:gd name="connsiteY95" fmla="*/ 263957 h 373017"/>
                <a:gd name="connsiteX96" fmla="*/ 313192 w 316982"/>
                <a:gd name="connsiteY96" fmla="*/ 266805 h 373017"/>
                <a:gd name="connsiteX97" fmla="*/ 309867 w 316982"/>
                <a:gd name="connsiteY97" fmla="*/ 265729 h 373017"/>
                <a:gd name="connsiteX98" fmla="*/ 306086 w 316982"/>
                <a:gd name="connsiteY98" fmla="*/ 262795 h 373017"/>
                <a:gd name="connsiteX99" fmla="*/ 300390 w 316982"/>
                <a:gd name="connsiteY99" fmla="*/ 250850 h 373017"/>
                <a:gd name="connsiteX100" fmla="*/ 289998 w 316982"/>
                <a:gd name="connsiteY100" fmla="*/ 249641 h 373017"/>
                <a:gd name="connsiteX101" fmla="*/ 287846 w 316982"/>
                <a:gd name="connsiteY101" fmla="*/ 248755 h 373017"/>
                <a:gd name="connsiteX102" fmla="*/ 284150 w 316982"/>
                <a:gd name="connsiteY102" fmla="*/ 246697 h 373017"/>
                <a:gd name="connsiteX103" fmla="*/ 283931 w 316982"/>
                <a:gd name="connsiteY103" fmla="*/ 245335 h 373017"/>
                <a:gd name="connsiteX104" fmla="*/ 283016 w 316982"/>
                <a:gd name="connsiteY104" fmla="*/ 243640 h 373017"/>
                <a:gd name="connsiteX105" fmla="*/ 282073 w 316982"/>
                <a:gd name="connsiteY105" fmla="*/ 243068 h 373017"/>
                <a:gd name="connsiteX106" fmla="*/ 278101 w 316982"/>
                <a:gd name="connsiteY106" fmla="*/ 242688 h 373017"/>
                <a:gd name="connsiteX107" fmla="*/ 275349 w 316982"/>
                <a:gd name="connsiteY107" fmla="*/ 244630 h 373017"/>
                <a:gd name="connsiteX108" fmla="*/ 272110 w 316982"/>
                <a:gd name="connsiteY108" fmla="*/ 249231 h 373017"/>
                <a:gd name="connsiteX109" fmla="*/ 268433 w 316982"/>
                <a:gd name="connsiteY109" fmla="*/ 255832 h 373017"/>
                <a:gd name="connsiteX110" fmla="*/ 264700 w 316982"/>
                <a:gd name="connsiteY110" fmla="*/ 265481 h 373017"/>
                <a:gd name="connsiteX111" fmla="*/ 264490 w 316982"/>
                <a:gd name="connsiteY111" fmla="*/ 269367 h 373017"/>
                <a:gd name="connsiteX112" fmla="*/ 266519 w 316982"/>
                <a:gd name="connsiteY112" fmla="*/ 273129 h 373017"/>
                <a:gd name="connsiteX113" fmla="*/ 272577 w 316982"/>
                <a:gd name="connsiteY113" fmla="*/ 275225 h 373017"/>
                <a:gd name="connsiteX114" fmla="*/ 277254 w 316982"/>
                <a:gd name="connsiteY114" fmla="*/ 278568 h 373017"/>
                <a:gd name="connsiteX115" fmla="*/ 280340 w 316982"/>
                <a:gd name="connsiteY115" fmla="*/ 282054 h 373017"/>
                <a:gd name="connsiteX116" fmla="*/ 280559 w 316982"/>
                <a:gd name="connsiteY116" fmla="*/ 290446 h 373017"/>
                <a:gd name="connsiteX117" fmla="*/ 281940 w 316982"/>
                <a:gd name="connsiteY117" fmla="*/ 295199 h 373017"/>
                <a:gd name="connsiteX118" fmla="*/ 279911 w 316982"/>
                <a:gd name="connsiteY118" fmla="*/ 297894 h 373017"/>
                <a:gd name="connsiteX119" fmla="*/ 275977 w 316982"/>
                <a:gd name="connsiteY119" fmla="*/ 297199 h 373017"/>
                <a:gd name="connsiteX120" fmla="*/ 270738 w 316982"/>
                <a:gd name="connsiteY120" fmla="*/ 298913 h 373017"/>
                <a:gd name="connsiteX121" fmla="*/ 267024 w 316982"/>
                <a:gd name="connsiteY121" fmla="*/ 301981 h 373017"/>
                <a:gd name="connsiteX122" fmla="*/ 265481 w 316982"/>
                <a:gd name="connsiteY122" fmla="*/ 304895 h 373017"/>
                <a:gd name="connsiteX123" fmla="*/ 265881 w 316982"/>
                <a:gd name="connsiteY123" fmla="*/ 312439 h 373017"/>
                <a:gd name="connsiteX124" fmla="*/ 265119 w 316982"/>
                <a:gd name="connsiteY124" fmla="*/ 315306 h 373017"/>
                <a:gd name="connsiteX125" fmla="*/ 258080 w 316982"/>
                <a:gd name="connsiteY125" fmla="*/ 320716 h 373017"/>
                <a:gd name="connsiteX126" fmla="*/ 254384 w 316982"/>
                <a:gd name="connsiteY126" fmla="*/ 326241 h 373017"/>
                <a:gd name="connsiteX127" fmla="*/ 253460 w 316982"/>
                <a:gd name="connsiteY127" fmla="*/ 328527 h 373017"/>
                <a:gd name="connsiteX128" fmla="*/ 252051 w 316982"/>
                <a:gd name="connsiteY128" fmla="*/ 331118 h 373017"/>
                <a:gd name="connsiteX129" fmla="*/ 243163 w 316982"/>
                <a:gd name="connsiteY129" fmla="*/ 331213 h 373017"/>
                <a:gd name="connsiteX130" fmla="*/ 241059 w 316982"/>
                <a:gd name="connsiteY130" fmla="*/ 328003 h 373017"/>
                <a:gd name="connsiteX131" fmla="*/ 240983 w 316982"/>
                <a:gd name="connsiteY131" fmla="*/ 323231 h 373017"/>
                <a:gd name="connsiteX132" fmla="*/ 242506 w 316982"/>
                <a:gd name="connsiteY132" fmla="*/ 320288 h 373017"/>
                <a:gd name="connsiteX133" fmla="*/ 245774 w 316982"/>
                <a:gd name="connsiteY133" fmla="*/ 318906 h 373017"/>
                <a:gd name="connsiteX134" fmla="*/ 247974 w 316982"/>
                <a:gd name="connsiteY134" fmla="*/ 312772 h 373017"/>
                <a:gd name="connsiteX135" fmla="*/ 247278 w 316982"/>
                <a:gd name="connsiteY135" fmla="*/ 308334 h 373017"/>
                <a:gd name="connsiteX136" fmla="*/ 248564 w 316982"/>
                <a:gd name="connsiteY136" fmla="*/ 306362 h 373017"/>
                <a:gd name="connsiteX137" fmla="*/ 249774 w 316982"/>
                <a:gd name="connsiteY137" fmla="*/ 304972 h 373017"/>
                <a:gd name="connsiteX138" fmla="*/ 252260 w 316982"/>
                <a:gd name="connsiteY138" fmla="*/ 304152 h 373017"/>
                <a:gd name="connsiteX139" fmla="*/ 255775 w 316982"/>
                <a:gd name="connsiteY139" fmla="*/ 303371 h 373017"/>
                <a:gd name="connsiteX140" fmla="*/ 256127 w 316982"/>
                <a:gd name="connsiteY140" fmla="*/ 297151 h 373017"/>
                <a:gd name="connsiteX141" fmla="*/ 253384 w 316982"/>
                <a:gd name="connsiteY141" fmla="*/ 294322 h 373017"/>
                <a:gd name="connsiteX142" fmla="*/ 252422 w 316982"/>
                <a:gd name="connsiteY142" fmla="*/ 290351 h 373017"/>
                <a:gd name="connsiteX143" fmla="*/ 251145 w 316982"/>
                <a:gd name="connsiteY143" fmla="*/ 282997 h 373017"/>
                <a:gd name="connsiteX144" fmla="*/ 246621 w 316982"/>
                <a:gd name="connsiteY144" fmla="*/ 273577 h 373017"/>
                <a:gd name="connsiteX145" fmla="*/ 244202 w 316982"/>
                <a:gd name="connsiteY145" fmla="*/ 265147 h 373017"/>
                <a:gd name="connsiteX146" fmla="*/ 242306 w 316982"/>
                <a:gd name="connsiteY146" fmla="*/ 260975 h 373017"/>
                <a:gd name="connsiteX147" fmla="*/ 239430 w 316982"/>
                <a:gd name="connsiteY147" fmla="*/ 258794 h 373017"/>
                <a:gd name="connsiteX148" fmla="*/ 234239 w 316982"/>
                <a:gd name="connsiteY148" fmla="*/ 258823 h 373017"/>
                <a:gd name="connsiteX149" fmla="*/ 231658 w 316982"/>
                <a:gd name="connsiteY149" fmla="*/ 258204 h 373017"/>
                <a:gd name="connsiteX150" fmla="*/ 222475 w 316982"/>
                <a:gd name="connsiteY150" fmla="*/ 252317 h 373017"/>
                <a:gd name="connsiteX151" fmla="*/ 221837 w 316982"/>
                <a:gd name="connsiteY151" fmla="*/ 251422 h 373017"/>
                <a:gd name="connsiteX152" fmla="*/ 221894 w 316982"/>
                <a:gd name="connsiteY152" fmla="*/ 249850 h 373017"/>
                <a:gd name="connsiteX153" fmla="*/ 223418 w 316982"/>
                <a:gd name="connsiteY153" fmla="*/ 247479 h 373017"/>
                <a:gd name="connsiteX154" fmla="*/ 222390 w 316982"/>
                <a:gd name="connsiteY154" fmla="*/ 244269 h 373017"/>
                <a:gd name="connsiteX155" fmla="*/ 221304 w 316982"/>
                <a:gd name="connsiteY155" fmla="*/ 241230 h 373017"/>
                <a:gd name="connsiteX156" fmla="*/ 219504 w 316982"/>
                <a:gd name="connsiteY156" fmla="*/ 238639 h 373017"/>
                <a:gd name="connsiteX157" fmla="*/ 217532 w 316982"/>
                <a:gd name="connsiteY157" fmla="*/ 237287 h 373017"/>
                <a:gd name="connsiteX158" fmla="*/ 213398 w 316982"/>
                <a:gd name="connsiteY158" fmla="*/ 238115 h 373017"/>
                <a:gd name="connsiteX159" fmla="*/ 211950 w 316982"/>
                <a:gd name="connsiteY159" fmla="*/ 238754 h 373017"/>
                <a:gd name="connsiteX160" fmla="*/ 209340 w 316982"/>
                <a:gd name="connsiteY160" fmla="*/ 238535 h 373017"/>
                <a:gd name="connsiteX161" fmla="*/ 207292 w 316982"/>
                <a:gd name="connsiteY161" fmla="*/ 239687 h 373017"/>
                <a:gd name="connsiteX162" fmla="*/ 206149 w 316982"/>
                <a:gd name="connsiteY162" fmla="*/ 239725 h 373017"/>
                <a:gd name="connsiteX163" fmla="*/ 209369 w 316982"/>
                <a:gd name="connsiteY163" fmla="*/ 235163 h 373017"/>
                <a:gd name="connsiteX164" fmla="*/ 208502 w 316982"/>
                <a:gd name="connsiteY164" fmla="*/ 234086 h 373017"/>
                <a:gd name="connsiteX165" fmla="*/ 205321 w 316982"/>
                <a:gd name="connsiteY165" fmla="*/ 232210 h 373017"/>
                <a:gd name="connsiteX166" fmla="*/ 200997 w 316982"/>
                <a:gd name="connsiteY166" fmla="*/ 231924 h 373017"/>
                <a:gd name="connsiteX167" fmla="*/ 199796 w 316982"/>
                <a:gd name="connsiteY167" fmla="*/ 231696 h 373017"/>
                <a:gd name="connsiteX168" fmla="*/ 199092 w 316982"/>
                <a:gd name="connsiteY168" fmla="*/ 232867 h 373017"/>
                <a:gd name="connsiteX169" fmla="*/ 198253 w 316982"/>
                <a:gd name="connsiteY169" fmla="*/ 232229 h 373017"/>
                <a:gd name="connsiteX170" fmla="*/ 198339 w 316982"/>
                <a:gd name="connsiteY170" fmla="*/ 230191 h 373017"/>
                <a:gd name="connsiteX171" fmla="*/ 193319 w 316982"/>
                <a:gd name="connsiteY171" fmla="*/ 221028 h 373017"/>
                <a:gd name="connsiteX172" fmla="*/ 189947 w 316982"/>
                <a:gd name="connsiteY172" fmla="*/ 217284 h 373017"/>
                <a:gd name="connsiteX173" fmla="*/ 188242 w 316982"/>
                <a:gd name="connsiteY173" fmla="*/ 216618 h 373017"/>
                <a:gd name="connsiteX174" fmla="*/ 185166 w 316982"/>
                <a:gd name="connsiteY174" fmla="*/ 217408 h 373017"/>
                <a:gd name="connsiteX175" fmla="*/ 180013 w 316982"/>
                <a:gd name="connsiteY175" fmla="*/ 215770 h 373017"/>
                <a:gd name="connsiteX176" fmla="*/ 176937 w 316982"/>
                <a:gd name="connsiteY176" fmla="*/ 215408 h 373017"/>
                <a:gd name="connsiteX177" fmla="*/ 175241 w 316982"/>
                <a:gd name="connsiteY177" fmla="*/ 215808 h 373017"/>
                <a:gd name="connsiteX178" fmla="*/ 172707 w 316982"/>
                <a:gd name="connsiteY178" fmla="*/ 216998 h 373017"/>
                <a:gd name="connsiteX179" fmla="*/ 171431 w 316982"/>
                <a:gd name="connsiteY179" fmla="*/ 216208 h 373017"/>
                <a:gd name="connsiteX180" fmla="*/ 170983 w 316982"/>
                <a:gd name="connsiteY180" fmla="*/ 214979 h 373017"/>
                <a:gd name="connsiteX181" fmla="*/ 166306 w 316982"/>
                <a:gd name="connsiteY181" fmla="*/ 211160 h 373017"/>
                <a:gd name="connsiteX182" fmla="*/ 160468 w 316982"/>
                <a:gd name="connsiteY182" fmla="*/ 208997 h 373017"/>
                <a:gd name="connsiteX183" fmla="*/ 149104 w 316982"/>
                <a:gd name="connsiteY183" fmla="*/ 196777 h 373017"/>
                <a:gd name="connsiteX184" fmla="*/ 145618 w 316982"/>
                <a:gd name="connsiteY184" fmla="*/ 192196 h 373017"/>
                <a:gd name="connsiteX185" fmla="*/ 138446 w 316982"/>
                <a:gd name="connsiteY185" fmla="*/ 187138 h 373017"/>
                <a:gd name="connsiteX186" fmla="*/ 133912 w 316982"/>
                <a:gd name="connsiteY186" fmla="*/ 179746 h 373017"/>
                <a:gd name="connsiteX187" fmla="*/ 130197 w 316982"/>
                <a:gd name="connsiteY187" fmla="*/ 177032 h 373017"/>
                <a:gd name="connsiteX188" fmla="*/ 124796 w 316982"/>
                <a:gd name="connsiteY188" fmla="*/ 174850 h 373017"/>
                <a:gd name="connsiteX189" fmla="*/ 123549 w 316982"/>
                <a:gd name="connsiteY189" fmla="*/ 175127 h 373017"/>
                <a:gd name="connsiteX190" fmla="*/ 121929 w 316982"/>
                <a:gd name="connsiteY190" fmla="*/ 175946 h 373017"/>
                <a:gd name="connsiteX191" fmla="*/ 120653 w 316982"/>
                <a:gd name="connsiteY191" fmla="*/ 176060 h 373017"/>
                <a:gd name="connsiteX192" fmla="*/ 119644 w 316982"/>
                <a:gd name="connsiteY192" fmla="*/ 175098 h 373017"/>
                <a:gd name="connsiteX193" fmla="*/ 120672 w 316982"/>
                <a:gd name="connsiteY193" fmla="*/ 174107 h 373017"/>
                <a:gd name="connsiteX194" fmla="*/ 121825 w 316982"/>
                <a:gd name="connsiteY194" fmla="*/ 173660 h 373017"/>
                <a:gd name="connsiteX195" fmla="*/ 121377 w 316982"/>
                <a:gd name="connsiteY195" fmla="*/ 170821 h 373017"/>
                <a:gd name="connsiteX196" fmla="*/ 115224 w 316982"/>
                <a:gd name="connsiteY196" fmla="*/ 163449 h 373017"/>
                <a:gd name="connsiteX197" fmla="*/ 111623 w 316982"/>
                <a:gd name="connsiteY197" fmla="*/ 161068 h 373017"/>
                <a:gd name="connsiteX198" fmla="*/ 110604 w 316982"/>
                <a:gd name="connsiteY198" fmla="*/ 159601 h 373017"/>
                <a:gd name="connsiteX199" fmla="*/ 109852 w 316982"/>
                <a:gd name="connsiteY199" fmla="*/ 157591 h 373017"/>
                <a:gd name="connsiteX200" fmla="*/ 109080 w 316982"/>
                <a:gd name="connsiteY200" fmla="*/ 156267 h 373017"/>
                <a:gd name="connsiteX201" fmla="*/ 107375 w 316982"/>
                <a:gd name="connsiteY201" fmla="*/ 155505 h 373017"/>
                <a:gd name="connsiteX202" fmla="*/ 105918 w 316982"/>
                <a:gd name="connsiteY202" fmla="*/ 155638 h 373017"/>
                <a:gd name="connsiteX203" fmla="*/ 103908 w 316982"/>
                <a:gd name="connsiteY203" fmla="*/ 155134 h 373017"/>
                <a:gd name="connsiteX204" fmla="*/ 103975 w 316982"/>
                <a:gd name="connsiteY204" fmla="*/ 151571 h 373017"/>
                <a:gd name="connsiteX205" fmla="*/ 104375 w 316982"/>
                <a:gd name="connsiteY205" fmla="*/ 148838 h 373017"/>
                <a:gd name="connsiteX206" fmla="*/ 104070 w 316982"/>
                <a:gd name="connsiteY206" fmla="*/ 146513 h 373017"/>
                <a:gd name="connsiteX207" fmla="*/ 102108 w 316982"/>
                <a:gd name="connsiteY207" fmla="*/ 140389 h 373017"/>
                <a:gd name="connsiteX208" fmla="*/ 98717 w 316982"/>
                <a:gd name="connsiteY208" fmla="*/ 135188 h 373017"/>
                <a:gd name="connsiteX209" fmla="*/ 96717 w 316982"/>
                <a:gd name="connsiteY209" fmla="*/ 122701 h 373017"/>
                <a:gd name="connsiteX210" fmla="*/ 95174 w 316982"/>
                <a:gd name="connsiteY210" fmla="*/ 119167 h 373017"/>
                <a:gd name="connsiteX211" fmla="*/ 91421 w 316982"/>
                <a:gd name="connsiteY211" fmla="*/ 116491 h 373017"/>
                <a:gd name="connsiteX212" fmla="*/ 82953 w 316982"/>
                <a:gd name="connsiteY212" fmla="*/ 113481 h 373017"/>
                <a:gd name="connsiteX213" fmla="*/ 71152 w 316982"/>
                <a:gd name="connsiteY213" fmla="*/ 105375 h 373017"/>
                <a:gd name="connsiteX214" fmla="*/ 68656 w 316982"/>
                <a:gd name="connsiteY214" fmla="*/ 105232 h 373017"/>
                <a:gd name="connsiteX215" fmla="*/ 61560 w 316982"/>
                <a:gd name="connsiteY215" fmla="*/ 102070 h 373017"/>
                <a:gd name="connsiteX216" fmla="*/ 57159 w 316982"/>
                <a:gd name="connsiteY216" fmla="*/ 101527 h 373017"/>
                <a:gd name="connsiteX217" fmla="*/ 51445 w 316982"/>
                <a:gd name="connsiteY217" fmla="*/ 104365 h 373017"/>
                <a:gd name="connsiteX218" fmla="*/ 44501 w 316982"/>
                <a:gd name="connsiteY218" fmla="*/ 112157 h 373017"/>
                <a:gd name="connsiteX219" fmla="*/ 38871 w 316982"/>
                <a:gd name="connsiteY219" fmla="*/ 120225 h 373017"/>
                <a:gd name="connsiteX220" fmla="*/ 36824 w 316982"/>
                <a:gd name="connsiteY220" fmla="*/ 121787 h 373017"/>
                <a:gd name="connsiteX221" fmla="*/ 29556 w 316982"/>
                <a:gd name="connsiteY221" fmla="*/ 124530 h 373017"/>
                <a:gd name="connsiteX222" fmla="*/ 23136 w 316982"/>
                <a:gd name="connsiteY222" fmla="*/ 125835 h 373017"/>
                <a:gd name="connsiteX223" fmla="*/ 23070 w 316982"/>
                <a:gd name="connsiteY223" fmla="*/ 123777 h 373017"/>
                <a:gd name="connsiteX224" fmla="*/ 22841 w 316982"/>
                <a:gd name="connsiteY224" fmla="*/ 122225 h 373017"/>
                <a:gd name="connsiteX225" fmla="*/ 23927 w 316982"/>
                <a:gd name="connsiteY225" fmla="*/ 120520 h 373017"/>
                <a:gd name="connsiteX226" fmla="*/ 25717 w 316982"/>
                <a:gd name="connsiteY226" fmla="*/ 118510 h 373017"/>
                <a:gd name="connsiteX227" fmla="*/ 27365 w 316982"/>
                <a:gd name="connsiteY227" fmla="*/ 115976 h 373017"/>
                <a:gd name="connsiteX228" fmla="*/ 28051 w 316982"/>
                <a:gd name="connsiteY228" fmla="*/ 114148 h 373017"/>
                <a:gd name="connsiteX229" fmla="*/ 27727 w 316982"/>
                <a:gd name="connsiteY229" fmla="*/ 112928 h 373017"/>
                <a:gd name="connsiteX230" fmla="*/ 26984 w 316982"/>
                <a:gd name="connsiteY230" fmla="*/ 111119 h 373017"/>
                <a:gd name="connsiteX231" fmla="*/ 25975 w 316982"/>
                <a:gd name="connsiteY231" fmla="*/ 110985 h 373017"/>
                <a:gd name="connsiteX232" fmla="*/ 19860 w 316982"/>
                <a:gd name="connsiteY232" fmla="*/ 112509 h 373017"/>
                <a:gd name="connsiteX233" fmla="*/ 18459 w 316982"/>
                <a:gd name="connsiteY233" fmla="*/ 112119 h 373017"/>
                <a:gd name="connsiteX234" fmla="*/ 13935 w 316982"/>
                <a:gd name="connsiteY234" fmla="*/ 109747 h 373017"/>
                <a:gd name="connsiteX235" fmla="*/ 9068 w 316982"/>
                <a:gd name="connsiteY235" fmla="*/ 106832 h 373017"/>
                <a:gd name="connsiteX236" fmla="*/ 7277 w 316982"/>
                <a:gd name="connsiteY236" fmla="*/ 104756 h 373017"/>
                <a:gd name="connsiteX237" fmla="*/ 6601 w 316982"/>
                <a:gd name="connsiteY237" fmla="*/ 102660 h 373017"/>
                <a:gd name="connsiteX238" fmla="*/ 7106 w 316982"/>
                <a:gd name="connsiteY238" fmla="*/ 101308 h 373017"/>
                <a:gd name="connsiteX239" fmla="*/ 6705 w 316982"/>
                <a:gd name="connsiteY239" fmla="*/ 99993 h 373017"/>
                <a:gd name="connsiteX240" fmla="*/ 5753 w 316982"/>
                <a:gd name="connsiteY240" fmla="*/ 98222 h 373017"/>
                <a:gd name="connsiteX241" fmla="*/ 6610 w 316982"/>
                <a:gd name="connsiteY241" fmla="*/ 96212 h 373017"/>
                <a:gd name="connsiteX242" fmla="*/ 8125 w 316982"/>
                <a:gd name="connsiteY242" fmla="*/ 93707 h 373017"/>
                <a:gd name="connsiteX243" fmla="*/ 8887 w 316982"/>
                <a:gd name="connsiteY243" fmla="*/ 92002 h 373017"/>
                <a:gd name="connsiteX244" fmla="*/ 10163 w 316982"/>
                <a:gd name="connsiteY244" fmla="*/ 91564 h 373017"/>
                <a:gd name="connsiteX245" fmla="*/ 10773 w 316982"/>
                <a:gd name="connsiteY245" fmla="*/ 90526 h 373017"/>
                <a:gd name="connsiteX246" fmla="*/ 9753 w 316982"/>
                <a:gd name="connsiteY246" fmla="*/ 86373 h 373017"/>
                <a:gd name="connsiteX247" fmla="*/ 9220 w 316982"/>
                <a:gd name="connsiteY247" fmla="*/ 85706 h 373017"/>
                <a:gd name="connsiteX248" fmla="*/ 8344 w 316982"/>
                <a:gd name="connsiteY248" fmla="*/ 85192 h 373017"/>
                <a:gd name="connsiteX249" fmla="*/ 6991 w 316982"/>
                <a:gd name="connsiteY249" fmla="*/ 85134 h 373017"/>
                <a:gd name="connsiteX250" fmla="*/ 4629 w 316982"/>
                <a:gd name="connsiteY250" fmla="*/ 84277 h 373017"/>
                <a:gd name="connsiteX251" fmla="*/ 2953 w 316982"/>
                <a:gd name="connsiteY251" fmla="*/ 82839 h 373017"/>
                <a:gd name="connsiteX252" fmla="*/ 2591 w 316982"/>
                <a:gd name="connsiteY252" fmla="*/ 80896 h 373017"/>
                <a:gd name="connsiteX253" fmla="*/ 1705 w 316982"/>
                <a:gd name="connsiteY253" fmla="*/ 79029 h 373017"/>
                <a:gd name="connsiteX254" fmla="*/ 190 w 316982"/>
                <a:gd name="connsiteY254" fmla="*/ 77314 h 373017"/>
                <a:gd name="connsiteX255" fmla="*/ 0 w 316982"/>
                <a:gd name="connsiteY255" fmla="*/ 75438 h 373017"/>
                <a:gd name="connsiteX256" fmla="*/ 1724 w 316982"/>
                <a:gd name="connsiteY256" fmla="*/ 74447 h 373017"/>
                <a:gd name="connsiteX257" fmla="*/ 4076 w 316982"/>
                <a:gd name="connsiteY257" fmla="*/ 74409 h 373017"/>
                <a:gd name="connsiteX258" fmla="*/ 5734 w 316982"/>
                <a:gd name="connsiteY258" fmla="*/ 74781 h 373017"/>
                <a:gd name="connsiteX259" fmla="*/ 9449 w 316982"/>
                <a:gd name="connsiteY259" fmla="*/ 71761 h 373017"/>
                <a:gd name="connsiteX260" fmla="*/ 10820 w 316982"/>
                <a:gd name="connsiteY260" fmla="*/ 71495 h 373017"/>
                <a:gd name="connsiteX261" fmla="*/ 12049 w 316982"/>
                <a:gd name="connsiteY261" fmla="*/ 70847 h 373017"/>
                <a:gd name="connsiteX262" fmla="*/ 13078 w 316982"/>
                <a:gd name="connsiteY262" fmla="*/ 66713 h 373017"/>
                <a:gd name="connsiteX263" fmla="*/ 13868 w 316982"/>
                <a:gd name="connsiteY263" fmla="*/ 65475 h 373017"/>
                <a:gd name="connsiteX264" fmla="*/ 14059 w 316982"/>
                <a:gd name="connsiteY264" fmla="*/ 64751 h 373017"/>
                <a:gd name="connsiteX265" fmla="*/ 13325 w 316982"/>
                <a:gd name="connsiteY265" fmla="*/ 63884 h 373017"/>
                <a:gd name="connsiteX266" fmla="*/ 10325 w 316982"/>
                <a:gd name="connsiteY266" fmla="*/ 60970 h 373017"/>
                <a:gd name="connsiteX267" fmla="*/ 8954 w 316982"/>
                <a:gd name="connsiteY267" fmla="*/ 57921 h 373017"/>
                <a:gd name="connsiteX268" fmla="*/ 6791 w 316982"/>
                <a:gd name="connsiteY268" fmla="*/ 54502 h 373017"/>
                <a:gd name="connsiteX269" fmla="*/ 4781 w 316982"/>
                <a:gd name="connsiteY269" fmla="*/ 52987 h 373017"/>
                <a:gd name="connsiteX270" fmla="*/ 4372 w 316982"/>
                <a:gd name="connsiteY270" fmla="*/ 51806 h 373017"/>
                <a:gd name="connsiteX271" fmla="*/ 4324 w 316982"/>
                <a:gd name="connsiteY271" fmla="*/ 50311 h 373017"/>
                <a:gd name="connsiteX272" fmla="*/ 4734 w 316982"/>
                <a:gd name="connsiteY272" fmla="*/ 48987 h 373017"/>
                <a:gd name="connsiteX273" fmla="*/ 8372 w 316982"/>
                <a:gd name="connsiteY273" fmla="*/ 46930 h 373017"/>
                <a:gd name="connsiteX274" fmla="*/ 10525 w 316982"/>
                <a:gd name="connsiteY274" fmla="*/ 44739 h 373017"/>
                <a:gd name="connsiteX275" fmla="*/ 11449 w 316982"/>
                <a:gd name="connsiteY275" fmla="*/ 45577 h 373017"/>
                <a:gd name="connsiteX276" fmla="*/ 13411 w 316982"/>
                <a:gd name="connsiteY276" fmla="*/ 46472 h 373017"/>
                <a:gd name="connsiteX277" fmla="*/ 18735 w 316982"/>
                <a:gd name="connsiteY277" fmla="*/ 45253 h 373017"/>
                <a:gd name="connsiteX278" fmla="*/ 22041 w 316982"/>
                <a:gd name="connsiteY278" fmla="*/ 44025 h 373017"/>
                <a:gd name="connsiteX279" fmla="*/ 24365 w 316982"/>
                <a:gd name="connsiteY279" fmla="*/ 42729 h 373017"/>
                <a:gd name="connsiteX280" fmla="*/ 25803 w 316982"/>
                <a:gd name="connsiteY280" fmla="*/ 42958 h 373017"/>
                <a:gd name="connsiteX281" fmla="*/ 31023 w 316982"/>
                <a:gd name="connsiteY281" fmla="*/ 44891 h 373017"/>
                <a:gd name="connsiteX282" fmla="*/ 32747 w 316982"/>
                <a:gd name="connsiteY282" fmla="*/ 43910 h 373017"/>
                <a:gd name="connsiteX283" fmla="*/ 36509 w 316982"/>
                <a:gd name="connsiteY283" fmla="*/ 41291 h 373017"/>
                <a:gd name="connsiteX284" fmla="*/ 37071 w 316982"/>
                <a:gd name="connsiteY284" fmla="*/ 39910 h 373017"/>
                <a:gd name="connsiteX285" fmla="*/ 40043 w 316982"/>
                <a:gd name="connsiteY285" fmla="*/ 35719 h 373017"/>
                <a:gd name="connsiteX286" fmla="*/ 40100 w 316982"/>
                <a:gd name="connsiteY286" fmla="*/ 34700 h 373017"/>
                <a:gd name="connsiteX287" fmla="*/ 38881 w 316982"/>
                <a:gd name="connsiteY287" fmla="*/ 32061 h 373017"/>
                <a:gd name="connsiteX288" fmla="*/ 39262 w 316982"/>
                <a:gd name="connsiteY288" fmla="*/ 31480 h 373017"/>
                <a:gd name="connsiteX289" fmla="*/ 42901 w 316982"/>
                <a:gd name="connsiteY289" fmla="*/ 28775 h 373017"/>
                <a:gd name="connsiteX290" fmla="*/ 44682 w 316982"/>
                <a:gd name="connsiteY290" fmla="*/ 26375 h 373017"/>
                <a:gd name="connsiteX291" fmla="*/ 46615 w 316982"/>
                <a:gd name="connsiteY291" fmla="*/ 24765 h 373017"/>
                <a:gd name="connsiteX292" fmla="*/ 48006 w 316982"/>
                <a:gd name="connsiteY292" fmla="*/ 24727 h 373017"/>
                <a:gd name="connsiteX293" fmla="*/ 48387 w 316982"/>
                <a:gd name="connsiteY293" fmla="*/ 25279 h 373017"/>
                <a:gd name="connsiteX294" fmla="*/ 48549 w 316982"/>
                <a:gd name="connsiteY294" fmla="*/ 26403 h 373017"/>
                <a:gd name="connsiteX295" fmla="*/ 48425 w 316982"/>
                <a:gd name="connsiteY295" fmla="*/ 31032 h 373017"/>
                <a:gd name="connsiteX296" fmla="*/ 48958 w 316982"/>
                <a:gd name="connsiteY296" fmla="*/ 32452 h 373017"/>
                <a:gd name="connsiteX297" fmla="*/ 51816 w 316982"/>
                <a:gd name="connsiteY297" fmla="*/ 35766 h 373017"/>
                <a:gd name="connsiteX298" fmla="*/ 53854 w 316982"/>
                <a:gd name="connsiteY298" fmla="*/ 37652 h 373017"/>
                <a:gd name="connsiteX299" fmla="*/ 58588 w 316982"/>
                <a:gd name="connsiteY299" fmla="*/ 38948 h 373017"/>
                <a:gd name="connsiteX300" fmla="*/ 58807 w 316982"/>
                <a:gd name="connsiteY300" fmla="*/ 39567 h 373017"/>
                <a:gd name="connsiteX301" fmla="*/ 57502 w 316982"/>
                <a:gd name="connsiteY301" fmla="*/ 42053 h 373017"/>
                <a:gd name="connsiteX302" fmla="*/ 60369 w 316982"/>
                <a:gd name="connsiteY302" fmla="*/ 45025 h 373017"/>
                <a:gd name="connsiteX303" fmla="*/ 60884 w 316982"/>
                <a:gd name="connsiteY303" fmla="*/ 47196 h 373017"/>
                <a:gd name="connsiteX304" fmla="*/ 62208 w 316982"/>
                <a:gd name="connsiteY304" fmla="*/ 48416 h 373017"/>
                <a:gd name="connsiteX305" fmla="*/ 64075 w 316982"/>
                <a:gd name="connsiteY305" fmla="*/ 47815 h 373017"/>
                <a:gd name="connsiteX306" fmla="*/ 64684 w 316982"/>
                <a:gd name="connsiteY306" fmla="*/ 46663 h 373017"/>
                <a:gd name="connsiteX307" fmla="*/ 63951 w 316982"/>
                <a:gd name="connsiteY307" fmla="*/ 44653 h 373017"/>
                <a:gd name="connsiteX308" fmla="*/ 63408 w 316982"/>
                <a:gd name="connsiteY308" fmla="*/ 42548 h 373017"/>
                <a:gd name="connsiteX309" fmla="*/ 63513 w 316982"/>
                <a:gd name="connsiteY309" fmla="*/ 41329 h 373017"/>
                <a:gd name="connsiteX310" fmla="*/ 64027 w 316982"/>
                <a:gd name="connsiteY310" fmla="*/ 39929 h 373017"/>
                <a:gd name="connsiteX311" fmla="*/ 65332 w 316982"/>
                <a:gd name="connsiteY311" fmla="*/ 37967 h 373017"/>
                <a:gd name="connsiteX312" fmla="*/ 68875 w 316982"/>
                <a:gd name="connsiteY312" fmla="*/ 33471 h 373017"/>
                <a:gd name="connsiteX313" fmla="*/ 70152 w 316982"/>
                <a:gd name="connsiteY313" fmla="*/ 30871 h 373017"/>
                <a:gd name="connsiteX314" fmla="*/ 70380 w 316982"/>
                <a:gd name="connsiteY314" fmla="*/ 26841 h 373017"/>
                <a:gd name="connsiteX315" fmla="*/ 70390 w 316982"/>
                <a:gd name="connsiteY315" fmla="*/ 23603 h 373017"/>
                <a:gd name="connsiteX316" fmla="*/ 71571 w 316982"/>
                <a:gd name="connsiteY316" fmla="*/ 22812 h 373017"/>
                <a:gd name="connsiteX317" fmla="*/ 74114 w 316982"/>
                <a:gd name="connsiteY317" fmla="*/ 23393 h 373017"/>
                <a:gd name="connsiteX318" fmla="*/ 74876 w 316982"/>
                <a:gd name="connsiteY318" fmla="*/ 23327 h 373017"/>
                <a:gd name="connsiteX319" fmla="*/ 75219 w 316982"/>
                <a:gd name="connsiteY319" fmla="*/ 25317 h 373017"/>
                <a:gd name="connsiteX320" fmla="*/ 76305 w 316982"/>
                <a:gd name="connsiteY320" fmla="*/ 28489 h 373017"/>
                <a:gd name="connsiteX321" fmla="*/ 77581 w 316982"/>
                <a:gd name="connsiteY321" fmla="*/ 30128 h 373017"/>
                <a:gd name="connsiteX322" fmla="*/ 78943 w 316982"/>
                <a:gd name="connsiteY322" fmla="*/ 30518 h 373017"/>
                <a:gd name="connsiteX323" fmla="*/ 80543 w 316982"/>
                <a:gd name="connsiteY323" fmla="*/ 30527 h 373017"/>
                <a:gd name="connsiteX324" fmla="*/ 84506 w 316982"/>
                <a:gd name="connsiteY324" fmla="*/ 28594 h 373017"/>
                <a:gd name="connsiteX325" fmla="*/ 87087 w 316982"/>
                <a:gd name="connsiteY325" fmla="*/ 27756 h 373017"/>
                <a:gd name="connsiteX326" fmla="*/ 88554 w 316982"/>
                <a:gd name="connsiteY326" fmla="*/ 27984 h 373017"/>
                <a:gd name="connsiteX327" fmla="*/ 89421 w 316982"/>
                <a:gd name="connsiteY327" fmla="*/ 29299 h 373017"/>
                <a:gd name="connsiteX328" fmla="*/ 91269 w 316982"/>
                <a:gd name="connsiteY328" fmla="*/ 32756 h 373017"/>
                <a:gd name="connsiteX329" fmla="*/ 92326 w 316982"/>
                <a:gd name="connsiteY329" fmla="*/ 33147 h 373017"/>
                <a:gd name="connsiteX330" fmla="*/ 93602 w 316982"/>
                <a:gd name="connsiteY330" fmla="*/ 32747 h 373017"/>
                <a:gd name="connsiteX331" fmla="*/ 94050 w 316982"/>
                <a:gd name="connsiteY331" fmla="*/ 32156 h 373017"/>
                <a:gd name="connsiteX332" fmla="*/ 93640 w 316982"/>
                <a:gd name="connsiteY332" fmla="*/ 30823 h 373017"/>
                <a:gd name="connsiteX333" fmla="*/ 93097 w 316982"/>
                <a:gd name="connsiteY333" fmla="*/ 27937 h 373017"/>
                <a:gd name="connsiteX334" fmla="*/ 92354 w 316982"/>
                <a:gd name="connsiteY334" fmla="*/ 25698 h 373017"/>
                <a:gd name="connsiteX335" fmla="*/ 91383 w 316982"/>
                <a:gd name="connsiteY335" fmla="*/ 24651 h 373017"/>
                <a:gd name="connsiteX336" fmla="*/ 91183 w 316982"/>
                <a:gd name="connsiteY336" fmla="*/ 23289 h 373017"/>
                <a:gd name="connsiteX337" fmla="*/ 91792 w 316982"/>
                <a:gd name="connsiteY337" fmla="*/ 20831 h 373017"/>
                <a:gd name="connsiteX338" fmla="*/ 92488 w 316982"/>
                <a:gd name="connsiteY338" fmla="*/ 18774 h 373017"/>
                <a:gd name="connsiteX339" fmla="*/ 93840 w 316982"/>
                <a:gd name="connsiteY339" fmla="*/ 18212 h 373017"/>
                <a:gd name="connsiteX340" fmla="*/ 95393 w 316982"/>
                <a:gd name="connsiteY340" fmla="*/ 17955 h 373017"/>
                <a:gd name="connsiteX341" fmla="*/ 97441 w 316982"/>
                <a:gd name="connsiteY341" fmla="*/ 20136 h 373017"/>
                <a:gd name="connsiteX342" fmla="*/ 99869 w 316982"/>
                <a:gd name="connsiteY342" fmla="*/ 20822 h 373017"/>
                <a:gd name="connsiteX343" fmla="*/ 101679 w 316982"/>
                <a:gd name="connsiteY343" fmla="*/ 20707 h 373017"/>
                <a:gd name="connsiteX344" fmla="*/ 101993 w 316982"/>
                <a:gd name="connsiteY344" fmla="*/ 19440 h 373017"/>
                <a:gd name="connsiteX345" fmla="*/ 101879 w 316982"/>
                <a:gd name="connsiteY345" fmla="*/ 18050 h 373017"/>
                <a:gd name="connsiteX346" fmla="*/ 100803 w 316982"/>
                <a:gd name="connsiteY346" fmla="*/ 16259 h 373017"/>
                <a:gd name="connsiteX347" fmla="*/ 101012 w 316982"/>
                <a:gd name="connsiteY347" fmla="*/ 13545 h 373017"/>
                <a:gd name="connsiteX348" fmla="*/ 102260 w 316982"/>
                <a:gd name="connsiteY348" fmla="*/ 8477 h 373017"/>
                <a:gd name="connsiteX349" fmla="*/ 102975 w 316982"/>
                <a:gd name="connsiteY349" fmla="*/ 8868 h 373017"/>
                <a:gd name="connsiteX350" fmla="*/ 105661 w 316982"/>
                <a:gd name="connsiteY350" fmla="*/ 8915 h 373017"/>
                <a:gd name="connsiteX351" fmla="*/ 108585 w 316982"/>
                <a:gd name="connsiteY351" fmla="*/ 9201 h 373017"/>
                <a:gd name="connsiteX352" fmla="*/ 110471 w 316982"/>
                <a:gd name="connsiteY352" fmla="*/ 11268 h 373017"/>
                <a:gd name="connsiteX353" fmla="*/ 112319 w 316982"/>
                <a:gd name="connsiteY353" fmla="*/ 11973 h 373017"/>
                <a:gd name="connsiteX354" fmla="*/ 114948 w 316982"/>
                <a:gd name="connsiteY354" fmla="*/ 12192 h 373017"/>
                <a:gd name="connsiteX355" fmla="*/ 116710 w 316982"/>
                <a:gd name="connsiteY355" fmla="*/ 11906 h 373017"/>
                <a:gd name="connsiteX356" fmla="*/ 117567 w 316982"/>
                <a:gd name="connsiteY356" fmla="*/ 11125 h 373017"/>
                <a:gd name="connsiteX357" fmla="*/ 118586 w 316982"/>
                <a:gd name="connsiteY357" fmla="*/ 8706 h 373017"/>
                <a:gd name="connsiteX358" fmla="*/ 120472 w 316982"/>
                <a:gd name="connsiteY358" fmla="*/ 5705 h 373017"/>
                <a:gd name="connsiteX359" fmla="*/ 123425 w 316982"/>
                <a:gd name="connsiteY359" fmla="*/ 4163 h 373017"/>
                <a:gd name="connsiteX360" fmla="*/ 128473 w 316982"/>
                <a:gd name="connsiteY360" fmla="*/ 3877 h 373017"/>
                <a:gd name="connsiteX361" fmla="*/ 130997 w 316982"/>
                <a:gd name="connsiteY361" fmla="*/ 3315 h 373017"/>
                <a:gd name="connsiteX362" fmla="*/ 133617 w 316982"/>
                <a:gd name="connsiteY362" fmla="*/ 3343 h 373017"/>
                <a:gd name="connsiteX363" fmla="*/ 135588 w 316982"/>
                <a:gd name="connsiteY363" fmla="*/ 3810 h 373017"/>
                <a:gd name="connsiteX364" fmla="*/ 137627 w 316982"/>
                <a:gd name="connsiteY364" fmla="*/ 3753 h 373017"/>
                <a:gd name="connsiteX365" fmla="*/ 142808 w 316982"/>
                <a:gd name="connsiteY365" fmla="*/ 1657 h 373017"/>
                <a:gd name="connsiteX366" fmla="*/ 148152 w 316982"/>
                <a:gd name="connsiteY366" fmla="*/ 0 h 373017"/>
                <a:gd name="connsiteX367" fmla="*/ 148895 w 316982"/>
                <a:gd name="connsiteY367" fmla="*/ 276 h 373017"/>
                <a:gd name="connsiteX368" fmla="*/ 149009 w 316982"/>
                <a:gd name="connsiteY368" fmla="*/ 829 h 373017"/>
                <a:gd name="connsiteX369" fmla="*/ 148047 w 316982"/>
                <a:gd name="connsiteY369" fmla="*/ 2105 h 373017"/>
                <a:gd name="connsiteX370" fmla="*/ 147113 w 316982"/>
                <a:gd name="connsiteY370" fmla="*/ 3800 h 373017"/>
                <a:gd name="connsiteX371" fmla="*/ 147742 w 316982"/>
                <a:gd name="connsiteY371" fmla="*/ 5734 h 373017"/>
                <a:gd name="connsiteX372" fmla="*/ 150781 w 316982"/>
                <a:gd name="connsiteY372" fmla="*/ 9611 h 373017"/>
                <a:gd name="connsiteX373" fmla="*/ 152438 w 316982"/>
                <a:gd name="connsiteY373" fmla="*/ 12573 h 373017"/>
                <a:gd name="connsiteX374" fmla="*/ 154000 w 316982"/>
                <a:gd name="connsiteY374" fmla="*/ 14792 h 373017"/>
                <a:gd name="connsiteX375" fmla="*/ 156429 w 316982"/>
                <a:gd name="connsiteY375" fmla="*/ 15964 h 373017"/>
                <a:gd name="connsiteX376" fmla="*/ 159620 w 316982"/>
                <a:gd name="connsiteY376" fmla="*/ 16678 h 373017"/>
                <a:gd name="connsiteX377" fmla="*/ 162325 w 316982"/>
                <a:gd name="connsiteY377" fmla="*/ 16935 h 373017"/>
                <a:gd name="connsiteX378" fmla="*/ 165154 w 316982"/>
                <a:gd name="connsiteY378" fmla="*/ 17774 h 373017"/>
                <a:gd name="connsiteX379" fmla="*/ 174860 w 316982"/>
                <a:gd name="connsiteY379" fmla="*/ 19841 h 373017"/>
                <a:gd name="connsiteX380" fmla="*/ 179746 w 316982"/>
                <a:gd name="connsiteY380" fmla="*/ 20412 h 373017"/>
                <a:gd name="connsiteX381" fmla="*/ 183451 w 316982"/>
                <a:gd name="connsiteY381" fmla="*/ 20498 h 373017"/>
                <a:gd name="connsiteX382" fmla="*/ 189024 w 316982"/>
                <a:gd name="connsiteY382" fmla="*/ 21745 h 373017"/>
                <a:gd name="connsiteX383" fmla="*/ 156553 w 316982"/>
                <a:gd name="connsiteY383" fmla="*/ 120815 h 373017"/>
                <a:gd name="connsiteX384" fmla="*/ 157343 w 316982"/>
                <a:gd name="connsiteY384" fmla="*/ 118910 h 373017"/>
                <a:gd name="connsiteX385" fmla="*/ 157048 w 316982"/>
                <a:gd name="connsiteY385" fmla="*/ 117548 h 373017"/>
                <a:gd name="connsiteX386" fmla="*/ 155372 w 316982"/>
                <a:gd name="connsiteY386" fmla="*/ 117824 h 373017"/>
                <a:gd name="connsiteX387" fmla="*/ 154191 w 316982"/>
                <a:gd name="connsiteY387" fmla="*/ 119596 h 373017"/>
                <a:gd name="connsiteX388" fmla="*/ 154981 w 316982"/>
                <a:gd name="connsiteY388" fmla="*/ 121091 h 373017"/>
                <a:gd name="connsiteX389" fmla="*/ 156553 w 316982"/>
                <a:gd name="connsiteY389" fmla="*/ 120815 h 373017"/>
                <a:gd name="connsiteX390" fmla="*/ 155324 w 316982"/>
                <a:gd name="connsiteY390" fmla="*/ 193662 h 373017"/>
                <a:gd name="connsiteX391" fmla="*/ 155305 w 316982"/>
                <a:gd name="connsiteY391" fmla="*/ 193377 h 373017"/>
                <a:gd name="connsiteX392" fmla="*/ 155105 w 316982"/>
                <a:gd name="connsiteY392" fmla="*/ 193405 h 373017"/>
                <a:gd name="connsiteX393" fmla="*/ 155019 w 316982"/>
                <a:gd name="connsiteY393" fmla="*/ 193577 h 373017"/>
                <a:gd name="connsiteX394" fmla="*/ 155105 w 316982"/>
                <a:gd name="connsiteY394" fmla="*/ 193691 h 373017"/>
                <a:gd name="connsiteX395" fmla="*/ 155324 w 316982"/>
                <a:gd name="connsiteY395" fmla="*/ 193662 h 373017"/>
                <a:gd name="connsiteX396" fmla="*/ 100689 w 316982"/>
                <a:gd name="connsiteY396" fmla="*/ 159048 h 373017"/>
                <a:gd name="connsiteX397" fmla="*/ 101575 w 316982"/>
                <a:gd name="connsiteY397" fmla="*/ 160458 h 373017"/>
                <a:gd name="connsiteX398" fmla="*/ 101679 w 316982"/>
                <a:gd name="connsiteY398" fmla="*/ 161277 h 373017"/>
                <a:gd name="connsiteX399" fmla="*/ 101079 w 316982"/>
                <a:gd name="connsiteY399" fmla="*/ 162211 h 373017"/>
                <a:gd name="connsiteX400" fmla="*/ 101327 w 316982"/>
                <a:gd name="connsiteY400" fmla="*/ 164306 h 373017"/>
                <a:gd name="connsiteX401" fmla="*/ 99088 w 316982"/>
                <a:gd name="connsiteY401" fmla="*/ 162563 h 373017"/>
                <a:gd name="connsiteX402" fmla="*/ 95707 w 316982"/>
                <a:gd name="connsiteY402" fmla="*/ 163439 h 373017"/>
                <a:gd name="connsiteX403" fmla="*/ 93631 w 316982"/>
                <a:gd name="connsiteY403" fmla="*/ 163249 h 373017"/>
                <a:gd name="connsiteX404" fmla="*/ 93059 w 316982"/>
                <a:gd name="connsiteY404" fmla="*/ 161687 h 373017"/>
                <a:gd name="connsiteX405" fmla="*/ 93535 w 316982"/>
                <a:gd name="connsiteY405" fmla="*/ 160772 h 373017"/>
                <a:gd name="connsiteX406" fmla="*/ 96755 w 316982"/>
                <a:gd name="connsiteY406" fmla="*/ 160572 h 373017"/>
                <a:gd name="connsiteX407" fmla="*/ 97755 w 316982"/>
                <a:gd name="connsiteY407" fmla="*/ 160125 h 373017"/>
                <a:gd name="connsiteX408" fmla="*/ 99717 w 316982"/>
                <a:gd name="connsiteY408" fmla="*/ 160334 h 373017"/>
                <a:gd name="connsiteX409" fmla="*/ 100689 w 316982"/>
                <a:gd name="connsiteY409" fmla="*/ 159048 h 373017"/>
                <a:gd name="connsiteX410" fmla="*/ 80276 w 316982"/>
                <a:gd name="connsiteY410" fmla="*/ 229733 h 373017"/>
                <a:gd name="connsiteX411" fmla="*/ 81620 w 316982"/>
                <a:gd name="connsiteY411" fmla="*/ 231981 h 373017"/>
                <a:gd name="connsiteX412" fmla="*/ 84620 w 316982"/>
                <a:gd name="connsiteY412" fmla="*/ 241182 h 373017"/>
                <a:gd name="connsiteX413" fmla="*/ 84906 w 316982"/>
                <a:gd name="connsiteY413" fmla="*/ 243164 h 373017"/>
                <a:gd name="connsiteX414" fmla="*/ 84306 w 316982"/>
                <a:gd name="connsiteY414" fmla="*/ 245193 h 373017"/>
                <a:gd name="connsiteX415" fmla="*/ 83544 w 316982"/>
                <a:gd name="connsiteY415" fmla="*/ 246631 h 373017"/>
                <a:gd name="connsiteX416" fmla="*/ 80562 w 316982"/>
                <a:gd name="connsiteY416" fmla="*/ 251241 h 373017"/>
                <a:gd name="connsiteX417" fmla="*/ 81001 w 316982"/>
                <a:gd name="connsiteY417" fmla="*/ 255041 h 373017"/>
                <a:gd name="connsiteX418" fmla="*/ 82105 w 316982"/>
                <a:gd name="connsiteY418" fmla="*/ 257394 h 373017"/>
                <a:gd name="connsiteX419" fmla="*/ 82267 w 316982"/>
                <a:gd name="connsiteY419" fmla="*/ 259994 h 373017"/>
                <a:gd name="connsiteX420" fmla="*/ 81715 w 316982"/>
                <a:gd name="connsiteY420" fmla="*/ 263214 h 373017"/>
                <a:gd name="connsiteX421" fmla="*/ 79867 w 316982"/>
                <a:gd name="connsiteY421" fmla="*/ 282921 h 373017"/>
                <a:gd name="connsiteX422" fmla="*/ 78972 w 316982"/>
                <a:gd name="connsiteY422" fmla="*/ 286398 h 373017"/>
                <a:gd name="connsiteX423" fmla="*/ 78410 w 316982"/>
                <a:gd name="connsiteY423" fmla="*/ 289398 h 373017"/>
                <a:gd name="connsiteX424" fmla="*/ 76372 w 316982"/>
                <a:gd name="connsiteY424" fmla="*/ 290313 h 373017"/>
                <a:gd name="connsiteX425" fmla="*/ 73743 w 316982"/>
                <a:gd name="connsiteY425" fmla="*/ 289350 h 373017"/>
                <a:gd name="connsiteX426" fmla="*/ 70428 w 316982"/>
                <a:gd name="connsiteY426" fmla="*/ 287655 h 373017"/>
                <a:gd name="connsiteX427" fmla="*/ 68894 w 316982"/>
                <a:gd name="connsiteY427" fmla="*/ 287760 h 373017"/>
                <a:gd name="connsiteX428" fmla="*/ 67351 w 316982"/>
                <a:gd name="connsiteY428" fmla="*/ 288341 h 373017"/>
                <a:gd name="connsiteX429" fmla="*/ 66084 w 316982"/>
                <a:gd name="connsiteY429" fmla="*/ 287846 h 373017"/>
                <a:gd name="connsiteX430" fmla="*/ 64875 w 316982"/>
                <a:gd name="connsiteY430" fmla="*/ 286883 h 373017"/>
                <a:gd name="connsiteX431" fmla="*/ 63970 w 316982"/>
                <a:gd name="connsiteY431" fmla="*/ 293608 h 373017"/>
                <a:gd name="connsiteX432" fmla="*/ 62474 w 316982"/>
                <a:gd name="connsiteY432" fmla="*/ 296332 h 373017"/>
                <a:gd name="connsiteX433" fmla="*/ 60198 w 316982"/>
                <a:gd name="connsiteY433" fmla="*/ 298075 h 373017"/>
                <a:gd name="connsiteX434" fmla="*/ 58055 w 316982"/>
                <a:gd name="connsiteY434" fmla="*/ 298180 h 373017"/>
                <a:gd name="connsiteX435" fmla="*/ 55845 w 316982"/>
                <a:gd name="connsiteY435" fmla="*/ 297599 h 373017"/>
                <a:gd name="connsiteX436" fmla="*/ 53978 w 316982"/>
                <a:gd name="connsiteY436" fmla="*/ 297599 h 373017"/>
                <a:gd name="connsiteX437" fmla="*/ 52559 w 316982"/>
                <a:gd name="connsiteY437" fmla="*/ 296313 h 373017"/>
                <a:gd name="connsiteX438" fmla="*/ 51435 w 316982"/>
                <a:gd name="connsiteY438" fmla="*/ 294046 h 373017"/>
                <a:gd name="connsiteX439" fmla="*/ 49644 w 316982"/>
                <a:gd name="connsiteY439" fmla="*/ 291294 h 373017"/>
                <a:gd name="connsiteX440" fmla="*/ 47825 w 316982"/>
                <a:gd name="connsiteY440" fmla="*/ 288026 h 373017"/>
                <a:gd name="connsiteX441" fmla="*/ 47625 w 316982"/>
                <a:gd name="connsiteY441" fmla="*/ 285064 h 373017"/>
                <a:gd name="connsiteX442" fmla="*/ 47310 w 316982"/>
                <a:gd name="connsiteY442" fmla="*/ 278521 h 373017"/>
                <a:gd name="connsiteX443" fmla="*/ 47835 w 316982"/>
                <a:gd name="connsiteY443" fmla="*/ 277092 h 373017"/>
                <a:gd name="connsiteX444" fmla="*/ 48596 w 316982"/>
                <a:gd name="connsiteY444" fmla="*/ 275720 h 373017"/>
                <a:gd name="connsiteX445" fmla="*/ 48968 w 316982"/>
                <a:gd name="connsiteY445" fmla="*/ 272787 h 373017"/>
                <a:gd name="connsiteX446" fmla="*/ 48711 w 316982"/>
                <a:gd name="connsiteY446" fmla="*/ 270224 h 373017"/>
                <a:gd name="connsiteX447" fmla="*/ 49244 w 316982"/>
                <a:gd name="connsiteY447" fmla="*/ 269310 h 373017"/>
                <a:gd name="connsiteX448" fmla="*/ 50302 w 316982"/>
                <a:gd name="connsiteY448" fmla="*/ 270224 h 373017"/>
                <a:gd name="connsiteX449" fmla="*/ 51092 w 316982"/>
                <a:gd name="connsiteY449" fmla="*/ 269881 h 373017"/>
                <a:gd name="connsiteX450" fmla="*/ 51044 w 316982"/>
                <a:gd name="connsiteY450" fmla="*/ 268557 h 373017"/>
                <a:gd name="connsiteX451" fmla="*/ 51283 w 316982"/>
                <a:gd name="connsiteY451" fmla="*/ 266147 h 373017"/>
                <a:gd name="connsiteX452" fmla="*/ 49892 w 316982"/>
                <a:gd name="connsiteY452" fmla="*/ 264128 h 373017"/>
                <a:gd name="connsiteX453" fmla="*/ 47539 w 316982"/>
                <a:gd name="connsiteY453" fmla="*/ 263442 h 373017"/>
                <a:gd name="connsiteX454" fmla="*/ 47310 w 316982"/>
                <a:gd name="connsiteY454" fmla="*/ 261328 h 373017"/>
                <a:gd name="connsiteX455" fmla="*/ 47558 w 316982"/>
                <a:gd name="connsiteY455" fmla="*/ 259261 h 373017"/>
                <a:gd name="connsiteX456" fmla="*/ 48796 w 316982"/>
                <a:gd name="connsiteY456" fmla="*/ 257870 h 373017"/>
                <a:gd name="connsiteX457" fmla="*/ 49216 w 316982"/>
                <a:gd name="connsiteY457" fmla="*/ 256022 h 373017"/>
                <a:gd name="connsiteX458" fmla="*/ 49225 w 316982"/>
                <a:gd name="connsiteY458" fmla="*/ 250374 h 373017"/>
                <a:gd name="connsiteX459" fmla="*/ 47568 w 316982"/>
                <a:gd name="connsiteY459" fmla="*/ 248288 h 373017"/>
                <a:gd name="connsiteX460" fmla="*/ 46930 w 316982"/>
                <a:gd name="connsiteY460" fmla="*/ 245126 h 373017"/>
                <a:gd name="connsiteX461" fmla="*/ 46072 w 316982"/>
                <a:gd name="connsiteY461" fmla="*/ 243107 h 373017"/>
                <a:gd name="connsiteX462" fmla="*/ 44529 w 316982"/>
                <a:gd name="connsiteY462" fmla="*/ 241068 h 373017"/>
                <a:gd name="connsiteX463" fmla="*/ 42777 w 316982"/>
                <a:gd name="connsiteY463" fmla="*/ 239411 h 373017"/>
                <a:gd name="connsiteX464" fmla="*/ 41700 w 316982"/>
                <a:gd name="connsiteY464" fmla="*/ 237811 h 373017"/>
                <a:gd name="connsiteX465" fmla="*/ 41462 w 316982"/>
                <a:gd name="connsiteY465" fmla="*/ 233620 h 373017"/>
                <a:gd name="connsiteX466" fmla="*/ 42072 w 316982"/>
                <a:gd name="connsiteY466" fmla="*/ 230114 h 373017"/>
                <a:gd name="connsiteX467" fmla="*/ 42624 w 316982"/>
                <a:gd name="connsiteY467" fmla="*/ 228610 h 373017"/>
                <a:gd name="connsiteX468" fmla="*/ 43186 w 316982"/>
                <a:gd name="connsiteY468" fmla="*/ 228828 h 373017"/>
                <a:gd name="connsiteX469" fmla="*/ 44920 w 316982"/>
                <a:gd name="connsiteY469" fmla="*/ 230572 h 373017"/>
                <a:gd name="connsiteX470" fmla="*/ 46339 w 316982"/>
                <a:gd name="connsiteY470" fmla="*/ 230962 h 373017"/>
                <a:gd name="connsiteX471" fmla="*/ 49149 w 316982"/>
                <a:gd name="connsiteY471" fmla="*/ 231381 h 373017"/>
                <a:gd name="connsiteX472" fmla="*/ 51911 w 316982"/>
                <a:gd name="connsiteY472" fmla="*/ 230819 h 373017"/>
                <a:gd name="connsiteX473" fmla="*/ 55302 w 316982"/>
                <a:gd name="connsiteY473" fmla="*/ 229229 h 373017"/>
                <a:gd name="connsiteX474" fmla="*/ 58569 w 316982"/>
                <a:gd name="connsiteY474" fmla="*/ 227304 h 373017"/>
                <a:gd name="connsiteX475" fmla="*/ 63303 w 316982"/>
                <a:gd name="connsiteY475" fmla="*/ 221637 h 373017"/>
                <a:gd name="connsiteX476" fmla="*/ 66218 w 316982"/>
                <a:gd name="connsiteY476" fmla="*/ 220485 h 373017"/>
                <a:gd name="connsiteX477" fmla="*/ 67713 w 316982"/>
                <a:gd name="connsiteY477" fmla="*/ 218989 h 373017"/>
                <a:gd name="connsiteX478" fmla="*/ 68228 w 316982"/>
                <a:gd name="connsiteY478" fmla="*/ 216970 h 373017"/>
                <a:gd name="connsiteX479" fmla="*/ 69466 w 316982"/>
                <a:gd name="connsiteY479" fmla="*/ 216446 h 373017"/>
                <a:gd name="connsiteX480" fmla="*/ 70923 w 316982"/>
                <a:gd name="connsiteY480" fmla="*/ 218408 h 373017"/>
                <a:gd name="connsiteX481" fmla="*/ 72733 w 316982"/>
                <a:gd name="connsiteY481" fmla="*/ 218618 h 373017"/>
                <a:gd name="connsiteX482" fmla="*/ 75524 w 316982"/>
                <a:gd name="connsiteY482" fmla="*/ 220237 h 373017"/>
                <a:gd name="connsiteX483" fmla="*/ 76724 w 316982"/>
                <a:gd name="connsiteY483" fmla="*/ 221780 h 373017"/>
                <a:gd name="connsiteX484" fmla="*/ 77753 w 316982"/>
                <a:gd name="connsiteY484" fmla="*/ 223638 h 373017"/>
                <a:gd name="connsiteX485" fmla="*/ 78743 w 316982"/>
                <a:gd name="connsiteY485" fmla="*/ 224457 h 373017"/>
                <a:gd name="connsiteX486" fmla="*/ 79800 w 316982"/>
                <a:gd name="connsiteY486" fmla="*/ 224923 h 373017"/>
                <a:gd name="connsiteX487" fmla="*/ 79953 w 316982"/>
                <a:gd name="connsiteY487" fmla="*/ 225362 h 373017"/>
                <a:gd name="connsiteX488" fmla="*/ 79115 w 316982"/>
                <a:gd name="connsiteY488" fmla="*/ 225800 h 373017"/>
                <a:gd name="connsiteX489" fmla="*/ 78153 w 316982"/>
                <a:gd name="connsiteY489" fmla="*/ 227924 h 373017"/>
                <a:gd name="connsiteX490" fmla="*/ 78695 w 316982"/>
                <a:gd name="connsiteY490" fmla="*/ 228533 h 373017"/>
                <a:gd name="connsiteX491" fmla="*/ 80276 w 316982"/>
                <a:gd name="connsiteY491" fmla="*/ 229733 h 373017"/>
                <a:gd name="connsiteX492" fmla="*/ 44301 w 316982"/>
                <a:gd name="connsiteY492" fmla="*/ 224171 h 373017"/>
                <a:gd name="connsiteX493" fmla="*/ 43415 w 316982"/>
                <a:gd name="connsiteY493" fmla="*/ 225781 h 373017"/>
                <a:gd name="connsiteX494" fmla="*/ 42158 w 316982"/>
                <a:gd name="connsiteY494" fmla="*/ 225666 h 373017"/>
                <a:gd name="connsiteX495" fmla="*/ 42653 w 316982"/>
                <a:gd name="connsiteY495" fmla="*/ 224476 h 373017"/>
                <a:gd name="connsiteX496" fmla="*/ 43815 w 316982"/>
                <a:gd name="connsiteY496" fmla="*/ 222085 h 373017"/>
                <a:gd name="connsiteX497" fmla="*/ 45225 w 316982"/>
                <a:gd name="connsiteY497" fmla="*/ 221285 h 373017"/>
                <a:gd name="connsiteX498" fmla="*/ 45853 w 316982"/>
                <a:gd name="connsiteY498" fmla="*/ 221999 h 373017"/>
                <a:gd name="connsiteX499" fmla="*/ 45186 w 316982"/>
                <a:gd name="connsiteY499" fmla="*/ 223371 h 373017"/>
                <a:gd name="connsiteX500" fmla="*/ 44301 w 316982"/>
                <a:gd name="connsiteY500" fmla="*/ 224171 h 373017"/>
                <a:gd name="connsiteX501" fmla="*/ 195396 w 316982"/>
                <a:gd name="connsiteY501" fmla="*/ 235944 h 373017"/>
                <a:gd name="connsiteX502" fmla="*/ 194205 w 316982"/>
                <a:gd name="connsiteY502" fmla="*/ 236249 h 373017"/>
                <a:gd name="connsiteX503" fmla="*/ 193510 w 316982"/>
                <a:gd name="connsiteY503" fmla="*/ 235830 h 373017"/>
                <a:gd name="connsiteX504" fmla="*/ 193129 w 316982"/>
                <a:gd name="connsiteY504" fmla="*/ 235296 h 373017"/>
                <a:gd name="connsiteX505" fmla="*/ 193595 w 316982"/>
                <a:gd name="connsiteY505" fmla="*/ 233972 h 373017"/>
                <a:gd name="connsiteX506" fmla="*/ 196024 w 316982"/>
                <a:gd name="connsiteY506" fmla="*/ 234763 h 373017"/>
                <a:gd name="connsiteX507" fmla="*/ 195996 w 316982"/>
                <a:gd name="connsiteY507" fmla="*/ 235506 h 373017"/>
                <a:gd name="connsiteX508" fmla="*/ 195396 w 316982"/>
                <a:gd name="connsiteY508" fmla="*/ 235944 h 373017"/>
                <a:gd name="connsiteX509" fmla="*/ 49463 w 316982"/>
                <a:gd name="connsiteY509" fmla="*/ 292789 h 373017"/>
                <a:gd name="connsiteX510" fmla="*/ 47920 w 316982"/>
                <a:gd name="connsiteY510" fmla="*/ 296180 h 373017"/>
                <a:gd name="connsiteX511" fmla="*/ 46311 w 316982"/>
                <a:gd name="connsiteY511" fmla="*/ 293779 h 373017"/>
                <a:gd name="connsiteX512" fmla="*/ 46244 w 316982"/>
                <a:gd name="connsiteY512" fmla="*/ 291722 h 373017"/>
                <a:gd name="connsiteX513" fmla="*/ 46463 w 316982"/>
                <a:gd name="connsiteY513" fmla="*/ 291132 h 373017"/>
                <a:gd name="connsiteX514" fmla="*/ 48444 w 316982"/>
                <a:gd name="connsiteY514" fmla="*/ 291998 h 373017"/>
                <a:gd name="connsiteX515" fmla="*/ 49463 w 316982"/>
                <a:gd name="connsiteY515" fmla="*/ 292789 h 373017"/>
                <a:gd name="connsiteX516" fmla="*/ 239192 w 316982"/>
                <a:gd name="connsiteY516" fmla="*/ 321669 h 373017"/>
                <a:gd name="connsiteX517" fmla="*/ 237382 w 316982"/>
                <a:gd name="connsiteY517" fmla="*/ 325517 h 373017"/>
                <a:gd name="connsiteX518" fmla="*/ 236496 w 316982"/>
                <a:gd name="connsiteY518" fmla="*/ 326993 h 373017"/>
                <a:gd name="connsiteX519" fmla="*/ 230048 w 316982"/>
                <a:gd name="connsiteY519" fmla="*/ 336375 h 373017"/>
                <a:gd name="connsiteX520" fmla="*/ 229305 w 316982"/>
                <a:gd name="connsiteY520" fmla="*/ 338537 h 373017"/>
                <a:gd name="connsiteX521" fmla="*/ 228847 w 316982"/>
                <a:gd name="connsiteY521" fmla="*/ 340890 h 373017"/>
                <a:gd name="connsiteX522" fmla="*/ 228181 w 316982"/>
                <a:gd name="connsiteY522" fmla="*/ 342948 h 373017"/>
                <a:gd name="connsiteX523" fmla="*/ 227285 w 316982"/>
                <a:gd name="connsiteY523" fmla="*/ 344881 h 373017"/>
                <a:gd name="connsiteX524" fmla="*/ 226438 w 316982"/>
                <a:gd name="connsiteY524" fmla="*/ 347339 h 373017"/>
                <a:gd name="connsiteX525" fmla="*/ 226600 w 316982"/>
                <a:gd name="connsiteY525" fmla="*/ 350120 h 373017"/>
                <a:gd name="connsiteX526" fmla="*/ 226904 w 316982"/>
                <a:gd name="connsiteY526" fmla="*/ 351482 h 373017"/>
                <a:gd name="connsiteX527" fmla="*/ 227685 w 316982"/>
                <a:gd name="connsiteY527" fmla="*/ 352377 h 373017"/>
                <a:gd name="connsiteX528" fmla="*/ 228962 w 316982"/>
                <a:gd name="connsiteY528" fmla="*/ 353216 h 373017"/>
                <a:gd name="connsiteX529" fmla="*/ 229943 w 316982"/>
                <a:gd name="connsiteY529" fmla="*/ 354511 h 373017"/>
                <a:gd name="connsiteX530" fmla="*/ 228438 w 316982"/>
                <a:gd name="connsiteY530" fmla="*/ 355683 h 373017"/>
                <a:gd name="connsiteX531" fmla="*/ 230086 w 316982"/>
                <a:gd name="connsiteY531" fmla="*/ 358035 h 373017"/>
                <a:gd name="connsiteX532" fmla="*/ 231495 w 316982"/>
                <a:gd name="connsiteY532" fmla="*/ 359426 h 373017"/>
                <a:gd name="connsiteX533" fmla="*/ 231686 w 316982"/>
                <a:gd name="connsiteY533" fmla="*/ 360817 h 373017"/>
                <a:gd name="connsiteX534" fmla="*/ 231658 w 316982"/>
                <a:gd name="connsiteY534" fmla="*/ 362207 h 373017"/>
                <a:gd name="connsiteX535" fmla="*/ 228733 w 316982"/>
                <a:gd name="connsiteY535" fmla="*/ 364817 h 373017"/>
                <a:gd name="connsiteX536" fmla="*/ 227590 w 316982"/>
                <a:gd name="connsiteY536" fmla="*/ 366255 h 373017"/>
                <a:gd name="connsiteX537" fmla="*/ 226885 w 316982"/>
                <a:gd name="connsiteY537" fmla="*/ 367998 h 373017"/>
                <a:gd name="connsiteX538" fmla="*/ 226581 w 316982"/>
                <a:gd name="connsiteY538" fmla="*/ 369789 h 373017"/>
                <a:gd name="connsiteX539" fmla="*/ 226895 w 316982"/>
                <a:gd name="connsiteY539" fmla="*/ 371408 h 373017"/>
                <a:gd name="connsiteX540" fmla="*/ 226800 w 316982"/>
                <a:gd name="connsiteY540" fmla="*/ 373018 h 373017"/>
                <a:gd name="connsiteX541" fmla="*/ 223856 w 316982"/>
                <a:gd name="connsiteY541" fmla="*/ 372818 h 373017"/>
                <a:gd name="connsiteX542" fmla="*/ 220847 w 316982"/>
                <a:gd name="connsiteY542" fmla="*/ 371827 h 373017"/>
                <a:gd name="connsiteX543" fmla="*/ 217808 w 316982"/>
                <a:gd name="connsiteY543" fmla="*/ 372256 h 373017"/>
                <a:gd name="connsiteX544" fmla="*/ 213484 w 316982"/>
                <a:gd name="connsiteY544" fmla="*/ 370389 h 373017"/>
                <a:gd name="connsiteX545" fmla="*/ 211912 w 316982"/>
                <a:gd name="connsiteY545" fmla="*/ 370056 h 373017"/>
                <a:gd name="connsiteX546" fmla="*/ 210483 w 316982"/>
                <a:gd name="connsiteY546" fmla="*/ 369322 h 373017"/>
                <a:gd name="connsiteX547" fmla="*/ 206892 w 316982"/>
                <a:gd name="connsiteY547" fmla="*/ 363531 h 373017"/>
                <a:gd name="connsiteX548" fmla="*/ 203997 w 316982"/>
                <a:gd name="connsiteY548" fmla="*/ 361083 h 373017"/>
                <a:gd name="connsiteX549" fmla="*/ 200892 w 316982"/>
                <a:gd name="connsiteY549" fmla="*/ 359169 h 373017"/>
                <a:gd name="connsiteX550" fmla="*/ 197720 w 316982"/>
                <a:gd name="connsiteY550" fmla="*/ 359054 h 373017"/>
                <a:gd name="connsiteX551" fmla="*/ 194548 w 316982"/>
                <a:gd name="connsiteY551" fmla="*/ 359273 h 373017"/>
                <a:gd name="connsiteX552" fmla="*/ 191748 w 316982"/>
                <a:gd name="connsiteY552" fmla="*/ 358092 h 373017"/>
                <a:gd name="connsiteX553" fmla="*/ 186042 w 316982"/>
                <a:gd name="connsiteY553" fmla="*/ 354139 h 373017"/>
                <a:gd name="connsiteX554" fmla="*/ 179994 w 316982"/>
                <a:gd name="connsiteY554" fmla="*/ 350968 h 373017"/>
                <a:gd name="connsiteX555" fmla="*/ 177432 w 316982"/>
                <a:gd name="connsiteY555" fmla="*/ 348910 h 373017"/>
                <a:gd name="connsiteX556" fmla="*/ 176260 w 316982"/>
                <a:gd name="connsiteY556" fmla="*/ 347520 h 373017"/>
                <a:gd name="connsiteX557" fmla="*/ 174888 w 316982"/>
                <a:gd name="connsiteY557" fmla="*/ 346596 h 373017"/>
                <a:gd name="connsiteX558" fmla="*/ 171431 w 316982"/>
                <a:gd name="connsiteY558" fmla="*/ 345681 h 373017"/>
                <a:gd name="connsiteX559" fmla="*/ 168316 w 316982"/>
                <a:gd name="connsiteY559" fmla="*/ 343529 h 373017"/>
                <a:gd name="connsiteX560" fmla="*/ 166906 w 316982"/>
                <a:gd name="connsiteY560" fmla="*/ 343376 h 373017"/>
                <a:gd name="connsiteX561" fmla="*/ 163868 w 316982"/>
                <a:gd name="connsiteY561" fmla="*/ 343633 h 373017"/>
                <a:gd name="connsiteX562" fmla="*/ 162306 w 316982"/>
                <a:gd name="connsiteY562" fmla="*/ 343481 h 373017"/>
                <a:gd name="connsiteX563" fmla="*/ 160734 w 316982"/>
                <a:gd name="connsiteY563" fmla="*/ 342719 h 373017"/>
                <a:gd name="connsiteX564" fmla="*/ 157705 w 316982"/>
                <a:gd name="connsiteY564" fmla="*/ 340195 h 373017"/>
                <a:gd name="connsiteX565" fmla="*/ 155762 w 316982"/>
                <a:gd name="connsiteY565" fmla="*/ 336690 h 373017"/>
                <a:gd name="connsiteX566" fmla="*/ 155257 w 316982"/>
                <a:gd name="connsiteY566" fmla="*/ 335137 h 373017"/>
                <a:gd name="connsiteX567" fmla="*/ 156629 w 316982"/>
                <a:gd name="connsiteY567" fmla="*/ 331127 h 373017"/>
                <a:gd name="connsiteX568" fmla="*/ 158258 w 316982"/>
                <a:gd name="connsiteY568" fmla="*/ 327270 h 373017"/>
                <a:gd name="connsiteX569" fmla="*/ 159696 w 316982"/>
                <a:gd name="connsiteY569" fmla="*/ 326193 h 373017"/>
                <a:gd name="connsiteX570" fmla="*/ 161372 w 316982"/>
                <a:gd name="connsiteY570" fmla="*/ 325412 h 373017"/>
                <a:gd name="connsiteX571" fmla="*/ 162382 w 316982"/>
                <a:gd name="connsiteY571" fmla="*/ 324269 h 373017"/>
                <a:gd name="connsiteX572" fmla="*/ 163239 w 316982"/>
                <a:gd name="connsiteY572" fmla="*/ 322869 h 373017"/>
                <a:gd name="connsiteX573" fmla="*/ 166354 w 316982"/>
                <a:gd name="connsiteY573" fmla="*/ 326907 h 373017"/>
                <a:gd name="connsiteX574" fmla="*/ 167745 w 316982"/>
                <a:gd name="connsiteY574" fmla="*/ 327889 h 373017"/>
                <a:gd name="connsiteX575" fmla="*/ 169155 w 316982"/>
                <a:gd name="connsiteY575" fmla="*/ 327670 h 373017"/>
                <a:gd name="connsiteX576" fmla="*/ 171650 w 316982"/>
                <a:gd name="connsiteY576" fmla="*/ 326222 h 373017"/>
                <a:gd name="connsiteX577" fmla="*/ 171860 w 316982"/>
                <a:gd name="connsiteY577" fmla="*/ 324631 h 373017"/>
                <a:gd name="connsiteX578" fmla="*/ 174622 w 316982"/>
                <a:gd name="connsiteY578" fmla="*/ 322621 h 373017"/>
                <a:gd name="connsiteX579" fmla="*/ 178127 w 316982"/>
                <a:gd name="connsiteY579" fmla="*/ 322583 h 373017"/>
                <a:gd name="connsiteX580" fmla="*/ 179746 w 316982"/>
                <a:gd name="connsiteY580" fmla="*/ 322955 h 373017"/>
                <a:gd name="connsiteX581" fmla="*/ 180594 w 316982"/>
                <a:gd name="connsiteY581" fmla="*/ 324774 h 373017"/>
                <a:gd name="connsiteX582" fmla="*/ 181928 w 316982"/>
                <a:gd name="connsiteY582" fmla="*/ 325336 h 373017"/>
                <a:gd name="connsiteX583" fmla="*/ 183470 w 316982"/>
                <a:gd name="connsiteY583" fmla="*/ 325574 h 373017"/>
                <a:gd name="connsiteX584" fmla="*/ 188557 w 316982"/>
                <a:gd name="connsiteY584" fmla="*/ 329032 h 373017"/>
                <a:gd name="connsiteX585" fmla="*/ 189986 w 316982"/>
                <a:gd name="connsiteY585" fmla="*/ 329594 h 373017"/>
                <a:gd name="connsiteX586" fmla="*/ 191424 w 316982"/>
                <a:gd name="connsiteY586" fmla="*/ 329689 h 373017"/>
                <a:gd name="connsiteX587" fmla="*/ 195377 w 316982"/>
                <a:gd name="connsiteY587" fmla="*/ 328241 h 373017"/>
                <a:gd name="connsiteX588" fmla="*/ 198406 w 316982"/>
                <a:gd name="connsiteY588" fmla="*/ 327688 h 373017"/>
                <a:gd name="connsiteX589" fmla="*/ 204759 w 316982"/>
                <a:gd name="connsiteY589" fmla="*/ 328489 h 373017"/>
                <a:gd name="connsiteX590" fmla="*/ 208188 w 316982"/>
                <a:gd name="connsiteY590" fmla="*/ 327622 h 373017"/>
                <a:gd name="connsiteX591" fmla="*/ 210588 w 316982"/>
                <a:gd name="connsiteY591" fmla="*/ 327517 h 373017"/>
                <a:gd name="connsiteX592" fmla="*/ 214084 w 316982"/>
                <a:gd name="connsiteY592" fmla="*/ 326184 h 373017"/>
                <a:gd name="connsiteX593" fmla="*/ 216770 w 316982"/>
                <a:gd name="connsiteY593" fmla="*/ 323964 h 373017"/>
                <a:gd name="connsiteX594" fmla="*/ 218170 w 316982"/>
                <a:gd name="connsiteY594" fmla="*/ 323412 h 373017"/>
                <a:gd name="connsiteX595" fmla="*/ 219675 w 316982"/>
                <a:gd name="connsiteY595" fmla="*/ 323250 h 373017"/>
                <a:gd name="connsiteX596" fmla="*/ 223313 w 316982"/>
                <a:gd name="connsiteY596" fmla="*/ 323393 h 373017"/>
                <a:gd name="connsiteX597" fmla="*/ 226971 w 316982"/>
                <a:gd name="connsiteY597" fmla="*/ 323898 h 373017"/>
                <a:gd name="connsiteX598" fmla="*/ 228505 w 316982"/>
                <a:gd name="connsiteY598" fmla="*/ 323374 h 373017"/>
                <a:gd name="connsiteX599" fmla="*/ 229790 w 316982"/>
                <a:gd name="connsiteY599" fmla="*/ 321916 h 373017"/>
                <a:gd name="connsiteX600" fmla="*/ 231276 w 316982"/>
                <a:gd name="connsiteY600" fmla="*/ 321259 h 373017"/>
                <a:gd name="connsiteX601" fmla="*/ 232905 w 316982"/>
                <a:gd name="connsiteY601" fmla="*/ 321697 h 373017"/>
                <a:gd name="connsiteX602" fmla="*/ 237125 w 316982"/>
                <a:gd name="connsiteY602" fmla="*/ 319202 h 373017"/>
                <a:gd name="connsiteX603" fmla="*/ 238992 w 316982"/>
                <a:gd name="connsiteY603" fmla="*/ 319030 h 373017"/>
                <a:gd name="connsiteX604" fmla="*/ 240764 w 316982"/>
                <a:gd name="connsiteY604" fmla="*/ 319992 h 373017"/>
                <a:gd name="connsiteX605" fmla="*/ 239192 w 316982"/>
                <a:gd name="connsiteY605" fmla="*/ 321669 h 373017"/>
                <a:gd name="connsiteX606" fmla="*/ 144951 w 316982"/>
                <a:gd name="connsiteY606" fmla="*/ 370761 h 373017"/>
                <a:gd name="connsiteX607" fmla="*/ 143665 w 316982"/>
                <a:gd name="connsiteY607" fmla="*/ 371132 h 373017"/>
                <a:gd name="connsiteX608" fmla="*/ 141989 w 316982"/>
                <a:gd name="connsiteY608" fmla="*/ 369989 h 373017"/>
                <a:gd name="connsiteX609" fmla="*/ 141875 w 316982"/>
                <a:gd name="connsiteY609" fmla="*/ 368389 h 373017"/>
                <a:gd name="connsiteX610" fmla="*/ 142180 w 316982"/>
                <a:gd name="connsiteY610" fmla="*/ 367913 h 373017"/>
                <a:gd name="connsiteX611" fmla="*/ 144218 w 316982"/>
                <a:gd name="connsiteY611" fmla="*/ 368646 h 373017"/>
                <a:gd name="connsiteX612" fmla="*/ 144856 w 316982"/>
                <a:gd name="connsiteY612" fmla="*/ 370132 h 373017"/>
                <a:gd name="connsiteX613" fmla="*/ 144951 w 316982"/>
                <a:gd name="connsiteY613" fmla="*/ 370761 h 373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</a:cxnLst>
              <a:rect l="l" t="t" r="r" b="b"/>
              <a:pathLst>
                <a:path w="316982" h="373017">
                  <a:moveTo>
                    <a:pt x="189024" y="21745"/>
                  </a:moveTo>
                  <a:lnTo>
                    <a:pt x="188481" y="23965"/>
                  </a:lnTo>
                  <a:lnTo>
                    <a:pt x="187347" y="24517"/>
                  </a:lnTo>
                  <a:lnTo>
                    <a:pt x="185366" y="25813"/>
                  </a:lnTo>
                  <a:lnTo>
                    <a:pt x="183099" y="27584"/>
                  </a:lnTo>
                  <a:lnTo>
                    <a:pt x="180985" y="29575"/>
                  </a:lnTo>
                  <a:lnTo>
                    <a:pt x="180413" y="31737"/>
                  </a:lnTo>
                  <a:lnTo>
                    <a:pt x="180994" y="33147"/>
                  </a:lnTo>
                  <a:lnTo>
                    <a:pt x="181565" y="33633"/>
                  </a:lnTo>
                  <a:lnTo>
                    <a:pt x="182337" y="33204"/>
                  </a:lnTo>
                  <a:lnTo>
                    <a:pt x="183461" y="33471"/>
                  </a:lnTo>
                  <a:lnTo>
                    <a:pt x="184870" y="34242"/>
                  </a:lnTo>
                  <a:lnTo>
                    <a:pt x="187223" y="34995"/>
                  </a:lnTo>
                  <a:lnTo>
                    <a:pt x="187290" y="35738"/>
                  </a:lnTo>
                  <a:lnTo>
                    <a:pt x="186795" y="36690"/>
                  </a:lnTo>
                  <a:lnTo>
                    <a:pt x="184966" y="38376"/>
                  </a:lnTo>
                  <a:lnTo>
                    <a:pt x="183318" y="40281"/>
                  </a:lnTo>
                  <a:lnTo>
                    <a:pt x="183156" y="41443"/>
                  </a:lnTo>
                  <a:lnTo>
                    <a:pt x="183356" y="42291"/>
                  </a:lnTo>
                  <a:lnTo>
                    <a:pt x="183927" y="42805"/>
                  </a:lnTo>
                  <a:lnTo>
                    <a:pt x="186366" y="42577"/>
                  </a:lnTo>
                  <a:lnTo>
                    <a:pt x="186728" y="43272"/>
                  </a:lnTo>
                  <a:lnTo>
                    <a:pt x="185537" y="48158"/>
                  </a:lnTo>
                  <a:lnTo>
                    <a:pt x="185909" y="48987"/>
                  </a:lnTo>
                  <a:lnTo>
                    <a:pt x="188052" y="49768"/>
                  </a:lnTo>
                  <a:lnTo>
                    <a:pt x="189614" y="50940"/>
                  </a:lnTo>
                  <a:lnTo>
                    <a:pt x="192539" y="54026"/>
                  </a:lnTo>
                  <a:lnTo>
                    <a:pt x="193700" y="56521"/>
                  </a:lnTo>
                  <a:lnTo>
                    <a:pt x="192900" y="57360"/>
                  </a:lnTo>
                  <a:lnTo>
                    <a:pt x="191062" y="57769"/>
                  </a:lnTo>
                  <a:lnTo>
                    <a:pt x="189567" y="57560"/>
                  </a:lnTo>
                  <a:lnTo>
                    <a:pt x="191262" y="56055"/>
                  </a:lnTo>
                  <a:lnTo>
                    <a:pt x="187119" y="50568"/>
                  </a:lnTo>
                  <a:lnTo>
                    <a:pt x="185242" y="50578"/>
                  </a:lnTo>
                  <a:lnTo>
                    <a:pt x="182756" y="52902"/>
                  </a:lnTo>
                  <a:lnTo>
                    <a:pt x="175841" y="50549"/>
                  </a:lnTo>
                  <a:lnTo>
                    <a:pt x="174517" y="51502"/>
                  </a:lnTo>
                  <a:lnTo>
                    <a:pt x="173536" y="53359"/>
                  </a:lnTo>
                  <a:lnTo>
                    <a:pt x="171136" y="55664"/>
                  </a:lnTo>
                  <a:lnTo>
                    <a:pt x="167735" y="56674"/>
                  </a:lnTo>
                  <a:lnTo>
                    <a:pt x="163944" y="59207"/>
                  </a:lnTo>
                  <a:lnTo>
                    <a:pt x="159953" y="60998"/>
                  </a:lnTo>
                  <a:lnTo>
                    <a:pt x="156905" y="62351"/>
                  </a:lnTo>
                  <a:lnTo>
                    <a:pt x="155153" y="62112"/>
                  </a:lnTo>
                  <a:lnTo>
                    <a:pt x="157934" y="59188"/>
                  </a:lnTo>
                  <a:lnTo>
                    <a:pt x="156753" y="59131"/>
                  </a:lnTo>
                  <a:lnTo>
                    <a:pt x="153057" y="61198"/>
                  </a:lnTo>
                  <a:lnTo>
                    <a:pt x="150933" y="62941"/>
                  </a:lnTo>
                  <a:lnTo>
                    <a:pt x="150247" y="65875"/>
                  </a:lnTo>
                  <a:lnTo>
                    <a:pt x="149628" y="70695"/>
                  </a:lnTo>
                  <a:lnTo>
                    <a:pt x="151247" y="71971"/>
                  </a:lnTo>
                  <a:lnTo>
                    <a:pt x="154086" y="78314"/>
                  </a:lnTo>
                  <a:lnTo>
                    <a:pt x="157581" y="81020"/>
                  </a:lnTo>
                  <a:lnTo>
                    <a:pt x="156905" y="83601"/>
                  </a:lnTo>
                  <a:lnTo>
                    <a:pt x="155981" y="85639"/>
                  </a:lnTo>
                  <a:lnTo>
                    <a:pt x="153867" y="87401"/>
                  </a:lnTo>
                  <a:lnTo>
                    <a:pt x="152114" y="86096"/>
                  </a:lnTo>
                  <a:lnTo>
                    <a:pt x="151038" y="86125"/>
                  </a:lnTo>
                  <a:lnTo>
                    <a:pt x="150228" y="90249"/>
                  </a:lnTo>
                  <a:lnTo>
                    <a:pt x="151743" y="101213"/>
                  </a:lnTo>
                  <a:lnTo>
                    <a:pt x="154181" y="108871"/>
                  </a:lnTo>
                  <a:lnTo>
                    <a:pt x="156600" y="112204"/>
                  </a:lnTo>
                  <a:lnTo>
                    <a:pt x="162058" y="117377"/>
                  </a:lnTo>
                  <a:lnTo>
                    <a:pt x="167830" y="120101"/>
                  </a:lnTo>
                  <a:lnTo>
                    <a:pt x="178213" y="128778"/>
                  </a:lnTo>
                  <a:lnTo>
                    <a:pt x="183909" y="131521"/>
                  </a:lnTo>
                  <a:lnTo>
                    <a:pt x="185404" y="133007"/>
                  </a:lnTo>
                  <a:lnTo>
                    <a:pt x="188852" y="139665"/>
                  </a:lnTo>
                  <a:lnTo>
                    <a:pt x="191833" y="147333"/>
                  </a:lnTo>
                  <a:lnTo>
                    <a:pt x="195044" y="159315"/>
                  </a:lnTo>
                  <a:lnTo>
                    <a:pt x="197330" y="165192"/>
                  </a:lnTo>
                  <a:lnTo>
                    <a:pt x="201940" y="171821"/>
                  </a:lnTo>
                  <a:lnTo>
                    <a:pt x="211503" y="181270"/>
                  </a:lnTo>
                  <a:lnTo>
                    <a:pt x="220199" y="188157"/>
                  </a:lnTo>
                  <a:lnTo>
                    <a:pt x="228295" y="192405"/>
                  </a:lnTo>
                  <a:lnTo>
                    <a:pt x="234610" y="193148"/>
                  </a:lnTo>
                  <a:lnTo>
                    <a:pt x="249555" y="192214"/>
                  </a:lnTo>
                  <a:lnTo>
                    <a:pt x="252155" y="192614"/>
                  </a:lnTo>
                  <a:lnTo>
                    <a:pt x="254917" y="193758"/>
                  </a:lnTo>
                  <a:lnTo>
                    <a:pt x="255575" y="196701"/>
                  </a:lnTo>
                  <a:lnTo>
                    <a:pt x="254565" y="198682"/>
                  </a:lnTo>
                  <a:lnTo>
                    <a:pt x="251422" y="200739"/>
                  </a:lnTo>
                  <a:lnTo>
                    <a:pt x="248221" y="203587"/>
                  </a:lnTo>
                  <a:lnTo>
                    <a:pt x="247869" y="207464"/>
                  </a:lnTo>
                  <a:lnTo>
                    <a:pt x="250860" y="210188"/>
                  </a:lnTo>
                  <a:lnTo>
                    <a:pt x="265281" y="217399"/>
                  </a:lnTo>
                  <a:lnTo>
                    <a:pt x="280026" y="223409"/>
                  </a:lnTo>
                  <a:lnTo>
                    <a:pt x="284617" y="226466"/>
                  </a:lnTo>
                  <a:lnTo>
                    <a:pt x="289941" y="231219"/>
                  </a:lnTo>
                  <a:lnTo>
                    <a:pt x="302790" y="237734"/>
                  </a:lnTo>
                  <a:lnTo>
                    <a:pt x="304962" y="240897"/>
                  </a:lnTo>
                  <a:lnTo>
                    <a:pt x="312772" y="247688"/>
                  </a:lnTo>
                  <a:lnTo>
                    <a:pt x="316306" y="252917"/>
                  </a:lnTo>
                  <a:lnTo>
                    <a:pt x="316982" y="256965"/>
                  </a:lnTo>
                  <a:lnTo>
                    <a:pt x="315297" y="261071"/>
                  </a:lnTo>
                  <a:lnTo>
                    <a:pt x="314515" y="263957"/>
                  </a:lnTo>
                  <a:lnTo>
                    <a:pt x="313192" y="266805"/>
                  </a:lnTo>
                  <a:lnTo>
                    <a:pt x="309867" y="265729"/>
                  </a:lnTo>
                  <a:lnTo>
                    <a:pt x="306086" y="262795"/>
                  </a:lnTo>
                  <a:lnTo>
                    <a:pt x="300390" y="250850"/>
                  </a:lnTo>
                  <a:lnTo>
                    <a:pt x="289998" y="249641"/>
                  </a:lnTo>
                  <a:lnTo>
                    <a:pt x="287846" y="248755"/>
                  </a:lnTo>
                  <a:lnTo>
                    <a:pt x="284150" y="246697"/>
                  </a:lnTo>
                  <a:lnTo>
                    <a:pt x="283931" y="245335"/>
                  </a:lnTo>
                  <a:lnTo>
                    <a:pt x="283016" y="243640"/>
                  </a:lnTo>
                  <a:lnTo>
                    <a:pt x="282073" y="243068"/>
                  </a:lnTo>
                  <a:lnTo>
                    <a:pt x="278101" y="242688"/>
                  </a:lnTo>
                  <a:lnTo>
                    <a:pt x="275349" y="244630"/>
                  </a:lnTo>
                  <a:lnTo>
                    <a:pt x="272110" y="249231"/>
                  </a:lnTo>
                  <a:lnTo>
                    <a:pt x="268433" y="255832"/>
                  </a:lnTo>
                  <a:lnTo>
                    <a:pt x="264700" y="265481"/>
                  </a:lnTo>
                  <a:lnTo>
                    <a:pt x="264490" y="269367"/>
                  </a:lnTo>
                  <a:lnTo>
                    <a:pt x="266519" y="273129"/>
                  </a:lnTo>
                  <a:lnTo>
                    <a:pt x="272577" y="275225"/>
                  </a:lnTo>
                  <a:lnTo>
                    <a:pt x="277254" y="278568"/>
                  </a:lnTo>
                  <a:lnTo>
                    <a:pt x="280340" y="282054"/>
                  </a:lnTo>
                  <a:lnTo>
                    <a:pt x="280559" y="290446"/>
                  </a:lnTo>
                  <a:lnTo>
                    <a:pt x="281940" y="295199"/>
                  </a:lnTo>
                  <a:lnTo>
                    <a:pt x="279911" y="297894"/>
                  </a:lnTo>
                  <a:lnTo>
                    <a:pt x="275977" y="297199"/>
                  </a:lnTo>
                  <a:lnTo>
                    <a:pt x="270738" y="298913"/>
                  </a:lnTo>
                  <a:lnTo>
                    <a:pt x="267024" y="301981"/>
                  </a:lnTo>
                  <a:lnTo>
                    <a:pt x="265481" y="304895"/>
                  </a:lnTo>
                  <a:lnTo>
                    <a:pt x="265881" y="312439"/>
                  </a:lnTo>
                  <a:lnTo>
                    <a:pt x="265119" y="315306"/>
                  </a:lnTo>
                  <a:lnTo>
                    <a:pt x="258080" y="320716"/>
                  </a:lnTo>
                  <a:lnTo>
                    <a:pt x="254384" y="326241"/>
                  </a:lnTo>
                  <a:lnTo>
                    <a:pt x="253460" y="328527"/>
                  </a:lnTo>
                  <a:lnTo>
                    <a:pt x="252051" y="331118"/>
                  </a:lnTo>
                  <a:lnTo>
                    <a:pt x="243163" y="331213"/>
                  </a:lnTo>
                  <a:lnTo>
                    <a:pt x="241059" y="328003"/>
                  </a:lnTo>
                  <a:lnTo>
                    <a:pt x="240983" y="323231"/>
                  </a:lnTo>
                  <a:lnTo>
                    <a:pt x="242506" y="320288"/>
                  </a:lnTo>
                  <a:lnTo>
                    <a:pt x="245774" y="318906"/>
                  </a:lnTo>
                  <a:lnTo>
                    <a:pt x="247974" y="312772"/>
                  </a:lnTo>
                  <a:lnTo>
                    <a:pt x="247278" y="308334"/>
                  </a:lnTo>
                  <a:lnTo>
                    <a:pt x="248564" y="306362"/>
                  </a:lnTo>
                  <a:lnTo>
                    <a:pt x="249774" y="304972"/>
                  </a:lnTo>
                  <a:lnTo>
                    <a:pt x="252260" y="304152"/>
                  </a:lnTo>
                  <a:lnTo>
                    <a:pt x="255775" y="303371"/>
                  </a:lnTo>
                  <a:lnTo>
                    <a:pt x="256127" y="297151"/>
                  </a:lnTo>
                  <a:lnTo>
                    <a:pt x="253384" y="294322"/>
                  </a:lnTo>
                  <a:lnTo>
                    <a:pt x="252422" y="290351"/>
                  </a:lnTo>
                  <a:lnTo>
                    <a:pt x="251145" y="282997"/>
                  </a:lnTo>
                  <a:lnTo>
                    <a:pt x="246621" y="273577"/>
                  </a:lnTo>
                  <a:lnTo>
                    <a:pt x="244202" y="265147"/>
                  </a:lnTo>
                  <a:lnTo>
                    <a:pt x="242306" y="260975"/>
                  </a:lnTo>
                  <a:lnTo>
                    <a:pt x="239430" y="258794"/>
                  </a:lnTo>
                  <a:lnTo>
                    <a:pt x="234239" y="258823"/>
                  </a:lnTo>
                  <a:lnTo>
                    <a:pt x="231658" y="258204"/>
                  </a:lnTo>
                  <a:lnTo>
                    <a:pt x="222475" y="252317"/>
                  </a:lnTo>
                  <a:lnTo>
                    <a:pt x="221837" y="251422"/>
                  </a:lnTo>
                  <a:lnTo>
                    <a:pt x="221894" y="249850"/>
                  </a:lnTo>
                  <a:lnTo>
                    <a:pt x="223418" y="247479"/>
                  </a:lnTo>
                  <a:lnTo>
                    <a:pt x="222390" y="244269"/>
                  </a:lnTo>
                  <a:lnTo>
                    <a:pt x="221304" y="241230"/>
                  </a:lnTo>
                  <a:lnTo>
                    <a:pt x="219504" y="238639"/>
                  </a:lnTo>
                  <a:lnTo>
                    <a:pt x="217532" y="237287"/>
                  </a:lnTo>
                  <a:lnTo>
                    <a:pt x="213398" y="238115"/>
                  </a:lnTo>
                  <a:lnTo>
                    <a:pt x="211950" y="238754"/>
                  </a:lnTo>
                  <a:lnTo>
                    <a:pt x="209340" y="238535"/>
                  </a:lnTo>
                  <a:lnTo>
                    <a:pt x="207292" y="239687"/>
                  </a:lnTo>
                  <a:lnTo>
                    <a:pt x="206149" y="239725"/>
                  </a:lnTo>
                  <a:lnTo>
                    <a:pt x="209369" y="235163"/>
                  </a:lnTo>
                  <a:lnTo>
                    <a:pt x="208502" y="234086"/>
                  </a:lnTo>
                  <a:lnTo>
                    <a:pt x="205321" y="232210"/>
                  </a:lnTo>
                  <a:lnTo>
                    <a:pt x="200997" y="231924"/>
                  </a:lnTo>
                  <a:lnTo>
                    <a:pt x="199796" y="231696"/>
                  </a:lnTo>
                  <a:lnTo>
                    <a:pt x="199092" y="232867"/>
                  </a:lnTo>
                  <a:lnTo>
                    <a:pt x="198253" y="232229"/>
                  </a:lnTo>
                  <a:lnTo>
                    <a:pt x="198339" y="230191"/>
                  </a:lnTo>
                  <a:lnTo>
                    <a:pt x="193319" y="221028"/>
                  </a:lnTo>
                  <a:lnTo>
                    <a:pt x="189947" y="217284"/>
                  </a:lnTo>
                  <a:lnTo>
                    <a:pt x="188242" y="216618"/>
                  </a:lnTo>
                  <a:lnTo>
                    <a:pt x="185166" y="217408"/>
                  </a:lnTo>
                  <a:lnTo>
                    <a:pt x="180013" y="215770"/>
                  </a:lnTo>
                  <a:lnTo>
                    <a:pt x="176937" y="215408"/>
                  </a:lnTo>
                  <a:lnTo>
                    <a:pt x="175241" y="215808"/>
                  </a:lnTo>
                  <a:lnTo>
                    <a:pt x="172707" y="216998"/>
                  </a:lnTo>
                  <a:lnTo>
                    <a:pt x="171431" y="216208"/>
                  </a:lnTo>
                  <a:lnTo>
                    <a:pt x="170983" y="214979"/>
                  </a:lnTo>
                  <a:lnTo>
                    <a:pt x="166306" y="211160"/>
                  </a:lnTo>
                  <a:lnTo>
                    <a:pt x="160468" y="208997"/>
                  </a:lnTo>
                  <a:lnTo>
                    <a:pt x="149104" y="196777"/>
                  </a:lnTo>
                  <a:lnTo>
                    <a:pt x="145618" y="192196"/>
                  </a:lnTo>
                  <a:lnTo>
                    <a:pt x="138446" y="187138"/>
                  </a:lnTo>
                  <a:lnTo>
                    <a:pt x="133912" y="179746"/>
                  </a:lnTo>
                  <a:lnTo>
                    <a:pt x="130197" y="177032"/>
                  </a:lnTo>
                  <a:lnTo>
                    <a:pt x="124796" y="174850"/>
                  </a:lnTo>
                  <a:lnTo>
                    <a:pt x="123549" y="175127"/>
                  </a:lnTo>
                  <a:lnTo>
                    <a:pt x="121929" y="175946"/>
                  </a:lnTo>
                  <a:lnTo>
                    <a:pt x="120653" y="176060"/>
                  </a:lnTo>
                  <a:lnTo>
                    <a:pt x="119644" y="175098"/>
                  </a:lnTo>
                  <a:lnTo>
                    <a:pt x="120672" y="174107"/>
                  </a:lnTo>
                  <a:lnTo>
                    <a:pt x="121825" y="173660"/>
                  </a:lnTo>
                  <a:lnTo>
                    <a:pt x="121377" y="170821"/>
                  </a:lnTo>
                  <a:lnTo>
                    <a:pt x="115224" y="163449"/>
                  </a:lnTo>
                  <a:lnTo>
                    <a:pt x="111623" y="161068"/>
                  </a:lnTo>
                  <a:lnTo>
                    <a:pt x="110604" y="159601"/>
                  </a:lnTo>
                  <a:lnTo>
                    <a:pt x="109852" y="157591"/>
                  </a:lnTo>
                  <a:lnTo>
                    <a:pt x="109080" y="156267"/>
                  </a:lnTo>
                  <a:lnTo>
                    <a:pt x="107375" y="155505"/>
                  </a:lnTo>
                  <a:lnTo>
                    <a:pt x="105918" y="155638"/>
                  </a:lnTo>
                  <a:lnTo>
                    <a:pt x="103908" y="155134"/>
                  </a:lnTo>
                  <a:lnTo>
                    <a:pt x="103975" y="151571"/>
                  </a:lnTo>
                  <a:lnTo>
                    <a:pt x="104375" y="148838"/>
                  </a:lnTo>
                  <a:lnTo>
                    <a:pt x="104070" y="146513"/>
                  </a:lnTo>
                  <a:lnTo>
                    <a:pt x="102108" y="140389"/>
                  </a:lnTo>
                  <a:lnTo>
                    <a:pt x="98717" y="135188"/>
                  </a:lnTo>
                  <a:lnTo>
                    <a:pt x="96717" y="122701"/>
                  </a:lnTo>
                  <a:lnTo>
                    <a:pt x="95174" y="119167"/>
                  </a:lnTo>
                  <a:lnTo>
                    <a:pt x="91421" y="116491"/>
                  </a:lnTo>
                  <a:lnTo>
                    <a:pt x="82953" y="113481"/>
                  </a:lnTo>
                  <a:lnTo>
                    <a:pt x="71152" y="105375"/>
                  </a:lnTo>
                  <a:lnTo>
                    <a:pt x="68656" y="105232"/>
                  </a:lnTo>
                  <a:lnTo>
                    <a:pt x="61560" y="102070"/>
                  </a:lnTo>
                  <a:lnTo>
                    <a:pt x="57159" y="101527"/>
                  </a:lnTo>
                  <a:lnTo>
                    <a:pt x="51445" y="104365"/>
                  </a:lnTo>
                  <a:lnTo>
                    <a:pt x="44501" y="112157"/>
                  </a:lnTo>
                  <a:lnTo>
                    <a:pt x="38871" y="120225"/>
                  </a:lnTo>
                  <a:lnTo>
                    <a:pt x="36824" y="121787"/>
                  </a:lnTo>
                  <a:lnTo>
                    <a:pt x="29556" y="124530"/>
                  </a:lnTo>
                  <a:lnTo>
                    <a:pt x="23136" y="125835"/>
                  </a:lnTo>
                  <a:lnTo>
                    <a:pt x="23070" y="123777"/>
                  </a:lnTo>
                  <a:lnTo>
                    <a:pt x="22841" y="122225"/>
                  </a:lnTo>
                  <a:lnTo>
                    <a:pt x="23927" y="120520"/>
                  </a:lnTo>
                  <a:lnTo>
                    <a:pt x="25717" y="118510"/>
                  </a:lnTo>
                  <a:lnTo>
                    <a:pt x="27365" y="115976"/>
                  </a:lnTo>
                  <a:lnTo>
                    <a:pt x="28051" y="114148"/>
                  </a:lnTo>
                  <a:lnTo>
                    <a:pt x="27727" y="112928"/>
                  </a:lnTo>
                  <a:lnTo>
                    <a:pt x="26984" y="111119"/>
                  </a:lnTo>
                  <a:lnTo>
                    <a:pt x="25975" y="110985"/>
                  </a:lnTo>
                  <a:lnTo>
                    <a:pt x="19860" y="112509"/>
                  </a:lnTo>
                  <a:lnTo>
                    <a:pt x="18459" y="112119"/>
                  </a:lnTo>
                  <a:lnTo>
                    <a:pt x="13935" y="109747"/>
                  </a:lnTo>
                  <a:lnTo>
                    <a:pt x="9068" y="106832"/>
                  </a:lnTo>
                  <a:lnTo>
                    <a:pt x="7277" y="104756"/>
                  </a:lnTo>
                  <a:lnTo>
                    <a:pt x="6601" y="102660"/>
                  </a:lnTo>
                  <a:lnTo>
                    <a:pt x="7106" y="101308"/>
                  </a:lnTo>
                  <a:lnTo>
                    <a:pt x="6705" y="99993"/>
                  </a:lnTo>
                  <a:lnTo>
                    <a:pt x="5753" y="98222"/>
                  </a:lnTo>
                  <a:lnTo>
                    <a:pt x="6610" y="96212"/>
                  </a:lnTo>
                  <a:lnTo>
                    <a:pt x="8125" y="93707"/>
                  </a:lnTo>
                  <a:lnTo>
                    <a:pt x="8887" y="92002"/>
                  </a:lnTo>
                  <a:lnTo>
                    <a:pt x="10163" y="91564"/>
                  </a:lnTo>
                  <a:lnTo>
                    <a:pt x="10773" y="90526"/>
                  </a:lnTo>
                  <a:lnTo>
                    <a:pt x="9753" y="86373"/>
                  </a:lnTo>
                  <a:lnTo>
                    <a:pt x="9220" y="85706"/>
                  </a:lnTo>
                  <a:lnTo>
                    <a:pt x="8344" y="85192"/>
                  </a:lnTo>
                  <a:lnTo>
                    <a:pt x="6991" y="85134"/>
                  </a:lnTo>
                  <a:lnTo>
                    <a:pt x="4629" y="84277"/>
                  </a:lnTo>
                  <a:lnTo>
                    <a:pt x="2953" y="82839"/>
                  </a:lnTo>
                  <a:lnTo>
                    <a:pt x="2591" y="80896"/>
                  </a:lnTo>
                  <a:lnTo>
                    <a:pt x="1705" y="79029"/>
                  </a:lnTo>
                  <a:lnTo>
                    <a:pt x="190" y="77314"/>
                  </a:lnTo>
                  <a:lnTo>
                    <a:pt x="0" y="75438"/>
                  </a:lnTo>
                  <a:lnTo>
                    <a:pt x="1724" y="74447"/>
                  </a:lnTo>
                  <a:lnTo>
                    <a:pt x="4076" y="74409"/>
                  </a:lnTo>
                  <a:lnTo>
                    <a:pt x="5734" y="74781"/>
                  </a:lnTo>
                  <a:lnTo>
                    <a:pt x="9449" y="71761"/>
                  </a:lnTo>
                  <a:lnTo>
                    <a:pt x="10820" y="71495"/>
                  </a:lnTo>
                  <a:lnTo>
                    <a:pt x="12049" y="70847"/>
                  </a:lnTo>
                  <a:lnTo>
                    <a:pt x="13078" y="66713"/>
                  </a:lnTo>
                  <a:lnTo>
                    <a:pt x="13868" y="65475"/>
                  </a:lnTo>
                  <a:lnTo>
                    <a:pt x="14059" y="64751"/>
                  </a:lnTo>
                  <a:lnTo>
                    <a:pt x="13325" y="63884"/>
                  </a:lnTo>
                  <a:lnTo>
                    <a:pt x="10325" y="60970"/>
                  </a:lnTo>
                  <a:lnTo>
                    <a:pt x="8954" y="57921"/>
                  </a:lnTo>
                  <a:lnTo>
                    <a:pt x="6791" y="54502"/>
                  </a:lnTo>
                  <a:lnTo>
                    <a:pt x="4781" y="52987"/>
                  </a:lnTo>
                  <a:lnTo>
                    <a:pt x="4372" y="51806"/>
                  </a:lnTo>
                  <a:lnTo>
                    <a:pt x="4324" y="50311"/>
                  </a:lnTo>
                  <a:lnTo>
                    <a:pt x="4734" y="48987"/>
                  </a:lnTo>
                  <a:lnTo>
                    <a:pt x="8372" y="46930"/>
                  </a:lnTo>
                  <a:lnTo>
                    <a:pt x="10525" y="44739"/>
                  </a:lnTo>
                  <a:lnTo>
                    <a:pt x="11449" y="45577"/>
                  </a:lnTo>
                  <a:lnTo>
                    <a:pt x="13411" y="46472"/>
                  </a:lnTo>
                  <a:lnTo>
                    <a:pt x="18735" y="45253"/>
                  </a:lnTo>
                  <a:lnTo>
                    <a:pt x="22041" y="44025"/>
                  </a:lnTo>
                  <a:lnTo>
                    <a:pt x="24365" y="42729"/>
                  </a:lnTo>
                  <a:lnTo>
                    <a:pt x="25803" y="42958"/>
                  </a:lnTo>
                  <a:lnTo>
                    <a:pt x="31023" y="44891"/>
                  </a:lnTo>
                  <a:lnTo>
                    <a:pt x="32747" y="43910"/>
                  </a:lnTo>
                  <a:lnTo>
                    <a:pt x="36509" y="41291"/>
                  </a:lnTo>
                  <a:lnTo>
                    <a:pt x="37071" y="39910"/>
                  </a:lnTo>
                  <a:lnTo>
                    <a:pt x="40043" y="35719"/>
                  </a:lnTo>
                  <a:lnTo>
                    <a:pt x="40100" y="34700"/>
                  </a:lnTo>
                  <a:lnTo>
                    <a:pt x="38881" y="32061"/>
                  </a:lnTo>
                  <a:lnTo>
                    <a:pt x="39262" y="31480"/>
                  </a:lnTo>
                  <a:lnTo>
                    <a:pt x="42901" y="28775"/>
                  </a:lnTo>
                  <a:lnTo>
                    <a:pt x="44682" y="26375"/>
                  </a:lnTo>
                  <a:lnTo>
                    <a:pt x="46615" y="24765"/>
                  </a:lnTo>
                  <a:lnTo>
                    <a:pt x="48006" y="24727"/>
                  </a:lnTo>
                  <a:lnTo>
                    <a:pt x="48387" y="25279"/>
                  </a:lnTo>
                  <a:lnTo>
                    <a:pt x="48549" y="26403"/>
                  </a:lnTo>
                  <a:lnTo>
                    <a:pt x="48425" y="31032"/>
                  </a:lnTo>
                  <a:lnTo>
                    <a:pt x="48958" y="32452"/>
                  </a:lnTo>
                  <a:lnTo>
                    <a:pt x="51816" y="35766"/>
                  </a:lnTo>
                  <a:lnTo>
                    <a:pt x="53854" y="37652"/>
                  </a:lnTo>
                  <a:lnTo>
                    <a:pt x="58588" y="38948"/>
                  </a:lnTo>
                  <a:lnTo>
                    <a:pt x="58807" y="39567"/>
                  </a:lnTo>
                  <a:lnTo>
                    <a:pt x="57502" y="42053"/>
                  </a:lnTo>
                  <a:lnTo>
                    <a:pt x="60369" y="45025"/>
                  </a:lnTo>
                  <a:lnTo>
                    <a:pt x="60884" y="47196"/>
                  </a:lnTo>
                  <a:lnTo>
                    <a:pt x="62208" y="48416"/>
                  </a:lnTo>
                  <a:lnTo>
                    <a:pt x="64075" y="47815"/>
                  </a:lnTo>
                  <a:lnTo>
                    <a:pt x="64684" y="46663"/>
                  </a:lnTo>
                  <a:lnTo>
                    <a:pt x="63951" y="44653"/>
                  </a:lnTo>
                  <a:lnTo>
                    <a:pt x="63408" y="42548"/>
                  </a:lnTo>
                  <a:lnTo>
                    <a:pt x="63513" y="41329"/>
                  </a:lnTo>
                  <a:lnTo>
                    <a:pt x="64027" y="39929"/>
                  </a:lnTo>
                  <a:lnTo>
                    <a:pt x="65332" y="37967"/>
                  </a:lnTo>
                  <a:lnTo>
                    <a:pt x="68875" y="33471"/>
                  </a:lnTo>
                  <a:lnTo>
                    <a:pt x="70152" y="30871"/>
                  </a:lnTo>
                  <a:lnTo>
                    <a:pt x="70380" y="26841"/>
                  </a:lnTo>
                  <a:lnTo>
                    <a:pt x="70390" y="23603"/>
                  </a:lnTo>
                  <a:lnTo>
                    <a:pt x="71571" y="22812"/>
                  </a:lnTo>
                  <a:lnTo>
                    <a:pt x="74114" y="23393"/>
                  </a:lnTo>
                  <a:lnTo>
                    <a:pt x="74876" y="23327"/>
                  </a:lnTo>
                  <a:lnTo>
                    <a:pt x="75219" y="25317"/>
                  </a:lnTo>
                  <a:lnTo>
                    <a:pt x="76305" y="28489"/>
                  </a:lnTo>
                  <a:lnTo>
                    <a:pt x="77581" y="30128"/>
                  </a:lnTo>
                  <a:lnTo>
                    <a:pt x="78943" y="30518"/>
                  </a:lnTo>
                  <a:lnTo>
                    <a:pt x="80543" y="30527"/>
                  </a:lnTo>
                  <a:lnTo>
                    <a:pt x="84506" y="28594"/>
                  </a:lnTo>
                  <a:lnTo>
                    <a:pt x="87087" y="27756"/>
                  </a:lnTo>
                  <a:lnTo>
                    <a:pt x="88554" y="27984"/>
                  </a:lnTo>
                  <a:lnTo>
                    <a:pt x="89421" y="29299"/>
                  </a:lnTo>
                  <a:lnTo>
                    <a:pt x="91269" y="32756"/>
                  </a:lnTo>
                  <a:lnTo>
                    <a:pt x="92326" y="33147"/>
                  </a:lnTo>
                  <a:lnTo>
                    <a:pt x="93602" y="32747"/>
                  </a:lnTo>
                  <a:lnTo>
                    <a:pt x="94050" y="32156"/>
                  </a:lnTo>
                  <a:lnTo>
                    <a:pt x="93640" y="30823"/>
                  </a:lnTo>
                  <a:lnTo>
                    <a:pt x="93097" y="27937"/>
                  </a:lnTo>
                  <a:lnTo>
                    <a:pt x="92354" y="25698"/>
                  </a:lnTo>
                  <a:lnTo>
                    <a:pt x="91383" y="24651"/>
                  </a:lnTo>
                  <a:lnTo>
                    <a:pt x="91183" y="23289"/>
                  </a:lnTo>
                  <a:lnTo>
                    <a:pt x="91792" y="20831"/>
                  </a:lnTo>
                  <a:lnTo>
                    <a:pt x="92488" y="18774"/>
                  </a:lnTo>
                  <a:lnTo>
                    <a:pt x="93840" y="18212"/>
                  </a:lnTo>
                  <a:lnTo>
                    <a:pt x="95393" y="17955"/>
                  </a:lnTo>
                  <a:lnTo>
                    <a:pt x="97441" y="20136"/>
                  </a:lnTo>
                  <a:lnTo>
                    <a:pt x="99869" y="20822"/>
                  </a:lnTo>
                  <a:lnTo>
                    <a:pt x="101679" y="20707"/>
                  </a:lnTo>
                  <a:lnTo>
                    <a:pt x="101993" y="19440"/>
                  </a:lnTo>
                  <a:lnTo>
                    <a:pt x="101879" y="18050"/>
                  </a:lnTo>
                  <a:lnTo>
                    <a:pt x="100803" y="16259"/>
                  </a:lnTo>
                  <a:lnTo>
                    <a:pt x="101012" y="13545"/>
                  </a:lnTo>
                  <a:lnTo>
                    <a:pt x="102260" y="8477"/>
                  </a:lnTo>
                  <a:lnTo>
                    <a:pt x="102975" y="8868"/>
                  </a:lnTo>
                  <a:lnTo>
                    <a:pt x="105661" y="8915"/>
                  </a:lnTo>
                  <a:lnTo>
                    <a:pt x="108585" y="9201"/>
                  </a:lnTo>
                  <a:lnTo>
                    <a:pt x="110471" y="11268"/>
                  </a:lnTo>
                  <a:lnTo>
                    <a:pt x="112319" y="11973"/>
                  </a:lnTo>
                  <a:lnTo>
                    <a:pt x="114948" y="12192"/>
                  </a:lnTo>
                  <a:lnTo>
                    <a:pt x="116710" y="11906"/>
                  </a:lnTo>
                  <a:lnTo>
                    <a:pt x="117567" y="11125"/>
                  </a:lnTo>
                  <a:lnTo>
                    <a:pt x="118586" y="8706"/>
                  </a:lnTo>
                  <a:lnTo>
                    <a:pt x="120472" y="5705"/>
                  </a:lnTo>
                  <a:lnTo>
                    <a:pt x="123425" y="4163"/>
                  </a:lnTo>
                  <a:lnTo>
                    <a:pt x="128473" y="3877"/>
                  </a:lnTo>
                  <a:lnTo>
                    <a:pt x="130997" y="3315"/>
                  </a:lnTo>
                  <a:lnTo>
                    <a:pt x="133617" y="3343"/>
                  </a:lnTo>
                  <a:lnTo>
                    <a:pt x="135588" y="3810"/>
                  </a:lnTo>
                  <a:lnTo>
                    <a:pt x="137627" y="3753"/>
                  </a:lnTo>
                  <a:lnTo>
                    <a:pt x="142808" y="1657"/>
                  </a:lnTo>
                  <a:lnTo>
                    <a:pt x="148152" y="0"/>
                  </a:lnTo>
                  <a:lnTo>
                    <a:pt x="148895" y="276"/>
                  </a:lnTo>
                  <a:lnTo>
                    <a:pt x="149009" y="829"/>
                  </a:lnTo>
                  <a:lnTo>
                    <a:pt x="148047" y="2105"/>
                  </a:lnTo>
                  <a:lnTo>
                    <a:pt x="147113" y="3800"/>
                  </a:lnTo>
                  <a:lnTo>
                    <a:pt x="147742" y="5734"/>
                  </a:lnTo>
                  <a:lnTo>
                    <a:pt x="150781" y="9611"/>
                  </a:lnTo>
                  <a:lnTo>
                    <a:pt x="152438" y="12573"/>
                  </a:lnTo>
                  <a:lnTo>
                    <a:pt x="154000" y="14792"/>
                  </a:lnTo>
                  <a:lnTo>
                    <a:pt x="156429" y="15964"/>
                  </a:lnTo>
                  <a:lnTo>
                    <a:pt x="159620" y="16678"/>
                  </a:lnTo>
                  <a:lnTo>
                    <a:pt x="162325" y="16935"/>
                  </a:lnTo>
                  <a:lnTo>
                    <a:pt x="165154" y="17774"/>
                  </a:lnTo>
                  <a:lnTo>
                    <a:pt x="174860" y="19841"/>
                  </a:lnTo>
                  <a:lnTo>
                    <a:pt x="179746" y="20412"/>
                  </a:lnTo>
                  <a:lnTo>
                    <a:pt x="183451" y="20498"/>
                  </a:lnTo>
                  <a:lnTo>
                    <a:pt x="189024" y="21745"/>
                  </a:lnTo>
                  <a:close/>
                  <a:moveTo>
                    <a:pt x="156553" y="120815"/>
                  </a:moveTo>
                  <a:lnTo>
                    <a:pt x="157343" y="118910"/>
                  </a:lnTo>
                  <a:lnTo>
                    <a:pt x="157048" y="117548"/>
                  </a:lnTo>
                  <a:lnTo>
                    <a:pt x="155372" y="117824"/>
                  </a:lnTo>
                  <a:lnTo>
                    <a:pt x="154191" y="119596"/>
                  </a:lnTo>
                  <a:lnTo>
                    <a:pt x="154981" y="121091"/>
                  </a:lnTo>
                  <a:lnTo>
                    <a:pt x="156553" y="120815"/>
                  </a:lnTo>
                  <a:close/>
                  <a:moveTo>
                    <a:pt x="155324" y="193662"/>
                  </a:moveTo>
                  <a:lnTo>
                    <a:pt x="155305" y="193377"/>
                  </a:lnTo>
                  <a:lnTo>
                    <a:pt x="155105" y="193405"/>
                  </a:lnTo>
                  <a:lnTo>
                    <a:pt x="155019" y="193577"/>
                  </a:lnTo>
                  <a:lnTo>
                    <a:pt x="155105" y="193691"/>
                  </a:lnTo>
                  <a:lnTo>
                    <a:pt x="155324" y="193662"/>
                  </a:lnTo>
                  <a:close/>
                  <a:moveTo>
                    <a:pt x="100689" y="159048"/>
                  </a:moveTo>
                  <a:lnTo>
                    <a:pt x="101575" y="160458"/>
                  </a:lnTo>
                  <a:lnTo>
                    <a:pt x="101679" y="161277"/>
                  </a:lnTo>
                  <a:lnTo>
                    <a:pt x="101079" y="162211"/>
                  </a:lnTo>
                  <a:lnTo>
                    <a:pt x="101327" y="164306"/>
                  </a:lnTo>
                  <a:lnTo>
                    <a:pt x="99088" y="162563"/>
                  </a:lnTo>
                  <a:lnTo>
                    <a:pt x="95707" y="163439"/>
                  </a:lnTo>
                  <a:lnTo>
                    <a:pt x="93631" y="163249"/>
                  </a:lnTo>
                  <a:lnTo>
                    <a:pt x="93059" y="161687"/>
                  </a:lnTo>
                  <a:lnTo>
                    <a:pt x="93535" y="160772"/>
                  </a:lnTo>
                  <a:lnTo>
                    <a:pt x="96755" y="160572"/>
                  </a:lnTo>
                  <a:lnTo>
                    <a:pt x="97755" y="160125"/>
                  </a:lnTo>
                  <a:lnTo>
                    <a:pt x="99717" y="160334"/>
                  </a:lnTo>
                  <a:lnTo>
                    <a:pt x="100689" y="159048"/>
                  </a:lnTo>
                  <a:close/>
                  <a:moveTo>
                    <a:pt x="80276" y="229733"/>
                  </a:moveTo>
                  <a:lnTo>
                    <a:pt x="81620" y="231981"/>
                  </a:lnTo>
                  <a:lnTo>
                    <a:pt x="84620" y="241182"/>
                  </a:lnTo>
                  <a:lnTo>
                    <a:pt x="84906" y="243164"/>
                  </a:lnTo>
                  <a:lnTo>
                    <a:pt x="84306" y="245193"/>
                  </a:lnTo>
                  <a:lnTo>
                    <a:pt x="83544" y="246631"/>
                  </a:lnTo>
                  <a:lnTo>
                    <a:pt x="80562" y="251241"/>
                  </a:lnTo>
                  <a:lnTo>
                    <a:pt x="81001" y="255041"/>
                  </a:lnTo>
                  <a:lnTo>
                    <a:pt x="82105" y="257394"/>
                  </a:lnTo>
                  <a:lnTo>
                    <a:pt x="82267" y="259994"/>
                  </a:lnTo>
                  <a:lnTo>
                    <a:pt x="81715" y="263214"/>
                  </a:lnTo>
                  <a:lnTo>
                    <a:pt x="79867" y="282921"/>
                  </a:lnTo>
                  <a:lnTo>
                    <a:pt x="78972" y="286398"/>
                  </a:lnTo>
                  <a:lnTo>
                    <a:pt x="78410" y="289398"/>
                  </a:lnTo>
                  <a:lnTo>
                    <a:pt x="76372" y="290313"/>
                  </a:lnTo>
                  <a:lnTo>
                    <a:pt x="73743" y="289350"/>
                  </a:lnTo>
                  <a:lnTo>
                    <a:pt x="70428" y="287655"/>
                  </a:lnTo>
                  <a:lnTo>
                    <a:pt x="68894" y="287760"/>
                  </a:lnTo>
                  <a:lnTo>
                    <a:pt x="67351" y="288341"/>
                  </a:lnTo>
                  <a:lnTo>
                    <a:pt x="66084" y="287846"/>
                  </a:lnTo>
                  <a:lnTo>
                    <a:pt x="64875" y="286883"/>
                  </a:lnTo>
                  <a:lnTo>
                    <a:pt x="63970" y="293608"/>
                  </a:lnTo>
                  <a:lnTo>
                    <a:pt x="62474" y="296332"/>
                  </a:lnTo>
                  <a:lnTo>
                    <a:pt x="60198" y="298075"/>
                  </a:lnTo>
                  <a:lnTo>
                    <a:pt x="58055" y="298180"/>
                  </a:lnTo>
                  <a:lnTo>
                    <a:pt x="55845" y="297599"/>
                  </a:lnTo>
                  <a:lnTo>
                    <a:pt x="53978" y="297599"/>
                  </a:lnTo>
                  <a:lnTo>
                    <a:pt x="52559" y="296313"/>
                  </a:lnTo>
                  <a:lnTo>
                    <a:pt x="51435" y="294046"/>
                  </a:lnTo>
                  <a:lnTo>
                    <a:pt x="49644" y="291294"/>
                  </a:lnTo>
                  <a:lnTo>
                    <a:pt x="47825" y="288026"/>
                  </a:lnTo>
                  <a:lnTo>
                    <a:pt x="47625" y="285064"/>
                  </a:lnTo>
                  <a:lnTo>
                    <a:pt x="47310" y="278521"/>
                  </a:lnTo>
                  <a:lnTo>
                    <a:pt x="47835" y="277092"/>
                  </a:lnTo>
                  <a:lnTo>
                    <a:pt x="48596" y="275720"/>
                  </a:lnTo>
                  <a:lnTo>
                    <a:pt x="48968" y="272787"/>
                  </a:lnTo>
                  <a:lnTo>
                    <a:pt x="48711" y="270224"/>
                  </a:lnTo>
                  <a:lnTo>
                    <a:pt x="49244" y="269310"/>
                  </a:lnTo>
                  <a:lnTo>
                    <a:pt x="50302" y="270224"/>
                  </a:lnTo>
                  <a:lnTo>
                    <a:pt x="51092" y="269881"/>
                  </a:lnTo>
                  <a:lnTo>
                    <a:pt x="51044" y="268557"/>
                  </a:lnTo>
                  <a:lnTo>
                    <a:pt x="51283" y="266147"/>
                  </a:lnTo>
                  <a:lnTo>
                    <a:pt x="49892" y="264128"/>
                  </a:lnTo>
                  <a:lnTo>
                    <a:pt x="47539" y="263442"/>
                  </a:lnTo>
                  <a:lnTo>
                    <a:pt x="47310" y="261328"/>
                  </a:lnTo>
                  <a:lnTo>
                    <a:pt x="47558" y="259261"/>
                  </a:lnTo>
                  <a:lnTo>
                    <a:pt x="48796" y="257870"/>
                  </a:lnTo>
                  <a:lnTo>
                    <a:pt x="49216" y="256022"/>
                  </a:lnTo>
                  <a:lnTo>
                    <a:pt x="49225" y="250374"/>
                  </a:lnTo>
                  <a:lnTo>
                    <a:pt x="47568" y="248288"/>
                  </a:lnTo>
                  <a:lnTo>
                    <a:pt x="46930" y="245126"/>
                  </a:lnTo>
                  <a:lnTo>
                    <a:pt x="46072" y="243107"/>
                  </a:lnTo>
                  <a:lnTo>
                    <a:pt x="44529" y="241068"/>
                  </a:lnTo>
                  <a:lnTo>
                    <a:pt x="42777" y="239411"/>
                  </a:lnTo>
                  <a:lnTo>
                    <a:pt x="41700" y="237811"/>
                  </a:lnTo>
                  <a:lnTo>
                    <a:pt x="41462" y="233620"/>
                  </a:lnTo>
                  <a:lnTo>
                    <a:pt x="42072" y="230114"/>
                  </a:lnTo>
                  <a:lnTo>
                    <a:pt x="42624" y="228610"/>
                  </a:lnTo>
                  <a:lnTo>
                    <a:pt x="43186" y="228828"/>
                  </a:lnTo>
                  <a:lnTo>
                    <a:pt x="44920" y="230572"/>
                  </a:lnTo>
                  <a:lnTo>
                    <a:pt x="46339" y="230962"/>
                  </a:lnTo>
                  <a:lnTo>
                    <a:pt x="49149" y="231381"/>
                  </a:lnTo>
                  <a:lnTo>
                    <a:pt x="51911" y="230819"/>
                  </a:lnTo>
                  <a:lnTo>
                    <a:pt x="55302" y="229229"/>
                  </a:lnTo>
                  <a:lnTo>
                    <a:pt x="58569" y="227304"/>
                  </a:lnTo>
                  <a:lnTo>
                    <a:pt x="63303" y="221637"/>
                  </a:lnTo>
                  <a:lnTo>
                    <a:pt x="66218" y="220485"/>
                  </a:lnTo>
                  <a:lnTo>
                    <a:pt x="67713" y="218989"/>
                  </a:lnTo>
                  <a:lnTo>
                    <a:pt x="68228" y="216970"/>
                  </a:lnTo>
                  <a:lnTo>
                    <a:pt x="69466" y="216446"/>
                  </a:lnTo>
                  <a:lnTo>
                    <a:pt x="70923" y="218408"/>
                  </a:lnTo>
                  <a:lnTo>
                    <a:pt x="72733" y="218618"/>
                  </a:lnTo>
                  <a:lnTo>
                    <a:pt x="75524" y="220237"/>
                  </a:lnTo>
                  <a:lnTo>
                    <a:pt x="76724" y="221780"/>
                  </a:lnTo>
                  <a:lnTo>
                    <a:pt x="77753" y="223638"/>
                  </a:lnTo>
                  <a:lnTo>
                    <a:pt x="78743" y="224457"/>
                  </a:lnTo>
                  <a:lnTo>
                    <a:pt x="79800" y="224923"/>
                  </a:lnTo>
                  <a:lnTo>
                    <a:pt x="79953" y="225362"/>
                  </a:lnTo>
                  <a:lnTo>
                    <a:pt x="79115" y="225800"/>
                  </a:lnTo>
                  <a:lnTo>
                    <a:pt x="78153" y="227924"/>
                  </a:lnTo>
                  <a:lnTo>
                    <a:pt x="78695" y="228533"/>
                  </a:lnTo>
                  <a:lnTo>
                    <a:pt x="80276" y="229733"/>
                  </a:lnTo>
                  <a:close/>
                  <a:moveTo>
                    <a:pt x="44301" y="224171"/>
                  </a:moveTo>
                  <a:lnTo>
                    <a:pt x="43415" y="225781"/>
                  </a:lnTo>
                  <a:lnTo>
                    <a:pt x="42158" y="225666"/>
                  </a:lnTo>
                  <a:lnTo>
                    <a:pt x="42653" y="224476"/>
                  </a:lnTo>
                  <a:lnTo>
                    <a:pt x="43815" y="222085"/>
                  </a:lnTo>
                  <a:lnTo>
                    <a:pt x="45225" y="221285"/>
                  </a:lnTo>
                  <a:lnTo>
                    <a:pt x="45853" y="221999"/>
                  </a:lnTo>
                  <a:lnTo>
                    <a:pt x="45186" y="223371"/>
                  </a:lnTo>
                  <a:lnTo>
                    <a:pt x="44301" y="224171"/>
                  </a:lnTo>
                  <a:close/>
                  <a:moveTo>
                    <a:pt x="195396" y="235944"/>
                  </a:moveTo>
                  <a:lnTo>
                    <a:pt x="194205" y="236249"/>
                  </a:lnTo>
                  <a:lnTo>
                    <a:pt x="193510" y="235830"/>
                  </a:lnTo>
                  <a:lnTo>
                    <a:pt x="193129" y="235296"/>
                  </a:lnTo>
                  <a:lnTo>
                    <a:pt x="193595" y="233972"/>
                  </a:lnTo>
                  <a:lnTo>
                    <a:pt x="196024" y="234763"/>
                  </a:lnTo>
                  <a:lnTo>
                    <a:pt x="195996" y="235506"/>
                  </a:lnTo>
                  <a:lnTo>
                    <a:pt x="195396" y="235944"/>
                  </a:lnTo>
                  <a:close/>
                  <a:moveTo>
                    <a:pt x="49463" y="292789"/>
                  </a:moveTo>
                  <a:lnTo>
                    <a:pt x="47920" y="296180"/>
                  </a:lnTo>
                  <a:lnTo>
                    <a:pt x="46311" y="293779"/>
                  </a:lnTo>
                  <a:lnTo>
                    <a:pt x="46244" y="291722"/>
                  </a:lnTo>
                  <a:lnTo>
                    <a:pt x="46463" y="291132"/>
                  </a:lnTo>
                  <a:lnTo>
                    <a:pt x="48444" y="291998"/>
                  </a:lnTo>
                  <a:lnTo>
                    <a:pt x="49463" y="292789"/>
                  </a:lnTo>
                  <a:close/>
                  <a:moveTo>
                    <a:pt x="239192" y="321669"/>
                  </a:moveTo>
                  <a:lnTo>
                    <a:pt x="237382" y="325517"/>
                  </a:lnTo>
                  <a:lnTo>
                    <a:pt x="236496" y="326993"/>
                  </a:lnTo>
                  <a:lnTo>
                    <a:pt x="230048" y="336375"/>
                  </a:lnTo>
                  <a:lnTo>
                    <a:pt x="229305" y="338537"/>
                  </a:lnTo>
                  <a:lnTo>
                    <a:pt x="228847" y="340890"/>
                  </a:lnTo>
                  <a:lnTo>
                    <a:pt x="228181" y="342948"/>
                  </a:lnTo>
                  <a:lnTo>
                    <a:pt x="227285" y="344881"/>
                  </a:lnTo>
                  <a:lnTo>
                    <a:pt x="226438" y="347339"/>
                  </a:lnTo>
                  <a:lnTo>
                    <a:pt x="226600" y="350120"/>
                  </a:lnTo>
                  <a:lnTo>
                    <a:pt x="226904" y="351482"/>
                  </a:lnTo>
                  <a:lnTo>
                    <a:pt x="227685" y="352377"/>
                  </a:lnTo>
                  <a:lnTo>
                    <a:pt x="228962" y="353216"/>
                  </a:lnTo>
                  <a:lnTo>
                    <a:pt x="229943" y="354511"/>
                  </a:lnTo>
                  <a:lnTo>
                    <a:pt x="228438" y="355683"/>
                  </a:lnTo>
                  <a:lnTo>
                    <a:pt x="230086" y="358035"/>
                  </a:lnTo>
                  <a:lnTo>
                    <a:pt x="231495" y="359426"/>
                  </a:lnTo>
                  <a:lnTo>
                    <a:pt x="231686" y="360817"/>
                  </a:lnTo>
                  <a:lnTo>
                    <a:pt x="231658" y="362207"/>
                  </a:lnTo>
                  <a:lnTo>
                    <a:pt x="228733" y="364817"/>
                  </a:lnTo>
                  <a:lnTo>
                    <a:pt x="227590" y="366255"/>
                  </a:lnTo>
                  <a:lnTo>
                    <a:pt x="226885" y="367998"/>
                  </a:lnTo>
                  <a:lnTo>
                    <a:pt x="226581" y="369789"/>
                  </a:lnTo>
                  <a:lnTo>
                    <a:pt x="226895" y="371408"/>
                  </a:lnTo>
                  <a:lnTo>
                    <a:pt x="226800" y="373018"/>
                  </a:lnTo>
                  <a:lnTo>
                    <a:pt x="223856" y="372818"/>
                  </a:lnTo>
                  <a:lnTo>
                    <a:pt x="220847" y="371827"/>
                  </a:lnTo>
                  <a:lnTo>
                    <a:pt x="217808" y="372256"/>
                  </a:lnTo>
                  <a:lnTo>
                    <a:pt x="213484" y="370389"/>
                  </a:lnTo>
                  <a:lnTo>
                    <a:pt x="211912" y="370056"/>
                  </a:lnTo>
                  <a:lnTo>
                    <a:pt x="210483" y="369322"/>
                  </a:lnTo>
                  <a:lnTo>
                    <a:pt x="206892" y="363531"/>
                  </a:lnTo>
                  <a:lnTo>
                    <a:pt x="203997" y="361083"/>
                  </a:lnTo>
                  <a:lnTo>
                    <a:pt x="200892" y="359169"/>
                  </a:lnTo>
                  <a:lnTo>
                    <a:pt x="197720" y="359054"/>
                  </a:lnTo>
                  <a:lnTo>
                    <a:pt x="194548" y="359273"/>
                  </a:lnTo>
                  <a:lnTo>
                    <a:pt x="191748" y="358092"/>
                  </a:lnTo>
                  <a:lnTo>
                    <a:pt x="186042" y="354139"/>
                  </a:lnTo>
                  <a:lnTo>
                    <a:pt x="179994" y="350968"/>
                  </a:lnTo>
                  <a:lnTo>
                    <a:pt x="177432" y="348910"/>
                  </a:lnTo>
                  <a:lnTo>
                    <a:pt x="176260" y="347520"/>
                  </a:lnTo>
                  <a:lnTo>
                    <a:pt x="174888" y="346596"/>
                  </a:lnTo>
                  <a:lnTo>
                    <a:pt x="171431" y="345681"/>
                  </a:lnTo>
                  <a:lnTo>
                    <a:pt x="168316" y="343529"/>
                  </a:lnTo>
                  <a:lnTo>
                    <a:pt x="166906" y="343376"/>
                  </a:lnTo>
                  <a:lnTo>
                    <a:pt x="163868" y="343633"/>
                  </a:lnTo>
                  <a:lnTo>
                    <a:pt x="162306" y="343481"/>
                  </a:lnTo>
                  <a:lnTo>
                    <a:pt x="160734" y="342719"/>
                  </a:lnTo>
                  <a:lnTo>
                    <a:pt x="157705" y="340195"/>
                  </a:lnTo>
                  <a:lnTo>
                    <a:pt x="155762" y="336690"/>
                  </a:lnTo>
                  <a:lnTo>
                    <a:pt x="155257" y="335137"/>
                  </a:lnTo>
                  <a:lnTo>
                    <a:pt x="156629" y="331127"/>
                  </a:lnTo>
                  <a:lnTo>
                    <a:pt x="158258" y="327270"/>
                  </a:lnTo>
                  <a:lnTo>
                    <a:pt x="159696" y="326193"/>
                  </a:lnTo>
                  <a:lnTo>
                    <a:pt x="161372" y="325412"/>
                  </a:lnTo>
                  <a:lnTo>
                    <a:pt x="162382" y="324269"/>
                  </a:lnTo>
                  <a:lnTo>
                    <a:pt x="163239" y="322869"/>
                  </a:lnTo>
                  <a:lnTo>
                    <a:pt x="166354" y="326907"/>
                  </a:lnTo>
                  <a:lnTo>
                    <a:pt x="167745" y="327889"/>
                  </a:lnTo>
                  <a:lnTo>
                    <a:pt x="169155" y="327670"/>
                  </a:lnTo>
                  <a:lnTo>
                    <a:pt x="171650" y="326222"/>
                  </a:lnTo>
                  <a:lnTo>
                    <a:pt x="171860" y="324631"/>
                  </a:lnTo>
                  <a:lnTo>
                    <a:pt x="174622" y="322621"/>
                  </a:lnTo>
                  <a:lnTo>
                    <a:pt x="178127" y="322583"/>
                  </a:lnTo>
                  <a:lnTo>
                    <a:pt x="179746" y="322955"/>
                  </a:lnTo>
                  <a:lnTo>
                    <a:pt x="180594" y="324774"/>
                  </a:lnTo>
                  <a:lnTo>
                    <a:pt x="181928" y="325336"/>
                  </a:lnTo>
                  <a:lnTo>
                    <a:pt x="183470" y="325574"/>
                  </a:lnTo>
                  <a:lnTo>
                    <a:pt x="188557" y="329032"/>
                  </a:lnTo>
                  <a:lnTo>
                    <a:pt x="189986" y="329594"/>
                  </a:lnTo>
                  <a:lnTo>
                    <a:pt x="191424" y="329689"/>
                  </a:lnTo>
                  <a:lnTo>
                    <a:pt x="195377" y="328241"/>
                  </a:lnTo>
                  <a:lnTo>
                    <a:pt x="198406" y="327688"/>
                  </a:lnTo>
                  <a:lnTo>
                    <a:pt x="204759" y="328489"/>
                  </a:lnTo>
                  <a:lnTo>
                    <a:pt x="208188" y="327622"/>
                  </a:lnTo>
                  <a:lnTo>
                    <a:pt x="210588" y="327517"/>
                  </a:lnTo>
                  <a:lnTo>
                    <a:pt x="214084" y="326184"/>
                  </a:lnTo>
                  <a:lnTo>
                    <a:pt x="216770" y="323964"/>
                  </a:lnTo>
                  <a:lnTo>
                    <a:pt x="218170" y="323412"/>
                  </a:lnTo>
                  <a:lnTo>
                    <a:pt x="219675" y="323250"/>
                  </a:lnTo>
                  <a:lnTo>
                    <a:pt x="223313" y="323393"/>
                  </a:lnTo>
                  <a:lnTo>
                    <a:pt x="226971" y="323898"/>
                  </a:lnTo>
                  <a:lnTo>
                    <a:pt x="228505" y="323374"/>
                  </a:lnTo>
                  <a:lnTo>
                    <a:pt x="229790" y="321916"/>
                  </a:lnTo>
                  <a:lnTo>
                    <a:pt x="231276" y="321259"/>
                  </a:lnTo>
                  <a:lnTo>
                    <a:pt x="232905" y="321697"/>
                  </a:lnTo>
                  <a:lnTo>
                    <a:pt x="237125" y="319202"/>
                  </a:lnTo>
                  <a:lnTo>
                    <a:pt x="238992" y="319030"/>
                  </a:lnTo>
                  <a:lnTo>
                    <a:pt x="240764" y="319992"/>
                  </a:lnTo>
                  <a:lnTo>
                    <a:pt x="239192" y="321669"/>
                  </a:lnTo>
                  <a:close/>
                  <a:moveTo>
                    <a:pt x="144951" y="370761"/>
                  </a:moveTo>
                  <a:lnTo>
                    <a:pt x="143665" y="371132"/>
                  </a:lnTo>
                  <a:lnTo>
                    <a:pt x="141989" y="369989"/>
                  </a:lnTo>
                  <a:lnTo>
                    <a:pt x="141875" y="368389"/>
                  </a:lnTo>
                  <a:lnTo>
                    <a:pt x="142180" y="367913"/>
                  </a:lnTo>
                  <a:lnTo>
                    <a:pt x="144218" y="368646"/>
                  </a:lnTo>
                  <a:lnTo>
                    <a:pt x="144856" y="370132"/>
                  </a:lnTo>
                  <a:lnTo>
                    <a:pt x="144951" y="370761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2" name="Forme libre : forme 31">
              <a:extLst>
                <a:ext uri="{FF2B5EF4-FFF2-40B4-BE49-F238E27FC236}">
                  <a16:creationId xmlns:a16="http://schemas.microsoft.com/office/drawing/2014/main" id="{02706684-59EE-FD35-A864-48CBAD458827}"/>
                </a:ext>
              </a:extLst>
            </p:cNvPr>
            <p:cNvSpPr/>
            <p:nvPr/>
          </p:nvSpPr>
          <p:spPr>
            <a:xfrm>
              <a:off x="5070155" y="4541095"/>
              <a:ext cx="15740" cy="9892"/>
            </a:xfrm>
            <a:custGeom>
              <a:avLst/>
              <a:gdLst>
                <a:gd name="connsiteX0" fmla="*/ 5801 w 6038"/>
                <a:gd name="connsiteY0" fmla="*/ 1438 h 3943"/>
                <a:gd name="connsiteX1" fmla="*/ 6039 w 6038"/>
                <a:gd name="connsiteY1" fmla="*/ 3496 h 3943"/>
                <a:gd name="connsiteX2" fmla="*/ 4867 w 6038"/>
                <a:gd name="connsiteY2" fmla="*/ 3943 h 3943"/>
                <a:gd name="connsiteX3" fmla="*/ 3867 w 6038"/>
                <a:gd name="connsiteY3" fmla="*/ 3229 h 3943"/>
                <a:gd name="connsiteX4" fmla="*/ 1877 w 6038"/>
                <a:gd name="connsiteY4" fmla="*/ 3229 h 3943"/>
                <a:gd name="connsiteX5" fmla="*/ 0 w 6038"/>
                <a:gd name="connsiteY5" fmla="*/ 3677 h 3943"/>
                <a:gd name="connsiteX6" fmla="*/ 410 w 6038"/>
                <a:gd name="connsiteY6" fmla="*/ 0 h 3943"/>
                <a:gd name="connsiteX7" fmla="*/ 4105 w 6038"/>
                <a:gd name="connsiteY7" fmla="*/ 448 h 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38" h="3943">
                  <a:moveTo>
                    <a:pt x="5801" y="1438"/>
                  </a:moveTo>
                  <a:lnTo>
                    <a:pt x="6039" y="3496"/>
                  </a:lnTo>
                  <a:lnTo>
                    <a:pt x="4867" y="3943"/>
                  </a:lnTo>
                  <a:lnTo>
                    <a:pt x="3867" y="3229"/>
                  </a:lnTo>
                  <a:lnTo>
                    <a:pt x="1877" y="3229"/>
                  </a:lnTo>
                  <a:lnTo>
                    <a:pt x="0" y="3677"/>
                  </a:lnTo>
                  <a:lnTo>
                    <a:pt x="410" y="0"/>
                  </a:lnTo>
                  <a:lnTo>
                    <a:pt x="4105" y="448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3" name="Forme libre : forme 32">
              <a:extLst>
                <a:ext uri="{FF2B5EF4-FFF2-40B4-BE49-F238E27FC236}">
                  <a16:creationId xmlns:a16="http://schemas.microsoft.com/office/drawing/2014/main" id="{8964A53F-3854-CE08-8389-CA148BF8CF0D}"/>
                </a:ext>
              </a:extLst>
            </p:cNvPr>
            <p:cNvSpPr/>
            <p:nvPr/>
          </p:nvSpPr>
          <p:spPr>
            <a:xfrm>
              <a:off x="6621699" y="5122626"/>
              <a:ext cx="120102" cy="127674"/>
            </a:xfrm>
            <a:custGeom>
              <a:avLst/>
              <a:gdLst>
                <a:gd name="connsiteX0" fmla="*/ 40977 w 46072"/>
                <a:gd name="connsiteY0" fmla="*/ 36766 h 50891"/>
                <a:gd name="connsiteX1" fmla="*/ 40939 w 46072"/>
                <a:gd name="connsiteY1" fmla="*/ 36766 h 50891"/>
                <a:gd name="connsiteX2" fmla="*/ 36357 w 46072"/>
                <a:gd name="connsiteY2" fmla="*/ 37767 h 50891"/>
                <a:gd name="connsiteX3" fmla="*/ 34814 w 46072"/>
                <a:gd name="connsiteY3" fmla="*/ 38938 h 50891"/>
                <a:gd name="connsiteX4" fmla="*/ 33900 w 46072"/>
                <a:gd name="connsiteY4" fmla="*/ 40995 h 50891"/>
                <a:gd name="connsiteX5" fmla="*/ 33604 w 46072"/>
                <a:gd name="connsiteY5" fmla="*/ 42053 h 50891"/>
                <a:gd name="connsiteX6" fmla="*/ 32795 w 46072"/>
                <a:gd name="connsiteY6" fmla="*/ 42091 h 50891"/>
                <a:gd name="connsiteX7" fmla="*/ 31452 w 46072"/>
                <a:gd name="connsiteY7" fmla="*/ 41034 h 50891"/>
                <a:gd name="connsiteX8" fmla="*/ 29756 w 46072"/>
                <a:gd name="connsiteY8" fmla="*/ 39376 h 50891"/>
                <a:gd name="connsiteX9" fmla="*/ 27537 w 46072"/>
                <a:gd name="connsiteY9" fmla="*/ 39510 h 50891"/>
                <a:gd name="connsiteX10" fmla="*/ 20012 w 46072"/>
                <a:gd name="connsiteY10" fmla="*/ 43110 h 50891"/>
                <a:gd name="connsiteX11" fmla="*/ 19269 w 46072"/>
                <a:gd name="connsiteY11" fmla="*/ 44996 h 50891"/>
                <a:gd name="connsiteX12" fmla="*/ 19108 w 46072"/>
                <a:gd name="connsiteY12" fmla="*/ 49082 h 50891"/>
                <a:gd name="connsiteX13" fmla="*/ 18593 w 46072"/>
                <a:gd name="connsiteY13" fmla="*/ 50187 h 50891"/>
                <a:gd name="connsiteX14" fmla="*/ 17783 w 46072"/>
                <a:gd name="connsiteY14" fmla="*/ 50892 h 50891"/>
                <a:gd name="connsiteX15" fmla="*/ 14678 w 46072"/>
                <a:gd name="connsiteY15" fmla="*/ 50444 h 50891"/>
                <a:gd name="connsiteX16" fmla="*/ 14345 w 46072"/>
                <a:gd name="connsiteY16" fmla="*/ 50178 h 50891"/>
                <a:gd name="connsiteX17" fmla="*/ 14754 w 46072"/>
                <a:gd name="connsiteY17" fmla="*/ 48616 h 50891"/>
                <a:gd name="connsiteX18" fmla="*/ 14592 w 46072"/>
                <a:gd name="connsiteY18" fmla="*/ 45186 h 50891"/>
                <a:gd name="connsiteX19" fmla="*/ 13183 w 46072"/>
                <a:gd name="connsiteY19" fmla="*/ 39500 h 50891"/>
                <a:gd name="connsiteX20" fmla="*/ 12192 w 46072"/>
                <a:gd name="connsiteY20" fmla="*/ 37643 h 50891"/>
                <a:gd name="connsiteX21" fmla="*/ 10125 w 46072"/>
                <a:gd name="connsiteY21" fmla="*/ 35785 h 50891"/>
                <a:gd name="connsiteX22" fmla="*/ 8525 w 46072"/>
                <a:gd name="connsiteY22" fmla="*/ 34566 h 50891"/>
                <a:gd name="connsiteX23" fmla="*/ 5639 w 46072"/>
                <a:gd name="connsiteY23" fmla="*/ 33480 h 50891"/>
                <a:gd name="connsiteX24" fmla="*/ 4182 w 46072"/>
                <a:gd name="connsiteY24" fmla="*/ 30337 h 50891"/>
                <a:gd name="connsiteX25" fmla="*/ 1981 w 46072"/>
                <a:gd name="connsiteY25" fmla="*/ 26775 h 50891"/>
                <a:gd name="connsiteX26" fmla="*/ 924 w 46072"/>
                <a:gd name="connsiteY26" fmla="*/ 25956 h 50891"/>
                <a:gd name="connsiteX27" fmla="*/ 1095 w 46072"/>
                <a:gd name="connsiteY27" fmla="*/ 25603 h 50891"/>
                <a:gd name="connsiteX28" fmla="*/ 1600 w 46072"/>
                <a:gd name="connsiteY28" fmla="*/ 22908 h 50891"/>
                <a:gd name="connsiteX29" fmla="*/ 971 w 46072"/>
                <a:gd name="connsiteY29" fmla="*/ 20946 h 50891"/>
                <a:gd name="connsiteX30" fmla="*/ 0 w 46072"/>
                <a:gd name="connsiteY30" fmla="*/ 19269 h 50891"/>
                <a:gd name="connsiteX31" fmla="*/ 658 w 46072"/>
                <a:gd name="connsiteY31" fmla="*/ 18250 h 50891"/>
                <a:gd name="connsiteX32" fmla="*/ 2686 w 46072"/>
                <a:gd name="connsiteY32" fmla="*/ 18259 h 50891"/>
                <a:gd name="connsiteX33" fmla="*/ 4363 w 46072"/>
                <a:gd name="connsiteY33" fmla="*/ 18450 h 50891"/>
                <a:gd name="connsiteX34" fmla="*/ 4962 w 46072"/>
                <a:gd name="connsiteY34" fmla="*/ 16840 h 50891"/>
                <a:gd name="connsiteX35" fmla="*/ 8420 w 46072"/>
                <a:gd name="connsiteY35" fmla="*/ 15792 h 50891"/>
                <a:gd name="connsiteX36" fmla="*/ 11745 w 46072"/>
                <a:gd name="connsiteY36" fmla="*/ 14697 h 50891"/>
                <a:gd name="connsiteX37" fmla="*/ 12230 w 46072"/>
                <a:gd name="connsiteY37" fmla="*/ 13935 h 50891"/>
                <a:gd name="connsiteX38" fmla="*/ 11468 w 46072"/>
                <a:gd name="connsiteY38" fmla="*/ 12278 h 50891"/>
                <a:gd name="connsiteX39" fmla="*/ 11916 w 46072"/>
                <a:gd name="connsiteY39" fmla="*/ 11239 h 50891"/>
                <a:gd name="connsiteX40" fmla="*/ 15897 w 46072"/>
                <a:gd name="connsiteY40" fmla="*/ 8287 h 50891"/>
                <a:gd name="connsiteX41" fmla="*/ 16545 w 46072"/>
                <a:gd name="connsiteY41" fmla="*/ 6944 h 50891"/>
                <a:gd name="connsiteX42" fmla="*/ 16793 w 46072"/>
                <a:gd name="connsiteY42" fmla="*/ 5896 h 50891"/>
                <a:gd name="connsiteX43" fmla="*/ 16259 w 46072"/>
                <a:gd name="connsiteY43" fmla="*/ 4772 h 50891"/>
                <a:gd name="connsiteX44" fmla="*/ 15507 w 46072"/>
                <a:gd name="connsiteY44" fmla="*/ 3029 h 50891"/>
                <a:gd name="connsiteX45" fmla="*/ 15869 w 46072"/>
                <a:gd name="connsiteY45" fmla="*/ 2286 h 50891"/>
                <a:gd name="connsiteX46" fmla="*/ 17936 w 46072"/>
                <a:gd name="connsiteY46" fmla="*/ 1276 h 50891"/>
                <a:gd name="connsiteX47" fmla="*/ 19621 w 46072"/>
                <a:gd name="connsiteY47" fmla="*/ 95 h 50891"/>
                <a:gd name="connsiteX48" fmla="*/ 20612 w 46072"/>
                <a:gd name="connsiteY48" fmla="*/ 0 h 50891"/>
                <a:gd name="connsiteX49" fmla="*/ 21231 w 46072"/>
                <a:gd name="connsiteY49" fmla="*/ 848 h 50891"/>
                <a:gd name="connsiteX50" fmla="*/ 21231 w 46072"/>
                <a:gd name="connsiteY50" fmla="*/ 1724 h 50891"/>
                <a:gd name="connsiteX51" fmla="*/ 21784 w 46072"/>
                <a:gd name="connsiteY51" fmla="*/ 3200 h 50891"/>
                <a:gd name="connsiteX52" fmla="*/ 23022 w 46072"/>
                <a:gd name="connsiteY52" fmla="*/ 4000 h 50891"/>
                <a:gd name="connsiteX53" fmla="*/ 25079 w 46072"/>
                <a:gd name="connsiteY53" fmla="*/ 5305 h 50891"/>
                <a:gd name="connsiteX54" fmla="*/ 27470 w 46072"/>
                <a:gd name="connsiteY54" fmla="*/ 6191 h 50891"/>
                <a:gd name="connsiteX55" fmla="*/ 29337 w 46072"/>
                <a:gd name="connsiteY55" fmla="*/ 7963 h 50891"/>
                <a:gd name="connsiteX56" fmla="*/ 31899 w 46072"/>
                <a:gd name="connsiteY56" fmla="*/ 11125 h 50891"/>
                <a:gd name="connsiteX57" fmla="*/ 32281 w 46072"/>
                <a:gd name="connsiteY57" fmla="*/ 12687 h 50891"/>
                <a:gd name="connsiteX58" fmla="*/ 34586 w 46072"/>
                <a:gd name="connsiteY58" fmla="*/ 14088 h 50891"/>
                <a:gd name="connsiteX59" fmla="*/ 36719 w 46072"/>
                <a:gd name="connsiteY59" fmla="*/ 15659 h 50891"/>
                <a:gd name="connsiteX60" fmla="*/ 36386 w 46072"/>
                <a:gd name="connsiteY60" fmla="*/ 18564 h 50891"/>
                <a:gd name="connsiteX61" fmla="*/ 43653 w 46072"/>
                <a:gd name="connsiteY61" fmla="*/ 21098 h 50891"/>
                <a:gd name="connsiteX62" fmla="*/ 45291 w 46072"/>
                <a:gd name="connsiteY62" fmla="*/ 21079 h 50891"/>
                <a:gd name="connsiteX63" fmla="*/ 46073 w 46072"/>
                <a:gd name="connsiteY63" fmla="*/ 21526 h 50891"/>
                <a:gd name="connsiteX64" fmla="*/ 46054 w 46072"/>
                <a:gd name="connsiteY64" fmla="*/ 22184 h 50891"/>
                <a:gd name="connsiteX65" fmla="*/ 45482 w 46072"/>
                <a:gd name="connsiteY65" fmla="*/ 24212 h 50891"/>
                <a:gd name="connsiteX66" fmla="*/ 42491 w 46072"/>
                <a:gd name="connsiteY66" fmla="*/ 30442 h 50891"/>
                <a:gd name="connsiteX67" fmla="*/ 42253 w 46072"/>
                <a:gd name="connsiteY67" fmla="*/ 31728 h 50891"/>
                <a:gd name="connsiteX68" fmla="*/ 40110 w 46072"/>
                <a:gd name="connsiteY68" fmla="*/ 33080 h 50891"/>
                <a:gd name="connsiteX69" fmla="*/ 39814 w 46072"/>
                <a:gd name="connsiteY69" fmla="*/ 33861 h 50891"/>
                <a:gd name="connsiteX70" fmla="*/ 40424 w 46072"/>
                <a:gd name="connsiteY70" fmla="*/ 35566 h 50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46072" h="50891">
                  <a:moveTo>
                    <a:pt x="40977" y="36766"/>
                  </a:moveTo>
                  <a:lnTo>
                    <a:pt x="40939" y="36766"/>
                  </a:lnTo>
                  <a:lnTo>
                    <a:pt x="36357" y="37767"/>
                  </a:lnTo>
                  <a:lnTo>
                    <a:pt x="34814" y="38938"/>
                  </a:lnTo>
                  <a:lnTo>
                    <a:pt x="33900" y="40995"/>
                  </a:lnTo>
                  <a:lnTo>
                    <a:pt x="33604" y="42053"/>
                  </a:lnTo>
                  <a:lnTo>
                    <a:pt x="32795" y="42091"/>
                  </a:lnTo>
                  <a:lnTo>
                    <a:pt x="31452" y="41034"/>
                  </a:lnTo>
                  <a:lnTo>
                    <a:pt x="29756" y="39376"/>
                  </a:lnTo>
                  <a:lnTo>
                    <a:pt x="27537" y="39510"/>
                  </a:lnTo>
                  <a:lnTo>
                    <a:pt x="20012" y="43110"/>
                  </a:lnTo>
                  <a:lnTo>
                    <a:pt x="19269" y="44996"/>
                  </a:lnTo>
                  <a:lnTo>
                    <a:pt x="19108" y="49082"/>
                  </a:lnTo>
                  <a:lnTo>
                    <a:pt x="18593" y="50187"/>
                  </a:lnTo>
                  <a:lnTo>
                    <a:pt x="17783" y="50892"/>
                  </a:lnTo>
                  <a:lnTo>
                    <a:pt x="14678" y="50444"/>
                  </a:lnTo>
                  <a:lnTo>
                    <a:pt x="14345" y="50178"/>
                  </a:lnTo>
                  <a:lnTo>
                    <a:pt x="14754" y="48616"/>
                  </a:lnTo>
                  <a:lnTo>
                    <a:pt x="14592" y="45186"/>
                  </a:lnTo>
                  <a:lnTo>
                    <a:pt x="13183" y="39500"/>
                  </a:lnTo>
                  <a:lnTo>
                    <a:pt x="12192" y="37643"/>
                  </a:lnTo>
                  <a:lnTo>
                    <a:pt x="10125" y="35785"/>
                  </a:lnTo>
                  <a:lnTo>
                    <a:pt x="8525" y="34566"/>
                  </a:lnTo>
                  <a:lnTo>
                    <a:pt x="5639" y="33480"/>
                  </a:lnTo>
                  <a:lnTo>
                    <a:pt x="4182" y="30337"/>
                  </a:lnTo>
                  <a:lnTo>
                    <a:pt x="1981" y="26775"/>
                  </a:lnTo>
                  <a:lnTo>
                    <a:pt x="924" y="25956"/>
                  </a:lnTo>
                  <a:lnTo>
                    <a:pt x="1095" y="25603"/>
                  </a:lnTo>
                  <a:lnTo>
                    <a:pt x="1600" y="22908"/>
                  </a:lnTo>
                  <a:lnTo>
                    <a:pt x="971" y="20946"/>
                  </a:lnTo>
                  <a:lnTo>
                    <a:pt x="0" y="19269"/>
                  </a:lnTo>
                  <a:lnTo>
                    <a:pt x="658" y="18250"/>
                  </a:lnTo>
                  <a:lnTo>
                    <a:pt x="2686" y="18259"/>
                  </a:lnTo>
                  <a:lnTo>
                    <a:pt x="4363" y="18450"/>
                  </a:lnTo>
                  <a:lnTo>
                    <a:pt x="4962" y="16840"/>
                  </a:lnTo>
                  <a:lnTo>
                    <a:pt x="8420" y="15792"/>
                  </a:lnTo>
                  <a:lnTo>
                    <a:pt x="11745" y="14697"/>
                  </a:lnTo>
                  <a:lnTo>
                    <a:pt x="12230" y="13935"/>
                  </a:lnTo>
                  <a:lnTo>
                    <a:pt x="11468" y="12278"/>
                  </a:lnTo>
                  <a:lnTo>
                    <a:pt x="11916" y="11239"/>
                  </a:lnTo>
                  <a:lnTo>
                    <a:pt x="15897" y="8287"/>
                  </a:lnTo>
                  <a:lnTo>
                    <a:pt x="16545" y="6944"/>
                  </a:lnTo>
                  <a:lnTo>
                    <a:pt x="16793" y="5896"/>
                  </a:lnTo>
                  <a:lnTo>
                    <a:pt x="16259" y="4772"/>
                  </a:lnTo>
                  <a:lnTo>
                    <a:pt x="15507" y="3029"/>
                  </a:lnTo>
                  <a:lnTo>
                    <a:pt x="15869" y="2286"/>
                  </a:lnTo>
                  <a:lnTo>
                    <a:pt x="17936" y="1276"/>
                  </a:lnTo>
                  <a:lnTo>
                    <a:pt x="19621" y="95"/>
                  </a:lnTo>
                  <a:lnTo>
                    <a:pt x="20612" y="0"/>
                  </a:lnTo>
                  <a:lnTo>
                    <a:pt x="21231" y="848"/>
                  </a:lnTo>
                  <a:lnTo>
                    <a:pt x="21231" y="1724"/>
                  </a:lnTo>
                  <a:lnTo>
                    <a:pt x="21784" y="3200"/>
                  </a:lnTo>
                  <a:lnTo>
                    <a:pt x="23022" y="4000"/>
                  </a:lnTo>
                  <a:lnTo>
                    <a:pt x="25079" y="5305"/>
                  </a:lnTo>
                  <a:lnTo>
                    <a:pt x="27470" y="6191"/>
                  </a:lnTo>
                  <a:lnTo>
                    <a:pt x="29337" y="7963"/>
                  </a:lnTo>
                  <a:lnTo>
                    <a:pt x="31899" y="11125"/>
                  </a:lnTo>
                  <a:lnTo>
                    <a:pt x="32281" y="12687"/>
                  </a:lnTo>
                  <a:lnTo>
                    <a:pt x="34586" y="14088"/>
                  </a:lnTo>
                  <a:lnTo>
                    <a:pt x="36719" y="15659"/>
                  </a:lnTo>
                  <a:lnTo>
                    <a:pt x="36386" y="18564"/>
                  </a:lnTo>
                  <a:lnTo>
                    <a:pt x="43653" y="21098"/>
                  </a:lnTo>
                  <a:lnTo>
                    <a:pt x="45291" y="21079"/>
                  </a:lnTo>
                  <a:lnTo>
                    <a:pt x="46073" y="21526"/>
                  </a:lnTo>
                  <a:lnTo>
                    <a:pt x="46054" y="22184"/>
                  </a:lnTo>
                  <a:lnTo>
                    <a:pt x="45482" y="24212"/>
                  </a:lnTo>
                  <a:lnTo>
                    <a:pt x="42491" y="30442"/>
                  </a:lnTo>
                  <a:lnTo>
                    <a:pt x="42253" y="31728"/>
                  </a:lnTo>
                  <a:lnTo>
                    <a:pt x="40110" y="33080"/>
                  </a:lnTo>
                  <a:lnTo>
                    <a:pt x="39814" y="33861"/>
                  </a:lnTo>
                  <a:lnTo>
                    <a:pt x="40424" y="35566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4" name="Forme libre : forme 33">
              <a:extLst>
                <a:ext uri="{FF2B5EF4-FFF2-40B4-BE49-F238E27FC236}">
                  <a16:creationId xmlns:a16="http://schemas.microsoft.com/office/drawing/2014/main" id="{405153DD-A804-33E4-701E-39D283ED9333}"/>
                </a:ext>
              </a:extLst>
            </p:cNvPr>
            <p:cNvSpPr/>
            <p:nvPr/>
          </p:nvSpPr>
          <p:spPr>
            <a:xfrm>
              <a:off x="5886537" y="4741604"/>
              <a:ext cx="9111" cy="20978"/>
            </a:xfrm>
            <a:custGeom>
              <a:avLst/>
              <a:gdLst>
                <a:gd name="connsiteX0" fmla="*/ 2686 w 3495"/>
                <a:gd name="connsiteY0" fmla="*/ 8363 h 8362"/>
                <a:gd name="connsiteX1" fmla="*/ 610 w 3495"/>
                <a:gd name="connsiteY1" fmla="*/ 8153 h 8362"/>
                <a:gd name="connsiteX2" fmla="*/ 219 w 3495"/>
                <a:gd name="connsiteY2" fmla="*/ 8172 h 8362"/>
                <a:gd name="connsiteX3" fmla="*/ 0 w 3495"/>
                <a:gd name="connsiteY3" fmla="*/ 6791 h 8362"/>
                <a:gd name="connsiteX4" fmla="*/ 124 w 3495"/>
                <a:gd name="connsiteY4" fmla="*/ 3848 h 8362"/>
                <a:gd name="connsiteX5" fmla="*/ 1276 w 3495"/>
                <a:gd name="connsiteY5" fmla="*/ 0 h 8362"/>
                <a:gd name="connsiteX6" fmla="*/ 1524 w 3495"/>
                <a:gd name="connsiteY6" fmla="*/ 629 h 8362"/>
                <a:gd name="connsiteX7" fmla="*/ 1667 w 3495"/>
                <a:gd name="connsiteY7" fmla="*/ 1438 h 8362"/>
                <a:gd name="connsiteX8" fmla="*/ 1905 w 3495"/>
                <a:gd name="connsiteY8" fmla="*/ 2295 h 8362"/>
                <a:gd name="connsiteX9" fmla="*/ 2039 w 3495"/>
                <a:gd name="connsiteY9" fmla="*/ 3343 h 8362"/>
                <a:gd name="connsiteX10" fmla="*/ 2467 w 3495"/>
                <a:gd name="connsiteY10" fmla="*/ 4419 h 8362"/>
                <a:gd name="connsiteX11" fmla="*/ 3248 w 3495"/>
                <a:gd name="connsiteY11" fmla="*/ 5439 h 8362"/>
                <a:gd name="connsiteX12" fmla="*/ 3496 w 3495"/>
                <a:gd name="connsiteY12" fmla="*/ 6410 h 8362"/>
                <a:gd name="connsiteX13" fmla="*/ 3105 w 3495"/>
                <a:gd name="connsiteY13" fmla="*/ 7639 h 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95" h="8362">
                  <a:moveTo>
                    <a:pt x="2686" y="8363"/>
                  </a:moveTo>
                  <a:lnTo>
                    <a:pt x="610" y="8153"/>
                  </a:lnTo>
                  <a:lnTo>
                    <a:pt x="219" y="8172"/>
                  </a:lnTo>
                  <a:lnTo>
                    <a:pt x="0" y="6791"/>
                  </a:lnTo>
                  <a:lnTo>
                    <a:pt x="124" y="3848"/>
                  </a:lnTo>
                  <a:lnTo>
                    <a:pt x="1276" y="0"/>
                  </a:lnTo>
                  <a:lnTo>
                    <a:pt x="1524" y="629"/>
                  </a:lnTo>
                  <a:lnTo>
                    <a:pt x="1667" y="1438"/>
                  </a:lnTo>
                  <a:lnTo>
                    <a:pt x="1905" y="2295"/>
                  </a:lnTo>
                  <a:lnTo>
                    <a:pt x="2039" y="3343"/>
                  </a:lnTo>
                  <a:lnTo>
                    <a:pt x="2467" y="4419"/>
                  </a:lnTo>
                  <a:lnTo>
                    <a:pt x="3248" y="5439"/>
                  </a:lnTo>
                  <a:lnTo>
                    <a:pt x="3496" y="6410"/>
                  </a:lnTo>
                  <a:lnTo>
                    <a:pt x="3105" y="7639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5" name="Forme libre : forme 34">
              <a:extLst>
                <a:ext uri="{FF2B5EF4-FFF2-40B4-BE49-F238E27FC236}">
                  <a16:creationId xmlns:a16="http://schemas.microsoft.com/office/drawing/2014/main" id="{C91CD99F-7ADA-C0EF-E700-833673CBB88D}"/>
                </a:ext>
              </a:extLst>
            </p:cNvPr>
            <p:cNvSpPr/>
            <p:nvPr/>
          </p:nvSpPr>
          <p:spPr>
            <a:xfrm>
              <a:off x="6682334" y="3747533"/>
              <a:ext cx="409468" cy="294995"/>
            </a:xfrm>
            <a:custGeom>
              <a:avLst/>
              <a:gdLst>
                <a:gd name="connsiteX0" fmla="*/ 152209 w 157076"/>
                <a:gd name="connsiteY0" fmla="*/ 35500 h 117586"/>
                <a:gd name="connsiteX1" fmla="*/ 152143 w 157076"/>
                <a:gd name="connsiteY1" fmla="*/ 37624 h 117586"/>
                <a:gd name="connsiteX2" fmla="*/ 151495 w 157076"/>
                <a:gd name="connsiteY2" fmla="*/ 41215 h 117586"/>
                <a:gd name="connsiteX3" fmla="*/ 150228 w 157076"/>
                <a:gd name="connsiteY3" fmla="*/ 45844 h 117586"/>
                <a:gd name="connsiteX4" fmla="*/ 148904 w 157076"/>
                <a:gd name="connsiteY4" fmla="*/ 49425 h 117586"/>
                <a:gd name="connsiteX5" fmla="*/ 148580 w 157076"/>
                <a:gd name="connsiteY5" fmla="*/ 50806 h 117586"/>
                <a:gd name="connsiteX6" fmla="*/ 149580 w 157076"/>
                <a:gd name="connsiteY6" fmla="*/ 51959 h 117586"/>
                <a:gd name="connsiteX7" fmla="*/ 154553 w 157076"/>
                <a:gd name="connsiteY7" fmla="*/ 52502 h 117586"/>
                <a:gd name="connsiteX8" fmla="*/ 156667 w 157076"/>
                <a:gd name="connsiteY8" fmla="*/ 53112 h 117586"/>
                <a:gd name="connsiteX9" fmla="*/ 157076 w 157076"/>
                <a:gd name="connsiteY9" fmla="*/ 54064 h 117586"/>
                <a:gd name="connsiteX10" fmla="*/ 155972 w 157076"/>
                <a:gd name="connsiteY10" fmla="*/ 55293 h 117586"/>
                <a:gd name="connsiteX11" fmla="*/ 154381 w 157076"/>
                <a:gd name="connsiteY11" fmla="*/ 56312 h 117586"/>
                <a:gd name="connsiteX12" fmla="*/ 153676 w 157076"/>
                <a:gd name="connsiteY12" fmla="*/ 57283 h 117586"/>
                <a:gd name="connsiteX13" fmla="*/ 152409 w 157076"/>
                <a:gd name="connsiteY13" fmla="*/ 60741 h 117586"/>
                <a:gd name="connsiteX14" fmla="*/ 144142 w 157076"/>
                <a:gd name="connsiteY14" fmla="*/ 60303 h 117586"/>
                <a:gd name="connsiteX15" fmla="*/ 143047 w 157076"/>
                <a:gd name="connsiteY15" fmla="*/ 61008 h 117586"/>
                <a:gd name="connsiteX16" fmla="*/ 142523 w 157076"/>
                <a:gd name="connsiteY16" fmla="*/ 62608 h 117586"/>
                <a:gd name="connsiteX17" fmla="*/ 142113 w 157076"/>
                <a:gd name="connsiteY17" fmla="*/ 64456 h 117586"/>
                <a:gd name="connsiteX18" fmla="*/ 141027 w 157076"/>
                <a:gd name="connsiteY18" fmla="*/ 66647 h 117586"/>
                <a:gd name="connsiteX19" fmla="*/ 138836 w 157076"/>
                <a:gd name="connsiteY19" fmla="*/ 68551 h 117586"/>
                <a:gd name="connsiteX20" fmla="*/ 135398 w 157076"/>
                <a:gd name="connsiteY20" fmla="*/ 69256 h 117586"/>
                <a:gd name="connsiteX21" fmla="*/ 132588 w 157076"/>
                <a:gd name="connsiteY21" fmla="*/ 70552 h 117586"/>
                <a:gd name="connsiteX22" fmla="*/ 130493 w 157076"/>
                <a:gd name="connsiteY22" fmla="*/ 74533 h 117586"/>
                <a:gd name="connsiteX23" fmla="*/ 128931 w 157076"/>
                <a:gd name="connsiteY23" fmla="*/ 79867 h 117586"/>
                <a:gd name="connsiteX24" fmla="*/ 128968 w 157076"/>
                <a:gd name="connsiteY24" fmla="*/ 83639 h 117586"/>
                <a:gd name="connsiteX25" fmla="*/ 129168 w 157076"/>
                <a:gd name="connsiteY25" fmla="*/ 85744 h 117586"/>
                <a:gd name="connsiteX26" fmla="*/ 128987 w 157076"/>
                <a:gd name="connsiteY26" fmla="*/ 86944 h 117586"/>
                <a:gd name="connsiteX27" fmla="*/ 127930 w 157076"/>
                <a:gd name="connsiteY27" fmla="*/ 88249 h 117586"/>
                <a:gd name="connsiteX28" fmla="*/ 126197 w 157076"/>
                <a:gd name="connsiteY28" fmla="*/ 91707 h 117586"/>
                <a:gd name="connsiteX29" fmla="*/ 124787 w 157076"/>
                <a:gd name="connsiteY29" fmla="*/ 95526 h 117586"/>
                <a:gd name="connsiteX30" fmla="*/ 124244 w 157076"/>
                <a:gd name="connsiteY30" fmla="*/ 97593 h 117586"/>
                <a:gd name="connsiteX31" fmla="*/ 124511 w 157076"/>
                <a:gd name="connsiteY31" fmla="*/ 98565 h 117586"/>
                <a:gd name="connsiteX32" fmla="*/ 126102 w 157076"/>
                <a:gd name="connsiteY32" fmla="*/ 98593 h 117586"/>
                <a:gd name="connsiteX33" fmla="*/ 128397 w 157076"/>
                <a:gd name="connsiteY33" fmla="*/ 99374 h 117586"/>
                <a:gd name="connsiteX34" fmla="*/ 129616 w 157076"/>
                <a:gd name="connsiteY34" fmla="*/ 100898 h 117586"/>
                <a:gd name="connsiteX35" fmla="*/ 130064 w 157076"/>
                <a:gd name="connsiteY35" fmla="*/ 102661 h 117586"/>
                <a:gd name="connsiteX36" fmla="*/ 130064 w 157076"/>
                <a:gd name="connsiteY36" fmla="*/ 104547 h 117586"/>
                <a:gd name="connsiteX37" fmla="*/ 129635 w 157076"/>
                <a:gd name="connsiteY37" fmla="*/ 105585 h 117586"/>
                <a:gd name="connsiteX38" fmla="*/ 127797 w 157076"/>
                <a:gd name="connsiteY38" fmla="*/ 106337 h 117586"/>
                <a:gd name="connsiteX39" fmla="*/ 124920 w 157076"/>
                <a:gd name="connsiteY39" fmla="*/ 106366 h 117586"/>
                <a:gd name="connsiteX40" fmla="*/ 123244 w 157076"/>
                <a:gd name="connsiteY40" fmla="*/ 105470 h 117586"/>
                <a:gd name="connsiteX41" fmla="*/ 122901 w 157076"/>
                <a:gd name="connsiteY41" fmla="*/ 104756 h 117586"/>
                <a:gd name="connsiteX42" fmla="*/ 123701 w 157076"/>
                <a:gd name="connsiteY42" fmla="*/ 102937 h 117586"/>
                <a:gd name="connsiteX43" fmla="*/ 123120 w 157076"/>
                <a:gd name="connsiteY43" fmla="*/ 100660 h 117586"/>
                <a:gd name="connsiteX44" fmla="*/ 121930 w 157076"/>
                <a:gd name="connsiteY44" fmla="*/ 99393 h 117586"/>
                <a:gd name="connsiteX45" fmla="*/ 119510 w 157076"/>
                <a:gd name="connsiteY45" fmla="*/ 101289 h 117586"/>
                <a:gd name="connsiteX46" fmla="*/ 117186 w 157076"/>
                <a:gd name="connsiteY46" fmla="*/ 101289 h 117586"/>
                <a:gd name="connsiteX47" fmla="*/ 114405 w 157076"/>
                <a:gd name="connsiteY47" fmla="*/ 102984 h 117586"/>
                <a:gd name="connsiteX48" fmla="*/ 112586 w 157076"/>
                <a:gd name="connsiteY48" fmla="*/ 105689 h 117586"/>
                <a:gd name="connsiteX49" fmla="*/ 110843 w 157076"/>
                <a:gd name="connsiteY49" fmla="*/ 106680 h 117586"/>
                <a:gd name="connsiteX50" fmla="*/ 106118 w 157076"/>
                <a:gd name="connsiteY50" fmla="*/ 106128 h 117586"/>
                <a:gd name="connsiteX51" fmla="*/ 104947 w 157076"/>
                <a:gd name="connsiteY51" fmla="*/ 107318 h 117586"/>
                <a:gd name="connsiteX52" fmla="*/ 103965 w 157076"/>
                <a:gd name="connsiteY52" fmla="*/ 112805 h 117586"/>
                <a:gd name="connsiteX53" fmla="*/ 103404 w 157076"/>
                <a:gd name="connsiteY53" fmla="*/ 113872 h 117586"/>
                <a:gd name="connsiteX54" fmla="*/ 99460 w 157076"/>
                <a:gd name="connsiteY54" fmla="*/ 113643 h 117586"/>
                <a:gd name="connsiteX55" fmla="*/ 95659 w 157076"/>
                <a:gd name="connsiteY55" fmla="*/ 115824 h 117586"/>
                <a:gd name="connsiteX56" fmla="*/ 91364 w 157076"/>
                <a:gd name="connsiteY56" fmla="*/ 117586 h 117586"/>
                <a:gd name="connsiteX57" fmla="*/ 89192 w 157076"/>
                <a:gd name="connsiteY57" fmla="*/ 116367 h 117586"/>
                <a:gd name="connsiteX58" fmla="*/ 87982 w 157076"/>
                <a:gd name="connsiteY58" fmla="*/ 114986 h 117586"/>
                <a:gd name="connsiteX59" fmla="*/ 85639 w 157076"/>
                <a:gd name="connsiteY59" fmla="*/ 115233 h 117586"/>
                <a:gd name="connsiteX60" fmla="*/ 83087 w 157076"/>
                <a:gd name="connsiteY60" fmla="*/ 115843 h 117586"/>
                <a:gd name="connsiteX61" fmla="*/ 81372 w 157076"/>
                <a:gd name="connsiteY61" fmla="*/ 115510 h 117586"/>
                <a:gd name="connsiteX62" fmla="*/ 79448 w 157076"/>
                <a:gd name="connsiteY62" fmla="*/ 115662 h 117586"/>
                <a:gd name="connsiteX63" fmla="*/ 75733 w 157076"/>
                <a:gd name="connsiteY63" fmla="*/ 116719 h 117586"/>
                <a:gd name="connsiteX64" fmla="*/ 71066 w 157076"/>
                <a:gd name="connsiteY64" fmla="*/ 116377 h 117586"/>
                <a:gd name="connsiteX65" fmla="*/ 69075 w 157076"/>
                <a:gd name="connsiteY65" fmla="*/ 115472 h 117586"/>
                <a:gd name="connsiteX66" fmla="*/ 68885 w 157076"/>
                <a:gd name="connsiteY66" fmla="*/ 114605 h 117586"/>
                <a:gd name="connsiteX67" fmla="*/ 69028 w 157076"/>
                <a:gd name="connsiteY67" fmla="*/ 112471 h 117586"/>
                <a:gd name="connsiteX68" fmla="*/ 68980 w 157076"/>
                <a:gd name="connsiteY68" fmla="*/ 109156 h 117586"/>
                <a:gd name="connsiteX69" fmla="*/ 68237 w 157076"/>
                <a:gd name="connsiteY69" fmla="*/ 106223 h 117586"/>
                <a:gd name="connsiteX70" fmla="*/ 65999 w 157076"/>
                <a:gd name="connsiteY70" fmla="*/ 103632 h 117586"/>
                <a:gd name="connsiteX71" fmla="*/ 63655 w 157076"/>
                <a:gd name="connsiteY71" fmla="*/ 101813 h 117586"/>
                <a:gd name="connsiteX72" fmla="*/ 60665 w 157076"/>
                <a:gd name="connsiteY72" fmla="*/ 99936 h 117586"/>
                <a:gd name="connsiteX73" fmla="*/ 58455 w 157076"/>
                <a:gd name="connsiteY73" fmla="*/ 99117 h 117586"/>
                <a:gd name="connsiteX74" fmla="*/ 57245 w 157076"/>
                <a:gd name="connsiteY74" fmla="*/ 98908 h 117586"/>
                <a:gd name="connsiteX75" fmla="*/ 56969 w 157076"/>
                <a:gd name="connsiteY75" fmla="*/ 97822 h 117586"/>
                <a:gd name="connsiteX76" fmla="*/ 56531 w 157076"/>
                <a:gd name="connsiteY76" fmla="*/ 96879 h 117586"/>
                <a:gd name="connsiteX77" fmla="*/ 55493 w 157076"/>
                <a:gd name="connsiteY77" fmla="*/ 96060 h 117586"/>
                <a:gd name="connsiteX78" fmla="*/ 53283 w 157076"/>
                <a:gd name="connsiteY78" fmla="*/ 94955 h 117586"/>
                <a:gd name="connsiteX79" fmla="*/ 51406 w 157076"/>
                <a:gd name="connsiteY79" fmla="*/ 94717 h 117586"/>
                <a:gd name="connsiteX80" fmla="*/ 49873 w 157076"/>
                <a:gd name="connsiteY80" fmla="*/ 96498 h 117586"/>
                <a:gd name="connsiteX81" fmla="*/ 48749 w 157076"/>
                <a:gd name="connsiteY81" fmla="*/ 94269 h 117586"/>
                <a:gd name="connsiteX82" fmla="*/ 47558 w 157076"/>
                <a:gd name="connsiteY82" fmla="*/ 90259 h 117586"/>
                <a:gd name="connsiteX83" fmla="*/ 47682 w 157076"/>
                <a:gd name="connsiteY83" fmla="*/ 87049 h 117586"/>
                <a:gd name="connsiteX84" fmla="*/ 48359 w 157076"/>
                <a:gd name="connsiteY84" fmla="*/ 83839 h 117586"/>
                <a:gd name="connsiteX85" fmla="*/ 51606 w 157076"/>
                <a:gd name="connsiteY85" fmla="*/ 74324 h 117586"/>
                <a:gd name="connsiteX86" fmla="*/ 51435 w 157076"/>
                <a:gd name="connsiteY86" fmla="*/ 72800 h 117586"/>
                <a:gd name="connsiteX87" fmla="*/ 49073 w 157076"/>
                <a:gd name="connsiteY87" fmla="*/ 70133 h 117586"/>
                <a:gd name="connsiteX88" fmla="*/ 46158 w 157076"/>
                <a:gd name="connsiteY88" fmla="*/ 68189 h 117586"/>
                <a:gd name="connsiteX89" fmla="*/ 44548 w 157076"/>
                <a:gd name="connsiteY89" fmla="*/ 64075 h 117586"/>
                <a:gd name="connsiteX90" fmla="*/ 38643 w 157076"/>
                <a:gd name="connsiteY90" fmla="*/ 63837 h 117586"/>
                <a:gd name="connsiteX91" fmla="*/ 33071 w 157076"/>
                <a:gd name="connsiteY91" fmla="*/ 64065 h 117586"/>
                <a:gd name="connsiteX92" fmla="*/ 31318 w 157076"/>
                <a:gd name="connsiteY92" fmla="*/ 63865 h 117586"/>
                <a:gd name="connsiteX93" fmla="*/ 26013 w 157076"/>
                <a:gd name="connsiteY93" fmla="*/ 62141 h 117586"/>
                <a:gd name="connsiteX94" fmla="*/ 20898 w 157076"/>
                <a:gd name="connsiteY94" fmla="*/ 59360 h 117586"/>
                <a:gd name="connsiteX95" fmla="*/ 17479 w 157076"/>
                <a:gd name="connsiteY95" fmla="*/ 57731 h 117586"/>
                <a:gd name="connsiteX96" fmla="*/ 14602 w 157076"/>
                <a:gd name="connsiteY96" fmla="*/ 55902 h 117586"/>
                <a:gd name="connsiteX97" fmla="*/ 13049 w 157076"/>
                <a:gd name="connsiteY97" fmla="*/ 53978 h 117586"/>
                <a:gd name="connsiteX98" fmla="*/ 10601 w 157076"/>
                <a:gd name="connsiteY98" fmla="*/ 54493 h 117586"/>
                <a:gd name="connsiteX99" fmla="*/ 8944 w 157076"/>
                <a:gd name="connsiteY99" fmla="*/ 54512 h 117586"/>
                <a:gd name="connsiteX100" fmla="*/ 8963 w 157076"/>
                <a:gd name="connsiteY100" fmla="*/ 54178 h 117586"/>
                <a:gd name="connsiteX101" fmla="*/ 8020 w 157076"/>
                <a:gd name="connsiteY101" fmla="*/ 50778 h 117586"/>
                <a:gd name="connsiteX102" fmla="*/ 9010 w 157076"/>
                <a:gd name="connsiteY102" fmla="*/ 45558 h 117586"/>
                <a:gd name="connsiteX103" fmla="*/ 7220 w 157076"/>
                <a:gd name="connsiteY103" fmla="*/ 37881 h 117586"/>
                <a:gd name="connsiteX104" fmla="*/ 4296 w 157076"/>
                <a:gd name="connsiteY104" fmla="*/ 28613 h 117586"/>
                <a:gd name="connsiteX105" fmla="*/ 4086 w 157076"/>
                <a:gd name="connsiteY105" fmla="*/ 18640 h 117586"/>
                <a:gd name="connsiteX106" fmla="*/ 3877 w 157076"/>
                <a:gd name="connsiteY106" fmla="*/ 16393 h 117586"/>
                <a:gd name="connsiteX107" fmla="*/ 11059 w 157076"/>
                <a:gd name="connsiteY107" fmla="*/ 10735 h 117586"/>
                <a:gd name="connsiteX108" fmla="*/ 20117 w 157076"/>
                <a:gd name="connsiteY108" fmla="*/ 4667 h 117586"/>
                <a:gd name="connsiteX109" fmla="*/ 22174 w 157076"/>
                <a:gd name="connsiteY109" fmla="*/ 4115 h 117586"/>
                <a:gd name="connsiteX110" fmla="*/ 30518 w 157076"/>
                <a:gd name="connsiteY110" fmla="*/ 515 h 117586"/>
                <a:gd name="connsiteX111" fmla="*/ 31632 w 157076"/>
                <a:gd name="connsiteY111" fmla="*/ 229 h 117586"/>
                <a:gd name="connsiteX112" fmla="*/ 39157 w 157076"/>
                <a:gd name="connsiteY112" fmla="*/ 895 h 117586"/>
                <a:gd name="connsiteX113" fmla="*/ 45063 w 157076"/>
                <a:gd name="connsiteY113" fmla="*/ 1753 h 117586"/>
                <a:gd name="connsiteX114" fmla="*/ 50044 w 157076"/>
                <a:gd name="connsiteY114" fmla="*/ 1648 h 117586"/>
                <a:gd name="connsiteX115" fmla="*/ 52778 w 157076"/>
                <a:gd name="connsiteY115" fmla="*/ 724 h 117586"/>
                <a:gd name="connsiteX116" fmla="*/ 55255 w 157076"/>
                <a:gd name="connsiteY116" fmla="*/ 1496 h 117586"/>
                <a:gd name="connsiteX117" fmla="*/ 57245 w 157076"/>
                <a:gd name="connsiteY117" fmla="*/ 4210 h 117586"/>
                <a:gd name="connsiteX118" fmla="*/ 59303 w 157076"/>
                <a:gd name="connsiteY118" fmla="*/ 3886 h 117586"/>
                <a:gd name="connsiteX119" fmla="*/ 61332 w 157076"/>
                <a:gd name="connsiteY119" fmla="*/ 2134 h 117586"/>
                <a:gd name="connsiteX120" fmla="*/ 72476 w 157076"/>
                <a:gd name="connsiteY120" fmla="*/ 3734 h 117586"/>
                <a:gd name="connsiteX121" fmla="*/ 74990 w 157076"/>
                <a:gd name="connsiteY121" fmla="*/ 3696 h 117586"/>
                <a:gd name="connsiteX122" fmla="*/ 77819 w 157076"/>
                <a:gd name="connsiteY122" fmla="*/ 3953 h 117586"/>
                <a:gd name="connsiteX123" fmla="*/ 83039 w 157076"/>
                <a:gd name="connsiteY123" fmla="*/ 5582 h 117586"/>
                <a:gd name="connsiteX124" fmla="*/ 86049 w 157076"/>
                <a:gd name="connsiteY124" fmla="*/ 7077 h 117586"/>
                <a:gd name="connsiteX125" fmla="*/ 92659 w 157076"/>
                <a:gd name="connsiteY125" fmla="*/ 6172 h 117586"/>
                <a:gd name="connsiteX126" fmla="*/ 95488 w 157076"/>
                <a:gd name="connsiteY126" fmla="*/ 6125 h 117586"/>
                <a:gd name="connsiteX127" fmla="*/ 96964 w 157076"/>
                <a:gd name="connsiteY127" fmla="*/ 5534 h 117586"/>
                <a:gd name="connsiteX128" fmla="*/ 101527 w 157076"/>
                <a:gd name="connsiteY128" fmla="*/ 1438 h 117586"/>
                <a:gd name="connsiteX129" fmla="*/ 103498 w 157076"/>
                <a:gd name="connsiteY129" fmla="*/ 733 h 117586"/>
                <a:gd name="connsiteX130" fmla="*/ 105308 w 157076"/>
                <a:gd name="connsiteY130" fmla="*/ 0 h 117586"/>
                <a:gd name="connsiteX131" fmla="*/ 106966 w 157076"/>
                <a:gd name="connsiteY131" fmla="*/ 619 h 117586"/>
                <a:gd name="connsiteX132" fmla="*/ 108052 w 157076"/>
                <a:gd name="connsiteY132" fmla="*/ 4115 h 117586"/>
                <a:gd name="connsiteX133" fmla="*/ 111423 w 157076"/>
                <a:gd name="connsiteY133" fmla="*/ 10125 h 117586"/>
                <a:gd name="connsiteX134" fmla="*/ 115091 w 157076"/>
                <a:gd name="connsiteY134" fmla="*/ 11182 h 117586"/>
                <a:gd name="connsiteX135" fmla="*/ 125216 w 157076"/>
                <a:gd name="connsiteY135" fmla="*/ 13488 h 117586"/>
                <a:gd name="connsiteX136" fmla="*/ 127282 w 157076"/>
                <a:gd name="connsiteY136" fmla="*/ 14697 h 117586"/>
                <a:gd name="connsiteX137" fmla="*/ 132979 w 157076"/>
                <a:gd name="connsiteY137" fmla="*/ 19974 h 117586"/>
                <a:gd name="connsiteX138" fmla="*/ 136398 w 157076"/>
                <a:gd name="connsiteY138" fmla="*/ 22555 h 117586"/>
                <a:gd name="connsiteX139" fmla="*/ 138569 w 157076"/>
                <a:gd name="connsiteY139" fmla="*/ 24613 h 117586"/>
                <a:gd name="connsiteX140" fmla="*/ 141884 w 157076"/>
                <a:gd name="connsiteY140" fmla="*/ 28642 h 117586"/>
                <a:gd name="connsiteX141" fmla="*/ 143799 w 157076"/>
                <a:gd name="connsiteY141" fmla="*/ 31566 h 117586"/>
                <a:gd name="connsiteX142" fmla="*/ 146999 w 157076"/>
                <a:gd name="connsiteY142" fmla="*/ 33776 h 117586"/>
                <a:gd name="connsiteX143" fmla="*/ 150790 w 157076"/>
                <a:gd name="connsiteY143" fmla="*/ 35262 h 117586"/>
                <a:gd name="connsiteX144" fmla="*/ 152209 w 157076"/>
                <a:gd name="connsiteY144" fmla="*/ 35500 h 117586"/>
                <a:gd name="connsiteX145" fmla="*/ 1553 w 157076"/>
                <a:gd name="connsiteY145" fmla="*/ 53788 h 117586"/>
                <a:gd name="connsiteX146" fmla="*/ 0 w 157076"/>
                <a:gd name="connsiteY146" fmla="*/ 53426 h 117586"/>
                <a:gd name="connsiteX147" fmla="*/ 3057 w 157076"/>
                <a:gd name="connsiteY147" fmla="*/ 48016 h 117586"/>
                <a:gd name="connsiteX148" fmla="*/ 4229 w 157076"/>
                <a:gd name="connsiteY148" fmla="*/ 44491 h 117586"/>
                <a:gd name="connsiteX149" fmla="*/ 5039 w 157076"/>
                <a:gd name="connsiteY149" fmla="*/ 39481 h 117586"/>
                <a:gd name="connsiteX150" fmla="*/ 5753 w 157076"/>
                <a:gd name="connsiteY150" fmla="*/ 37900 h 117586"/>
                <a:gd name="connsiteX151" fmla="*/ 5772 w 157076"/>
                <a:gd name="connsiteY151" fmla="*/ 40177 h 117586"/>
                <a:gd name="connsiteX152" fmla="*/ 5458 w 157076"/>
                <a:gd name="connsiteY152" fmla="*/ 43967 h 117586"/>
                <a:gd name="connsiteX153" fmla="*/ 3524 w 157076"/>
                <a:gd name="connsiteY153" fmla="*/ 50416 h 117586"/>
                <a:gd name="connsiteX154" fmla="*/ 1553 w 157076"/>
                <a:gd name="connsiteY154" fmla="*/ 53788 h 117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157076" h="117586">
                  <a:moveTo>
                    <a:pt x="152209" y="35500"/>
                  </a:moveTo>
                  <a:lnTo>
                    <a:pt x="152143" y="37624"/>
                  </a:lnTo>
                  <a:lnTo>
                    <a:pt x="151495" y="41215"/>
                  </a:lnTo>
                  <a:lnTo>
                    <a:pt x="150228" y="45844"/>
                  </a:lnTo>
                  <a:lnTo>
                    <a:pt x="148904" y="49425"/>
                  </a:lnTo>
                  <a:lnTo>
                    <a:pt x="148580" y="50806"/>
                  </a:lnTo>
                  <a:lnTo>
                    <a:pt x="149580" y="51959"/>
                  </a:lnTo>
                  <a:lnTo>
                    <a:pt x="154553" y="52502"/>
                  </a:lnTo>
                  <a:lnTo>
                    <a:pt x="156667" y="53112"/>
                  </a:lnTo>
                  <a:lnTo>
                    <a:pt x="157076" y="54064"/>
                  </a:lnTo>
                  <a:lnTo>
                    <a:pt x="155972" y="55293"/>
                  </a:lnTo>
                  <a:lnTo>
                    <a:pt x="154381" y="56312"/>
                  </a:lnTo>
                  <a:lnTo>
                    <a:pt x="153676" y="57283"/>
                  </a:lnTo>
                  <a:lnTo>
                    <a:pt x="152409" y="60741"/>
                  </a:lnTo>
                  <a:lnTo>
                    <a:pt x="144142" y="60303"/>
                  </a:lnTo>
                  <a:lnTo>
                    <a:pt x="143047" y="61008"/>
                  </a:lnTo>
                  <a:lnTo>
                    <a:pt x="142523" y="62608"/>
                  </a:lnTo>
                  <a:lnTo>
                    <a:pt x="142113" y="64456"/>
                  </a:lnTo>
                  <a:lnTo>
                    <a:pt x="141027" y="66647"/>
                  </a:lnTo>
                  <a:lnTo>
                    <a:pt x="138836" y="68551"/>
                  </a:lnTo>
                  <a:lnTo>
                    <a:pt x="135398" y="69256"/>
                  </a:lnTo>
                  <a:lnTo>
                    <a:pt x="132588" y="70552"/>
                  </a:lnTo>
                  <a:lnTo>
                    <a:pt x="130493" y="74533"/>
                  </a:lnTo>
                  <a:lnTo>
                    <a:pt x="128931" y="79867"/>
                  </a:lnTo>
                  <a:lnTo>
                    <a:pt x="128968" y="83639"/>
                  </a:lnTo>
                  <a:lnTo>
                    <a:pt x="129168" y="85744"/>
                  </a:lnTo>
                  <a:lnTo>
                    <a:pt x="128987" y="86944"/>
                  </a:lnTo>
                  <a:lnTo>
                    <a:pt x="127930" y="88249"/>
                  </a:lnTo>
                  <a:lnTo>
                    <a:pt x="126197" y="91707"/>
                  </a:lnTo>
                  <a:lnTo>
                    <a:pt x="124787" y="95526"/>
                  </a:lnTo>
                  <a:lnTo>
                    <a:pt x="124244" y="97593"/>
                  </a:lnTo>
                  <a:lnTo>
                    <a:pt x="124511" y="98565"/>
                  </a:lnTo>
                  <a:lnTo>
                    <a:pt x="126102" y="98593"/>
                  </a:lnTo>
                  <a:lnTo>
                    <a:pt x="128397" y="99374"/>
                  </a:lnTo>
                  <a:lnTo>
                    <a:pt x="129616" y="100898"/>
                  </a:lnTo>
                  <a:lnTo>
                    <a:pt x="130064" y="102661"/>
                  </a:lnTo>
                  <a:lnTo>
                    <a:pt x="130064" y="104547"/>
                  </a:lnTo>
                  <a:lnTo>
                    <a:pt x="129635" y="105585"/>
                  </a:lnTo>
                  <a:lnTo>
                    <a:pt x="127797" y="106337"/>
                  </a:lnTo>
                  <a:lnTo>
                    <a:pt x="124920" y="106366"/>
                  </a:lnTo>
                  <a:lnTo>
                    <a:pt x="123244" y="105470"/>
                  </a:lnTo>
                  <a:lnTo>
                    <a:pt x="122901" y="104756"/>
                  </a:lnTo>
                  <a:lnTo>
                    <a:pt x="123701" y="102937"/>
                  </a:lnTo>
                  <a:lnTo>
                    <a:pt x="123120" y="100660"/>
                  </a:lnTo>
                  <a:lnTo>
                    <a:pt x="121930" y="99393"/>
                  </a:lnTo>
                  <a:lnTo>
                    <a:pt x="119510" y="101289"/>
                  </a:lnTo>
                  <a:lnTo>
                    <a:pt x="117186" y="101289"/>
                  </a:lnTo>
                  <a:lnTo>
                    <a:pt x="114405" y="102984"/>
                  </a:lnTo>
                  <a:lnTo>
                    <a:pt x="112586" y="105689"/>
                  </a:lnTo>
                  <a:lnTo>
                    <a:pt x="110843" y="106680"/>
                  </a:lnTo>
                  <a:lnTo>
                    <a:pt x="106118" y="106128"/>
                  </a:lnTo>
                  <a:lnTo>
                    <a:pt x="104947" y="107318"/>
                  </a:lnTo>
                  <a:lnTo>
                    <a:pt x="103965" y="112805"/>
                  </a:lnTo>
                  <a:lnTo>
                    <a:pt x="103404" y="113872"/>
                  </a:lnTo>
                  <a:lnTo>
                    <a:pt x="99460" y="113643"/>
                  </a:lnTo>
                  <a:lnTo>
                    <a:pt x="95659" y="115824"/>
                  </a:lnTo>
                  <a:lnTo>
                    <a:pt x="91364" y="117586"/>
                  </a:lnTo>
                  <a:lnTo>
                    <a:pt x="89192" y="116367"/>
                  </a:lnTo>
                  <a:lnTo>
                    <a:pt x="87982" y="114986"/>
                  </a:lnTo>
                  <a:lnTo>
                    <a:pt x="85639" y="115233"/>
                  </a:lnTo>
                  <a:lnTo>
                    <a:pt x="83087" y="115843"/>
                  </a:lnTo>
                  <a:lnTo>
                    <a:pt x="81372" y="115510"/>
                  </a:lnTo>
                  <a:lnTo>
                    <a:pt x="79448" y="115662"/>
                  </a:lnTo>
                  <a:lnTo>
                    <a:pt x="75733" y="116719"/>
                  </a:lnTo>
                  <a:lnTo>
                    <a:pt x="71066" y="116377"/>
                  </a:lnTo>
                  <a:lnTo>
                    <a:pt x="69075" y="115472"/>
                  </a:lnTo>
                  <a:lnTo>
                    <a:pt x="68885" y="114605"/>
                  </a:lnTo>
                  <a:lnTo>
                    <a:pt x="69028" y="112471"/>
                  </a:lnTo>
                  <a:lnTo>
                    <a:pt x="68980" y="109156"/>
                  </a:lnTo>
                  <a:lnTo>
                    <a:pt x="68237" y="106223"/>
                  </a:lnTo>
                  <a:lnTo>
                    <a:pt x="65999" y="103632"/>
                  </a:lnTo>
                  <a:lnTo>
                    <a:pt x="63655" y="101813"/>
                  </a:lnTo>
                  <a:lnTo>
                    <a:pt x="60665" y="99936"/>
                  </a:lnTo>
                  <a:lnTo>
                    <a:pt x="58455" y="99117"/>
                  </a:lnTo>
                  <a:lnTo>
                    <a:pt x="57245" y="98908"/>
                  </a:lnTo>
                  <a:lnTo>
                    <a:pt x="56969" y="97822"/>
                  </a:lnTo>
                  <a:lnTo>
                    <a:pt x="56531" y="96879"/>
                  </a:lnTo>
                  <a:lnTo>
                    <a:pt x="55493" y="96060"/>
                  </a:lnTo>
                  <a:lnTo>
                    <a:pt x="53283" y="94955"/>
                  </a:lnTo>
                  <a:lnTo>
                    <a:pt x="51406" y="94717"/>
                  </a:lnTo>
                  <a:lnTo>
                    <a:pt x="49873" y="96498"/>
                  </a:lnTo>
                  <a:lnTo>
                    <a:pt x="48749" y="94269"/>
                  </a:lnTo>
                  <a:lnTo>
                    <a:pt x="47558" y="90259"/>
                  </a:lnTo>
                  <a:lnTo>
                    <a:pt x="47682" y="87049"/>
                  </a:lnTo>
                  <a:lnTo>
                    <a:pt x="48359" y="83839"/>
                  </a:lnTo>
                  <a:lnTo>
                    <a:pt x="51606" y="74324"/>
                  </a:lnTo>
                  <a:lnTo>
                    <a:pt x="51435" y="72800"/>
                  </a:lnTo>
                  <a:lnTo>
                    <a:pt x="49073" y="70133"/>
                  </a:lnTo>
                  <a:lnTo>
                    <a:pt x="46158" y="68189"/>
                  </a:lnTo>
                  <a:lnTo>
                    <a:pt x="44548" y="64075"/>
                  </a:lnTo>
                  <a:lnTo>
                    <a:pt x="38643" y="63837"/>
                  </a:lnTo>
                  <a:lnTo>
                    <a:pt x="33071" y="64065"/>
                  </a:lnTo>
                  <a:lnTo>
                    <a:pt x="31318" y="63865"/>
                  </a:lnTo>
                  <a:lnTo>
                    <a:pt x="26013" y="62141"/>
                  </a:lnTo>
                  <a:lnTo>
                    <a:pt x="20898" y="59360"/>
                  </a:lnTo>
                  <a:lnTo>
                    <a:pt x="17479" y="57731"/>
                  </a:lnTo>
                  <a:lnTo>
                    <a:pt x="14602" y="55902"/>
                  </a:lnTo>
                  <a:lnTo>
                    <a:pt x="13049" y="53978"/>
                  </a:lnTo>
                  <a:lnTo>
                    <a:pt x="10601" y="54493"/>
                  </a:lnTo>
                  <a:lnTo>
                    <a:pt x="8944" y="54512"/>
                  </a:lnTo>
                  <a:lnTo>
                    <a:pt x="8963" y="54178"/>
                  </a:lnTo>
                  <a:lnTo>
                    <a:pt x="8020" y="50778"/>
                  </a:lnTo>
                  <a:lnTo>
                    <a:pt x="9010" y="45558"/>
                  </a:lnTo>
                  <a:lnTo>
                    <a:pt x="7220" y="37881"/>
                  </a:lnTo>
                  <a:lnTo>
                    <a:pt x="4296" y="28613"/>
                  </a:lnTo>
                  <a:lnTo>
                    <a:pt x="4086" y="18640"/>
                  </a:lnTo>
                  <a:lnTo>
                    <a:pt x="3877" y="16393"/>
                  </a:lnTo>
                  <a:lnTo>
                    <a:pt x="11059" y="10735"/>
                  </a:lnTo>
                  <a:lnTo>
                    <a:pt x="20117" y="4667"/>
                  </a:lnTo>
                  <a:lnTo>
                    <a:pt x="22174" y="4115"/>
                  </a:lnTo>
                  <a:lnTo>
                    <a:pt x="30518" y="515"/>
                  </a:lnTo>
                  <a:lnTo>
                    <a:pt x="31632" y="229"/>
                  </a:lnTo>
                  <a:lnTo>
                    <a:pt x="39157" y="895"/>
                  </a:lnTo>
                  <a:lnTo>
                    <a:pt x="45063" y="1753"/>
                  </a:lnTo>
                  <a:lnTo>
                    <a:pt x="50044" y="1648"/>
                  </a:lnTo>
                  <a:lnTo>
                    <a:pt x="52778" y="724"/>
                  </a:lnTo>
                  <a:lnTo>
                    <a:pt x="55255" y="1496"/>
                  </a:lnTo>
                  <a:lnTo>
                    <a:pt x="57245" y="4210"/>
                  </a:lnTo>
                  <a:lnTo>
                    <a:pt x="59303" y="3886"/>
                  </a:lnTo>
                  <a:lnTo>
                    <a:pt x="61332" y="2134"/>
                  </a:lnTo>
                  <a:lnTo>
                    <a:pt x="72476" y="3734"/>
                  </a:lnTo>
                  <a:lnTo>
                    <a:pt x="74990" y="3696"/>
                  </a:lnTo>
                  <a:lnTo>
                    <a:pt x="77819" y="3953"/>
                  </a:lnTo>
                  <a:lnTo>
                    <a:pt x="83039" y="5582"/>
                  </a:lnTo>
                  <a:lnTo>
                    <a:pt x="86049" y="7077"/>
                  </a:lnTo>
                  <a:lnTo>
                    <a:pt x="92659" y="6172"/>
                  </a:lnTo>
                  <a:lnTo>
                    <a:pt x="95488" y="6125"/>
                  </a:lnTo>
                  <a:lnTo>
                    <a:pt x="96964" y="5534"/>
                  </a:lnTo>
                  <a:lnTo>
                    <a:pt x="101527" y="1438"/>
                  </a:lnTo>
                  <a:lnTo>
                    <a:pt x="103498" y="733"/>
                  </a:lnTo>
                  <a:lnTo>
                    <a:pt x="105308" y="0"/>
                  </a:lnTo>
                  <a:lnTo>
                    <a:pt x="106966" y="619"/>
                  </a:lnTo>
                  <a:lnTo>
                    <a:pt x="108052" y="4115"/>
                  </a:lnTo>
                  <a:lnTo>
                    <a:pt x="111423" y="10125"/>
                  </a:lnTo>
                  <a:lnTo>
                    <a:pt x="115091" y="11182"/>
                  </a:lnTo>
                  <a:lnTo>
                    <a:pt x="125216" y="13488"/>
                  </a:lnTo>
                  <a:lnTo>
                    <a:pt x="127282" y="14697"/>
                  </a:lnTo>
                  <a:lnTo>
                    <a:pt x="132979" y="19974"/>
                  </a:lnTo>
                  <a:lnTo>
                    <a:pt x="136398" y="22555"/>
                  </a:lnTo>
                  <a:lnTo>
                    <a:pt x="138569" y="24613"/>
                  </a:lnTo>
                  <a:lnTo>
                    <a:pt x="141884" y="28642"/>
                  </a:lnTo>
                  <a:lnTo>
                    <a:pt x="143799" y="31566"/>
                  </a:lnTo>
                  <a:lnTo>
                    <a:pt x="146999" y="33776"/>
                  </a:lnTo>
                  <a:lnTo>
                    <a:pt x="150790" y="35262"/>
                  </a:lnTo>
                  <a:lnTo>
                    <a:pt x="152209" y="35500"/>
                  </a:lnTo>
                  <a:close/>
                  <a:moveTo>
                    <a:pt x="1553" y="53788"/>
                  </a:moveTo>
                  <a:lnTo>
                    <a:pt x="0" y="53426"/>
                  </a:lnTo>
                  <a:lnTo>
                    <a:pt x="3057" y="48016"/>
                  </a:lnTo>
                  <a:lnTo>
                    <a:pt x="4229" y="44491"/>
                  </a:lnTo>
                  <a:lnTo>
                    <a:pt x="5039" y="39481"/>
                  </a:lnTo>
                  <a:lnTo>
                    <a:pt x="5753" y="37900"/>
                  </a:lnTo>
                  <a:lnTo>
                    <a:pt x="5772" y="40177"/>
                  </a:lnTo>
                  <a:lnTo>
                    <a:pt x="5458" y="43967"/>
                  </a:lnTo>
                  <a:lnTo>
                    <a:pt x="3524" y="50416"/>
                  </a:lnTo>
                  <a:lnTo>
                    <a:pt x="1553" y="53788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6" name="Forme libre : forme 35">
              <a:extLst>
                <a:ext uri="{FF2B5EF4-FFF2-40B4-BE49-F238E27FC236}">
                  <a16:creationId xmlns:a16="http://schemas.microsoft.com/office/drawing/2014/main" id="{A4EC9C80-4479-139E-C645-8DBEEEF39A00}"/>
                </a:ext>
              </a:extLst>
            </p:cNvPr>
            <p:cNvSpPr/>
            <p:nvPr/>
          </p:nvSpPr>
          <p:spPr>
            <a:xfrm>
              <a:off x="5624904" y="4447924"/>
              <a:ext cx="53558" cy="74793"/>
            </a:xfrm>
            <a:custGeom>
              <a:avLst/>
              <a:gdLst>
                <a:gd name="connsiteX0" fmla="*/ 10458 w 20545"/>
                <a:gd name="connsiteY0" fmla="*/ 1924 h 29813"/>
                <a:gd name="connsiteX1" fmla="*/ 10249 w 20545"/>
                <a:gd name="connsiteY1" fmla="*/ 3038 h 29813"/>
                <a:gd name="connsiteX2" fmla="*/ 10287 w 20545"/>
                <a:gd name="connsiteY2" fmla="*/ 5525 h 29813"/>
                <a:gd name="connsiteX3" fmla="*/ 11039 w 20545"/>
                <a:gd name="connsiteY3" fmla="*/ 8011 h 29813"/>
                <a:gd name="connsiteX4" fmla="*/ 12830 w 20545"/>
                <a:gd name="connsiteY4" fmla="*/ 10468 h 29813"/>
                <a:gd name="connsiteX5" fmla="*/ 14192 w 20545"/>
                <a:gd name="connsiteY5" fmla="*/ 12240 h 29813"/>
                <a:gd name="connsiteX6" fmla="*/ 16031 w 20545"/>
                <a:gd name="connsiteY6" fmla="*/ 13659 h 29813"/>
                <a:gd name="connsiteX7" fmla="*/ 19136 w 20545"/>
                <a:gd name="connsiteY7" fmla="*/ 15002 h 29813"/>
                <a:gd name="connsiteX8" fmla="*/ 20374 w 20545"/>
                <a:gd name="connsiteY8" fmla="*/ 15288 h 29813"/>
                <a:gd name="connsiteX9" fmla="*/ 20546 w 20545"/>
                <a:gd name="connsiteY9" fmla="*/ 17107 h 29813"/>
                <a:gd name="connsiteX10" fmla="*/ 20307 w 20545"/>
                <a:gd name="connsiteY10" fmla="*/ 19031 h 29813"/>
                <a:gd name="connsiteX11" fmla="*/ 19231 w 20545"/>
                <a:gd name="connsiteY11" fmla="*/ 20088 h 29813"/>
                <a:gd name="connsiteX12" fmla="*/ 18221 w 20545"/>
                <a:gd name="connsiteY12" fmla="*/ 21622 h 29813"/>
                <a:gd name="connsiteX13" fmla="*/ 17459 w 20545"/>
                <a:gd name="connsiteY13" fmla="*/ 23479 h 29813"/>
                <a:gd name="connsiteX14" fmla="*/ 16669 w 20545"/>
                <a:gd name="connsiteY14" fmla="*/ 27051 h 29813"/>
                <a:gd name="connsiteX15" fmla="*/ 16555 w 20545"/>
                <a:gd name="connsiteY15" fmla="*/ 29518 h 29813"/>
                <a:gd name="connsiteX16" fmla="*/ 14764 w 20545"/>
                <a:gd name="connsiteY16" fmla="*/ 28499 h 29813"/>
                <a:gd name="connsiteX17" fmla="*/ 13821 w 20545"/>
                <a:gd name="connsiteY17" fmla="*/ 27804 h 29813"/>
                <a:gd name="connsiteX18" fmla="*/ 12182 w 20545"/>
                <a:gd name="connsiteY18" fmla="*/ 27613 h 29813"/>
                <a:gd name="connsiteX19" fmla="*/ 10554 w 20545"/>
                <a:gd name="connsiteY19" fmla="*/ 28185 h 29813"/>
                <a:gd name="connsiteX20" fmla="*/ 9335 w 20545"/>
                <a:gd name="connsiteY20" fmla="*/ 29432 h 29813"/>
                <a:gd name="connsiteX21" fmla="*/ 7649 w 20545"/>
                <a:gd name="connsiteY21" fmla="*/ 29813 h 29813"/>
                <a:gd name="connsiteX22" fmla="*/ 6267 w 20545"/>
                <a:gd name="connsiteY22" fmla="*/ 29432 h 29813"/>
                <a:gd name="connsiteX23" fmla="*/ 5448 w 20545"/>
                <a:gd name="connsiteY23" fmla="*/ 28499 h 29813"/>
                <a:gd name="connsiteX24" fmla="*/ 4715 w 20545"/>
                <a:gd name="connsiteY24" fmla="*/ 27994 h 29813"/>
                <a:gd name="connsiteX25" fmla="*/ 2629 w 20545"/>
                <a:gd name="connsiteY25" fmla="*/ 27365 h 29813"/>
                <a:gd name="connsiteX26" fmla="*/ 1724 w 20545"/>
                <a:gd name="connsiteY26" fmla="*/ 26003 h 29813"/>
                <a:gd name="connsiteX27" fmla="*/ 2419 w 20545"/>
                <a:gd name="connsiteY27" fmla="*/ 25365 h 29813"/>
                <a:gd name="connsiteX28" fmla="*/ 3010 w 20545"/>
                <a:gd name="connsiteY28" fmla="*/ 24355 h 29813"/>
                <a:gd name="connsiteX29" fmla="*/ 3515 w 20545"/>
                <a:gd name="connsiteY29" fmla="*/ 22936 h 29813"/>
                <a:gd name="connsiteX30" fmla="*/ 4153 w 20545"/>
                <a:gd name="connsiteY30" fmla="*/ 21631 h 29813"/>
                <a:gd name="connsiteX31" fmla="*/ 2105 w 20545"/>
                <a:gd name="connsiteY31" fmla="*/ 18021 h 29813"/>
                <a:gd name="connsiteX32" fmla="*/ 1676 w 20545"/>
                <a:gd name="connsiteY32" fmla="*/ 16916 h 29813"/>
                <a:gd name="connsiteX33" fmla="*/ 0 w 20545"/>
                <a:gd name="connsiteY33" fmla="*/ 14888 h 29813"/>
                <a:gd name="connsiteX34" fmla="*/ 19 w 20545"/>
                <a:gd name="connsiteY34" fmla="*/ 13849 h 29813"/>
                <a:gd name="connsiteX35" fmla="*/ 419 w 20545"/>
                <a:gd name="connsiteY35" fmla="*/ 12868 h 29813"/>
                <a:gd name="connsiteX36" fmla="*/ 267 w 20545"/>
                <a:gd name="connsiteY36" fmla="*/ 12097 h 29813"/>
                <a:gd name="connsiteX37" fmla="*/ 505 w 20545"/>
                <a:gd name="connsiteY37" fmla="*/ 10278 h 29813"/>
                <a:gd name="connsiteX38" fmla="*/ 1686 w 20545"/>
                <a:gd name="connsiteY38" fmla="*/ 8554 h 29813"/>
                <a:gd name="connsiteX39" fmla="*/ 2467 w 20545"/>
                <a:gd name="connsiteY39" fmla="*/ 6420 h 29813"/>
                <a:gd name="connsiteX40" fmla="*/ 3791 w 20545"/>
                <a:gd name="connsiteY40" fmla="*/ 3505 h 29813"/>
                <a:gd name="connsiteX41" fmla="*/ 6715 w 20545"/>
                <a:gd name="connsiteY41" fmla="*/ 0 h 29813"/>
                <a:gd name="connsiteX42" fmla="*/ 8811 w 20545"/>
                <a:gd name="connsiteY42" fmla="*/ 543 h 29813"/>
                <a:gd name="connsiteX43" fmla="*/ 9735 w 20545"/>
                <a:gd name="connsiteY43" fmla="*/ 524 h 29813"/>
                <a:gd name="connsiteX44" fmla="*/ 10287 w 20545"/>
                <a:gd name="connsiteY44" fmla="*/ 1810 h 29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0545" h="29813">
                  <a:moveTo>
                    <a:pt x="10458" y="1924"/>
                  </a:moveTo>
                  <a:lnTo>
                    <a:pt x="10249" y="3038"/>
                  </a:lnTo>
                  <a:lnTo>
                    <a:pt x="10287" y="5525"/>
                  </a:lnTo>
                  <a:lnTo>
                    <a:pt x="11039" y="8011"/>
                  </a:lnTo>
                  <a:lnTo>
                    <a:pt x="12830" y="10468"/>
                  </a:lnTo>
                  <a:lnTo>
                    <a:pt x="14192" y="12240"/>
                  </a:lnTo>
                  <a:lnTo>
                    <a:pt x="16031" y="13659"/>
                  </a:lnTo>
                  <a:lnTo>
                    <a:pt x="19136" y="15002"/>
                  </a:lnTo>
                  <a:lnTo>
                    <a:pt x="20374" y="15288"/>
                  </a:lnTo>
                  <a:lnTo>
                    <a:pt x="20546" y="17107"/>
                  </a:lnTo>
                  <a:lnTo>
                    <a:pt x="20307" y="19031"/>
                  </a:lnTo>
                  <a:lnTo>
                    <a:pt x="19231" y="20088"/>
                  </a:lnTo>
                  <a:lnTo>
                    <a:pt x="18221" y="21622"/>
                  </a:lnTo>
                  <a:lnTo>
                    <a:pt x="17459" y="23479"/>
                  </a:lnTo>
                  <a:lnTo>
                    <a:pt x="16669" y="27051"/>
                  </a:lnTo>
                  <a:lnTo>
                    <a:pt x="16555" y="29518"/>
                  </a:lnTo>
                  <a:lnTo>
                    <a:pt x="14764" y="28499"/>
                  </a:lnTo>
                  <a:lnTo>
                    <a:pt x="13821" y="27804"/>
                  </a:lnTo>
                  <a:lnTo>
                    <a:pt x="12182" y="27613"/>
                  </a:lnTo>
                  <a:lnTo>
                    <a:pt x="10554" y="28185"/>
                  </a:lnTo>
                  <a:lnTo>
                    <a:pt x="9335" y="29432"/>
                  </a:lnTo>
                  <a:lnTo>
                    <a:pt x="7649" y="29813"/>
                  </a:lnTo>
                  <a:lnTo>
                    <a:pt x="6267" y="29432"/>
                  </a:lnTo>
                  <a:lnTo>
                    <a:pt x="5448" y="28499"/>
                  </a:lnTo>
                  <a:lnTo>
                    <a:pt x="4715" y="27994"/>
                  </a:lnTo>
                  <a:lnTo>
                    <a:pt x="2629" y="27365"/>
                  </a:lnTo>
                  <a:lnTo>
                    <a:pt x="1724" y="26003"/>
                  </a:lnTo>
                  <a:lnTo>
                    <a:pt x="2419" y="25365"/>
                  </a:lnTo>
                  <a:lnTo>
                    <a:pt x="3010" y="24355"/>
                  </a:lnTo>
                  <a:lnTo>
                    <a:pt x="3515" y="22936"/>
                  </a:lnTo>
                  <a:lnTo>
                    <a:pt x="4153" y="21631"/>
                  </a:lnTo>
                  <a:lnTo>
                    <a:pt x="2105" y="18021"/>
                  </a:lnTo>
                  <a:lnTo>
                    <a:pt x="1676" y="16916"/>
                  </a:lnTo>
                  <a:lnTo>
                    <a:pt x="0" y="14888"/>
                  </a:lnTo>
                  <a:lnTo>
                    <a:pt x="19" y="13849"/>
                  </a:lnTo>
                  <a:lnTo>
                    <a:pt x="419" y="12868"/>
                  </a:lnTo>
                  <a:lnTo>
                    <a:pt x="267" y="12097"/>
                  </a:lnTo>
                  <a:lnTo>
                    <a:pt x="505" y="10278"/>
                  </a:lnTo>
                  <a:lnTo>
                    <a:pt x="1686" y="8554"/>
                  </a:lnTo>
                  <a:lnTo>
                    <a:pt x="2467" y="6420"/>
                  </a:lnTo>
                  <a:lnTo>
                    <a:pt x="3791" y="3505"/>
                  </a:lnTo>
                  <a:lnTo>
                    <a:pt x="6715" y="0"/>
                  </a:lnTo>
                  <a:lnTo>
                    <a:pt x="8811" y="543"/>
                  </a:lnTo>
                  <a:lnTo>
                    <a:pt x="9735" y="524"/>
                  </a:lnTo>
                  <a:lnTo>
                    <a:pt x="10287" y="1810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7" name="Forme libre : forme 36">
              <a:extLst>
                <a:ext uri="{FF2B5EF4-FFF2-40B4-BE49-F238E27FC236}">
                  <a16:creationId xmlns:a16="http://schemas.microsoft.com/office/drawing/2014/main" id="{FDF37F1E-7872-2195-94D3-D193547C2591}"/>
                </a:ext>
              </a:extLst>
            </p:cNvPr>
            <p:cNvSpPr/>
            <p:nvPr/>
          </p:nvSpPr>
          <p:spPr>
            <a:xfrm>
              <a:off x="6690379" y="3543104"/>
              <a:ext cx="500820" cy="293489"/>
            </a:xfrm>
            <a:custGeom>
              <a:avLst/>
              <a:gdLst>
                <a:gd name="connsiteX0" fmla="*/ 169393 w 192119"/>
                <a:gd name="connsiteY0" fmla="*/ 26803 h 116985"/>
                <a:gd name="connsiteX1" fmla="*/ 172546 w 192119"/>
                <a:gd name="connsiteY1" fmla="*/ 27003 h 116985"/>
                <a:gd name="connsiteX2" fmla="*/ 173650 w 192119"/>
                <a:gd name="connsiteY2" fmla="*/ 27794 h 116985"/>
                <a:gd name="connsiteX3" fmla="*/ 174393 w 192119"/>
                <a:gd name="connsiteY3" fmla="*/ 31680 h 116985"/>
                <a:gd name="connsiteX4" fmla="*/ 177975 w 192119"/>
                <a:gd name="connsiteY4" fmla="*/ 34738 h 116985"/>
                <a:gd name="connsiteX5" fmla="*/ 181290 w 192119"/>
                <a:gd name="connsiteY5" fmla="*/ 37262 h 116985"/>
                <a:gd name="connsiteX6" fmla="*/ 182137 w 192119"/>
                <a:gd name="connsiteY6" fmla="*/ 38433 h 116985"/>
                <a:gd name="connsiteX7" fmla="*/ 182395 w 192119"/>
                <a:gd name="connsiteY7" fmla="*/ 40681 h 116985"/>
                <a:gd name="connsiteX8" fmla="*/ 182185 w 192119"/>
                <a:gd name="connsiteY8" fmla="*/ 43310 h 116985"/>
                <a:gd name="connsiteX9" fmla="*/ 181766 w 192119"/>
                <a:gd name="connsiteY9" fmla="*/ 44663 h 116985"/>
                <a:gd name="connsiteX10" fmla="*/ 180375 w 192119"/>
                <a:gd name="connsiteY10" fmla="*/ 46225 h 116985"/>
                <a:gd name="connsiteX11" fmla="*/ 179165 w 192119"/>
                <a:gd name="connsiteY11" fmla="*/ 50178 h 116985"/>
                <a:gd name="connsiteX12" fmla="*/ 178994 w 192119"/>
                <a:gd name="connsiteY12" fmla="*/ 53930 h 116985"/>
                <a:gd name="connsiteX13" fmla="*/ 177089 w 192119"/>
                <a:gd name="connsiteY13" fmla="*/ 60408 h 116985"/>
                <a:gd name="connsiteX14" fmla="*/ 177518 w 192119"/>
                <a:gd name="connsiteY14" fmla="*/ 60522 h 116985"/>
                <a:gd name="connsiteX15" fmla="*/ 181537 w 192119"/>
                <a:gd name="connsiteY15" fmla="*/ 59360 h 116985"/>
                <a:gd name="connsiteX16" fmla="*/ 182671 w 192119"/>
                <a:gd name="connsiteY16" fmla="*/ 60027 h 116985"/>
                <a:gd name="connsiteX17" fmla="*/ 183556 w 192119"/>
                <a:gd name="connsiteY17" fmla="*/ 61446 h 116985"/>
                <a:gd name="connsiteX18" fmla="*/ 183842 w 192119"/>
                <a:gd name="connsiteY18" fmla="*/ 65494 h 116985"/>
                <a:gd name="connsiteX19" fmla="*/ 185157 w 192119"/>
                <a:gd name="connsiteY19" fmla="*/ 67313 h 116985"/>
                <a:gd name="connsiteX20" fmla="*/ 186500 w 192119"/>
                <a:gd name="connsiteY20" fmla="*/ 70152 h 116985"/>
                <a:gd name="connsiteX21" fmla="*/ 186919 w 192119"/>
                <a:gd name="connsiteY21" fmla="*/ 72352 h 116985"/>
                <a:gd name="connsiteX22" fmla="*/ 189481 w 192119"/>
                <a:gd name="connsiteY22" fmla="*/ 74971 h 116985"/>
                <a:gd name="connsiteX23" fmla="*/ 189681 w 192119"/>
                <a:gd name="connsiteY23" fmla="*/ 76676 h 116985"/>
                <a:gd name="connsiteX24" fmla="*/ 191243 w 192119"/>
                <a:gd name="connsiteY24" fmla="*/ 82648 h 116985"/>
                <a:gd name="connsiteX25" fmla="*/ 191843 w 192119"/>
                <a:gd name="connsiteY25" fmla="*/ 86077 h 116985"/>
                <a:gd name="connsiteX26" fmla="*/ 192120 w 192119"/>
                <a:gd name="connsiteY26" fmla="*/ 88735 h 116985"/>
                <a:gd name="connsiteX27" fmla="*/ 191358 w 192119"/>
                <a:gd name="connsiteY27" fmla="*/ 92097 h 116985"/>
                <a:gd name="connsiteX28" fmla="*/ 190672 w 192119"/>
                <a:gd name="connsiteY28" fmla="*/ 94364 h 116985"/>
                <a:gd name="connsiteX29" fmla="*/ 189872 w 192119"/>
                <a:gd name="connsiteY29" fmla="*/ 94221 h 116985"/>
                <a:gd name="connsiteX30" fmla="*/ 187576 w 192119"/>
                <a:gd name="connsiteY30" fmla="*/ 94821 h 116985"/>
                <a:gd name="connsiteX31" fmla="*/ 183947 w 192119"/>
                <a:gd name="connsiteY31" fmla="*/ 97555 h 116985"/>
                <a:gd name="connsiteX32" fmla="*/ 178546 w 192119"/>
                <a:gd name="connsiteY32" fmla="*/ 103984 h 116985"/>
                <a:gd name="connsiteX33" fmla="*/ 177155 w 192119"/>
                <a:gd name="connsiteY33" fmla="*/ 105404 h 116985"/>
                <a:gd name="connsiteX34" fmla="*/ 175746 w 192119"/>
                <a:gd name="connsiteY34" fmla="*/ 110271 h 116985"/>
                <a:gd name="connsiteX35" fmla="*/ 175403 w 192119"/>
                <a:gd name="connsiteY35" fmla="*/ 110766 h 116985"/>
                <a:gd name="connsiteX36" fmla="*/ 172260 w 192119"/>
                <a:gd name="connsiteY36" fmla="*/ 110547 h 116985"/>
                <a:gd name="connsiteX37" fmla="*/ 171402 w 192119"/>
                <a:gd name="connsiteY37" fmla="*/ 110433 h 116985"/>
                <a:gd name="connsiteX38" fmla="*/ 168260 w 192119"/>
                <a:gd name="connsiteY38" fmla="*/ 110528 h 116985"/>
                <a:gd name="connsiteX39" fmla="*/ 161392 w 192119"/>
                <a:gd name="connsiteY39" fmla="*/ 109261 h 116985"/>
                <a:gd name="connsiteX40" fmla="*/ 158735 w 192119"/>
                <a:gd name="connsiteY40" fmla="*/ 110099 h 116985"/>
                <a:gd name="connsiteX41" fmla="*/ 155248 w 192119"/>
                <a:gd name="connsiteY41" fmla="*/ 115014 h 116985"/>
                <a:gd name="connsiteX42" fmla="*/ 153886 w 192119"/>
                <a:gd name="connsiteY42" fmla="*/ 115738 h 116985"/>
                <a:gd name="connsiteX43" fmla="*/ 149838 w 192119"/>
                <a:gd name="connsiteY43" fmla="*/ 116414 h 116985"/>
                <a:gd name="connsiteX44" fmla="*/ 149123 w 192119"/>
                <a:gd name="connsiteY44" fmla="*/ 116986 h 116985"/>
                <a:gd name="connsiteX45" fmla="*/ 147771 w 192119"/>
                <a:gd name="connsiteY45" fmla="*/ 116757 h 116985"/>
                <a:gd name="connsiteX46" fmla="*/ 143980 w 192119"/>
                <a:gd name="connsiteY46" fmla="*/ 115271 h 116985"/>
                <a:gd name="connsiteX47" fmla="*/ 140780 w 192119"/>
                <a:gd name="connsiteY47" fmla="*/ 113062 h 116985"/>
                <a:gd name="connsiteX48" fmla="*/ 138855 w 192119"/>
                <a:gd name="connsiteY48" fmla="*/ 110137 h 116985"/>
                <a:gd name="connsiteX49" fmla="*/ 135541 w 192119"/>
                <a:gd name="connsiteY49" fmla="*/ 106108 h 116985"/>
                <a:gd name="connsiteX50" fmla="*/ 133369 w 192119"/>
                <a:gd name="connsiteY50" fmla="*/ 104051 h 116985"/>
                <a:gd name="connsiteX51" fmla="*/ 129950 w 192119"/>
                <a:gd name="connsiteY51" fmla="*/ 101470 h 116985"/>
                <a:gd name="connsiteX52" fmla="*/ 124254 w 192119"/>
                <a:gd name="connsiteY52" fmla="*/ 96183 h 116985"/>
                <a:gd name="connsiteX53" fmla="*/ 122187 w 192119"/>
                <a:gd name="connsiteY53" fmla="*/ 94974 h 116985"/>
                <a:gd name="connsiteX54" fmla="*/ 112052 w 192119"/>
                <a:gd name="connsiteY54" fmla="*/ 92669 h 116985"/>
                <a:gd name="connsiteX55" fmla="*/ 108395 w 192119"/>
                <a:gd name="connsiteY55" fmla="*/ 91612 h 116985"/>
                <a:gd name="connsiteX56" fmla="*/ 105023 w 192119"/>
                <a:gd name="connsiteY56" fmla="*/ 85601 h 116985"/>
                <a:gd name="connsiteX57" fmla="*/ 103937 w 192119"/>
                <a:gd name="connsiteY57" fmla="*/ 82096 h 116985"/>
                <a:gd name="connsiteX58" fmla="*/ 102280 w 192119"/>
                <a:gd name="connsiteY58" fmla="*/ 81477 h 116985"/>
                <a:gd name="connsiteX59" fmla="*/ 100460 w 192119"/>
                <a:gd name="connsiteY59" fmla="*/ 82210 h 116985"/>
                <a:gd name="connsiteX60" fmla="*/ 98498 w 192119"/>
                <a:gd name="connsiteY60" fmla="*/ 82915 h 116985"/>
                <a:gd name="connsiteX61" fmla="*/ 93936 w 192119"/>
                <a:gd name="connsiteY61" fmla="*/ 87011 h 116985"/>
                <a:gd name="connsiteX62" fmla="*/ 92459 w 192119"/>
                <a:gd name="connsiteY62" fmla="*/ 87592 h 116985"/>
                <a:gd name="connsiteX63" fmla="*/ 89631 w 192119"/>
                <a:gd name="connsiteY63" fmla="*/ 87639 h 116985"/>
                <a:gd name="connsiteX64" fmla="*/ 83020 w 192119"/>
                <a:gd name="connsiteY64" fmla="*/ 88544 h 116985"/>
                <a:gd name="connsiteX65" fmla="*/ 80010 w 192119"/>
                <a:gd name="connsiteY65" fmla="*/ 87049 h 116985"/>
                <a:gd name="connsiteX66" fmla="*/ 74791 w 192119"/>
                <a:gd name="connsiteY66" fmla="*/ 85420 h 116985"/>
                <a:gd name="connsiteX67" fmla="*/ 71952 w 192119"/>
                <a:gd name="connsiteY67" fmla="*/ 85163 h 116985"/>
                <a:gd name="connsiteX68" fmla="*/ 69438 w 192119"/>
                <a:gd name="connsiteY68" fmla="*/ 85201 h 116985"/>
                <a:gd name="connsiteX69" fmla="*/ 58293 w 192119"/>
                <a:gd name="connsiteY69" fmla="*/ 83601 h 116985"/>
                <a:gd name="connsiteX70" fmla="*/ 56265 w 192119"/>
                <a:gd name="connsiteY70" fmla="*/ 85354 h 116985"/>
                <a:gd name="connsiteX71" fmla="*/ 54207 w 192119"/>
                <a:gd name="connsiteY71" fmla="*/ 85668 h 116985"/>
                <a:gd name="connsiteX72" fmla="*/ 52216 w 192119"/>
                <a:gd name="connsiteY72" fmla="*/ 82953 h 116985"/>
                <a:gd name="connsiteX73" fmla="*/ 49730 w 192119"/>
                <a:gd name="connsiteY73" fmla="*/ 82182 h 116985"/>
                <a:gd name="connsiteX74" fmla="*/ 46997 w 192119"/>
                <a:gd name="connsiteY74" fmla="*/ 83106 h 116985"/>
                <a:gd name="connsiteX75" fmla="*/ 42015 w 192119"/>
                <a:gd name="connsiteY75" fmla="*/ 83210 h 116985"/>
                <a:gd name="connsiteX76" fmla="*/ 36109 w 192119"/>
                <a:gd name="connsiteY76" fmla="*/ 82353 h 116985"/>
                <a:gd name="connsiteX77" fmla="*/ 28594 w 192119"/>
                <a:gd name="connsiteY77" fmla="*/ 81686 h 116985"/>
                <a:gd name="connsiteX78" fmla="*/ 27480 w 192119"/>
                <a:gd name="connsiteY78" fmla="*/ 81972 h 116985"/>
                <a:gd name="connsiteX79" fmla="*/ 19126 w 192119"/>
                <a:gd name="connsiteY79" fmla="*/ 85582 h 116985"/>
                <a:gd name="connsiteX80" fmla="*/ 17069 w 192119"/>
                <a:gd name="connsiteY80" fmla="*/ 86125 h 116985"/>
                <a:gd name="connsiteX81" fmla="*/ 8011 w 192119"/>
                <a:gd name="connsiteY81" fmla="*/ 92192 h 116985"/>
                <a:gd name="connsiteX82" fmla="*/ 829 w 192119"/>
                <a:gd name="connsiteY82" fmla="*/ 97850 h 116985"/>
                <a:gd name="connsiteX83" fmla="*/ 0 w 192119"/>
                <a:gd name="connsiteY83" fmla="*/ 88802 h 116985"/>
                <a:gd name="connsiteX84" fmla="*/ 438 w 192119"/>
                <a:gd name="connsiteY84" fmla="*/ 70571 h 116985"/>
                <a:gd name="connsiteX85" fmla="*/ 1505 w 192119"/>
                <a:gd name="connsiteY85" fmla="*/ 61474 h 116985"/>
                <a:gd name="connsiteX86" fmla="*/ 6477 w 192119"/>
                <a:gd name="connsiteY86" fmla="*/ 56150 h 116985"/>
                <a:gd name="connsiteX87" fmla="*/ 8973 w 192119"/>
                <a:gd name="connsiteY87" fmla="*/ 51997 h 116985"/>
                <a:gd name="connsiteX88" fmla="*/ 10420 w 192119"/>
                <a:gd name="connsiteY88" fmla="*/ 46434 h 116985"/>
                <a:gd name="connsiteX89" fmla="*/ 10859 w 192119"/>
                <a:gd name="connsiteY89" fmla="*/ 41272 h 116985"/>
                <a:gd name="connsiteX90" fmla="*/ 11868 w 192119"/>
                <a:gd name="connsiteY90" fmla="*/ 36995 h 116985"/>
                <a:gd name="connsiteX91" fmla="*/ 19079 w 192119"/>
                <a:gd name="connsiteY91" fmla="*/ 24670 h 116985"/>
                <a:gd name="connsiteX92" fmla="*/ 24785 w 192119"/>
                <a:gd name="connsiteY92" fmla="*/ 23336 h 116985"/>
                <a:gd name="connsiteX93" fmla="*/ 32518 w 192119"/>
                <a:gd name="connsiteY93" fmla="*/ 19898 h 116985"/>
                <a:gd name="connsiteX94" fmla="*/ 41158 w 192119"/>
                <a:gd name="connsiteY94" fmla="*/ 17031 h 116985"/>
                <a:gd name="connsiteX95" fmla="*/ 42825 w 192119"/>
                <a:gd name="connsiteY95" fmla="*/ 20679 h 116985"/>
                <a:gd name="connsiteX96" fmla="*/ 43672 w 192119"/>
                <a:gd name="connsiteY96" fmla="*/ 23460 h 116985"/>
                <a:gd name="connsiteX97" fmla="*/ 54073 w 192119"/>
                <a:gd name="connsiteY97" fmla="*/ 33547 h 116985"/>
                <a:gd name="connsiteX98" fmla="*/ 56722 w 192119"/>
                <a:gd name="connsiteY98" fmla="*/ 36928 h 116985"/>
                <a:gd name="connsiteX99" fmla="*/ 60741 w 192119"/>
                <a:gd name="connsiteY99" fmla="*/ 48454 h 116985"/>
                <a:gd name="connsiteX100" fmla="*/ 70381 w 192119"/>
                <a:gd name="connsiteY100" fmla="*/ 54283 h 116985"/>
                <a:gd name="connsiteX101" fmla="*/ 77953 w 192119"/>
                <a:gd name="connsiteY101" fmla="*/ 52445 h 116985"/>
                <a:gd name="connsiteX102" fmla="*/ 81249 w 192119"/>
                <a:gd name="connsiteY102" fmla="*/ 49616 h 116985"/>
                <a:gd name="connsiteX103" fmla="*/ 87316 w 192119"/>
                <a:gd name="connsiteY103" fmla="*/ 44396 h 116985"/>
                <a:gd name="connsiteX104" fmla="*/ 90021 w 192119"/>
                <a:gd name="connsiteY104" fmla="*/ 40567 h 116985"/>
                <a:gd name="connsiteX105" fmla="*/ 90574 w 192119"/>
                <a:gd name="connsiteY105" fmla="*/ 36871 h 116985"/>
                <a:gd name="connsiteX106" fmla="*/ 89497 w 192119"/>
                <a:gd name="connsiteY106" fmla="*/ 20964 h 116985"/>
                <a:gd name="connsiteX107" fmla="*/ 87859 w 192119"/>
                <a:gd name="connsiteY107" fmla="*/ 14030 h 116985"/>
                <a:gd name="connsiteX108" fmla="*/ 88411 w 192119"/>
                <a:gd name="connsiteY108" fmla="*/ 9706 h 116985"/>
                <a:gd name="connsiteX109" fmla="*/ 89478 w 192119"/>
                <a:gd name="connsiteY109" fmla="*/ 9925 h 116985"/>
                <a:gd name="connsiteX110" fmla="*/ 92060 w 192119"/>
                <a:gd name="connsiteY110" fmla="*/ 7829 h 116985"/>
                <a:gd name="connsiteX111" fmla="*/ 100527 w 192119"/>
                <a:gd name="connsiteY111" fmla="*/ 3943 h 116985"/>
                <a:gd name="connsiteX112" fmla="*/ 102222 w 192119"/>
                <a:gd name="connsiteY112" fmla="*/ 3762 h 116985"/>
                <a:gd name="connsiteX113" fmla="*/ 104156 w 192119"/>
                <a:gd name="connsiteY113" fmla="*/ 2972 h 116985"/>
                <a:gd name="connsiteX114" fmla="*/ 109490 w 192119"/>
                <a:gd name="connsiteY114" fmla="*/ 0 h 116985"/>
                <a:gd name="connsiteX115" fmla="*/ 111214 w 192119"/>
                <a:gd name="connsiteY115" fmla="*/ 1581 h 116985"/>
                <a:gd name="connsiteX116" fmla="*/ 112643 w 192119"/>
                <a:gd name="connsiteY116" fmla="*/ 3372 h 116985"/>
                <a:gd name="connsiteX117" fmla="*/ 113424 w 192119"/>
                <a:gd name="connsiteY117" fmla="*/ 3391 h 116985"/>
                <a:gd name="connsiteX118" fmla="*/ 113815 w 192119"/>
                <a:gd name="connsiteY118" fmla="*/ 2724 h 116985"/>
                <a:gd name="connsiteX119" fmla="*/ 113710 w 192119"/>
                <a:gd name="connsiteY119" fmla="*/ 1572 h 116985"/>
                <a:gd name="connsiteX120" fmla="*/ 114081 w 192119"/>
                <a:gd name="connsiteY120" fmla="*/ 753 h 116985"/>
                <a:gd name="connsiteX121" fmla="*/ 115614 w 192119"/>
                <a:gd name="connsiteY121" fmla="*/ 1210 h 116985"/>
                <a:gd name="connsiteX122" fmla="*/ 121797 w 192119"/>
                <a:gd name="connsiteY122" fmla="*/ 6077 h 116985"/>
                <a:gd name="connsiteX123" fmla="*/ 124168 w 192119"/>
                <a:gd name="connsiteY123" fmla="*/ 7220 h 116985"/>
                <a:gd name="connsiteX124" fmla="*/ 125797 w 192119"/>
                <a:gd name="connsiteY124" fmla="*/ 7534 h 116985"/>
                <a:gd name="connsiteX125" fmla="*/ 127740 w 192119"/>
                <a:gd name="connsiteY125" fmla="*/ 9811 h 116985"/>
                <a:gd name="connsiteX126" fmla="*/ 133017 w 192119"/>
                <a:gd name="connsiteY126" fmla="*/ 11325 h 116985"/>
                <a:gd name="connsiteX127" fmla="*/ 133665 w 192119"/>
                <a:gd name="connsiteY127" fmla="*/ 12497 h 116985"/>
                <a:gd name="connsiteX128" fmla="*/ 134064 w 192119"/>
                <a:gd name="connsiteY128" fmla="*/ 13964 h 116985"/>
                <a:gd name="connsiteX129" fmla="*/ 139008 w 192119"/>
                <a:gd name="connsiteY129" fmla="*/ 20098 h 116985"/>
                <a:gd name="connsiteX130" fmla="*/ 141227 w 192119"/>
                <a:gd name="connsiteY130" fmla="*/ 23174 h 116985"/>
                <a:gd name="connsiteX131" fmla="*/ 145609 w 192119"/>
                <a:gd name="connsiteY131" fmla="*/ 25994 h 116985"/>
                <a:gd name="connsiteX132" fmla="*/ 147495 w 192119"/>
                <a:gd name="connsiteY132" fmla="*/ 26661 h 116985"/>
                <a:gd name="connsiteX133" fmla="*/ 155172 w 192119"/>
                <a:gd name="connsiteY133" fmla="*/ 23784 h 116985"/>
                <a:gd name="connsiteX134" fmla="*/ 157306 w 192119"/>
                <a:gd name="connsiteY134" fmla="*/ 22793 h 116985"/>
                <a:gd name="connsiteX135" fmla="*/ 159078 w 192119"/>
                <a:gd name="connsiteY135" fmla="*/ 22774 h 116985"/>
                <a:gd name="connsiteX136" fmla="*/ 160877 w 192119"/>
                <a:gd name="connsiteY136" fmla="*/ 24289 h 116985"/>
                <a:gd name="connsiteX137" fmla="*/ 164992 w 192119"/>
                <a:gd name="connsiteY137" fmla="*/ 26298 h 116985"/>
                <a:gd name="connsiteX138" fmla="*/ 168716 w 192119"/>
                <a:gd name="connsiteY138" fmla="*/ 26937 h 11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92119" h="116985">
                  <a:moveTo>
                    <a:pt x="169393" y="26803"/>
                  </a:moveTo>
                  <a:lnTo>
                    <a:pt x="172546" y="27003"/>
                  </a:lnTo>
                  <a:lnTo>
                    <a:pt x="173650" y="27794"/>
                  </a:lnTo>
                  <a:lnTo>
                    <a:pt x="174393" y="31680"/>
                  </a:lnTo>
                  <a:lnTo>
                    <a:pt x="177975" y="34738"/>
                  </a:lnTo>
                  <a:lnTo>
                    <a:pt x="181290" y="37262"/>
                  </a:lnTo>
                  <a:lnTo>
                    <a:pt x="182137" y="38433"/>
                  </a:lnTo>
                  <a:lnTo>
                    <a:pt x="182395" y="40681"/>
                  </a:lnTo>
                  <a:lnTo>
                    <a:pt x="182185" y="43310"/>
                  </a:lnTo>
                  <a:lnTo>
                    <a:pt x="181766" y="44663"/>
                  </a:lnTo>
                  <a:lnTo>
                    <a:pt x="180375" y="46225"/>
                  </a:lnTo>
                  <a:lnTo>
                    <a:pt x="179165" y="50178"/>
                  </a:lnTo>
                  <a:lnTo>
                    <a:pt x="178994" y="53930"/>
                  </a:lnTo>
                  <a:lnTo>
                    <a:pt x="177089" y="60408"/>
                  </a:lnTo>
                  <a:lnTo>
                    <a:pt x="177518" y="60522"/>
                  </a:lnTo>
                  <a:lnTo>
                    <a:pt x="181537" y="59360"/>
                  </a:lnTo>
                  <a:lnTo>
                    <a:pt x="182671" y="60027"/>
                  </a:lnTo>
                  <a:lnTo>
                    <a:pt x="183556" y="61446"/>
                  </a:lnTo>
                  <a:lnTo>
                    <a:pt x="183842" y="65494"/>
                  </a:lnTo>
                  <a:lnTo>
                    <a:pt x="185157" y="67313"/>
                  </a:lnTo>
                  <a:lnTo>
                    <a:pt x="186500" y="70152"/>
                  </a:lnTo>
                  <a:lnTo>
                    <a:pt x="186919" y="72352"/>
                  </a:lnTo>
                  <a:lnTo>
                    <a:pt x="189481" y="74971"/>
                  </a:lnTo>
                  <a:lnTo>
                    <a:pt x="189681" y="76676"/>
                  </a:lnTo>
                  <a:lnTo>
                    <a:pt x="191243" y="82648"/>
                  </a:lnTo>
                  <a:lnTo>
                    <a:pt x="191843" y="86077"/>
                  </a:lnTo>
                  <a:lnTo>
                    <a:pt x="192120" y="88735"/>
                  </a:lnTo>
                  <a:lnTo>
                    <a:pt x="191358" y="92097"/>
                  </a:lnTo>
                  <a:lnTo>
                    <a:pt x="190672" y="94364"/>
                  </a:lnTo>
                  <a:lnTo>
                    <a:pt x="189872" y="94221"/>
                  </a:lnTo>
                  <a:lnTo>
                    <a:pt x="187576" y="94821"/>
                  </a:lnTo>
                  <a:lnTo>
                    <a:pt x="183947" y="97555"/>
                  </a:lnTo>
                  <a:lnTo>
                    <a:pt x="178546" y="103984"/>
                  </a:lnTo>
                  <a:lnTo>
                    <a:pt x="177155" y="105404"/>
                  </a:lnTo>
                  <a:lnTo>
                    <a:pt x="175746" y="110271"/>
                  </a:lnTo>
                  <a:lnTo>
                    <a:pt x="175403" y="110766"/>
                  </a:lnTo>
                  <a:lnTo>
                    <a:pt x="172260" y="110547"/>
                  </a:lnTo>
                  <a:lnTo>
                    <a:pt x="171402" y="110433"/>
                  </a:lnTo>
                  <a:lnTo>
                    <a:pt x="168260" y="110528"/>
                  </a:lnTo>
                  <a:lnTo>
                    <a:pt x="161392" y="109261"/>
                  </a:lnTo>
                  <a:lnTo>
                    <a:pt x="158735" y="110099"/>
                  </a:lnTo>
                  <a:lnTo>
                    <a:pt x="155248" y="115014"/>
                  </a:lnTo>
                  <a:lnTo>
                    <a:pt x="153886" y="115738"/>
                  </a:lnTo>
                  <a:lnTo>
                    <a:pt x="149838" y="116414"/>
                  </a:lnTo>
                  <a:lnTo>
                    <a:pt x="149123" y="116986"/>
                  </a:lnTo>
                  <a:lnTo>
                    <a:pt x="147771" y="116757"/>
                  </a:lnTo>
                  <a:lnTo>
                    <a:pt x="143980" y="115271"/>
                  </a:lnTo>
                  <a:lnTo>
                    <a:pt x="140780" y="113062"/>
                  </a:lnTo>
                  <a:lnTo>
                    <a:pt x="138855" y="110137"/>
                  </a:lnTo>
                  <a:lnTo>
                    <a:pt x="135541" y="106108"/>
                  </a:lnTo>
                  <a:lnTo>
                    <a:pt x="133369" y="104051"/>
                  </a:lnTo>
                  <a:lnTo>
                    <a:pt x="129950" y="101470"/>
                  </a:lnTo>
                  <a:lnTo>
                    <a:pt x="124254" y="96183"/>
                  </a:lnTo>
                  <a:lnTo>
                    <a:pt x="122187" y="94974"/>
                  </a:lnTo>
                  <a:lnTo>
                    <a:pt x="112052" y="92669"/>
                  </a:lnTo>
                  <a:lnTo>
                    <a:pt x="108395" y="91612"/>
                  </a:lnTo>
                  <a:lnTo>
                    <a:pt x="105023" y="85601"/>
                  </a:lnTo>
                  <a:lnTo>
                    <a:pt x="103937" y="82096"/>
                  </a:lnTo>
                  <a:lnTo>
                    <a:pt x="102280" y="81477"/>
                  </a:lnTo>
                  <a:lnTo>
                    <a:pt x="100460" y="82210"/>
                  </a:lnTo>
                  <a:lnTo>
                    <a:pt x="98498" y="82915"/>
                  </a:lnTo>
                  <a:lnTo>
                    <a:pt x="93936" y="87011"/>
                  </a:lnTo>
                  <a:lnTo>
                    <a:pt x="92459" y="87592"/>
                  </a:lnTo>
                  <a:lnTo>
                    <a:pt x="89631" y="87639"/>
                  </a:lnTo>
                  <a:lnTo>
                    <a:pt x="83020" y="88544"/>
                  </a:lnTo>
                  <a:lnTo>
                    <a:pt x="80010" y="87049"/>
                  </a:lnTo>
                  <a:lnTo>
                    <a:pt x="74791" y="85420"/>
                  </a:lnTo>
                  <a:lnTo>
                    <a:pt x="71952" y="85163"/>
                  </a:lnTo>
                  <a:lnTo>
                    <a:pt x="69438" y="85201"/>
                  </a:lnTo>
                  <a:lnTo>
                    <a:pt x="58293" y="83601"/>
                  </a:lnTo>
                  <a:lnTo>
                    <a:pt x="56265" y="85354"/>
                  </a:lnTo>
                  <a:lnTo>
                    <a:pt x="54207" y="85668"/>
                  </a:lnTo>
                  <a:lnTo>
                    <a:pt x="52216" y="82953"/>
                  </a:lnTo>
                  <a:lnTo>
                    <a:pt x="49730" y="82182"/>
                  </a:lnTo>
                  <a:lnTo>
                    <a:pt x="46997" y="83106"/>
                  </a:lnTo>
                  <a:lnTo>
                    <a:pt x="42015" y="83210"/>
                  </a:lnTo>
                  <a:lnTo>
                    <a:pt x="36109" y="82353"/>
                  </a:lnTo>
                  <a:lnTo>
                    <a:pt x="28594" y="81686"/>
                  </a:lnTo>
                  <a:lnTo>
                    <a:pt x="27480" y="81972"/>
                  </a:lnTo>
                  <a:lnTo>
                    <a:pt x="19126" y="85582"/>
                  </a:lnTo>
                  <a:lnTo>
                    <a:pt x="17069" y="86125"/>
                  </a:lnTo>
                  <a:lnTo>
                    <a:pt x="8011" y="92192"/>
                  </a:lnTo>
                  <a:lnTo>
                    <a:pt x="829" y="97850"/>
                  </a:lnTo>
                  <a:lnTo>
                    <a:pt x="0" y="88802"/>
                  </a:lnTo>
                  <a:lnTo>
                    <a:pt x="438" y="70571"/>
                  </a:lnTo>
                  <a:lnTo>
                    <a:pt x="1505" y="61474"/>
                  </a:lnTo>
                  <a:lnTo>
                    <a:pt x="6477" y="56150"/>
                  </a:lnTo>
                  <a:lnTo>
                    <a:pt x="8973" y="51997"/>
                  </a:lnTo>
                  <a:lnTo>
                    <a:pt x="10420" y="46434"/>
                  </a:lnTo>
                  <a:lnTo>
                    <a:pt x="10859" y="41272"/>
                  </a:lnTo>
                  <a:lnTo>
                    <a:pt x="11868" y="36995"/>
                  </a:lnTo>
                  <a:lnTo>
                    <a:pt x="19079" y="24670"/>
                  </a:lnTo>
                  <a:lnTo>
                    <a:pt x="24785" y="23336"/>
                  </a:lnTo>
                  <a:lnTo>
                    <a:pt x="32518" y="19898"/>
                  </a:lnTo>
                  <a:lnTo>
                    <a:pt x="41158" y="17031"/>
                  </a:lnTo>
                  <a:lnTo>
                    <a:pt x="42825" y="20679"/>
                  </a:lnTo>
                  <a:lnTo>
                    <a:pt x="43672" y="23460"/>
                  </a:lnTo>
                  <a:lnTo>
                    <a:pt x="54073" y="33547"/>
                  </a:lnTo>
                  <a:lnTo>
                    <a:pt x="56722" y="36928"/>
                  </a:lnTo>
                  <a:lnTo>
                    <a:pt x="60741" y="48454"/>
                  </a:lnTo>
                  <a:lnTo>
                    <a:pt x="70381" y="54283"/>
                  </a:lnTo>
                  <a:lnTo>
                    <a:pt x="77953" y="52445"/>
                  </a:lnTo>
                  <a:lnTo>
                    <a:pt x="81249" y="49616"/>
                  </a:lnTo>
                  <a:lnTo>
                    <a:pt x="87316" y="44396"/>
                  </a:lnTo>
                  <a:lnTo>
                    <a:pt x="90021" y="40567"/>
                  </a:lnTo>
                  <a:lnTo>
                    <a:pt x="90574" y="36871"/>
                  </a:lnTo>
                  <a:lnTo>
                    <a:pt x="89497" y="20964"/>
                  </a:lnTo>
                  <a:lnTo>
                    <a:pt x="87859" y="14030"/>
                  </a:lnTo>
                  <a:lnTo>
                    <a:pt x="88411" y="9706"/>
                  </a:lnTo>
                  <a:lnTo>
                    <a:pt x="89478" y="9925"/>
                  </a:lnTo>
                  <a:lnTo>
                    <a:pt x="92060" y="7829"/>
                  </a:lnTo>
                  <a:lnTo>
                    <a:pt x="100527" y="3943"/>
                  </a:lnTo>
                  <a:lnTo>
                    <a:pt x="102222" y="3762"/>
                  </a:lnTo>
                  <a:lnTo>
                    <a:pt x="104156" y="2972"/>
                  </a:lnTo>
                  <a:lnTo>
                    <a:pt x="109490" y="0"/>
                  </a:lnTo>
                  <a:lnTo>
                    <a:pt x="111214" y="1581"/>
                  </a:lnTo>
                  <a:lnTo>
                    <a:pt x="112643" y="3372"/>
                  </a:lnTo>
                  <a:lnTo>
                    <a:pt x="113424" y="3391"/>
                  </a:lnTo>
                  <a:lnTo>
                    <a:pt x="113815" y="2724"/>
                  </a:lnTo>
                  <a:lnTo>
                    <a:pt x="113710" y="1572"/>
                  </a:lnTo>
                  <a:lnTo>
                    <a:pt x="114081" y="753"/>
                  </a:lnTo>
                  <a:lnTo>
                    <a:pt x="115614" y="1210"/>
                  </a:lnTo>
                  <a:lnTo>
                    <a:pt x="121797" y="6077"/>
                  </a:lnTo>
                  <a:lnTo>
                    <a:pt x="124168" y="7220"/>
                  </a:lnTo>
                  <a:lnTo>
                    <a:pt x="125797" y="7534"/>
                  </a:lnTo>
                  <a:lnTo>
                    <a:pt x="127740" y="9811"/>
                  </a:lnTo>
                  <a:lnTo>
                    <a:pt x="133017" y="11325"/>
                  </a:lnTo>
                  <a:lnTo>
                    <a:pt x="133665" y="12497"/>
                  </a:lnTo>
                  <a:lnTo>
                    <a:pt x="134064" y="13964"/>
                  </a:lnTo>
                  <a:lnTo>
                    <a:pt x="139008" y="20098"/>
                  </a:lnTo>
                  <a:lnTo>
                    <a:pt x="141227" y="23174"/>
                  </a:lnTo>
                  <a:lnTo>
                    <a:pt x="145609" y="25994"/>
                  </a:lnTo>
                  <a:lnTo>
                    <a:pt x="147495" y="26661"/>
                  </a:lnTo>
                  <a:lnTo>
                    <a:pt x="155172" y="23784"/>
                  </a:lnTo>
                  <a:lnTo>
                    <a:pt x="157306" y="22793"/>
                  </a:lnTo>
                  <a:lnTo>
                    <a:pt x="159078" y="22774"/>
                  </a:lnTo>
                  <a:lnTo>
                    <a:pt x="160877" y="24289"/>
                  </a:lnTo>
                  <a:lnTo>
                    <a:pt x="164992" y="26298"/>
                  </a:lnTo>
                  <a:lnTo>
                    <a:pt x="168716" y="26937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8" name="Forme libre : forme 37">
              <a:extLst>
                <a:ext uri="{FF2B5EF4-FFF2-40B4-BE49-F238E27FC236}">
                  <a16:creationId xmlns:a16="http://schemas.microsoft.com/office/drawing/2014/main" id="{E8E38809-A1BE-606F-E853-D8A4187EED2D}"/>
                </a:ext>
              </a:extLst>
            </p:cNvPr>
            <p:cNvSpPr/>
            <p:nvPr/>
          </p:nvSpPr>
          <p:spPr>
            <a:xfrm>
              <a:off x="5740065" y="5075648"/>
              <a:ext cx="4243" cy="3630"/>
            </a:xfrm>
            <a:custGeom>
              <a:avLst/>
              <a:gdLst>
                <a:gd name="connsiteX0" fmla="*/ 1629 w 1628"/>
                <a:gd name="connsiteY0" fmla="*/ 752 h 1447"/>
                <a:gd name="connsiteX1" fmla="*/ 0 w 1628"/>
                <a:gd name="connsiteY1" fmla="*/ 1448 h 1447"/>
                <a:gd name="connsiteX2" fmla="*/ 67 w 1628"/>
                <a:gd name="connsiteY2" fmla="*/ 648 h 1447"/>
                <a:gd name="connsiteX3" fmla="*/ 467 w 1628"/>
                <a:gd name="connsiteY3" fmla="*/ 210 h 1447"/>
                <a:gd name="connsiteX4" fmla="*/ 981 w 1628"/>
                <a:gd name="connsiteY4" fmla="*/ 0 h 1447"/>
                <a:gd name="connsiteX5" fmla="*/ 1581 w 1628"/>
                <a:gd name="connsiteY5" fmla="*/ 352 h 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28" h="1447">
                  <a:moveTo>
                    <a:pt x="1629" y="752"/>
                  </a:moveTo>
                  <a:lnTo>
                    <a:pt x="0" y="1448"/>
                  </a:lnTo>
                  <a:lnTo>
                    <a:pt x="67" y="648"/>
                  </a:lnTo>
                  <a:lnTo>
                    <a:pt x="467" y="210"/>
                  </a:lnTo>
                  <a:lnTo>
                    <a:pt x="981" y="0"/>
                  </a:lnTo>
                  <a:lnTo>
                    <a:pt x="1581" y="352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9" name="Forme libre : forme 38">
              <a:extLst>
                <a:ext uri="{FF2B5EF4-FFF2-40B4-BE49-F238E27FC236}">
                  <a16:creationId xmlns:a16="http://schemas.microsoft.com/office/drawing/2014/main" id="{D940A933-F001-0340-DBF2-04908DE4D3BF}"/>
                </a:ext>
              </a:extLst>
            </p:cNvPr>
            <p:cNvSpPr/>
            <p:nvPr/>
          </p:nvSpPr>
          <p:spPr>
            <a:xfrm>
              <a:off x="7080881" y="4621289"/>
              <a:ext cx="244746" cy="296665"/>
            </a:xfrm>
            <a:custGeom>
              <a:avLst/>
              <a:gdLst>
                <a:gd name="connsiteX0" fmla="*/ 42596 w 93887"/>
                <a:gd name="connsiteY0" fmla="*/ 118253 h 118252"/>
                <a:gd name="connsiteX1" fmla="*/ 41262 w 93887"/>
                <a:gd name="connsiteY1" fmla="*/ 115843 h 118252"/>
                <a:gd name="connsiteX2" fmla="*/ 39909 w 93887"/>
                <a:gd name="connsiteY2" fmla="*/ 113738 h 118252"/>
                <a:gd name="connsiteX3" fmla="*/ 38919 w 93887"/>
                <a:gd name="connsiteY3" fmla="*/ 112604 h 118252"/>
                <a:gd name="connsiteX4" fmla="*/ 39338 w 93887"/>
                <a:gd name="connsiteY4" fmla="*/ 112081 h 118252"/>
                <a:gd name="connsiteX5" fmla="*/ 40414 w 93887"/>
                <a:gd name="connsiteY5" fmla="*/ 111481 h 118252"/>
                <a:gd name="connsiteX6" fmla="*/ 41186 w 93887"/>
                <a:gd name="connsiteY6" fmla="*/ 110766 h 118252"/>
                <a:gd name="connsiteX7" fmla="*/ 41100 w 93887"/>
                <a:gd name="connsiteY7" fmla="*/ 108252 h 118252"/>
                <a:gd name="connsiteX8" fmla="*/ 40528 w 93887"/>
                <a:gd name="connsiteY8" fmla="*/ 105356 h 118252"/>
                <a:gd name="connsiteX9" fmla="*/ 40005 w 93887"/>
                <a:gd name="connsiteY9" fmla="*/ 103956 h 118252"/>
                <a:gd name="connsiteX10" fmla="*/ 39957 w 93887"/>
                <a:gd name="connsiteY10" fmla="*/ 101756 h 118252"/>
                <a:gd name="connsiteX11" fmla="*/ 39585 w 93887"/>
                <a:gd name="connsiteY11" fmla="*/ 98327 h 118252"/>
                <a:gd name="connsiteX12" fmla="*/ 40110 w 93887"/>
                <a:gd name="connsiteY12" fmla="*/ 91945 h 118252"/>
                <a:gd name="connsiteX13" fmla="*/ 42262 w 93887"/>
                <a:gd name="connsiteY13" fmla="*/ 83906 h 118252"/>
                <a:gd name="connsiteX14" fmla="*/ 43453 w 93887"/>
                <a:gd name="connsiteY14" fmla="*/ 79896 h 118252"/>
                <a:gd name="connsiteX15" fmla="*/ 42872 w 93887"/>
                <a:gd name="connsiteY15" fmla="*/ 77696 h 118252"/>
                <a:gd name="connsiteX16" fmla="*/ 43319 w 93887"/>
                <a:gd name="connsiteY16" fmla="*/ 72552 h 118252"/>
                <a:gd name="connsiteX17" fmla="*/ 42386 w 93887"/>
                <a:gd name="connsiteY17" fmla="*/ 70009 h 118252"/>
                <a:gd name="connsiteX18" fmla="*/ 40929 w 93887"/>
                <a:gd name="connsiteY18" fmla="*/ 66675 h 118252"/>
                <a:gd name="connsiteX19" fmla="*/ 38842 w 93887"/>
                <a:gd name="connsiteY19" fmla="*/ 59407 h 118252"/>
                <a:gd name="connsiteX20" fmla="*/ 36233 w 93887"/>
                <a:gd name="connsiteY20" fmla="*/ 56874 h 118252"/>
                <a:gd name="connsiteX21" fmla="*/ 33013 w 93887"/>
                <a:gd name="connsiteY21" fmla="*/ 54083 h 118252"/>
                <a:gd name="connsiteX22" fmla="*/ 31642 w 93887"/>
                <a:gd name="connsiteY22" fmla="*/ 51978 h 118252"/>
                <a:gd name="connsiteX23" fmla="*/ 30718 w 93887"/>
                <a:gd name="connsiteY23" fmla="*/ 49654 h 118252"/>
                <a:gd name="connsiteX24" fmla="*/ 28803 w 93887"/>
                <a:gd name="connsiteY24" fmla="*/ 47339 h 118252"/>
                <a:gd name="connsiteX25" fmla="*/ 26603 w 93887"/>
                <a:gd name="connsiteY25" fmla="*/ 45215 h 118252"/>
                <a:gd name="connsiteX26" fmla="*/ 23974 w 93887"/>
                <a:gd name="connsiteY26" fmla="*/ 39891 h 118252"/>
                <a:gd name="connsiteX27" fmla="*/ 22612 w 93887"/>
                <a:gd name="connsiteY27" fmla="*/ 37481 h 118252"/>
                <a:gd name="connsiteX28" fmla="*/ 22193 w 93887"/>
                <a:gd name="connsiteY28" fmla="*/ 36843 h 118252"/>
                <a:gd name="connsiteX29" fmla="*/ 19192 w 93887"/>
                <a:gd name="connsiteY29" fmla="*/ 33414 h 118252"/>
                <a:gd name="connsiteX30" fmla="*/ 17621 w 93887"/>
                <a:gd name="connsiteY30" fmla="*/ 30318 h 118252"/>
                <a:gd name="connsiteX31" fmla="*/ 16821 w 93887"/>
                <a:gd name="connsiteY31" fmla="*/ 27765 h 118252"/>
                <a:gd name="connsiteX32" fmla="*/ 16364 w 93887"/>
                <a:gd name="connsiteY32" fmla="*/ 25413 h 118252"/>
                <a:gd name="connsiteX33" fmla="*/ 14249 w 93887"/>
                <a:gd name="connsiteY33" fmla="*/ 20736 h 118252"/>
                <a:gd name="connsiteX34" fmla="*/ 12335 w 93887"/>
                <a:gd name="connsiteY34" fmla="*/ 17221 h 118252"/>
                <a:gd name="connsiteX35" fmla="*/ 10515 w 93887"/>
                <a:gd name="connsiteY35" fmla="*/ 14707 h 118252"/>
                <a:gd name="connsiteX36" fmla="*/ 9677 w 93887"/>
                <a:gd name="connsiteY36" fmla="*/ 12925 h 118252"/>
                <a:gd name="connsiteX37" fmla="*/ 7544 w 93887"/>
                <a:gd name="connsiteY37" fmla="*/ 10687 h 118252"/>
                <a:gd name="connsiteX38" fmla="*/ 4505 w 93887"/>
                <a:gd name="connsiteY38" fmla="*/ 8896 h 118252"/>
                <a:gd name="connsiteX39" fmla="*/ 2534 w 93887"/>
                <a:gd name="connsiteY39" fmla="*/ 8592 h 118252"/>
                <a:gd name="connsiteX40" fmla="*/ 0 w 93887"/>
                <a:gd name="connsiteY40" fmla="*/ 8734 h 118252"/>
                <a:gd name="connsiteX41" fmla="*/ 581 w 93887"/>
                <a:gd name="connsiteY41" fmla="*/ 7363 h 118252"/>
                <a:gd name="connsiteX42" fmla="*/ 6096 w 93887"/>
                <a:gd name="connsiteY42" fmla="*/ 3638 h 118252"/>
                <a:gd name="connsiteX43" fmla="*/ 7534 w 93887"/>
                <a:gd name="connsiteY43" fmla="*/ 4248 h 118252"/>
                <a:gd name="connsiteX44" fmla="*/ 10420 w 93887"/>
                <a:gd name="connsiteY44" fmla="*/ 4391 h 118252"/>
                <a:gd name="connsiteX45" fmla="*/ 16297 w 93887"/>
                <a:gd name="connsiteY45" fmla="*/ 4267 h 118252"/>
                <a:gd name="connsiteX46" fmla="*/ 19192 w 93887"/>
                <a:gd name="connsiteY46" fmla="*/ 1810 h 118252"/>
                <a:gd name="connsiteX47" fmla="*/ 20983 w 93887"/>
                <a:gd name="connsiteY47" fmla="*/ 2495 h 118252"/>
                <a:gd name="connsiteX48" fmla="*/ 22440 w 93887"/>
                <a:gd name="connsiteY48" fmla="*/ 1391 h 118252"/>
                <a:gd name="connsiteX49" fmla="*/ 24869 w 93887"/>
                <a:gd name="connsiteY49" fmla="*/ 0 h 118252"/>
                <a:gd name="connsiteX50" fmla="*/ 25222 w 93887"/>
                <a:gd name="connsiteY50" fmla="*/ 295 h 118252"/>
                <a:gd name="connsiteX51" fmla="*/ 25527 w 93887"/>
                <a:gd name="connsiteY51" fmla="*/ 515 h 118252"/>
                <a:gd name="connsiteX52" fmla="*/ 29280 w 93887"/>
                <a:gd name="connsiteY52" fmla="*/ 1133 h 118252"/>
                <a:gd name="connsiteX53" fmla="*/ 32109 w 93887"/>
                <a:gd name="connsiteY53" fmla="*/ 2467 h 118252"/>
                <a:gd name="connsiteX54" fmla="*/ 33994 w 93887"/>
                <a:gd name="connsiteY54" fmla="*/ 4515 h 118252"/>
                <a:gd name="connsiteX55" fmla="*/ 35947 w 93887"/>
                <a:gd name="connsiteY55" fmla="*/ 5782 h 118252"/>
                <a:gd name="connsiteX56" fmla="*/ 37947 w 93887"/>
                <a:gd name="connsiteY56" fmla="*/ 6277 h 118252"/>
                <a:gd name="connsiteX57" fmla="*/ 39062 w 93887"/>
                <a:gd name="connsiteY57" fmla="*/ 7306 h 118252"/>
                <a:gd name="connsiteX58" fmla="*/ 39281 w 93887"/>
                <a:gd name="connsiteY58" fmla="*/ 8849 h 118252"/>
                <a:gd name="connsiteX59" fmla="*/ 41167 w 93887"/>
                <a:gd name="connsiteY59" fmla="*/ 9611 h 118252"/>
                <a:gd name="connsiteX60" fmla="*/ 44701 w 93887"/>
                <a:gd name="connsiteY60" fmla="*/ 9592 h 118252"/>
                <a:gd name="connsiteX61" fmla="*/ 46196 w 93887"/>
                <a:gd name="connsiteY61" fmla="*/ 10611 h 118252"/>
                <a:gd name="connsiteX62" fmla="*/ 45662 w 93887"/>
                <a:gd name="connsiteY62" fmla="*/ 12678 h 118252"/>
                <a:gd name="connsiteX63" fmla="*/ 46025 w 93887"/>
                <a:gd name="connsiteY63" fmla="*/ 13354 h 118252"/>
                <a:gd name="connsiteX64" fmla="*/ 47282 w 93887"/>
                <a:gd name="connsiteY64" fmla="*/ 12649 h 118252"/>
                <a:gd name="connsiteX65" fmla="*/ 48234 w 93887"/>
                <a:gd name="connsiteY65" fmla="*/ 13259 h 118252"/>
                <a:gd name="connsiteX66" fmla="*/ 48730 w 93887"/>
                <a:gd name="connsiteY66" fmla="*/ 14783 h 118252"/>
                <a:gd name="connsiteX67" fmla="*/ 49301 w 93887"/>
                <a:gd name="connsiteY67" fmla="*/ 15507 h 118252"/>
                <a:gd name="connsiteX68" fmla="*/ 51102 w 93887"/>
                <a:gd name="connsiteY68" fmla="*/ 13116 h 118252"/>
                <a:gd name="connsiteX69" fmla="*/ 53006 w 93887"/>
                <a:gd name="connsiteY69" fmla="*/ 13354 h 118252"/>
                <a:gd name="connsiteX70" fmla="*/ 57607 w 93887"/>
                <a:gd name="connsiteY70" fmla="*/ 14345 h 118252"/>
                <a:gd name="connsiteX71" fmla="*/ 60064 w 93887"/>
                <a:gd name="connsiteY71" fmla="*/ 19288 h 118252"/>
                <a:gd name="connsiteX72" fmla="*/ 61598 w 93887"/>
                <a:gd name="connsiteY72" fmla="*/ 21060 h 118252"/>
                <a:gd name="connsiteX73" fmla="*/ 62941 w 93887"/>
                <a:gd name="connsiteY73" fmla="*/ 21784 h 118252"/>
                <a:gd name="connsiteX74" fmla="*/ 64636 w 93887"/>
                <a:gd name="connsiteY74" fmla="*/ 21012 h 118252"/>
                <a:gd name="connsiteX75" fmla="*/ 66141 w 93887"/>
                <a:gd name="connsiteY75" fmla="*/ 20098 h 118252"/>
                <a:gd name="connsiteX76" fmla="*/ 66999 w 93887"/>
                <a:gd name="connsiteY76" fmla="*/ 20526 h 118252"/>
                <a:gd name="connsiteX77" fmla="*/ 68866 w 93887"/>
                <a:gd name="connsiteY77" fmla="*/ 23794 h 118252"/>
                <a:gd name="connsiteX78" fmla="*/ 69294 w 93887"/>
                <a:gd name="connsiteY78" fmla="*/ 28061 h 118252"/>
                <a:gd name="connsiteX79" fmla="*/ 69285 w 93887"/>
                <a:gd name="connsiteY79" fmla="*/ 29775 h 118252"/>
                <a:gd name="connsiteX80" fmla="*/ 68627 w 93887"/>
                <a:gd name="connsiteY80" fmla="*/ 32671 h 118252"/>
                <a:gd name="connsiteX81" fmla="*/ 67684 w 93887"/>
                <a:gd name="connsiteY81" fmla="*/ 35738 h 118252"/>
                <a:gd name="connsiteX82" fmla="*/ 66941 w 93887"/>
                <a:gd name="connsiteY82" fmla="*/ 37738 h 118252"/>
                <a:gd name="connsiteX83" fmla="*/ 67256 w 93887"/>
                <a:gd name="connsiteY83" fmla="*/ 39338 h 118252"/>
                <a:gd name="connsiteX84" fmla="*/ 67923 w 93887"/>
                <a:gd name="connsiteY84" fmla="*/ 40681 h 118252"/>
                <a:gd name="connsiteX85" fmla="*/ 69009 w 93887"/>
                <a:gd name="connsiteY85" fmla="*/ 41120 h 118252"/>
                <a:gd name="connsiteX86" fmla="*/ 72571 w 93887"/>
                <a:gd name="connsiteY86" fmla="*/ 43825 h 118252"/>
                <a:gd name="connsiteX87" fmla="*/ 73904 w 93887"/>
                <a:gd name="connsiteY87" fmla="*/ 45711 h 118252"/>
                <a:gd name="connsiteX88" fmla="*/ 75838 w 93887"/>
                <a:gd name="connsiteY88" fmla="*/ 47101 h 118252"/>
                <a:gd name="connsiteX89" fmla="*/ 77305 w 93887"/>
                <a:gd name="connsiteY89" fmla="*/ 47177 h 118252"/>
                <a:gd name="connsiteX90" fmla="*/ 78067 w 93887"/>
                <a:gd name="connsiteY90" fmla="*/ 47949 h 118252"/>
                <a:gd name="connsiteX91" fmla="*/ 78334 w 93887"/>
                <a:gd name="connsiteY91" fmla="*/ 48901 h 118252"/>
                <a:gd name="connsiteX92" fmla="*/ 78133 w 93887"/>
                <a:gd name="connsiteY92" fmla="*/ 51302 h 118252"/>
                <a:gd name="connsiteX93" fmla="*/ 77314 w 93887"/>
                <a:gd name="connsiteY93" fmla="*/ 53550 h 118252"/>
                <a:gd name="connsiteX94" fmla="*/ 77419 w 93887"/>
                <a:gd name="connsiteY94" fmla="*/ 54998 h 118252"/>
                <a:gd name="connsiteX95" fmla="*/ 78714 w 93887"/>
                <a:gd name="connsiteY95" fmla="*/ 56712 h 118252"/>
                <a:gd name="connsiteX96" fmla="*/ 78857 w 93887"/>
                <a:gd name="connsiteY96" fmla="*/ 58693 h 118252"/>
                <a:gd name="connsiteX97" fmla="*/ 78943 w 93887"/>
                <a:gd name="connsiteY97" fmla="*/ 59969 h 118252"/>
                <a:gd name="connsiteX98" fmla="*/ 79629 w 93887"/>
                <a:gd name="connsiteY98" fmla="*/ 60951 h 118252"/>
                <a:gd name="connsiteX99" fmla="*/ 82896 w 93887"/>
                <a:gd name="connsiteY99" fmla="*/ 63132 h 118252"/>
                <a:gd name="connsiteX100" fmla="*/ 87116 w 93887"/>
                <a:gd name="connsiteY100" fmla="*/ 65237 h 118252"/>
                <a:gd name="connsiteX101" fmla="*/ 88192 w 93887"/>
                <a:gd name="connsiteY101" fmla="*/ 67046 h 118252"/>
                <a:gd name="connsiteX102" fmla="*/ 88849 w 93887"/>
                <a:gd name="connsiteY102" fmla="*/ 69332 h 118252"/>
                <a:gd name="connsiteX103" fmla="*/ 88639 w 93887"/>
                <a:gd name="connsiteY103" fmla="*/ 73171 h 118252"/>
                <a:gd name="connsiteX104" fmla="*/ 88363 w 93887"/>
                <a:gd name="connsiteY104" fmla="*/ 76505 h 118252"/>
                <a:gd name="connsiteX105" fmla="*/ 93888 w 93887"/>
                <a:gd name="connsiteY105" fmla="*/ 80982 h 118252"/>
                <a:gd name="connsiteX106" fmla="*/ 93259 w 93887"/>
                <a:gd name="connsiteY106" fmla="*/ 81820 h 118252"/>
                <a:gd name="connsiteX107" fmla="*/ 92402 w 93887"/>
                <a:gd name="connsiteY107" fmla="*/ 82734 h 118252"/>
                <a:gd name="connsiteX108" fmla="*/ 87125 w 93887"/>
                <a:gd name="connsiteY108" fmla="*/ 83410 h 118252"/>
                <a:gd name="connsiteX109" fmla="*/ 86049 w 93887"/>
                <a:gd name="connsiteY109" fmla="*/ 83782 h 118252"/>
                <a:gd name="connsiteX110" fmla="*/ 83753 w 93887"/>
                <a:gd name="connsiteY110" fmla="*/ 80420 h 118252"/>
                <a:gd name="connsiteX111" fmla="*/ 82543 w 93887"/>
                <a:gd name="connsiteY111" fmla="*/ 79991 h 118252"/>
                <a:gd name="connsiteX112" fmla="*/ 81419 w 93887"/>
                <a:gd name="connsiteY112" fmla="*/ 81229 h 118252"/>
                <a:gd name="connsiteX113" fmla="*/ 80086 w 93887"/>
                <a:gd name="connsiteY113" fmla="*/ 81915 h 118252"/>
                <a:gd name="connsiteX114" fmla="*/ 78495 w 93887"/>
                <a:gd name="connsiteY114" fmla="*/ 81572 h 118252"/>
                <a:gd name="connsiteX115" fmla="*/ 76781 w 93887"/>
                <a:gd name="connsiteY115" fmla="*/ 80534 h 118252"/>
                <a:gd name="connsiteX116" fmla="*/ 75914 w 93887"/>
                <a:gd name="connsiteY116" fmla="*/ 79800 h 118252"/>
                <a:gd name="connsiteX117" fmla="*/ 75219 w 93887"/>
                <a:gd name="connsiteY117" fmla="*/ 79715 h 118252"/>
                <a:gd name="connsiteX118" fmla="*/ 74152 w 93887"/>
                <a:gd name="connsiteY118" fmla="*/ 80448 h 118252"/>
                <a:gd name="connsiteX119" fmla="*/ 72733 w 93887"/>
                <a:gd name="connsiteY119" fmla="*/ 80134 h 118252"/>
                <a:gd name="connsiteX120" fmla="*/ 71799 w 93887"/>
                <a:gd name="connsiteY120" fmla="*/ 79305 h 118252"/>
                <a:gd name="connsiteX121" fmla="*/ 70456 w 93887"/>
                <a:gd name="connsiteY121" fmla="*/ 82163 h 118252"/>
                <a:gd name="connsiteX122" fmla="*/ 69637 w 93887"/>
                <a:gd name="connsiteY122" fmla="*/ 82763 h 118252"/>
                <a:gd name="connsiteX123" fmla="*/ 69123 w 93887"/>
                <a:gd name="connsiteY123" fmla="*/ 82677 h 118252"/>
                <a:gd name="connsiteX124" fmla="*/ 69018 w 93887"/>
                <a:gd name="connsiteY124" fmla="*/ 77819 h 118252"/>
                <a:gd name="connsiteX125" fmla="*/ 68627 w 93887"/>
                <a:gd name="connsiteY125" fmla="*/ 77086 h 118252"/>
                <a:gd name="connsiteX126" fmla="*/ 67560 w 93887"/>
                <a:gd name="connsiteY126" fmla="*/ 76962 h 118252"/>
                <a:gd name="connsiteX127" fmla="*/ 64989 w 93887"/>
                <a:gd name="connsiteY127" fmla="*/ 78124 h 118252"/>
                <a:gd name="connsiteX128" fmla="*/ 62541 w 93887"/>
                <a:gd name="connsiteY128" fmla="*/ 79620 h 118252"/>
                <a:gd name="connsiteX129" fmla="*/ 61712 w 93887"/>
                <a:gd name="connsiteY129" fmla="*/ 80944 h 118252"/>
                <a:gd name="connsiteX130" fmla="*/ 61798 w 93887"/>
                <a:gd name="connsiteY130" fmla="*/ 83334 h 118252"/>
                <a:gd name="connsiteX131" fmla="*/ 62150 w 93887"/>
                <a:gd name="connsiteY131" fmla="*/ 86182 h 118252"/>
                <a:gd name="connsiteX132" fmla="*/ 63817 w 93887"/>
                <a:gd name="connsiteY132" fmla="*/ 90497 h 118252"/>
                <a:gd name="connsiteX133" fmla="*/ 62903 w 93887"/>
                <a:gd name="connsiteY133" fmla="*/ 92373 h 118252"/>
                <a:gd name="connsiteX134" fmla="*/ 62255 w 93887"/>
                <a:gd name="connsiteY134" fmla="*/ 95364 h 118252"/>
                <a:gd name="connsiteX135" fmla="*/ 59636 w 93887"/>
                <a:gd name="connsiteY135" fmla="*/ 98098 h 118252"/>
                <a:gd name="connsiteX136" fmla="*/ 56664 w 93887"/>
                <a:gd name="connsiteY136" fmla="*/ 99689 h 118252"/>
                <a:gd name="connsiteX137" fmla="*/ 56416 w 93887"/>
                <a:gd name="connsiteY137" fmla="*/ 102946 h 118252"/>
                <a:gd name="connsiteX138" fmla="*/ 54769 w 93887"/>
                <a:gd name="connsiteY138" fmla="*/ 105166 h 118252"/>
                <a:gd name="connsiteX139" fmla="*/ 51949 w 93887"/>
                <a:gd name="connsiteY139" fmla="*/ 107385 h 118252"/>
                <a:gd name="connsiteX140" fmla="*/ 50063 w 93887"/>
                <a:gd name="connsiteY140" fmla="*/ 110061 h 118252"/>
                <a:gd name="connsiteX141" fmla="*/ 50539 w 93887"/>
                <a:gd name="connsiteY141" fmla="*/ 111881 h 118252"/>
                <a:gd name="connsiteX142" fmla="*/ 50654 w 93887"/>
                <a:gd name="connsiteY142" fmla="*/ 113614 h 118252"/>
                <a:gd name="connsiteX143" fmla="*/ 50330 w 93887"/>
                <a:gd name="connsiteY143" fmla="*/ 114786 h 118252"/>
                <a:gd name="connsiteX144" fmla="*/ 50263 w 93887"/>
                <a:gd name="connsiteY144" fmla="*/ 115691 h 118252"/>
                <a:gd name="connsiteX145" fmla="*/ 49520 w 93887"/>
                <a:gd name="connsiteY145" fmla="*/ 116091 h 118252"/>
                <a:gd name="connsiteX146" fmla="*/ 45215 w 93887"/>
                <a:gd name="connsiteY146" fmla="*/ 116424 h 118252"/>
                <a:gd name="connsiteX147" fmla="*/ 43996 w 93887"/>
                <a:gd name="connsiteY147" fmla="*/ 116986 h 11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93887" h="118252">
                  <a:moveTo>
                    <a:pt x="42596" y="118253"/>
                  </a:moveTo>
                  <a:lnTo>
                    <a:pt x="41262" y="115843"/>
                  </a:lnTo>
                  <a:lnTo>
                    <a:pt x="39909" y="113738"/>
                  </a:lnTo>
                  <a:lnTo>
                    <a:pt x="38919" y="112604"/>
                  </a:lnTo>
                  <a:lnTo>
                    <a:pt x="39338" y="112081"/>
                  </a:lnTo>
                  <a:lnTo>
                    <a:pt x="40414" y="111481"/>
                  </a:lnTo>
                  <a:lnTo>
                    <a:pt x="41186" y="110766"/>
                  </a:lnTo>
                  <a:lnTo>
                    <a:pt x="41100" y="108252"/>
                  </a:lnTo>
                  <a:lnTo>
                    <a:pt x="40528" y="105356"/>
                  </a:lnTo>
                  <a:lnTo>
                    <a:pt x="40005" y="103956"/>
                  </a:lnTo>
                  <a:lnTo>
                    <a:pt x="39957" y="101756"/>
                  </a:lnTo>
                  <a:lnTo>
                    <a:pt x="39585" y="98327"/>
                  </a:lnTo>
                  <a:lnTo>
                    <a:pt x="40110" y="91945"/>
                  </a:lnTo>
                  <a:lnTo>
                    <a:pt x="42262" y="83906"/>
                  </a:lnTo>
                  <a:lnTo>
                    <a:pt x="43453" y="79896"/>
                  </a:lnTo>
                  <a:lnTo>
                    <a:pt x="42872" y="77696"/>
                  </a:lnTo>
                  <a:lnTo>
                    <a:pt x="43319" y="72552"/>
                  </a:lnTo>
                  <a:lnTo>
                    <a:pt x="42386" y="70009"/>
                  </a:lnTo>
                  <a:lnTo>
                    <a:pt x="40929" y="66675"/>
                  </a:lnTo>
                  <a:lnTo>
                    <a:pt x="38842" y="59407"/>
                  </a:lnTo>
                  <a:lnTo>
                    <a:pt x="36233" y="56874"/>
                  </a:lnTo>
                  <a:lnTo>
                    <a:pt x="33013" y="54083"/>
                  </a:lnTo>
                  <a:lnTo>
                    <a:pt x="31642" y="51978"/>
                  </a:lnTo>
                  <a:lnTo>
                    <a:pt x="30718" y="49654"/>
                  </a:lnTo>
                  <a:lnTo>
                    <a:pt x="28803" y="47339"/>
                  </a:lnTo>
                  <a:lnTo>
                    <a:pt x="26603" y="45215"/>
                  </a:lnTo>
                  <a:lnTo>
                    <a:pt x="23974" y="39891"/>
                  </a:lnTo>
                  <a:lnTo>
                    <a:pt x="22612" y="37481"/>
                  </a:lnTo>
                  <a:lnTo>
                    <a:pt x="22193" y="36843"/>
                  </a:lnTo>
                  <a:lnTo>
                    <a:pt x="19192" y="33414"/>
                  </a:lnTo>
                  <a:lnTo>
                    <a:pt x="17621" y="30318"/>
                  </a:lnTo>
                  <a:lnTo>
                    <a:pt x="16821" y="27765"/>
                  </a:lnTo>
                  <a:lnTo>
                    <a:pt x="16364" y="25413"/>
                  </a:lnTo>
                  <a:lnTo>
                    <a:pt x="14249" y="20736"/>
                  </a:lnTo>
                  <a:lnTo>
                    <a:pt x="12335" y="17221"/>
                  </a:lnTo>
                  <a:lnTo>
                    <a:pt x="10515" y="14707"/>
                  </a:lnTo>
                  <a:lnTo>
                    <a:pt x="9677" y="12925"/>
                  </a:lnTo>
                  <a:lnTo>
                    <a:pt x="7544" y="10687"/>
                  </a:lnTo>
                  <a:lnTo>
                    <a:pt x="4505" y="8896"/>
                  </a:lnTo>
                  <a:lnTo>
                    <a:pt x="2534" y="8592"/>
                  </a:lnTo>
                  <a:lnTo>
                    <a:pt x="0" y="8734"/>
                  </a:lnTo>
                  <a:lnTo>
                    <a:pt x="581" y="7363"/>
                  </a:lnTo>
                  <a:lnTo>
                    <a:pt x="6096" y="3638"/>
                  </a:lnTo>
                  <a:lnTo>
                    <a:pt x="7534" y="4248"/>
                  </a:lnTo>
                  <a:lnTo>
                    <a:pt x="10420" y="4391"/>
                  </a:lnTo>
                  <a:lnTo>
                    <a:pt x="16297" y="4267"/>
                  </a:lnTo>
                  <a:lnTo>
                    <a:pt x="19192" y="1810"/>
                  </a:lnTo>
                  <a:lnTo>
                    <a:pt x="20983" y="2495"/>
                  </a:lnTo>
                  <a:lnTo>
                    <a:pt x="22440" y="1391"/>
                  </a:lnTo>
                  <a:lnTo>
                    <a:pt x="24869" y="0"/>
                  </a:lnTo>
                  <a:lnTo>
                    <a:pt x="25222" y="295"/>
                  </a:lnTo>
                  <a:lnTo>
                    <a:pt x="25527" y="515"/>
                  </a:lnTo>
                  <a:lnTo>
                    <a:pt x="29280" y="1133"/>
                  </a:lnTo>
                  <a:lnTo>
                    <a:pt x="32109" y="2467"/>
                  </a:lnTo>
                  <a:lnTo>
                    <a:pt x="33994" y="4515"/>
                  </a:lnTo>
                  <a:lnTo>
                    <a:pt x="35947" y="5782"/>
                  </a:lnTo>
                  <a:lnTo>
                    <a:pt x="37947" y="6277"/>
                  </a:lnTo>
                  <a:lnTo>
                    <a:pt x="39062" y="7306"/>
                  </a:lnTo>
                  <a:lnTo>
                    <a:pt x="39281" y="8849"/>
                  </a:lnTo>
                  <a:lnTo>
                    <a:pt x="41167" y="9611"/>
                  </a:lnTo>
                  <a:lnTo>
                    <a:pt x="44701" y="9592"/>
                  </a:lnTo>
                  <a:lnTo>
                    <a:pt x="46196" y="10611"/>
                  </a:lnTo>
                  <a:lnTo>
                    <a:pt x="45662" y="12678"/>
                  </a:lnTo>
                  <a:lnTo>
                    <a:pt x="46025" y="13354"/>
                  </a:lnTo>
                  <a:lnTo>
                    <a:pt x="47282" y="12649"/>
                  </a:lnTo>
                  <a:lnTo>
                    <a:pt x="48234" y="13259"/>
                  </a:lnTo>
                  <a:lnTo>
                    <a:pt x="48730" y="14783"/>
                  </a:lnTo>
                  <a:lnTo>
                    <a:pt x="49301" y="15507"/>
                  </a:lnTo>
                  <a:lnTo>
                    <a:pt x="51102" y="13116"/>
                  </a:lnTo>
                  <a:lnTo>
                    <a:pt x="53006" y="13354"/>
                  </a:lnTo>
                  <a:lnTo>
                    <a:pt x="57607" y="14345"/>
                  </a:lnTo>
                  <a:lnTo>
                    <a:pt x="60064" y="19288"/>
                  </a:lnTo>
                  <a:lnTo>
                    <a:pt x="61598" y="21060"/>
                  </a:lnTo>
                  <a:lnTo>
                    <a:pt x="62941" y="21784"/>
                  </a:lnTo>
                  <a:lnTo>
                    <a:pt x="64636" y="21012"/>
                  </a:lnTo>
                  <a:lnTo>
                    <a:pt x="66141" y="20098"/>
                  </a:lnTo>
                  <a:lnTo>
                    <a:pt x="66999" y="20526"/>
                  </a:lnTo>
                  <a:lnTo>
                    <a:pt x="68866" y="23794"/>
                  </a:lnTo>
                  <a:lnTo>
                    <a:pt x="69294" y="28061"/>
                  </a:lnTo>
                  <a:lnTo>
                    <a:pt x="69285" y="29775"/>
                  </a:lnTo>
                  <a:lnTo>
                    <a:pt x="68627" y="32671"/>
                  </a:lnTo>
                  <a:lnTo>
                    <a:pt x="67684" y="35738"/>
                  </a:lnTo>
                  <a:lnTo>
                    <a:pt x="66941" y="37738"/>
                  </a:lnTo>
                  <a:lnTo>
                    <a:pt x="67256" y="39338"/>
                  </a:lnTo>
                  <a:lnTo>
                    <a:pt x="67923" y="40681"/>
                  </a:lnTo>
                  <a:lnTo>
                    <a:pt x="69009" y="41120"/>
                  </a:lnTo>
                  <a:lnTo>
                    <a:pt x="72571" y="43825"/>
                  </a:lnTo>
                  <a:lnTo>
                    <a:pt x="73904" y="45711"/>
                  </a:lnTo>
                  <a:lnTo>
                    <a:pt x="75838" y="47101"/>
                  </a:lnTo>
                  <a:lnTo>
                    <a:pt x="77305" y="47177"/>
                  </a:lnTo>
                  <a:lnTo>
                    <a:pt x="78067" y="47949"/>
                  </a:lnTo>
                  <a:lnTo>
                    <a:pt x="78334" y="48901"/>
                  </a:lnTo>
                  <a:lnTo>
                    <a:pt x="78133" y="51302"/>
                  </a:lnTo>
                  <a:lnTo>
                    <a:pt x="77314" y="53550"/>
                  </a:lnTo>
                  <a:lnTo>
                    <a:pt x="77419" y="54998"/>
                  </a:lnTo>
                  <a:lnTo>
                    <a:pt x="78714" y="56712"/>
                  </a:lnTo>
                  <a:lnTo>
                    <a:pt x="78857" y="58693"/>
                  </a:lnTo>
                  <a:lnTo>
                    <a:pt x="78943" y="59969"/>
                  </a:lnTo>
                  <a:lnTo>
                    <a:pt x="79629" y="60951"/>
                  </a:lnTo>
                  <a:lnTo>
                    <a:pt x="82896" y="63132"/>
                  </a:lnTo>
                  <a:lnTo>
                    <a:pt x="87116" y="65237"/>
                  </a:lnTo>
                  <a:lnTo>
                    <a:pt x="88192" y="67046"/>
                  </a:lnTo>
                  <a:lnTo>
                    <a:pt x="88849" y="69332"/>
                  </a:lnTo>
                  <a:lnTo>
                    <a:pt x="88639" y="73171"/>
                  </a:lnTo>
                  <a:lnTo>
                    <a:pt x="88363" y="76505"/>
                  </a:lnTo>
                  <a:lnTo>
                    <a:pt x="93888" y="80982"/>
                  </a:lnTo>
                  <a:lnTo>
                    <a:pt x="93259" y="81820"/>
                  </a:lnTo>
                  <a:lnTo>
                    <a:pt x="92402" y="82734"/>
                  </a:lnTo>
                  <a:lnTo>
                    <a:pt x="87125" y="83410"/>
                  </a:lnTo>
                  <a:lnTo>
                    <a:pt x="86049" y="83782"/>
                  </a:lnTo>
                  <a:lnTo>
                    <a:pt x="83753" y="80420"/>
                  </a:lnTo>
                  <a:lnTo>
                    <a:pt x="82543" y="79991"/>
                  </a:lnTo>
                  <a:lnTo>
                    <a:pt x="81419" y="81229"/>
                  </a:lnTo>
                  <a:lnTo>
                    <a:pt x="80086" y="81915"/>
                  </a:lnTo>
                  <a:lnTo>
                    <a:pt x="78495" y="81572"/>
                  </a:lnTo>
                  <a:lnTo>
                    <a:pt x="76781" y="80534"/>
                  </a:lnTo>
                  <a:lnTo>
                    <a:pt x="75914" y="79800"/>
                  </a:lnTo>
                  <a:lnTo>
                    <a:pt x="75219" y="79715"/>
                  </a:lnTo>
                  <a:lnTo>
                    <a:pt x="74152" y="80448"/>
                  </a:lnTo>
                  <a:lnTo>
                    <a:pt x="72733" y="80134"/>
                  </a:lnTo>
                  <a:lnTo>
                    <a:pt x="71799" y="79305"/>
                  </a:lnTo>
                  <a:lnTo>
                    <a:pt x="70456" y="82163"/>
                  </a:lnTo>
                  <a:lnTo>
                    <a:pt x="69637" y="82763"/>
                  </a:lnTo>
                  <a:lnTo>
                    <a:pt x="69123" y="82677"/>
                  </a:lnTo>
                  <a:lnTo>
                    <a:pt x="69018" y="77819"/>
                  </a:lnTo>
                  <a:lnTo>
                    <a:pt x="68627" y="77086"/>
                  </a:lnTo>
                  <a:lnTo>
                    <a:pt x="67560" y="76962"/>
                  </a:lnTo>
                  <a:lnTo>
                    <a:pt x="64989" y="78124"/>
                  </a:lnTo>
                  <a:lnTo>
                    <a:pt x="62541" y="79620"/>
                  </a:lnTo>
                  <a:lnTo>
                    <a:pt x="61712" y="80944"/>
                  </a:lnTo>
                  <a:lnTo>
                    <a:pt x="61798" y="83334"/>
                  </a:lnTo>
                  <a:lnTo>
                    <a:pt x="62150" y="86182"/>
                  </a:lnTo>
                  <a:lnTo>
                    <a:pt x="63817" y="90497"/>
                  </a:lnTo>
                  <a:lnTo>
                    <a:pt x="62903" y="92373"/>
                  </a:lnTo>
                  <a:lnTo>
                    <a:pt x="62255" y="95364"/>
                  </a:lnTo>
                  <a:lnTo>
                    <a:pt x="59636" y="98098"/>
                  </a:lnTo>
                  <a:lnTo>
                    <a:pt x="56664" y="99689"/>
                  </a:lnTo>
                  <a:lnTo>
                    <a:pt x="56416" y="102946"/>
                  </a:lnTo>
                  <a:lnTo>
                    <a:pt x="54769" y="105166"/>
                  </a:lnTo>
                  <a:lnTo>
                    <a:pt x="51949" y="107385"/>
                  </a:lnTo>
                  <a:lnTo>
                    <a:pt x="50063" y="110061"/>
                  </a:lnTo>
                  <a:lnTo>
                    <a:pt x="50539" y="111881"/>
                  </a:lnTo>
                  <a:lnTo>
                    <a:pt x="50654" y="113614"/>
                  </a:lnTo>
                  <a:lnTo>
                    <a:pt x="50330" y="114786"/>
                  </a:lnTo>
                  <a:lnTo>
                    <a:pt x="50263" y="115691"/>
                  </a:lnTo>
                  <a:lnTo>
                    <a:pt x="49520" y="116091"/>
                  </a:lnTo>
                  <a:lnTo>
                    <a:pt x="45215" y="116424"/>
                  </a:lnTo>
                  <a:lnTo>
                    <a:pt x="43996" y="116986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0" name="Forme libre : forme 39">
              <a:extLst>
                <a:ext uri="{FF2B5EF4-FFF2-40B4-BE49-F238E27FC236}">
                  <a16:creationId xmlns:a16="http://schemas.microsoft.com/office/drawing/2014/main" id="{BA2CFA4C-A73D-5243-9BE1-F31371D317B5}"/>
                </a:ext>
              </a:extLst>
            </p:cNvPr>
            <p:cNvSpPr/>
            <p:nvPr/>
          </p:nvSpPr>
          <p:spPr>
            <a:xfrm>
              <a:off x="6510687" y="5096747"/>
              <a:ext cx="133187" cy="152191"/>
            </a:xfrm>
            <a:custGeom>
              <a:avLst/>
              <a:gdLst>
                <a:gd name="connsiteX0" fmla="*/ 20260 w 51092"/>
                <a:gd name="connsiteY0" fmla="*/ 343 h 60664"/>
                <a:gd name="connsiteX1" fmla="*/ 20193 w 51092"/>
                <a:gd name="connsiteY1" fmla="*/ 791 h 60664"/>
                <a:gd name="connsiteX2" fmla="*/ 20317 w 51092"/>
                <a:gd name="connsiteY2" fmla="*/ 2114 h 60664"/>
                <a:gd name="connsiteX3" fmla="*/ 20917 w 51092"/>
                <a:gd name="connsiteY3" fmla="*/ 3400 h 60664"/>
                <a:gd name="connsiteX4" fmla="*/ 23041 w 51092"/>
                <a:gd name="connsiteY4" fmla="*/ 4715 h 60664"/>
                <a:gd name="connsiteX5" fmla="*/ 26156 w 51092"/>
                <a:gd name="connsiteY5" fmla="*/ 7325 h 60664"/>
                <a:gd name="connsiteX6" fmla="*/ 29813 w 51092"/>
                <a:gd name="connsiteY6" fmla="*/ 12106 h 60664"/>
                <a:gd name="connsiteX7" fmla="*/ 31490 w 51092"/>
                <a:gd name="connsiteY7" fmla="*/ 13516 h 60664"/>
                <a:gd name="connsiteX8" fmla="*/ 33004 w 51092"/>
                <a:gd name="connsiteY8" fmla="*/ 13868 h 60664"/>
                <a:gd name="connsiteX9" fmla="*/ 35948 w 51092"/>
                <a:gd name="connsiteY9" fmla="*/ 15840 h 60664"/>
                <a:gd name="connsiteX10" fmla="*/ 38005 w 51092"/>
                <a:gd name="connsiteY10" fmla="*/ 16326 h 60664"/>
                <a:gd name="connsiteX11" fmla="*/ 40300 w 51092"/>
                <a:gd name="connsiteY11" fmla="*/ 16869 h 60664"/>
                <a:gd name="connsiteX12" fmla="*/ 46282 w 51092"/>
                <a:gd name="connsiteY12" fmla="*/ 20993 h 60664"/>
                <a:gd name="connsiteX13" fmla="*/ 48978 w 51092"/>
                <a:gd name="connsiteY13" fmla="*/ 22193 h 60664"/>
                <a:gd name="connsiteX14" fmla="*/ 50883 w 51092"/>
                <a:gd name="connsiteY14" fmla="*/ 23746 h 60664"/>
                <a:gd name="connsiteX15" fmla="*/ 51092 w 51092"/>
                <a:gd name="connsiteY15" fmla="*/ 25203 h 60664"/>
                <a:gd name="connsiteX16" fmla="*/ 51007 w 51092"/>
                <a:gd name="connsiteY16" fmla="*/ 26108 h 60664"/>
                <a:gd name="connsiteX17" fmla="*/ 47549 w 51092"/>
                <a:gd name="connsiteY17" fmla="*/ 27156 h 60664"/>
                <a:gd name="connsiteX18" fmla="*/ 46949 w 51092"/>
                <a:gd name="connsiteY18" fmla="*/ 28765 h 60664"/>
                <a:gd name="connsiteX19" fmla="*/ 45272 w 51092"/>
                <a:gd name="connsiteY19" fmla="*/ 28575 h 60664"/>
                <a:gd name="connsiteX20" fmla="*/ 43244 w 51092"/>
                <a:gd name="connsiteY20" fmla="*/ 28565 h 60664"/>
                <a:gd name="connsiteX21" fmla="*/ 42586 w 51092"/>
                <a:gd name="connsiteY21" fmla="*/ 29585 h 60664"/>
                <a:gd name="connsiteX22" fmla="*/ 43558 w 51092"/>
                <a:gd name="connsiteY22" fmla="*/ 31261 h 60664"/>
                <a:gd name="connsiteX23" fmla="*/ 44187 w 51092"/>
                <a:gd name="connsiteY23" fmla="*/ 33223 h 60664"/>
                <a:gd name="connsiteX24" fmla="*/ 43682 w 51092"/>
                <a:gd name="connsiteY24" fmla="*/ 35919 h 60664"/>
                <a:gd name="connsiteX25" fmla="*/ 43510 w 51092"/>
                <a:gd name="connsiteY25" fmla="*/ 36271 h 60664"/>
                <a:gd name="connsiteX26" fmla="*/ 43025 w 51092"/>
                <a:gd name="connsiteY26" fmla="*/ 36176 h 60664"/>
                <a:gd name="connsiteX27" fmla="*/ 40167 w 51092"/>
                <a:gd name="connsiteY27" fmla="*/ 37738 h 60664"/>
                <a:gd name="connsiteX28" fmla="*/ 38052 w 51092"/>
                <a:gd name="connsiteY28" fmla="*/ 38471 h 60664"/>
                <a:gd name="connsiteX29" fmla="*/ 36138 w 51092"/>
                <a:gd name="connsiteY29" fmla="*/ 38843 h 60664"/>
                <a:gd name="connsiteX30" fmla="*/ 35233 w 51092"/>
                <a:gd name="connsiteY30" fmla="*/ 38090 h 60664"/>
                <a:gd name="connsiteX31" fmla="*/ 34786 w 51092"/>
                <a:gd name="connsiteY31" fmla="*/ 37071 h 60664"/>
                <a:gd name="connsiteX32" fmla="*/ 34871 w 51092"/>
                <a:gd name="connsiteY32" fmla="*/ 34119 h 60664"/>
                <a:gd name="connsiteX33" fmla="*/ 34519 w 51092"/>
                <a:gd name="connsiteY33" fmla="*/ 33118 h 60664"/>
                <a:gd name="connsiteX34" fmla="*/ 33871 w 51092"/>
                <a:gd name="connsiteY34" fmla="*/ 32633 h 60664"/>
                <a:gd name="connsiteX35" fmla="*/ 32557 w 51092"/>
                <a:gd name="connsiteY35" fmla="*/ 33328 h 60664"/>
                <a:gd name="connsiteX36" fmla="*/ 31042 w 51092"/>
                <a:gd name="connsiteY36" fmla="*/ 35623 h 60664"/>
                <a:gd name="connsiteX37" fmla="*/ 29623 w 51092"/>
                <a:gd name="connsiteY37" fmla="*/ 38272 h 60664"/>
                <a:gd name="connsiteX38" fmla="*/ 27499 w 51092"/>
                <a:gd name="connsiteY38" fmla="*/ 41034 h 60664"/>
                <a:gd name="connsiteX39" fmla="*/ 25746 w 51092"/>
                <a:gd name="connsiteY39" fmla="*/ 43682 h 60664"/>
                <a:gd name="connsiteX40" fmla="*/ 23860 w 51092"/>
                <a:gd name="connsiteY40" fmla="*/ 47025 h 60664"/>
                <a:gd name="connsiteX41" fmla="*/ 22574 w 51092"/>
                <a:gd name="connsiteY41" fmla="*/ 49778 h 60664"/>
                <a:gd name="connsiteX42" fmla="*/ 23908 w 51092"/>
                <a:gd name="connsiteY42" fmla="*/ 51340 h 60664"/>
                <a:gd name="connsiteX43" fmla="*/ 24727 w 51092"/>
                <a:gd name="connsiteY43" fmla="*/ 53492 h 60664"/>
                <a:gd name="connsiteX44" fmla="*/ 24479 w 51092"/>
                <a:gd name="connsiteY44" fmla="*/ 55112 h 60664"/>
                <a:gd name="connsiteX45" fmla="*/ 24718 w 51092"/>
                <a:gd name="connsiteY45" fmla="*/ 56055 h 60664"/>
                <a:gd name="connsiteX46" fmla="*/ 24299 w 51092"/>
                <a:gd name="connsiteY46" fmla="*/ 58884 h 60664"/>
                <a:gd name="connsiteX47" fmla="*/ 24222 w 51092"/>
                <a:gd name="connsiteY47" fmla="*/ 60665 h 60664"/>
                <a:gd name="connsiteX48" fmla="*/ 20051 w 51092"/>
                <a:gd name="connsiteY48" fmla="*/ 57817 h 60664"/>
                <a:gd name="connsiteX49" fmla="*/ 18336 w 51092"/>
                <a:gd name="connsiteY49" fmla="*/ 53807 h 60664"/>
                <a:gd name="connsiteX50" fmla="*/ 12240 w 51092"/>
                <a:gd name="connsiteY50" fmla="*/ 47015 h 60664"/>
                <a:gd name="connsiteX51" fmla="*/ 5258 w 51092"/>
                <a:gd name="connsiteY51" fmla="*/ 42386 h 60664"/>
                <a:gd name="connsiteX52" fmla="*/ 4886 w 51092"/>
                <a:gd name="connsiteY52" fmla="*/ 41653 h 60664"/>
                <a:gd name="connsiteX53" fmla="*/ 5268 w 51092"/>
                <a:gd name="connsiteY53" fmla="*/ 40757 h 60664"/>
                <a:gd name="connsiteX54" fmla="*/ 5601 w 51092"/>
                <a:gd name="connsiteY54" fmla="*/ 40052 h 60664"/>
                <a:gd name="connsiteX55" fmla="*/ 4143 w 51092"/>
                <a:gd name="connsiteY55" fmla="*/ 39996 h 60664"/>
                <a:gd name="connsiteX56" fmla="*/ 3134 w 51092"/>
                <a:gd name="connsiteY56" fmla="*/ 40567 h 60664"/>
                <a:gd name="connsiteX57" fmla="*/ 2163 w 51092"/>
                <a:gd name="connsiteY57" fmla="*/ 40405 h 60664"/>
                <a:gd name="connsiteX58" fmla="*/ 1077 w 51092"/>
                <a:gd name="connsiteY58" fmla="*/ 38662 h 60664"/>
                <a:gd name="connsiteX59" fmla="*/ 48 w 51092"/>
                <a:gd name="connsiteY59" fmla="*/ 37157 h 60664"/>
                <a:gd name="connsiteX60" fmla="*/ 0 w 51092"/>
                <a:gd name="connsiteY60" fmla="*/ 35823 h 60664"/>
                <a:gd name="connsiteX61" fmla="*/ 467 w 51092"/>
                <a:gd name="connsiteY61" fmla="*/ 35652 h 60664"/>
                <a:gd name="connsiteX62" fmla="*/ 1162 w 51092"/>
                <a:gd name="connsiteY62" fmla="*/ 35119 h 60664"/>
                <a:gd name="connsiteX63" fmla="*/ 2639 w 51092"/>
                <a:gd name="connsiteY63" fmla="*/ 33642 h 60664"/>
                <a:gd name="connsiteX64" fmla="*/ 2934 w 51092"/>
                <a:gd name="connsiteY64" fmla="*/ 32861 h 60664"/>
                <a:gd name="connsiteX65" fmla="*/ 2858 w 51092"/>
                <a:gd name="connsiteY65" fmla="*/ 31680 h 60664"/>
                <a:gd name="connsiteX66" fmla="*/ 791 w 51092"/>
                <a:gd name="connsiteY66" fmla="*/ 27946 h 60664"/>
                <a:gd name="connsiteX67" fmla="*/ 495 w 51092"/>
                <a:gd name="connsiteY67" fmla="*/ 25517 h 60664"/>
                <a:gd name="connsiteX68" fmla="*/ 200 w 51092"/>
                <a:gd name="connsiteY68" fmla="*/ 20993 h 60664"/>
                <a:gd name="connsiteX69" fmla="*/ 638 w 51092"/>
                <a:gd name="connsiteY69" fmla="*/ 19926 h 60664"/>
                <a:gd name="connsiteX70" fmla="*/ 1391 w 51092"/>
                <a:gd name="connsiteY70" fmla="*/ 19402 h 60664"/>
                <a:gd name="connsiteX71" fmla="*/ 5001 w 51092"/>
                <a:gd name="connsiteY71" fmla="*/ 18840 h 60664"/>
                <a:gd name="connsiteX72" fmla="*/ 4953 w 51092"/>
                <a:gd name="connsiteY72" fmla="*/ 15307 h 60664"/>
                <a:gd name="connsiteX73" fmla="*/ 5172 w 51092"/>
                <a:gd name="connsiteY73" fmla="*/ 14240 h 60664"/>
                <a:gd name="connsiteX74" fmla="*/ 5896 w 51092"/>
                <a:gd name="connsiteY74" fmla="*/ 12773 h 60664"/>
                <a:gd name="connsiteX75" fmla="*/ 6353 w 51092"/>
                <a:gd name="connsiteY75" fmla="*/ 11430 h 60664"/>
                <a:gd name="connsiteX76" fmla="*/ 8363 w 51092"/>
                <a:gd name="connsiteY76" fmla="*/ 9497 h 60664"/>
                <a:gd name="connsiteX77" fmla="*/ 11087 w 51092"/>
                <a:gd name="connsiteY77" fmla="*/ 7201 h 60664"/>
                <a:gd name="connsiteX78" fmla="*/ 12278 w 51092"/>
                <a:gd name="connsiteY78" fmla="*/ 7125 h 60664"/>
                <a:gd name="connsiteX79" fmla="*/ 13316 w 51092"/>
                <a:gd name="connsiteY79" fmla="*/ 7449 h 60664"/>
                <a:gd name="connsiteX80" fmla="*/ 14497 w 51092"/>
                <a:gd name="connsiteY80" fmla="*/ 9430 h 60664"/>
                <a:gd name="connsiteX81" fmla="*/ 15783 w 51092"/>
                <a:gd name="connsiteY81" fmla="*/ 9173 h 60664"/>
                <a:gd name="connsiteX82" fmla="*/ 16050 w 51092"/>
                <a:gd name="connsiteY82" fmla="*/ 6791 h 60664"/>
                <a:gd name="connsiteX83" fmla="*/ 14364 w 51092"/>
                <a:gd name="connsiteY83" fmla="*/ 3677 h 60664"/>
                <a:gd name="connsiteX84" fmla="*/ 13468 w 51092"/>
                <a:gd name="connsiteY84" fmla="*/ 1686 h 60664"/>
                <a:gd name="connsiteX85" fmla="*/ 13745 w 51092"/>
                <a:gd name="connsiteY85" fmla="*/ 581 h 60664"/>
                <a:gd name="connsiteX86" fmla="*/ 14374 w 51092"/>
                <a:gd name="connsiteY86" fmla="*/ 0 h 60664"/>
                <a:gd name="connsiteX87" fmla="*/ 15831 w 51092"/>
                <a:gd name="connsiteY87" fmla="*/ 362 h 60664"/>
                <a:gd name="connsiteX88" fmla="*/ 17212 w 51092"/>
                <a:gd name="connsiteY88" fmla="*/ 914 h 60664"/>
                <a:gd name="connsiteX89" fmla="*/ 18079 w 51092"/>
                <a:gd name="connsiteY89" fmla="*/ 543 h 60664"/>
                <a:gd name="connsiteX90" fmla="*/ 19460 w 51092"/>
                <a:gd name="connsiteY90" fmla="*/ 257 h 6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51092" h="60664">
                  <a:moveTo>
                    <a:pt x="20260" y="343"/>
                  </a:moveTo>
                  <a:lnTo>
                    <a:pt x="20193" y="791"/>
                  </a:lnTo>
                  <a:lnTo>
                    <a:pt x="20317" y="2114"/>
                  </a:lnTo>
                  <a:lnTo>
                    <a:pt x="20917" y="3400"/>
                  </a:lnTo>
                  <a:lnTo>
                    <a:pt x="23041" y="4715"/>
                  </a:lnTo>
                  <a:lnTo>
                    <a:pt x="26156" y="7325"/>
                  </a:lnTo>
                  <a:lnTo>
                    <a:pt x="29813" y="12106"/>
                  </a:lnTo>
                  <a:lnTo>
                    <a:pt x="31490" y="13516"/>
                  </a:lnTo>
                  <a:lnTo>
                    <a:pt x="33004" y="13868"/>
                  </a:lnTo>
                  <a:lnTo>
                    <a:pt x="35948" y="15840"/>
                  </a:lnTo>
                  <a:lnTo>
                    <a:pt x="38005" y="16326"/>
                  </a:lnTo>
                  <a:lnTo>
                    <a:pt x="40300" y="16869"/>
                  </a:lnTo>
                  <a:lnTo>
                    <a:pt x="46282" y="20993"/>
                  </a:lnTo>
                  <a:lnTo>
                    <a:pt x="48978" y="22193"/>
                  </a:lnTo>
                  <a:lnTo>
                    <a:pt x="50883" y="23746"/>
                  </a:lnTo>
                  <a:lnTo>
                    <a:pt x="51092" y="25203"/>
                  </a:lnTo>
                  <a:lnTo>
                    <a:pt x="51007" y="26108"/>
                  </a:lnTo>
                  <a:lnTo>
                    <a:pt x="47549" y="27156"/>
                  </a:lnTo>
                  <a:lnTo>
                    <a:pt x="46949" y="28765"/>
                  </a:lnTo>
                  <a:lnTo>
                    <a:pt x="45272" y="28575"/>
                  </a:lnTo>
                  <a:lnTo>
                    <a:pt x="43244" y="28565"/>
                  </a:lnTo>
                  <a:lnTo>
                    <a:pt x="42586" y="29585"/>
                  </a:lnTo>
                  <a:lnTo>
                    <a:pt x="43558" y="31261"/>
                  </a:lnTo>
                  <a:lnTo>
                    <a:pt x="44187" y="33223"/>
                  </a:lnTo>
                  <a:lnTo>
                    <a:pt x="43682" y="35919"/>
                  </a:lnTo>
                  <a:lnTo>
                    <a:pt x="43510" y="36271"/>
                  </a:lnTo>
                  <a:lnTo>
                    <a:pt x="43025" y="36176"/>
                  </a:lnTo>
                  <a:lnTo>
                    <a:pt x="40167" y="37738"/>
                  </a:lnTo>
                  <a:lnTo>
                    <a:pt x="38052" y="38471"/>
                  </a:lnTo>
                  <a:lnTo>
                    <a:pt x="36138" y="38843"/>
                  </a:lnTo>
                  <a:lnTo>
                    <a:pt x="35233" y="38090"/>
                  </a:lnTo>
                  <a:lnTo>
                    <a:pt x="34786" y="37071"/>
                  </a:lnTo>
                  <a:lnTo>
                    <a:pt x="34871" y="34119"/>
                  </a:lnTo>
                  <a:lnTo>
                    <a:pt x="34519" y="33118"/>
                  </a:lnTo>
                  <a:lnTo>
                    <a:pt x="33871" y="32633"/>
                  </a:lnTo>
                  <a:lnTo>
                    <a:pt x="32557" y="33328"/>
                  </a:lnTo>
                  <a:lnTo>
                    <a:pt x="31042" y="35623"/>
                  </a:lnTo>
                  <a:lnTo>
                    <a:pt x="29623" y="38272"/>
                  </a:lnTo>
                  <a:lnTo>
                    <a:pt x="27499" y="41034"/>
                  </a:lnTo>
                  <a:lnTo>
                    <a:pt x="25746" y="43682"/>
                  </a:lnTo>
                  <a:lnTo>
                    <a:pt x="23860" y="47025"/>
                  </a:lnTo>
                  <a:lnTo>
                    <a:pt x="22574" y="49778"/>
                  </a:lnTo>
                  <a:lnTo>
                    <a:pt x="23908" y="51340"/>
                  </a:lnTo>
                  <a:lnTo>
                    <a:pt x="24727" y="53492"/>
                  </a:lnTo>
                  <a:lnTo>
                    <a:pt x="24479" y="55112"/>
                  </a:lnTo>
                  <a:lnTo>
                    <a:pt x="24718" y="56055"/>
                  </a:lnTo>
                  <a:lnTo>
                    <a:pt x="24299" y="58884"/>
                  </a:lnTo>
                  <a:lnTo>
                    <a:pt x="24222" y="60665"/>
                  </a:lnTo>
                  <a:lnTo>
                    <a:pt x="20051" y="57817"/>
                  </a:lnTo>
                  <a:lnTo>
                    <a:pt x="18336" y="53807"/>
                  </a:lnTo>
                  <a:lnTo>
                    <a:pt x="12240" y="47015"/>
                  </a:lnTo>
                  <a:lnTo>
                    <a:pt x="5258" y="42386"/>
                  </a:lnTo>
                  <a:lnTo>
                    <a:pt x="4886" y="41653"/>
                  </a:lnTo>
                  <a:lnTo>
                    <a:pt x="5268" y="40757"/>
                  </a:lnTo>
                  <a:lnTo>
                    <a:pt x="5601" y="40052"/>
                  </a:lnTo>
                  <a:lnTo>
                    <a:pt x="4143" y="39996"/>
                  </a:lnTo>
                  <a:lnTo>
                    <a:pt x="3134" y="40567"/>
                  </a:lnTo>
                  <a:lnTo>
                    <a:pt x="2163" y="40405"/>
                  </a:lnTo>
                  <a:lnTo>
                    <a:pt x="1077" y="38662"/>
                  </a:lnTo>
                  <a:lnTo>
                    <a:pt x="48" y="37157"/>
                  </a:lnTo>
                  <a:lnTo>
                    <a:pt x="0" y="35823"/>
                  </a:lnTo>
                  <a:lnTo>
                    <a:pt x="467" y="35652"/>
                  </a:lnTo>
                  <a:lnTo>
                    <a:pt x="1162" y="35119"/>
                  </a:lnTo>
                  <a:lnTo>
                    <a:pt x="2639" y="33642"/>
                  </a:lnTo>
                  <a:lnTo>
                    <a:pt x="2934" y="32861"/>
                  </a:lnTo>
                  <a:lnTo>
                    <a:pt x="2858" y="31680"/>
                  </a:lnTo>
                  <a:lnTo>
                    <a:pt x="791" y="27946"/>
                  </a:lnTo>
                  <a:lnTo>
                    <a:pt x="495" y="25517"/>
                  </a:lnTo>
                  <a:lnTo>
                    <a:pt x="200" y="20993"/>
                  </a:lnTo>
                  <a:lnTo>
                    <a:pt x="638" y="19926"/>
                  </a:lnTo>
                  <a:lnTo>
                    <a:pt x="1391" y="19402"/>
                  </a:lnTo>
                  <a:lnTo>
                    <a:pt x="5001" y="18840"/>
                  </a:lnTo>
                  <a:lnTo>
                    <a:pt x="4953" y="15307"/>
                  </a:lnTo>
                  <a:lnTo>
                    <a:pt x="5172" y="14240"/>
                  </a:lnTo>
                  <a:lnTo>
                    <a:pt x="5896" y="12773"/>
                  </a:lnTo>
                  <a:lnTo>
                    <a:pt x="6353" y="11430"/>
                  </a:lnTo>
                  <a:lnTo>
                    <a:pt x="8363" y="9497"/>
                  </a:lnTo>
                  <a:lnTo>
                    <a:pt x="11087" y="7201"/>
                  </a:lnTo>
                  <a:lnTo>
                    <a:pt x="12278" y="7125"/>
                  </a:lnTo>
                  <a:lnTo>
                    <a:pt x="13316" y="7449"/>
                  </a:lnTo>
                  <a:lnTo>
                    <a:pt x="14497" y="9430"/>
                  </a:lnTo>
                  <a:lnTo>
                    <a:pt x="15783" y="9173"/>
                  </a:lnTo>
                  <a:lnTo>
                    <a:pt x="16050" y="6791"/>
                  </a:lnTo>
                  <a:lnTo>
                    <a:pt x="14364" y="3677"/>
                  </a:lnTo>
                  <a:lnTo>
                    <a:pt x="13468" y="1686"/>
                  </a:lnTo>
                  <a:lnTo>
                    <a:pt x="13745" y="581"/>
                  </a:lnTo>
                  <a:lnTo>
                    <a:pt x="14374" y="0"/>
                  </a:lnTo>
                  <a:lnTo>
                    <a:pt x="15831" y="362"/>
                  </a:lnTo>
                  <a:lnTo>
                    <a:pt x="17212" y="914"/>
                  </a:lnTo>
                  <a:lnTo>
                    <a:pt x="18079" y="543"/>
                  </a:lnTo>
                  <a:lnTo>
                    <a:pt x="19460" y="257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1" name="Forme libre : forme 40">
              <a:extLst>
                <a:ext uri="{FF2B5EF4-FFF2-40B4-BE49-F238E27FC236}">
                  <a16:creationId xmlns:a16="http://schemas.microsoft.com/office/drawing/2014/main" id="{854C851D-3273-8533-E8FB-D5C592A83C74}"/>
                </a:ext>
              </a:extLst>
            </p:cNvPr>
            <p:cNvSpPr/>
            <p:nvPr/>
          </p:nvSpPr>
          <p:spPr>
            <a:xfrm>
              <a:off x="6650902" y="5204877"/>
              <a:ext cx="178201" cy="134773"/>
            </a:xfrm>
            <a:custGeom>
              <a:avLst/>
              <a:gdLst>
                <a:gd name="connsiteX0" fmla="*/ 50673 w 68360"/>
                <a:gd name="connsiteY0" fmla="*/ 1591 h 53721"/>
                <a:gd name="connsiteX1" fmla="*/ 54797 w 68360"/>
                <a:gd name="connsiteY1" fmla="*/ 6944 h 53721"/>
                <a:gd name="connsiteX2" fmla="*/ 57055 w 68360"/>
                <a:gd name="connsiteY2" fmla="*/ 9115 h 53721"/>
                <a:gd name="connsiteX3" fmla="*/ 59712 w 68360"/>
                <a:gd name="connsiteY3" fmla="*/ 10754 h 53721"/>
                <a:gd name="connsiteX4" fmla="*/ 62751 w 68360"/>
                <a:gd name="connsiteY4" fmla="*/ 11954 h 53721"/>
                <a:gd name="connsiteX5" fmla="*/ 63846 w 68360"/>
                <a:gd name="connsiteY5" fmla="*/ 13097 h 53721"/>
                <a:gd name="connsiteX6" fmla="*/ 65780 w 68360"/>
                <a:gd name="connsiteY6" fmla="*/ 18764 h 53721"/>
                <a:gd name="connsiteX7" fmla="*/ 66703 w 68360"/>
                <a:gd name="connsiteY7" fmla="*/ 20917 h 53721"/>
                <a:gd name="connsiteX8" fmla="*/ 67989 w 68360"/>
                <a:gd name="connsiteY8" fmla="*/ 21555 h 53721"/>
                <a:gd name="connsiteX9" fmla="*/ 68303 w 68360"/>
                <a:gd name="connsiteY9" fmla="*/ 22174 h 53721"/>
                <a:gd name="connsiteX10" fmla="*/ 68361 w 68360"/>
                <a:gd name="connsiteY10" fmla="*/ 22993 h 53721"/>
                <a:gd name="connsiteX11" fmla="*/ 66913 w 68360"/>
                <a:gd name="connsiteY11" fmla="*/ 26965 h 53721"/>
                <a:gd name="connsiteX12" fmla="*/ 66323 w 68360"/>
                <a:gd name="connsiteY12" fmla="*/ 35833 h 53721"/>
                <a:gd name="connsiteX13" fmla="*/ 65961 w 68360"/>
                <a:gd name="connsiteY13" fmla="*/ 36538 h 53721"/>
                <a:gd name="connsiteX14" fmla="*/ 64446 w 68360"/>
                <a:gd name="connsiteY14" fmla="*/ 36500 h 53721"/>
                <a:gd name="connsiteX15" fmla="*/ 62427 w 68360"/>
                <a:gd name="connsiteY15" fmla="*/ 36690 h 53721"/>
                <a:gd name="connsiteX16" fmla="*/ 61665 w 68360"/>
                <a:gd name="connsiteY16" fmla="*/ 37376 h 53721"/>
                <a:gd name="connsiteX17" fmla="*/ 60855 w 68360"/>
                <a:gd name="connsiteY17" fmla="*/ 42129 h 53721"/>
                <a:gd name="connsiteX18" fmla="*/ 57607 w 68360"/>
                <a:gd name="connsiteY18" fmla="*/ 43482 h 53721"/>
                <a:gd name="connsiteX19" fmla="*/ 54664 w 68360"/>
                <a:gd name="connsiteY19" fmla="*/ 44244 h 53721"/>
                <a:gd name="connsiteX20" fmla="*/ 52188 w 68360"/>
                <a:gd name="connsiteY20" fmla="*/ 44072 h 53721"/>
                <a:gd name="connsiteX21" fmla="*/ 47825 w 68360"/>
                <a:gd name="connsiteY21" fmla="*/ 42948 h 53721"/>
                <a:gd name="connsiteX22" fmla="*/ 46406 w 68360"/>
                <a:gd name="connsiteY22" fmla="*/ 42824 h 53721"/>
                <a:gd name="connsiteX23" fmla="*/ 45186 w 68360"/>
                <a:gd name="connsiteY23" fmla="*/ 43463 h 53721"/>
                <a:gd name="connsiteX24" fmla="*/ 41291 w 68360"/>
                <a:gd name="connsiteY24" fmla="*/ 43805 h 53721"/>
                <a:gd name="connsiteX25" fmla="*/ 39586 w 68360"/>
                <a:gd name="connsiteY25" fmla="*/ 44634 h 53721"/>
                <a:gd name="connsiteX26" fmla="*/ 35576 w 68360"/>
                <a:gd name="connsiteY26" fmla="*/ 50178 h 53721"/>
                <a:gd name="connsiteX27" fmla="*/ 31518 w 68360"/>
                <a:gd name="connsiteY27" fmla="*/ 52092 h 53721"/>
                <a:gd name="connsiteX28" fmla="*/ 30127 w 68360"/>
                <a:gd name="connsiteY28" fmla="*/ 53054 h 53721"/>
                <a:gd name="connsiteX29" fmla="*/ 27032 w 68360"/>
                <a:gd name="connsiteY29" fmla="*/ 51835 h 53721"/>
                <a:gd name="connsiteX30" fmla="*/ 25546 w 68360"/>
                <a:gd name="connsiteY30" fmla="*/ 51702 h 53721"/>
                <a:gd name="connsiteX31" fmla="*/ 23393 w 68360"/>
                <a:gd name="connsiteY31" fmla="*/ 53112 h 53721"/>
                <a:gd name="connsiteX32" fmla="*/ 18688 w 68360"/>
                <a:gd name="connsiteY32" fmla="*/ 53254 h 53721"/>
                <a:gd name="connsiteX33" fmla="*/ 17421 w 68360"/>
                <a:gd name="connsiteY33" fmla="*/ 53502 h 53721"/>
                <a:gd name="connsiteX34" fmla="*/ 13792 w 68360"/>
                <a:gd name="connsiteY34" fmla="*/ 53721 h 53721"/>
                <a:gd name="connsiteX35" fmla="*/ 13640 w 68360"/>
                <a:gd name="connsiteY35" fmla="*/ 52959 h 53721"/>
                <a:gd name="connsiteX36" fmla="*/ 12963 w 68360"/>
                <a:gd name="connsiteY36" fmla="*/ 51845 h 53721"/>
                <a:gd name="connsiteX37" fmla="*/ 11268 w 68360"/>
                <a:gd name="connsiteY37" fmla="*/ 51321 h 53721"/>
                <a:gd name="connsiteX38" fmla="*/ 7811 w 68360"/>
                <a:gd name="connsiteY38" fmla="*/ 51768 h 53721"/>
                <a:gd name="connsiteX39" fmla="*/ 6972 w 68360"/>
                <a:gd name="connsiteY39" fmla="*/ 50959 h 53721"/>
                <a:gd name="connsiteX40" fmla="*/ 5543 w 68360"/>
                <a:gd name="connsiteY40" fmla="*/ 46254 h 53721"/>
                <a:gd name="connsiteX41" fmla="*/ 4439 w 68360"/>
                <a:gd name="connsiteY41" fmla="*/ 45501 h 53721"/>
                <a:gd name="connsiteX42" fmla="*/ 3191 w 68360"/>
                <a:gd name="connsiteY42" fmla="*/ 43920 h 53721"/>
                <a:gd name="connsiteX43" fmla="*/ 1086 w 68360"/>
                <a:gd name="connsiteY43" fmla="*/ 38795 h 53721"/>
                <a:gd name="connsiteX44" fmla="*/ 1028 w 68360"/>
                <a:gd name="connsiteY44" fmla="*/ 36547 h 53721"/>
                <a:gd name="connsiteX45" fmla="*/ 1171 w 68360"/>
                <a:gd name="connsiteY45" fmla="*/ 34576 h 53721"/>
                <a:gd name="connsiteX46" fmla="*/ 0 w 68360"/>
                <a:gd name="connsiteY46" fmla="*/ 29966 h 53721"/>
                <a:gd name="connsiteX47" fmla="*/ 724 w 68360"/>
                <a:gd name="connsiteY47" fmla="*/ 28794 h 53721"/>
                <a:gd name="connsiteX48" fmla="*/ 1810 w 68360"/>
                <a:gd name="connsiteY48" fmla="*/ 28061 h 53721"/>
                <a:gd name="connsiteX49" fmla="*/ 1819 w 68360"/>
                <a:gd name="connsiteY49" fmla="*/ 26194 h 53721"/>
                <a:gd name="connsiteX50" fmla="*/ 1514 w 68360"/>
                <a:gd name="connsiteY50" fmla="*/ 23365 h 53721"/>
                <a:gd name="connsiteX51" fmla="*/ 2800 w 68360"/>
                <a:gd name="connsiteY51" fmla="*/ 17802 h 53721"/>
                <a:gd name="connsiteX52" fmla="*/ 3143 w 68360"/>
                <a:gd name="connsiteY52" fmla="*/ 17393 h 53721"/>
                <a:gd name="connsiteX53" fmla="*/ 3477 w 68360"/>
                <a:gd name="connsiteY53" fmla="*/ 17659 h 53721"/>
                <a:gd name="connsiteX54" fmla="*/ 6582 w 68360"/>
                <a:gd name="connsiteY54" fmla="*/ 18107 h 53721"/>
                <a:gd name="connsiteX55" fmla="*/ 7391 w 68360"/>
                <a:gd name="connsiteY55" fmla="*/ 17402 h 53721"/>
                <a:gd name="connsiteX56" fmla="*/ 7906 w 68360"/>
                <a:gd name="connsiteY56" fmla="*/ 16297 h 53721"/>
                <a:gd name="connsiteX57" fmla="*/ 8068 w 68360"/>
                <a:gd name="connsiteY57" fmla="*/ 12211 h 53721"/>
                <a:gd name="connsiteX58" fmla="*/ 8811 w 68360"/>
                <a:gd name="connsiteY58" fmla="*/ 10325 h 53721"/>
                <a:gd name="connsiteX59" fmla="*/ 16335 w 68360"/>
                <a:gd name="connsiteY59" fmla="*/ 6725 h 53721"/>
                <a:gd name="connsiteX60" fmla="*/ 18555 w 68360"/>
                <a:gd name="connsiteY60" fmla="*/ 6591 h 53721"/>
                <a:gd name="connsiteX61" fmla="*/ 20250 w 68360"/>
                <a:gd name="connsiteY61" fmla="*/ 8249 h 53721"/>
                <a:gd name="connsiteX62" fmla="*/ 21593 w 68360"/>
                <a:gd name="connsiteY62" fmla="*/ 9306 h 53721"/>
                <a:gd name="connsiteX63" fmla="*/ 22403 w 68360"/>
                <a:gd name="connsiteY63" fmla="*/ 9268 h 53721"/>
                <a:gd name="connsiteX64" fmla="*/ 22698 w 68360"/>
                <a:gd name="connsiteY64" fmla="*/ 8211 h 53721"/>
                <a:gd name="connsiteX65" fmla="*/ 23613 w 68360"/>
                <a:gd name="connsiteY65" fmla="*/ 6153 h 53721"/>
                <a:gd name="connsiteX66" fmla="*/ 25155 w 68360"/>
                <a:gd name="connsiteY66" fmla="*/ 4982 h 53721"/>
                <a:gd name="connsiteX67" fmla="*/ 29737 w 68360"/>
                <a:gd name="connsiteY67" fmla="*/ 3981 h 53721"/>
                <a:gd name="connsiteX68" fmla="*/ 29775 w 68360"/>
                <a:gd name="connsiteY68" fmla="*/ 3981 h 53721"/>
                <a:gd name="connsiteX69" fmla="*/ 31270 w 68360"/>
                <a:gd name="connsiteY69" fmla="*/ 4181 h 53721"/>
                <a:gd name="connsiteX70" fmla="*/ 34500 w 68360"/>
                <a:gd name="connsiteY70" fmla="*/ 3258 h 53721"/>
                <a:gd name="connsiteX71" fmla="*/ 36519 w 68360"/>
                <a:gd name="connsiteY71" fmla="*/ 1981 h 53721"/>
                <a:gd name="connsiteX72" fmla="*/ 37548 w 68360"/>
                <a:gd name="connsiteY72" fmla="*/ 1791 h 53721"/>
                <a:gd name="connsiteX73" fmla="*/ 38909 w 68360"/>
                <a:gd name="connsiteY73" fmla="*/ 1305 h 53721"/>
                <a:gd name="connsiteX74" fmla="*/ 40872 w 68360"/>
                <a:gd name="connsiteY74" fmla="*/ 1372 h 53721"/>
                <a:gd name="connsiteX75" fmla="*/ 42863 w 68360"/>
                <a:gd name="connsiteY75" fmla="*/ 1924 h 53721"/>
                <a:gd name="connsiteX76" fmla="*/ 45396 w 68360"/>
                <a:gd name="connsiteY76" fmla="*/ 1191 h 53721"/>
                <a:gd name="connsiteX77" fmla="*/ 47882 w 68360"/>
                <a:gd name="connsiteY77" fmla="*/ 0 h 53721"/>
                <a:gd name="connsiteX78" fmla="*/ 48882 w 68360"/>
                <a:gd name="connsiteY78" fmla="*/ 305 h 53721"/>
                <a:gd name="connsiteX79" fmla="*/ 49959 w 68360"/>
                <a:gd name="connsiteY79" fmla="*/ 1314 h 53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8360" h="53721">
                  <a:moveTo>
                    <a:pt x="50673" y="1591"/>
                  </a:moveTo>
                  <a:lnTo>
                    <a:pt x="54797" y="6944"/>
                  </a:lnTo>
                  <a:lnTo>
                    <a:pt x="57055" y="9115"/>
                  </a:lnTo>
                  <a:lnTo>
                    <a:pt x="59712" y="10754"/>
                  </a:lnTo>
                  <a:lnTo>
                    <a:pt x="62751" y="11954"/>
                  </a:lnTo>
                  <a:lnTo>
                    <a:pt x="63846" y="13097"/>
                  </a:lnTo>
                  <a:lnTo>
                    <a:pt x="65780" y="18764"/>
                  </a:lnTo>
                  <a:lnTo>
                    <a:pt x="66703" y="20917"/>
                  </a:lnTo>
                  <a:lnTo>
                    <a:pt x="67989" y="21555"/>
                  </a:lnTo>
                  <a:lnTo>
                    <a:pt x="68303" y="22174"/>
                  </a:lnTo>
                  <a:lnTo>
                    <a:pt x="68361" y="22993"/>
                  </a:lnTo>
                  <a:lnTo>
                    <a:pt x="66913" y="26965"/>
                  </a:lnTo>
                  <a:lnTo>
                    <a:pt x="66323" y="35833"/>
                  </a:lnTo>
                  <a:lnTo>
                    <a:pt x="65961" y="36538"/>
                  </a:lnTo>
                  <a:lnTo>
                    <a:pt x="64446" y="36500"/>
                  </a:lnTo>
                  <a:lnTo>
                    <a:pt x="62427" y="36690"/>
                  </a:lnTo>
                  <a:lnTo>
                    <a:pt x="61665" y="37376"/>
                  </a:lnTo>
                  <a:lnTo>
                    <a:pt x="60855" y="42129"/>
                  </a:lnTo>
                  <a:lnTo>
                    <a:pt x="57607" y="43482"/>
                  </a:lnTo>
                  <a:lnTo>
                    <a:pt x="54664" y="44244"/>
                  </a:lnTo>
                  <a:lnTo>
                    <a:pt x="52188" y="44072"/>
                  </a:lnTo>
                  <a:lnTo>
                    <a:pt x="47825" y="42948"/>
                  </a:lnTo>
                  <a:lnTo>
                    <a:pt x="46406" y="42824"/>
                  </a:lnTo>
                  <a:lnTo>
                    <a:pt x="45186" y="43463"/>
                  </a:lnTo>
                  <a:lnTo>
                    <a:pt x="41291" y="43805"/>
                  </a:lnTo>
                  <a:lnTo>
                    <a:pt x="39586" y="44634"/>
                  </a:lnTo>
                  <a:lnTo>
                    <a:pt x="35576" y="50178"/>
                  </a:lnTo>
                  <a:lnTo>
                    <a:pt x="31518" y="52092"/>
                  </a:lnTo>
                  <a:lnTo>
                    <a:pt x="30127" y="53054"/>
                  </a:lnTo>
                  <a:lnTo>
                    <a:pt x="27032" y="51835"/>
                  </a:lnTo>
                  <a:lnTo>
                    <a:pt x="25546" y="51702"/>
                  </a:lnTo>
                  <a:lnTo>
                    <a:pt x="23393" y="53112"/>
                  </a:lnTo>
                  <a:lnTo>
                    <a:pt x="18688" y="53254"/>
                  </a:lnTo>
                  <a:lnTo>
                    <a:pt x="17421" y="53502"/>
                  </a:lnTo>
                  <a:lnTo>
                    <a:pt x="13792" y="53721"/>
                  </a:lnTo>
                  <a:lnTo>
                    <a:pt x="13640" y="52959"/>
                  </a:lnTo>
                  <a:lnTo>
                    <a:pt x="12963" y="51845"/>
                  </a:lnTo>
                  <a:lnTo>
                    <a:pt x="11268" y="51321"/>
                  </a:lnTo>
                  <a:lnTo>
                    <a:pt x="7811" y="51768"/>
                  </a:lnTo>
                  <a:lnTo>
                    <a:pt x="6972" y="50959"/>
                  </a:lnTo>
                  <a:lnTo>
                    <a:pt x="5543" y="46254"/>
                  </a:lnTo>
                  <a:lnTo>
                    <a:pt x="4439" y="45501"/>
                  </a:lnTo>
                  <a:lnTo>
                    <a:pt x="3191" y="43920"/>
                  </a:lnTo>
                  <a:lnTo>
                    <a:pt x="1086" y="38795"/>
                  </a:lnTo>
                  <a:lnTo>
                    <a:pt x="1028" y="36547"/>
                  </a:lnTo>
                  <a:lnTo>
                    <a:pt x="1171" y="34576"/>
                  </a:lnTo>
                  <a:lnTo>
                    <a:pt x="0" y="29966"/>
                  </a:lnTo>
                  <a:lnTo>
                    <a:pt x="724" y="28794"/>
                  </a:lnTo>
                  <a:lnTo>
                    <a:pt x="1810" y="28061"/>
                  </a:lnTo>
                  <a:lnTo>
                    <a:pt x="1819" y="26194"/>
                  </a:lnTo>
                  <a:lnTo>
                    <a:pt x="1514" y="23365"/>
                  </a:lnTo>
                  <a:lnTo>
                    <a:pt x="2800" y="17802"/>
                  </a:lnTo>
                  <a:lnTo>
                    <a:pt x="3143" y="17393"/>
                  </a:lnTo>
                  <a:lnTo>
                    <a:pt x="3477" y="17659"/>
                  </a:lnTo>
                  <a:lnTo>
                    <a:pt x="6582" y="18107"/>
                  </a:lnTo>
                  <a:lnTo>
                    <a:pt x="7391" y="17402"/>
                  </a:lnTo>
                  <a:lnTo>
                    <a:pt x="7906" y="16297"/>
                  </a:lnTo>
                  <a:lnTo>
                    <a:pt x="8068" y="12211"/>
                  </a:lnTo>
                  <a:lnTo>
                    <a:pt x="8811" y="10325"/>
                  </a:lnTo>
                  <a:lnTo>
                    <a:pt x="16335" y="6725"/>
                  </a:lnTo>
                  <a:lnTo>
                    <a:pt x="18555" y="6591"/>
                  </a:lnTo>
                  <a:lnTo>
                    <a:pt x="20250" y="8249"/>
                  </a:lnTo>
                  <a:lnTo>
                    <a:pt x="21593" y="9306"/>
                  </a:lnTo>
                  <a:lnTo>
                    <a:pt x="22403" y="9268"/>
                  </a:lnTo>
                  <a:lnTo>
                    <a:pt x="22698" y="8211"/>
                  </a:lnTo>
                  <a:lnTo>
                    <a:pt x="23613" y="6153"/>
                  </a:lnTo>
                  <a:lnTo>
                    <a:pt x="25155" y="4982"/>
                  </a:lnTo>
                  <a:lnTo>
                    <a:pt x="29737" y="3981"/>
                  </a:lnTo>
                  <a:lnTo>
                    <a:pt x="29775" y="3981"/>
                  </a:lnTo>
                  <a:lnTo>
                    <a:pt x="31270" y="4181"/>
                  </a:lnTo>
                  <a:lnTo>
                    <a:pt x="34500" y="3258"/>
                  </a:lnTo>
                  <a:lnTo>
                    <a:pt x="36519" y="1981"/>
                  </a:lnTo>
                  <a:lnTo>
                    <a:pt x="37548" y="1791"/>
                  </a:lnTo>
                  <a:lnTo>
                    <a:pt x="38909" y="1305"/>
                  </a:lnTo>
                  <a:lnTo>
                    <a:pt x="40872" y="1372"/>
                  </a:lnTo>
                  <a:lnTo>
                    <a:pt x="42863" y="1924"/>
                  </a:lnTo>
                  <a:lnTo>
                    <a:pt x="45396" y="1191"/>
                  </a:lnTo>
                  <a:lnTo>
                    <a:pt x="47882" y="0"/>
                  </a:lnTo>
                  <a:lnTo>
                    <a:pt x="48882" y="305"/>
                  </a:lnTo>
                  <a:lnTo>
                    <a:pt x="49959" y="1314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2" name="Forme libre : forme 41">
              <a:extLst>
                <a:ext uri="{FF2B5EF4-FFF2-40B4-BE49-F238E27FC236}">
                  <a16:creationId xmlns:a16="http://schemas.microsoft.com/office/drawing/2014/main" id="{5695DAC6-FE40-C999-FC64-92497E7ED90A}"/>
                </a:ext>
              </a:extLst>
            </p:cNvPr>
            <p:cNvSpPr/>
            <p:nvPr/>
          </p:nvSpPr>
          <p:spPr>
            <a:xfrm>
              <a:off x="6214093" y="5747124"/>
              <a:ext cx="26890" cy="21099"/>
            </a:xfrm>
            <a:custGeom>
              <a:avLst/>
              <a:gdLst>
                <a:gd name="connsiteX0" fmla="*/ 3563 w 10315"/>
                <a:gd name="connsiteY0" fmla="*/ 1591 h 8410"/>
                <a:gd name="connsiteX1" fmla="*/ 1963 w 10315"/>
                <a:gd name="connsiteY1" fmla="*/ 2096 h 8410"/>
                <a:gd name="connsiteX2" fmla="*/ 371 w 10315"/>
                <a:gd name="connsiteY2" fmla="*/ 1105 h 8410"/>
                <a:gd name="connsiteX3" fmla="*/ 0 w 10315"/>
                <a:gd name="connsiteY3" fmla="*/ 505 h 8410"/>
                <a:gd name="connsiteX4" fmla="*/ 2210 w 10315"/>
                <a:gd name="connsiteY4" fmla="*/ 0 h 8410"/>
                <a:gd name="connsiteX5" fmla="*/ 3296 w 10315"/>
                <a:gd name="connsiteY5" fmla="*/ 448 h 8410"/>
                <a:gd name="connsiteX6" fmla="*/ 3753 w 10315"/>
                <a:gd name="connsiteY6" fmla="*/ 1305 h 8410"/>
                <a:gd name="connsiteX7" fmla="*/ 3563 w 10315"/>
                <a:gd name="connsiteY7" fmla="*/ 1591 h 8410"/>
                <a:gd name="connsiteX8" fmla="*/ 10316 w 10315"/>
                <a:gd name="connsiteY8" fmla="*/ 7344 h 8410"/>
                <a:gd name="connsiteX9" fmla="*/ 9420 w 10315"/>
                <a:gd name="connsiteY9" fmla="*/ 8411 h 8410"/>
                <a:gd name="connsiteX10" fmla="*/ 6849 w 10315"/>
                <a:gd name="connsiteY10" fmla="*/ 8363 h 8410"/>
                <a:gd name="connsiteX11" fmla="*/ 4601 w 10315"/>
                <a:gd name="connsiteY11" fmla="*/ 6696 h 8410"/>
                <a:gd name="connsiteX12" fmla="*/ 4582 w 10315"/>
                <a:gd name="connsiteY12" fmla="*/ 3210 h 8410"/>
                <a:gd name="connsiteX13" fmla="*/ 7173 w 10315"/>
                <a:gd name="connsiteY13" fmla="*/ 3896 h 8410"/>
                <a:gd name="connsiteX14" fmla="*/ 9544 w 10315"/>
                <a:gd name="connsiteY14" fmla="*/ 6229 h 8410"/>
                <a:gd name="connsiteX15" fmla="*/ 10316 w 10315"/>
                <a:gd name="connsiteY15" fmla="*/ 7344 h 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315" h="8410">
                  <a:moveTo>
                    <a:pt x="3563" y="1591"/>
                  </a:moveTo>
                  <a:lnTo>
                    <a:pt x="1963" y="2096"/>
                  </a:lnTo>
                  <a:lnTo>
                    <a:pt x="371" y="1105"/>
                  </a:lnTo>
                  <a:lnTo>
                    <a:pt x="0" y="505"/>
                  </a:lnTo>
                  <a:lnTo>
                    <a:pt x="2210" y="0"/>
                  </a:lnTo>
                  <a:lnTo>
                    <a:pt x="3296" y="448"/>
                  </a:lnTo>
                  <a:lnTo>
                    <a:pt x="3753" y="1305"/>
                  </a:lnTo>
                  <a:lnTo>
                    <a:pt x="3563" y="1591"/>
                  </a:lnTo>
                  <a:close/>
                  <a:moveTo>
                    <a:pt x="10316" y="7344"/>
                  </a:moveTo>
                  <a:lnTo>
                    <a:pt x="9420" y="8411"/>
                  </a:lnTo>
                  <a:lnTo>
                    <a:pt x="6849" y="8363"/>
                  </a:lnTo>
                  <a:lnTo>
                    <a:pt x="4601" y="6696"/>
                  </a:lnTo>
                  <a:lnTo>
                    <a:pt x="4582" y="3210"/>
                  </a:lnTo>
                  <a:lnTo>
                    <a:pt x="7173" y="3896"/>
                  </a:lnTo>
                  <a:lnTo>
                    <a:pt x="9544" y="6229"/>
                  </a:lnTo>
                  <a:lnTo>
                    <a:pt x="10316" y="7344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3" name="Forme libre : forme 42">
              <a:extLst>
                <a:ext uri="{FF2B5EF4-FFF2-40B4-BE49-F238E27FC236}">
                  <a16:creationId xmlns:a16="http://schemas.microsoft.com/office/drawing/2014/main" id="{56BE59C0-8833-B90B-EF40-3B4C3364F292}"/>
                </a:ext>
              </a:extLst>
            </p:cNvPr>
            <p:cNvSpPr/>
            <p:nvPr/>
          </p:nvSpPr>
          <p:spPr>
            <a:xfrm>
              <a:off x="5459461" y="4072806"/>
              <a:ext cx="268037" cy="313872"/>
            </a:xfrm>
            <a:custGeom>
              <a:avLst/>
              <a:gdLst>
                <a:gd name="connsiteX0" fmla="*/ 50302 w 102822"/>
                <a:gd name="connsiteY0" fmla="*/ 11106 h 125110"/>
                <a:gd name="connsiteX1" fmla="*/ 49168 w 102822"/>
                <a:gd name="connsiteY1" fmla="*/ 10487 h 125110"/>
                <a:gd name="connsiteX2" fmla="*/ 55178 w 102822"/>
                <a:gd name="connsiteY2" fmla="*/ 8706 h 125110"/>
                <a:gd name="connsiteX3" fmla="*/ 58979 w 102822"/>
                <a:gd name="connsiteY3" fmla="*/ 8163 h 125110"/>
                <a:gd name="connsiteX4" fmla="*/ 59655 w 102822"/>
                <a:gd name="connsiteY4" fmla="*/ 8401 h 125110"/>
                <a:gd name="connsiteX5" fmla="*/ 52787 w 102822"/>
                <a:gd name="connsiteY5" fmla="*/ 10744 h 125110"/>
                <a:gd name="connsiteX6" fmla="*/ 50302 w 102822"/>
                <a:gd name="connsiteY6" fmla="*/ 11106 h 125110"/>
                <a:gd name="connsiteX7" fmla="*/ 63646 w 102822"/>
                <a:gd name="connsiteY7" fmla="*/ 8211 h 125110"/>
                <a:gd name="connsiteX8" fmla="*/ 68923 w 102822"/>
                <a:gd name="connsiteY8" fmla="*/ 7477 h 125110"/>
                <a:gd name="connsiteX9" fmla="*/ 68894 w 102822"/>
                <a:gd name="connsiteY9" fmla="*/ 7201 h 125110"/>
                <a:gd name="connsiteX10" fmla="*/ 67504 w 102822"/>
                <a:gd name="connsiteY10" fmla="*/ 6753 h 125110"/>
                <a:gd name="connsiteX11" fmla="*/ 63008 w 102822"/>
                <a:gd name="connsiteY11" fmla="*/ 6830 h 125110"/>
                <a:gd name="connsiteX12" fmla="*/ 61569 w 102822"/>
                <a:gd name="connsiteY12" fmla="*/ 7144 h 125110"/>
                <a:gd name="connsiteX13" fmla="*/ 61865 w 102822"/>
                <a:gd name="connsiteY13" fmla="*/ 7668 h 125110"/>
                <a:gd name="connsiteX14" fmla="*/ 63646 w 102822"/>
                <a:gd name="connsiteY14" fmla="*/ 8211 h 125110"/>
                <a:gd name="connsiteX15" fmla="*/ 79724 w 102822"/>
                <a:gd name="connsiteY15" fmla="*/ 5153 h 125110"/>
                <a:gd name="connsiteX16" fmla="*/ 78591 w 102822"/>
                <a:gd name="connsiteY16" fmla="*/ 4962 h 125110"/>
                <a:gd name="connsiteX17" fmla="*/ 75295 w 102822"/>
                <a:gd name="connsiteY17" fmla="*/ 5915 h 125110"/>
                <a:gd name="connsiteX18" fmla="*/ 75066 w 102822"/>
                <a:gd name="connsiteY18" fmla="*/ 6353 h 125110"/>
                <a:gd name="connsiteX19" fmla="*/ 75981 w 102822"/>
                <a:gd name="connsiteY19" fmla="*/ 6677 h 125110"/>
                <a:gd name="connsiteX20" fmla="*/ 79724 w 102822"/>
                <a:gd name="connsiteY20" fmla="*/ 5153 h 125110"/>
                <a:gd name="connsiteX21" fmla="*/ 46987 w 102822"/>
                <a:gd name="connsiteY21" fmla="*/ 14221 h 125110"/>
                <a:gd name="connsiteX22" fmla="*/ 44806 w 102822"/>
                <a:gd name="connsiteY22" fmla="*/ 14126 h 125110"/>
                <a:gd name="connsiteX23" fmla="*/ 41624 w 102822"/>
                <a:gd name="connsiteY23" fmla="*/ 16974 h 125110"/>
                <a:gd name="connsiteX24" fmla="*/ 42043 w 102822"/>
                <a:gd name="connsiteY24" fmla="*/ 17497 h 125110"/>
                <a:gd name="connsiteX25" fmla="*/ 46987 w 102822"/>
                <a:gd name="connsiteY25" fmla="*/ 14221 h 125110"/>
                <a:gd name="connsiteX26" fmla="*/ 92221 w 102822"/>
                <a:gd name="connsiteY26" fmla="*/ 0 h 125110"/>
                <a:gd name="connsiteX27" fmla="*/ 90983 w 102822"/>
                <a:gd name="connsiteY27" fmla="*/ 0 h 125110"/>
                <a:gd name="connsiteX28" fmla="*/ 88687 w 102822"/>
                <a:gd name="connsiteY28" fmla="*/ 895 h 125110"/>
                <a:gd name="connsiteX29" fmla="*/ 87973 w 102822"/>
                <a:gd name="connsiteY29" fmla="*/ 2086 h 125110"/>
                <a:gd name="connsiteX30" fmla="*/ 90449 w 102822"/>
                <a:gd name="connsiteY30" fmla="*/ 1934 h 125110"/>
                <a:gd name="connsiteX31" fmla="*/ 92221 w 102822"/>
                <a:gd name="connsiteY31" fmla="*/ 0 h 125110"/>
                <a:gd name="connsiteX32" fmla="*/ 17650 w 102822"/>
                <a:gd name="connsiteY32" fmla="*/ 97717 h 125110"/>
                <a:gd name="connsiteX33" fmla="*/ 14240 w 102822"/>
                <a:gd name="connsiteY33" fmla="*/ 99489 h 125110"/>
                <a:gd name="connsiteX34" fmla="*/ 9782 w 102822"/>
                <a:gd name="connsiteY34" fmla="*/ 98870 h 125110"/>
                <a:gd name="connsiteX35" fmla="*/ 6391 w 102822"/>
                <a:gd name="connsiteY35" fmla="*/ 97574 h 125110"/>
                <a:gd name="connsiteX36" fmla="*/ 2019 w 102822"/>
                <a:gd name="connsiteY36" fmla="*/ 97822 h 125110"/>
                <a:gd name="connsiteX37" fmla="*/ 0 w 102822"/>
                <a:gd name="connsiteY37" fmla="*/ 98498 h 125110"/>
                <a:gd name="connsiteX38" fmla="*/ 800 w 102822"/>
                <a:gd name="connsiteY38" fmla="*/ 102194 h 125110"/>
                <a:gd name="connsiteX39" fmla="*/ 1410 w 102822"/>
                <a:gd name="connsiteY39" fmla="*/ 103365 h 125110"/>
                <a:gd name="connsiteX40" fmla="*/ 2200 w 102822"/>
                <a:gd name="connsiteY40" fmla="*/ 104127 h 125110"/>
                <a:gd name="connsiteX41" fmla="*/ 3248 w 102822"/>
                <a:gd name="connsiteY41" fmla="*/ 104280 h 125110"/>
                <a:gd name="connsiteX42" fmla="*/ 4458 w 102822"/>
                <a:gd name="connsiteY42" fmla="*/ 103365 h 125110"/>
                <a:gd name="connsiteX43" fmla="*/ 6144 w 102822"/>
                <a:gd name="connsiteY43" fmla="*/ 102403 h 125110"/>
                <a:gd name="connsiteX44" fmla="*/ 8858 w 102822"/>
                <a:gd name="connsiteY44" fmla="*/ 102851 h 125110"/>
                <a:gd name="connsiteX45" fmla="*/ 10830 w 102822"/>
                <a:gd name="connsiteY45" fmla="*/ 103737 h 125110"/>
                <a:gd name="connsiteX46" fmla="*/ 11535 w 102822"/>
                <a:gd name="connsiteY46" fmla="*/ 104661 h 125110"/>
                <a:gd name="connsiteX47" fmla="*/ 12840 w 102822"/>
                <a:gd name="connsiteY47" fmla="*/ 105537 h 125110"/>
                <a:gd name="connsiteX48" fmla="*/ 14745 w 102822"/>
                <a:gd name="connsiteY48" fmla="*/ 105747 h 125110"/>
                <a:gd name="connsiteX49" fmla="*/ 18431 w 102822"/>
                <a:gd name="connsiteY49" fmla="*/ 104070 h 125110"/>
                <a:gd name="connsiteX50" fmla="*/ 21974 w 102822"/>
                <a:gd name="connsiteY50" fmla="*/ 101508 h 125110"/>
                <a:gd name="connsiteX51" fmla="*/ 23012 w 102822"/>
                <a:gd name="connsiteY51" fmla="*/ 99727 h 125110"/>
                <a:gd name="connsiteX52" fmla="*/ 23403 w 102822"/>
                <a:gd name="connsiteY52" fmla="*/ 98117 h 125110"/>
                <a:gd name="connsiteX53" fmla="*/ 20336 w 102822"/>
                <a:gd name="connsiteY53" fmla="*/ 99222 h 125110"/>
                <a:gd name="connsiteX54" fmla="*/ 17650 w 102822"/>
                <a:gd name="connsiteY54" fmla="*/ 97717 h 125110"/>
                <a:gd name="connsiteX55" fmla="*/ 102822 w 102822"/>
                <a:gd name="connsiteY55" fmla="*/ 15373 h 125110"/>
                <a:gd name="connsiteX56" fmla="*/ 99098 w 102822"/>
                <a:gd name="connsiteY56" fmla="*/ 14564 h 125110"/>
                <a:gd name="connsiteX57" fmla="*/ 96698 w 102822"/>
                <a:gd name="connsiteY57" fmla="*/ 13373 h 125110"/>
                <a:gd name="connsiteX58" fmla="*/ 95202 w 102822"/>
                <a:gd name="connsiteY58" fmla="*/ 11221 h 125110"/>
                <a:gd name="connsiteX59" fmla="*/ 92631 w 102822"/>
                <a:gd name="connsiteY59" fmla="*/ 8277 h 125110"/>
                <a:gd name="connsiteX60" fmla="*/ 85877 w 102822"/>
                <a:gd name="connsiteY60" fmla="*/ 8582 h 125110"/>
                <a:gd name="connsiteX61" fmla="*/ 80258 w 102822"/>
                <a:gd name="connsiteY61" fmla="*/ 9430 h 125110"/>
                <a:gd name="connsiteX62" fmla="*/ 72476 w 102822"/>
                <a:gd name="connsiteY62" fmla="*/ 9792 h 125110"/>
                <a:gd name="connsiteX63" fmla="*/ 67437 w 102822"/>
                <a:gd name="connsiteY63" fmla="*/ 11221 h 125110"/>
                <a:gd name="connsiteX64" fmla="*/ 58312 w 102822"/>
                <a:gd name="connsiteY64" fmla="*/ 15983 h 125110"/>
                <a:gd name="connsiteX65" fmla="*/ 56016 w 102822"/>
                <a:gd name="connsiteY65" fmla="*/ 18412 h 125110"/>
                <a:gd name="connsiteX66" fmla="*/ 53673 w 102822"/>
                <a:gd name="connsiteY66" fmla="*/ 23641 h 125110"/>
                <a:gd name="connsiteX67" fmla="*/ 45729 w 102822"/>
                <a:gd name="connsiteY67" fmla="*/ 29661 h 125110"/>
                <a:gd name="connsiteX68" fmla="*/ 41100 w 102822"/>
                <a:gd name="connsiteY68" fmla="*/ 31975 h 125110"/>
                <a:gd name="connsiteX69" fmla="*/ 39796 w 102822"/>
                <a:gd name="connsiteY69" fmla="*/ 31090 h 125110"/>
                <a:gd name="connsiteX70" fmla="*/ 37919 w 102822"/>
                <a:gd name="connsiteY70" fmla="*/ 30509 h 125110"/>
                <a:gd name="connsiteX71" fmla="*/ 36424 w 102822"/>
                <a:gd name="connsiteY71" fmla="*/ 33566 h 125110"/>
                <a:gd name="connsiteX72" fmla="*/ 35500 w 102822"/>
                <a:gd name="connsiteY72" fmla="*/ 36319 h 125110"/>
                <a:gd name="connsiteX73" fmla="*/ 32395 w 102822"/>
                <a:gd name="connsiteY73" fmla="*/ 52445 h 125110"/>
                <a:gd name="connsiteX74" fmla="*/ 30280 w 102822"/>
                <a:gd name="connsiteY74" fmla="*/ 58274 h 125110"/>
                <a:gd name="connsiteX75" fmla="*/ 27432 w 102822"/>
                <a:gd name="connsiteY75" fmla="*/ 63170 h 125110"/>
                <a:gd name="connsiteX76" fmla="*/ 22955 w 102822"/>
                <a:gd name="connsiteY76" fmla="*/ 69152 h 125110"/>
                <a:gd name="connsiteX77" fmla="*/ 20898 w 102822"/>
                <a:gd name="connsiteY77" fmla="*/ 71190 h 125110"/>
                <a:gd name="connsiteX78" fmla="*/ 19640 w 102822"/>
                <a:gd name="connsiteY78" fmla="*/ 71961 h 125110"/>
                <a:gd name="connsiteX79" fmla="*/ 18069 w 102822"/>
                <a:gd name="connsiteY79" fmla="*/ 74838 h 125110"/>
                <a:gd name="connsiteX80" fmla="*/ 16811 w 102822"/>
                <a:gd name="connsiteY80" fmla="*/ 78286 h 125110"/>
                <a:gd name="connsiteX81" fmla="*/ 15954 w 102822"/>
                <a:gd name="connsiteY81" fmla="*/ 79896 h 125110"/>
                <a:gd name="connsiteX82" fmla="*/ 20974 w 102822"/>
                <a:gd name="connsiteY82" fmla="*/ 85820 h 125110"/>
                <a:gd name="connsiteX83" fmla="*/ 21603 w 102822"/>
                <a:gd name="connsiteY83" fmla="*/ 87516 h 125110"/>
                <a:gd name="connsiteX84" fmla="*/ 22260 w 102822"/>
                <a:gd name="connsiteY84" fmla="*/ 88506 h 125110"/>
                <a:gd name="connsiteX85" fmla="*/ 17507 w 102822"/>
                <a:gd name="connsiteY85" fmla="*/ 89125 h 125110"/>
                <a:gd name="connsiteX86" fmla="*/ 19526 w 102822"/>
                <a:gd name="connsiteY86" fmla="*/ 91040 h 125110"/>
                <a:gd name="connsiteX87" fmla="*/ 22069 w 102822"/>
                <a:gd name="connsiteY87" fmla="*/ 92412 h 125110"/>
                <a:gd name="connsiteX88" fmla="*/ 23774 w 102822"/>
                <a:gd name="connsiteY88" fmla="*/ 93069 h 125110"/>
                <a:gd name="connsiteX89" fmla="*/ 24708 w 102822"/>
                <a:gd name="connsiteY89" fmla="*/ 94450 h 125110"/>
                <a:gd name="connsiteX90" fmla="*/ 22879 w 102822"/>
                <a:gd name="connsiteY90" fmla="*/ 95088 h 125110"/>
                <a:gd name="connsiteX91" fmla="*/ 21155 w 102822"/>
                <a:gd name="connsiteY91" fmla="*/ 95126 h 125110"/>
                <a:gd name="connsiteX92" fmla="*/ 14335 w 102822"/>
                <a:gd name="connsiteY92" fmla="*/ 90049 h 125110"/>
                <a:gd name="connsiteX93" fmla="*/ 10544 w 102822"/>
                <a:gd name="connsiteY93" fmla="*/ 89116 h 125110"/>
                <a:gd name="connsiteX94" fmla="*/ 5324 w 102822"/>
                <a:gd name="connsiteY94" fmla="*/ 89411 h 125110"/>
                <a:gd name="connsiteX95" fmla="*/ 4010 w 102822"/>
                <a:gd name="connsiteY95" fmla="*/ 89945 h 125110"/>
                <a:gd name="connsiteX96" fmla="*/ 2657 w 102822"/>
                <a:gd name="connsiteY96" fmla="*/ 91488 h 125110"/>
                <a:gd name="connsiteX97" fmla="*/ 4572 w 102822"/>
                <a:gd name="connsiteY97" fmla="*/ 93831 h 125110"/>
                <a:gd name="connsiteX98" fmla="*/ 6344 w 102822"/>
                <a:gd name="connsiteY98" fmla="*/ 95212 h 125110"/>
                <a:gd name="connsiteX99" fmla="*/ 9192 w 102822"/>
                <a:gd name="connsiteY99" fmla="*/ 95393 h 125110"/>
                <a:gd name="connsiteX100" fmla="*/ 12620 w 102822"/>
                <a:gd name="connsiteY100" fmla="*/ 97126 h 125110"/>
                <a:gd name="connsiteX101" fmla="*/ 17554 w 102822"/>
                <a:gd name="connsiteY101" fmla="*/ 95679 h 125110"/>
                <a:gd name="connsiteX102" fmla="*/ 21098 w 102822"/>
                <a:gd name="connsiteY102" fmla="*/ 97460 h 125110"/>
                <a:gd name="connsiteX103" fmla="*/ 23431 w 102822"/>
                <a:gd name="connsiteY103" fmla="*/ 98098 h 125110"/>
                <a:gd name="connsiteX104" fmla="*/ 25527 w 102822"/>
                <a:gd name="connsiteY104" fmla="*/ 99165 h 125110"/>
                <a:gd name="connsiteX105" fmla="*/ 27375 w 102822"/>
                <a:gd name="connsiteY105" fmla="*/ 99393 h 125110"/>
                <a:gd name="connsiteX106" fmla="*/ 28184 w 102822"/>
                <a:gd name="connsiteY106" fmla="*/ 98917 h 125110"/>
                <a:gd name="connsiteX107" fmla="*/ 27670 w 102822"/>
                <a:gd name="connsiteY107" fmla="*/ 96336 h 125110"/>
                <a:gd name="connsiteX108" fmla="*/ 29175 w 102822"/>
                <a:gd name="connsiteY108" fmla="*/ 94955 h 125110"/>
                <a:gd name="connsiteX109" fmla="*/ 30842 w 102822"/>
                <a:gd name="connsiteY109" fmla="*/ 94317 h 125110"/>
                <a:gd name="connsiteX110" fmla="*/ 31594 w 102822"/>
                <a:gd name="connsiteY110" fmla="*/ 95441 h 125110"/>
                <a:gd name="connsiteX111" fmla="*/ 33128 w 102822"/>
                <a:gd name="connsiteY111" fmla="*/ 96584 h 125110"/>
                <a:gd name="connsiteX112" fmla="*/ 34328 w 102822"/>
                <a:gd name="connsiteY112" fmla="*/ 96593 h 125110"/>
                <a:gd name="connsiteX113" fmla="*/ 37585 w 102822"/>
                <a:gd name="connsiteY113" fmla="*/ 93621 h 125110"/>
                <a:gd name="connsiteX114" fmla="*/ 38348 w 102822"/>
                <a:gd name="connsiteY114" fmla="*/ 94212 h 125110"/>
                <a:gd name="connsiteX115" fmla="*/ 39053 w 102822"/>
                <a:gd name="connsiteY115" fmla="*/ 95269 h 125110"/>
                <a:gd name="connsiteX116" fmla="*/ 39205 w 102822"/>
                <a:gd name="connsiteY116" fmla="*/ 96117 h 125110"/>
                <a:gd name="connsiteX117" fmla="*/ 39329 w 102822"/>
                <a:gd name="connsiteY117" fmla="*/ 97012 h 125110"/>
                <a:gd name="connsiteX118" fmla="*/ 40062 w 102822"/>
                <a:gd name="connsiteY118" fmla="*/ 97384 h 125110"/>
                <a:gd name="connsiteX119" fmla="*/ 42624 w 102822"/>
                <a:gd name="connsiteY119" fmla="*/ 97193 h 125110"/>
                <a:gd name="connsiteX120" fmla="*/ 43929 w 102822"/>
                <a:gd name="connsiteY120" fmla="*/ 95583 h 125110"/>
                <a:gd name="connsiteX121" fmla="*/ 44948 w 102822"/>
                <a:gd name="connsiteY121" fmla="*/ 94574 h 125110"/>
                <a:gd name="connsiteX122" fmla="*/ 45711 w 102822"/>
                <a:gd name="connsiteY122" fmla="*/ 95260 h 125110"/>
                <a:gd name="connsiteX123" fmla="*/ 46082 w 102822"/>
                <a:gd name="connsiteY123" fmla="*/ 97241 h 125110"/>
                <a:gd name="connsiteX124" fmla="*/ 46787 w 102822"/>
                <a:gd name="connsiteY124" fmla="*/ 99822 h 125110"/>
                <a:gd name="connsiteX125" fmla="*/ 49844 w 102822"/>
                <a:gd name="connsiteY125" fmla="*/ 102699 h 125110"/>
                <a:gd name="connsiteX126" fmla="*/ 52426 w 102822"/>
                <a:gd name="connsiteY126" fmla="*/ 103518 h 125110"/>
                <a:gd name="connsiteX127" fmla="*/ 55597 w 102822"/>
                <a:gd name="connsiteY127" fmla="*/ 102956 h 125110"/>
                <a:gd name="connsiteX128" fmla="*/ 56855 w 102822"/>
                <a:gd name="connsiteY128" fmla="*/ 102441 h 125110"/>
                <a:gd name="connsiteX129" fmla="*/ 57702 w 102822"/>
                <a:gd name="connsiteY129" fmla="*/ 102870 h 125110"/>
                <a:gd name="connsiteX130" fmla="*/ 58550 w 102822"/>
                <a:gd name="connsiteY130" fmla="*/ 104394 h 125110"/>
                <a:gd name="connsiteX131" fmla="*/ 60379 w 102822"/>
                <a:gd name="connsiteY131" fmla="*/ 106137 h 125110"/>
                <a:gd name="connsiteX132" fmla="*/ 64218 w 102822"/>
                <a:gd name="connsiteY132" fmla="*/ 107366 h 125110"/>
                <a:gd name="connsiteX133" fmla="*/ 65399 w 102822"/>
                <a:gd name="connsiteY133" fmla="*/ 108061 h 125110"/>
                <a:gd name="connsiteX134" fmla="*/ 66218 w 102822"/>
                <a:gd name="connsiteY134" fmla="*/ 109233 h 125110"/>
                <a:gd name="connsiteX135" fmla="*/ 65980 w 102822"/>
                <a:gd name="connsiteY135" fmla="*/ 110900 h 125110"/>
                <a:gd name="connsiteX136" fmla="*/ 64151 w 102822"/>
                <a:gd name="connsiteY136" fmla="*/ 115043 h 125110"/>
                <a:gd name="connsiteX137" fmla="*/ 63913 w 102822"/>
                <a:gd name="connsiteY137" fmla="*/ 116262 h 125110"/>
                <a:gd name="connsiteX138" fmla="*/ 64160 w 102822"/>
                <a:gd name="connsiteY138" fmla="*/ 116672 h 125110"/>
                <a:gd name="connsiteX139" fmla="*/ 63798 w 102822"/>
                <a:gd name="connsiteY139" fmla="*/ 117434 h 125110"/>
                <a:gd name="connsiteX140" fmla="*/ 61417 w 102822"/>
                <a:gd name="connsiteY140" fmla="*/ 120205 h 125110"/>
                <a:gd name="connsiteX141" fmla="*/ 61208 w 102822"/>
                <a:gd name="connsiteY141" fmla="*/ 121187 h 125110"/>
                <a:gd name="connsiteX142" fmla="*/ 61998 w 102822"/>
                <a:gd name="connsiteY142" fmla="*/ 122777 h 125110"/>
                <a:gd name="connsiteX143" fmla="*/ 62655 w 102822"/>
                <a:gd name="connsiteY143" fmla="*/ 124092 h 125110"/>
                <a:gd name="connsiteX144" fmla="*/ 62655 w 102822"/>
                <a:gd name="connsiteY144" fmla="*/ 124092 h 125110"/>
                <a:gd name="connsiteX145" fmla="*/ 64084 w 102822"/>
                <a:gd name="connsiteY145" fmla="*/ 124730 h 125110"/>
                <a:gd name="connsiteX146" fmla="*/ 65427 w 102822"/>
                <a:gd name="connsiteY146" fmla="*/ 124939 h 125110"/>
                <a:gd name="connsiteX147" fmla="*/ 67970 w 102822"/>
                <a:gd name="connsiteY147" fmla="*/ 125025 h 125110"/>
                <a:gd name="connsiteX148" fmla="*/ 70685 w 102822"/>
                <a:gd name="connsiteY148" fmla="*/ 125111 h 125110"/>
                <a:gd name="connsiteX149" fmla="*/ 72142 w 102822"/>
                <a:gd name="connsiteY149" fmla="*/ 118586 h 125110"/>
                <a:gd name="connsiteX150" fmla="*/ 71028 w 102822"/>
                <a:gd name="connsiteY150" fmla="*/ 116681 h 125110"/>
                <a:gd name="connsiteX151" fmla="*/ 69647 w 102822"/>
                <a:gd name="connsiteY151" fmla="*/ 115710 h 125110"/>
                <a:gd name="connsiteX152" fmla="*/ 68037 w 102822"/>
                <a:gd name="connsiteY152" fmla="*/ 115233 h 125110"/>
                <a:gd name="connsiteX153" fmla="*/ 67294 w 102822"/>
                <a:gd name="connsiteY153" fmla="*/ 114328 h 125110"/>
                <a:gd name="connsiteX154" fmla="*/ 67037 w 102822"/>
                <a:gd name="connsiteY154" fmla="*/ 113290 h 125110"/>
                <a:gd name="connsiteX155" fmla="*/ 67323 w 102822"/>
                <a:gd name="connsiteY155" fmla="*/ 112652 h 125110"/>
                <a:gd name="connsiteX156" fmla="*/ 69218 w 102822"/>
                <a:gd name="connsiteY156" fmla="*/ 112843 h 125110"/>
                <a:gd name="connsiteX157" fmla="*/ 69809 w 102822"/>
                <a:gd name="connsiteY157" fmla="*/ 112166 h 125110"/>
                <a:gd name="connsiteX158" fmla="*/ 74324 w 102822"/>
                <a:gd name="connsiteY158" fmla="*/ 108318 h 125110"/>
                <a:gd name="connsiteX159" fmla="*/ 74514 w 102822"/>
                <a:gd name="connsiteY159" fmla="*/ 107575 h 125110"/>
                <a:gd name="connsiteX160" fmla="*/ 73885 w 102822"/>
                <a:gd name="connsiteY160" fmla="*/ 107156 h 125110"/>
                <a:gd name="connsiteX161" fmla="*/ 73066 w 102822"/>
                <a:gd name="connsiteY161" fmla="*/ 106937 h 125110"/>
                <a:gd name="connsiteX162" fmla="*/ 72857 w 102822"/>
                <a:gd name="connsiteY162" fmla="*/ 106128 h 125110"/>
                <a:gd name="connsiteX163" fmla="*/ 72885 w 102822"/>
                <a:gd name="connsiteY163" fmla="*/ 105061 h 125110"/>
                <a:gd name="connsiteX164" fmla="*/ 75295 w 102822"/>
                <a:gd name="connsiteY164" fmla="*/ 99489 h 125110"/>
                <a:gd name="connsiteX165" fmla="*/ 76010 w 102822"/>
                <a:gd name="connsiteY165" fmla="*/ 97107 h 125110"/>
                <a:gd name="connsiteX166" fmla="*/ 76172 w 102822"/>
                <a:gd name="connsiteY166" fmla="*/ 95422 h 125110"/>
                <a:gd name="connsiteX167" fmla="*/ 76019 w 102822"/>
                <a:gd name="connsiteY167" fmla="*/ 93755 h 125110"/>
                <a:gd name="connsiteX168" fmla="*/ 74628 w 102822"/>
                <a:gd name="connsiteY168" fmla="*/ 91135 h 125110"/>
                <a:gd name="connsiteX169" fmla="*/ 73285 w 102822"/>
                <a:gd name="connsiteY169" fmla="*/ 89040 h 125110"/>
                <a:gd name="connsiteX170" fmla="*/ 73238 w 102822"/>
                <a:gd name="connsiteY170" fmla="*/ 87373 h 125110"/>
                <a:gd name="connsiteX171" fmla="*/ 72257 w 102822"/>
                <a:gd name="connsiteY171" fmla="*/ 86496 h 125110"/>
                <a:gd name="connsiteX172" fmla="*/ 69475 w 102822"/>
                <a:gd name="connsiteY172" fmla="*/ 82010 h 125110"/>
                <a:gd name="connsiteX173" fmla="*/ 69475 w 102822"/>
                <a:gd name="connsiteY173" fmla="*/ 80277 h 125110"/>
                <a:gd name="connsiteX174" fmla="*/ 71047 w 102822"/>
                <a:gd name="connsiteY174" fmla="*/ 78924 h 125110"/>
                <a:gd name="connsiteX175" fmla="*/ 73247 w 102822"/>
                <a:gd name="connsiteY175" fmla="*/ 78067 h 125110"/>
                <a:gd name="connsiteX176" fmla="*/ 73981 w 102822"/>
                <a:gd name="connsiteY176" fmla="*/ 77353 h 125110"/>
                <a:gd name="connsiteX177" fmla="*/ 75295 w 102822"/>
                <a:gd name="connsiteY177" fmla="*/ 76905 h 125110"/>
                <a:gd name="connsiteX178" fmla="*/ 78791 w 102822"/>
                <a:gd name="connsiteY178" fmla="*/ 78200 h 125110"/>
                <a:gd name="connsiteX179" fmla="*/ 80353 w 102822"/>
                <a:gd name="connsiteY179" fmla="*/ 79324 h 125110"/>
                <a:gd name="connsiteX180" fmla="*/ 80791 w 102822"/>
                <a:gd name="connsiteY180" fmla="*/ 79096 h 125110"/>
                <a:gd name="connsiteX181" fmla="*/ 82201 w 102822"/>
                <a:gd name="connsiteY181" fmla="*/ 77876 h 125110"/>
                <a:gd name="connsiteX182" fmla="*/ 84677 w 102822"/>
                <a:gd name="connsiteY182" fmla="*/ 78067 h 125110"/>
                <a:gd name="connsiteX183" fmla="*/ 90668 w 102822"/>
                <a:gd name="connsiteY183" fmla="*/ 75610 h 125110"/>
                <a:gd name="connsiteX184" fmla="*/ 91564 w 102822"/>
                <a:gd name="connsiteY184" fmla="*/ 74428 h 125110"/>
                <a:gd name="connsiteX185" fmla="*/ 92230 w 102822"/>
                <a:gd name="connsiteY185" fmla="*/ 73171 h 125110"/>
                <a:gd name="connsiteX186" fmla="*/ 92288 w 102822"/>
                <a:gd name="connsiteY186" fmla="*/ 72619 h 125110"/>
                <a:gd name="connsiteX187" fmla="*/ 89964 w 102822"/>
                <a:gd name="connsiteY187" fmla="*/ 70190 h 125110"/>
                <a:gd name="connsiteX188" fmla="*/ 89897 w 102822"/>
                <a:gd name="connsiteY188" fmla="*/ 69294 h 125110"/>
                <a:gd name="connsiteX189" fmla="*/ 90202 w 102822"/>
                <a:gd name="connsiteY189" fmla="*/ 68285 h 125110"/>
                <a:gd name="connsiteX190" fmla="*/ 90859 w 102822"/>
                <a:gd name="connsiteY190" fmla="*/ 67485 h 125110"/>
                <a:gd name="connsiteX191" fmla="*/ 92230 w 102822"/>
                <a:gd name="connsiteY191" fmla="*/ 66942 h 125110"/>
                <a:gd name="connsiteX192" fmla="*/ 93688 w 102822"/>
                <a:gd name="connsiteY192" fmla="*/ 65875 h 125110"/>
                <a:gd name="connsiteX193" fmla="*/ 96955 w 102822"/>
                <a:gd name="connsiteY193" fmla="*/ 62846 h 125110"/>
                <a:gd name="connsiteX194" fmla="*/ 98088 w 102822"/>
                <a:gd name="connsiteY194" fmla="*/ 60217 h 125110"/>
                <a:gd name="connsiteX195" fmla="*/ 98441 w 102822"/>
                <a:gd name="connsiteY195" fmla="*/ 57360 h 125110"/>
                <a:gd name="connsiteX196" fmla="*/ 98508 w 102822"/>
                <a:gd name="connsiteY196" fmla="*/ 55226 h 125110"/>
                <a:gd name="connsiteX197" fmla="*/ 97612 w 102822"/>
                <a:gd name="connsiteY197" fmla="*/ 53530 h 125110"/>
                <a:gd name="connsiteX198" fmla="*/ 96707 w 102822"/>
                <a:gd name="connsiteY198" fmla="*/ 52435 h 125110"/>
                <a:gd name="connsiteX199" fmla="*/ 95478 w 102822"/>
                <a:gd name="connsiteY199" fmla="*/ 52607 h 125110"/>
                <a:gd name="connsiteX200" fmla="*/ 93088 w 102822"/>
                <a:gd name="connsiteY200" fmla="*/ 52521 h 125110"/>
                <a:gd name="connsiteX201" fmla="*/ 90849 w 102822"/>
                <a:gd name="connsiteY201" fmla="*/ 51568 h 125110"/>
                <a:gd name="connsiteX202" fmla="*/ 89621 w 102822"/>
                <a:gd name="connsiteY202" fmla="*/ 50025 h 125110"/>
                <a:gd name="connsiteX203" fmla="*/ 89316 w 102822"/>
                <a:gd name="connsiteY203" fmla="*/ 48673 h 125110"/>
                <a:gd name="connsiteX204" fmla="*/ 89878 w 102822"/>
                <a:gd name="connsiteY204" fmla="*/ 47816 h 125110"/>
                <a:gd name="connsiteX205" fmla="*/ 90049 w 102822"/>
                <a:gd name="connsiteY205" fmla="*/ 46768 h 125110"/>
                <a:gd name="connsiteX206" fmla="*/ 89687 w 102822"/>
                <a:gd name="connsiteY206" fmla="*/ 45711 h 125110"/>
                <a:gd name="connsiteX207" fmla="*/ 89830 w 102822"/>
                <a:gd name="connsiteY207" fmla="*/ 44825 h 125110"/>
                <a:gd name="connsiteX208" fmla="*/ 90840 w 102822"/>
                <a:gd name="connsiteY208" fmla="*/ 44110 h 125110"/>
                <a:gd name="connsiteX209" fmla="*/ 97917 w 102822"/>
                <a:gd name="connsiteY209" fmla="*/ 44129 h 125110"/>
                <a:gd name="connsiteX210" fmla="*/ 98450 w 102822"/>
                <a:gd name="connsiteY210" fmla="*/ 43348 h 125110"/>
                <a:gd name="connsiteX211" fmla="*/ 98927 w 102822"/>
                <a:gd name="connsiteY211" fmla="*/ 39234 h 125110"/>
                <a:gd name="connsiteX212" fmla="*/ 100698 w 102822"/>
                <a:gd name="connsiteY212" fmla="*/ 32956 h 125110"/>
                <a:gd name="connsiteX213" fmla="*/ 102365 w 102822"/>
                <a:gd name="connsiteY213" fmla="*/ 29451 h 125110"/>
                <a:gd name="connsiteX214" fmla="*/ 102641 w 102822"/>
                <a:gd name="connsiteY214" fmla="*/ 27975 h 125110"/>
                <a:gd name="connsiteX215" fmla="*/ 102613 w 102822"/>
                <a:gd name="connsiteY215" fmla="*/ 19641 h 125110"/>
                <a:gd name="connsiteX216" fmla="*/ 102822 w 102822"/>
                <a:gd name="connsiteY216" fmla="*/ 15373 h 125110"/>
                <a:gd name="connsiteX217" fmla="*/ 10182 w 102822"/>
                <a:gd name="connsiteY217" fmla="*/ 85611 h 125110"/>
                <a:gd name="connsiteX218" fmla="*/ 12516 w 102822"/>
                <a:gd name="connsiteY218" fmla="*/ 84934 h 125110"/>
                <a:gd name="connsiteX219" fmla="*/ 16050 w 102822"/>
                <a:gd name="connsiteY219" fmla="*/ 87811 h 125110"/>
                <a:gd name="connsiteX220" fmla="*/ 19364 w 102822"/>
                <a:gd name="connsiteY220" fmla="*/ 86878 h 125110"/>
                <a:gd name="connsiteX221" fmla="*/ 19164 w 102822"/>
                <a:gd name="connsiteY221" fmla="*/ 86078 h 125110"/>
                <a:gd name="connsiteX222" fmla="*/ 18602 w 102822"/>
                <a:gd name="connsiteY222" fmla="*/ 85325 h 125110"/>
                <a:gd name="connsiteX223" fmla="*/ 15992 w 102822"/>
                <a:gd name="connsiteY223" fmla="*/ 82972 h 125110"/>
                <a:gd name="connsiteX224" fmla="*/ 11716 w 102822"/>
                <a:gd name="connsiteY224" fmla="*/ 82677 h 125110"/>
                <a:gd name="connsiteX225" fmla="*/ 9296 w 102822"/>
                <a:gd name="connsiteY225" fmla="*/ 83401 h 125110"/>
                <a:gd name="connsiteX226" fmla="*/ 9306 w 102822"/>
                <a:gd name="connsiteY226" fmla="*/ 84249 h 125110"/>
                <a:gd name="connsiteX227" fmla="*/ 10182 w 102822"/>
                <a:gd name="connsiteY227" fmla="*/ 85611 h 125110"/>
                <a:gd name="connsiteX228" fmla="*/ 38395 w 102822"/>
                <a:gd name="connsiteY228" fmla="*/ 27927 h 125110"/>
                <a:gd name="connsiteX229" fmla="*/ 41043 w 102822"/>
                <a:gd name="connsiteY229" fmla="*/ 24784 h 125110"/>
                <a:gd name="connsiteX230" fmla="*/ 41043 w 102822"/>
                <a:gd name="connsiteY230" fmla="*/ 19783 h 125110"/>
                <a:gd name="connsiteX231" fmla="*/ 37129 w 102822"/>
                <a:gd name="connsiteY231" fmla="*/ 23870 h 125110"/>
                <a:gd name="connsiteX232" fmla="*/ 36309 w 102822"/>
                <a:gd name="connsiteY232" fmla="*/ 26327 h 125110"/>
                <a:gd name="connsiteX233" fmla="*/ 36776 w 102822"/>
                <a:gd name="connsiteY233" fmla="*/ 27061 h 125110"/>
                <a:gd name="connsiteX234" fmla="*/ 38395 w 102822"/>
                <a:gd name="connsiteY234" fmla="*/ 27927 h 12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</a:cxnLst>
              <a:rect l="l" t="t" r="r" b="b"/>
              <a:pathLst>
                <a:path w="102822" h="125110">
                  <a:moveTo>
                    <a:pt x="50302" y="11106"/>
                  </a:moveTo>
                  <a:lnTo>
                    <a:pt x="49168" y="10487"/>
                  </a:lnTo>
                  <a:lnTo>
                    <a:pt x="55178" y="8706"/>
                  </a:lnTo>
                  <a:lnTo>
                    <a:pt x="58979" y="8163"/>
                  </a:lnTo>
                  <a:lnTo>
                    <a:pt x="59655" y="8401"/>
                  </a:lnTo>
                  <a:lnTo>
                    <a:pt x="52787" y="10744"/>
                  </a:lnTo>
                  <a:lnTo>
                    <a:pt x="50302" y="11106"/>
                  </a:lnTo>
                  <a:close/>
                  <a:moveTo>
                    <a:pt x="63646" y="8211"/>
                  </a:moveTo>
                  <a:lnTo>
                    <a:pt x="68923" y="7477"/>
                  </a:lnTo>
                  <a:lnTo>
                    <a:pt x="68894" y="7201"/>
                  </a:lnTo>
                  <a:lnTo>
                    <a:pt x="67504" y="6753"/>
                  </a:lnTo>
                  <a:lnTo>
                    <a:pt x="63008" y="6830"/>
                  </a:lnTo>
                  <a:lnTo>
                    <a:pt x="61569" y="7144"/>
                  </a:lnTo>
                  <a:lnTo>
                    <a:pt x="61865" y="7668"/>
                  </a:lnTo>
                  <a:lnTo>
                    <a:pt x="63646" y="8211"/>
                  </a:lnTo>
                  <a:close/>
                  <a:moveTo>
                    <a:pt x="79724" y="5153"/>
                  </a:moveTo>
                  <a:lnTo>
                    <a:pt x="78591" y="4962"/>
                  </a:lnTo>
                  <a:lnTo>
                    <a:pt x="75295" y="5915"/>
                  </a:lnTo>
                  <a:lnTo>
                    <a:pt x="75066" y="6353"/>
                  </a:lnTo>
                  <a:lnTo>
                    <a:pt x="75981" y="6677"/>
                  </a:lnTo>
                  <a:lnTo>
                    <a:pt x="79724" y="5153"/>
                  </a:lnTo>
                  <a:close/>
                  <a:moveTo>
                    <a:pt x="46987" y="14221"/>
                  </a:moveTo>
                  <a:lnTo>
                    <a:pt x="44806" y="14126"/>
                  </a:lnTo>
                  <a:lnTo>
                    <a:pt x="41624" y="16974"/>
                  </a:lnTo>
                  <a:lnTo>
                    <a:pt x="42043" y="17497"/>
                  </a:lnTo>
                  <a:lnTo>
                    <a:pt x="46987" y="14221"/>
                  </a:lnTo>
                  <a:close/>
                  <a:moveTo>
                    <a:pt x="92221" y="0"/>
                  </a:moveTo>
                  <a:lnTo>
                    <a:pt x="90983" y="0"/>
                  </a:lnTo>
                  <a:lnTo>
                    <a:pt x="88687" y="895"/>
                  </a:lnTo>
                  <a:lnTo>
                    <a:pt x="87973" y="2086"/>
                  </a:lnTo>
                  <a:lnTo>
                    <a:pt x="90449" y="1934"/>
                  </a:lnTo>
                  <a:lnTo>
                    <a:pt x="92221" y="0"/>
                  </a:lnTo>
                  <a:close/>
                  <a:moveTo>
                    <a:pt x="17650" y="97717"/>
                  </a:moveTo>
                  <a:lnTo>
                    <a:pt x="14240" y="99489"/>
                  </a:lnTo>
                  <a:lnTo>
                    <a:pt x="9782" y="98870"/>
                  </a:lnTo>
                  <a:lnTo>
                    <a:pt x="6391" y="97574"/>
                  </a:lnTo>
                  <a:lnTo>
                    <a:pt x="2019" y="97822"/>
                  </a:lnTo>
                  <a:lnTo>
                    <a:pt x="0" y="98498"/>
                  </a:lnTo>
                  <a:lnTo>
                    <a:pt x="800" y="102194"/>
                  </a:lnTo>
                  <a:lnTo>
                    <a:pt x="1410" y="103365"/>
                  </a:lnTo>
                  <a:lnTo>
                    <a:pt x="2200" y="104127"/>
                  </a:lnTo>
                  <a:lnTo>
                    <a:pt x="3248" y="104280"/>
                  </a:lnTo>
                  <a:lnTo>
                    <a:pt x="4458" y="103365"/>
                  </a:lnTo>
                  <a:lnTo>
                    <a:pt x="6144" y="102403"/>
                  </a:lnTo>
                  <a:lnTo>
                    <a:pt x="8858" y="102851"/>
                  </a:lnTo>
                  <a:lnTo>
                    <a:pt x="10830" y="103737"/>
                  </a:lnTo>
                  <a:lnTo>
                    <a:pt x="11535" y="104661"/>
                  </a:lnTo>
                  <a:lnTo>
                    <a:pt x="12840" y="105537"/>
                  </a:lnTo>
                  <a:lnTo>
                    <a:pt x="14745" y="105747"/>
                  </a:lnTo>
                  <a:lnTo>
                    <a:pt x="18431" y="104070"/>
                  </a:lnTo>
                  <a:lnTo>
                    <a:pt x="21974" y="101508"/>
                  </a:lnTo>
                  <a:lnTo>
                    <a:pt x="23012" y="99727"/>
                  </a:lnTo>
                  <a:lnTo>
                    <a:pt x="23403" y="98117"/>
                  </a:lnTo>
                  <a:lnTo>
                    <a:pt x="20336" y="99222"/>
                  </a:lnTo>
                  <a:lnTo>
                    <a:pt x="17650" y="97717"/>
                  </a:lnTo>
                  <a:close/>
                  <a:moveTo>
                    <a:pt x="102822" y="15373"/>
                  </a:moveTo>
                  <a:lnTo>
                    <a:pt x="99098" y="14564"/>
                  </a:lnTo>
                  <a:lnTo>
                    <a:pt x="96698" y="13373"/>
                  </a:lnTo>
                  <a:lnTo>
                    <a:pt x="95202" y="11221"/>
                  </a:lnTo>
                  <a:lnTo>
                    <a:pt x="92631" y="8277"/>
                  </a:lnTo>
                  <a:lnTo>
                    <a:pt x="85877" y="8582"/>
                  </a:lnTo>
                  <a:lnTo>
                    <a:pt x="80258" y="9430"/>
                  </a:lnTo>
                  <a:lnTo>
                    <a:pt x="72476" y="9792"/>
                  </a:lnTo>
                  <a:lnTo>
                    <a:pt x="67437" y="11221"/>
                  </a:lnTo>
                  <a:lnTo>
                    <a:pt x="58312" y="15983"/>
                  </a:lnTo>
                  <a:lnTo>
                    <a:pt x="56016" y="18412"/>
                  </a:lnTo>
                  <a:lnTo>
                    <a:pt x="53673" y="23641"/>
                  </a:lnTo>
                  <a:lnTo>
                    <a:pt x="45729" y="29661"/>
                  </a:lnTo>
                  <a:lnTo>
                    <a:pt x="41100" y="31975"/>
                  </a:lnTo>
                  <a:lnTo>
                    <a:pt x="39796" y="31090"/>
                  </a:lnTo>
                  <a:lnTo>
                    <a:pt x="37919" y="30509"/>
                  </a:lnTo>
                  <a:lnTo>
                    <a:pt x="36424" y="33566"/>
                  </a:lnTo>
                  <a:lnTo>
                    <a:pt x="35500" y="36319"/>
                  </a:lnTo>
                  <a:lnTo>
                    <a:pt x="32395" y="52445"/>
                  </a:lnTo>
                  <a:lnTo>
                    <a:pt x="30280" y="58274"/>
                  </a:lnTo>
                  <a:lnTo>
                    <a:pt x="27432" y="63170"/>
                  </a:lnTo>
                  <a:lnTo>
                    <a:pt x="22955" y="69152"/>
                  </a:lnTo>
                  <a:lnTo>
                    <a:pt x="20898" y="71190"/>
                  </a:lnTo>
                  <a:lnTo>
                    <a:pt x="19640" y="71961"/>
                  </a:lnTo>
                  <a:lnTo>
                    <a:pt x="18069" y="74838"/>
                  </a:lnTo>
                  <a:lnTo>
                    <a:pt x="16811" y="78286"/>
                  </a:lnTo>
                  <a:lnTo>
                    <a:pt x="15954" y="79896"/>
                  </a:lnTo>
                  <a:lnTo>
                    <a:pt x="20974" y="85820"/>
                  </a:lnTo>
                  <a:lnTo>
                    <a:pt x="21603" y="87516"/>
                  </a:lnTo>
                  <a:lnTo>
                    <a:pt x="22260" y="88506"/>
                  </a:lnTo>
                  <a:lnTo>
                    <a:pt x="17507" y="89125"/>
                  </a:lnTo>
                  <a:lnTo>
                    <a:pt x="19526" y="91040"/>
                  </a:lnTo>
                  <a:lnTo>
                    <a:pt x="22069" y="92412"/>
                  </a:lnTo>
                  <a:lnTo>
                    <a:pt x="23774" y="93069"/>
                  </a:lnTo>
                  <a:lnTo>
                    <a:pt x="24708" y="94450"/>
                  </a:lnTo>
                  <a:lnTo>
                    <a:pt x="22879" y="95088"/>
                  </a:lnTo>
                  <a:lnTo>
                    <a:pt x="21155" y="95126"/>
                  </a:lnTo>
                  <a:lnTo>
                    <a:pt x="14335" y="90049"/>
                  </a:lnTo>
                  <a:lnTo>
                    <a:pt x="10544" y="89116"/>
                  </a:lnTo>
                  <a:lnTo>
                    <a:pt x="5324" y="89411"/>
                  </a:lnTo>
                  <a:lnTo>
                    <a:pt x="4010" y="89945"/>
                  </a:lnTo>
                  <a:lnTo>
                    <a:pt x="2657" y="91488"/>
                  </a:lnTo>
                  <a:lnTo>
                    <a:pt x="4572" y="93831"/>
                  </a:lnTo>
                  <a:lnTo>
                    <a:pt x="6344" y="95212"/>
                  </a:lnTo>
                  <a:lnTo>
                    <a:pt x="9192" y="95393"/>
                  </a:lnTo>
                  <a:lnTo>
                    <a:pt x="12620" y="97126"/>
                  </a:lnTo>
                  <a:lnTo>
                    <a:pt x="17554" y="95679"/>
                  </a:lnTo>
                  <a:lnTo>
                    <a:pt x="21098" y="97460"/>
                  </a:lnTo>
                  <a:lnTo>
                    <a:pt x="23431" y="98098"/>
                  </a:lnTo>
                  <a:lnTo>
                    <a:pt x="25527" y="99165"/>
                  </a:lnTo>
                  <a:lnTo>
                    <a:pt x="27375" y="99393"/>
                  </a:lnTo>
                  <a:lnTo>
                    <a:pt x="28184" y="98917"/>
                  </a:lnTo>
                  <a:lnTo>
                    <a:pt x="27670" y="96336"/>
                  </a:lnTo>
                  <a:lnTo>
                    <a:pt x="29175" y="94955"/>
                  </a:lnTo>
                  <a:lnTo>
                    <a:pt x="30842" y="94317"/>
                  </a:lnTo>
                  <a:lnTo>
                    <a:pt x="31594" y="95441"/>
                  </a:lnTo>
                  <a:lnTo>
                    <a:pt x="33128" y="96584"/>
                  </a:lnTo>
                  <a:lnTo>
                    <a:pt x="34328" y="96593"/>
                  </a:lnTo>
                  <a:lnTo>
                    <a:pt x="37585" y="93621"/>
                  </a:lnTo>
                  <a:lnTo>
                    <a:pt x="38348" y="94212"/>
                  </a:lnTo>
                  <a:lnTo>
                    <a:pt x="39053" y="95269"/>
                  </a:lnTo>
                  <a:lnTo>
                    <a:pt x="39205" y="96117"/>
                  </a:lnTo>
                  <a:lnTo>
                    <a:pt x="39329" y="97012"/>
                  </a:lnTo>
                  <a:lnTo>
                    <a:pt x="40062" y="97384"/>
                  </a:lnTo>
                  <a:lnTo>
                    <a:pt x="42624" y="97193"/>
                  </a:lnTo>
                  <a:lnTo>
                    <a:pt x="43929" y="95583"/>
                  </a:lnTo>
                  <a:lnTo>
                    <a:pt x="44948" y="94574"/>
                  </a:lnTo>
                  <a:lnTo>
                    <a:pt x="45711" y="95260"/>
                  </a:lnTo>
                  <a:lnTo>
                    <a:pt x="46082" y="97241"/>
                  </a:lnTo>
                  <a:lnTo>
                    <a:pt x="46787" y="99822"/>
                  </a:lnTo>
                  <a:lnTo>
                    <a:pt x="49844" y="102699"/>
                  </a:lnTo>
                  <a:lnTo>
                    <a:pt x="52426" y="103518"/>
                  </a:lnTo>
                  <a:lnTo>
                    <a:pt x="55597" y="102956"/>
                  </a:lnTo>
                  <a:lnTo>
                    <a:pt x="56855" y="102441"/>
                  </a:lnTo>
                  <a:lnTo>
                    <a:pt x="57702" y="102870"/>
                  </a:lnTo>
                  <a:lnTo>
                    <a:pt x="58550" y="104394"/>
                  </a:lnTo>
                  <a:lnTo>
                    <a:pt x="60379" y="106137"/>
                  </a:lnTo>
                  <a:lnTo>
                    <a:pt x="64218" y="107366"/>
                  </a:lnTo>
                  <a:lnTo>
                    <a:pt x="65399" y="108061"/>
                  </a:lnTo>
                  <a:lnTo>
                    <a:pt x="66218" y="109233"/>
                  </a:lnTo>
                  <a:lnTo>
                    <a:pt x="65980" y="110900"/>
                  </a:lnTo>
                  <a:lnTo>
                    <a:pt x="64151" y="115043"/>
                  </a:lnTo>
                  <a:lnTo>
                    <a:pt x="63913" y="116262"/>
                  </a:lnTo>
                  <a:lnTo>
                    <a:pt x="64160" y="116672"/>
                  </a:lnTo>
                  <a:lnTo>
                    <a:pt x="63798" y="117434"/>
                  </a:lnTo>
                  <a:lnTo>
                    <a:pt x="61417" y="120205"/>
                  </a:lnTo>
                  <a:lnTo>
                    <a:pt x="61208" y="121187"/>
                  </a:lnTo>
                  <a:lnTo>
                    <a:pt x="61998" y="122777"/>
                  </a:lnTo>
                  <a:lnTo>
                    <a:pt x="62655" y="124092"/>
                  </a:lnTo>
                  <a:lnTo>
                    <a:pt x="62655" y="124092"/>
                  </a:lnTo>
                  <a:lnTo>
                    <a:pt x="64084" y="124730"/>
                  </a:lnTo>
                  <a:lnTo>
                    <a:pt x="65427" y="124939"/>
                  </a:lnTo>
                  <a:lnTo>
                    <a:pt x="67970" y="125025"/>
                  </a:lnTo>
                  <a:lnTo>
                    <a:pt x="70685" y="125111"/>
                  </a:lnTo>
                  <a:lnTo>
                    <a:pt x="72142" y="118586"/>
                  </a:lnTo>
                  <a:lnTo>
                    <a:pt x="71028" y="116681"/>
                  </a:lnTo>
                  <a:lnTo>
                    <a:pt x="69647" y="115710"/>
                  </a:lnTo>
                  <a:lnTo>
                    <a:pt x="68037" y="115233"/>
                  </a:lnTo>
                  <a:lnTo>
                    <a:pt x="67294" y="114328"/>
                  </a:lnTo>
                  <a:lnTo>
                    <a:pt x="67037" y="113290"/>
                  </a:lnTo>
                  <a:lnTo>
                    <a:pt x="67323" y="112652"/>
                  </a:lnTo>
                  <a:lnTo>
                    <a:pt x="69218" y="112843"/>
                  </a:lnTo>
                  <a:lnTo>
                    <a:pt x="69809" y="112166"/>
                  </a:lnTo>
                  <a:lnTo>
                    <a:pt x="74324" y="108318"/>
                  </a:lnTo>
                  <a:lnTo>
                    <a:pt x="74514" y="107575"/>
                  </a:lnTo>
                  <a:lnTo>
                    <a:pt x="73885" y="107156"/>
                  </a:lnTo>
                  <a:lnTo>
                    <a:pt x="73066" y="106937"/>
                  </a:lnTo>
                  <a:lnTo>
                    <a:pt x="72857" y="106128"/>
                  </a:lnTo>
                  <a:lnTo>
                    <a:pt x="72885" y="105061"/>
                  </a:lnTo>
                  <a:lnTo>
                    <a:pt x="75295" y="99489"/>
                  </a:lnTo>
                  <a:lnTo>
                    <a:pt x="76010" y="97107"/>
                  </a:lnTo>
                  <a:lnTo>
                    <a:pt x="76172" y="95422"/>
                  </a:lnTo>
                  <a:lnTo>
                    <a:pt x="76019" y="93755"/>
                  </a:lnTo>
                  <a:lnTo>
                    <a:pt x="74628" y="91135"/>
                  </a:lnTo>
                  <a:lnTo>
                    <a:pt x="73285" y="89040"/>
                  </a:lnTo>
                  <a:lnTo>
                    <a:pt x="73238" y="87373"/>
                  </a:lnTo>
                  <a:lnTo>
                    <a:pt x="72257" y="86496"/>
                  </a:lnTo>
                  <a:lnTo>
                    <a:pt x="69475" y="82010"/>
                  </a:lnTo>
                  <a:lnTo>
                    <a:pt x="69475" y="80277"/>
                  </a:lnTo>
                  <a:lnTo>
                    <a:pt x="71047" y="78924"/>
                  </a:lnTo>
                  <a:lnTo>
                    <a:pt x="73247" y="78067"/>
                  </a:lnTo>
                  <a:lnTo>
                    <a:pt x="73981" y="77353"/>
                  </a:lnTo>
                  <a:lnTo>
                    <a:pt x="75295" y="76905"/>
                  </a:lnTo>
                  <a:lnTo>
                    <a:pt x="78791" y="78200"/>
                  </a:lnTo>
                  <a:lnTo>
                    <a:pt x="80353" y="79324"/>
                  </a:lnTo>
                  <a:lnTo>
                    <a:pt x="80791" y="79096"/>
                  </a:lnTo>
                  <a:lnTo>
                    <a:pt x="82201" y="77876"/>
                  </a:lnTo>
                  <a:lnTo>
                    <a:pt x="84677" y="78067"/>
                  </a:lnTo>
                  <a:lnTo>
                    <a:pt x="90668" y="75610"/>
                  </a:lnTo>
                  <a:lnTo>
                    <a:pt x="91564" y="74428"/>
                  </a:lnTo>
                  <a:lnTo>
                    <a:pt x="92230" y="73171"/>
                  </a:lnTo>
                  <a:lnTo>
                    <a:pt x="92288" y="72619"/>
                  </a:lnTo>
                  <a:lnTo>
                    <a:pt x="89964" y="70190"/>
                  </a:lnTo>
                  <a:lnTo>
                    <a:pt x="89897" y="69294"/>
                  </a:lnTo>
                  <a:lnTo>
                    <a:pt x="90202" y="68285"/>
                  </a:lnTo>
                  <a:lnTo>
                    <a:pt x="90859" y="67485"/>
                  </a:lnTo>
                  <a:lnTo>
                    <a:pt x="92230" y="66942"/>
                  </a:lnTo>
                  <a:lnTo>
                    <a:pt x="93688" y="65875"/>
                  </a:lnTo>
                  <a:lnTo>
                    <a:pt x="96955" y="62846"/>
                  </a:lnTo>
                  <a:lnTo>
                    <a:pt x="98088" y="60217"/>
                  </a:lnTo>
                  <a:lnTo>
                    <a:pt x="98441" y="57360"/>
                  </a:lnTo>
                  <a:lnTo>
                    <a:pt x="98508" y="55226"/>
                  </a:lnTo>
                  <a:lnTo>
                    <a:pt x="97612" y="53530"/>
                  </a:lnTo>
                  <a:lnTo>
                    <a:pt x="96707" y="52435"/>
                  </a:lnTo>
                  <a:lnTo>
                    <a:pt x="95478" y="52607"/>
                  </a:lnTo>
                  <a:lnTo>
                    <a:pt x="93088" y="52521"/>
                  </a:lnTo>
                  <a:lnTo>
                    <a:pt x="90849" y="51568"/>
                  </a:lnTo>
                  <a:lnTo>
                    <a:pt x="89621" y="50025"/>
                  </a:lnTo>
                  <a:lnTo>
                    <a:pt x="89316" y="48673"/>
                  </a:lnTo>
                  <a:lnTo>
                    <a:pt x="89878" y="47816"/>
                  </a:lnTo>
                  <a:lnTo>
                    <a:pt x="90049" y="46768"/>
                  </a:lnTo>
                  <a:lnTo>
                    <a:pt x="89687" y="45711"/>
                  </a:lnTo>
                  <a:lnTo>
                    <a:pt x="89830" y="44825"/>
                  </a:lnTo>
                  <a:lnTo>
                    <a:pt x="90840" y="44110"/>
                  </a:lnTo>
                  <a:lnTo>
                    <a:pt x="97917" y="44129"/>
                  </a:lnTo>
                  <a:lnTo>
                    <a:pt x="98450" y="43348"/>
                  </a:lnTo>
                  <a:lnTo>
                    <a:pt x="98927" y="39234"/>
                  </a:lnTo>
                  <a:lnTo>
                    <a:pt x="100698" y="32956"/>
                  </a:lnTo>
                  <a:lnTo>
                    <a:pt x="102365" y="29451"/>
                  </a:lnTo>
                  <a:lnTo>
                    <a:pt x="102641" y="27975"/>
                  </a:lnTo>
                  <a:lnTo>
                    <a:pt x="102613" y="19641"/>
                  </a:lnTo>
                  <a:lnTo>
                    <a:pt x="102822" y="15373"/>
                  </a:lnTo>
                  <a:close/>
                  <a:moveTo>
                    <a:pt x="10182" y="85611"/>
                  </a:moveTo>
                  <a:lnTo>
                    <a:pt x="12516" y="84934"/>
                  </a:lnTo>
                  <a:lnTo>
                    <a:pt x="16050" y="87811"/>
                  </a:lnTo>
                  <a:lnTo>
                    <a:pt x="19364" y="86878"/>
                  </a:lnTo>
                  <a:lnTo>
                    <a:pt x="19164" y="86078"/>
                  </a:lnTo>
                  <a:lnTo>
                    <a:pt x="18602" y="85325"/>
                  </a:lnTo>
                  <a:lnTo>
                    <a:pt x="15992" y="82972"/>
                  </a:lnTo>
                  <a:lnTo>
                    <a:pt x="11716" y="82677"/>
                  </a:lnTo>
                  <a:lnTo>
                    <a:pt x="9296" y="83401"/>
                  </a:lnTo>
                  <a:lnTo>
                    <a:pt x="9306" y="84249"/>
                  </a:lnTo>
                  <a:lnTo>
                    <a:pt x="10182" y="85611"/>
                  </a:lnTo>
                  <a:close/>
                  <a:moveTo>
                    <a:pt x="38395" y="27927"/>
                  </a:moveTo>
                  <a:lnTo>
                    <a:pt x="41043" y="24784"/>
                  </a:lnTo>
                  <a:lnTo>
                    <a:pt x="41043" y="19783"/>
                  </a:lnTo>
                  <a:lnTo>
                    <a:pt x="37129" y="23870"/>
                  </a:lnTo>
                  <a:lnTo>
                    <a:pt x="36309" y="26327"/>
                  </a:lnTo>
                  <a:lnTo>
                    <a:pt x="36776" y="27061"/>
                  </a:lnTo>
                  <a:lnTo>
                    <a:pt x="38395" y="27927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4" name="Forme libre : forme 43">
              <a:extLst>
                <a:ext uri="{FF2B5EF4-FFF2-40B4-BE49-F238E27FC236}">
                  <a16:creationId xmlns:a16="http://schemas.microsoft.com/office/drawing/2014/main" id="{1289C7A4-5611-C736-648E-9490EC93B51D}"/>
                </a:ext>
              </a:extLst>
            </p:cNvPr>
            <p:cNvSpPr/>
            <p:nvPr/>
          </p:nvSpPr>
          <p:spPr>
            <a:xfrm>
              <a:off x="5560346" y="1454932"/>
              <a:ext cx="1823186" cy="2093475"/>
            </a:xfrm>
            <a:custGeom>
              <a:avLst/>
              <a:gdLst>
                <a:gd name="connsiteX0" fmla="*/ 555689 w 699392"/>
                <a:gd name="connsiteY0" fmla="*/ 0 h 834466"/>
                <a:gd name="connsiteX1" fmla="*/ 562833 w 699392"/>
                <a:gd name="connsiteY1" fmla="*/ 3162 h 834466"/>
                <a:gd name="connsiteX2" fmla="*/ 565271 w 699392"/>
                <a:gd name="connsiteY2" fmla="*/ 3096 h 834466"/>
                <a:gd name="connsiteX3" fmla="*/ 568823 w 699392"/>
                <a:gd name="connsiteY3" fmla="*/ 8992 h 834466"/>
                <a:gd name="connsiteX4" fmla="*/ 570672 w 699392"/>
                <a:gd name="connsiteY4" fmla="*/ 8468 h 834466"/>
                <a:gd name="connsiteX5" fmla="*/ 570319 w 699392"/>
                <a:gd name="connsiteY5" fmla="*/ 12049 h 834466"/>
                <a:gd name="connsiteX6" fmla="*/ 566738 w 699392"/>
                <a:gd name="connsiteY6" fmla="*/ 13754 h 834466"/>
                <a:gd name="connsiteX7" fmla="*/ 561165 w 699392"/>
                <a:gd name="connsiteY7" fmla="*/ 14783 h 834466"/>
                <a:gd name="connsiteX8" fmla="*/ 560337 w 699392"/>
                <a:gd name="connsiteY8" fmla="*/ 15497 h 834466"/>
                <a:gd name="connsiteX9" fmla="*/ 555574 w 699392"/>
                <a:gd name="connsiteY9" fmla="*/ 14926 h 834466"/>
                <a:gd name="connsiteX10" fmla="*/ 552898 w 699392"/>
                <a:gd name="connsiteY10" fmla="*/ 10106 h 834466"/>
                <a:gd name="connsiteX11" fmla="*/ 548431 w 699392"/>
                <a:gd name="connsiteY11" fmla="*/ 8915 h 834466"/>
                <a:gd name="connsiteX12" fmla="*/ 548440 w 699392"/>
                <a:gd name="connsiteY12" fmla="*/ 7363 h 834466"/>
                <a:gd name="connsiteX13" fmla="*/ 551336 w 699392"/>
                <a:gd name="connsiteY13" fmla="*/ 3705 h 834466"/>
                <a:gd name="connsiteX14" fmla="*/ 555689 w 699392"/>
                <a:gd name="connsiteY14" fmla="*/ 0 h 834466"/>
                <a:gd name="connsiteX15" fmla="*/ 696926 w 699392"/>
                <a:gd name="connsiteY15" fmla="*/ 108566 h 834466"/>
                <a:gd name="connsiteX16" fmla="*/ 698382 w 699392"/>
                <a:gd name="connsiteY16" fmla="*/ 118710 h 834466"/>
                <a:gd name="connsiteX17" fmla="*/ 698335 w 699392"/>
                <a:gd name="connsiteY17" fmla="*/ 122234 h 834466"/>
                <a:gd name="connsiteX18" fmla="*/ 697649 w 699392"/>
                <a:gd name="connsiteY18" fmla="*/ 125644 h 834466"/>
                <a:gd name="connsiteX19" fmla="*/ 696687 w 699392"/>
                <a:gd name="connsiteY19" fmla="*/ 127387 h 834466"/>
                <a:gd name="connsiteX20" fmla="*/ 694773 w 699392"/>
                <a:gd name="connsiteY20" fmla="*/ 128149 h 834466"/>
                <a:gd name="connsiteX21" fmla="*/ 690134 w 699392"/>
                <a:gd name="connsiteY21" fmla="*/ 127845 h 834466"/>
                <a:gd name="connsiteX22" fmla="*/ 683838 w 699392"/>
                <a:gd name="connsiteY22" fmla="*/ 123854 h 834466"/>
                <a:gd name="connsiteX23" fmla="*/ 679771 w 699392"/>
                <a:gd name="connsiteY23" fmla="*/ 120091 h 834466"/>
                <a:gd name="connsiteX24" fmla="*/ 678504 w 699392"/>
                <a:gd name="connsiteY24" fmla="*/ 119929 h 834466"/>
                <a:gd name="connsiteX25" fmla="*/ 677952 w 699392"/>
                <a:gd name="connsiteY25" fmla="*/ 120386 h 834466"/>
                <a:gd name="connsiteX26" fmla="*/ 678942 w 699392"/>
                <a:gd name="connsiteY26" fmla="*/ 124158 h 834466"/>
                <a:gd name="connsiteX27" fmla="*/ 678675 w 699392"/>
                <a:gd name="connsiteY27" fmla="*/ 127054 h 834466"/>
                <a:gd name="connsiteX28" fmla="*/ 678066 w 699392"/>
                <a:gd name="connsiteY28" fmla="*/ 130197 h 834466"/>
                <a:gd name="connsiteX29" fmla="*/ 677209 w 699392"/>
                <a:gd name="connsiteY29" fmla="*/ 133045 h 834466"/>
                <a:gd name="connsiteX30" fmla="*/ 676018 w 699392"/>
                <a:gd name="connsiteY30" fmla="*/ 135426 h 834466"/>
                <a:gd name="connsiteX31" fmla="*/ 673522 w 699392"/>
                <a:gd name="connsiteY31" fmla="*/ 138493 h 834466"/>
                <a:gd name="connsiteX32" fmla="*/ 669207 w 699392"/>
                <a:gd name="connsiteY32" fmla="*/ 140913 h 834466"/>
                <a:gd name="connsiteX33" fmla="*/ 657330 w 699392"/>
                <a:gd name="connsiteY33" fmla="*/ 145628 h 834466"/>
                <a:gd name="connsiteX34" fmla="*/ 656387 w 699392"/>
                <a:gd name="connsiteY34" fmla="*/ 147704 h 834466"/>
                <a:gd name="connsiteX35" fmla="*/ 652558 w 699392"/>
                <a:gd name="connsiteY35" fmla="*/ 160753 h 834466"/>
                <a:gd name="connsiteX36" fmla="*/ 651520 w 699392"/>
                <a:gd name="connsiteY36" fmla="*/ 162658 h 834466"/>
                <a:gd name="connsiteX37" fmla="*/ 650120 w 699392"/>
                <a:gd name="connsiteY37" fmla="*/ 164268 h 834466"/>
                <a:gd name="connsiteX38" fmla="*/ 646033 w 699392"/>
                <a:gd name="connsiteY38" fmla="*/ 166354 h 834466"/>
                <a:gd name="connsiteX39" fmla="*/ 644052 w 699392"/>
                <a:gd name="connsiteY39" fmla="*/ 163478 h 834466"/>
                <a:gd name="connsiteX40" fmla="*/ 642471 w 699392"/>
                <a:gd name="connsiteY40" fmla="*/ 159106 h 834466"/>
                <a:gd name="connsiteX41" fmla="*/ 642833 w 699392"/>
                <a:gd name="connsiteY41" fmla="*/ 154762 h 834466"/>
                <a:gd name="connsiteX42" fmla="*/ 647605 w 699392"/>
                <a:gd name="connsiteY42" fmla="*/ 146399 h 834466"/>
                <a:gd name="connsiteX43" fmla="*/ 652072 w 699392"/>
                <a:gd name="connsiteY43" fmla="*/ 140446 h 834466"/>
                <a:gd name="connsiteX44" fmla="*/ 653329 w 699392"/>
                <a:gd name="connsiteY44" fmla="*/ 138379 h 834466"/>
                <a:gd name="connsiteX45" fmla="*/ 655863 w 699392"/>
                <a:gd name="connsiteY45" fmla="*/ 132369 h 834466"/>
                <a:gd name="connsiteX46" fmla="*/ 650739 w 699392"/>
                <a:gd name="connsiteY46" fmla="*/ 117186 h 834466"/>
                <a:gd name="connsiteX47" fmla="*/ 641614 w 699392"/>
                <a:gd name="connsiteY47" fmla="*/ 112566 h 834466"/>
                <a:gd name="connsiteX48" fmla="*/ 631222 w 699392"/>
                <a:gd name="connsiteY48" fmla="*/ 105508 h 834466"/>
                <a:gd name="connsiteX49" fmla="*/ 627412 w 699392"/>
                <a:gd name="connsiteY49" fmla="*/ 101737 h 834466"/>
                <a:gd name="connsiteX50" fmla="*/ 621478 w 699392"/>
                <a:gd name="connsiteY50" fmla="*/ 93936 h 834466"/>
                <a:gd name="connsiteX51" fmla="*/ 617277 w 699392"/>
                <a:gd name="connsiteY51" fmla="*/ 86906 h 834466"/>
                <a:gd name="connsiteX52" fmla="*/ 613486 w 699392"/>
                <a:gd name="connsiteY52" fmla="*/ 86658 h 834466"/>
                <a:gd name="connsiteX53" fmla="*/ 609315 w 699392"/>
                <a:gd name="connsiteY53" fmla="*/ 88430 h 834466"/>
                <a:gd name="connsiteX54" fmla="*/ 602799 w 699392"/>
                <a:gd name="connsiteY54" fmla="*/ 94850 h 834466"/>
                <a:gd name="connsiteX55" fmla="*/ 598999 w 699392"/>
                <a:gd name="connsiteY55" fmla="*/ 98069 h 834466"/>
                <a:gd name="connsiteX56" fmla="*/ 596903 w 699392"/>
                <a:gd name="connsiteY56" fmla="*/ 99022 h 834466"/>
                <a:gd name="connsiteX57" fmla="*/ 596399 w 699392"/>
                <a:gd name="connsiteY57" fmla="*/ 99165 h 834466"/>
                <a:gd name="connsiteX58" fmla="*/ 591731 w 699392"/>
                <a:gd name="connsiteY58" fmla="*/ 97346 h 834466"/>
                <a:gd name="connsiteX59" fmla="*/ 586550 w 699392"/>
                <a:gd name="connsiteY59" fmla="*/ 96964 h 834466"/>
                <a:gd name="connsiteX60" fmla="*/ 582378 w 699392"/>
                <a:gd name="connsiteY60" fmla="*/ 97488 h 834466"/>
                <a:gd name="connsiteX61" fmla="*/ 580806 w 699392"/>
                <a:gd name="connsiteY61" fmla="*/ 98365 h 834466"/>
                <a:gd name="connsiteX62" fmla="*/ 574996 w 699392"/>
                <a:gd name="connsiteY62" fmla="*/ 108690 h 834466"/>
                <a:gd name="connsiteX63" fmla="*/ 570929 w 699392"/>
                <a:gd name="connsiteY63" fmla="*/ 113871 h 834466"/>
                <a:gd name="connsiteX64" fmla="*/ 568690 w 699392"/>
                <a:gd name="connsiteY64" fmla="*/ 115653 h 834466"/>
                <a:gd name="connsiteX65" fmla="*/ 567061 w 699392"/>
                <a:gd name="connsiteY65" fmla="*/ 118643 h 834466"/>
                <a:gd name="connsiteX66" fmla="*/ 565728 w 699392"/>
                <a:gd name="connsiteY66" fmla="*/ 123558 h 834466"/>
                <a:gd name="connsiteX67" fmla="*/ 562746 w 699392"/>
                <a:gd name="connsiteY67" fmla="*/ 140475 h 834466"/>
                <a:gd name="connsiteX68" fmla="*/ 560527 w 699392"/>
                <a:gd name="connsiteY68" fmla="*/ 146818 h 834466"/>
                <a:gd name="connsiteX69" fmla="*/ 560032 w 699392"/>
                <a:gd name="connsiteY69" fmla="*/ 150685 h 834466"/>
                <a:gd name="connsiteX70" fmla="*/ 560556 w 699392"/>
                <a:gd name="connsiteY70" fmla="*/ 162344 h 834466"/>
                <a:gd name="connsiteX71" fmla="*/ 560022 w 699392"/>
                <a:gd name="connsiteY71" fmla="*/ 168764 h 834466"/>
                <a:gd name="connsiteX72" fmla="*/ 557308 w 699392"/>
                <a:gd name="connsiteY72" fmla="*/ 174041 h 834466"/>
                <a:gd name="connsiteX73" fmla="*/ 555393 w 699392"/>
                <a:gd name="connsiteY73" fmla="*/ 176412 h 834466"/>
                <a:gd name="connsiteX74" fmla="*/ 552869 w 699392"/>
                <a:gd name="connsiteY74" fmla="*/ 176898 h 834466"/>
                <a:gd name="connsiteX75" fmla="*/ 549564 w 699392"/>
                <a:gd name="connsiteY75" fmla="*/ 178241 h 834466"/>
                <a:gd name="connsiteX76" fmla="*/ 546678 w 699392"/>
                <a:gd name="connsiteY76" fmla="*/ 181280 h 834466"/>
                <a:gd name="connsiteX77" fmla="*/ 544639 w 699392"/>
                <a:gd name="connsiteY77" fmla="*/ 185423 h 834466"/>
                <a:gd name="connsiteX78" fmla="*/ 542344 w 699392"/>
                <a:gd name="connsiteY78" fmla="*/ 194672 h 834466"/>
                <a:gd name="connsiteX79" fmla="*/ 538458 w 699392"/>
                <a:gd name="connsiteY79" fmla="*/ 198063 h 834466"/>
                <a:gd name="connsiteX80" fmla="*/ 534743 w 699392"/>
                <a:gd name="connsiteY80" fmla="*/ 197091 h 834466"/>
                <a:gd name="connsiteX81" fmla="*/ 532095 w 699392"/>
                <a:gd name="connsiteY81" fmla="*/ 193700 h 834466"/>
                <a:gd name="connsiteX82" fmla="*/ 526409 w 699392"/>
                <a:gd name="connsiteY82" fmla="*/ 191071 h 834466"/>
                <a:gd name="connsiteX83" fmla="*/ 522170 w 699392"/>
                <a:gd name="connsiteY83" fmla="*/ 189395 h 834466"/>
                <a:gd name="connsiteX84" fmla="*/ 517417 w 699392"/>
                <a:gd name="connsiteY84" fmla="*/ 185757 h 834466"/>
                <a:gd name="connsiteX85" fmla="*/ 513226 w 699392"/>
                <a:gd name="connsiteY85" fmla="*/ 182985 h 834466"/>
                <a:gd name="connsiteX86" fmla="*/ 509397 w 699392"/>
                <a:gd name="connsiteY86" fmla="*/ 182432 h 834466"/>
                <a:gd name="connsiteX87" fmla="*/ 507216 w 699392"/>
                <a:gd name="connsiteY87" fmla="*/ 185947 h 834466"/>
                <a:gd name="connsiteX88" fmla="*/ 505463 w 699392"/>
                <a:gd name="connsiteY88" fmla="*/ 189224 h 834466"/>
                <a:gd name="connsiteX89" fmla="*/ 498929 w 699392"/>
                <a:gd name="connsiteY89" fmla="*/ 191881 h 834466"/>
                <a:gd name="connsiteX90" fmla="*/ 495224 w 699392"/>
                <a:gd name="connsiteY90" fmla="*/ 193986 h 834466"/>
                <a:gd name="connsiteX91" fmla="*/ 490424 w 699392"/>
                <a:gd name="connsiteY91" fmla="*/ 194453 h 834466"/>
                <a:gd name="connsiteX92" fmla="*/ 488480 w 699392"/>
                <a:gd name="connsiteY92" fmla="*/ 192119 h 834466"/>
                <a:gd name="connsiteX93" fmla="*/ 481508 w 699392"/>
                <a:gd name="connsiteY93" fmla="*/ 190576 h 834466"/>
                <a:gd name="connsiteX94" fmla="*/ 473212 w 699392"/>
                <a:gd name="connsiteY94" fmla="*/ 188747 h 834466"/>
                <a:gd name="connsiteX95" fmla="*/ 470811 w 699392"/>
                <a:gd name="connsiteY95" fmla="*/ 188766 h 834466"/>
                <a:gd name="connsiteX96" fmla="*/ 470059 w 699392"/>
                <a:gd name="connsiteY96" fmla="*/ 184585 h 834466"/>
                <a:gd name="connsiteX97" fmla="*/ 467849 w 699392"/>
                <a:gd name="connsiteY97" fmla="*/ 178727 h 834466"/>
                <a:gd name="connsiteX98" fmla="*/ 461953 w 699392"/>
                <a:gd name="connsiteY98" fmla="*/ 168554 h 834466"/>
                <a:gd name="connsiteX99" fmla="*/ 459543 w 699392"/>
                <a:gd name="connsiteY99" fmla="*/ 164954 h 834466"/>
                <a:gd name="connsiteX100" fmla="*/ 455000 w 699392"/>
                <a:gd name="connsiteY100" fmla="*/ 156467 h 834466"/>
                <a:gd name="connsiteX101" fmla="*/ 449713 w 699392"/>
                <a:gd name="connsiteY101" fmla="*/ 147723 h 834466"/>
                <a:gd name="connsiteX102" fmla="*/ 448961 w 699392"/>
                <a:gd name="connsiteY102" fmla="*/ 147504 h 834466"/>
                <a:gd name="connsiteX103" fmla="*/ 445418 w 699392"/>
                <a:gd name="connsiteY103" fmla="*/ 147209 h 834466"/>
                <a:gd name="connsiteX104" fmla="*/ 440227 w 699392"/>
                <a:gd name="connsiteY104" fmla="*/ 147495 h 834466"/>
                <a:gd name="connsiteX105" fmla="*/ 436931 w 699392"/>
                <a:gd name="connsiteY105" fmla="*/ 149485 h 834466"/>
                <a:gd name="connsiteX106" fmla="*/ 434854 w 699392"/>
                <a:gd name="connsiteY106" fmla="*/ 151981 h 834466"/>
                <a:gd name="connsiteX107" fmla="*/ 434493 w 699392"/>
                <a:gd name="connsiteY107" fmla="*/ 154057 h 834466"/>
                <a:gd name="connsiteX108" fmla="*/ 436502 w 699392"/>
                <a:gd name="connsiteY108" fmla="*/ 161982 h 834466"/>
                <a:gd name="connsiteX109" fmla="*/ 435883 w 699392"/>
                <a:gd name="connsiteY109" fmla="*/ 163954 h 834466"/>
                <a:gd name="connsiteX110" fmla="*/ 434845 w 699392"/>
                <a:gd name="connsiteY110" fmla="*/ 164906 h 834466"/>
                <a:gd name="connsiteX111" fmla="*/ 430130 w 699392"/>
                <a:gd name="connsiteY111" fmla="*/ 162687 h 834466"/>
                <a:gd name="connsiteX112" fmla="*/ 424425 w 699392"/>
                <a:gd name="connsiteY112" fmla="*/ 162839 h 834466"/>
                <a:gd name="connsiteX113" fmla="*/ 422986 w 699392"/>
                <a:gd name="connsiteY113" fmla="*/ 165278 h 834466"/>
                <a:gd name="connsiteX114" fmla="*/ 419510 w 699392"/>
                <a:gd name="connsiteY114" fmla="*/ 165545 h 834466"/>
                <a:gd name="connsiteX115" fmla="*/ 409480 w 699392"/>
                <a:gd name="connsiteY115" fmla="*/ 166468 h 834466"/>
                <a:gd name="connsiteX116" fmla="*/ 413909 w 699392"/>
                <a:gd name="connsiteY116" fmla="*/ 172907 h 834466"/>
                <a:gd name="connsiteX117" fmla="*/ 415376 w 699392"/>
                <a:gd name="connsiteY117" fmla="*/ 175489 h 834466"/>
                <a:gd name="connsiteX118" fmla="*/ 415671 w 699392"/>
                <a:gd name="connsiteY118" fmla="*/ 179260 h 834466"/>
                <a:gd name="connsiteX119" fmla="*/ 414900 w 699392"/>
                <a:gd name="connsiteY119" fmla="*/ 186252 h 834466"/>
                <a:gd name="connsiteX120" fmla="*/ 412775 w 699392"/>
                <a:gd name="connsiteY120" fmla="*/ 192205 h 834466"/>
                <a:gd name="connsiteX121" fmla="*/ 410299 w 699392"/>
                <a:gd name="connsiteY121" fmla="*/ 197034 h 834466"/>
                <a:gd name="connsiteX122" fmla="*/ 405527 w 699392"/>
                <a:gd name="connsiteY122" fmla="*/ 201806 h 834466"/>
                <a:gd name="connsiteX123" fmla="*/ 412775 w 699392"/>
                <a:gd name="connsiteY123" fmla="*/ 206512 h 834466"/>
                <a:gd name="connsiteX124" fmla="*/ 407851 w 699392"/>
                <a:gd name="connsiteY124" fmla="*/ 212846 h 834466"/>
                <a:gd name="connsiteX125" fmla="*/ 405546 w 699392"/>
                <a:gd name="connsiteY125" fmla="*/ 215303 h 834466"/>
                <a:gd name="connsiteX126" fmla="*/ 402879 w 699392"/>
                <a:gd name="connsiteY126" fmla="*/ 214884 h 834466"/>
                <a:gd name="connsiteX127" fmla="*/ 398107 w 699392"/>
                <a:gd name="connsiteY127" fmla="*/ 212703 h 834466"/>
                <a:gd name="connsiteX128" fmla="*/ 386553 w 699392"/>
                <a:gd name="connsiteY128" fmla="*/ 207407 h 834466"/>
                <a:gd name="connsiteX129" fmla="*/ 381038 w 699392"/>
                <a:gd name="connsiteY129" fmla="*/ 205416 h 834466"/>
                <a:gd name="connsiteX130" fmla="*/ 376104 w 699392"/>
                <a:gd name="connsiteY130" fmla="*/ 204807 h 834466"/>
                <a:gd name="connsiteX131" fmla="*/ 373475 w 699392"/>
                <a:gd name="connsiteY131" fmla="*/ 204883 h 834466"/>
                <a:gd name="connsiteX132" fmla="*/ 363017 w 699392"/>
                <a:gd name="connsiteY132" fmla="*/ 200330 h 834466"/>
                <a:gd name="connsiteX133" fmla="*/ 360998 w 699392"/>
                <a:gd name="connsiteY133" fmla="*/ 200835 h 834466"/>
                <a:gd name="connsiteX134" fmla="*/ 357244 w 699392"/>
                <a:gd name="connsiteY134" fmla="*/ 202806 h 834466"/>
                <a:gd name="connsiteX135" fmla="*/ 356826 w 699392"/>
                <a:gd name="connsiteY135" fmla="*/ 207226 h 834466"/>
                <a:gd name="connsiteX136" fmla="*/ 357064 w 699392"/>
                <a:gd name="connsiteY136" fmla="*/ 218170 h 834466"/>
                <a:gd name="connsiteX137" fmla="*/ 357616 w 699392"/>
                <a:gd name="connsiteY137" fmla="*/ 226552 h 834466"/>
                <a:gd name="connsiteX138" fmla="*/ 356235 w 699392"/>
                <a:gd name="connsiteY138" fmla="*/ 231372 h 834466"/>
                <a:gd name="connsiteX139" fmla="*/ 354854 w 699392"/>
                <a:gd name="connsiteY139" fmla="*/ 234639 h 834466"/>
                <a:gd name="connsiteX140" fmla="*/ 350672 w 699392"/>
                <a:gd name="connsiteY140" fmla="*/ 243411 h 834466"/>
                <a:gd name="connsiteX141" fmla="*/ 341262 w 699392"/>
                <a:gd name="connsiteY141" fmla="*/ 237449 h 834466"/>
                <a:gd name="connsiteX142" fmla="*/ 334842 w 699392"/>
                <a:gd name="connsiteY142" fmla="*/ 233486 h 834466"/>
                <a:gd name="connsiteX143" fmla="*/ 330718 w 699392"/>
                <a:gd name="connsiteY143" fmla="*/ 238754 h 834466"/>
                <a:gd name="connsiteX144" fmla="*/ 320383 w 699392"/>
                <a:gd name="connsiteY144" fmla="*/ 248374 h 834466"/>
                <a:gd name="connsiteX145" fmla="*/ 315087 w 699392"/>
                <a:gd name="connsiteY145" fmla="*/ 267195 h 834466"/>
                <a:gd name="connsiteX146" fmla="*/ 314783 w 699392"/>
                <a:gd name="connsiteY146" fmla="*/ 267805 h 834466"/>
                <a:gd name="connsiteX147" fmla="*/ 311648 w 699392"/>
                <a:gd name="connsiteY147" fmla="*/ 272558 h 834466"/>
                <a:gd name="connsiteX148" fmla="*/ 307639 w 699392"/>
                <a:gd name="connsiteY148" fmla="*/ 274739 h 834466"/>
                <a:gd name="connsiteX149" fmla="*/ 304600 w 699392"/>
                <a:gd name="connsiteY149" fmla="*/ 275815 h 834466"/>
                <a:gd name="connsiteX150" fmla="*/ 302829 w 699392"/>
                <a:gd name="connsiteY150" fmla="*/ 281349 h 834466"/>
                <a:gd name="connsiteX151" fmla="*/ 306953 w 699392"/>
                <a:gd name="connsiteY151" fmla="*/ 289246 h 834466"/>
                <a:gd name="connsiteX152" fmla="*/ 309067 w 699392"/>
                <a:gd name="connsiteY152" fmla="*/ 293399 h 834466"/>
                <a:gd name="connsiteX153" fmla="*/ 311039 w 699392"/>
                <a:gd name="connsiteY153" fmla="*/ 300085 h 834466"/>
                <a:gd name="connsiteX154" fmla="*/ 310677 w 699392"/>
                <a:gd name="connsiteY154" fmla="*/ 304324 h 834466"/>
                <a:gd name="connsiteX155" fmla="*/ 310220 w 699392"/>
                <a:gd name="connsiteY155" fmla="*/ 306953 h 834466"/>
                <a:gd name="connsiteX156" fmla="*/ 305791 w 699392"/>
                <a:gd name="connsiteY156" fmla="*/ 312325 h 834466"/>
                <a:gd name="connsiteX157" fmla="*/ 296342 w 699392"/>
                <a:gd name="connsiteY157" fmla="*/ 326431 h 834466"/>
                <a:gd name="connsiteX158" fmla="*/ 287598 w 699392"/>
                <a:gd name="connsiteY158" fmla="*/ 341043 h 834466"/>
                <a:gd name="connsiteX159" fmla="*/ 284016 w 699392"/>
                <a:gd name="connsiteY159" fmla="*/ 345215 h 834466"/>
                <a:gd name="connsiteX160" fmla="*/ 285636 w 699392"/>
                <a:gd name="connsiteY160" fmla="*/ 357483 h 834466"/>
                <a:gd name="connsiteX161" fmla="*/ 282730 w 699392"/>
                <a:gd name="connsiteY161" fmla="*/ 361064 h 834466"/>
                <a:gd name="connsiteX162" fmla="*/ 276806 w 699392"/>
                <a:gd name="connsiteY162" fmla="*/ 365103 h 834466"/>
                <a:gd name="connsiteX163" fmla="*/ 273777 w 699392"/>
                <a:gd name="connsiteY163" fmla="*/ 366655 h 834466"/>
                <a:gd name="connsiteX164" fmla="*/ 270520 w 699392"/>
                <a:gd name="connsiteY164" fmla="*/ 367570 h 834466"/>
                <a:gd name="connsiteX165" fmla="*/ 260499 w 699392"/>
                <a:gd name="connsiteY165" fmla="*/ 369180 h 834466"/>
                <a:gd name="connsiteX166" fmla="*/ 262281 w 699392"/>
                <a:gd name="connsiteY166" fmla="*/ 382134 h 834466"/>
                <a:gd name="connsiteX167" fmla="*/ 262957 w 699392"/>
                <a:gd name="connsiteY167" fmla="*/ 387839 h 834466"/>
                <a:gd name="connsiteX168" fmla="*/ 262947 w 699392"/>
                <a:gd name="connsiteY168" fmla="*/ 391211 h 834466"/>
                <a:gd name="connsiteX169" fmla="*/ 261909 w 699392"/>
                <a:gd name="connsiteY169" fmla="*/ 394497 h 834466"/>
                <a:gd name="connsiteX170" fmla="*/ 260671 w 699392"/>
                <a:gd name="connsiteY170" fmla="*/ 400755 h 834466"/>
                <a:gd name="connsiteX171" fmla="*/ 258804 w 699392"/>
                <a:gd name="connsiteY171" fmla="*/ 422948 h 834466"/>
                <a:gd name="connsiteX172" fmla="*/ 257375 w 699392"/>
                <a:gd name="connsiteY172" fmla="*/ 425320 h 834466"/>
                <a:gd name="connsiteX173" fmla="*/ 255404 w 699392"/>
                <a:gd name="connsiteY173" fmla="*/ 431273 h 834466"/>
                <a:gd name="connsiteX174" fmla="*/ 249060 w 699392"/>
                <a:gd name="connsiteY174" fmla="*/ 445494 h 834466"/>
                <a:gd name="connsiteX175" fmla="*/ 243973 w 699392"/>
                <a:gd name="connsiteY175" fmla="*/ 454885 h 834466"/>
                <a:gd name="connsiteX176" fmla="*/ 236630 w 699392"/>
                <a:gd name="connsiteY176" fmla="*/ 468325 h 834466"/>
                <a:gd name="connsiteX177" fmla="*/ 242602 w 699392"/>
                <a:gd name="connsiteY177" fmla="*/ 472545 h 834466"/>
                <a:gd name="connsiteX178" fmla="*/ 248050 w 699392"/>
                <a:gd name="connsiteY178" fmla="*/ 475621 h 834466"/>
                <a:gd name="connsiteX179" fmla="*/ 249184 w 699392"/>
                <a:gd name="connsiteY179" fmla="*/ 480336 h 834466"/>
                <a:gd name="connsiteX180" fmla="*/ 249936 w 699392"/>
                <a:gd name="connsiteY180" fmla="*/ 488185 h 834466"/>
                <a:gd name="connsiteX181" fmla="*/ 249755 w 699392"/>
                <a:gd name="connsiteY181" fmla="*/ 493509 h 834466"/>
                <a:gd name="connsiteX182" fmla="*/ 247669 w 699392"/>
                <a:gd name="connsiteY182" fmla="*/ 498281 h 834466"/>
                <a:gd name="connsiteX183" fmla="*/ 246050 w 699392"/>
                <a:gd name="connsiteY183" fmla="*/ 501625 h 834466"/>
                <a:gd name="connsiteX184" fmla="*/ 244916 w 699392"/>
                <a:gd name="connsiteY184" fmla="*/ 503253 h 834466"/>
                <a:gd name="connsiteX185" fmla="*/ 237173 w 699392"/>
                <a:gd name="connsiteY185" fmla="*/ 501634 h 834466"/>
                <a:gd name="connsiteX186" fmla="*/ 227248 w 699392"/>
                <a:gd name="connsiteY186" fmla="*/ 499548 h 834466"/>
                <a:gd name="connsiteX187" fmla="*/ 224676 w 699392"/>
                <a:gd name="connsiteY187" fmla="*/ 499529 h 834466"/>
                <a:gd name="connsiteX188" fmla="*/ 218904 w 699392"/>
                <a:gd name="connsiteY188" fmla="*/ 501034 h 834466"/>
                <a:gd name="connsiteX189" fmla="*/ 213693 w 699392"/>
                <a:gd name="connsiteY189" fmla="*/ 504111 h 834466"/>
                <a:gd name="connsiteX190" fmla="*/ 210950 w 699392"/>
                <a:gd name="connsiteY190" fmla="*/ 506701 h 834466"/>
                <a:gd name="connsiteX191" fmla="*/ 210217 w 699392"/>
                <a:gd name="connsiteY191" fmla="*/ 507730 h 834466"/>
                <a:gd name="connsiteX192" fmla="*/ 206750 w 699392"/>
                <a:gd name="connsiteY192" fmla="*/ 513617 h 834466"/>
                <a:gd name="connsiteX193" fmla="*/ 200578 w 699392"/>
                <a:gd name="connsiteY193" fmla="*/ 524018 h 834466"/>
                <a:gd name="connsiteX194" fmla="*/ 197196 w 699392"/>
                <a:gd name="connsiteY194" fmla="*/ 528542 h 834466"/>
                <a:gd name="connsiteX195" fmla="*/ 198187 w 699392"/>
                <a:gd name="connsiteY195" fmla="*/ 534762 h 834466"/>
                <a:gd name="connsiteX196" fmla="*/ 192510 w 699392"/>
                <a:gd name="connsiteY196" fmla="*/ 546716 h 834466"/>
                <a:gd name="connsiteX197" fmla="*/ 196225 w 699392"/>
                <a:gd name="connsiteY197" fmla="*/ 558698 h 834466"/>
                <a:gd name="connsiteX198" fmla="*/ 196387 w 699392"/>
                <a:gd name="connsiteY198" fmla="*/ 559098 h 834466"/>
                <a:gd name="connsiteX199" fmla="*/ 198358 w 699392"/>
                <a:gd name="connsiteY199" fmla="*/ 563918 h 834466"/>
                <a:gd name="connsiteX200" fmla="*/ 196301 w 699392"/>
                <a:gd name="connsiteY200" fmla="*/ 567023 h 834466"/>
                <a:gd name="connsiteX201" fmla="*/ 195434 w 699392"/>
                <a:gd name="connsiteY201" fmla="*/ 568690 h 834466"/>
                <a:gd name="connsiteX202" fmla="*/ 195729 w 699392"/>
                <a:gd name="connsiteY202" fmla="*/ 574167 h 834466"/>
                <a:gd name="connsiteX203" fmla="*/ 196272 w 699392"/>
                <a:gd name="connsiteY203" fmla="*/ 580273 h 834466"/>
                <a:gd name="connsiteX204" fmla="*/ 195796 w 699392"/>
                <a:gd name="connsiteY204" fmla="*/ 583844 h 834466"/>
                <a:gd name="connsiteX205" fmla="*/ 195596 w 699392"/>
                <a:gd name="connsiteY205" fmla="*/ 587797 h 834466"/>
                <a:gd name="connsiteX206" fmla="*/ 200644 w 699392"/>
                <a:gd name="connsiteY206" fmla="*/ 605466 h 834466"/>
                <a:gd name="connsiteX207" fmla="*/ 200587 w 699392"/>
                <a:gd name="connsiteY207" fmla="*/ 609581 h 834466"/>
                <a:gd name="connsiteX208" fmla="*/ 200340 w 699392"/>
                <a:gd name="connsiteY208" fmla="*/ 612229 h 834466"/>
                <a:gd name="connsiteX209" fmla="*/ 198777 w 699392"/>
                <a:gd name="connsiteY209" fmla="*/ 623097 h 834466"/>
                <a:gd name="connsiteX210" fmla="*/ 196682 w 699392"/>
                <a:gd name="connsiteY210" fmla="*/ 637585 h 834466"/>
                <a:gd name="connsiteX211" fmla="*/ 200340 w 699392"/>
                <a:gd name="connsiteY211" fmla="*/ 641366 h 834466"/>
                <a:gd name="connsiteX212" fmla="*/ 205540 w 699392"/>
                <a:gd name="connsiteY212" fmla="*/ 645881 h 834466"/>
                <a:gd name="connsiteX213" fmla="*/ 208464 w 699392"/>
                <a:gd name="connsiteY213" fmla="*/ 647662 h 834466"/>
                <a:gd name="connsiteX214" fmla="*/ 212779 w 699392"/>
                <a:gd name="connsiteY214" fmla="*/ 653015 h 834466"/>
                <a:gd name="connsiteX215" fmla="*/ 216075 w 699392"/>
                <a:gd name="connsiteY215" fmla="*/ 658225 h 834466"/>
                <a:gd name="connsiteX216" fmla="*/ 215617 w 699392"/>
                <a:gd name="connsiteY216" fmla="*/ 661673 h 834466"/>
                <a:gd name="connsiteX217" fmla="*/ 214665 w 699392"/>
                <a:gd name="connsiteY217" fmla="*/ 665474 h 834466"/>
                <a:gd name="connsiteX218" fmla="*/ 213284 w 699392"/>
                <a:gd name="connsiteY218" fmla="*/ 668122 h 834466"/>
                <a:gd name="connsiteX219" fmla="*/ 211979 w 699392"/>
                <a:gd name="connsiteY219" fmla="*/ 671751 h 834466"/>
                <a:gd name="connsiteX220" fmla="*/ 211398 w 699392"/>
                <a:gd name="connsiteY220" fmla="*/ 674427 h 834466"/>
                <a:gd name="connsiteX221" fmla="*/ 210788 w 699392"/>
                <a:gd name="connsiteY221" fmla="*/ 675142 h 834466"/>
                <a:gd name="connsiteX222" fmla="*/ 205026 w 699392"/>
                <a:gd name="connsiteY222" fmla="*/ 675437 h 834466"/>
                <a:gd name="connsiteX223" fmla="*/ 201987 w 699392"/>
                <a:gd name="connsiteY223" fmla="*/ 676447 h 834466"/>
                <a:gd name="connsiteX224" fmla="*/ 200396 w 699392"/>
                <a:gd name="connsiteY224" fmla="*/ 677580 h 834466"/>
                <a:gd name="connsiteX225" fmla="*/ 200939 w 699392"/>
                <a:gd name="connsiteY225" fmla="*/ 683657 h 834466"/>
                <a:gd name="connsiteX226" fmla="*/ 204435 w 699392"/>
                <a:gd name="connsiteY226" fmla="*/ 694735 h 834466"/>
                <a:gd name="connsiteX227" fmla="*/ 207340 w 699392"/>
                <a:gd name="connsiteY227" fmla="*/ 702564 h 834466"/>
                <a:gd name="connsiteX228" fmla="*/ 208274 w 699392"/>
                <a:gd name="connsiteY228" fmla="*/ 707708 h 834466"/>
                <a:gd name="connsiteX229" fmla="*/ 207321 w 699392"/>
                <a:gd name="connsiteY229" fmla="*/ 712908 h 834466"/>
                <a:gd name="connsiteX230" fmla="*/ 206331 w 699392"/>
                <a:gd name="connsiteY230" fmla="*/ 715566 h 834466"/>
                <a:gd name="connsiteX231" fmla="*/ 206302 w 699392"/>
                <a:gd name="connsiteY231" fmla="*/ 719138 h 834466"/>
                <a:gd name="connsiteX232" fmla="*/ 205540 w 699392"/>
                <a:gd name="connsiteY232" fmla="*/ 726224 h 834466"/>
                <a:gd name="connsiteX233" fmla="*/ 203292 w 699392"/>
                <a:gd name="connsiteY233" fmla="*/ 729796 h 834466"/>
                <a:gd name="connsiteX234" fmla="*/ 200349 w 699392"/>
                <a:gd name="connsiteY234" fmla="*/ 733682 h 834466"/>
                <a:gd name="connsiteX235" fmla="*/ 197072 w 699392"/>
                <a:gd name="connsiteY235" fmla="*/ 736578 h 834466"/>
                <a:gd name="connsiteX236" fmla="*/ 194472 w 699392"/>
                <a:gd name="connsiteY236" fmla="*/ 737387 h 834466"/>
                <a:gd name="connsiteX237" fmla="*/ 192243 w 699392"/>
                <a:gd name="connsiteY237" fmla="*/ 737721 h 834466"/>
                <a:gd name="connsiteX238" fmla="*/ 190738 w 699392"/>
                <a:gd name="connsiteY238" fmla="*/ 739188 h 834466"/>
                <a:gd name="connsiteX239" fmla="*/ 189376 w 699392"/>
                <a:gd name="connsiteY239" fmla="*/ 743502 h 834466"/>
                <a:gd name="connsiteX240" fmla="*/ 188119 w 699392"/>
                <a:gd name="connsiteY240" fmla="*/ 748017 h 834466"/>
                <a:gd name="connsiteX241" fmla="*/ 184013 w 699392"/>
                <a:gd name="connsiteY241" fmla="*/ 753561 h 834466"/>
                <a:gd name="connsiteX242" fmla="*/ 184128 w 699392"/>
                <a:gd name="connsiteY242" fmla="*/ 755485 h 834466"/>
                <a:gd name="connsiteX243" fmla="*/ 185690 w 699392"/>
                <a:gd name="connsiteY243" fmla="*/ 762019 h 834466"/>
                <a:gd name="connsiteX244" fmla="*/ 187157 w 699392"/>
                <a:gd name="connsiteY244" fmla="*/ 769430 h 834466"/>
                <a:gd name="connsiteX245" fmla="*/ 185919 w 699392"/>
                <a:gd name="connsiteY245" fmla="*/ 776335 h 834466"/>
                <a:gd name="connsiteX246" fmla="*/ 184861 w 699392"/>
                <a:gd name="connsiteY246" fmla="*/ 783546 h 834466"/>
                <a:gd name="connsiteX247" fmla="*/ 183004 w 699392"/>
                <a:gd name="connsiteY247" fmla="*/ 788337 h 834466"/>
                <a:gd name="connsiteX248" fmla="*/ 180356 w 699392"/>
                <a:gd name="connsiteY248" fmla="*/ 790051 h 834466"/>
                <a:gd name="connsiteX249" fmla="*/ 178413 w 699392"/>
                <a:gd name="connsiteY249" fmla="*/ 789194 h 834466"/>
                <a:gd name="connsiteX250" fmla="*/ 176213 w 699392"/>
                <a:gd name="connsiteY250" fmla="*/ 782622 h 834466"/>
                <a:gd name="connsiteX251" fmla="*/ 176098 w 699392"/>
                <a:gd name="connsiteY251" fmla="*/ 781069 h 834466"/>
                <a:gd name="connsiteX252" fmla="*/ 175555 w 699392"/>
                <a:gd name="connsiteY252" fmla="*/ 779050 h 834466"/>
                <a:gd name="connsiteX253" fmla="*/ 169307 w 699392"/>
                <a:gd name="connsiteY253" fmla="*/ 777040 h 834466"/>
                <a:gd name="connsiteX254" fmla="*/ 168202 w 699392"/>
                <a:gd name="connsiteY254" fmla="*/ 777107 h 834466"/>
                <a:gd name="connsiteX255" fmla="*/ 165745 w 699392"/>
                <a:gd name="connsiteY255" fmla="*/ 775925 h 834466"/>
                <a:gd name="connsiteX256" fmla="*/ 164306 w 699392"/>
                <a:gd name="connsiteY256" fmla="*/ 775592 h 834466"/>
                <a:gd name="connsiteX257" fmla="*/ 161354 w 699392"/>
                <a:gd name="connsiteY257" fmla="*/ 774916 h 834466"/>
                <a:gd name="connsiteX258" fmla="*/ 158896 w 699392"/>
                <a:gd name="connsiteY258" fmla="*/ 769068 h 834466"/>
                <a:gd name="connsiteX259" fmla="*/ 156296 w 699392"/>
                <a:gd name="connsiteY259" fmla="*/ 764191 h 834466"/>
                <a:gd name="connsiteX260" fmla="*/ 155915 w 699392"/>
                <a:gd name="connsiteY260" fmla="*/ 762152 h 834466"/>
                <a:gd name="connsiteX261" fmla="*/ 156010 w 699392"/>
                <a:gd name="connsiteY261" fmla="*/ 752980 h 834466"/>
                <a:gd name="connsiteX262" fmla="*/ 155210 w 699392"/>
                <a:gd name="connsiteY262" fmla="*/ 748884 h 834466"/>
                <a:gd name="connsiteX263" fmla="*/ 154962 w 699392"/>
                <a:gd name="connsiteY263" fmla="*/ 744407 h 834466"/>
                <a:gd name="connsiteX264" fmla="*/ 153324 w 699392"/>
                <a:gd name="connsiteY264" fmla="*/ 748046 h 834466"/>
                <a:gd name="connsiteX265" fmla="*/ 154277 w 699392"/>
                <a:gd name="connsiteY265" fmla="*/ 753789 h 834466"/>
                <a:gd name="connsiteX266" fmla="*/ 152257 w 699392"/>
                <a:gd name="connsiteY266" fmla="*/ 756190 h 834466"/>
                <a:gd name="connsiteX267" fmla="*/ 149695 w 699392"/>
                <a:gd name="connsiteY267" fmla="*/ 757361 h 834466"/>
                <a:gd name="connsiteX268" fmla="*/ 149933 w 699392"/>
                <a:gd name="connsiteY268" fmla="*/ 760705 h 834466"/>
                <a:gd name="connsiteX269" fmla="*/ 150981 w 699392"/>
                <a:gd name="connsiteY269" fmla="*/ 761343 h 834466"/>
                <a:gd name="connsiteX270" fmla="*/ 151200 w 699392"/>
                <a:gd name="connsiteY270" fmla="*/ 764800 h 834466"/>
                <a:gd name="connsiteX271" fmla="*/ 150581 w 699392"/>
                <a:gd name="connsiteY271" fmla="*/ 769925 h 834466"/>
                <a:gd name="connsiteX272" fmla="*/ 145552 w 699392"/>
                <a:gd name="connsiteY272" fmla="*/ 781250 h 834466"/>
                <a:gd name="connsiteX273" fmla="*/ 144542 w 699392"/>
                <a:gd name="connsiteY273" fmla="*/ 782460 h 834466"/>
                <a:gd name="connsiteX274" fmla="*/ 143847 w 699392"/>
                <a:gd name="connsiteY274" fmla="*/ 783984 h 834466"/>
                <a:gd name="connsiteX275" fmla="*/ 141275 w 699392"/>
                <a:gd name="connsiteY275" fmla="*/ 782974 h 834466"/>
                <a:gd name="connsiteX276" fmla="*/ 137970 w 699392"/>
                <a:gd name="connsiteY276" fmla="*/ 786117 h 834466"/>
                <a:gd name="connsiteX277" fmla="*/ 134836 w 699392"/>
                <a:gd name="connsiteY277" fmla="*/ 786622 h 834466"/>
                <a:gd name="connsiteX278" fmla="*/ 133703 w 699392"/>
                <a:gd name="connsiteY278" fmla="*/ 783069 h 834466"/>
                <a:gd name="connsiteX279" fmla="*/ 129292 w 699392"/>
                <a:gd name="connsiteY279" fmla="*/ 778354 h 834466"/>
                <a:gd name="connsiteX280" fmla="*/ 127216 w 699392"/>
                <a:gd name="connsiteY280" fmla="*/ 778621 h 834466"/>
                <a:gd name="connsiteX281" fmla="*/ 129083 w 699392"/>
                <a:gd name="connsiteY281" fmla="*/ 780945 h 834466"/>
                <a:gd name="connsiteX282" fmla="*/ 130931 w 699392"/>
                <a:gd name="connsiteY282" fmla="*/ 783965 h 834466"/>
                <a:gd name="connsiteX283" fmla="*/ 129883 w 699392"/>
                <a:gd name="connsiteY283" fmla="*/ 785955 h 834466"/>
                <a:gd name="connsiteX284" fmla="*/ 128854 w 699392"/>
                <a:gd name="connsiteY284" fmla="*/ 787260 h 834466"/>
                <a:gd name="connsiteX285" fmla="*/ 127054 w 699392"/>
                <a:gd name="connsiteY285" fmla="*/ 787937 h 834466"/>
                <a:gd name="connsiteX286" fmla="*/ 120606 w 699392"/>
                <a:gd name="connsiteY286" fmla="*/ 791870 h 834466"/>
                <a:gd name="connsiteX287" fmla="*/ 122901 w 699392"/>
                <a:gd name="connsiteY287" fmla="*/ 794509 h 834466"/>
                <a:gd name="connsiteX288" fmla="*/ 120948 w 699392"/>
                <a:gd name="connsiteY288" fmla="*/ 797500 h 834466"/>
                <a:gd name="connsiteX289" fmla="*/ 118701 w 699392"/>
                <a:gd name="connsiteY289" fmla="*/ 797938 h 834466"/>
                <a:gd name="connsiteX290" fmla="*/ 117500 w 699392"/>
                <a:gd name="connsiteY290" fmla="*/ 799328 h 834466"/>
                <a:gd name="connsiteX291" fmla="*/ 117082 w 699392"/>
                <a:gd name="connsiteY291" fmla="*/ 801214 h 834466"/>
                <a:gd name="connsiteX292" fmla="*/ 110404 w 699392"/>
                <a:gd name="connsiteY292" fmla="*/ 806596 h 834466"/>
                <a:gd name="connsiteX293" fmla="*/ 99527 w 699392"/>
                <a:gd name="connsiteY293" fmla="*/ 820322 h 834466"/>
                <a:gd name="connsiteX294" fmla="*/ 93936 w 699392"/>
                <a:gd name="connsiteY294" fmla="*/ 824189 h 834466"/>
                <a:gd name="connsiteX295" fmla="*/ 90030 w 699392"/>
                <a:gd name="connsiteY295" fmla="*/ 828189 h 834466"/>
                <a:gd name="connsiteX296" fmla="*/ 86592 w 699392"/>
                <a:gd name="connsiteY296" fmla="*/ 828094 h 834466"/>
                <a:gd name="connsiteX297" fmla="*/ 82267 w 699392"/>
                <a:gd name="connsiteY297" fmla="*/ 831494 h 834466"/>
                <a:gd name="connsiteX298" fmla="*/ 71314 w 699392"/>
                <a:gd name="connsiteY298" fmla="*/ 834466 h 834466"/>
                <a:gd name="connsiteX299" fmla="*/ 64046 w 699392"/>
                <a:gd name="connsiteY299" fmla="*/ 833123 h 834466"/>
                <a:gd name="connsiteX300" fmla="*/ 58988 w 699392"/>
                <a:gd name="connsiteY300" fmla="*/ 834304 h 834466"/>
                <a:gd name="connsiteX301" fmla="*/ 56274 w 699392"/>
                <a:gd name="connsiteY301" fmla="*/ 831971 h 834466"/>
                <a:gd name="connsiteX302" fmla="*/ 55921 w 699392"/>
                <a:gd name="connsiteY302" fmla="*/ 830370 h 834466"/>
                <a:gd name="connsiteX303" fmla="*/ 56055 w 699392"/>
                <a:gd name="connsiteY303" fmla="*/ 829437 h 834466"/>
                <a:gd name="connsiteX304" fmla="*/ 56502 w 699392"/>
                <a:gd name="connsiteY304" fmla="*/ 828313 h 834466"/>
                <a:gd name="connsiteX305" fmla="*/ 55559 w 699392"/>
                <a:gd name="connsiteY305" fmla="*/ 827942 h 834466"/>
                <a:gd name="connsiteX306" fmla="*/ 53578 w 699392"/>
                <a:gd name="connsiteY306" fmla="*/ 827751 h 834466"/>
                <a:gd name="connsiteX307" fmla="*/ 52731 w 699392"/>
                <a:gd name="connsiteY307" fmla="*/ 828875 h 834466"/>
                <a:gd name="connsiteX308" fmla="*/ 52616 w 699392"/>
                <a:gd name="connsiteY308" fmla="*/ 831437 h 834466"/>
                <a:gd name="connsiteX309" fmla="*/ 51673 w 699392"/>
                <a:gd name="connsiteY309" fmla="*/ 832104 h 834466"/>
                <a:gd name="connsiteX310" fmla="*/ 47901 w 699392"/>
                <a:gd name="connsiteY310" fmla="*/ 830637 h 834466"/>
                <a:gd name="connsiteX311" fmla="*/ 46949 w 699392"/>
                <a:gd name="connsiteY311" fmla="*/ 829323 h 834466"/>
                <a:gd name="connsiteX312" fmla="*/ 48301 w 699392"/>
                <a:gd name="connsiteY312" fmla="*/ 826646 h 834466"/>
                <a:gd name="connsiteX313" fmla="*/ 50625 w 699392"/>
                <a:gd name="connsiteY313" fmla="*/ 824236 h 834466"/>
                <a:gd name="connsiteX314" fmla="*/ 50206 w 699392"/>
                <a:gd name="connsiteY314" fmla="*/ 823741 h 834466"/>
                <a:gd name="connsiteX315" fmla="*/ 49759 w 699392"/>
                <a:gd name="connsiteY315" fmla="*/ 822274 h 834466"/>
                <a:gd name="connsiteX316" fmla="*/ 48625 w 699392"/>
                <a:gd name="connsiteY316" fmla="*/ 822084 h 834466"/>
                <a:gd name="connsiteX317" fmla="*/ 45253 w 699392"/>
                <a:gd name="connsiteY317" fmla="*/ 822446 h 834466"/>
                <a:gd name="connsiteX318" fmla="*/ 42510 w 699392"/>
                <a:gd name="connsiteY318" fmla="*/ 822008 h 834466"/>
                <a:gd name="connsiteX319" fmla="*/ 33576 w 699392"/>
                <a:gd name="connsiteY319" fmla="*/ 816569 h 834466"/>
                <a:gd name="connsiteX320" fmla="*/ 31490 w 699392"/>
                <a:gd name="connsiteY320" fmla="*/ 813654 h 834466"/>
                <a:gd name="connsiteX321" fmla="*/ 24279 w 699392"/>
                <a:gd name="connsiteY321" fmla="*/ 808996 h 834466"/>
                <a:gd name="connsiteX322" fmla="*/ 21050 w 699392"/>
                <a:gd name="connsiteY322" fmla="*/ 804043 h 834466"/>
                <a:gd name="connsiteX323" fmla="*/ 19212 w 699392"/>
                <a:gd name="connsiteY323" fmla="*/ 798595 h 834466"/>
                <a:gd name="connsiteX324" fmla="*/ 19355 w 699392"/>
                <a:gd name="connsiteY324" fmla="*/ 793642 h 834466"/>
                <a:gd name="connsiteX325" fmla="*/ 20241 w 699392"/>
                <a:gd name="connsiteY325" fmla="*/ 785765 h 834466"/>
                <a:gd name="connsiteX326" fmla="*/ 21755 w 699392"/>
                <a:gd name="connsiteY326" fmla="*/ 783812 h 834466"/>
                <a:gd name="connsiteX327" fmla="*/ 28223 w 699392"/>
                <a:gd name="connsiteY327" fmla="*/ 786584 h 834466"/>
                <a:gd name="connsiteX328" fmla="*/ 34766 w 699392"/>
                <a:gd name="connsiteY328" fmla="*/ 791194 h 834466"/>
                <a:gd name="connsiteX329" fmla="*/ 35786 w 699392"/>
                <a:gd name="connsiteY329" fmla="*/ 790966 h 834466"/>
                <a:gd name="connsiteX330" fmla="*/ 37843 w 699392"/>
                <a:gd name="connsiteY330" fmla="*/ 787346 h 834466"/>
                <a:gd name="connsiteX331" fmla="*/ 41824 w 699392"/>
                <a:gd name="connsiteY331" fmla="*/ 784431 h 834466"/>
                <a:gd name="connsiteX332" fmla="*/ 40691 w 699392"/>
                <a:gd name="connsiteY332" fmla="*/ 783631 h 834466"/>
                <a:gd name="connsiteX333" fmla="*/ 34766 w 699392"/>
                <a:gd name="connsiteY333" fmla="*/ 786975 h 834466"/>
                <a:gd name="connsiteX334" fmla="*/ 32566 w 699392"/>
                <a:gd name="connsiteY334" fmla="*/ 785127 h 834466"/>
                <a:gd name="connsiteX335" fmla="*/ 29146 w 699392"/>
                <a:gd name="connsiteY335" fmla="*/ 781355 h 834466"/>
                <a:gd name="connsiteX336" fmla="*/ 29146 w 699392"/>
                <a:gd name="connsiteY336" fmla="*/ 779402 h 834466"/>
                <a:gd name="connsiteX337" fmla="*/ 30737 w 699392"/>
                <a:gd name="connsiteY337" fmla="*/ 777450 h 834466"/>
                <a:gd name="connsiteX338" fmla="*/ 31271 w 699392"/>
                <a:gd name="connsiteY338" fmla="*/ 774811 h 834466"/>
                <a:gd name="connsiteX339" fmla="*/ 30442 w 699392"/>
                <a:gd name="connsiteY339" fmla="*/ 772316 h 834466"/>
                <a:gd name="connsiteX340" fmla="*/ 30832 w 699392"/>
                <a:gd name="connsiteY340" fmla="*/ 768915 h 834466"/>
                <a:gd name="connsiteX341" fmla="*/ 33471 w 699392"/>
                <a:gd name="connsiteY341" fmla="*/ 765305 h 834466"/>
                <a:gd name="connsiteX342" fmla="*/ 37433 w 699392"/>
                <a:gd name="connsiteY342" fmla="*/ 761638 h 834466"/>
                <a:gd name="connsiteX343" fmla="*/ 40291 w 699392"/>
                <a:gd name="connsiteY343" fmla="*/ 758085 h 834466"/>
                <a:gd name="connsiteX344" fmla="*/ 43224 w 699392"/>
                <a:gd name="connsiteY344" fmla="*/ 755904 h 834466"/>
                <a:gd name="connsiteX345" fmla="*/ 42920 w 699392"/>
                <a:gd name="connsiteY345" fmla="*/ 755171 h 834466"/>
                <a:gd name="connsiteX346" fmla="*/ 39567 w 699392"/>
                <a:gd name="connsiteY346" fmla="*/ 756561 h 834466"/>
                <a:gd name="connsiteX347" fmla="*/ 36357 w 699392"/>
                <a:gd name="connsiteY347" fmla="*/ 758923 h 834466"/>
                <a:gd name="connsiteX348" fmla="*/ 32585 w 699392"/>
                <a:gd name="connsiteY348" fmla="*/ 762876 h 834466"/>
                <a:gd name="connsiteX349" fmla="*/ 27985 w 699392"/>
                <a:gd name="connsiteY349" fmla="*/ 766067 h 834466"/>
                <a:gd name="connsiteX350" fmla="*/ 24584 w 699392"/>
                <a:gd name="connsiteY350" fmla="*/ 767305 h 834466"/>
                <a:gd name="connsiteX351" fmla="*/ 22965 w 699392"/>
                <a:gd name="connsiteY351" fmla="*/ 768334 h 834466"/>
                <a:gd name="connsiteX352" fmla="*/ 20469 w 699392"/>
                <a:gd name="connsiteY352" fmla="*/ 769325 h 834466"/>
                <a:gd name="connsiteX353" fmla="*/ 17888 w 699392"/>
                <a:gd name="connsiteY353" fmla="*/ 773887 h 834466"/>
                <a:gd name="connsiteX354" fmla="*/ 15069 w 699392"/>
                <a:gd name="connsiteY354" fmla="*/ 775840 h 834466"/>
                <a:gd name="connsiteX355" fmla="*/ 10020 w 699392"/>
                <a:gd name="connsiteY355" fmla="*/ 776040 h 834466"/>
                <a:gd name="connsiteX356" fmla="*/ 8906 w 699392"/>
                <a:gd name="connsiteY356" fmla="*/ 772706 h 834466"/>
                <a:gd name="connsiteX357" fmla="*/ 10335 w 699392"/>
                <a:gd name="connsiteY357" fmla="*/ 760819 h 834466"/>
                <a:gd name="connsiteX358" fmla="*/ 11859 w 699392"/>
                <a:gd name="connsiteY358" fmla="*/ 754999 h 834466"/>
                <a:gd name="connsiteX359" fmla="*/ 13535 w 699392"/>
                <a:gd name="connsiteY359" fmla="*/ 750875 h 834466"/>
                <a:gd name="connsiteX360" fmla="*/ 16164 w 699392"/>
                <a:gd name="connsiteY360" fmla="*/ 750180 h 834466"/>
                <a:gd name="connsiteX361" fmla="*/ 18012 w 699392"/>
                <a:gd name="connsiteY361" fmla="*/ 747151 h 834466"/>
                <a:gd name="connsiteX362" fmla="*/ 19545 w 699392"/>
                <a:gd name="connsiteY362" fmla="*/ 747151 h 834466"/>
                <a:gd name="connsiteX363" fmla="*/ 20879 w 699392"/>
                <a:gd name="connsiteY363" fmla="*/ 748551 h 834466"/>
                <a:gd name="connsiteX364" fmla="*/ 26032 w 699392"/>
                <a:gd name="connsiteY364" fmla="*/ 749903 h 834466"/>
                <a:gd name="connsiteX365" fmla="*/ 28575 w 699392"/>
                <a:gd name="connsiteY365" fmla="*/ 746046 h 834466"/>
                <a:gd name="connsiteX366" fmla="*/ 31880 w 699392"/>
                <a:gd name="connsiteY366" fmla="*/ 745474 h 834466"/>
                <a:gd name="connsiteX367" fmla="*/ 37910 w 699392"/>
                <a:gd name="connsiteY367" fmla="*/ 741569 h 834466"/>
                <a:gd name="connsiteX368" fmla="*/ 37786 w 699392"/>
                <a:gd name="connsiteY368" fmla="*/ 740855 h 834466"/>
                <a:gd name="connsiteX369" fmla="*/ 33709 w 699392"/>
                <a:gd name="connsiteY369" fmla="*/ 741712 h 834466"/>
                <a:gd name="connsiteX370" fmla="*/ 31233 w 699392"/>
                <a:gd name="connsiteY370" fmla="*/ 741836 h 834466"/>
                <a:gd name="connsiteX371" fmla="*/ 27689 w 699392"/>
                <a:gd name="connsiteY371" fmla="*/ 742817 h 834466"/>
                <a:gd name="connsiteX372" fmla="*/ 25803 w 699392"/>
                <a:gd name="connsiteY372" fmla="*/ 742112 h 834466"/>
                <a:gd name="connsiteX373" fmla="*/ 24917 w 699392"/>
                <a:gd name="connsiteY373" fmla="*/ 739188 h 834466"/>
                <a:gd name="connsiteX374" fmla="*/ 26337 w 699392"/>
                <a:gd name="connsiteY374" fmla="*/ 736540 h 834466"/>
                <a:gd name="connsiteX375" fmla="*/ 32023 w 699392"/>
                <a:gd name="connsiteY375" fmla="*/ 730206 h 834466"/>
                <a:gd name="connsiteX376" fmla="*/ 33995 w 699392"/>
                <a:gd name="connsiteY376" fmla="*/ 727424 h 834466"/>
                <a:gd name="connsiteX377" fmla="*/ 35109 w 699392"/>
                <a:gd name="connsiteY377" fmla="*/ 724824 h 834466"/>
                <a:gd name="connsiteX378" fmla="*/ 34928 w 699392"/>
                <a:gd name="connsiteY378" fmla="*/ 723052 h 834466"/>
                <a:gd name="connsiteX379" fmla="*/ 35881 w 699392"/>
                <a:gd name="connsiteY379" fmla="*/ 719376 h 834466"/>
                <a:gd name="connsiteX380" fmla="*/ 41443 w 699392"/>
                <a:gd name="connsiteY380" fmla="*/ 712946 h 834466"/>
                <a:gd name="connsiteX381" fmla="*/ 45977 w 699392"/>
                <a:gd name="connsiteY381" fmla="*/ 709993 h 834466"/>
                <a:gd name="connsiteX382" fmla="*/ 47463 w 699392"/>
                <a:gd name="connsiteY382" fmla="*/ 712527 h 834466"/>
                <a:gd name="connsiteX383" fmla="*/ 46196 w 699392"/>
                <a:gd name="connsiteY383" fmla="*/ 720442 h 834466"/>
                <a:gd name="connsiteX384" fmla="*/ 46206 w 699392"/>
                <a:gd name="connsiteY384" fmla="*/ 723700 h 834466"/>
                <a:gd name="connsiteX385" fmla="*/ 49787 w 699392"/>
                <a:gd name="connsiteY385" fmla="*/ 712175 h 834466"/>
                <a:gd name="connsiteX386" fmla="*/ 51368 w 699392"/>
                <a:gd name="connsiteY386" fmla="*/ 709422 h 834466"/>
                <a:gd name="connsiteX387" fmla="*/ 53159 w 699392"/>
                <a:gd name="connsiteY387" fmla="*/ 707479 h 834466"/>
                <a:gd name="connsiteX388" fmla="*/ 57503 w 699392"/>
                <a:gd name="connsiteY388" fmla="*/ 706174 h 834466"/>
                <a:gd name="connsiteX389" fmla="*/ 58731 w 699392"/>
                <a:gd name="connsiteY389" fmla="*/ 704345 h 834466"/>
                <a:gd name="connsiteX390" fmla="*/ 53664 w 699392"/>
                <a:gd name="connsiteY390" fmla="*/ 704945 h 834466"/>
                <a:gd name="connsiteX391" fmla="*/ 41386 w 699392"/>
                <a:gd name="connsiteY391" fmla="*/ 709365 h 834466"/>
                <a:gd name="connsiteX392" fmla="*/ 36214 w 699392"/>
                <a:gd name="connsiteY392" fmla="*/ 713299 h 834466"/>
                <a:gd name="connsiteX393" fmla="*/ 34833 w 699392"/>
                <a:gd name="connsiteY393" fmla="*/ 716318 h 834466"/>
                <a:gd name="connsiteX394" fmla="*/ 31242 w 699392"/>
                <a:gd name="connsiteY394" fmla="*/ 720871 h 834466"/>
                <a:gd name="connsiteX395" fmla="*/ 29556 w 699392"/>
                <a:gd name="connsiteY395" fmla="*/ 723814 h 834466"/>
                <a:gd name="connsiteX396" fmla="*/ 28813 w 699392"/>
                <a:gd name="connsiteY396" fmla="*/ 728139 h 834466"/>
                <a:gd name="connsiteX397" fmla="*/ 26794 w 699392"/>
                <a:gd name="connsiteY397" fmla="*/ 730482 h 834466"/>
                <a:gd name="connsiteX398" fmla="*/ 24060 w 699392"/>
                <a:gd name="connsiteY398" fmla="*/ 731349 h 834466"/>
                <a:gd name="connsiteX399" fmla="*/ 20269 w 699392"/>
                <a:gd name="connsiteY399" fmla="*/ 736797 h 834466"/>
                <a:gd name="connsiteX400" fmla="*/ 18593 w 699392"/>
                <a:gd name="connsiteY400" fmla="*/ 741169 h 834466"/>
                <a:gd name="connsiteX401" fmla="*/ 14821 w 699392"/>
                <a:gd name="connsiteY401" fmla="*/ 744636 h 834466"/>
                <a:gd name="connsiteX402" fmla="*/ 12430 w 699392"/>
                <a:gd name="connsiteY402" fmla="*/ 747303 h 834466"/>
                <a:gd name="connsiteX403" fmla="*/ 11640 w 699392"/>
                <a:gd name="connsiteY403" fmla="*/ 748255 h 834466"/>
                <a:gd name="connsiteX404" fmla="*/ 10344 w 699392"/>
                <a:gd name="connsiteY404" fmla="*/ 750865 h 834466"/>
                <a:gd name="connsiteX405" fmla="*/ 9268 w 699392"/>
                <a:gd name="connsiteY405" fmla="*/ 751056 h 834466"/>
                <a:gd name="connsiteX406" fmla="*/ 8334 w 699392"/>
                <a:gd name="connsiteY406" fmla="*/ 749522 h 834466"/>
                <a:gd name="connsiteX407" fmla="*/ 8172 w 699392"/>
                <a:gd name="connsiteY407" fmla="*/ 746150 h 834466"/>
                <a:gd name="connsiteX408" fmla="*/ 8554 w 699392"/>
                <a:gd name="connsiteY408" fmla="*/ 740740 h 834466"/>
                <a:gd name="connsiteX409" fmla="*/ 10373 w 699392"/>
                <a:gd name="connsiteY409" fmla="*/ 736835 h 834466"/>
                <a:gd name="connsiteX410" fmla="*/ 11239 w 699392"/>
                <a:gd name="connsiteY410" fmla="*/ 733015 h 834466"/>
                <a:gd name="connsiteX411" fmla="*/ 10040 w 699392"/>
                <a:gd name="connsiteY411" fmla="*/ 729444 h 834466"/>
                <a:gd name="connsiteX412" fmla="*/ 10878 w 699392"/>
                <a:gd name="connsiteY412" fmla="*/ 727177 h 834466"/>
                <a:gd name="connsiteX413" fmla="*/ 12468 w 699392"/>
                <a:gd name="connsiteY413" fmla="*/ 727262 h 834466"/>
                <a:gd name="connsiteX414" fmla="*/ 15440 w 699392"/>
                <a:gd name="connsiteY414" fmla="*/ 728291 h 834466"/>
                <a:gd name="connsiteX415" fmla="*/ 18593 w 699392"/>
                <a:gd name="connsiteY415" fmla="*/ 728129 h 834466"/>
                <a:gd name="connsiteX416" fmla="*/ 23784 w 699392"/>
                <a:gd name="connsiteY416" fmla="*/ 725300 h 834466"/>
                <a:gd name="connsiteX417" fmla="*/ 22955 w 699392"/>
                <a:gd name="connsiteY417" fmla="*/ 723643 h 834466"/>
                <a:gd name="connsiteX418" fmla="*/ 20717 w 699392"/>
                <a:gd name="connsiteY418" fmla="*/ 723405 h 834466"/>
                <a:gd name="connsiteX419" fmla="*/ 16536 w 699392"/>
                <a:gd name="connsiteY419" fmla="*/ 723643 h 834466"/>
                <a:gd name="connsiteX420" fmla="*/ 13021 w 699392"/>
                <a:gd name="connsiteY420" fmla="*/ 720871 h 834466"/>
                <a:gd name="connsiteX421" fmla="*/ 10287 w 699392"/>
                <a:gd name="connsiteY421" fmla="*/ 715347 h 834466"/>
                <a:gd name="connsiteX422" fmla="*/ 9049 w 699392"/>
                <a:gd name="connsiteY422" fmla="*/ 707936 h 834466"/>
                <a:gd name="connsiteX423" fmla="*/ 9878 w 699392"/>
                <a:gd name="connsiteY423" fmla="*/ 705812 h 834466"/>
                <a:gd name="connsiteX424" fmla="*/ 19993 w 699392"/>
                <a:gd name="connsiteY424" fmla="*/ 698230 h 834466"/>
                <a:gd name="connsiteX425" fmla="*/ 22717 w 699392"/>
                <a:gd name="connsiteY425" fmla="*/ 694773 h 834466"/>
                <a:gd name="connsiteX426" fmla="*/ 21136 w 699392"/>
                <a:gd name="connsiteY426" fmla="*/ 694430 h 834466"/>
                <a:gd name="connsiteX427" fmla="*/ 17336 w 699392"/>
                <a:gd name="connsiteY427" fmla="*/ 698621 h 834466"/>
                <a:gd name="connsiteX428" fmla="*/ 11906 w 699392"/>
                <a:gd name="connsiteY428" fmla="*/ 701211 h 834466"/>
                <a:gd name="connsiteX429" fmla="*/ 8477 w 699392"/>
                <a:gd name="connsiteY429" fmla="*/ 697601 h 834466"/>
                <a:gd name="connsiteX430" fmla="*/ 6696 w 699392"/>
                <a:gd name="connsiteY430" fmla="*/ 693706 h 834466"/>
                <a:gd name="connsiteX431" fmla="*/ 5667 w 699392"/>
                <a:gd name="connsiteY431" fmla="*/ 685448 h 834466"/>
                <a:gd name="connsiteX432" fmla="*/ 6039 w 699392"/>
                <a:gd name="connsiteY432" fmla="*/ 681190 h 834466"/>
                <a:gd name="connsiteX433" fmla="*/ 5610 w 699392"/>
                <a:gd name="connsiteY433" fmla="*/ 675580 h 834466"/>
                <a:gd name="connsiteX434" fmla="*/ 7934 w 699392"/>
                <a:gd name="connsiteY434" fmla="*/ 673751 h 834466"/>
                <a:gd name="connsiteX435" fmla="*/ 10525 w 699392"/>
                <a:gd name="connsiteY435" fmla="*/ 674723 h 834466"/>
                <a:gd name="connsiteX436" fmla="*/ 13087 w 699392"/>
                <a:gd name="connsiteY436" fmla="*/ 675084 h 834466"/>
                <a:gd name="connsiteX437" fmla="*/ 18888 w 699392"/>
                <a:gd name="connsiteY437" fmla="*/ 674589 h 834466"/>
                <a:gd name="connsiteX438" fmla="*/ 31690 w 699392"/>
                <a:gd name="connsiteY438" fmla="*/ 671208 h 834466"/>
                <a:gd name="connsiteX439" fmla="*/ 39938 w 699392"/>
                <a:gd name="connsiteY439" fmla="*/ 673218 h 834466"/>
                <a:gd name="connsiteX440" fmla="*/ 43291 w 699392"/>
                <a:gd name="connsiteY440" fmla="*/ 673037 h 834466"/>
                <a:gd name="connsiteX441" fmla="*/ 48425 w 699392"/>
                <a:gd name="connsiteY441" fmla="*/ 670122 h 834466"/>
                <a:gd name="connsiteX442" fmla="*/ 52911 w 699392"/>
                <a:gd name="connsiteY442" fmla="*/ 669827 h 834466"/>
                <a:gd name="connsiteX443" fmla="*/ 56274 w 699392"/>
                <a:gd name="connsiteY443" fmla="*/ 672046 h 834466"/>
                <a:gd name="connsiteX444" fmla="*/ 58112 w 699392"/>
                <a:gd name="connsiteY444" fmla="*/ 674599 h 834466"/>
                <a:gd name="connsiteX445" fmla="*/ 58341 w 699392"/>
                <a:gd name="connsiteY445" fmla="*/ 677999 h 834466"/>
                <a:gd name="connsiteX446" fmla="*/ 59893 w 699392"/>
                <a:gd name="connsiteY446" fmla="*/ 680266 h 834466"/>
                <a:gd name="connsiteX447" fmla="*/ 60941 w 699392"/>
                <a:gd name="connsiteY447" fmla="*/ 679523 h 834466"/>
                <a:gd name="connsiteX448" fmla="*/ 60103 w 699392"/>
                <a:gd name="connsiteY448" fmla="*/ 676827 h 834466"/>
                <a:gd name="connsiteX449" fmla="*/ 59932 w 699392"/>
                <a:gd name="connsiteY449" fmla="*/ 672646 h 834466"/>
                <a:gd name="connsiteX450" fmla="*/ 73428 w 699392"/>
                <a:gd name="connsiteY450" fmla="*/ 667893 h 834466"/>
                <a:gd name="connsiteX451" fmla="*/ 75019 w 699392"/>
                <a:gd name="connsiteY451" fmla="*/ 666045 h 834466"/>
                <a:gd name="connsiteX452" fmla="*/ 69657 w 699392"/>
                <a:gd name="connsiteY452" fmla="*/ 665397 h 834466"/>
                <a:gd name="connsiteX453" fmla="*/ 68123 w 699392"/>
                <a:gd name="connsiteY453" fmla="*/ 661045 h 834466"/>
                <a:gd name="connsiteX454" fmla="*/ 70952 w 699392"/>
                <a:gd name="connsiteY454" fmla="*/ 654434 h 834466"/>
                <a:gd name="connsiteX455" fmla="*/ 70685 w 699392"/>
                <a:gd name="connsiteY455" fmla="*/ 653577 h 834466"/>
                <a:gd name="connsiteX456" fmla="*/ 67704 w 699392"/>
                <a:gd name="connsiteY456" fmla="*/ 657073 h 834466"/>
                <a:gd name="connsiteX457" fmla="*/ 66237 w 699392"/>
                <a:gd name="connsiteY457" fmla="*/ 661968 h 834466"/>
                <a:gd name="connsiteX458" fmla="*/ 66828 w 699392"/>
                <a:gd name="connsiteY458" fmla="*/ 665874 h 834466"/>
                <a:gd name="connsiteX459" fmla="*/ 66237 w 699392"/>
                <a:gd name="connsiteY459" fmla="*/ 667683 h 834466"/>
                <a:gd name="connsiteX460" fmla="*/ 63494 w 699392"/>
                <a:gd name="connsiteY460" fmla="*/ 668512 h 834466"/>
                <a:gd name="connsiteX461" fmla="*/ 57322 w 699392"/>
                <a:gd name="connsiteY461" fmla="*/ 668817 h 834466"/>
                <a:gd name="connsiteX462" fmla="*/ 53359 w 699392"/>
                <a:gd name="connsiteY462" fmla="*/ 667160 h 834466"/>
                <a:gd name="connsiteX463" fmla="*/ 49692 w 699392"/>
                <a:gd name="connsiteY463" fmla="*/ 666264 h 834466"/>
                <a:gd name="connsiteX464" fmla="*/ 48444 w 699392"/>
                <a:gd name="connsiteY464" fmla="*/ 665016 h 834466"/>
                <a:gd name="connsiteX465" fmla="*/ 48863 w 699392"/>
                <a:gd name="connsiteY465" fmla="*/ 662226 h 834466"/>
                <a:gd name="connsiteX466" fmla="*/ 48168 w 699392"/>
                <a:gd name="connsiteY466" fmla="*/ 661645 h 834466"/>
                <a:gd name="connsiteX467" fmla="*/ 46644 w 699392"/>
                <a:gd name="connsiteY467" fmla="*/ 664150 h 834466"/>
                <a:gd name="connsiteX468" fmla="*/ 45291 w 699392"/>
                <a:gd name="connsiteY468" fmla="*/ 669131 h 834466"/>
                <a:gd name="connsiteX469" fmla="*/ 42377 w 699392"/>
                <a:gd name="connsiteY469" fmla="*/ 670284 h 834466"/>
                <a:gd name="connsiteX470" fmla="*/ 34328 w 699392"/>
                <a:gd name="connsiteY470" fmla="*/ 668436 h 834466"/>
                <a:gd name="connsiteX471" fmla="*/ 22679 w 699392"/>
                <a:gd name="connsiteY471" fmla="*/ 669522 h 834466"/>
                <a:gd name="connsiteX472" fmla="*/ 17450 w 699392"/>
                <a:gd name="connsiteY472" fmla="*/ 672017 h 834466"/>
                <a:gd name="connsiteX473" fmla="*/ 14069 w 699392"/>
                <a:gd name="connsiteY473" fmla="*/ 671693 h 834466"/>
                <a:gd name="connsiteX474" fmla="*/ 8239 w 699392"/>
                <a:gd name="connsiteY474" fmla="*/ 667312 h 834466"/>
                <a:gd name="connsiteX475" fmla="*/ 5972 w 699392"/>
                <a:gd name="connsiteY475" fmla="*/ 663816 h 834466"/>
                <a:gd name="connsiteX476" fmla="*/ 5124 w 699392"/>
                <a:gd name="connsiteY476" fmla="*/ 656749 h 834466"/>
                <a:gd name="connsiteX477" fmla="*/ 5467 w 699392"/>
                <a:gd name="connsiteY477" fmla="*/ 653634 h 834466"/>
                <a:gd name="connsiteX478" fmla="*/ 10001 w 699392"/>
                <a:gd name="connsiteY478" fmla="*/ 652320 h 834466"/>
                <a:gd name="connsiteX479" fmla="*/ 12297 w 699392"/>
                <a:gd name="connsiteY479" fmla="*/ 652405 h 834466"/>
                <a:gd name="connsiteX480" fmla="*/ 14449 w 699392"/>
                <a:gd name="connsiteY480" fmla="*/ 650729 h 834466"/>
                <a:gd name="connsiteX481" fmla="*/ 12545 w 699392"/>
                <a:gd name="connsiteY481" fmla="*/ 649634 h 834466"/>
                <a:gd name="connsiteX482" fmla="*/ 9868 w 699392"/>
                <a:gd name="connsiteY482" fmla="*/ 647481 h 834466"/>
                <a:gd name="connsiteX483" fmla="*/ 8049 w 699392"/>
                <a:gd name="connsiteY483" fmla="*/ 643176 h 834466"/>
                <a:gd name="connsiteX484" fmla="*/ 5296 w 699392"/>
                <a:gd name="connsiteY484" fmla="*/ 641766 h 834466"/>
                <a:gd name="connsiteX485" fmla="*/ 3458 w 699392"/>
                <a:gd name="connsiteY485" fmla="*/ 638080 h 834466"/>
                <a:gd name="connsiteX486" fmla="*/ 2991 w 699392"/>
                <a:gd name="connsiteY486" fmla="*/ 632508 h 834466"/>
                <a:gd name="connsiteX487" fmla="*/ 3515 w 699392"/>
                <a:gd name="connsiteY487" fmla="*/ 628621 h 834466"/>
                <a:gd name="connsiteX488" fmla="*/ 4982 w 699392"/>
                <a:gd name="connsiteY488" fmla="*/ 627374 h 834466"/>
                <a:gd name="connsiteX489" fmla="*/ 8515 w 699392"/>
                <a:gd name="connsiteY489" fmla="*/ 628221 h 834466"/>
                <a:gd name="connsiteX490" fmla="*/ 17831 w 699392"/>
                <a:gd name="connsiteY490" fmla="*/ 627564 h 834466"/>
                <a:gd name="connsiteX491" fmla="*/ 26594 w 699392"/>
                <a:gd name="connsiteY491" fmla="*/ 631527 h 834466"/>
                <a:gd name="connsiteX492" fmla="*/ 32547 w 699392"/>
                <a:gd name="connsiteY492" fmla="*/ 633755 h 834466"/>
                <a:gd name="connsiteX493" fmla="*/ 44596 w 699392"/>
                <a:gd name="connsiteY493" fmla="*/ 632631 h 834466"/>
                <a:gd name="connsiteX494" fmla="*/ 51654 w 699392"/>
                <a:gd name="connsiteY494" fmla="*/ 629098 h 834466"/>
                <a:gd name="connsiteX495" fmla="*/ 50359 w 699392"/>
                <a:gd name="connsiteY495" fmla="*/ 628126 h 834466"/>
                <a:gd name="connsiteX496" fmla="*/ 42701 w 699392"/>
                <a:gd name="connsiteY496" fmla="*/ 630164 h 834466"/>
                <a:gd name="connsiteX497" fmla="*/ 35624 w 699392"/>
                <a:gd name="connsiteY497" fmla="*/ 630079 h 834466"/>
                <a:gd name="connsiteX498" fmla="*/ 23146 w 699392"/>
                <a:gd name="connsiteY498" fmla="*/ 626088 h 834466"/>
                <a:gd name="connsiteX499" fmla="*/ 18031 w 699392"/>
                <a:gd name="connsiteY499" fmla="*/ 624802 h 834466"/>
                <a:gd name="connsiteX500" fmla="*/ 12516 w 699392"/>
                <a:gd name="connsiteY500" fmla="*/ 625373 h 834466"/>
                <a:gd name="connsiteX501" fmla="*/ 9649 w 699392"/>
                <a:gd name="connsiteY501" fmla="*/ 624164 h 834466"/>
                <a:gd name="connsiteX502" fmla="*/ 7963 w 699392"/>
                <a:gd name="connsiteY502" fmla="*/ 620201 h 834466"/>
                <a:gd name="connsiteX503" fmla="*/ 9211 w 699392"/>
                <a:gd name="connsiteY503" fmla="*/ 612600 h 834466"/>
                <a:gd name="connsiteX504" fmla="*/ 11820 w 699392"/>
                <a:gd name="connsiteY504" fmla="*/ 610962 h 834466"/>
                <a:gd name="connsiteX505" fmla="*/ 13230 w 699392"/>
                <a:gd name="connsiteY505" fmla="*/ 612943 h 834466"/>
                <a:gd name="connsiteX506" fmla="*/ 14935 w 699392"/>
                <a:gd name="connsiteY506" fmla="*/ 613067 h 834466"/>
                <a:gd name="connsiteX507" fmla="*/ 16669 w 699392"/>
                <a:gd name="connsiteY507" fmla="*/ 609886 h 834466"/>
                <a:gd name="connsiteX508" fmla="*/ 18317 w 699392"/>
                <a:gd name="connsiteY508" fmla="*/ 608067 h 834466"/>
                <a:gd name="connsiteX509" fmla="*/ 19631 w 699392"/>
                <a:gd name="connsiteY509" fmla="*/ 603952 h 834466"/>
                <a:gd name="connsiteX510" fmla="*/ 24575 w 699392"/>
                <a:gd name="connsiteY510" fmla="*/ 600037 h 834466"/>
                <a:gd name="connsiteX511" fmla="*/ 26661 w 699392"/>
                <a:gd name="connsiteY511" fmla="*/ 599704 h 834466"/>
                <a:gd name="connsiteX512" fmla="*/ 29651 w 699392"/>
                <a:gd name="connsiteY512" fmla="*/ 597903 h 834466"/>
                <a:gd name="connsiteX513" fmla="*/ 31566 w 699392"/>
                <a:gd name="connsiteY513" fmla="*/ 598418 h 834466"/>
                <a:gd name="connsiteX514" fmla="*/ 32785 w 699392"/>
                <a:gd name="connsiteY514" fmla="*/ 600227 h 834466"/>
                <a:gd name="connsiteX515" fmla="*/ 34338 w 699392"/>
                <a:gd name="connsiteY515" fmla="*/ 601723 h 834466"/>
                <a:gd name="connsiteX516" fmla="*/ 37690 w 699392"/>
                <a:gd name="connsiteY516" fmla="*/ 601542 h 834466"/>
                <a:gd name="connsiteX517" fmla="*/ 47615 w 699392"/>
                <a:gd name="connsiteY517" fmla="*/ 598399 h 834466"/>
                <a:gd name="connsiteX518" fmla="*/ 48682 w 699392"/>
                <a:gd name="connsiteY518" fmla="*/ 597475 h 834466"/>
                <a:gd name="connsiteX519" fmla="*/ 50616 w 699392"/>
                <a:gd name="connsiteY519" fmla="*/ 594893 h 834466"/>
                <a:gd name="connsiteX520" fmla="*/ 44330 w 699392"/>
                <a:gd name="connsiteY520" fmla="*/ 596046 h 834466"/>
                <a:gd name="connsiteX521" fmla="*/ 39110 w 699392"/>
                <a:gd name="connsiteY521" fmla="*/ 597875 h 834466"/>
                <a:gd name="connsiteX522" fmla="*/ 35748 w 699392"/>
                <a:gd name="connsiteY522" fmla="*/ 598389 h 834466"/>
                <a:gd name="connsiteX523" fmla="*/ 35271 w 699392"/>
                <a:gd name="connsiteY523" fmla="*/ 596094 h 834466"/>
                <a:gd name="connsiteX524" fmla="*/ 36509 w 699392"/>
                <a:gd name="connsiteY524" fmla="*/ 594065 h 834466"/>
                <a:gd name="connsiteX525" fmla="*/ 38453 w 699392"/>
                <a:gd name="connsiteY525" fmla="*/ 591893 h 834466"/>
                <a:gd name="connsiteX526" fmla="*/ 39396 w 699392"/>
                <a:gd name="connsiteY526" fmla="*/ 588188 h 834466"/>
                <a:gd name="connsiteX527" fmla="*/ 41539 w 699392"/>
                <a:gd name="connsiteY527" fmla="*/ 586607 h 834466"/>
                <a:gd name="connsiteX528" fmla="*/ 43853 w 699392"/>
                <a:gd name="connsiteY528" fmla="*/ 586692 h 834466"/>
                <a:gd name="connsiteX529" fmla="*/ 48635 w 699392"/>
                <a:gd name="connsiteY529" fmla="*/ 586016 h 834466"/>
                <a:gd name="connsiteX530" fmla="*/ 52007 w 699392"/>
                <a:gd name="connsiteY530" fmla="*/ 585054 h 834466"/>
                <a:gd name="connsiteX531" fmla="*/ 57788 w 699392"/>
                <a:gd name="connsiteY531" fmla="*/ 585692 h 834466"/>
                <a:gd name="connsiteX532" fmla="*/ 66418 w 699392"/>
                <a:gd name="connsiteY532" fmla="*/ 587111 h 834466"/>
                <a:gd name="connsiteX533" fmla="*/ 71971 w 699392"/>
                <a:gd name="connsiteY533" fmla="*/ 590559 h 834466"/>
                <a:gd name="connsiteX534" fmla="*/ 74066 w 699392"/>
                <a:gd name="connsiteY534" fmla="*/ 590245 h 834466"/>
                <a:gd name="connsiteX535" fmla="*/ 76286 w 699392"/>
                <a:gd name="connsiteY535" fmla="*/ 589331 h 834466"/>
                <a:gd name="connsiteX536" fmla="*/ 77296 w 699392"/>
                <a:gd name="connsiteY536" fmla="*/ 588083 h 834466"/>
                <a:gd name="connsiteX537" fmla="*/ 72933 w 699392"/>
                <a:gd name="connsiteY537" fmla="*/ 586654 h 834466"/>
                <a:gd name="connsiteX538" fmla="*/ 72685 w 699392"/>
                <a:gd name="connsiteY538" fmla="*/ 584606 h 834466"/>
                <a:gd name="connsiteX539" fmla="*/ 73228 w 699392"/>
                <a:gd name="connsiteY539" fmla="*/ 583063 h 834466"/>
                <a:gd name="connsiteX540" fmla="*/ 80353 w 699392"/>
                <a:gd name="connsiteY540" fmla="*/ 580215 h 834466"/>
                <a:gd name="connsiteX541" fmla="*/ 88125 w 699392"/>
                <a:gd name="connsiteY541" fmla="*/ 579587 h 834466"/>
                <a:gd name="connsiteX542" fmla="*/ 86792 w 699392"/>
                <a:gd name="connsiteY542" fmla="*/ 577291 h 834466"/>
                <a:gd name="connsiteX543" fmla="*/ 69761 w 699392"/>
                <a:gd name="connsiteY543" fmla="*/ 580758 h 834466"/>
                <a:gd name="connsiteX544" fmla="*/ 65313 w 699392"/>
                <a:gd name="connsiteY544" fmla="*/ 578387 h 834466"/>
                <a:gd name="connsiteX545" fmla="*/ 61798 w 699392"/>
                <a:gd name="connsiteY545" fmla="*/ 578406 h 834466"/>
                <a:gd name="connsiteX546" fmla="*/ 59503 w 699392"/>
                <a:gd name="connsiteY546" fmla="*/ 579758 h 834466"/>
                <a:gd name="connsiteX547" fmla="*/ 52950 w 699392"/>
                <a:gd name="connsiteY547" fmla="*/ 581397 h 834466"/>
                <a:gd name="connsiteX548" fmla="*/ 51749 w 699392"/>
                <a:gd name="connsiteY548" fmla="*/ 580234 h 834466"/>
                <a:gd name="connsiteX549" fmla="*/ 52997 w 699392"/>
                <a:gd name="connsiteY549" fmla="*/ 576215 h 834466"/>
                <a:gd name="connsiteX550" fmla="*/ 56922 w 699392"/>
                <a:gd name="connsiteY550" fmla="*/ 569605 h 834466"/>
                <a:gd name="connsiteX551" fmla="*/ 57245 w 699392"/>
                <a:gd name="connsiteY551" fmla="*/ 567985 h 834466"/>
                <a:gd name="connsiteX552" fmla="*/ 59065 w 699392"/>
                <a:gd name="connsiteY552" fmla="*/ 566385 h 834466"/>
                <a:gd name="connsiteX553" fmla="*/ 69237 w 699392"/>
                <a:gd name="connsiteY553" fmla="*/ 562527 h 834466"/>
                <a:gd name="connsiteX554" fmla="*/ 74124 w 699392"/>
                <a:gd name="connsiteY554" fmla="*/ 558032 h 834466"/>
                <a:gd name="connsiteX555" fmla="*/ 76324 w 699392"/>
                <a:gd name="connsiteY555" fmla="*/ 557460 h 834466"/>
                <a:gd name="connsiteX556" fmla="*/ 78505 w 699392"/>
                <a:gd name="connsiteY556" fmla="*/ 557775 h 834466"/>
                <a:gd name="connsiteX557" fmla="*/ 81829 w 699392"/>
                <a:gd name="connsiteY557" fmla="*/ 557251 h 834466"/>
                <a:gd name="connsiteX558" fmla="*/ 88249 w 699392"/>
                <a:gd name="connsiteY558" fmla="*/ 558536 h 834466"/>
                <a:gd name="connsiteX559" fmla="*/ 91212 w 699392"/>
                <a:gd name="connsiteY559" fmla="*/ 564156 h 834466"/>
                <a:gd name="connsiteX560" fmla="*/ 93869 w 699392"/>
                <a:gd name="connsiteY560" fmla="*/ 565918 h 834466"/>
                <a:gd name="connsiteX561" fmla="*/ 102222 w 699392"/>
                <a:gd name="connsiteY561" fmla="*/ 572910 h 834466"/>
                <a:gd name="connsiteX562" fmla="*/ 101851 w 699392"/>
                <a:gd name="connsiteY562" fmla="*/ 570910 h 834466"/>
                <a:gd name="connsiteX563" fmla="*/ 94612 w 699392"/>
                <a:gd name="connsiteY563" fmla="*/ 561413 h 834466"/>
                <a:gd name="connsiteX564" fmla="*/ 91850 w 699392"/>
                <a:gd name="connsiteY564" fmla="*/ 559051 h 834466"/>
                <a:gd name="connsiteX565" fmla="*/ 89783 w 699392"/>
                <a:gd name="connsiteY565" fmla="*/ 554365 h 834466"/>
                <a:gd name="connsiteX566" fmla="*/ 90488 w 699392"/>
                <a:gd name="connsiteY566" fmla="*/ 549926 h 834466"/>
                <a:gd name="connsiteX567" fmla="*/ 92812 w 699392"/>
                <a:gd name="connsiteY567" fmla="*/ 546954 h 834466"/>
                <a:gd name="connsiteX568" fmla="*/ 101070 w 699392"/>
                <a:gd name="connsiteY568" fmla="*/ 545363 h 834466"/>
                <a:gd name="connsiteX569" fmla="*/ 102546 w 699392"/>
                <a:gd name="connsiteY569" fmla="*/ 543639 h 834466"/>
                <a:gd name="connsiteX570" fmla="*/ 102699 w 699392"/>
                <a:gd name="connsiteY570" fmla="*/ 540677 h 834466"/>
                <a:gd name="connsiteX571" fmla="*/ 101432 w 699392"/>
                <a:gd name="connsiteY571" fmla="*/ 538648 h 834466"/>
                <a:gd name="connsiteX572" fmla="*/ 98393 w 699392"/>
                <a:gd name="connsiteY572" fmla="*/ 538763 h 834466"/>
                <a:gd name="connsiteX573" fmla="*/ 95888 w 699392"/>
                <a:gd name="connsiteY573" fmla="*/ 537505 h 834466"/>
                <a:gd name="connsiteX574" fmla="*/ 95202 w 699392"/>
                <a:gd name="connsiteY574" fmla="*/ 534305 h 834466"/>
                <a:gd name="connsiteX575" fmla="*/ 96203 w 699392"/>
                <a:gd name="connsiteY575" fmla="*/ 532133 h 834466"/>
                <a:gd name="connsiteX576" fmla="*/ 100965 w 699392"/>
                <a:gd name="connsiteY576" fmla="*/ 528161 h 834466"/>
                <a:gd name="connsiteX577" fmla="*/ 103565 w 699392"/>
                <a:gd name="connsiteY577" fmla="*/ 526875 h 834466"/>
                <a:gd name="connsiteX578" fmla="*/ 108080 w 699392"/>
                <a:gd name="connsiteY578" fmla="*/ 525485 h 834466"/>
                <a:gd name="connsiteX579" fmla="*/ 115919 w 699392"/>
                <a:gd name="connsiteY579" fmla="*/ 528628 h 834466"/>
                <a:gd name="connsiteX580" fmla="*/ 116519 w 699392"/>
                <a:gd name="connsiteY580" fmla="*/ 530266 h 834466"/>
                <a:gd name="connsiteX581" fmla="*/ 114319 w 699392"/>
                <a:gd name="connsiteY581" fmla="*/ 534210 h 834466"/>
                <a:gd name="connsiteX582" fmla="*/ 114538 w 699392"/>
                <a:gd name="connsiteY582" fmla="*/ 536419 h 834466"/>
                <a:gd name="connsiteX583" fmla="*/ 116462 w 699392"/>
                <a:gd name="connsiteY583" fmla="*/ 536658 h 834466"/>
                <a:gd name="connsiteX584" fmla="*/ 120939 w 699392"/>
                <a:gd name="connsiteY584" fmla="*/ 530009 h 834466"/>
                <a:gd name="connsiteX585" fmla="*/ 126206 w 699392"/>
                <a:gd name="connsiteY585" fmla="*/ 529085 h 834466"/>
                <a:gd name="connsiteX586" fmla="*/ 128388 w 699392"/>
                <a:gd name="connsiteY586" fmla="*/ 527656 h 834466"/>
                <a:gd name="connsiteX587" fmla="*/ 130921 w 699392"/>
                <a:gd name="connsiteY587" fmla="*/ 526752 h 834466"/>
                <a:gd name="connsiteX588" fmla="*/ 134531 w 699392"/>
                <a:gd name="connsiteY588" fmla="*/ 532771 h 834466"/>
                <a:gd name="connsiteX589" fmla="*/ 136122 w 699392"/>
                <a:gd name="connsiteY589" fmla="*/ 534695 h 834466"/>
                <a:gd name="connsiteX590" fmla="*/ 137313 w 699392"/>
                <a:gd name="connsiteY590" fmla="*/ 535486 h 834466"/>
                <a:gd name="connsiteX591" fmla="*/ 138465 w 699392"/>
                <a:gd name="connsiteY591" fmla="*/ 540477 h 834466"/>
                <a:gd name="connsiteX592" fmla="*/ 139580 w 699392"/>
                <a:gd name="connsiteY592" fmla="*/ 540744 h 834466"/>
                <a:gd name="connsiteX593" fmla="*/ 141170 w 699392"/>
                <a:gd name="connsiteY593" fmla="*/ 538248 h 834466"/>
                <a:gd name="connsiteX594" fmla="*/ 144056 w 699392"/>
                <a:gd name="connsiteY594" fmla="*/ 536924 h 834466"/>
                <a:gd name="connsiteX595" fmla="*/ 148104 w 699392"/>
                <a:gd name="connsiteY595" fmla="*/ 536057 h 834466"/>
                <a:gd name="connsiteX596" fmla="*/ 154810 w 699392"/>
                <a:gd name="connsiteY596" fmla="*/ 537381 h 834466"/>
                <a:gd name="connsiteX597" fmla="*/ 157849 w 699392"/>
                <a:gd name="connsiteY597" fmla="*/ 536400 h 834466"/>
                <a:gd name="connsiteX598" fmla="*/ 159334 w 699392"/>
                <a:gd name="connsiteY598" fmla="*/ 536543 h 834466"/>
                <a:gd name="connsiteX599" fmla="*/ 157905 w 699392"/>
                <a:gd name="connsiteY599" fmla="*/ 532057 h 834466"/>
                <a:gd name="connsiteX600" fmla="*/ 157020 w 699392"/>
                <a:gd name="connsiteY600" fmla="*/ 530752 h 834466"/>
                <a:gd name="connsiteX601" fmla="*/ 158401 w 699392"/>
                <a:gd name="connsiteY601" fmla="*/ 526733 h 834466"/>
                <a:gd name="connsiteX602" fmla="*/ 159839 w 699392"/>
                <a:gd name="connsiteY602" fmla="*/ 525161 h 834466"/>
                <a:gd name="connsiteX603" fmla="*/ 164468 w 699392"/>
                <a:gd name="connsiteY603" fmla="*/ 522332 h 834466"/>
                <a:gd name="connsiteX604" fmla="*/ 168888 w 699392"/>
                <a:gd name="connsiteY604" fmla="*/ 521065 h 834466"/>
                <a:gd name="connsiteX605" fmla="*/ 171774 w 699392"/>
                <a:gd name="connsiteY605" fmla="*/ 518379 h 834466"/>
                <a:gd name="connsiteX606" fmla="*/ 175651 w 699392"/>
                <a:gd name="connsiteY606" fmla="*/ 515893 h 834466"/>
                <a:gd name="connsiteX607" fmla="*/ 175041 w 699392"/>
                <a:gd name="connsiteY607" fmla="*/ 513912 h 834466"/>
                <a:gd name="connsiteX608" fmla="*/ 173965 w 699392"/>
                <a:gd name="connsiteY608" fmla="*/ 511607 h 834466"/>
                <a:gd name="connsiteX609" fmla="*/ 171450 w 699392"/>
                <a:gd name="connsiteY609" fmla="*/ 511464 h 834466"/>
                <a:gd name="connsiteX610" fmla="*/ 170431 w 699392"/>
                <a:gd name="connsiteY610" fmla="*/ 510207 h 834466"/>
                <a:gd name="connsiteX611" fmla="*/ 173612 w 699392"/>
                <a:gd name="connsiteY611" fmla="*/ 507216 h 834466"/>
                <a:gd name="connsiteX612" fmla="*/ 177975 w 699392"/>
                <a:gd name="connsiteY612" fmla="*/ 503882 h 834466"/>
                <a:gd name="connsiteX613" fmla="*/ 177213 w 699392"/>
                <a:gd name="connsiteY613" fmla="*/ 502568 h 834466"/>
                <a:gd name="connsiteX614" fmla="*/ 173936 w 699392"/>
                <a:gd name="connsiteY614" fmla="*/ 501082 h 834466"/>
                <a:gd name="connsiteX615" fmla="*/ 171450 w 699392"/>
                <a:gd name="connsiteY615" fmla="*/ 502196 h 834466"/>
                <a:gd name="connsiteX616" fmla="*/ 167754 w 699392"/>
                <a:gd name="connsiteY616" fmla="*/ 504777 h 834466"/>
                <a:gd name="connsiteX617" fmla="*/ 163449 w 699392"/>
                <a:gd name="connsiteY617" fmla="*/ 508854 h 834466"/>
                <a:gd name="connsiteX618" fmla="*/ 164849 w 699392"/>
                <a:gd name="connsiteY618" fmla="*/ 510045 h 834466"/>
                <a:gd name="connsiteX619" fmla="*/ 167002 w 699392"/>
                <a:gd name="connsiteY619" fmla="*/ 513464 h 834466"/>
                <a:gd name="connsiteX620" fmla="*/ 164002 w 699392"/>
                <a:gd name="connsiteY620" fmla="*/ 517998 h 834466"/>
                <a:gd name="connsiteX621" fmla="*/ 148076 w 699392"/>
                <a:gd name="connsiteY621" fmla="*/ 529990 h 834466"/>
                <a:gd name="connsiteX622" fmla="*/ 140484 w 699392"/>
                <a:gd name="connsiteY622" fmla="*/ 533486 h 834466"/>
                <a:gd name="connsiteX623" fmla="*/ 136979 w 699392"/>
                <a:gd name="connsiteY623" fmla="*/ 532943 h 834466"/>
                <a:gd name="connsiteX624" fmla="*/ 136141 w 699392"/>
                <a:gd name="connsiteY624" fmla="*/ 529676 h 834466"/>
                <a:gd name="connsiteX625" fmla="*/ 134531 w 699392"/>
                <a:gd name="connsiteY625" fmla="*/ 527266 h 834466"/>
                <a:gd name="connsiteX626" fmla="*/ 132798 w 699392"/>
                <a:gd name="connsiteY626" fmla="*/ 522265 h 834466"/>
                <a:gd name="connsiteX627" fmla="*/ 129845 w 699392"/>
                <a:gd name="connsiteY627" fmla="*/ 522399 h 834466"/>
                <a:gd name="connsiteX628" fmla="*/ 128168 w 699392"/>
                <a:gd name="connsiteY628" fmla="*/ 523504 h 834466"/>
                <a:gd name="connsiteX629" fmla="*/ 127445 w 699392"/>
                <a:gd name="connsiteY629" fmla="*/ 521865 h 834466"/>
                <a:gd name="connsiteX630" fmla="*/ 128711 w 699392"/>
                <a:gd name="connsiteY630" fmla="*/ 516512 h 834466"/>
                <a:gd name="connsiteX631" fmla="*/ 131207 w 699392"/>
                <a:gd name="connsiteY631" fmla="*/ 512274 h 834466"/>
                <a:gd name="connsiteX632" fmla="*/ 135389 w 699392"/>
                <a:gd name="connsiteY632" fmla="*/ 509064 h 834466"/>
                <a:gd name="connsiteX633" fmla="*/ 137398 w 699392"/>
                <a:gd name="connsiteY633" fmla="*/ 505177 h 834466"/>
                <a:gd name="connsiteX634" fmla="*/ 139284 w 699392"/>
                <a:gd name="connsiteY634" fmla="*/ 498996 h 834466"/>
                <a:gd name="connsiteX635" fmla="*/ 145332 w 699392"/>
                <a:gd name="connsiteY635" fmla="*/ 493090 h 834466"/>
                <a:gd name="connsiteX636" fmla="*/ 154134 w 699392"/>
                <a:gd name="connsiteY636" fmla="*/ 478403 h 834466"/>
                <a:gd name="connsiteX637" fmla="*/ 161306 w 699392"/>
                <a:gd name="connsiteY637" fmla="*/ 473688 h 834466"/>
                <a:gd name="connsiteX638" fmla="*/ 163935 w 699392"/>
                <a:gd name="connsiteY638" fmla="*/ 468516 h 834466"/>
                <a:gd name="connsiteX639" fmla="*/ 168164 w 699392"/>
                <a:gd name="connsiteY639" fmla="*/ 466230 h 834466"/>
                <a:gd name="connsiteX640" fmla="*/ 171774 w 699392"/>
                <a:gd name="connsiteY640" fmla="*/ 462182 h 834466"/>
                <a:gd name="connsiteX641" fmla="*/ 174603 w 699392"/>
                <a:gd name="connsiteY641" fmla="*/ 461782 h 834466"/>
                <a:gd name="connsiteX642" fmla="*/ 179746 w 699392"/>
                <a:gd name="connsiteY642" fmla="*/ 458124 h 834466"/>
                <a:gd name="connsiteX643" fmla="*/ 182661 w 699392"/>
                <a:gd name="connsiteY643" fmla="*/ 453761 h 834466"/>
                <a:gd name="connsiteX644" fmla="*/ 180756 w 699392"/>
                <a:gd name="connsiteY644" fmla="*/ 453495 h 834466"/>
                <a:gd name="connsiteX645" fmla="*/ 176232 w 699392"/>
                <a:gd name="connsiteY645" fmla="*/ 456324 h 834466"/>
                <a:gd name="connsiteX646" fmla="*/ 173669 w 699392"/>
                <a:gd name="connsiteY646" fmla="*/ 457467 h 834466"/>
                <a:gd name="connsiteX647" fmla="*/ 173850 w 699392"/>
                <a:gd name="connsiteY647" fmla="*/ 452790 h 834466"/>
                <a:gd name="connsiteX648" fmla="*/ 175089 w 699392"/>
                <a:gd name="connsiteY648" fmla="*/ 447980 h 834466"/>
                <a:gd name="connsiteX649" fmla="*/ 178813 w 699392"/>
                <a:gd name="connsiteY649" fmla="*/ 443570 h 834466"/>
                <a:gd name="connsiteX650" fmla="*/ 196730 w 699392"/>
                <a:gd name="connsiteY650" fmla="*/ 430701 h 834466"/>
                <a:gd name="connsiteX651" fmla="*/ 198520 w 699392"/>
                <a:gd name="connsiteY651" fmla="*/ 432835 h 834466"/>
                <a:gd name="connsiteX652" fmla="*/ 200663 w 699392"/>
                <a:gd name="connsiteY652" fmla="*/ 436607 h 834466"/>
                <a:gd name="connsiteX653" fmla="*/ 206054 w 699392"/>
                <a:gd name="connsiteY653" fmla="*/ 435759 h 834466"/>
                <a:gd name="connsiteX654" fmla="*/ 212208 w 699392"/>
                <a:gd name="connsiteY654" fmla="*/ 428454 h 834466"/>
                <a:gd name="connsiteX655" fmla="*/ 216941 w 699392"/>
                <a:gd name="connsiteY655" fmla="*/ 420481 h 834466"/>
                <a:gd name="connsiteX656" fmla="*/ 214379 w 699392"/>
                <a:gd name="connsiteY656" fmla="*/ 421872 h 834466"/>
                <a:gd name="connsiteX657" fmla="*/ 211589 w 699392"/>
                <a:gd name="connsiteY657" fmla="*/ 425139 h 834466"/>
                <a:gd name="connsiteX658" fmla="*/ 206150 w 699392"/>
                <a:gd name="connsiteY658" fmla="*/ 429663 h 834466"/>
                <a:gd name="connsiteX659" fmla="*/ 203635 w 699392"/>
                <a:gd name="connsiteY659" fmla="*/ 430378 h 834466"/>
                <a:gd name="connsiteX660" fmla="*/ 202197 w 699392"/>
                <a:gd name="connsiteY660" fmla="*/ 429787 h 834466"/>
                <a:gd name="connsiteX661" fmla="*/ 201397 w 699392"/>
                <a:gd name="connsiteY661" fmla="*/ 426768 h 834466"/>
                <a:gd name="connsiteX662" fmla="*/ 199511 w 699392"/>
                <a:gd name="connsiteY662" fmla="*/ 425787 h 834466"/>
                <a:gd name="connsiteX663" fmla="*/ 197806 w 699392"/>
                <a:gd name="connsiteY663" fmla="*/ 426463 h 834466"/>
                <a:gd name="connsiteX664" fmla="*/ 196044 w 699392"/>
                <a:gd name="connsiteY664" fmla="*/ 424310 h 834466"/>
                <a:gd name="connsiteX665" fmla="*/ 195729 w 699392"/>
                <a:gd name="connsiteY665" fmla="*/ 418986 h 834466"/>
                <a:gd name="connsiteX666" fmla="*/ 197977 w 699392"/>
                <a:gd name="connsiteY666" fmla="*/ 411032 h 834466"/>
                <a:gd name="connsiteX667" fmla="*/ 199758 w 699392"/>
                <a:gd name="connsiteY667" fmla="*/ 405755 h 834466"/>
                <a:gd name="connsiteX668" fmla="*/ 201682 w 699392"/>
                <a:gd name="connsiteY668" fmla="*/ 401745 h 834466"/>
                <a:gd name="connsiteX669" fmla="*/ 209245 w 699392"/>
                <a:gd name="connsiteY669" fmla="*/ 390315 h 834466"/>
                <a:gd name="connsiteX670" fmla="*/ 210874 w 699392"/>
                <a:gd name="connsiteY670" fmla="*/ 384048 h 834466"/>
                <a:gd name="connsiteX671" fmla="*/ 214294 w 699392"/>
                <a:gd name="connsiteY671" fmla="*/ 380733 h 834466"/>
                <a:gd name="connsiteX672" fmla="*/ 218732 w 699392"/>
                <a:gd name="connsiteY672" fmla="*/ 381467 h 834466"/>
                <a:gd name="connsiteX673" fmla="*/ 220075 w 699392"/>
                <a:gd name="connsiteY673" fmla="*/ 380505 h 834466"/>
                <a:gd name="connsiteX674" fmla="*/ 218551 w 699392"/>
                <a:gd name="connsiteY674" fmla="*/ 376371 h 834466"/>
                <a:gd name="connsiteX675" fmla="*/ 213713 w 699392"/>
                <a:gd name="connsiteY675" fmla="*/ 373094 h 834466"/>
                <a:gd name="connsiteX676" fmla="*/ 213417 w 699392"/>
                <a:gd name="connsiteY676" fmla="*/ 371027 h 834466"/>
                <a:gd name="connsiteX677" fmla="*/ 229543 w 699392"/>
                <a:gd name="connsiteY677" fmla="*/ 365589 h 834466"/>
                <a:gd name="connsiteX678" fmla="*/ 237220 w 699392"/>
                <a:gd name="connsiteY678" fmla="*/ 365770 h 834466"/>
                <a:gd name="connsiteX679" fmla="*/ 239496 w 699392"/>
                <a:gd name="connsiteY679" fmla="*/ 363055 h 834466"/>
                <a:gd name="connsiteX680" fmla="*/ 243669 w 699392"/>
                <a:gd name="connsiteY680" fmla="*/ 361302 h 834466"/>
                <a:gd name="connsiteX681" fmla="*/ 246831 w 699392"/>
                <a:gd name="connsiteY681" fmla="*/ 357969 h 834466"/>
                <a:gd name="connsiteX682" fmla="*/ 245202 w 699392"/>
                <a:gd name="connsiteY682" fmla="*/ 356492 h 834466"/>
                <a:gd name="connsiteX683" fmla="*/ 237401 w 699392"/>
                <a:gd name="connsiteY683" fmla="*/ 359559 h 834466"/>
                <a:gd name="connsiteX684" fmla="*/ 232524 w 699392"/>
                <a:gd name="connsiteY684" fmla="*/ 360997 h 834466"/>
                <a:gd name="connsiteX685" fmla="*/ 230324 w 699392"/>
                <a:gd name="connsiteY685" fmla="*/ 360950 h 834466"/>
                <a:gd name="connsiteX686" fmla="*/ 228600 w 699392"/>
                <a:gd name="connsiteY686" fmla="*/ 361998 h 834466"/>
                <a:gd name="connsiteX687" fmla="*/ 222371 w 699392"/>
                <a:gd name="connsiteY687" fmla="*/ 362398 h 834466"/>
                <a:gd name="connsiteX688" fmla="*/ 221009 w 699392"/>
                <a:gd name="connsiteY688" fmla="*/ 349091 h 834466"/>
                <a:gd name="connsiteX689" fmla="*/ 221990 w 699392"/>
                <a:gd name="connsiteY689" fmla="*/ 341824 h 834466"/>
                <a:gd name="connsiteX690" fmla="*/ 224314 w 699392"/>
                <a:gd name="connsiteY690" fmla="*/ 341976 h 834466"/>
                <a:gd name="connsiteX691" fmla="*/ 224847 w 699392"/>
                <a:gd name="connsiteY691" fmla="*/ 335013 h 834466"/>
                <a:gd name="connsiteX692" fmla="*/ 227533 w 699392"/>
                <a:gd name="connsiteY692" fmla="*/ 330889 h 834466"/>
                <a:gd name="connsiteX693" fmla="*/ 231238 w 699392"/>
                <a:gd name="connsiteY693" fmla="*/ 329965 h 834466"/>
                <a:gd name="connsiteX694" fmla="*/ 233106 w 699392"/>
                <a:gd name="connsiteY694" fmla="*/ 328203 h 834466"/>
                <a:gd name="connsiteX695" fmla="*/ 235801 w 699392"/>
                <a:gd name="connsiteY695" fmla="*/ 324602 h 834466"/>
                <a:gd name="connsiteX696" fmla="*/ 240259 w 699392"/>
                <a:gd name="connsiteY696" fmla="*/ 325431 h 834466"/>
                <a:gd name="connsiteX697" fmla="*/ 244840 w 699392"/>
                <a:gd name="connsiteY697" fmla="*/ 324631 h 834466"/>
                <a:gd name="connsiteX698" fmla="*/ 243697 w 699392"/>
                <a:gd name="connsiteY698" fmla="*/ 322926 h 834466"/>
                <a:gd name="connsiteX699" fmla="*/ 238011 w 699392"/>
                <a:gd name="connsiteY699" fmla="*/ 320735 h 834466"/>
                <a:gd name="connsiteX700" fmla="*/ 236611 w 699392"/>
                <a:gd name="connsiteY700" fmla="*/ 316963 h 834466"/>
                <a:gd name="connsiteX701" fmla="*/ 238611 w 699392"/>
                <a:gd name="connsiteY701" fmla="*/ 314849 h 834466"/>
                <a:gd name="connsiteX702" fmla="*/ 240792 w 699392"/>
                <a:gd name="connsiteY702" fmla="*/ 313296 h 834466"/>
                <a:gd name="connsiteX703" fmla="*/ 242716 w 699392"/>
                <a:gd name="connsiteY703" fmla="*/ 313020 h 834466"/>
                <a:gd name="connsiteX704" fmla="*/ 246516 w 699392"/>
                <a:gd name="connsiteY704" fmla="*/ 305619 h 834466"/>
                <a:gd name="connsiteX705" fmla="*/ 248831 w 699392"/>
                <a:gd name="connsiteY705" fmla="*/ 302447 h 834466"/>
                <a:gd name="connsiteX706" fmla="*/ 251413 w 699392"/>
                <a:gd name="connsiteY706" fmla="*/ 303000 h 834466"/>
                <a:gd name="connsiteX707" fmla="*/ 255013 w 699392"/>
                <a:gd name="connsiteY707" fmla="*/ 299723 h 834466"/>
                <a:gd name="connsiteX708" fmla="*/ 258556 w 699392"/>
                <a:gd name="connsiteY708" fmla="*/ 300838 h 834466"/>
                <a:gd name="connsiteX709" fmla="*/ 261976 w 699392"/>
                <a:gd name="connsiteY709" fmla="*/ 298694 h 834466"/>
                <a:gd name="connsiteX710" fmla="*/ 266652 w 699392"/>
                <a:gd name="connsiteY710" fmla="*/ 297275 h 834466"/>
                <a:gd name="connsiteX711" fmla="*/ 283769 w 699392"/>
                <a:gd name="connsiteY711" fmla="*/ 296732 h 834466"/>
                <a:gd name="connsiteX712" fmla="*/ 284274 w 699392"/>
                <a:gd name="connsiteY712" fmla="*/ 293675 h 834466"/>
                <a:gd name="connsiteX713" fmla="*/ 280673 w 699392"/>
                <a:gd name="connsiteY713" fmla="*/ 292970 h 834466"/>
                <a:gd name="connsiteX714" fmla="*/ 267957 w 699392"/>
                <a:gd name="connsiteY714" fmla="*/ 292179 h 834466"/>
                <a:gd name="connsiteX715" fmla="*/ 261461 w 699392"/>
                <a:gd name="connsiteY715" fmla="*/ 292246 h 834466"/>
                <a:gd name="connsiteX716" fmla="*/ 258728 w 699392"/>
                <a:gd name="connsiteY716" fmla="*/ 293037 h 834466"/>
                <a:gd name="connsiteX717" fmla="*/ 257727 w 699392"/>
                <a:gd name="connsiteY717" fmla="*/ 291970 h 834466"/>
                <a:gd name="connsiteX718" fmla="*/ 257909 w 699392"/>
                <a:gd name="connsiteY718" fmla="*/ 290141 h 834466"/>
                <a:gd name="connsiteX719" fmla="*/ 260271 w 699392"/>
                <a:gd name="connsiteY719" fmla="*/ 287236 h 834466"/>
                <a:gd name="connsiteX720" fmla="*/ 261385 w 699392"/>
                <a:gd name="connsiteY720" fmla="*/ 284026 h 834466"/>
                <a:gd name="connsiteX721" fmla="*/ 266109 w 699392"/>
                <a:gd name="connsiteY721" fmla="*/ 276158 h 834466"/>
                <a:gd name="connsiteX722" fmla="*/ 271643 w 699392"/>
                <a:gd name="connsiteY722" fmla="*/ 270900 h 834466"/>
                <a:gd name="connsiteX723" fmla="*/ 275882 w 699392"/>
                <a:gd name="connsiteY723" fmla="*/ 272244 h 834466"/>
                <a:gd name="connsiteX724" fmla="*/ 280388 w 699392"/>
                <a:gd name="connsiteY724" fmla="*/ 277263 h 834466"/>
                <a:gd name="connsiteX725" fmla="*/ 283597 w 699392"/>
                <a:gd name="connsiteY725" fmla="*/ 277892 h 834466"/>
                <a:gd name="connsiteX726" fmla="*/ 285093 w 699392"/>
                <a:gd name="connsiteY726" fmla="*/ 279511 h 834466"/>
                <a:gd name="connsiteX727" fmla="*/ 287436 w 699392"/>
                <a:gd name="connsiteY727" fmla="*/ 286407 h 834466"/>
                <a:gd name="connsiteX728" fmla="*/ 288550 w 699392"/>
                <a:gd name="connsiteY728" fmla="*/ 286626 h 834466"/>
                <a:gd name="connsiteX729" fmla="*/ 288046 w 699392"/>
                <a:gd name="connsiteY729" fmla="*/ 280006 h 834466"/>
                <a:gd name="connsiteX730" fmla="*/ 291141 w 699392"/>
                <a:gd name="connsiteY730" fmla="*/ 274596 h 834466"/>
                <a:gd name="connsiteX731" fmla="*/ 290341 w 699392"/>
                <a:gd name="connsiteY731" fmla="*/ 273101 h 834466"/>
                <a:gd name="connsiteX732" fmla="*/ 285693 w 699392"/>
                <a:gd name="connsiteY732" fmla="*/ 275063 h 834466"/>
                <a:gd name="connsiteX733" fmla="*/ 282130 w 699392"/>
                <a:gd name="connsiteY733" fmla="*/ 273025 h 834466"/>
                <a:gd name="connsiteX734" fmla="*/ 279321 w 699392"/>
                <a:gd name="connsiteY734" fmla="*/ 268948 h 834466"/>
                <a:gd name="connsiteX735" fmla="*/ 278521 w 699392"/>
                <a:gd name="connsiteY735" fmla="*/ 265214 h 834466"/>
                <a:gd name="connsiteX736" fmla="*/ 280273 w 699392"/>
                <a:gd name="connsiteY736" fmla="*/ 261518 h 834466"/>
                <a:gd name="connsiteX737" fmla="*/ 281921 w 699392"/>
                <a:gd name="connsiteY737" fmla="*/ 259651 h 834466"/>
                <a:gd name="connsiteX738" fmla="*/ 280807 w 699392"/>
                <a:gd name="connsiteY738" fmla="*/ 257470 h 834466"/>
                <a:gd name="connsiteX739" fmla="*/ 273777 w 699392"/>
                <a:gd name="connsiteY739" fmla="*/ 263290 h 834466"/>
                <a:gd name="connsiteX740" fmla="*/ 268805 w 699392"/>
                <a:gd name="connsiteY740" fmla="*/ 264652 h 834466"/>
                <a:gd name="connsiteX741" fmla="*/ 266843 w 699392"/>
                <a:gd name="connsiteY741" fmla="*/ 263842 h 834466"/>
                <a:gd name="connsiteX742" fmla="*/ 267901 w 699392"/>
                <a:gd name="connsiteY742" fmla="*/ 258566 h 834466"/>
                <a:gd name="connsiteX743" fmla="*/ 267310 w 699392"/>
                <a:gd name="connsiteY743" fmla="*/ 254365 h 834466"/>
                <a:gd name="connsiteX744" fmla="*/ 273977 w 699392"/>
                <a:gd name="connsiteY744" fmla="*/ 243983 h 834466"/>
                <a:gd name="connsiteX745" fmla="*/ 276273 w 699392"/>
                <a:gd name="connsiteY745" fmla="*/ 242783 h 834466"/>
                <a:gd name="connsiteX746" fmla="*/ 280016 w 699392"/>
                <a:gd name="connsiteY746" fmla="*/ 243621 h 834466"/>
                <a:gd name="connsiteX747" fmla="*/ 283397 w 699392"/>
                <a:gd name="connsiteY747" fmla="*/ 246555 h 834466"/>
                <a:gd name="connsiteX748" fmla="*/ 286226 w 699392"/>
                <a:gd name="connsiteY748" fmla="*/ 246088 h 834466"/>
                <a:gd name="connsiteX749" fmla="*/ 289293 w 699392"/>
                <a:gd name="connsiteY749" fmla="*/ 244516 h 834466"/>
                <a:gd name="connsiteX750" fmla="*/ 288874 w 699392"/>
                <a:gd name="connsiteY750" fmla="*/ 241697 h 834466"/>
                <a:gd name="connsiteX751" fmla="*/ 282226 w 699392"/>
                <a:gd name="connsiteY751" fmla="*/ 240573 h 834466"/>
                <a:gd name="connsiteX752" fmla="*/ 280511 w 699392"/>
                <a:gd name="connsiteY752" fmla="*/ 238230 h 834466"/>
                <a:gd name="connsiteX753" fmla="*/ 281131 w 699392"/>
                <a:gd name="connsiteY753" fmla="*/ 235915 h 834466"/>
                <a:gd name="connsiteX754" fmla="*/ 285693 w 699392"/>
                <a:gd name="connsiteY754" fmla="*/ 233477 h 834466"/>
                <a:gd name="connsiteX755" fmla="*/ 290236 w 699392"/>
                <a:gd name="connsiteY755" fmla="*/ 229067 h 834466"/>
                <a:gd name="connsiteX756" fmla="*/ 295437 w 699392"/>
                <a:gd name="connsiteY756" fmla="*/ 227781 h 834466"/>
                <a:gd name="connsiteX757" fmla="*/ 299618 w 699392"/>
                <a:gd name="connsiteY757" fmla="*/ 224438 h 834466"/>
                <a:gd name="connsiteX758" fmla="*/ 300428 w 699392"/>
                <a:gd name="connsiteY758" fmla="*/ 225200 h 834466"/>
                <a:gd name="connsiteX759" fmla="*/ 301133 w 699392"/>
                <a:gd name="connsiteY759" fmla="*/ 226514 h 834466"/>
                <a:gd name="connsiteX760" fmla="*/ 302638 w 699392"/>
                <a:gd name="connsiteY760" fmla="*/ 238877 h 834466"/>
                <a:gd name="connsiteX761" fmla="*/ 306381 w 699392"/>
                <a:gd name="connsiteY761" fmla="*/ 248898 h 834466"/>
                <a:gd name="connsiteX762" fmla="*/ 307763 w 699392"/>
                <a:gd name="connsiteY762" fmla="*/ 249260 h 834466"/>
                <a:gd name="connsiteX763" fmla="*/ 306324 w 699392"/>
                <a:gd name="connsiteY763" fmla="*/ 240744 h 834466"/>
                <a:gd name="connsiteX764" fmla="*/ 307667 w 699392"/>
                <a:gd name="connsiteY764" fmla="*/ 238287 h 834466"/>
                <a:gd name="connsiteX765" fmla="*/ 309363 w 699392"/>
                <a:gd name="connsiteY765" fmla="*/ 236420 h 834466"/>
                <a:gd name="connsiteX766" fmla="*/ 309896 w 699392"/>
                <a:gd name="connsiteY766" fmla="*/ 234286 h 834466"/>
                <a:gd name="connsiteX767" fmla="*/ 307953 w 699392"/>
                <a:gd name="connsiteY767" fmla="*/ 233562 h 834466"/>
                <a:gd name="connsiteX768" fmla="*/ 306362 w 699392"/>
                <a:gd name="connsiteY768" fmla="*/ 230496 h 834466"/>
                <a:gd name="connsiteX769" fmla="*/ 304095 w 699392"/>
                <a:gd name="connsiteY769" fmla="*/ 220656 h 834466"/>
                <a:gd name="connsiteX770" fmla="*/ 304876 w 699392"/>
                <a:gd name="connsiteY770" fmla="*/ 218084 h 834466"/>
                <a:gd name="connsiteX771" fmla="*/ 309801 w 699392"/>
                <a:gd name="connsiteY771" fmla="*/ 212808 h 834466"/>
                <a:gd name="connsiteX772" fmla="*/ 315973 w 699392"/>
                <a:gd name="connsiteY772" fmla="*/ 211598 h 834466"/>
                <a:gd name="connsiteX773" fmla="*/ 322545 w 699392"/>
                <a:gd name="connsiteY773" fmla="*/ 215294 h 834466"/>
                <a:gd name="connsiteX774" fmla="*/ 324860 w 699392"/>
                <a:gd name="connsiteY774" fmla="*/ 215332 h 834466"/>
                <a:gd name="connsiteX775" fmla="*/ 328669 w 699392"/>
                <a:gd name="connsiteY775" fmla="*/ 214341 h 834466"/>
                <a:gd name="connsiteX776" fmla="*/ 335137 w 699392"/>
                <a:gd name="connsiteY776" fmla="*/ 211293 h 834466"/>
                <a:gd name="connsiteX777" fmla="*/ 338947 w 699392"/>
                <a:gd name="connsiteY777" fmla="*/ 210131 h 834466"/>
                <a:gd name="connsiteX778" fmla="*/ 340929 w 699392"/>
                <a:gd name="connsiteY778" fmla="*/ 210131 h 834466"/>
                <a:gd name="connsiteX779" fmla="*/ 341414 w 699392"/>
                <a:gd name="connsiteY779" fmla="*/ 208588 h 834466"/>
                <a:gd name="connsiteX780" fmla="*/ 339576 w 699392"/>
                <a:gd name="connsiteY780" fmla="*/ 207597 h 834466"/>
                <a:gd name="connsiteX781" fmla="*/ 338985 w 699392"/>
                <a:gd name="connsiteY781" fmla="*/ 206635 h 834466"/>
                <a:gd name="connsiteX782" fmla="*/ 337547 w 699392"/>
                <a:gd name="connsiteY782" fmla="*/ 206083 h 834466"/>
                <a:gd name="connsiteX783" fmla="*/ 331565 w 699392"/>
                <a:gd name="connsiteY783" fmla="*/ 207731 h 834466"/>
                <a:gd name="connsiteX784" fmla="*/ 315059 w 699392"/>
                <a:gd name="connsiteY784" fmla="*/ 207207 h 834466"/>
                <a:gd name="connsiteX785" fmla="*/ 313468 w 699392"/>
                <a:gd name="connsiteY785" fmla="*/ 205445 h 834466"/>
                <a:gd name="connsiteX786" fmla="*/ 313173 w 699392"/>
                <a:gd name="connsiteY786" fmla="*/ 202387 h 834466"/>
                <a:gd name="connsiteX787" fmla="*/ 314925 w 699392"/>
                <a:gd name="connsiteY787" fmla="*/ 198006 h 834466"/>
                <a:gd name="connsiteX788" fmla="*/ 316849 w 699392"/>
                <a:gd name="connsiteY788" fmla="*/ 195577 h 834466"/>
                <a:gd name="connsiteX789" fmla="*/ 323079 w 699392"/>
                <a:gd name="connsiteY789" fmla="*/ 191205 h 834466"/>
                <a:gd name="connsiteX790" fmla="*/ 329660 w 699392"/>
                <a:gd name="connsiteY790" fmla="*/ 190614 h 834466"/>
                <a:gd name="connsiteX791" fmla="*/ 336604 w 699392"/>
                <a:gd name="connsiteY791" fmla="*/ 182813 h 834466"/>
                <a:gd name="connsiteX792" fmla="*/ 339252 w 699392"/>
                <a:gd name="connsiteY792" fmla="*/ 176946 h 834466"/>
                <a:gd name="connsiteX793" fmla="*/ 340757 w 699392"/>
                <a:gd name="connsiteY793" fmla="*/ 167850 h 834466"/>
                <a:gd name="connsiteX794" fmla="*/ 344986 w 699392"/>
                <a:gd name="connsiteY794" fmla="*/ 160458 h 834466"/>
                <a:gd name="connsiteX795" fmla="*/ 355597 w 699392"/>
                <a:gd name="connsiteY795" fmla="*/ 156239 h 834466"/>
                <a:gd name="connsiteX796" fmla="*/ 356025 w 699392"/>
                <a:gd name="connsiteY796" fmla="*/ 154372 h 834466"/>
                <a:gd name="connsiteX797" fmla="*/ 354902 w 699392"/>
                <a:gd name="connsiteY797" fmla="*/ 150495 h 834466"/>
                <a:gd name="connsiteX798" fmla="*/ 354997 w 699392"/>
                <a:gd name="connsiteY798" fmla="*/ 143504 h 834466"/>
                <a:gd name="connsiteX799" fmla="*/ 357902 w 699392"/>
                <a:gd name="connsiteY799" fmla="*/ 135322 h 834466"/>
                <a:gd name="connsiteX800" fmla="*/ 359836 w 699392"/>
                <a:gd name="connsiteY800" fmla="*/ 132474 h 834466"/>
                <a:gd name="connsiteX801" fmla="*/ 360731 w 699392"/>
                <a:gd name="connsiteY801" fmla="*/ 132131 h 834466"/>
                <a:gd name="connsiteX802" fmla="*/ 363017 w 699392"/>
                <a:gd name="connsiteY802" fmla="*/ 134817 h 834466"/>
                <a:gd name="connsiteX803" fmla="*/ 365798 w 699392"/>
                <a:gd name="connsiteY803" fmla="*/ 140513 h 834466"/>
                <a:gd name="connsiteX804" fmla="*/ 370151 w 699392"/>
                <a:gd name="connsiteY804" fmla="*/ 143770 h 834466"/>
                <a:gd name="connsiteX805" fmla="*/ 375857 w 699392"/>
                <a:gd name="connsiteY805" fmla="*/ 144332 h 834466"/>
                <a:gd name="connsiteX806" fmla="*/ 377380 w 699392"/>
                <a:gd name="connsiteY806" fmla="*/ 142732 h 834466"/>
                <a:gd name="connsiteX807" fmla="*/ 372952 w 699392"/>
                <a:gd name="connsiteY807" fmla="*/ 139494 h 834466"/>
                <a:gd name="connsiteX808" fmla="*/ 369589 w 699392"/>
                <a:gd name="connsiteY808" fmla="*/ 135246 h 834466"/>
                <a:gd name="connsiteX809" fmla="*/ 369322 w 699392"/>
                <a:gd name="connsiteY809" fmla="*/ 130969 h 834466"/>
                <a:gd name="connsiteX810" fmla="*/ 370913 w 699392"/>
                <a:gd name="connsiteY810" fmla="*/ 128702 h 834466"/>
                <a:gd name="connsiteX811" fmla="*/ 373389 w 699392"/>
                <a:gd name="connsiteY811" fmla="*/ 128949 h 834466"/>
                <a:gd name="connsiteX812" fmla="*/ 376494 w 699392"/>
                <a:gd name="connsiteY812" fmla="*/ 128473 h 834466"/>
                <a:gd name="connsiteX813" fmla="*/ 379390 w 699392"/>
                <a:gd name="connsiteY813" fmla="*/ 125587 h 834466"/>
                <a:gd name="connsiteX814" fmla="*/ 379809 w 699392"/>
                <a:gd name="connsiteY814" fmla="*/ 123558 h 834466"/>
                <a:gd name="connsiteX815" fmla="*/ 379933 w 699392"/>
                <a:gd name="connsiteY815" fmla="*/ 120796 h 834466"/>
                <a:gd name="connsiteX816" fmla="*/ 380657 w 699392"/>
                <a:gd name="connsiteY816" fmla="*/ 117986 h 834466"/>
                <a:gd name="connsiteX817" fmla="*/ 384906 w 699392"/>
                <a:gd name="connsiteY817" fmla="*/ 111252 h 834466"/>
                <a:gd name="connsiteX818" fmla="*/ 397993 w 699392"/>
                <a:gd name="connsiteY818" fmla="*/ 106861 h 834466"/>
                <a:gd name="connsiteX819" fmla="*/ 398945 w 699392"/>
                <a:gd name="connsiteY819" fmla="*/ 108652 h 834466"/>
                <a:gd name="connsiteX820" fmla="*/ 398240 w 699392"/>
                <a:gd name="connsiteY820" fmla="*/ 121634 h 834466"/>
                <a:gd name="connsiteX821" fmla="*/ 396735 w 699392"/>
                <a:gd name="connsiteY821" fmla="*/ 129978 h 834466"/>
                <a:gd name="connsiteX822" fmla="*/ 396783 w 699392"/>
                <a:gd name="connsiteY822" fmla="*/ 136055 h 834466"/>
                <a:gd name="connsiteX823" fmla="*/ 399336 w 699392"/>
                <a:gd name="connsiteY823" fmla="*/ 129978 h 834466"/>
                <a:gd name="connsiteX824" fmla="*/ 402746 w 699392"/>
                <a:gd name="connsiteY824" fmla="*/ 113243 h 834466"/>
                <a:gd name="connsiteX825" fmla="*/ 405317 w 699392"/>
                <a:gd name="connsiteY825" fmla="*/ 105318 h 834466"/>
                <a:gd name="connsiteX826" fmla="*/ 408213 w 699392"/>
                <a:gd name="connsiteY826" fmla="*/ 100755 h 834466"/>
                <a:gd name="connsiteX827" fmla="*/ 410280 w 699392"/>
                <a:gd name="connsiteY827" fmla="*/ 99727 h 834466"/>
                <a:gd name="connsiteX828" fmla="*/ 412328 w 699392"/>
                <a:gd name="connsiteY828" fmla="*/ 97355 h 834466"/>
                <a:gd name="connsiteX829" fmla="*/ 415033 w 699392"/>
                <a:gd name="connsiteY829" fmla="*/ 95945 h 834466"/>
                <a:gd name="connsiteX830" fmla="*/ 415862 w 699392"/>
                <a:gd name="connsiteY830" fmla="*/ 97765 h 834466"/>
                <a:gd name="connsiteX831" fmla="*/ 416719 w 699392"/>
                <a:gd name="connsiteY831" fmla="*/ 101984 h 834466"/>
                <a:gd name="connsiteX832" fmla="*/ 415261 w 699392"/>
                <a:gd name="connsiteY832" fmla="*/ 116710 h 834466"/>
                <a:gd name="connsiteX833" fmla="*/ 415404 w 699392"/>
                <a:gd name="connsiteY833" fmla="*/ 121339 h 834466"/>
                <a:gd name="connsiteX834" fmla="*/ 413775 w 699392"/>
                <a:gd name="connsiteY834" fmla="*/ 127521 h 834466"/>
                <a:gd name="connsiteX835" fmla="*/ 407537 w 699392"/>
                <a:gd name="connsiteY835" fmla="*/ 141227 h 834466"/>
                <a:gd name="connsiteX836" fmla="*/ 407822 w 699392"/>
                <a:gd name="connsiteY836" fmla="*/ 142970 h 834466"/>
                <a:gd name="connsiteX837" fmla="*/ 409232 w 699392"/>
                <a:gd name="connsiteY837" fmla="*/ 142323 h 834466"/>
                <a:gd name="connsiteX838" fmla="*/ 411642 w 699392"/>
                <a:gd name="connsiteY838" fmla="*/ 140075 h 834466"/>
                <a:gd name="connsiteX839" fmla="*/ 419376 w 699392"/>
                <a:gd name="connsiteY839" fmla="*/ 127044 h 834466"/>
                <a:gd name="connsiteX840" fmla="*/ 426130 w 699392"/>
                <a:gd name="connsiteY840" fmla="*/ 128692 h 834466"/>
                <a:gd name="connsiteX841" fmla="*/ 426215 w 699392"/>
                <a:gd name="connsiteY841" fmla="*/ 127625 h 834466"/>
                <a:gd name="connsiteX842" fmla="*/ 424043 w 699392"/>
                <a:gd name="connsiteY842" fmla="*/ 123787 h 834466"/>
                <a:gd name="connsiteX843" fmla="*/ 421405 w 699392"/>
                <a:gd name="connsiteY843" fmla="*/ 120101 h 834466"/>
                <a:gd name="connsiteX844" fmla="*/ 420605 w 699392"/>
                <a:gd name="connsiteY844" fmla="*/ 115529 h 834466"/>
                <a:gd name="connsiteX845" fmla="*/ 420957 w 699392"/>
                <a:gd name="connsiteY845" fmla="*/ 103261 h 834466"/>
                <a:gd name="connsiteX846" fmla="*/ 422996 w 699392"/>
                <a:gd name="connsiteY846" fmla="*/ 98374 h 834466"/>
                <a:gd name="connsiteX847" fmla="*/ 428825 w 699392"/>
                <a:gd name="connsiteY847" fmla="*/ 98889 h 834466"/>
                <a:gd name="connsiteX848" fmla="*/ 432321 w 699392"/>
                <a:gd name="connsiteY848" fmla="*/ 98212 h 834466"/>
                <a:gd name="connsiteX849" fmla="*/ 433950 w 699392"/>
                <a:gd name="connsiteY849" fmla="*/ 100432 h 834466"/>
                <a:gd name="connsiteX850" fmla="*/ 437445 w 699392"/>
                <a:gd name="connsiteY850" fmla="*/ 100270 h 834466"/>
                <a:gd name="connsiteX851" fmla="*/ 439864 w 699392"/>
                <a:gd name="connsiteY851" fmla="*/ 91411 h 834466"/>
                <a:gd name="connsiteX852" fmla="*/ 444655 w 699392"/>
                <a:gd name="connsiteY852" fmla="*/ 90630 h 834466"/>
                <a:gd name="connsiteX853" fmla="*/ 448866 w 699392"/>
                <a:gd name="connsiteY853" fmla="*/ 96498 h 834466"/>
                <a:gd name="connsiteX854" fmla="*/ 453923 w 699392"/>
                <a:gd name="connsiteY854" fmla="*/ 100432 h 834466"/>
                <a:gd name="connsiteX855" fmla="*/ 457991 w 699392"/>
                <a:gd name="connsiteY855" fmla="*/ 106070 h 834466"/>
                <a:gd name="connsiteX856" fmla="*/ 459143 w 699392"/>
                <a:gd name="connsiteY856" fmla="*/ 104527 h 834466"/>
                <a:gd name="connsiteX857" fmla="*/ 456952 w 699392"/>
                <a:gd name="connsiteY857" fmla="*/ 91326 h 834466"/>
                <a:gd name="connsiteX858" fmla="*/ 454552 w 699392"/>
                <a:gd name="connsiteY858" fmla="*/ 86487 h 834466"/>
                <a:gd name="connsiteX859" fmla="*/ 449342 w 699392"/>
                <a:gd name="connsiteY859" fmla="*/ 83963 h 834466"/>
                <a:gd name="connsiteX860" fmla="*/ 443789 w 699392"/>
                <a:gd name="connsiteY860" fmla="*/ 77972 h 834466"/>
                <a:gd name="connsiteX861" fmla="*/ 442350 w 699392"/>
                <a:gd name="connsiteY861" fmla="*/ 75305 h 834466"/>
                <a:gd name="connsiteX862" fmla="*/ 442598 w 699392"/>
                <a:gd name="connsiteY862" fmla="*/ 73323 h 834466"/>
                <a:gd name="connsiteX863" fmla="*/ 447494 w 699392"/>
                <a:gd name="connsiteY863" fmla="*/ 71409 h 834466"/>
                <a:gd name="connsiteX864" fmla="*/ 453952 w 699392"/>
                <a:gd name="connsiteY864" fmla="*/ 73609 h 834466"/>
                <a:gd name="connsiteX865" fmla="*/ 459705 w 699392"/>
                <a:gd name="connsiteY865" fmla="*/ 68590 h 834466"/>
                <a:gd name="connsiteX866" fmla="*/ 461277 w 699392"/>
                <a:gd name="connsiteY866" fmla="*/ 69971 h 834466"/>
                <a:gd name="connsiteX867" fmla="*/ 465687 w 699392"/>
                <a:gd name="connsiteY867" fmla="*/ 67342 h 834466"/>
                <a:gd name="connsiteX868" fmla="*/ 468430 w 699392"/>
                <a:gd name="connsiteY868" fmla="*/ 70885 h 834466"/>
                <a:gd name="connsiteX869" fmla="*/ 470116 w 699392"/>
                <a:gd name="connsiteY869" fmla="*/ 69837 h 834466"/>
                <a:gd name="connsiteX870" fmla="*/ 471088 w 699392"/>
                <a:gd name="connsiteY870" fmla="*/ 65084 h 834466"/>
                <a:gd name="connsiteX871" fmla="*/ 478127 w 699392"/>
                <a:gd name="connsiteY871" fmla="*/ 62132 h 834466"/>
                <a:gd name="connsiteX872" fmla="*/ 482594 w 699392"/>
                <a:gd name="connsiteY872" fmla="*/ 64865 h 834466"/>
                <a:gd name="connsiteX873" fmla="*/ 484984 w 699392"/>
                <a:gd name="connsiteY873" fmla="*/ 67675 h 834466"/>
                <a:gd name="connsiteX874" fmla="*/ 486099 w 699392"/>
                <a:gd name="connsiteY874" fmla="*/ 73076 h 834466"/>
                <a:gd name="connsiteX875" fmla="*/ 487804 w 699392"/>
                <a:gd name="connsiteY875" fmla="*/ 83696 h 834466"/>
                <a:gd name="connsiteX876" fmla="*/ 491290 w 699392"/>
                <a:gd name="connsiteY876" fmla="*/ 89402 h 834466"/>
                <a:gd name="connsiteX877" fmla="*/ 493462 w 699392"/>
                <a:gd name="connsiteY877" fmla="*/ 92192 h 834466"/>
                <a:gd name="connsiteX878" fmla="*/ 496024 w 699392"/>
                <a:gd name="connsiteY878" fmla="*/ 92964 h 834466"/>
                <a:gd name="connsiteX879" fmla="*/ 497262 w 699392"/>
                <a:gd name="connsiteY879" fmla="*/ 90126 h 834466"/>
                <a:gd name="connsiteX880" fmla="*/ 494862 w 699392"/>
                <a:gd name="connsiteY880" fmla="*/ 86697 h 834466"/>
                <a:gd name="connsiteX881" fmla="*/ 494214 w 699392"/>
                <a:gd name="connsiteY881" fmla="*/ 83458 h 834466"/>
                <a:gd name="connsiteX882" fmla="*/ 495367 w 699392"/>
                <a:gd name="connsiteY882" fmla="*/ 75400 h 834466"/>
                <a:gd name="connsiteX883" fmla="*/ 496710 w 699392"/>
                <a:gd name="connsiteY883" fmla="*/ 72228 h 834466"/>
                <a:gd name="connsiteX884" fmla="*/ 504244 w 699392"/>
                <a:gd name="connsiteY884" fmla="*/ 60141 h 834466"/>
                <a:gd name="connsiteX885" fmla="*/ 510550 w 699392"/>
                <a:gd name="connsiteY885" fmla="*/ 53835 h 834466"/>
                <a:gd name="connsiteX886" fmla="*/ 514322 w 699392"/>
                <a:gd name="connsiteY886" fmla="*/ 53302 h 834466"/>
                <a:gd name="connsiteX887" fmla="*/ 520932 w 699392"/>
                <a:gd name="connsiteY887" fmla="*/ 39081 h 834466"/>
                <a:gd name="connsiteX888" fmla="*/ 522799 w 699392"/>
                <a:gd name="connsiteY888" fmla="*/ 36481 h 834466"/>
                <a:gd name="connsiteX889" fmla="*/ 524523 w 699392"/>
                <a:gd name="connsiteY889" fmla="*/ 35881 h 834466"/>
                <a:gd name="connsiteX890" fmla="*/ 524085 w 699392"/>
                <a:gd name="connsiteY890" fmla="*/ 32375 h 834466"/>
                <a:gd name="connsiteX891" fmla="*/ 520475 w 699392"/>
                <a:gd name="connsiteY891" fmla="*/ 30156 h 834466"/>
                <a:gd name="connsiteX892" fmla="*/ 520351 w 699392"/>
                <a:gd name="connsiteY892" fmla="*/ 25794 h 834466"/>
                <a:gd name="connsiteX893" fmla="*/ 525113 w 699392"/>
                <a:gd name="connsiteY893" fmla="*/ 20479 h 834466"/>
                <a:gd name="connsiteX894" fmla="*/ 530895 w 699392"/>
                <a:gd name="connsiteY894" fmla="*/ 11516 h 834466"/>
                <a:gd name="connsiteX895" fmla="*/ 533743 w 699392"/>
                <a:gd name="connsiteY895" fmla="*/ 10916 h 834466"/>
                <a:gd name="connsiteX896" fmla="*/ 535534 w 699392"/>
                <a:gd name="connsiteY896" fmla="*/ 13411 h 834466"/>
                <a:gd name="connsiteX897" fmla="*/ 541163 w 699392"/>
                <a:gd name="connsiteY897" fmla="*/ 17459 h 834466"/>
                <a:gd name="connsiteX898" fmla="*/ 544611 w 699392"/>
                <a:gd name="connsiteY898" fmla="*/ 22079 h 834466"/>
                <a:gd name="connsiteX899" fmla="*/ 547107 w 699392"/>
                <a:gd name="connsiteY899" fmla="*/ 24403 h 834466"/>
                <a:gd name="connsiteX900" fmla="*/ 548726 w 699392"/>
                <a:gd name="connsiteY900" fmla="*/ 23917 h 834466"/>
                <a:gd name="connsiteX901" fmla="*/ 550069 w 699392"/>
                <a:gd name="connsiteY901" fmla="*/ 20450 h 834466"/>
                <a:gd name="connsiteX902" fmla="*/ 551688 w 699392"/>
                <a:gd name="connsiteY902" fmla="*/ 18821 h 834466"/>
                <a:gd name="connsiteX903" fmla="*/ 555260 w 699392"/>
                <a:gd name="connsiteY903" fmla="*/ 19736 h 834466"/>
                <a:gd name="connsiteX904" fmla="*/ 557393 w 699392"/>
                <a:gd name="connsiteY904" fmla="*/ 21965 h 834466"/>
                <a:gd name="connsiteX905" fmla="*/ 559061 w 699392"/>
                <a:gd name="connsiteY905" fmla="*/ 22260 h 834466"/>
                <a:gd name="connsiteX906" fmla="*/ 560565 w 699392"/>
                <a:gd name="connsiteY906" fmla="*/ 23613 h 834466"/>
                <a:gd name="connsiteX907" fmla="*/ 560918 w 699392"/>
                <a:gd name="connsiteY907" fmla="*/ 26575 h 834466"/>
                <a:gd name="connsiteX908" fmla="*/ 557822 w 699392"/>
                <a:gd name="connsiteY908" fmla="*/ 29804 h 834466"/>
                <a:gd name="connsiteX909" fmla="*/ 552545 w 699392"/>
                <a:gd name="connsiteY909" fmla="*/ 38310 h 834466"/>
                <a:gd name="connsiteX910" fmla="*/ 547345 w 699392"/>
                <a:gd name="connsiteY910" fmla="*/ 47930 h 834466"/>
                <a:gd name="connsiteX911" fmla="*/ 545630 w 699392"/>
                <a:gd name="connsiteY911" fmla="*/ 52978 h 834466"/>
                <a:gd name="connsiteX912" fmla="*/ 543944 w 699392"/>
                <a:gd name="connsiteY912" fmla="*/ 66151 h 834466"/>
                <a:gd name="connsiteX913" fmla="*/ 539877 w 699392"/>
                <a:gd name="connsiteY913" fmla="*/ 74524 h 834466"/>
                <a:gd name="connsiteX914" fmla="*/ 539563 w 699392"/>
                <a:gd name="connsiteY914" fmla="*/ 80372 h 834466"/>
                <a:gd name="connsiteX915" fmla="*/ 541201 w 699392"/>
                <a:gd name="connsiteY915" fmla="*/ 83115 h 834466"/>
                <a:gd name="connsiteX916" fmla="*/ 545687 w 699392"/>
                <a:gd name="connsiteY916" fmla="*/ 80963 h 834466"/>
                <a:gd name="connsiteX917" fmla="*/ 551222 w 699392"/>
                <a:gd name="connsiteY917" fmla="*/ 73162 h 834466"/>
                <a:gd name="connsiteX918" fmla="*/ 552602 w 699392"/>
                <a:gd name="connsiteY918" fmla="*/ 64837 h 834466"/>
                <a:gd name="connsiteX919" fmla="*/ 566442 w 699392"/>
                <a:gd name="connsiteY919" fmla="*/ 42062 h 834466"/>
                <a:gd name="connsiteX920" fmla="*/ 572938 w 699392"/>
                <a:gd name="connsiteY920" fmla="*/ 29356 h 834466"/>
                <a:gd name="connsiteX921" fmla="*/ 580311 w 699392"/>
                <a:gd name="connsiteY921" fmla="*/ 18755 h 834466"/>
                <a:gd name="connsiteX922" fmla="*/ 584445 w 699392"/>
                <a:gd name="connsiteY922" fmla="*/ 16554 h 834466"/>
                <a:gd name="connsiteX923" fmla="*/ 586387 w 699392"/>
                <a:gd name="connsiteY923" fmla="*/ 23593 h 834466"/>
                <a:gd name="connsiteX924" fmla="*/ 584825 w 699392"/>
                <a:gd name="connsiteY924" fmla="*/ 32737 h 834466"/>
                <a:gd name="connsiteX925" fmla="*/ 581692 w 699392"/>
                <a:gd name="connsiteY925" fmla="*/ 38538 h 834466"/>
                <a:gd name="connsiteX926" fmla="*/ 584006 w 699392"/>
                <a:gd name="connsiteY926" fmla="*/ 41196 h 834466"/>
                <a:gd name="connsiteX927" fmla="*/ 583568 w 699392"/>
                <a:gd name="connsiteY927" fmla="*/ 48054 h 834466"/>
                <a:gd name="connsiteX928" fmla="*/ 582844 w 699392"/>
                <a:gd name="connsiteY928" fmla="*/ 51854 h 834466"/>
                <a:gd name="connsiteX929" fmla="*/ 582387 w 699392"/>
                <a:gd name="connsiteY929" fmla="*/ 55826 h 834466"/>
                <a:gd name="connsiteX930" fmla="*/ 582416 w 699392"/>
                <a:gd name="connsiteY930" fmla="*/ 59312 h 834466"/>
                <a:gd name="connsiteX931" fmla="*/ 584588 w 699392"/>
                <a:gd name="connsiteY931" fmla="*/ 58379 h 834466"/>
                <a:gd name="connsiteX932" fmla="*/ 593227 w 699392"/>
                <a:gd name="connsiteY932" fmla="*/ 51216 h 834466"/>
                <a:gd name="connsiteX933" fmla="*/ 595417 w 699392"/>
                <a:gd name="connsiteY933" fmla="*/ 43425 h 834466"/>
                <a:gd name="connsiteX934" fmla="*/ 597446 w 699392"/>
                <a:gd name="connsiteY934" fmla="*/ 37557 h 834466"/>
                <a:gd name="connsiteX935" fmla="*/ 598418 w 699392"/>
                <a:gd name="connsiteY935" fmla="*/ 32480 h 834466"/>
                <a:gd name="connsiteX936" fmla="*/ 601780 w 699392"/>
                <a:gd name="connsiteY936" fmla="*/ 27651 h 834466"/>
                <a:gd name="connsiteX937" fmla="*/ 608124 w 699392"/>
                <a:gd name="connsiteY937" fmla="*/ 27613 h 834466"/>
                <a:gd name="connsiteX938" fmla="*/ 608372 w 699392"/>
                <a:gd name="connsiteY938" fmla="*/ 25708 h 834466"/>
                <a:gd name="connsiteX939" fmla="*/ 600675 w 699392"/>
                <a:gd name="connsiteY939" fmla="*/ 19069 h 834466"/>
                <a:gd name="connsiteX940" fmla="*/ 599770 w 699392"/>
                <a:gd name="connsiteY940" fmla="*/ 16031 h 834466"/>
                <a:gd name="connsiteX941" fmla="*/ 602352 w 699392"/>
                <a:gd name="connsiteY941" fmla="*/ 11973 h 834466"/>
                <a:gd name="connsiteX942" fmla="*/ 609448 w 699392"/>
                <a:gd name="connsiteY942" fmla="*/ 4200 h 834466"/>
                <a:gd name="connsiteX943" fmla="*/ 613096 w 699392"/>
                <a:gd name="connsiteY943" fmla="*/ 5058 h 834466"/>
                <a:gd name="connsiteX944" fmla="*/ 615277 w 699392"/>
                <a:gd name="connsiteY944" fmla="*/ 6829 h 834466"/>
                <a:gd name="connsiteX945" fmla="*/ 624011 w 699392"/>
                <a:gd name="connsiteY945" fmla="*/ 8182 h 834466"/>
                <a:gd name="connsiteX946" fmla="*/ 630717 w 699392"/>
                <a:gd name="connsiteY946" fmla="*/ 13735 h 834466"/>
                <a:gd name="connsiteX947" fmla="*/ 630460 w 699392"/>
                <a:gd name="connsiteY947" fmla="*/ 22393 h 834466"/>
                <a:gd name="connsiteX948" fmla="*/ 628965 w 699392"/>
                <a:gd name="connsiteY948" fmla="*/ 25994 h 834466"/>
                <a:gd name="connsiteX949" fmla="*/ 627498 w 699392"/>
                <a:gd name="connsiteY949" fmla="*/ 28204 h 834466"/>
                <a:gd name="connsiteX950" fmla="*/ 618916 w 699392"/>
                <a:gd name="connsiteY950" fmla="*/ 34719 h 834466"/>
                <a:gd name="connsiteX951" fmla="*/ 617506 w 699392"/>
                <a:gd name="connsiteY951" fmla="*/ 37929 h 834466"/>
                <a:gd name="connsiteX952" fmla="*/ 620202 w 699392"/>
                <a:gd name="connsiteY952" fmla="*/ 39033 h 834466"/>
                <a:gd name="connsiteX953" fmla="*/ 625993 w 699392"/>
                <a:gd name="connsiteY953" fmla="*/ 35795 h 834466"/>
                <a:gd name="connsiteX954" fmla="*/ 627498 w 699392"/>
                <a:gd name="connsiteY954" fmla="*/ 38738 h 834466"/>
                <a:gd name="connsiteX955" fmla="*/ 625650 w 699392"/>
                <a:gd name="connsiteY955" fmla="*/ 46072 h 834466"/>
                <a:gd name="connsiteX956" fmla="*/ 625335 w 699392"/>
                <a:gd name="connsiteY956" fmla="*/ 57017 h 834466"/>
                <a:gd name="connsiteX957" fmla="*/ 624669 w 699392"/>
                <a:gd name="connsiteY957" fmla="*/ 63370 h 834466"/>
                <a:gd name="connsiteX958" fmla="*/ 624669 w 699392"/>
                <a:gd name="connsiteY958" fmla="*/ 69142 h 834466"/>
                <a:gd name="connsiteX959" fmla="*/ 625393 w 699392"/>
                <a:gd name="connsiteY959" fmla="*/ 72238 h 834466"/>
                <a:gd name="connsiteX960" fmla="*/ 627726 w 699392"/>
                <a:gd name="connsiteY960" fmla="*/ 59950 h 834466"/>
                <a:gd name="connsiteX961" fmla="*/ 628517 w 699392"/>
                <a:gd name="connsiteY961" fmla="*/ 56779 h 834466"/>
                <a:gd name="connsiteX962" fmla="*/ 631927 w 699392"/>
                <a:gd name="connsiteY962" fmla="*/ 52121 h 834466"/>
                <a:gd name="connsiteX963" fmla="*/ 633193 w 699392"/>
                <a:gd name="connsiteY963" fmla="*/ 42701 h 834466"/>
                <a:gd name="connsiteX964" fmla="*/ 636527 w 699392"/>
                <a:gd name="connsiteY964" fmla="*/ 31318 h 834466"/>
                <a:gd name="connsiteX965" fmla="*/ 640289 w 699392"/>
                <a:gd name="connsiteY965" fmla="*/ 24670 h 834466"/>
                <a:gd name="connsiteX966" fmla="*/ 642471 w 699392"/>
                <a:gd name="connsiteY966" fmla="*/ 22850 h 834466"/>
                <a:gd name="connsiteX967" fmla="*/ 649710 w 699392"/>
                <a:gd name="connsiteY967" fmla="*/ 23108 h 834466"/>
                <a:gd name="connsiteX968" fmla="*/ 652815 w 699392"/>
                <a:gd name="connsiteY968" fmla="*/ 25613 h 834466"/>
                <a:gd name="connsiteX969" fmla="*/ 655558 w 699392"/>
                <a:gd name="connsiteY969" fmla="*/ 31166 h 834466"/>
                <a:gd name="connsiteX970" fmla="*/ 657606 w 699392"/>
                <a:gd name="connsiteY970" fmla="*/ 33385 h 834466"/>
                <a:gd name="connsiteX971" fmla="*/ 664064 w 699392"/>
                <a:gd name="connsiteY971" fmla="*/ 35738 h 834466"/>
                <a:gd name="connsiteX972" fmla="*/ 666274 w 699392"/>
                <a:gd name="connsiteY972" fmla="*/ 38681 h 834466"/>
                <a:gd name="connsiteX973" fmla="*/ 666683 w 699392"/>
                <a:gd name="connsiteY973" fmla="*/ 40434 h 834466"/>
                <a:gd name="connsiteX974" fmla="*/ 668264 w 699392"/>
                <a:gd name="connsiteY974" fmla="*/ 40786 h 834466"/>
                <a:gd name="connsiteX975" fmla="*/ 672627 w 699392"/>
                <a:gd name="connsiteY975" fmla="*/ 36605 h 834466"/>
                <a:gd name="connsiteX976" fmla="*/ 675456 w 699392"/>
                <a:gd name="connsiteY976" fmla="*/ 35909 h 834466"/>
                <a:gd name="connsiteX977" fmla="*/ 680066 w 699392"/>
                <a:gd name="connsiteY977" fmla="*/ 42424 h 834466"/>
                <a:gd name="connsiteX978" fmla="*/ 679142 w 699392"/>
                <a:gd name="connsiteY978" fmla="*/ 47234 h 834466"/>
                <a:gd name="connsiteX979" fmla="*/ 679409 w 699392"/>
                <a:gd name="connsiteY979" fmla="*/ 48759 h 834466"/>
                <a:gd name="connsiteX980" fmla="*/ 684990 w 699392"/>
                <a:gd name="connsiteY980" fmla="*/ 48454 h 834466"/>
                <a:gd name="connsiteX981" fmla="*/ 689639 w 699392"/>
                <a:gd name="connsiteY981" fmla="*/ 50340 h 834466"/>
                <a:gd name="connsiteX982" fmla="*/ 698468 w 699392"/>
                <a:gd name="connsiteY982" fmla="*/ 60131 h 834466"/>
                <a:gd name="connsiteX983" fmla="*/ 699392 w 699392"/>
                <a:gd name="connsiteY983" fmla="*/ 64684 h 834466"/>
                <a:gd name="connsiteX984" fmla="*/ 698954 w 699392"/>
                <a:gd name="connsiteY984" fmla="*/ 70190 h 834466"/>
                <a:gd name="connsiteX985" fmla="*/ 686210 w 699392"/>
                <a:gd name="connsiteY985" fmla="*/ 76219 h 834466"/>
                <a:gd name="connsiteX986" fmla="*/ 680704 w 699392"/>
                <a:gd name="connsiteY986" fmla="*/ 81972 h 834466"/>
                <a:gd name="connsiteX987" fmla="*/ 671693 w 699392"/>
                <a:gd name="connsiteY987" fmla="*/ 84182 h 834466"/>
                <a:gd name="connsiteX988" fmla="*/ 641099 w 699392"/>
                <a:gd name="connsiteY988" fmla="*/ 80334 h 834466"/>
                <a:gd name="connsiteX989" fmla="*/ 641718 w 699392"/>
                <a:gd name="connsiteY989" fmla="*/ 84496 h 834466"/>
                <a:gd name="connsiteX990" fmla="*/ 663026 w 699392"/>
                <a:gd name="connsiteY990" fmla="*/ 93555 h 834466"/>
                <a:gd name="connsiteX991" fmla="*/ 664245 w 699392"/>
                <a:gd name="connsiteY991" fmla="*/ 96136 h 834466"/>
                <a:gd name="connsiteX992" fmla="*/ 663559 w 699392"/>
                <a:gd name="connsiteY992" fmla="*/ 101546 h 834466"/>
                <a:gd name="connsiteX993" fmla="*/ 663550 w 699392"/>
                <a:gd name="connsiteY993" fmla="*/ 105880 h 834466"/>
                <a:gd name="connsiteX994" fmla="*/ 663950 w 699392"/>
                <a:gd name="connsiteY994" fmla="*/ 108833 h 834466"/>
                <a:gd name="connsiteX995" fmla="*/ 665522 w 699392"/>
                <a:gd name="connsiteY995" fmla="*/ 111576 h 834466"/>
                <a:gd name="connsiteX996" fmla="*/ 668121 w 699392"/>
                <a:gd name="connsiteY996" fmla="*/ 112862 h 834466"/>
                <a:gd name="connsiteX997" fmla="*/ 673427 w 699392"/>
                <a:gd name="connsiteY997" fmla="*/ 112185 h 834466"/>
                <a:gd name="connsiteX998" fmla="*/ 676037 w 699392"/>
                <a:gd name="connsiteY998" fmla="*/ 113662 h 834466"/>
                <a:gd name="connsiteX999" fmla="*/ 677828 w 699392"/>
                <a:gd name="connsiteY999" fmla="*/ 111481 h 834466"/>
                <a:gd name="connsiteX1000" fmla="*/ 678495 w 699392"/>
                <a:gd name="connsiteY1000" fmla="*/ 104118 h 834466"/>
                <a:gd name="connsiteX1001" fmla="*/ 680038 w 699392"/>
                <a:gd name="connsiteY1001" fmla="*/ 102489 h 834466"/>
                <a:gd name="connsiteX1002" fmla="*/ 683010 w 699392"/>
                <a:gd name="connsiteY1002" fmla="*/ 104632 h 834466"/>
                <a:gd name="connsiteX1003" fmla="*/ 684305 w 699392"/>
                <a:gd name="connsiteY1003" fmla="*/ 112500 h 834466"/>
                <a:gd name="connsiteX1004" fmla="*/ 685133 w 699392"/>
                <a:gd name="connsiteY1004" fmla="*/ 113309 h 834466"/>
                <a:gd name="connsiteX1005" fmla="*/ 686629 w 699392"/>
                <a:gd name="connsiteY1005" fmla="*/ 107709 h 834466"/>
                <a:gd name="connsiteX1006" fmla="*/ 689572 w 699392"/>
                <a:gd name="connsiteY1006" fmla="*/ 108109 h 834466"/>
                <a:gd name="connsiteX1007" fmla="*/ 692782 w 699392"/>
                <a:gd name="connsiteY1007" fmla="*/ 107642 h 834466"/>
                <a:gd name="connsiteX1008" fmla="*/ 696926 w 699392"/>
                <a:gd name="connsiteY1008" fmla="*/ 108566 h 834466"/>
                <a:gd name="connsiteX1009" fmla="*/ 498329 w 699392"/>
                <a:gd name="connsiteY1009" fmla="*/ 26746 h 834466"/>
                <a:gd name="connsiteX1010" fmla="*/ 497805 w 699392"/>
                <a:gd name="connsiteY1010" fmla="*/ 29299 h 834466"/>
                <a:gd name="connsiteX1011" fmla="*/ 496900 w 699392"/>
                <a:gd name="connsiteY1011" fmla="*/ 31775 h 834466"/>
                <a:gd name="connsiteX1012" fmla="*/ 494709 w 699392"/>
                <a:gd name="connsiteY1012" fmla="*/ 34385 h 834466"/>
                <a:gd name="connsiteX1013" fmla="*/ 488366 w 699392"/>
                <a:gd name="connsiteY1013" fmla="*/ 44682 h 834466"/>
                <a:gd name="connsiteX1014" fmla="*/ 484641 w 699392"/>
                <a:gd name="connsiteY1014" fmla="*/ 46330 h 834466"/>
                <a:gd name="connsiteX1015" fmla="*/ 483461 w 699392"/>
                <a:gd name="connsiteY1015" fmla="*/ 47939 h 834466"/>
                <a:gd name="connsiteX1016" fmla="*/ 481975 w 699392"/>
                <a:gd name="connsiteY1016" fmla="*/ 48901 h 834466"/>
                <a:gd name="connsiteX1017" fmla="*/ 477345 w 699392"/>
                <a:gd name="connsiteY1017" fmla="*/ 47501 h 834466"/>
                <a:gd name="connsiteX1018" fmla="*/ 475993 w 699392"/>
                <a:gd name="connsiteY1018" fmla="*/ 49578 h 834466"/>
                <a:gd name="connsiteX1019" fmla="*/ 474716 w 699392"/>
                <a:gd name="connsiteY1019" fmla="*/ 50968 h 834466"/>
                <a:gd name="connsiteX1020" fmla="*/ 471364 w 699392"/>
                <a:gd name="connsiteY1020" fmla="*/ 51502 h 834466"/>
                <a:gd name="connsiteX1021" fmla="*/ 469392 w 699392"/>
                <a:gd name="connsiteY1021" fmla="*/ 51054 h 834466"/>
                <a:gd name="connsiteX1022" fmla="*/ 464315 w 699392"/>
                <a:gd name="connsiteY1022" fmla="*/ 47263 h 834466"/>
                <a:gd name="connsiteX1023" fmla="*/ 461296 w 699392"/>
                <a:gd name="connsiteY1023" fmla="*/ 43148 h 834466"/>
                <a:gd name="connsiteX1024" fmla="*/ 459657 w 699392"/>
                <a:gd name="connsiteY1024" fmla="*/ 39624 h 834466"/>
                <a:gd name="connsiteX1025" fmla="*/ 464354 w 699392"/>
                <a:gd name="connsiteY1025" fmla="*/ 39691 h 834466"/>
                <a:gd name="connsiteX1026" fmla="*/ 466020 w 699392"/>
                <a:gd name="connsiteY1026" fmla="*/ 38833 h 834466"/>
                <a:gd name="connsiteX1027" fmla="*/ 469173 w 699392"/>
                <a:gd name="connsiteY1027" fmla="*/ 39576 h 834466"/>
                <a:gd name="connsiteX1028" fmla="*/ 471068 w 699392"/>
                <a:gd name="connsiteY1028" fmla="*/ 35947 h 834466"/>
                <a:gd name="connsiteX1029" fmla="*/ 475069 w 699392"/>
                <a:gd name="connsiteY1029" fmla="*/ 36385 h 834466"/>
                <a:gd name="connsiteX1030" fmla="*/ 482755 w 699392"/>
                <a:gd name="connsiteY1030" fmla="*/ 33861 h 834466"/>
                <a:gd name="connsiteX1031" fmla="*/ 485575 w 699392"/>
                <a:gd name="connsiteY1031" fmla="*/ 35271 h 834466"/>
                <a:gd name="connsiteX1032" fmla="*/ 492023 w 699392"/>
                <a:gd name="connsiteY1032" fmla="*/ 26803 h 834466"/>
                <a:gd name="connsiteX1033" fmla="*/ 494043 w 699392"/>
                <a:gd name="connsiteY1033" fmla="*/ 27022 h 834466"/>
                <a:gd name="connsiteX1034" fmla="*/ 497129 w 699392"/>
                <a:gd name="connsiteY1034" fmla="*/ 24594 h 834466"/>
                <a:gd name="connsiteX1035" fmla="*/ 498329 w 699392"/>
                <a:gd name="connsiteY1035" fmla="*/ 26746 h 834466"/>
                <a:gd name="connsiteX1036" fmla="*/ 513750 w 699392"/>
                <a:gd name="connsiteY1036" fmla="*/ 46815 h 834466"/>
                <a:gd name="connsiteX1037" fmla="*/ 508654 w 699392"/>
                <a:gd name="connsiteY1037" fmla="*/ 50016 h 834466"/>
                <a:gd name="connsiteX1038" fmla="*/ 505701 w 699392"/>
                <a:gd name="connsiteY1038" fmla="*/ 47263 h 834466"/>
                <a:gd name="connsiteX1039" fmla="*/ 504463 w 699392"/>
                <a:gd name="connsiteY1039" fmla="*/ 44434 h 834466"/>
                <a:gd name="connsiteX1040" fmla="*/ 504282 w 699392"/>
                <a:gd name="connsiteY1040" fmla="*/ 38138 h 834466"/>
                <a:gd name="connsiteX1041" fmla="*/ 504968 w 699392"/>
                <a:gd name="connsiteY1041" fmla="*/ 34290 h 834466"/>
                <a:gd name="connsiteX1042" fmla="*/ 507359 w 699392"/>
                <a:gd name="connsiteY1042" fmla="*/ 32299 h 834466"/>
                <a:gd name="connsiteX1043" fmla="*/ 508911 w 699392"/>
                <a:gd name="connsiteY1043" fmla="*/ 33757 h 834466"/>
                <a:gd name="connsiteX1044" fmla="*/ 509321 w 699392"/>
                <a:gd name="connsiteY1044" fmla="*/ 34976 h 834466"/>
                <a:gd name="connsiteX1045" fmla="*/ 512102 w 699392"/>
                <a:gd name="connsiteY1045" fmla="*/ 36166 h 834466"/>
                <a:gd name="connsiteX1046" fmla="*/ 515369 w 699392"/>
                <a:gd name="connsiteY1046" fmla="*/ 40129 h 834466"/>
                <a:gd name="connsiteX1047" fmla="*/ 513750 w 699392"/>
                <a:gd name="connsiteY1047" fmla="*/ 46815 h 834466"/>
                <a:gd name="connsiteX1048" fmla="*/ 503006 w 699392"/>
                <a:gd name="connsiteY1048" fmla="*/ 48263 h 834466"/>
                <a:gd name="connsiteX1049" fmla="*/ 503501 w 699392"/>
                <a:gd name="connsiteY1049" fmla="*/ 52016 h 834466"/>
                <a:gd name="connsiteX1050" fmla="*/ 503691 w 699392"/>
                <a:gd name="connsiteY1050" fmla="*/ 55102 h 834466"/>
                <a:gd name="connsiteX1051" fmla="*/ 501196 w 699392"/>
                <a:gd name="connsiteY1051" fmla="*/ 59550 h 834466"/>
                <a:gd name="connsiteX1052" fmla="*/ 495443 w 699392"/>
                <a:gd name="connsiteY1052" fmla="*/ 65370 h 834466"/>
                <a:gd name="connsiteX1053" fmla="*/ 495776 w 699392"/>
                <a:gd name="connsiteY1053" fmla="*/ 66932 h 834466"/>
                <a:gd name="connsiteX1054" fmla="*/ 493786 w 699392"/>
                <a:gd name="connsiteY1054" fmla="*/ 68428 h 834466"/>
                <a:gd name="connsiteX1055" fmla="*/ 490804 w 699392"/>
                <a:gd name="connsiteY1055" fmla="*/ 69523 h 834466"/>
                <a:gd name="connsiteX1056" fmla="*/ 489233 w 699392"/>
                <a:gd name="connsiteY1056" fmla="*/ 68466 h 834466"/>
                <a:gd name="connsiteX1057" fmla="*/ 489442 w 699392"/>
                <a:gd name="connsiteY1057" fmla="*/ 63484 h 834466"/>
                <a:gd name="connsiteX1058" fmla="*/ 488966 w 699392"/>
                <a:gd name="connsiteY1058" fmla="*/ 61998 h 834466"/>
                <a:gd name="connsiteX1059" fmla="*/ 486709 w 699392"/>
                <a:gd name="connsiteY1059" fmla="*/ 63979 h 834466"/>
                <a:gd name="connsiteX1060" fmla="*/ 484356 w 699392"/>
                <a:gd name="connsiteY1060" fmla="*/ 61436 h 834466"/>
                <a:gd name="connsiteX1061" fmla="*/ 484356 w 699392"/>
                <a:gd name="connsiteY1061" fmla="*/ 58883 h 834466"/>
                <a:gd name="connsiteX1062" fmla="*/ 484975 w 699392"/>
                <a:gd name="connsiteY1062" fmla="*/ 56664 h 834466"/>
                <a:gd name="connsiteX1063" fmla="*/ 487156 w 699392"/>
                <a:gd name="connsiteY1063" fmla="*/ 53283 h 834466"/>
                <a:gd name="connsiteX1064" fmla="*/ 490785 w 699392"/>
                <a:gd name="connsiteY1064" fmla="*/ 50949 h 834466"/>
                <a:gd name="connsiteX1065" fmla="*/ 493176 w 699392"/>
                <a:gd name="connsiteY1065" fmla="*/ 51825 h 834466"/>
                <a:gd name="connsiteX1066" fmla="*/ 501158 w 699392"/>
                <a:gd name="connsiteY1066" fmla="*/ 42843 h 834466"/>
                <a:gd name="connsiteX1067" fmla="*/ 502015 w 699392"/>
                <a:gd name="connsiteY1067" fmla="*/ 44729 h 834466"/>
                <a:gd name="connsiteX1068" fmla="*/ 503006 w 699392"/>
                <a:gd name="connsiteY1068" fmla="*/ 48263 h 834466"/>
                <a:gd name="connsiteX1069" fmla="*/ 400145 w 699392"/>
                <a:gd name="connsiteY1069" fmla="*/ 74724 h 834466"/>
                <a:gd name="connsiteX1070" fmla="*/ 401507 w 699392"/>
                <a:gd name="connsiteY1070" fmla="*/ 75648 h 834466"/>
                <a:gd name="connsiteX1071" fmla="*/ 402860 w 699392"/>
                <a:gd name="connsiteY1071" fmla="*/ 75076 h 834466"/>
                <a:gd name="connsiteX1072" fmla="*/ 403974 w 699392"/>
                <a:gd name="connsiteY1072" fmla="*/ 75886 h 834466"/>
                <a:gd name="connsiteX1073" fmla="*/ 406213 w 699392"/>
                <a:gd name="connsiteY1073" fmla="*/ 80039 h 834466"/>
                <a:gd name="connsiteX1074" fmla="*/ 408623 w 699392"/>
                <a:gd name="connsiteY1074" fmla="*/ 81667 h 834466"/>
                <a:gd name="connsiteX1075" fmla="*/ 408737 w 699392"/>
                <a:gd name="connsiteY1075" fmla="*/ 83744 h 834466"/>
                <a:gd name="connsiteX1076" fmla="*/ 406537 w 699392"/>
                <a:gd name="connsiteY1076" fmla="*/ 85763 h 834466"/>
                <a:gd name="connsiteX1077" fmla="*/ 403632 w 699392"/>
                <a:gd name="connsiteY1077" fmla="*/ 86373 h 834466"/>
                <a:gd name="connsiteX1078" fmla="*/ 400517 w 699392"/>
                <a:gd name="connsiteY1078" fmla="*/ 85668 h 834466"/>
                <a:gd name="connsiteX1079" fmla="*/ 399602 w 699392"/>
                <a:gd name="connsiteY1079" fmla="*/ 83077 h 834466"/>
                <a:gd name="connsiteX1080" fmla="*/ 398640 w 699392"/>
                <a:gd name="connsiteY1080" fmla="*/ 78762 h 834466"/>
                <a:gd name="connsiteX1081" fmla="*/ 396040 w 699392"/>
                <a:gd name="connsiteY1081" fmla="*/ 74524 h 834466"/>
                <a:gd name="connsiteX1082" fmla="*/ 395650 w 699392"/>
                <a:gd name="connsiteY1082" fmla="*/ 70799 h 834466"/>
                <a:gd name="connsiteX1083" fmla="*/ 397916 w 699392"/>
                <a:gd name="connsiteY1083" fmla="*/ 70209 h 834466"/>
                <a:gd name="connsiteX1084" fmla="*/ 400145 w 699392"/>
                <a:gd name="connsiteY1084" fmla="*/ 74724 h 834466"/>
                <a:gd name="connsiteX1085" fmla="*/ 386449 w 699392"/>
                <a:gd name="connsiteY1085" fmla="*/ 86544 h 834466"/>
                <a:gd name="connsiteX1086" fmla="*/ 388820 w 699392"/>
                <a:gd name="connsiteY1086" fmla="*/ 90802 h 834466"/>
                <a:gd name="connsiteX1087" fmla="*/ 390925 w 699392"/>
                <a:gd name="connsiteY1087" fmla="*/ 90392 h 834466"/>
                <a:gd name="connsiteX1088" fmla="*/ 391554 w 699392"/>
                <a:gd name="connsiteY1088" fmla="*/ 88792 h 834466"/>
                <a:gd name="connsiteX1089" fmla="*/ 392982 w 699392"/>
                <a:gd name="connsiteY1089" fmla="*/ 87992 h 834466"/>
                <a:gd name="connsiteX1090" fmla="*/ 395878 w 699392"/>
                <a:gd name="connsiteY1090" fmla="*/ 90249 h 834466"/>
                <a:gd name="connsiteX1091" fmla="*/ 395468 w 699392"/>
                <a:gd name="connsiteY1091" fmla="*/ 94069 h 834466"/>
                <a:gd name="connsiteX1092" fmla="*/ 391459 w 699392"/>
                <a:gd name="connsiteY1092" fmla="*/ 98879 h 834466"/>
                <a:gd name="connsiteX1093" fmla="*/ 388582 w 699392"/>
                <a:gd name="connsiteY1093" fmla="*/ 105718 h 834466"/>
                <a:gd name="connsiteX1094" fmla="*/ 384906 w 699392"/>
                <a:gd name="connsiteY1094" fmla="*/ 107299 h 834466"/>
                <a:gd name="connsiteX1095" fmla="*/ 383134 w 699392"/>
                <a:gd name="connsiteY1095" fmla="*/ 106480 h 834466"/>
                <a:gd name="connsiteX1096" fmla="*/ 379838 w 699392"/>
                <a:gd name="connsiteY1096" fmla="*/ 110414 h 834466"/>
                <a:gd name="connsiteX1097" fmla="*/ 377209 w 699392"/>
                <a:gd name="connsiteY1097" fmla="*/ 114491 h 834466"/>
                <a:gd name="connsiteX1098" fmla="*/ 374475 w 699392"/>
                <a:gd name="connsiteY1098" fmla="*/ 119634 h 834466"/>
                <a:gd name="connsiteX1099" fmla="*/ 374304 w 699392"/>
                <a:gd name="connsiteY1099" fmla="*/ 122282 h 834466"/>
                <a:gd name="connsiteX1100" fmla="*/ 373875 w 699392"/>
                <a:gd name="connsiteY1100" fmla="*/ 124301 h 834466"/>
                <a:gd name="connsiteX1101" fmla="*/ 363864 w 699392"/>
                <a:gd name="connsiteY1101" fmla="*/ 126301 h 834466"/>
                <a:gd name="connsiteX1102" fmla="*/ 360226 w 699392"/>
                <a:gd name="connsiteY1102" fmla="*/ 127625 h 834466"/>
                <a:gd name="connsiteX1103" fmla="*/ 356368 w 699392"/>
                <a:gd name="connsiteY1103" fmla="*/ 125921 h 834466"/>
                <a:gd name="connsiteX1104" fmla="*/ 354539 w 699392"/>
                <a:gd name="connsiteY1104" fmla="*/ 122530 h 834466"/>
                <a:gd name="connsiteX1105" fmla="*/ 355130 w 699392"/>
                <a:gd name="connsiteY1105" fmla="*/ 120691 h 834466"/>
                <a:gd name="connsiteX1106" fmla="*/ 358978 w 699392"/>
                <a:gd name="connsiteY1106" fmla="*/ 119958 h 834466"/>
                <a:gd name="connsiteX1107" fmla="*/ 359102 w 699392"/>
                <a:gd name="connsiteY1107" fmla="*/ 116805 h 834466"/>
                <a:gd name="connsiteX1108" fmla="*/ 360083 w 699392"/>
                <a:gd name="connsiteY1108" fmla="*/ 114881 h 834466"/>
                <a:gd name="connsiteX1109" fmla="*/ 361331 w 699392"/>
                <a:gd name="connsiteY1109" fmla="*/ 113824 h 834466"/>
                <a:gd name="connsiteX1110" fmla="*/ 362245 w 699392"/>
                <a:gd name="connsiteY1110" fmla="*/ 109785 h 834466"/>
                <a:gd name="connsiteX1111" fmla="*/ 363769 w 699392"/>
                <a:gd name="connsiteY1111" fmla="*/ 108728 h 834466"/>
                <a:gd name="connsiteX1112" fmla="*/ 366608 w 699392"/>
                <a:gd name="connsiteY1112" fmla="*/ 109718 h 834466"/>
                <a:gd name="connsiteX1113" fmla="*/ 368522 w 699392"/>
                <a:gd name="connsiteY1113" fmla="*/ 106785 h 834466"/>
                <a:gd name="connsiteX1114" fmla="*/ 369598 w 699392"/>
                <a:gd name="connsiteY1114" fmla="*/ 106280 h 834466"/>
                <a:gd name="connsiteX1115" fmla="*/ 370923 w 699392"/>
                <a:gd name="connsiteY1115" fmla="*/ 108709 h 834466"/>
                <a:gd name="connsiteX1116" fmla="*/ 371561 w 699392"/>
                <a:gd name="connsiteY1116" fmla="*/ 105366 h 834466"/>
                <a:gd name="connsiteX1117" fmla="*/ 370923 w 699392"/>
                <a:gd name="connsiteY1117" fmla="*/ 102308 h 834466"/>
                <a:gd name="connsiteX1118" fmla="*/ 371256 w 699392"/>
                <a:gd name="connsiteY1118" fmla="*/ 100241 h 834466"/>
                <a:gd name="connsiteX1119" fmla="*/ 374923 w 699392"/>
                <a:gd name="connsiteY1119" fmla="*/ 94859 h 834466"/>
                <a:gd name="connsiteX1120" fmla="*/ 376514 w 699392"/>
                <a:gd name="connsiteY1120" fmla="*/ 90926 h 834466"/>
                <a:gd name="connsiteX1121" fmla="*/ 378800 w 699392"/>
                <a:gd name="connsiteY1121" fmla="*/ 88382 h 834466"/>
                <a:gd name="connsiteX1122" fmla="*/ 381000 w 699392"/>
                <a:gd name="connsiteY1122" fmla="*/ 88783 h 834466"/>
                <a:gd name="connsiteX1123" fmla="*/ 381638 w 699392"/>
                <a:gd name="connsiteY1123" fmla="*/ 85030 h 834466"/>
                <a:gd name="connsiteX1124" fmla="*/ 381000 w 699392"/>
                <a:gd name="connsiteY1124" fmla="*/ 81182 h 834466"/>
                <a:gd name="connsiteX1125" fmla="*/ 381238 w 699392"/>
                <a:gd name="connsiteY1125" fmla="*/ 78667 h 834466"/>
                <a:gd name="connsiteX1126" fmla="*/ 383181 w 699392"/>
                <a:gd name="connsiteY1126" fmla="*/ 72552 h 834466"/>
                <a:gd name="connsiteX1127" fmla="*/ 385315 w 699392"/>
                <a:gd name="connsiteY1127" fmla="*/ 72295 h 834466"/>
                <a:gd name="connsiteX1128" fmla="*/ 386296 w 699392"/>
                <a:gd name="connsiteY1128" fmla="*/ 77733 h 834466"/>
                <a:gd name="connsiteX1129" fmla="*/ 386449 w 699392"/>
                <a:gd name="connsiteY1129" fmla="*/ 86544 h 834466"/>
                <a:gd name="connsiteX1130" fmla="*/ 427187 w 699392"/>
                <a:gd name="connsiteY1130" fmla="*/ 84715 h 834466"/>
                <a:gd name="connsiteX1131" fmla="*/ 425748 w 699392"/>
                <a:gd name="connsiteY1131" fmla="*/ 86535 h 834466"/>
                <a:gd name="connsiteX1132" fmla="*/ 423539 w 699392"/>
                <a:gd name="connsiteY1132" fmla="*/ 87278 h 834466"/>
                <a:gd name="connsiteX1133" fmla="*/ 422348 w 699392"/>
                <a:gd name="connsiteY1133" fmla="*/ 86154 h 834466"/>
                <a:gd name="connsiteX1134" fmla="*/ 420653 w 699392"/>
                <a:gd name="connsiteY1134" fmla="*/ 85411 h 834466"/>
                <a:gd name="connsiteX1135" fmla="*/ 418767 w 699392"/>
                <a:gd name="connsiteY1135" fmla="*/ 85744 h 834466"/>
                <a:gd name="connsiteX1136" fmla="*/ 417186 w 699392"/>
                <a:gd name="connsiteY1136" fmla="*/ 82401 h 834466"/>
                <a:gd name="connsiteX1137" fmla="*/ 417366 w 699392"/>
                <a:gd name="connsiteY1137" fmla="*/ 79591 h 834466"/>
                <a:gd name="connsiteX1138" fmla="*/ 419528 w 699392"/>
                <a:gd name="connsiteY1138" fmla="*/ 75781 h 834466"/>
                <a:gd name="connsiteX1139" fmla="*/ 423863 w 699392"/>
                <a:gd name="connsiteY1139" fmla="*/ 73609 h 834466"/>
                <a:gd name="connsiteX1140" fmla="*/ 427368 w 699392"/>
                <a:gd name="connsiteY1140" fmla="*/ 74505 h 834466"/>
                <a:gd name="connsiteX1141" fmla="*/ 428263 w 699392"/>
                <a:gd name="connsiteY1141" fmla="*/ 75619 h 834466"/>
                <a:gd name="connsiteX1142" fmla="*/ 427187 w 699392"/>
                <a:gd name="connsiteY1142" fmla="*/ 84715 h 834466"/>
                <a:gd name="connsiteX1143" fmla="*/ 672503 w 699392"/>
                <a:gd name="connsiteY1143" fmla="*/ 107537 h 834466"/>
                <a:gd name="connsiteX1144" fmla="*/ 667426 w 699392"/>
                <a:gd name="connsiteY1144" fmla="*/ 109795 h 834466"/>
                <a:gd name="connsiteX1145" fmla="*/ 666836 w 699392"/>
                <a:gd name="connsiteY1145" fmla="*/ 107937 h 834466"/>
                <a:gd name="connsiteX1146" fmla="*/ 667951 w 699392"/>
                <a:gd name="connsiteY1146" fmla="*/ 105042 h 834466"/>
                <a:gd name="connsiteX1147" fmla="*/ 669284 w 699392"/>
                <a:gd name="connsiteY1147" fmla="*/ 99098 h 834466"/>
                <a:gd name="connsiteX1148" fmla="*/ 671370 w 699392"/>
                <a:gd name="connsiteY1148" fmla="*/ 99336 h 834466"/>
                <a:gd name="connsiteX1149" fmla="*/ 673485 w 699392"/>
                <a:gd name="connsiteY1149" fmla="*/ 101603 h 834466"/>
                <a:gd name="connsiteX1150" fmla="*/ 675141 w 699392"/>
                <a:gd name="connsiteY1150" fmla="*/ 104308 h 834466"/>
                <a:gd name="connsiteX1151" fmla="*/ 672503 w 699392"/>
                <a:gd name="connsiteY1151" fmla="*/ 107537 h 834466"/>
                <a:gd name="connsiteX1152" fmla="*/ 339614 w 699392"/>
                <a:gd name="connsiteY1152" fmla="*/ 122968 h 834466"/>
                <a:gd name="connsiteX1153" fmla="*/ 342824 w 699392"/>
                <a:gd name="connsiteY1153" fmla="*/ 127340 h 834466"/>
                <a:gd name="connsiteX1154" fmla="*/ 344262 w 699392"/>
                <a:gd name="connsiteY1154" fmla="*/ 126006 h 834466"/>
                <a:gd name="connsiteX1155" fmla="*/ 347110 w 699392"/>
                <a:gd name="connsiteY1155" fmla="*/ 125501 h 834466"/>
                <a:gd name="connsiteX1156" fmla="*/ 349225 w 699392"/>
                <a:gd name="connsiteY1156" fmla="*/ 127044 h 834466"/>
                <a:gd name="connsiteX1157" fmla="*/ 350958 w 699392"/>
                <a:gd name="connsiteY1157" fmla="*/ 129816 h 834466"/>
                <a:gd name="connsiteX1158" fmla="*/ 353006 w 699392"/>
                <a:gd name="connsiteY1158" fmla="*/ 129940 h 834466"/>
                <a:gd name="connsiteX1159" fmla="*/ 354292 w 699392"/>
                <a:gd name="connsiteY1159" fmla="*/ 133560 h 834466"/>
                <a:gd name="connsiteX1160" fmla="*/ 354949 w 699392"/>
                <a:gd name="connsiteY1160" fmla="*/ 138255 h 834466"/>
                <a:gd name="connsiteX1161" fmla="*/ 353463 w 699392"/>
                <a:gd name="connsiteY1161" fmla="*/ 141751 h 834466"/>
                <a:gd name="connsiteX1162" fmla="*/ 351349 w 699392"/>
                <a:gd name="connsiteY1162" fmla="*/ 143342 h 834466"/>
                <a:gd name="connsiteX1163" fmla="*/ 350777 w 699392"/>
                <a:gd name="connsiteY1163" fmla="*/ 147447 h 834466"/>
                <a:gd name="connsiteX1164" fmla="*/ 351577 w 699392"/>
                <a:gd name="connsiteY1164" fmla="*/ 153191 h 834466"/>
                <a:gd name="connsiteX1165" fmla="*/ 346834 w 699392"/>
                <a:gd name="connsiteY1165" fmla="*/ 155153 h 834466"/>
                <a:gd name="connsiteX1166" fmla="*/ 341348 w 699392"/>
                <a:gd name="connsiteY1166" fmla="*/ 156029 h 834466"/>
                <a:gd name="connsiteX1167" fmla="*/ 339195 w 699392"/>
                <a:gd name="connsiteY1167" fmla="*/ 153286 h 834466"/>
                <a:gd name="connsiteX1168" fmla="*/ 334813 w 699392"/>
                <a:gd name="connsiteY1168" fmla="*/ 158296 h 834466"/>
                <a:gd name="connsiteX1169" fmla="*/ 330461 w 699392"/>
                <a:gd name="connsiteY1169" fmla="*/ 166078 h 834466"/>
                <a:gd name="connsiteX1170" fmla="*/ 328365 w 699392"/>
                <a:gd name="connsiteY1170" fmla="*/ 166992 h 834466"/>
                <a:gd name="connsiteX1171" fmla="*/ 328213 w 699392"/>
                <a:gd name="connsiteY1171" fmla="*/ 164535 h 834466"/>
                <a:gd name="connsiteX1172" fmla="*/ 325088 w 699392"/>
                <a:gd name="connsiteY1172" fmla="*/ 162830 h 834466"/>
                <a:gd name="connsiteX1173" fmla="*/ 321088 w 699392"/>
                <a:gd name="connsiteY1173" fmla="*/ 162735 h 834466"/>
                <a:gd name="connsiteX1174" fmla="*/ 321221 w 699392"/>
                <a:gd name="connsiteY1174" fmla="*/ 160906 h 834466"/>
                <a:gd name="connsiteX1175" fmla="*/ 321955 w 699392"/>
                <a:gd name="connsiteY1175" fmla="*/ 159620 h 834466"/>
                <a:gd name="connsiteX1176" fmla="*/ 325403 w 699392"/>
                <a:gd name="connsiteY1176" fmla="*/ 157705 h 834466"/>
                <a:gd name="connsiteX1177" fmla="*/ 326088 w 699392"/>
                <a:gd name="connsiteY1177" fmla="*/ 153743 h 834466"/>
                <a:gd name="connsiteX1178" fmla="*/ 325460 w 699392"/>
                <a:gd name="connsiteY1178" fmla="*/ 146656 h 834466"/>
                <a:gd name="connsiteX1179" fmla="*/ 326070 w 699392"/>
                <a:gd name="connsiteY1179" fmla="*/ 143199 h 834466"/>
                <a:gd name="connsiteX1180" fmla="*/ 326203 w 699392"/>
                <a:gd name="connsiteY1180" fmla="*/ 140818 h 834466"/>
                <a:gd name="connsiteX1181" fmla="*/ 328375 w 699392"/>
                <a:gd name="connsiteY1181" fmla="*/ 138017 h 834466"/>
                <a:gd name="connsiteX1182" fmla="*/ 335804 w 699392"/>
                <a:gd name="connsiteY1182" fmla="*/ 139332 h 834466"/>
                <a:gd name="connsiteX1183" fmla="*/ 336709 w 699392"/>
                <a:gd name="connsiteY1183" fmla="*/ 136655 h 834466"/>
                <a:gd name="connsiteX1184" fmla="*/ 336147 w 699392"/>
                <a:gd name="connsiteY1184" fmla="*/ 134969 h 834466"/>
                <a:gd name="connsiteX1185" fmla="*/ 332308 w 699392"/>
                <a:gd name="connsiteY1185" fmla="*/ 132017 h 834466"/>
                <a:gd name="connsiteX1186" fmla="*/ 332899 w 699392"/>
                <a:gd name="connsiteY1186" fmla="*/ 130026 h 834466"/>
                <a:gd name="connsiteX1187" fmla="*/ 335671 w 699392"/>
                <a:gd name="connsiteY1187" fmla="*/ 128245 h 834466"/>
                <a:gd name="connsiteX1188" fmla="*/ 338290 w 699392"/>
                <a:gd name="connsiteY1188" fmla="*/ 128006 h 834466"/>
                <a:gd name="connsiteX1189" fmla="*/ 339080 w 699392"/>
                <a:gd name="connsiteY1189" fmla="*/ 124997 h 834466"/>
                <a:gd name="connsiteX1190" fmla="*/ 339214 w 699392"/>
                <a:gd name="connsiteY1190" fmla="*/ 123673 h 834466"/>
                <a:gd name="connsiteX1191" fmla="*/ 339614 w 699392"/>
                <a:gd name="connsiteY1191" fmla="*/ 122968 h 834466"/>
                <a:gd name="connsiteX1192" fmla="*/ 293027 w 699392"/>
                <a:gd name="connsiteY1192" fmla="*/ 200406 h 834466"/>
                <a:gd name="connsiteX1193" fmla="*/ 293351 w 699392"/>
                <a:gd name="connsiteY1193" fmla="*/ 200920 h 834466"/>
                <a:gd name="connsiteX1194" fmla="*/ 296989 w 699392"/>
                <a:gd name="connsiteY1194" fmla="*/ 193872 h 834466"/>
                <a:gd name="connsiteX1195" fmla="*/ 301028 w 699392"/>
                <a:gd name="connsiteY1195" fmla="*/ 191672 h 834466"/>
                <a:gd name="connsiteX1196" fmla="*/ 301276 w 699392"/>
                <a:gd name="connsiteY1196" fmla="*/ 189205 h 834466"/>
                <a:gd name="connsiteX1197" fmla="*/ 302838 w 699392"/>
                <a:gd name="connsiteY1197" fmla="*/ 186823 h 834466"/>
                <a:gd name="connsiteX1198" fmla="*/ 302657 w 699392"/>
                <a:gd name="connsiteY1198" fmla="*/ 182918 h 834466"/>
                <a:gd name="connsiteX1199" fmla="*/ 303448 w 699392"/>
                <a:gd name="connsiteY1199" fmla="*/ 179746 h 834466"/>
                <a:gd name="connsiteX1200" fmla="*/ 305505 w 699392"/>
                <a:gd name="connsiteY1200" fmla="*/ 178899 h 834466"/>
                <a:gd name="connsiteX1201" fmla="*/ 306791 w 699392"/>
                <a:gd name="connsiteY1201" fmla="*/ 177822 h 834466"/>
                <a:gd name="connsiteX1202" fmla="*/ 308210 w 699392"/>
                <a:gd name="connsiteY1202" fmla="*/ 177222 h 834466"/>
                <a:gd name="connsiteX1203" fmla="*/ 310792 w 699392"/>
                <a:gd name="connsiteY1203" fmla="*/ 179803 h 834466"/>
                <a:gd name="connsiteX1204" fmla="*/ 312239 w 699392"/>
                <a:gd name="connsiteY1204" fmla="*/ 182661 h 834466"/>
                <a:gd name="connsiteX1205" fmla="*/ 314049 w 699392"/>
                <a:gd name="connsiteY1205" fmla="*/ 189024 h 834466"/>
                <a:gd name="connsiteX1206" fmla="*/ 313297 w 699392"/>
                <a:gd name="connsiteY1206" fmla="*/ 195158 h 834466"/>
                <a:gd name="connsiteX1207" fmla="*/ 308448 w 699392"/>
                <a:gd name="connsiteY1207" fmla="*/ 199930 h 834466"/>
                <a:gd name="connsiteX1208" fmla="*/ 304600 w 699392"/>
                <a:gd name="connsiteY1208" fmla="*/ 202073 h 834466"/>
                <a:gd name="connsiteX1209" fmla="*/ 300704 w 699392"/>
                <a:gd name="connsiteY1209" fmla="*/ 207521 h 834466"/>
                <a:gd name="connsiteX1210" fmla="*/ 298752 w 699392"/>
                <a:gd name="connsiteY1210" fmla="*/ 211969 h 834466"/>
                <a:gd name="connsiteX1211" fmla="*/ 297066 w 699392"/>
                <a:gd name="connsiteY1211" fmla="*/ 212931 h 834466"/>
                <a:gd name="connsiteX1212" fmla="*/ 296009 w 699392"/>
                <a:gd name="connsiteY1212" fmla="*/ 212569 h 834466"/>
                <a:gd name="connsiteX1213" fmla="*/ 295066 w 699392"/>
                <a:gd name="connsiteY1213" fmla="*/ 211503 h 834466"/>
                <a:gd name="connsiteX1214" fmla="*/ 293094 w 699392"/>
                <a:gd name="connsiteY1214" fmla="*/ 211503 h 834466"/>
                <a:gd name="connsiteX1215" fmla="*/ 290922 w 699392"/>
                <a:gd name="connsiteY1215" fmla="*/ 215351 h 834466"/>
                <a:gd name="connsiteX1216" fmla="*/ 284369 w 699392"/>
                <a:gd name="connsiteY1216" fmla="*/ 218475 h 834466"/>
                <a:gd name="connsiteX1217" fmla="*/ 281797 w 699392"/>
                <a:gd name="connsiteY1217" fmla="*/ 217570 h 834466"/>
                <a:gd name="connsiteX1218" fmla="*/ 281683 w 699392"/>
                <a:gd name="connsiteY1218" fmla="*/ 213741 h 834466"/>
                <a:gd name="connsiteX1219" fmla="*/ 280149 w 699392"/>
                <a:gd name="connsiteY1219" fmla="*/ 214055 h 834466"/>
                <a:gd name="connsiteX1220" fmla="*/ 277692 w 699392"/>
                <a:gd name="connsiteY1220" fmla="*/ 218646 h 834466"/>
                <a:gd name="connsiteX1221" fmla="*/ 275291 w 699392"/>
                <a:gd name="connsiteY1221" fmla="*/ 220180 h 834466"/>
                <a:gd name="connsiteX1222" fmla="*/ 273682 w 699392"/>
                <a:gd name="connsiteY1222" fmla="*/ 220647 h 834466"/>
                <a:gd name="connsiteX1223" fmla="*/ 270720 w 699392"/>
                <a:gd name="connsiteY1223" fmla="*/ 218923 h 834466"/>
                <a:gd name="connsiteX1224" fmla="*/ 262757 w 699392"/>
                <a:gd name="connsiteY1224" fmla="*/ 226714 h 834466"/>
                <a:gd name="connsiteX1225" fmla="*/ 255289 w 699392"/>
                <a:gd name="connsiteY1225" fmla="*/ 228162 h 834466"/>
                <a:gd name="connsiteX1226" fmla="*/ 252832 w 699392"/>
                <a:gd name="connsiteY1226" fmla="*/ 227267 h 834466"/>
                <a:gd name="connsiteX1227" fmla="*/ 252822 w 699392"/>
                <a:gd name="connsiteY1227" fmla="*/ 222504 h 834466"/>
                <a:gd name="connsiteX1228" fmla="*/ 257651 w 699392"/>
                <a:gd name="connsiteY1228" fmla="*/ 216389 h 834466"/>
                <a:gd name="connsiteX1229" fmla="*/ 261604 w 699392"/>
                <a:gd name="connsiteY1229" fmla="*/ 212131 h 834466"/>
                <a:gd name="connsiteX1230" fmla="*/ 275225 w 699392"/>
                <a:gd name="connsiteY1230" fmla="*/ 209150 h 834466"/>
                <a:gd name="connsiteX1231" fmla="*/ 283712 w 699392"/>
                <a:gd name="connsiteY1231" fmla="*/ 196425 h 834466"/>
                <a:gd name="connsiteX1232" fmla="*/ 285760 w 699392"/>
                <a:gd name="connsiteY1232" fmla="*/ 182489 h 834466"/>
                <a:gd name="connsiteX1233" fmla="*/ 287760 w 699392"/>
                <a:gd name="connsiteY1233" fmla="*/ 177422 h 834466"/>
                <a:gd name="connsiteX1234" fmla="*/ 286817 w 699392"/>
                <a:gd name="connsiteY1234" fmla="*/ 174555 h 834466"/>
                <a:gd name="connsiteX1235" fmla="*/ 284540 w 699392"/>
                <a:gd name="connsiteY1235" fmla="*/ 174050 h 834466"/>
                <a:gd name="connsiteX1236" fmla="*/ 284398 w 699392"/>
                <a:gd name="connsiteY1236" fmla="*/ 169631 h 834466"/>
                <a:gd name="connsiteX1237" fmla="*/ 285588 w 699392"/>
                <a:gd name="connsiteY1237" fmla="*/ 164792 h 834466"/>
                <a:gd name="connsiteX1238" fmla="*/ 290036 w 699392"/>
                <a:gd name="connsiteY1238" fmla="*/ 158125 h 834466"/>
                <a:gd name="connsiteX1239" fmla="*/ 292513 w 699392"/>
                <a:gd name="connsiteY1239" fmla="*/ 155277 h 834466"/>
                <a:gd name="connsiteX1240" fmla="*/ 296542 w 699392"/>
                <a:gd name="connsiteY1240" fmla="*/ 147190 h 834466"/>
                <a:gd name="connsiteX1241" fmla="*/ 298485 w 699392"/>
                <a:gd name="connsiteY1241" fmla="*/ 145370 h 834466"/>
                <a:gd name="connsiteX1242" fmla="*/ 300695 w 699392"/>
                <a:gd name="connsiteY1242" fmla="*/ 145370 h 834466"/>
                <a:gd name="connsiteX1243" fmla="*/ 302876 w 699392"/>
                <a:gd name="connsiteY1243" fmla="*/ 147495 h 834466"/>
                <a:gd name="connsiteX1244" fmla="*/ 302486 w 699392"/>
                <a:gd name="connsiteY1244" fmla="*/ 151829 h 834466"/>
                <a:gd name="connsiteX1245" fmla="*/ 299218 w 699392"/>
                <a:gd name="connsiteY1245" fmla="*/ 159620 h 834466"/>
                <a:gd name="connsiteX1246" fmla="*/ 294380 w 699392"/>
                <a:gd name="connsiteY1246" fmla="*/ 166230 h 834466"/>
                <a:gd name="connsiteX1247" fmla="*/ 294970 w 699392"/>
                <a:gd name="connsiteY1247" fmla="*/ 170964 h 834466"/>
                <a:gd name="connsiteX1248" fmla="*/ 296894 w 699392"/>
                <a:gd name="connsiteY1248" fmla="*/ 174841 h 834466"/>
                <a:gd name="connsiteX1249" fmla="*/ 297371 w 699392"/>
                <a:gd name="connsiteY1249" fmla="*/ 181451 h 834466"/>
                <a:gd name="connsiteX1250" fmla="*/ 297495 w 699392"/>
                <a:gd name="connsiteY1250" fmla="*/ 187795 h 834466"/>
                <a:gd name="connsiteX1251" fmla="*/ 293827 w 699392"/>
                <a:gd name="connsiteY1251" fmla="*/ 196329 h 834466"/>
                <a:gd name="connsiteX1252" fmla="*/ 293027 w 699392"/>
                <a:gd name="connsiteY1252" fmla="*/ 200406 h 834466"/>
                <a:gd name="connsiteX1253" fmla="*/ 278235 w 699392"/>
                <a:gd name="connsiteY1253" fmla="*/ 172260 h 834466"/>
                <a:gd name="connsiteX1254" fmla="*/ 281711 w 699392"/>
                <a:gd name="connsiteY1254" fmla="*/ 179727 h 834466"/>
                <a:gd name="connsiteX1255" fmla="*/ 283302 w 699392"/>
                <a:gd name="connsiteY1255" fmla="*/ 184080 h 834466"/>
                <a:gd name="connsiteX1256" fmla="*/ 282017 w 699392"/>
                <a:gd name="connsiteY1256" fmla="*/ 192262 h 834466"/>
                <a:gd name="connsiteX1257" fmla="*/ 278635 w 699392"/>
                <a:gd name="connsiteY1257" fmla="*/ 196377 h 834466"/>
                <a:gd name="connsiteX1258" fmla="*/ 273425 w 699392"/>
                <a:gd name="connsiteY1258" fmla="*/ 197110 h 834466"/>
                <a:gd name="connsiteX1259" fmla="*/ 269767 w 699392"/>
                <a:gd name="connsiteY1259" fmla="*/ 196768 h 834466"/>
                <a:gd name="connsiteX1260" fmla="*/ 267462 w 699392"/>
                <a:gd name="connsiteY1260" fmla="*/ 194786 h 834466"/>
                <a:gd name="connsiteX1261" fmla="*/ 267176 w 699392"/>
                <a:gd name="connsiteY1261" fmla="*/ 192567 h 834466"/>
                <a:gd name="connsiteX1262" fmla="*/ 265843 w 699392"/>
                <a:gd name="connsiteY1262" fmla="*/ 191910 h 834466"/>
                <a:gd name="connsiteX1263" fmla="*/ 262328 w 699392"/>
                <a:gd name="connsiteY1263" fmla="*/ 194767 h 834466"/>
                <a:gd name="connsiteX1264" fmla="*/ 259890 w 699392"/>
                <a:gd name="connsiteY1264" fmla="*/ 195148 h 834466"/>
                <a:gd name="connsiteX1265" fmla="*/ 256784 w 699392"/>
                <a:gd name="connsiteY1265" fmla="*/ 192938 h 834466"/>
                <a:gd name="connsiteX1266" fmla="*/ 255947 w 699392"/>
                <a:gd name="connsiteY1266" fmla="*/ 189395 h 834466"/>
                <a:gd name="connsiteX1267" fmla="*/ 259242 w 699392"/>
                <a:gd name="connsiteY1267" fmla="*/ 184947 h 834466"/>
                <a:gd name="connsiteX1268" fmla="*/ 260766 w 699392"/>
                <a:gd name="connsiteY1268" fmla="*/ 181480 h 834466"/>
                <a:gd name="connsiteX1269" fmla="*/ 264414 w 699392"/>
                <a:gd name="connsiteY1269" fmla="*/ 181785 h 834466"/>
                <a:gd name="connsiteX1270" fmla="*/ 265329 w 699392"/>
                <a:gd name="connsiteY1270" fmla="*/ 182861 h 834466"/>
                <a:gd name="connsiteX1271" fmla="*/ 267395 w 699392"/>
                <a:gd name="connsiteY1271" fmla="*/ 183537 h 834466"/>
                <a:gd name="connsiteX1272" fmla="*/ 268653 w 699392"/>
                <a:gd name="connsiteY1272" fmla="*/ 179356 h 834466"/>
                <a:gd name="connsiteX1273" fmla="*/ 268367 w 699392"/>
                <a:gd name="connsiteY1273" fmla="*/ 176460 h 834466"/>
                <a:gd name="connsiteX1274" fmla="*/ 269291 w 699392"/>
                <a:gd name="connsiteY1274" fmla="*/ 174441 h 834466"/>
                <a:gd name="connsiteX1275" fmla="*/ 273701 w 699392"/>
                <a:gd name="connsiteY1275" fmla="*/ 175898 h 834466"/>
                <a:gd name="connsiteX1276" fmla="*/ 273711 w 699392"/>
                <a:gd name="connsiteY1276" fmla="*/ 167992 h 834466"/>
                <a:gd name="connsiteX1277" fmla="*/ 275425 w 699392"/>
                <a:gd name="connsiteY1277" fmla="*/ 167440 h 834466"/>
                <a:gd name="connsiteX1278" fmla="*/ 276130 w 699392"/>
                <a:gd name="connsiteY1278" fmla="*/ 167745 h 834466"/>
                <a:gd name="connsiteX1279" fmla="*/ 277396 w 699392"/>
                <a:gd name="connsiteY1279" fmla="*/ 169412 h 834466"/>
                <a:gd name="connsiteX1280" fmla="*/ 278235 w 699392"/>
                <a:gd name="connsiteY1280" fmla="*/ 172260 h 834466"/>
                <a:gd name="connsiteX1281" fmla="*/ 242573 w 699392"/>
                <a:gd name="connsiteY1281" fmla="*/ 221875 h 834466"/>
                <a:gd name="connsiteX1282" fmla="*/ 244164 w 699392"/>
                <a:gd name="connsiteY1282" fmla="*/ 223104 h 834466"/>
                <a:gd name="connsiteX1283" fmla="*/ 248317 w 699392"/>
                <a:gd name="connsiteY1283" fmla="*/ 222742 h 834466"/>
                <a:gd name="connsiteX1284" fmla="*/ 249155 w 699392"/>
                <a:gd name="connsiteY1284" fmla="*/ 223199 h 834466"/>
                <a:gd name="connsiteX1285" fmla="*/ 248555 w 699392"/>
                <a:gd name="connsiteY1285" fmla="*/ 225228 h 834466"/>
                <a:gd name="connsiteX1286" fmla="*/ 246755 w 699392"/>
                <a:gd name="connsiteY1286" fmla="*/ 227457 h 834466"/>
                <a:gd name="connsiteX1287" fmla="*/ 242974 w 699392"/>
                <a:gd name="connsiteY1287" fmla="*/ 228829 h 834466"/>
                <a:gd name="connsiteX1288" fmla="*/ 241268 w 699392"/>
                <a:gd name="connsiteY1288" fmla="*/ 232229 h 834466"/>
                <a:gd name="connsiteX1289" fmla="*/ 240049 w 699392"/>
                <a:gd name="connsiteY1289" fmla="*/ 233382 h 834466"/>
                <a:gd name="connsiteX1290" fmla="*/ 236782 w 699392"/>
                <a:gd name="connsiteY1290" fmla="*/ 233391 h 834466"/>
                <a:gd name="connsiteX1291" fmla="*/ 234848 w 699392"/>
                <a:gd name="connsiteY1291" fmla="*/ 234182 h 834466"/>
                <a:gd name="connsiteX1292" fmla="*/ 232477 w 699392"/>
                <a:gd name="connsiteY1292" fmla="*/ 237191 h 834466"/>
                <a:gd name="connsiteX1293" fmla="*/ 230581 w 699392"/>
                <a:gd name="connsiteY1293" fmla="*/ 234972 h 834466"/>
                <a:gd name="connsiteX1294" fmla="*/ 230048 w 699392"/>
                <a:gd name="connsiteY1294" fmla="*/ 236553 h 834466"/>
                <a:gd name="connsiteX1295" fmla="*/ 229705 w 699392"/>
                <a:gd name="connsiteY1295" fmla="*/ 239373 h 834466"/>
                <a:gd name="connsiteX1296" fmla="*/ 228648 w 699392"/>
                <a:gd name="connsiteY1296" fmla="*/ 240192 h 834466"/>
                <a:gd name="connsiteX1297" fmla="*/ 225371 w 699392"/>
                <a:gd name="connsiteY1297" fmla="*/ 241211 h 834466"/>
                <a:gd name="connsiteX1298" fmla="*/ 224580 w 699392"/>
                <a:gd name="connsiteY1298" fmla="*/ 234648 h 834466"/>
                <a:gd name="connsiteX1299" fmla="*/ 226086 w 699392"/>
                <a:gd name="connsiteY1299" fmla="*/ 232267 h 834466"/>
                <a:gd name="connsiteX1300" fmla="*/ 227266 w 699392"/>
                <a:gd name="connsiteY1300" fmla="*/ 229410 h 834466"/>
                <a:gd name="connsiteX1301" fmla="*/ 229076 w 699392"/>
                <a:gd name="connsiteY1301" fmla="*/ 228971 h 834466"/>
                <a:gd name="connsiteX1302" fmla="*/ 230696 w 699392"/>
                <a:gd name="connsiteY1302" fmla="*/ 229210 h 834466"/>
                <a:gd name="connsiteX1303" fmla="*/ 233619 w 699392"/>
                <a:gd name="connsiteY1303" fmla="*/ 223037 h 834466"/>
                <a:gd name="connsiteX1304" fmla="*/ 237620 w 699392"/>
                <a:gd name="connsiteY1304" fmla="*/ 221275 h 834466"/>
                <a:gd name="connsiteX1305" fmla="*/ 240202 w 699392"/>
                <a:gd name="connsiteY1305" fmla="*/ 221075 h 834466"/>
                <a:gd name="connsiteX1306" fmla="*/ 242573 w 699392"/>
                <a:gd name="connsiteY1306" fmla="*/ 221875 h 834466"/>
                <a:gd name="connsiteX1307" fmla="*/ 218475 w 699392"/>
                <a:gd name="connsiteY1307" fmla="*/ 249860 h 834466"/>
                <a:gd name="connsiteX1308" fmla="*/ 214522 w 699392"/>
                <a:gd name="connsiteY1308" fmla="*/ 253603 h 834466"/>
                <a:gd name="connsiteX1309" fmla="*/ 215960 w 699392"/>
                <a:gd name="connsiteY1309" fmla="*/ 246764 h 834466"/>
                <a:gd name="connsiteX1310" fmla="*/ 218094 w 699392"/>
                <a:gd name="connsiteY1310" fmla="*/ 239811 h 834466"/>
                <a:gd name="connsiteX1311" fmla="*/ 221047 w 699392"/>
                <a:gd name="connsiteY1311" fmla="*/ 235820 h 834466"/>
                <a:gd name="connsiteX1312" fmla="*/ 222514 w 699392"/>
                <a:gd name="connsiteY1312" fmla="*/ 237382 h 834466"/>
                <a:gd name="connsiteX1313" fmla="*/ 221837 w 699392"/>
                <a:gd name="connsiteY1313" fmla="*/ 240725 h 834466"/>
                <a:gd name="connsiteX1314" fmla="*/ 221847 w 699392"/>
                <a:gd name="connsiteY1314" fmla="*/ 244021 h 834466"/>
                <a:gd name="connsiteX1315" fmla="*/ 221218 w 699392"/>
                <a:gd name="connsiteY1315" fmla="*/ 245574 h 834466"/>
                <a:gd name="connsiteX1316" fmla="*/ 218475 w 699392"/>
                <a:gd name="connsiteY1316" fmla="*/ 249860 h 834466"/>
                <a:gd name="connsiteX1317" fmla="*/ 203730 w 699392"/>
                <a:gd name="connsiteY1317" fmla="*/ 374837 h 834466"/>
                <a:gd name="connsiteX1318" fmla="*/ 201254 w 699392"/>
                <a:gd name="connsiteY1318" fmla="*/ 375266 h 834466"/>
                <a:gd name="connsiteX1319" fmla="*/ 201663 w 699392"/>
                <a:gd name="connsiteY1319" fmla="*/ 372361 h 834466"/>
                <a:gd name="connsiteX1320" fmla="*/ 203664 w 699392"/>
                <a:gd name="connsiteY1320" fmla="*/ 369599 h 834466"/>
                <a:gd name="connsiteX1321" fmla="*/ 204435 w 699392"/>
                <a:gd name="connsiteY1321" fmla="*/ 367713 h 834466"/>
                <a:gd name="connsiteX1322" fmla="*/ 204835 w 699392"/>
                <a:gd name="connsiteY1322" fmla="*/ 365484 h 834466"/>
                <a:gd name="connsiteX1323" fmla="*/ 206607 w 699392"/>
                <a:gd name="connsiteY1323" fmla="*/ 363798 h 834466"/>
                <a:gd name="connsiteX1324" fmla="*/ 209102 w 699392"/>
                <a:gd name="connsiteY1324" fmla="*/ 365960 h 834466"/>
                <a:gd name="connsiteX1325" fmla="*/ 209150 w 699392"/>
                <a:gd name="connsiteY1325" fmla="*/ 369618 h 834466"/>
                <a:gd name="connsiteX1326" fmla="*/ 207912 w 699392"/>
                <a:gd name="connsiteY1326" fmla="*/ 372951 h 834466"/>
                <a:gd name="connsiteX1327" fmla="*/ 203730 w 699392"/>
                <a:gd name="connsiteY1327" fmla="*/ 374837 h 834466"/>
                <a:gd name="connsiteX1328" fmla="*/ 206131 w 699392"/>
                <a:gd name="connsiteY1328" fmla="*/ 384105 h 834466"/>
                <a:gd name="connsiteX1329" fmla="*/ 203988 w 699392"/>
                <a:gd name="connsiteY1329" fmla="*/ 384296 h 834466"/>
                <a:gd name="connsiteX1330" fmla="*/ 204006 w 699392"/>
                <a:gd name="connsiteY1330" fmla="*/ 381619 h 834466"/>
                <a:gd name="connsiteX1331" fmla="*/ 205235 w 699392"/>
                <a:gd name="connsiteY1331" fmla="*/ 379181 h 834466"/>
                <a:gd name="connsiteX1332" fmla="*/ 207178 w 699392"/>
                <a:gd name="connsiteY1332" fmla="*/ 377552 h 834466"/>
                <a:gd name="connsiteX1333" fmla="*/ 209683 w 699392"/>
                <a:gd name="connsiteY1333" fmla="*/ 377123 h 834466"/>
                <a:gd name="connsiteX1334" fmla="*/ 212484 w 699392"/>
                <a:gd name="connsiteY1334" fmla="*/ 376933 h 834466"/>
                <a:gd name="connsiteX1335" fmla="*/ 213331 w 699392"/>
                <a:gd name="connsiteY1335" fmla="*/ 378228 h 834466"/>
                <a:gd name="connsiteX1336" fmla="*/ 211722 w 699392"/>
                <a:gd name="connsiteY1336" fmla="*/ 380047 h 834466"/>
                <a:gd name="connsiteX1337" fmla="*/ 206131 w 699392"/>
                <a:gd name="connsiteY1337" fmla="*/ 384105 h 834466"/>
                <a:gd name="connsiteX1338" fmla="*/ 191653 w 699392"/>
                <a:gd name="connsiteY1338" fmla="*/ 402022 h 834466"/>
                <a:gd name="connsiteX1339" fmla="*/ 189881 w 699392"/>
                <a:gd name="connsiteY1339" fmla="*/ 404012 h 834466"/>
                <a:gd name="connsiteX1340" fmla="*/ 186576 w 699392"/>
                <a:gd name="connsiteY1340" fmla="*/ 403441 h 834466"/>
                <a:gd name="connsiteX1341" fmla="*/ 186223 w 699392"/>
                <a:gd name="connsiteY1341" fmla="*/ 401726 h 834466"/>
                <a:gd name="connsiteX1342" fmla="*/ 187166 w 699392"/>
                <a:gd name="connsiteY1342" fmla="*/ 398297 h 834466"/>
                <a:gd name="connsiteX1343" fmla="*/ 189176 w 699392"/>
                <a:gd name="connsiteY1343" fmla="*/ 396878 h 834466"/>
                <a:gd name="connsiteX1344" fmla="*/ 191767 w 699392"/>
                <a:gd name="connsiteY1344" fmla="*/ 397154 h 834466"/>
                <a:gd name="connsiteX1345" fmla="*/ 192596 w 699392"/>
                <a:gd name="connsiteY1345" fmla="*/ 398583 h 834466"/>
                <a:gd name="connsiteX1346" fmla="*/ 191653 w 699392"/>
                <a:gd name="connsiteY1346" fmla="*/ 402022 h 834466"/>
                <a:gd name="connsiteX1347" fmla="*/ 171965 w 699392"/>
                <a:gd name="connsiteY1347" fmla="*/ 450523 h 834466"/>
                <a:gd name="connsiteX1348" fmla="*/ 170564 w 699392"/>
                <a:gd name="connsiteY1348" fmla="*/ 452276 h 834466"/>
                <a:gd name="connsiteX1349" fmla="*/ 167450 w 699392"/>
                <a:gd name="connsiteY1349" fmla="*/ 450875 h 834466"/>
                <a:gd name="connsiteX1350" fmla="*/ 161306 w 699392"/>
                <a:gd name="connsiteY1350" fmla="*/ 451961 h 834466"/>
                <a:gd name="connsiteX1351" fmla="*/ 158830 w 699392"/>
                <a:gd name="connsiteY1351" fmla="*/ 450256 h 834466"/>
                <a:gd name="connsiteX1352" fmla="*/ 160801 w 699392"/>
                <a:gd name="connsiteY1352" fmla="*/ 446923 h 834466"/>
                <a:gd name="connsiteX1353" fmla="*/ 166354 w 699392"/>
                <a:gd name="connsiteY1353" fmla="*/ 443417 h 834466"/>
                <a:gd name="connsiteX1354" fmla="*/ 169336 w 699392"/>
                <a:gd name="connsiteY1354" fmla="*/ 443579 h 834466"/>
                <a:gd name="connsiteX1355" fmla="*/ 172374 w 699392"/>
                <a:gd name="connsiteY1355" fmla="*/ 447885 h 834466"/>
                <a:gd name="connsiteX1356" fmla="*/ 171965 w 699392"/>
                <a:gd name="connsiteY1356" fmla="*/ 450523 h 834466"/>
                <a:gd name="connsiteX1357" fmla="*/ 98165 w 699392"/>
                <a:gd name="connsiteY1357" fmla="*/ 524256 h 834466"/>
                <a:gd name="connsiteX1358" fmla="*/ 95098 w 699392"/>
                <a:gd name="connsiteY1358" fmla="*/ 524399 h 834466"/>
                <a:gd name="connsiteX1359" fmla="*/ 93250 w 699392"/>
                <a:gd name="connsiteY1359" fmla="*/ 523046 h 834466"/>
                <a:gd name="connsiteX1360" fmla="*/ 97641 w 699392"/>
                <a:gd name="connsiteY1360" fmla="*/ 520360 h 834466"/>
                <a:gd name="connsiteX1361" fmla="*/ 104527 w 699392"/>
                <a:gd name="connsiteY1361" fmla="*/ 517788 h 834466"/>
                <a:gd name="connsiteX1362" fmla="*/ 105185 w 699392"/>
                <a:gd name="connsiteY1362" fmla="*/ 516160 h 834466"/>
                <a:gd name="connsiteX1363" fmla="*/ 106013 w 699392"/>
                <a:gd name="connsiteY1363" fmla="*/ 515960 h 834466"/>
                <a:gd name="connsiteX1364" fmla="*/ 107204 w 699392"/>
                <a:gd name="connsiteY1364" fmla="*/ 517960 h 834466"/>
                <a:gd name="connsiteX1365" fmla="*/ 107356 w 699392"/>
                <a:gd name="connsiteY1365" fmla="*/ 520703 h 834466"/>
                <a:gd name="connsiteX1366" fmla="*/ 106594 w 699392"/>
                <a:gd name="connsiteY1366" fmla="*/ 522065 h 834466"/>
                <a:gd name="connsiteX1367" fmla="*/ 98165 w 699392"/>
                <a:gd name="connsiteY1367" fmla="*/ 524256 h 834466"/>
                <a:gd name="connsiteX1368" fmla="*/ 88316 w 699392"/>
                <a:gd name="connsiteY1368" fmla="*/ 543973 h 834466"/>
                <a:gd name="connsiteX1369" fmla="*/ 85697 w 699392"/>
                <a:gd name="connsiteY1369" fmla="*/ 544011 h 834466"/>
                <a:gd name="connsiteX1370" fmla="*/ 82582 w 699392"/>
                <a:gd name="connsiteY1370" fmla="*/ 543097 h 834466"/>
                <a:gd name="connsiteX1371" fmla="*/ 80629 w 699392"/>
                <a:gd name="connsiteY1371" fmla="*/ 541144 h 834466"/>
                <a:gd name="connsiteX1372" fmla="*/ 80324 w 699392"/>
                <a:gd name="connsiteY1372" fmla="*/ 539420 h 834466"/>
                <a:gd name="connsiteX1373" fmla="*/ 83915 w 699392"/>
                <a:gd name="connsiteY1373" fmla="*/ 537277 h 834466"/>
                <a:gd name="connsiteX1374" fmla="*/ 87525 w 699392"/>
                <a:gd name="connsiteY1374" fmla="*/ 536019 h 834466"/>
                <a:gd name="connsiteX1375" fmla="*/ 89202 w 699392"/>
                <a:gd name="connsiteY1375" fmla="*/ 538382 h 834466"/>
                <a:gd name="connsiteX1376" fmla="*/ 89326 w 699392"/>
                <a:gd name="connsiteY1376" fmla="*/ 542249 h 834466"/>
                <a:gd name="connsiteX1377" fmla="*/ 88316 w 699392"/>
                <a:gd name="connsiteY1377" fmla="*/ 543973 h 834466"/>
                <a:gd name="connsiteX1378" fmla="*/ 4277 w 699392"/>
                <a:gd name="connsiteY1378" fmla="*/ 673037 h 834466"/>
                <a:gd name="connsiteX1379" fmla="*/ 1905 w 699392"/>
                <a:gd name="connsiteY1379" fmla="*/ 673732 h 834466"/>
                <a:gd name="connsiteX1380" fmla="*/ 0 w 699392"/>
                <a:gd name="connsiteY1380" fmla="*/ 673132 h 834466"/>
                <a:gd name="connsiteX1381" fmla="*/ 676 w 699392"/>
                <a:gd name="connsiteY1381" fmla="*/ 667855 h 834466"/>
                <a:gd name="connsiteX1382" fmla="*/ 1667 w 699392"/>
                <a:gd name="connsiteY1382" fmla="*/ 666998 h 834466"/>
                <a:gd name="connsiteX1383" fmla="*/ 3105 w 699392"/>
                <a:gd name="connsiteY1383" fmla="*/ 666693 h 834466"/>
                <a:gd name="connsiteX1384" fmla="*/ 4658 w 699392"/>
                <a:gd name="connsiteY1384" fmla="*/ 669522 h 834466"/>
                <a:gd name="connsiteX1385" fmla="*/ 4277 w 699392"/>
                <a:gd name="connsiteY1385" fmla="*/ 673037 h 834466"/>
                <a:gd name="connsiteX1386" fmla="*/ 7677 w 699392"/>
                <a:gd name="connsiteY1386" fmla="*/ 715404 h 834466"/>
                <a:gd name="connsiteX1387" fmla="*/ 7763 w 699392"/>
                <a:gd name="connsiteY1387" fmla="*/ 721795 h 834466"/>
                <a:gd name="connsiteX1388" fmla="*/ 5305 w 699392"/>
                <a:gd name="connsiteY1388" fmla="*/ 721309 h 834466"/>
                <a:gd name="connsiteX1389" fmla="*/ 4201 w 699392"/>
                <a:gd name="connsiteY1389" fmla="*/ 718861 h 834466"/>
                <a:gd name="connsiteX1390" fmla="*/ 3877 w 699392"/>
                <a:gd name="connsiteY1390" fmla="*/ 717290 h 834466"/>
                <a:gd name="connsiteX1391" fmla="*/ 4077 w 699392"/>
                <a:gd name="connsiteY1391" fmla="*/ 713584 h 834466"/>
                <a:gd name="connsiteX1392" fmla="*/ 3524 w 699392"/>
                <a:gd name="connsiteY1392" fmla="*/ 709755 h 834466"/>
                <a:gd name="connsiteX1393" fmla="*/ 4248 w 699392"/>
                <a:gd name="connsiteY1393" fmla="*/ 707850 h 834466"/>
                <a:gd name="connsiteX1394" fmla="*/ 5144 w 699392"/>
                <a:gd name="connsiteY1394" fmla="*/ 707593 h 834466"/>
                <a:gd name="connsiteX1395" fmla="*/ 6734 w 699392"/>
                <a:gd name="connsiteY1395" fmla="*/ 711003 h 834466"/>
                <a:gd name="connsiteX1396" fmla="*/ 7677 w 699392"/>
                <a:gd name="connsiteY1396" fmla="*/ 715404 h 83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</a:cxnLst>
              <a:rect l="l" t="t" r="r" b="b"/>
              <a:pathLst>
                <a:path w="699392" h="834466">
                  <a:moveTo>
                    <a:pt x="555689" y="0"/>
                  </a:moveTo>
                  <a:lnTo>
                    <a:pt x="562833" y="3162"/>
                  </a:lnTo>
                  <a:lnTo>
                    <a:pt x="565271" y="3096"/>
                  </a:lnTo>
                  <a:lnTo>
                    <a:pt x="568823" y="8992"/>
                  </a:lnTo>
                  <a:lnTo>
                    <a:pt x="570672" y="8468"/>
                  </a:lnTo>
                  <a:lnTo>
                    <a:pt x="570319" y="12049"/>
                  </a:lnTo>
                  <a:lnTo>
                    <a:pt x="566738" y="13754"/>
                  </a:lnTo>
                  <a:lnTo>
                    <a:pt x="561165" y="14783"/>
                  </a:lnTo>
                  <a:lnTo>
                    <a:pt x="560337" y="15497"/>
                  </a:lnTo>
                  <a:lnTo>
                    <a:pt x="555574" y="14926"/>
                  </a:lnTo>
                  <a:lnTo>
                    <a:pt x="552898" y="10106"/>
                  </a:lnTo>
                  <a:lnTo>
                    <a:pt x="548431" y="8915"/>
                  </a:lnTo>
                  <a:lnTo>
                    <a:pt x="548440" y="7363"/>
                  </a:lnTo>
                  <a:lnTo>
                    <a:pt x="551336" y="3705"/>
                  </a:lnTo>
                  <a:lnTo>
                    <a:pt x="555689" y="0"/>
                  </a:lnTo>
                  <a:close/>
                  <a:moveTo>
                    <a:pt x="696926" y="108566"/>
                  </a:moveTo>
                  <a:lnTo>
                    <a:pt x="698382" y="118710"/>
                  </a:lnTo>
                  <a:lnTo>
                    <a:pt x="698335" y="122234"/>
                  </a:lnTo>
                  <a:lnTo>
                    <a:pt x="697649" y="125644"/>
                  </a:lnTo>
                  <a:lnTo>
                    <a:pt x="696687" y="127387"/>
                  </a:lnTo>
                  <a:lnTo>
                    <a:pt x="694773" y="128149"/>
                  </a:lnTo>
                  <a:lnTo>
                    <a:pt x="690134" y="127845"/>
                  </a:lnTo>
                  <a:lnTo>
                    <a:pt x="683838" y="123854"/>
                  </a:lnTo>
                  <a:lnTo>
                    <a:pt x="679771" y="120091"/>
                  </a:lnTo>
                  <a:lnTo>
                    <a:pt x="678504" y="119929"/>
                  </a:lnTo>
                  <a:lnTo>
                    <a:pt x="677952" y="120386"/>
                  </a:lnTo>
                  <a:lnTo>
                    <a:pt x="678942" y="124158"/>
                  </a:lnTo>
                  <a:lnTo>
                    <a:pt x="678675" y="127054"/>
                  </a:lnTo>
                  <a:lnTo>
                    <a:pt x="678066" y="130197"/>
                  </a:lnTo>
                  <a:lnTo>
                    <a:pt x="677209" y="133045"/>
                  </a:lnTo>
                  <a:lnTo>
                    <a:pt x="676018" y="135426"/>
                  </a:lnTo>
                  <a:lnTo>
                    <a:pt x="673522" y="138493"/>
                  </a:lnTo>
                  <a:lnTo>
                    <a:pt x="669207" y="140913"/>
                  </a:lnTo>
                  <a:lnTo>
                    <a:pt x="657330" y="145628"/>
                  </a:lnTo>
                  <a:lnTo>
                    <a:pt x="656387" y="147704"/>
                  </a:lnTo>
                  <a:lnTo>
                    <a:pt x="652558" y="160753"/>
                  </a:lnTo>
                  <a:lnTo>
                    <a:pt x="651520" y="162658"/>
                  </a:lnTo>
                  <a:lnTo>
                    <a:pt x="650120" y="164268"/>
                  </a:lnTo>
                  <a:lnTo>
                    <a:pt x="646033" y="166354"/>
                  </a:lnTo>
                  <a:lnTo>
                    <a:pt x="644052" y="163478"/>
                  </a:lnTo>
                  <a:lnTo>
                    <a:pt x="642471" y="159106"/>
                  </a:lnTo>
                  <a:lnTo>
                    <a:pt x="642833" y="154762"/>
                  </a:lnTo>
                  <a:lnTo>
                    <a:pt x="647605" y="146399"/>
                  </a:lnTo>
                  <a:lnTo>
                    <a:pt x="652072" y="140446"/>
                  </a:lnTo>
                  <a:lnTo>
                    <a:pt x="653329" y="138379"/>
                  </a:lnTo>
                  <a:lnTo>
                    <a:pt x="655863" y="132369"/>
                  </a:lnTo>
                  <a:lnTo>
                    <a:pt x="650739" y="117186"/>
                  </a:lnTo>
                  <a:lnTo>
                    <a:pt x="641614" y="112566"/>
                  </a:lnTo>
                  <a:lnTo>
                    <a:pt x="631222" y="105508"/>
                  </a:lnTo>
                  <a:lnTo>
                    <a:pt x="627412" y="101737"/>
                  </a:lnTo>
                  <a:lnTo>
                    <a:pt x="621478" y="93936"/>
                  </a:lnTo>
                  <a:lnTo>
                    <a:pt x="617277" y="86906"/>
                  </a:lnTo>
                  <a:lnTo>
                    <a:pt x="613486" y="86658"/>
                  </a:lnTo>
                  <a:lnTo>
                    <a:pt x="609315" y="88430"/>
                  </a:lnTo>
                  <a:lnTo>
                    <a:pt x="602799" y="94850"/>
                  </a:lnTo>
                  <a:lnTo>
                    <a:pt x="598999" y="98069"/>
                  </a:lnTo>
                  <a:lnTo>
                    <a:pt x="596903" y="99022"/>
                  </a:lnTo>
                  <a:lnTo>
                    <a:pt x="596399" y="99165"/>
                  </a:lnTo>
                  <a:lnTo>
                    <a:pt x="591731" y="97346"/>
                  </a:lnTo>
                  <a:lnTo>
                    <a:pt x="586550" y="96964"/>
                  </a:lnTo>
                  <a:lnTo>
                    <a:pt x="582378" y="97488"/>
                  </a:lnTo>
                  <a:lnTo>
                    <a:pt x="580806" y="98365"/>
                  </a:lnTo>
                  <a:lnTo>
                    <a:pt x="574996" y="108690"/>
                  </a:lnTo>
                  <a:lnTo>
                    <a:pt x="570929" y="113871"/>
                  </a:lnTo>
                  <a:lnTo>
                    <a:pt x="568690" y="115653"/>
                  </a:lnTo>
                  <a:lnTo>
                    <a:pt x="567061" y="118643"/>
                  </a:lnTo>
                  <a:lnTo>
                    <a:pt x="565728" y="123558"/>
                  </a:lnTo>
                  <a:lnTo>
                    <a:pt x="562746" y="140475"/>
                  </a:lnTo>
                  <a:lnTo>
                    <a:pt x="560527" y="146818"/>
                  </a:lnTo>
                  <a:lnTo>
                    <a:pt x="560032" y="150685"/>
                  </a:lnTo>
                  <a:lnTo>
                    <a:pt x="560556" y="162344"/>
                  </a:lnTo>
                  <a:lnTo>
                    <a:pt x="560022" y="168764"/>
                  </a:lnTo>
                  <a:lnTo>
                    <a:pt x="557308" y="174041"/>
                  </a:lnTo>
                  <a:lnTo>
                    <a:pt x="555393" y="176412"/>
                  </a:lnTo>
                  <a:lnTo>
                    <a:pt x="552869" y="176898"/>
                  </a:lnTo>
                  <a:lnTo>
                    <a:pt x="549564" y="178241"/>
                  </a:lnTo>
                  <a:lnTo>
                    <a:pt x="546678" y="181280"/>
                  </a:lnTo>
                  <a:lnTo>
                    <a:pt x="544639" y="185423"/>
                  </a:lnTo>
                  <a:lnTo>
                    <a:pt x="542344" y="194672"/>
                  </a:lnTo>
                  <a:lnTo>
                    <a:pt x="538458" y="198063"/>
                  </a:lnTo>
                  <a:lnTo>
                    <a:pt x="534743" y="197091"/>
                  </a:lnTo>
                  <a:lnTo>
                    <a:pt x="532095" y="193700"/>
                  </a:lnTo>
                  <a:lnTo>
                    <a:pt x="526409" y="191071"/>
                  </a:lnTo>
                  <a:lnTo>
                    <a:pt x="522170" y="189395"/>
                  </a:lnTo>
                  <a:lnTo>
                    <a:pt x="517417" y="185757"/>
                  </a:lnTo>
                  <a:lnTo>
                    <a:pt x="513226" y="182985"/>
                  </a:lnTo>
                  <a:lnTo>
                    <a:pt x="509397" y="182432"/>
                  </a:lnTo>
                  <a:lnTo>
                    <a:pt x="507216" y="185947"/>
                  </a:lnTo>
                  <a:lnTo>
                    <a:pt x="505463" y="189224"/>
                  </a:lnTo>
                  <a:lnTo>
                    <a:pt x="498929" y="191881"/>
                  </a:lnTo>
                  <a:lnTo>
                    <a:pt x="495224" y="193986"/>
                  </a:lnTo>
                  <a:lnTo>
                    <a:pt x="490424" y="194453"/>
                  </a:lnTo>
                  <a:lnTo>
                    <a:pt x="488480" y="192119"/>
                  </a:lnTo>
                  <a:lnTo>
                    <a:pt x="481508" y="190576"/>
                  </a:lnTo>
                  <a:lnTo>
                    <a:pt x="473212" y="188747"/>
                  </a:lnTo>
                  <a:lnTo>
                    <a:pt x="470811" y="188766"/>
                  </a:lnTo>
                  <a:lnTo>
                    <a:pt x="470059" y="184585"/>
                  </a:lnTo>
                  <a:lnTo>
                    <a:pt x="467849" y="178727"/>
                  </a:lnTo>
                  <a:lnTo>
                    <a:pt x="461953" y="168554"/>
                  </a:lnTo>
                  <a:lnTo>
                    <a:pt x="459543" y="164954"/>
                  </a:lnTo>
                  <a:lnTo>
                    <a:pt x="455000" y="156467"/>
                  </a:lnTo>
                  <a:lnTo>
                    <a:pt x="449713" y="147723"/>
                  </a:lnTo>
                  <a:lnTo>
                    <a:pt x="448961" y="147504"/>
                  </a:lnTo>
                  <a:lnTo>
                    <a:pt x="445418" y="147209"/>
                  </a:lnTo>
                  <a:lnTo>
                    <a:pt x="440227" y="147495"/>
                  </a:lnTo>
                  <a:lnTo>
                    <a:pt x="436931" y="149485"/>
                  </a:lnTo>
                  <a:lnTo>
                    <a:pt x="434854" y="151981"/>
                  </a:lnTo>
                  <a:lnTo>
                    <a:pt x="434493" y="154057"/>
                  </a:lnTo>
                  <a:lnTo>
                    <a:pt x="436502" y="161982"/>
                  </a:lnTo>
                  <a:lnTo>
                    <a:pt x="435883" y="163954"/>
                  </a:lnTo>
                  <a:lnTo>
                    <a:pt x="434845" y="164906"/>
                  </a:lnTo>
                  <a:lnTo>
                    <a:pt x="430130" y="162687"/>
                  </a:lnTo>
                  <a:lnTo>
                    <a:pt x="424425" y="162839"/>
                  </a:lnTo>
                  <a:lnTo>
                    <a:pt x="422986" y="165278"/>
                  </a:lnTo>
                  <a:lnTo>
                    <a:pt x="419510" y="165545"/>
                  </a:lnTo>
                  <a:lnTo>
                    <a:pt x="409480" y="166468"/>
                  </a:lnTo>
                  <a:lnTo>
                    <a:pt x="413909" y="172907"/>
                  </a:lnTo>
                  <a:lnTo>
                    <a:pt x="415376" y="175489"/>
                  </a:lnTo>
                  <a:lnTo>
                    <a:pt x="415671" y="179260"/>
                  </a:lnTo>
                  <a:lnTo>
                    <a:pt x="414900" y="186252"/>
                  </a:lnTo>
                  <a:lnTo>
                    <a:pt x="412775" y="192205"/>
                  </a:lnTo>
                  <a:lnTo>
                    <a:pt x="410299" y="197034"/>
                  </a:lnTo>
                  <a:lnTo>
                    <a:pt x="405527" y="201806"/>
                  </a:lnTo>
                  <a:lnTo>
                    <a:pt x="412775" y="206512"/>
                  </a:lnTo>
                  <a:lnTo>
                    <a:pt x="407851" y="212846"/>
                  </a:lnTo>
                  <a:lnTo>
                    <a:pt x="405546" y="215303"/>
                  </a:lnTo>
                  <a:lnTo>
                    <a:pt x="402879" y="214884"/>
                  </a:lnTo>
                  <a:lnTo>
                    <a:pt x="398107" y="212703"/>
                  </a:lnTo>
                  <a:lnTo>
                    <a:pt x="386553" y="207407"/>
                  </a:lnTo>
                  <a:lnTo>
                    <a:pt x="381038" y="205416"/>
                  </a:lnTo>
                  <a:lnTo>
                    <a:pt x="376104" y="204807"/>
                  </a:lnTo>
                  <a:lnTo>
                    <a:pt x="373475" y="204883"/>
                  </a:lnTo>
                  <a:lnTo>
                    <a:pt x="363017" y="200330"/>
                  </a:lnTo>
                  <a:lnTo>
                    <a:pt x="360998" y="200835"/>
                  </a:lnTo>
                  <a:lnTo>
                    <a:pt x="357244" y="202806"/>
                  </a:lnTo>
                  <a:lnTo>
                    <a:pt x="356826" y="207226"/>
                  </a:lnTo>
                  <a:lnTo>
                    <a:pt x="357064" y="218170"/>
                  </a:lnTo>
                  <a:lnTo>
                    <a:pt x="357616" y="226552"/>
                  </a:lnTo>
                  <a:lnTo>
                    <a:pt x="356235" y="231372"/>
                  </a:lnTo>
                  <a:lnTo>
                    <a:pt x="354854" y="234639"/>
                  </a:lnTo>
                  <a:lnTo>
                    <a:pt x="350672" y="243411"/>
                  </a:lnTo>
                  <a:lnTo>
                    <a:pt x="341262" y="237449"/>
                  </a:lnTo>
                  <a:lnTo>
                    <a:pt x="334842" y="233486"/>
                  </a:lnTo>
                  <a:lnTo>
                    <a:pt x="330718" y="238754"/>
                  </a:lnTo>
                  <a:lnTo>
                    <a:pt x="320383" y="248374"/>
                  </a:lnTo>
                  <a:lnTo>
                    <a:pt x="315087" y="267195"/>
                  </a:lnTo>
                  <a:lnTo>
                    <a:pt x="314783" y="267805"/>
                  </a:lnTo>
                  <a:lnTo>
                    <a:pt x="311648" y="272558"/>
                  </a:lnTo>
                  <a:lnTo>
                    <a:pt x="307639" y="274739"/>
                  </a:lnTo>
                  <a:lnTo>
                    <a:pt x="304600" y="275815"/>
                  </a:lnTo>
                  <a:lnTo>
                    <a:pt x="302829" y="281349"/>
                  </a:lnTo>
                  <a:lnTo>
                    <a:pt x="306953" y="289246"/>
                  </a:lnTo>
                  <a:lnTo>
                    <a:pt x="309067" y="293399"/>
                  </a:lnTo>
                  <a:lnTo>
                    <a:pt x="311039" y="300085"/>
                  </a:lnTo>
                  <a:lnTo>
                    <a:pt x="310677" y="304324"/>
                  </a:lnTo>
                  <a:lnTo>
                    <a:pt x="310220" y="306953"/>
                  </a:lnTo>
                  <a:lnTo>
                    <a:pt x="305791" y="312325"/>
                  </a:lnTo>
                  <a:lnTo>
                    <a:pt x="296342" y="326431"/>
                  </a:lnTo>
                  <a:lnTo>
                    <a:pt x="287598" y="341043"/>
                  </a:lnTo>
                  <a:lnTo>
                    <a:pt x="284016" y="345215"/>
                  </a:lnTo>
                  <a:lnTo>
                    <a:pt x="285636" y="357483"/>
                  </a:lnTo>
                  <a:lnTo>
                    <a:pt x="282730" y="361064"/>
                  </a:lnTo>
                  <a:lnTo>
                    <a:pt x="276806" y="365103"/>
                  </a:lnTo>
                  <a:lnTo>
                    <a:pt x="273777" y="366655"/>
                  </a:lnTo>
                  <a:lnTo>
                    <a:pt x="270520" y="367570"/>
                  </a:lnTo>
                  <a:lnTo>
                    <a:pt x="260499" y="369180"/>
                  </a:lnTo>
                  <a:lnTo>
                    <a:pt x="262281" y="382134"/>
                  </a:lnTo>
                  <a:lnTo>
                    <a:pt x="262957" y="387839"/>
                  </a:lnTo>
                  <a:lnTo>
                    <a:pt x="262947" y="391211"/>
                  </a:lnTo>
                  <a:lnTo>
                    <a:pt x="261909" y="394497"/>
                  </a:lnTo>
                  <a:lnTo>
                    <a:pt x="260671" y="400755"/>
                  </a:lnTo>
                  <a:lnTo>
                    <a:pt x="258804" y="422948"/>
                  </a:lnTo>
                  <a:lnTo>
                    <a:pt x="257375" y="425320"/>
                  </a:lnTo>
                  <a:lnTo>
                    <a:pt x="255404" y="431273"/>
                  </a:lnTo>
                  <a:lnTo>
                    <a:pt x="249060" y="445494"/>
                  </a:lnTo>
                  <a:lnTo>
                    <a:pt x="243973" y="454885"/>
                  </a:lnTo>
                  <a:lnTo>
                    <a:pt x="236630" y="468325"/>
                  </a:lnTo>
                  <a:lnTo>
                    <a:pt x="242602" y="472545"/>
                  </a:lnTo>
                  <a:lnTo>
                    <a:pt x="248050" y="475621"/>
                  </a:lnTo>
                  <a:lnTo>
                    <a:pt x="249184" y="480336"/>
                  </a:lnTo>
                  <a:lnTo>
                    <a:pt x="249936" y="488185"/>
                  </a:lnTo>
                  <a:lnTo>
                    <a:pt x="249755" y="493509"/>
                  </a:lnTo>
                  <a:lnTo>
                    <a:pt x="247669" y="498281"/>
                  </a:lnTo>
                  <a:lnTo>
                    <a:pt x="246050" y="501625"/>
                  </a:lnTo>
                  <a:lnTo>
                    <a:pt x="244916" y="503253"/>
                  </a:lnTo>
                  <a:lnTo>
                    <a:pt x="237173" y="501634"/>
                  </a:lnTo>
                  <a:lnTo>
                    <a:pt x="227248" y="499548"/>
                  </a:lnTo>
                  <a:lnTo>
                    <a:pt x="224676" y="499529"/>
                  </a:lnTo>
                  <a:lnTo>
                    <a:pt x="218904" y="501034"/>
                  </a:lnTo>
                  <a:lnTo>
                    <a:pt x="213693" y="504111"/>
                  </a:lnTo>
                  <a:lnTo>
                    <a:pt x="210950" y="506701"/>
                  </a:lnTo>
                  <a:lnTo>
                    <a:pt x="210217" y="507730"/>
                  </a:lnTo>
                  <a:lnTo>
                    <a:pt x="206750" y="513617"/>
                  </a:lnTo>
                  <a:lnTo>
                    <a:pt x="200578" y="524018"/>
                  </a:lnTo>
                  <a:lnTo>
                    <a:pt x="197196" y="528542"/>
                  </a:lnTo>
                  <a:lnTo>
                    <a:pt x="198187" y="534762"/>
                  </a:lnTo>
                  <a:lnTo>
                    <a:pt x="192510" y="546716"/>
                  </a:lnTo>
                  <a:lnTo>
                    <a:pt x="196225" y="558698"/>
                  </a:lnTo>
                  <a:lnTo>
                    <a:pt x="196387" y="559098"/>
                  </a:lnTo>
                  <a:lnTo>
                    <a:pt x="198358" y="563918"/>
                  </a:lnTo>
                  <a:lnTo>
                    <a:pt x="196301" y="567023"/>
                  </a:lnTo>
                  <a:lnTo>
                    <a:pt x="195434" y="568690"/>
                  </a:lnTo>
                  <a:lnTo>
                    <a:pt x="195729" y="574167"/>
                  </a:lnTo>
                  <a:lnTo>
                    <a:pt x="196272" y="580273"/>
                  </a:lnTo>
                  <a:lnTo>
                    <a:pt x="195796" y="583844"/>
                  </a:lnTo>
                  <a:lnTo>
                    <a:pt x="195596" y="587797"/>
                  </a:lnTo>
                  <a:lnTo>
                    <a:pt x="200644" y="605466"/>
                  </a:lnTo>
                  <a:lnTo>
                    <a:pt x="200587" y="609581"/>
                  </a:lnTo>
                  <a:lnTo>
                    <a:pt x="200340" y="612229"/>
                  </a:lnTo>
                  <a:lnTo>
                    <a:pt x="198777" y="623097"/>
                  </a:lnTo>
                  <a:lnTo>
                    <a:pt x="196682" y="637585"/>
                  </a:lnTo>
                  <a:lnTo>
                    <a:pt x="200340" y="641366"/>
                  </a:lnTo>
                  <a:lnTo>
                    <a:pt x="205540" y="645881"/>
                  </a:lnTo>
                  <a:lnTo>
                    <a:pt x="208464" y="647662"/>
                  </a:lnTo>
                  <a:lnTo>
                    <a:pt x="212779" y="653015"/>
                  </a:lnTo>
                  <a:lnTo>
                    <a:pt x="216075" y="658225"/>
                  </a:lnTo>
                  <a:lnTo>
                    <a:pt x="215617" y="661673"/>
                  </a:lnTo>
                  <a:lnTo>
                    <a:pt x="214665" y="665474"/>
                  </a:lnTo>
                  <a:lnTo>
                    <a:pt x="213284" y="668122"/>
                  </a:lnTo>
                  <a:lnTo>
                    <a:pt x="211979" y="671751"/>
                  </a:lnTo>
                  <a:lnTo>
                    <a:pt x="211398" y="674427"/>
                  </a:lnTo>
                  <a:lnTo>
                    <a:pt x="210788" y="675142"/>
                  </a:lnTo>
                  <a:lnTo>
                    <a:pt x="205026" y="675437"/>
                  </a:lnTo>
                  <a:lnTo>
                    <a:pt x="201987" y="676447"/>
                  </a:lnTo>
                  <a:lnTo>
                    <a:pt x="200396" y="677580"/>
                  </a:lnTo>
                  <a:lnTo>
                    <a:pt x="200939" y="683657"/>
                  </a:lnTo>
                  <a:lnTo>
                    <a:pt x="204435" y="694735"/>
                  </a:lnTo>
                  <a:lnTo>
                    <a:pt x="207340" y="702564"/>
                  </a:lnTo>
                  <a:lnTo>
                    <a:pt x="208274" y="707708"/>
                  </a:lnTo>
                  <a:lnTo>
                    <a:pt x="207321" y="712908"/>
                  </a:lnTo>
                  <a:lnTo>
                    <a:pt x="206331" y="715566"/>
                  </a:lnTo>
                  <a:lnTo>
                    <a:pt x="206302" y="719138"/>
                  </a:lnTo>
                  <a:lnTo>
                    <a:pt x="205540" y="726224"/>
                  </a:lnTo>
                  <a:lnTo>
                    <a:pt x="203292" y="729796"/>
                  </a:lnTo>
                  <a:lnTo>
                    <a:pt x="200349" y="733682"/>
                  </a:lnTo>
                  <a:lnTo>
                    <a:pt x="197072" y="736578"/>
                  </a:lnTo>
                  <a:lnTo>
                    <a:pt x="194472" y="737387"/>
                  </a:lnTo>
                  <a:lnTo>
                    <a:pt x="192243" y="737721"/>
                  </a:lnTo>
                  <a:lnTo>
                    <a:pt x="190738" y="739188"/>
                  </a:lnTo>
                  <a:lnTo>
                    <a:pt x="189376" y="743502"/>
                  </a:lnTo>
                  <a:lnTo>
                    <a:pt x="188119" y="748017"/>
                  </a:lnTo>
                  <a:lnTo>
                    <a:pt x="184013" y="753561"/>
                  </a:lnTo>
                  <a:lnTo>
                    <a:pt x="184128" y="755485"/>
                  </a:lnTo>
                  <a:lnTo>
                    <a:pt x="185690" y="762019"/>
                  </a:lnTo>
                  <a:lnTo>
                    <a:pt x="187157" y="769430"/>
                  </a:lnTo>
                  <a:lnTo>
                    <a:pt x="185919" y="776335"/>
                  </a:lnTo>
                  <a:lnTo>
                    <a:pt x="184861" y="783546"/>
                  </a:lnTo>
                  <a:lnTo>
                    <a:pt x="183004" y="788337"/>
                  </a:lnTo>
                  <a:lnTo>
                    <a:pt x="180356" y="790051"/>
                  </a:lnTo>
                  <a:lnTo>
                    <a:pt x="178413" y="789194"/>
                  </a:lnTo>
                  <a:lnTo>
                    <a:pt x="176213" y="782622"/>
                  </a:lnTo>
                  <a:lnTo>
                    <a:pt x="176098" y="781069"/>
                  </a:lnTo>
                  <a:lnTo>
                    <a:pt x="175555" y="779050"/>
                  </a:lnTo>
                  <a:lnTo>
                    <a:pt x="169307" y="777040"/>
                  </a:lnTo>
                  <a:lnTo>
                    <a:pt x="168202" y="777107"/>
                  </a:lnTo>
                  <a:lnTo>
                    <a:pt x="165745" y="775925"/>
                  </a:lnTo>
                  <a:lnTo>
                    <a:pt x="164306" y="775592"/>
                  </a:lnTo>
                  <a:lnTo>
                    <a:pt x="161354" y="774916"/>
                  </a:lnTo>
                  <a:lnTo>
                    <a:pt x="158896" y="769068"/>
                  </a:lnTo>
                  <a:lnTo>
                    <a:pt x="156296" y="764191"/>
                  </a:lnTo>
                  <a:lnTo>
                    <a:pt x="155915" y="762152"/>
                  </a:lnTo>
                  <a:lnTo>
                    <a:pt x="156010" y="752980"/>
                  </a:lnTo>
                  <a:lnTo>
                    <a:pt x="155210" y="748884"/>
                  </a:lnTo>
                  <a:lnTo>
                    <a:pt x="154962" y="744407"/>
                  </a:lnTo>
                  <a:lnTo>
                    <a:pt x="153324" y="748046"/>
                  </a:lnTo>
                  <a:lnTo>
                    <a:pt x="154277" y="753789"/>
                  </a:lnTo>
                  <a:lnTo>
                    <a:pt x="152257" y="756190"/>
                  </a:lnTo>
                  <a:lnTo>
                    <a:pt x="149695" y="757361"/>
                  </a:lnTo>
                  <a:lnTo>
                    <a:pt x="149933" y="760705"/>
                  </a:lnTo>
                  <a:lnTo>
                    <a:pt x="150981" y="761343"/>
                  </a:lnTo>
                  <a:lnTo>
                    <a:pt x="151200" y="764800"/>
                  </a:lnTo>
                  <a:lnTo>
                    <a:pt x="150581" y="769925"/>
                  </a:lnTo>
                  <a:lnTo>
                    <a:pt x="145552" y="781250"/>
                  </a:lnTo>
                  <a:lnTo>
                    <a:pt x="144542" y="782460"/>
                  </a:lnTo>
                  <a:lnTo>
                    <a:pt x="143847" y="783984"/>
                  </a:lnTo>
                  <a:lnTo>
                    <a:pt x="141275" y="782974"/>
                  </a:lnTo>
                  <a:lnTo>
                    <a:pt x="137970" y="786117"/>
                  </a:lnTo>
                  <a:lnTo>
                    <a:pt x="134836" y="786622"/>
                  </a:lnTo>
                  <a:lnTo>
                    <a:pt x="133703" y="783069"/>
                  </a:lnTo>
                  <a:lnTo>
                    <a:pt x="129292" y="778354"/>
                  </a:lnTo>
                  <a:lnTo>
                    <a:pt x="127216" y="778621"/>
                  </a:lnTo>
                  <a:lnTo>
                    <a:pt x="129083" y="780945"/>
                  </a:lnTo>
                  <a:lnTo>
                    <a:pt x="130931" y="783965"/>
                  </a:lnTo>
                  <a:lnTo>
                    <a:pt x="129883" y="785955"/>
                  </a:lnTo>
                  <a:lnTo>
                    <a:pt x="128854" y="787260"/>
                  </a:lnTo>
                  <a:lnTo>
                    <a:pt x="127054" y="787937"/>
                  </a:lnTo>
                  <a:lnTo>
                    <a:pt x="120606" y="791870"/>
                  </a:lnTo>
                  <a:lnTo>
                    <a:pt x="122901" y="794509"/>
                  </a:lnTo>
                  <a:lnTo>
                    <a:pt x="120948" y="797500"/>
                  </a:lnTo>
                  <a:lnTo>
                    <a:pt x="118701" y="797938"/>
                  </a:lnTo>
                  <a:lnTo>
                    <a:pt x="117500" y="799328"/>
                  </a:lnTo>
                  <a:lnTo>
                    <a:pt x="117082" y="801214"/>
                  </a:lnTo>
                  <a:lnTo>
                    <a:pt x="110404" y="806596"/>
                  </a:lnTo>
                  <a:lnTo>
                    <a:pt x="99527" y="820322"/>
                  </a:lnTo>
                  <a:lnTo>
                    <a:pt x="93936" y="824189"/>
                  </a:lnTo>
                  <a:lnTo>
                    <a:pt x="90030" y="828189"/>
                  </a:lnTo>
                  <a:lnTo>
                    <a:pt x="86592" y="828094"/>
                  </a:lnTo>
                  <a:lnTo>
                    <a:pt x="82267" y="831494"/>
                  </a:lnTo>
                  <a:lnTo>
                    <a:pt x="71314" y="834466"/>
                  </a:lnTo>
                  <a:lnTo>
                    <a:pt x="64046" y="833123"/>
                  </a:lnTo>
                  <a:lnTo>
                    <a:pt x="58988" y="834304"/>
                  </a:lnTo>
                  <a:lnTo>
                    <a:pt x="56274" y="831971"/>
                  </a:lnTo>
                  <a:lnTo>
                    <a:pt x="55921" y="830370"/>
                  </a:lnTo>
                  <a:lnTo>
                    <a:pt x="56055" y="829437"/>
                  </a:lnTo>
                  <a:lnTo>
                    <a:pt x="56502" y="828313"/>
                  </a:lnTo>
                  <a:lnTo>
                    <a:pt x="55559" y="827942"/>
                  </a:lnTo>
                  <a:lnTo>
                    <a:pt x="53578" y="827751"/>
                  </a:lnTo>
                  <a:lnTo>
                    <a:pt x="52731" y="828875"/>
                  </a:lnTo>
                  <a:lnTo>
                    <a:pt x="52616" y="831437"/>
                  </a:lnTo>
                  <a:lnTo>
                    <a:pt x="51673" y="832104"/>
                  </a:lnTo>
                  <a:lnTo>
                    <a:pt x="47901" y="830637"/>
                  </a:lnTo>
                  <a:lnTo>
                    <a:pt x="46949" y="829323"/>
                  </a:lnTo>
                  <a:lnTo>
                    <a:pt x="48301" y="826646"/>
                  </a:lnTo>
                  <a:lnTo>
                    <a:pt x="50625" y="824236"/>
                  </a:lnTo>
                  <a:lnTo>
                    <a:pt x="50206" y="823741"/>
                  </a:lnTo>
                  <a:lnTo>
                    <a:pt x="49759" y="822274"/>
                  </a:lnTo>
                  <a:lnTo>
                    <a:pt x="48625" y="822084"/>
                  </a:lnTo>
                  <a:lnTo>
                    <a:pt x="45253" y="822446"/>
                  </a:lnTo>
                  <a:lnTo>
                    <a:pt x="42510" y="822008"/>
                  </a:lnTo>
                  <a:lnTo>
                    <a:pt x="33576" y="816569"/>
                  </a:lnTo>
                  <a:lnTo>
                    <a:pt x="31490" y="813654"/>
                  </a:lnTo>
                  <a:lnTo>
                    <a:pt x="24279" y="808996"/>
                  </a:lnTo>
                  <a:lnTo>
                    <a:pt x="21050" y="804043"/>
                  </a:lnTo>
                  <a:lnTo>
                    <a:pt x="19212" y="798595"/>
                  </a:lnTo>
                  <a:lnTo>
                    <a:pt x="19355" y="793642"/>
                  </a:lnTo>
                  <a:lnTo>
                    <a:pt x="20241" y="785765"/>
                  </a:lnTo>
                  <a:lnTo>
                    <a:pt x="21755" y="783812"/>
                  </a:lnTo>
                  <a:lnTo>
                    <a:pt x="28223" y="786584"/>
                  </a:lnTo>
                  <a:lnTo>
                    <a:pt x="34766" y="791194"/>
                  </a:lnTo>
                  <a:lnTo>
                    <a:pt x="35786" y="790966"/>
                  </a:lnTo>
                  <a:lnTo>
                    <a:pt x="37843" y="787346"/>
                  </a:lnTo>
                  <a:lnTo>
                    <a:pt x="41824" y="784431"/>
                  </a:lnTo>
                  <a:lnTo>
                    <a:pt x="40691" y="783631"/>
                  </a:lnTo>
                  <a:lnTo>
                    <a:pt x="34766" y="786975"/>
                  </a:lnTo>
                  <a:lnTo>
                    <a:pt x="32566" y="785127"/>
                  </a:lnTo>
                  <a:lnTo>
                    <a:pt x="29146" y="781355"/>
                  </a:lnTo>
                  <a:lnTo>
                    <a:pt x="29146" y="779402"/>
                  </a:lnTo>
                  <a:lnTo>
                    <a:pt x="30737" y="777450"/>
                  </a:lnTo>
                  <a:lnTo>
                    <a:pt x="31271" y="774811"/>
                  </a:lnTo>
                  <a:lnTo>
                    <a:pt x="30442" y="772316"/>
                  </a:lnTo>
                  <a:lnTo>
                    <a:pt x="30832" y="768915"/>
                  </a:lnTo>
                  <a:lnTo>
                    <a:pt x="33471" y="765305"/>
                  </a:lnTo>
                  <a:lnTo>
                    <a:pt x="37433" y="761638"/>
                  </a:lnTo>
                  <a:lnTo>
                    <a:pt x="40291" y="758085"/>
                  </a:lnTo>
                  <a:lnTo>
                    <a:pt x="43224" y="755904"/>
                  </a:lnTo>
                  <a:lnTo>
                    <a:pt x="42920" y="755171"/>
                  </a:lnTo>
                  <a:lnTo>
                    <a:pt x="39567" y="756561"/>
                  </a:lnTo>
                  <a:lnTo>
                    <a:pt x="36357" y="758923"/>
                  </a:lnTo>
                  <a:lnTo>
                    <a:pt x="32585" y="762876"/>
                  </a:lnTo>
                  <a:lnTo>
                    <a:pt x="27985" y="766067"/>
                  </a:lnTo>
                  <a:lnTo>
                    <a:pt x="24584" y="767305"/>
                  </a:lnTo>
                  <a:lnTo>
                    <a:pt x="22965" y="768334"/>
                  </a:lnTo>
                  <a:lnTo>
                    <a:pt x="20469" y="769325"/>
                  </a:lnTo>
                  <a:lnTo>
                    <a:pt x="17888" y="773887"/>
                  </a:lnTo>
                  <a:lnTo>
                    <a:pt x="15069" y="775840"/>
                  </a:lnTo>
                  <a:lnTo>
                    <a:pt x="10020" y="776040"/>
                  </a:lnTo>
                  <a:lnTo>
                    <a:pt x="8906" y="772706"/>
                  </a:lnTo>
                  <a:lnTo>
                    <a:pt x="10335" y="760819"/>
                  </a:lnTo>
                  <a:lnTo>
                    <a:pt x="11859" y="754999"/>
                  </a:lnTo>
                  <a:lnTo>
                    <a:pt x="13535" y="750875"/>
                  </a:lnTo>
                  <a:lnTo>
                    <a:pt x="16164" y="750180"/>
                  </a:lnTo>
                  <a:lnTo>
                    <a:pt x="18012" y="747151"/>
                  </a:lnTo>
                  <a:lnTo>
                    <a:pt x="19545" y="747151"/>
                  </a:lnTo>
                  <a:lnTo>
                    <a:pt x="20879" y="748551"/>
                  </a:lnTo>
                  <a:lnTo>
                    <a:pt x="26032" y="749903"/>
                  </a:lnTo>
                  <a:lnTo>
                    <a:pt x="28575" y="746046"/>
                  </a:lnTo>
                  <a:lnTo>
                    <a:pt x="31880" y="745474"/>
                  </a:lnTo>
                  <a:lnTo>
                    <a:pt x="37910" y="741569"/>
                  </a:lnTo>
                  <a:lnTo>
                    <a:pt x="37786" y="740855"/>
                  </a:lnTo>
                  <a:lnTo>
                    <a:pt x="33709" y="741712"/>
                  </a:lnTo>
                  <a:lnTo>
                    <a:pt x="31233" y="741836"/>
                  </a:lnTo>
                  <a:lnTo>
                    <a:pt x="27689" y="742817"/>
                  </a:lnTo>
                  <a:lnTo>
                    <a:pt x="25803" y="742112"/>
                  </a:lnTo>
                  <a:lnTo>
                    <a:pt x="24917" y="739188"/>
                  </a:lnTo>
                  <a:lnTo>
                    <a:pt x="26337" y="736540"/>
                  </a:lnTo>
                  <a:lnTo>
                    <a:pt x="32023" y="730206"/>
                  </a:lnTo>
                  <a:lnTo>
                    <a:pt x="33995" y="727424"/>
                  </a:lnTo>
                  <a:lnTo>
                    <a:pt x="35109" y="724824"/>
                  </a:lnTo>
                  <a:lnTo>
                    <a:pt x="34928" y="723052"/>
                  </a:lnTo>
                  <a:lnTo>
                    <a:pt x="35881" y="719376"/>
                  </a:lnTo>
                  <a:lnTo>
                    <a:pt x="41443" y="712946"/>
                  </a:lnTo>
                  <a:lnTo>
                    <a:pt x="45977" y="709993"/>
                  </a:lnTo>
                  <a:lnTo>
                    <a:pt x="47463" y="712527"/>
                  </a:lnTo>
                  <a:lnTo>
                    <a:pt x="46196" y="720442"/>
                  </a:lnTo>
                  <a:lnTo>
                    <a:pt x="46206" y="723700"/>
                  </a:lnTo>
                  <a:lnTo>
                    <a:pt x="49787" y="712175"/>
                  </a:lnTo>
                  <a:lnTo>
                    <a:pt x="51368" y="709422"/>
                  </a:lnTo>
                  <a:lnTo>
                    <a:pt x="53159" y="707479"/>
                  </a:lnTo>
                  <a:lnTo>
                    <a:pt x="57503" y="706174"/>
                  </a:lnTo>
                  <a:lnTo>
                    <a:pt x="58731" y="704345"/>
                  </a:lnTo>
                  <a:lnTo>
                    <a:pt x="53664" y="704945"/>
                  </a:lnTo>
                  <a:lnTo>
                    <a:pt x="41386" y="709365"/>
                  </a:lnTo>
                  <a:lnTo>
                    <a:pt x="36214" y="713299"/>
                  </a:lnTo>
                  <a:lnTo>
                    <a:pt x="34833" y="716318"/>
                  </a:lnTo>
                  <a:lnTo>
                    <a:pt x="31242" y="720871"/>
                  </a:lnTo>
                  <a:lnTo>
                    <a:pt x="29556" y="723814"/>
                  </a:lnTo>
                  <a:lnTo>
                    <a:pt x="28813" y="728139"/>
                  </a:lnTo>
                  <a:lnTo>
                    <a:pt x="26794" y="730482"/>
                  </a:lnTo>
                  <a:lnTo>
                    <a:pt x="24060" y="731349"/>
                  </a:lnTo>
                  <a:lnTo>
                    <a:pt x="20269" y="736797"/>
                  </a:lnTo>
                  <a:lnTo>
                    <a:pt x="18593" y="741169"/>
                  </a:lnTo>
                  <a:lnTo>
                    <a:pt x="14821" y="744636"/>
                  </a:lnTo>
                  <a:lnTo>
                    <a:pt x="12430" y="747303"/>
                  </a:lnTo>
                  <a:lnTo>
                    <a:pt x="11640" y="748255"/>
                  </a:lnTo>
                  <a:lnTo>
                    <a:pt x="10344" y="750865"/>
                  </a:lnTo>
                  <a:lnTo>
                    <a:pt x="9268" y="751056"/>
                  </a:lnTo>
                  <a:lnTo>
                    <a:pt x="8334" y="749522"/>
                  </a:lnTo>
                  <a:lnTo>
                    <a:pt x="8172" y="746150"/>
                  </a:lnTo>
                  <a:lnTo>
                    <a:pt x="8554" y="740740"/>
                  </a:lnTo>
                  <a:lnTo>
                    <a:pt x="10373" y="736835"/>
                  </a:lnTo>
                  <a:lnTo>
                    <a:pt x="11239" y="733015"/>
                  </a:lnTo>
                  <a:lnTo>
                    <a:pt x="10040" y="729444"/>
                  </a:lnTo>
                  <a:lnTo>
                    <a:pt x="10878" y="727177"/>
                  </a:lnTo>
                  <a:lnTo>
                    <a:pt x="12468" y="727262"/>
                  </a:lnTo>
                  <a:lnTo>
                    <a:pt x="15440" y="728291"/>
                  </a:lnTo>
                  <a:lnTo>
                    <a:pt x="18593" y="728129"/>
                  </a:lnTo>
                  <a:lnTo>
                    <a:pt x="23784" y="725300"/>
                  </a:lnTo>
                  <a:lnTo>
                    <a:pt x="22955" y="723643"/>
                  </a:lnTo>
                  <a:lnTo>
                    <a:pt x="20717" y="723405"/>
                  </a:lnTo>
                  <a:lnTo>
                    <a:pt x="16536" y="723643"/>
                  </a:lnTo>
                  <a:lnTo>
                    <a:pt x="13021" y="720871"/>
                  </a:lnTo>
                  <a:lnTo>
                    <a:pt x="10287" y="715347"/>
                  </a:lnTo>
                  <a:lnTo>
                    <a:pt x="9049" y="707936"/>
                  </a:lnTo>
                  <a:lnTo>
                    <a:pt x="9878" y="705812"/>
                  </a:lnTo>
                  <a:lnTo>
                    <a:pt x="19993" y="698230"/>
                  </a:lnTo>
                  <a:lnTo>
                    <a:pt x="22717" y="694773"/>
                  </a:lnTo>
                  <a:lnTo>
                    <a:pt x="21136" y="694430"/>
                  </a:lnTo>
                  <a:lnTo>
                    <a:pt x="17336" y="698621"/>
                  </a:lnTo>
                  <a:lnTo>
                    <a:pt x="11906" y="701211"/>
                  </a:lnTo>
                  <a:lnTo>
                    <a:pt x="8477" y="697601"/>
                  </a:lnTo>
                  <a:lnTo>
                    <a:pt x="6696" y="693706"/>
                  </a:lnTo>
                  <a:lnTo>
                    <a:pt x="5667" y="685448"/>
                  </a:lnTo>
                  <a:lnTo>
                    <a:pt x="6039" y="681190"/>
                  </a:lnTo>
                  <a:lnTo>
                    <a:pt x="5610" y="675580"/>
                  </a:lnTo>
                  <a:lnTo>
                    <a:pt x="7934" y="673751"/>
                  </a:lnTo>
                  <a:lnTo>
                    <a:pt x="10525" y="674723"/>
                  </a:lnTo>
                  <a:lnTo>
                    <a:pt x="13087" y="675084"/>
                  </a:lnTo>
                  <a:lnTo>
                    <a:pt x="18888" y="674589"/>
                  </a:lnTo>
                  <a:lnTo>
                    <a:pt x="31690" y="671208"/>
                  </a:lnTo>
                  <a:lnTo>
                    <a:pt x="39938" y="673218"/>
                  </a:lnTo>
                  <a:lnTo>
                    <a:pt x="43291" y="673037"/>
                  </a:lnTo>
                  <a:lnTo>
                    <a:pt x="48425" y="670122"/>
                  </a:lnTo>
                  <a:lnTo>
                    <a:pt x="52911" y="669827"/>
                  </a:lnTo>
                  <a:lnTo>
                    <a:pt x="56274" y="672046"/>
                  </a:lnTo>
                  <a:lnTo>
                    <a:pt x="58112" y="674599"/>
                  </a:lnTo>
                  <a:lnTo>
                    <a:pt x="58341" y="677999"/>
                  </a:lnTo>
                  <a:lnTo>
                    <a:pt x="59893" y="680266"/>
                  </a:lnTo>
                  <a:lnTo>
                    <a:pt x="60941" y="679523"/>
                  </a:lnTo>
                  <a:lnTo>
                    <a:pt x="60103" y="676827"/>
                  </a:lnTo>
                  <a:lnTo>
                    <a:pt x="59932" y="672646"/>
                  </a:lnTo>
                  <a:lnTo>
                    <a:pt x="73428" y="667893"/>
                  </a:lnTo>
                  <a:lnTo>
                    <a:pt x="75019" y="666045"/>
                  </a:lnTo>
                  <a:lnTo>
                    <a:pt x="69657" y="665397"/>
                  </a:lnTo>
                  <a:lnTo>
                    <a:pt x="68123" y="661045"/>
                  </a:lnTo>
                  <a:lnTo>
                    <a:pt x="70952" y="654434"/>
                  </a:lnTo>
                  <a:lnTo>
                    <a:pt x="70685" y="653577"/>
                  </a:lnTo>
                  <a:lnTo>
                    <a:pt x="67704" y="657073"/>
                  </a:lnTo>
                  <a:lnTo>
                    <a:pt x="66237" y="661968"/>
                  </a:lnTo>
                  <a:lnTo>
                    <a:pt x="66828" y="665874"/>
                  </a:lnTo>
                  <a:lnTo>
                    <a:pt x="66237" y="667683"/>
                  </a:lnTo>
                  <a:lnTo>
                    <a:pt x="63494" y="668512"/>
                  </a:lnTo>
                  <a:lnTo>
                    <a:pt x="57322" y="668817"/>
                  </a:lnTo>
                  <a:lnTo>
                    <a:pt x="53359" y="667160"/>
                  </a:lnTo>
                  <a:lnTo>
                    <a:pt x="49692" y="666264"/>
                  </a:lnTo>
                  <a:lnTo>
                    <a:pt x="48444" y="665016"/>
                  </a:lnTo>
                  <a:lnTo>
                    <a:pt x="48863" y="662226"/>
                  </a:lnTo>
                  <a:lnTo>
                    <a:pt x="48168" y="661645"/>
                  </a:lnTo>
                  <a:lnTo>
                    <a:pt x="46644" y="664150"/>
                  </a:lnTo>
                  <a:lnTo>
                    <a:pt x="45291" y="669131"/>
                  </a:lnTo>
                  <a:lnTo>
                    <a:pt x="42377" y="670284"/>
                  </a:lnTo>
                  <a:lnTo>
                    <a:pt x="34328" y="668436"/>
                  </a:lnTo>
                  <a:lnTo>
                    <a:pt x="22679" y="669522"/>
                  </a:lnTo>
                  <a:lnTo>
                    <a:pt x="17450" y="672017"/>
                  </a:lnTo>
                  <a:lnTo>
                    <a:pt x="14069" y="671693"/>
                  </a:lnTo>
                  <a:lnTo>
                    <a:pt x="8239" y="667312"/>
                  </a:lnTo>
                  <a:lnTo>
                    <a:pt x="5972" y="663816"/>
                  </a:lnTo>
                  <a:lnTo>
                    <a:pt x="5124" y="656749"/>
                  </a:lnTo>
                  <a:lnTo>
                    <a:pt x="5467" y="653634"/>
                  </a:lnTo>
                  <a:lnTo>
                    <a:pt x="10001" y="652320"/>
                  </a:lnTo>
                  <a:lnTo>
                    <a:pt x="12297" y="652405"/>
                  </a:lnTo>
                  <a:lnTo>
                    <a:pt x="14449" y="650729"/>
                  </a:lnTo>
                  <a:lnTo>
                    <a:pt x="12545" y="649634"/>
                  </a:lnTo>
                  <a:lnTo>
                    <a:pt x="9868" y="647481"/>
                  </a:lnTo>
                  <a:lnTo>
                    <a:pt x="8049" y="643176"/>
                  </a:lnTo>
                  <a:lnTo>
                    <a:pt x="5296" y="641766"/>
                  </a:lnTo>
                  <a:lnTo>
                    <a:pt x="3458" y="638080"/>
                  </a:lnTo>
                  <a:lnTo>
                    <a:pt x="2991" y="632508"/>
                  </a:lnTo>
                  <a:lnTo>
                    <a:pt x="3515" y="628621"/>
                  </a:lnTo>
                  <a:lnTo>
                    <a:pt x="4982" y="627374"/>
                  </a:lnTo>
                  <a:lnTo>
                    <a:pt x="8515" y="628221"/>
                  </a:lnTo>
                  <a:lnTo>
                    <a:pt x="17831" y="627564"/>
                  </a:lnTo>
                  <a:lnTo>
                    <a:pt x="26594" y="631527"/>
                  </a:lnTo>
                  <a:lnTo>
                    <a:pt x="32547" y="633755"/>
                  </a:lnTo>
                  <a:lnTo>
                    <a:pt x="44596" y="632631"/>
                  </a:lnTo>
                  <a:lnTo>
                    <a:pt x="51654" y="629098"/>
                  </a:lnTo>
                  <a:lnTo>
                    <a:pt x="50359" y="628126"/>
                  </a:lnTo>
                  <a:lnTo>
                    <a:pt x="42701" y="630164"/>
                  </a:lnTo>
                  <a:lnTo>
                    <a:pt x="35624" y="630079"/>
                  </a:lnTo>
                  <a:lnTo>
                    <a:pt x="23146" y="626088"/>
                  </a:lnTo>
                  <a:lnTo>
                    <a:pt x="18031" y="624802"/>
                  </a:lnTo>
                  <a:lnTo>
                    <a:pt x="12516" y="625373"/>
                  </a:lnTo>
                  <a:lnTo>
                    <a:pt x="9649" y="624164"/>
                  </a:lnTo>
                  <a:lnTo>
                    <a:pt x="7963" y="620201"/>
                  </a:lnTo>
                  <a:lnTo>
                    <a:pt x="9211" y="612600"/>
                  </a:lnTo>
                  <a:lnTo>
                    <a:pt x="11820" y="610962"/>
                  </a:lnTo>
                  <a:lnTo>
                    <a:pt x="13230" y="612943"/>
                  </a:lnTo>
                  <a:lnTo>
                    <a:pt x="14935" y="613067"/>
                  </a:lnTo>
                  <a:lnTo>
                    <a:pt x="16669" y="609886"/>
                  </a:lnTo>
                  <a:lnTo>
                    <a:pt x="18317" y="608067"/>
                  </a:lnTo>
                  <a:lnTo>
                    <a:pt x="19631" y="603952"/>
                  </a:lnTo>
                  <a:lnTo>
                    <a:pt x="24575" y="600037"/>
                  </a:lnTo>
                  <a:lnTo>
                    <a:pt x="26661" y="599704"/>
                  </a:lnTo>
                  <a:lnTo>
                    <a:pt x="29651" y="597903"/>
                  </a:lnTo>
                  <a:lnTo>
                    <a:pt x="31566" y="598418"/>
                  </a:lnTo>
                  <a:lnTo>
                    <a:pt x="32785" y="600227"/>
                  </a:lnTo>
                  <a:lnTo>
                    <a:pt x="34338" y="601723"/>
                  </a:lnTo>
                  <a:lnTo>
                    <a:pt x="37690" y="601542"/>
                  </a:lnTo>
                  <a:lnTo>
                    <a:pt x="47615" y="598399"/>
                  </a:lnTo>
                  <a:lnTo>
                    <a:pt x="48682" y="597475"/>
                  </a:lnTo>
                  <a:lnTo>
                    <a:pt x="50616" y="594893"/>
                  </a:lnTo>
                  <a:lnTo>
                    <a:pt x="44330" y="596046"/>
                  </a:lnTo>
                  <a:lnTo>
                    <a:pt x="39110" y="597875"/>
                  </a:lnTo>
                  <a:lnTo>
                    <a:pt x="35748" y="598389"/>
                  </a:lnTo>
                  <a:lnTo>
                    <a:pt x="35271" y="596094"/>
                  </a:lnTo>
                  <a:lnTo>
                    <a:pt x="36509" y="594065"/>
                  </a:lnTo>
                  <a:lnTo>
                    <a:pt x="38453" y="591893"/>
                  </a:lnTo>
                  <a:lnTo>
                    <a:pt x="39396" y="588188"/>
                  </a:lnTo>
                  <a:lnTo>
                    <a:pt x="41539" y="586607"/>
                  </a:lnTo>
                  <a:lnTo>
                    <a:pt x="43853" y="586692"/>
                  </a:lnTo>
                  <a:lnTo>
                    <a:pt x="48635" y="586016"/>
                  </a:lnTo>
                  <a:lnTo>
                    <a:pt x="52007" y="585054"/>
                  </a:lnTo>
                  <a:lnTo>
                    <a:pt x="57788" y="585692"/>
                  </a:lnTo>
                  <a:lnTo>
                    <a:pt x="66418" y="587111"/>
                  </a:lnTo>
                  <a:lnTo>
                    <a:pt x="71971" y="590559"/>
                  </a:lnTo>
                  <a:lnTo>
                    <a:pt x="74066" y="590245"/>
                  </a:lnTo>
                  <a:lnTo>
                    <a:pt x="76286" y="589331"/>
                  </a:lnTo>
                  <a:lnTo>
                    <a:pt x="77296" y="588083"/>
                  </a:lnTo>
                  <a:lnTo>
                    <a:pt x="72933" y="586654"/>
                  </a:lnTo>
                  <a:lnTo>
                    <a:pt x="72685" y="584606"/>
                  </a:lnTo>
                  <a:lnTo>
                    <a:pt x="73228" y="583063"/>
                  </a:lnTo>
                  <a:lnTo>
                    <a:pt x="80353" y="580215"/>
                  </a:lnTo>
                  <a:lnTo>
                    <a:pt x="88125" y="579587"/>
                  </a:lnTo>
                  <a:lnTo>
                    <a:pt x="86792" y="577291"/>
                  </a:lnTo>
                  <a:lnTo>
                    <a:pt x="69761" y="580758"/>
                  </a:lnTo>
                  <a:lnTo>
                    <a:pt x="65313" y="578387"/>
                  </a:lnTo>
                  <a:lnTo>
                    <a:pt x="61798" y="578406"/>
                  </a:lnTo>
                  <a:lnTo>
                    <a:pt x="59503" y="579758"/>
                  </a:lnTo>
                  <a:lnTo>
                    <a:pt x="52950" y="581397"/>
                  </a:lnTo>
                  <a:lnTo>
                    <a:pt x="51749" y="580234"/>
                  </a:lnTo>
                  <a:lnTo>
                    <a:pt x="52997" y="576215"/>
                  </a:lnTo>
                  <a:lnTo>
                    <a:pt x="56922" y="569605"/>
                  </a:lnTo>
                  <a:lnTo>
                    <a:pt x="57245" y="567985"/>
                  </a:lnTo>
                  <a:lnTo>
                    <a:pt x="59065" y="566385"/>
                  </a:lnTo>
                  <a:lnTo>
                    <a:pt x="69237" y="562527"/>
                  </a:lnTo>
                  <a:lnTo>
                    <a:pt x="74124" y="558032"/>
                  </a:lnTo>
                  <a:lnTo>
                    <a:pt x="76324" y="557460"/>
                  </a:lnTo>
                  <a:lnTo>
                    <a:pt x="78505" y="557775"/>
                  </a:lnTo>
                  <a:lnTo>
                    <a:pt x="81829" y="557251"/>
                  </a:lnTo>
                  <a:lnTo>
                    <a:pt x="88249" y="558536"/>
                  </a:lnTo>
                  <a:lnTo>
                    <a:pt x="91212" y="564156"/>
                  </a:lnTo>
                  <a:lnTo>
                    <a:pt x="93869" y="565918"/>
                  </a:lnTo>
                  <a:lnTo>
                    <a:pt x="102222" y="572910"/>
                  </a:lnTo>
                  <a:lnTo>
                    <a:pt x="101851" y="570910"/>
                  </a:lnTo>
                  <a:lnTo>
                    <a:pt x="94612" y="561413"/>
                  </a:lnTo>
                  <a:lnTo>
                    <a:pt x="91850" y="559051"/>
                  </a:lnTo>
                  <a:lnTo>
                    <a:pt x="89783" y="554365"/>
                  </a:lnTo>
                  <a:lnTo>
                    <a:pt x="90488" y="549926"/>
                  </a:lnTo>
                  <a:lnTo>
                    <a:pt x="92812" y="546954"/>
                  </a:lnTo>
                  <a:lnTo>
                    <a:pt x="101070" y="545363"/>
                  </a:lnTo>
                  <a:lnTo>
                    <a:pt x="102546" y="543639"/>
                  </a:lnTo>
                  <a:lnTo>
                    <a:pt x="102699" y="540677"/>
                  </a:lnTo>
                  <a:lnTo>
                    <a:pt x="101432" y="538648"/>
                  </a:lnTo>
                  <a:lnTo>
                    <a:pt x="98393" y="538763"/>
                  </a:lnTo>
                  <a:lnTo>
                    <a:pt x="95888" y="537505"/>
                  </a:lnTo>
                  <a:lnTo>
                    <a:pt x="95202" y="534305"/>
                  </a:lnTo>
                  <a:lnTo>
                    <a:pt x="96203" y="532133"/>
                  </a:lnTo>
                  <a:lnTo>
                    <a:pt x="100965" y="528161"/>
                  </a:lnTo>
                  <a:lnTo>
                    <a:pt x="103565" y="526875"/>
                  </a:lnTo>
                  <a:lnTo>
                    <a:pt x="108080" y="525485"/>
                  </a:lnTo>
                  <a:lnTo>
                    <a:pt x="115919" y="528628"/>
                  </a:lnTo>
                  <a:lnTo>
                    <a:pt x="116519" y="530266"/>
                  </a:lnTo>
                  <a:lnTo>
                    <a:pt x="114319" y="534210"/>
                  </a:lnTo>
                  <a:lnTo>
                    <a:pt x="114538" y="536419"/>
                  </a:lnTo>
                  <a:lnTo>
                    <a:pt x="116462" y="536658"/>
                  </a:lnTo>
                  <a:lnTo>
                    <a:pt x="120939" y="530009"/>
                  </a:lnTo>
                  <a:lnTo>
                    <a:pt x="126206" y="529085"/>
                  </a:lnTo>
                  <a:lnTo>
                    <a:pt x="128388" y="527656"/>
                  </a:lnTo>
                  <a:lnTo>
                    <a:pt x="130921" y="526752"/>
                  </a:lnTo>
                  <a:lnTo>
                    <a:pt x="134531" y="532771"/>
                  </a:lnTo>
                  <a:lnTo>
                    <a:pt x="136122" y="534695"/>
                  </a:lnTo>
                  <a:lnTo>
                    <a:pt x="137313" y="535486"/>
                  </a:lnTo>
                  <a:lnTo>
                    <a:pt x="138465" y="540477"/>
                  </a:lnTo>
                  <a:lnTo>
                    <a:pt x="139580" y="540744"/>
                  </a:lnTo>
                  <a:lnTo>
                    <a:pt x="141170" y="538248"/>
                  </a:lnTo>
                  <a:lnTo>
                    <a:pt x="144056" y="536924"/>
                  </a:lnTo>
                  <a:lnTo>
                    <a:pt x="148104" y="536057"/>
                  </a:lnTo>
                  <a:lnTo>
                    <a:pt x="154810" y="537381"/>
                  </a:lnTo>
                  <a:lnTo>
                    <a:pt x="157849" y="536400"/>
                  </a:lnTo>
                  <a:lnTo>
                    <a:pt x="159334" y="536543"/>
                  </a:lnTo>
                  <a:lnTo>
                    <a:pt x="157905" y="532057"/>
                  </a:lnTo>
                  <a:lnTo>
                    <a:pt x="157020" y="530752"/>
                  </a:lnTo>
                  <a:lnTo>
                    <a:pt x="158401" y="526733"/>
                  </a:lnTo>
                  <a:lnTo>
                    <a:pt x="159839" y="525161"/>
                  </a:lnTo>
                  <a:lnTo>
                    <a:pt x="164468" y="522332"/>
                  </a:lnTo>
                  <a:lnTo>
                    <a:pt x="168888" y="521065"/>
                  </a:lnTo>
                  <a:lnTo>
                    <a:pt x="171774" y="518379"/>
                  </a:lnTo>
                  <a:lnTo>
                    <a:pt x="175651" y="515893"/>
                  </a:lnTo>
                  <a:lnTo>
                    <a:pt x="175041" y="513912"/>
                  </a:lnTo>
                  <a:lnTo>
                    <a:pt x="173965" y="511607"/>
                  </a:lnTo>
                  <a:lnTo>
                    <a:pt x="171450" y="511464"/>
                  </a:lnTo>
                  <a:lnTo>
                    <a:pt x="170431" y="510207"/>
                  </a:lnTo>
                  <a:lnTo>
                    <a:pt x="173612" y="507216"/>
                  </a:lnTo>
                  <a:lnTo>
                    <a:pt x="177975" y="503882"/>
                  </a:lnTo>
                  <a:lnTo>
                    <a:pt x="177213" y="502568"/>
                  </a:lnTo>
                  <a:lnTo>
                    <a:pt x="173936" y="501082"/>
                  </a:lnTo>
                  <a:lnTo>
                    <a:pt x="171450" y="502196"/>
                  </a:lnTo>
                  <a:lnTo>
                    <a:pt x="167754" y="504777"/>
                  </a:lnTo>
                  <a:lnTo>
                    <a:pt x="163449" y="508854"/>
                  </a:lnTo>
                  <a:lnTo>
                    <a:pt x="164849" y="510045"/>
                  </a:lnTo>
                  <a:lnTo>
                    <a:pt x="167002" y="513464"/>
                  </a:lnTo>
                  <a:lnTo>
                    <a:pt x="164002" y="517998"/>
                  </a:lnTo>
                  <a:lnTo>
                    <a:pt x="148076" y="529990"/>
                  </a:lnTo>
                  <a:lnTo>
                    <a:pt x="140484" y="533486"/>
                  </a:lnTo>
                  <a:lnTo>
                    <a:pt x="136979" y="532943"/>
                  </a:lnTo>
                  <a:lnTo>
                    <a:pt x="136141" y="529676"/>
                  </a:lnTo>
                  <a:lnTo>
                    <a:pt x="134531" y="527266"/>
                  </a:lnTo>
                  <a:lnTo>
                    <a:pt x="132798" y="522265"/>
                  </a:lnTo>
                  <a:lnTo>
                    <a:pt x="129845" y="522399"/>
                  </a:lnTo>
                  <a:lnTo>
                    <a:pt x="128168" y="523504"/>
                  </a:lnTo>
                  <a:lnTo>
                    <a:pt x="127445" y="521865"/>
                  </a:lnTo>
                  <a:lnTo>
                    <a:pt x="128711" y="516512"/>
                  </a:lnTo>
                  <a:lnTo>
                    <a:pt x="131207" y="512274"/>
                  </a:lnTo>
                  <a:lnTo>
                    <a:pt x="135389" y="509064"/>
                  </a:lnTo>
                  <a:lnTo>
                    <a:pt x="137398" y="505177"/>
                  </a:lnTo>
                  <a:lnTo>
                    <a:pt x="139284" y="498996"/>
                  </a:lnTo>
                  <a:lnTo>
                    <a:pt x="145332" y="493090"/>
                  </a:lnTo>
                  <a:lnTo>
                    <a:pt x="154134" y="478403"/>
                  </a:lnTo>
                  <a:lnTo>
                    <a:pt x="161306" y="473688"/>
                  </a:lnTo>
                  <a:lnTo>
                    <a:pt x="163935" y="468516"/>
                  </a:lnTo>
                  <a:lnTo>
                    <a:pt x="168164" y="466230"/>
                  </a:lnTo>
                  <a:lnTo>
                    <a:pt x="171774" y="462182"/>
                  </a:lnTo>
                  <a:lnTo>
                    <a:pt x="174603" y="461782"/>
                  </a:lnTo>
                  <a:lnTo>
                    <a:pt x="179746" y="458124"/>
                  </a:lnTo>
                  <a:lnTo>
                    <a:pt x="182661" y="453761"/>
                  </a:lnTo>
                  <a:lnTo>
                    <a:pt x="180756" y="453495"/>
                  </a:lnTo>
                  <a:lnTo>
                    <a:pt x="176232" y="456324"/>
                  </a:lnTo>
                  <a:lnTo>
                    <a:pt x="173669" y="457467"/>
                  </a:lnTo>
                  <a:lnTo>
                    <a:pt x="173850" y="452790"/>
                  </a:lnTo>
                  <a:lnTo>
                    <a:pt x="175089" y="447980"/>
                  </a:lnTo>
                  <a:lnTo>
                    <a:pt x="178813" y="443570"/>
                  </a:lnTo>
                  <a:lnTo>
                    <a:pt x="196730" y="430701"/>
                  </a:lnTo>
                  <a:lnTo>
                    <a:pt x="198520" y="432835"/>
                  </a:lnTo>
                  <a:lnTo>
                    <a:pt x="200663" y="436607"/>
                  </a:lnTo>
                  <a:lnTo>
                    <a:pt x="206054" y="435759"/>
                  </a:lnTo>
                  <a:lnTo>
                    <a:pt x="212208" y="428454"/>
                  </a:lnTo>
                  <a:lnTo>
                    <a:pt x="216941" y="420481"/>
                  </a:lnTo>
                  <a:lnTo>
                    <a:pt x="214379" y="421872"/>
                  </a:lnTo>
                  <a:lnTo>
                    <a:pt x="211589" y="425139"/>
                  </a:lnTo>
                  <a:lnTo>
                    <a:pt x="206150" y="429663"/>
                  </a:lnTo>
                  <a:lnTo>
                    <a:pt x="203635" y="430378"/>
                  </a:lnTo>
                  <a:lnTo>
                    <a:pt x="202197" y="429787"/>
                  </a:lnTo>
                  <a:lnTo>
                    <a:pt x="201397" y="426768"/>
                  </a:lnTo>
                  <a:lnTo>
                    <a:pt x="199511" y="425787"/>
                  </a:lnTo>
                  <a:lnTo>
                    <a:pt x="197806" y="426463"/>
                  </a:lnTo>
                  <a:lnTo>
                    <a:pt x="196044" y="424310"/>
                  </a:lnTo>
                  <a:lnTo>
                    <a:pt x="195729" y="418986"/>
                  </a:lnTo>
                  <a:lnTo>
                    <a:pt x="197977" y="411032"/>
                  </a:lnTo>
                  <a:lnTo>
                    <a:pt x="199758" y="405755"/>
                  </a:lnTo>
                  <a:lnTo>
                    <a:pt x="201682" y="401745"/>
                  </a:lnTo>
                  <a:lnTo>
                    <a:pt x="209245" y="390315"/>
                  </a:lnTo>
                  <a:lnTo>
                    <a:pt x="210874" y="384048"/>
                  </a:lnTo>
                  <a:lnTo>
                    <a:pt x="214294" y="380733"/>
                  </a:lnTo>
                  <a:lnTo>
                    <a:pt x="218732" y="381467"/>
                  </a:lnTo>
                  <a:lnTo>
                    <a:pt x="220075" y="380505"/>
                  </a:lnTo>
                  <a:lnTo>
                    <a:pt x="218551" y="376371"/>
                  </a:lnTo>
                  <a:lnTo>
                    <a:pt x="213713" y="373094"/>
                  </a:lnTo>
                  <a:lnTo>
                    <a:pt x="213417" y="371027"/>
                  </a:lnTo>
                  <a:lnTo>
                    <a:pt x="229543" y="365589"/>
                  </a:lnTo>
                  <a:lnTo>
                    <a:pt x="237220" y="365770"/>
                  </a:lnTo>
                  <a:lnTo>
                    <a:pt x="239496" y="363055"/>
                  </a:lnTo>
                  <a:lnTo>
                    <a:pt x="243669" y="361302"/>
                  </a:lnTo>
                  <a:lnTo>
                    <a:pt x="246831" y="357969"/>
                  </a:lnTo>
                  <a:lnTo>
                    <a:pt x="245202" y="356492"/>
                  </a:lnTo>
                  <a:lnTo>
                    <a:pt x="237401" y="359559"/>
                  </a:lnTo>
                  <a:lnTo>
                    <a:pt x="232524" y="360997"/>
                  </a:lnTo>
                  <a:lnTo>
                    <a:pt x="230324" y="360950"/>
                  </a:lnTo>
                  <a:lnTo>
                    <a:pt x="228600" y="361998"/>
                  </a:lnTo>
                  <a:lnTo>
                    <a:pt x="222371" y="362398"/>
                  </a:lnTo>
                  <a:lnTo>
                    <a:pt x="221009" y="349091"/>
                  </a:lnTo>
                  <a:lnTo>
                    <a:pt x="221990" y="341824"/>
                  </a:lnTo>
                  <a:lnTo>
                    <a:pt x="224314" y="341976"/>
                  </a:lnTo>
                  <a:lnTo>
                    <a:pt x="224847" y="335013"/>
                  </a:lnTo>
                  <a:lnTo>
                    <a:pt x="227533" y="330889"/>
                  </a:lnTo>
                  <a:lnTo>
                    <a:pt x="231238" y="329965"/>
                  </a:lnTo>
                  <a:lnTo>
                    <a:pt x="233106" y="328203"/>
                  </a:lnTo>
                  <a:lnTo>
                    <a:pt x="235801" y="324602"/>
                  </a:lnTo>
                  <a:lnTo>
                    <a:pt x="240259" y="325431"/>
                  </a:lnTo>
                  <a:lnTo>
                    <a:pt x="244840" y="324631"/>
                  </a:lnTo>
                  <a:lnTo>
                    <a:pt x="243697" y="322926"/>
                  </a:lnTo>
                  <a:lnTo>
                    <a:pt x="238011" y="320735"/>
                  </a:lnTo>
                  <a:lnTo>
                    <a:pt x="236611" y="316963"/>
                  </a:lnTo>
                  <a:lnTo>
                    <a:pt x="238611" y="314849"/>
                  </a:lnTo>
                  <a:lnTo>
                    <a:pt x="240792" y="313296"/>
                  </a:lnTo>
                  <a:lnTo>
                    <a:pt x="242716" y="313020"/>
                  </a:lnTo>
                  <a:lnTo>
                    <a:pt x="246516" y="305619"/>
                  </a:lnTo>
                  <a:lnTo>
                    <a:pt x="248831" y="302447"/>
                  </a:lnTo>
                  <a:lnTo>
                    <a:pt x="251413" y="303000"/>
                  </a:lnTo>
                  <a:lnTo>
                    <a:pt x="255013" y="299723"/>
                  </a:lnTo>
                  <a:lnTo>
                    <a:pt x="258556" y="300838"/>
                  </a:lnTo>
                  <a:lnTo>
                    <a:pt x="261976" y="298694"/>
                  </a:lnTo>
                  <a:lnTo>
                    <a:pt x="266652" y="297275"/>
                  </a:lnTo>
                  <a:lnTo>
                    <a:pt x="283769" y="296732"/>
                  </a:lnTo>
                  <a:lnTo>
                    <a:pt x="284274" y="293675"/>
                  </a:lnTo>
                  <a:lnTo>
                    <a:pt x="280673" y="292970"/>
                  </a:lnTo>
                  <a:lnTo>
                    <a:pt x="267957" y="292179"/>
                  </a:lnTo>
                  <a:lnTo>
                    <a:pt x="261461" y="292246"/>
                  </a:lnTo>
                  <a:lnTo>
                    <a:pt x="258728" y="293037"/>
                  </a:lnTo>
                  <a:lnTo>
                    <a:pt x="257727" y="291970"/>
                  </a:lnTo>
                  <a:lnTo>
                    <a:pt x="257909" y="290141"/>
                  </a:lnTo>
                  <a:lnTo>
                    <a:pt x="260271" y="287236"/>
                  </a:lnTo>
                  <a:lnTo>
                    <a:pt x="261385" y="284026"/>
                  </a:lnTo>
                  <a:lnTo>
                    <a:pt x="266109" y="276158"/>
                  </a:lnTo>
                  <a:lnTo>
                    <a:pt x="271643" y="270900"/>
                  </a:lnTo>
                  <a:lnTo>
                    <a:pt x="275882" y="272244"/>
                  </a:lnTo>
                  <a:lnTo>
                    <a:pt x="280388" y="277263"/>
                  </a:lnTo>
                  <a:lnTo>
                    <a:pt x="283597" y="277892"/>
                  </a:lnTo>
                  <a:lnTo>
                    <a:pt x="285093" y="279511"/>
                  </a:lnTo>
                  <a:lnTo>
                    <a:pt x="287436" y="286407"/>
                  </a:lnTo>
                  <a:lnTo>
                    <a:pt x="288550" y="286626"/>
                  </a:lnTo>
                  <a:lnTo>
                    <a:pt x="288046" y="280006"/>
                  </a:lnTo>
                  <a:lnTo>
                    <a:pt x="291141" y="274596"/>
                  </a:lnTo>
                  <a:lnTo>
                    <a:pt x="290341" y="273101"/>
                  </a:lnTo>
                  <a:lnTo>
                    <a:pt x="285693" y="275063"/>
                  </a:lnTo>
                  <a:lnTo>
                    <a:pt x="282130" y="273025"/>
                  </a:lnTo>
                  <a:lnTo>
                    <a:pt x="279321" y="268948"/>
                  </a:lnTo>
                  <a:lnTo>
                    <a:pt x="278521" y="265214"/>
                  </a:lnTo>
                  <a:lnTo>
                    <a:pt x="280273" y="261518"/>
                  </a:lnTo>
                  <a:lnTo>
                    <a:pt x="281921" y="259651"/>
                  </a:lnTo>
                  <a:lnTo>
                    <a:pt x="280807" y="257470"/>
                  </a:lnTo>
                  <a:lnTo>
                    <a:pt x="273777" y="263290"/>
                  </a:lnTo>
                  <a:lnTo>
                    <a:pt x="268805" y="264652"/>
                  </a:lnTo>
                  <a:lnTo>
                    <a:pt x="266843" y="263842"/>
                  </a:lnTo>
                  <a:lnTo>
                    <a:pt x="267901" y="258566"/>
                  </a:lnTo>
                  <a:lnTo>
                    <a:pt x="267310" y="254365"/>
                  </a:lnTo>
                  <a:lnTo>
                    <a:pt x="273977" y="243983"/>
                  </a:lnTo>
                  <a:lnTo>
                    <a:pt x="276273" y="242783"/>
                  </a:lnTo>
                  <a:lnTo>
                    <a:pt x="280016" y="243621"/>
                  </a:lnTo>
                  <a:lnTo>
                    <a:pt x="283397" y="246555"/>
                  </a:lnTo>
                  <a:lnTo>
                    <a:pt x="286226" y="246088"/>
                  </a:lnTo>
                  <a:lnTo>
                    <a:pt x="289293" y="244516"/>
                  </a:lnTo>
                  <a:lnTo>
                    <a:pt x="288874" y="241697"/>
                  </a:lnTo>
                  <a:lnTo>
                    <a:pt x="282226" y="240573"/>
                  </a:lnTo>
                  <a:lnTo>
                    <a:pt x="280511" y="238230"/>
                  </a:lnTo>
                  <a:lnTo>
                    <a:pt x="281131" y="235915"/>
                  </a:lnTo>
                  <a:lnTo>
                    <a:pt x="285693" y="233477"/>
                  </a:lnTo>
                  <a:lnTo>
                    <a:pt x="290236" y="229067"/>
                  </a:lnTo>
                  <a:lnTo>
                    <a:pt x="295437" y="227781"/>
                  </a:lnTo>
                  <a:lnTo>
                    <a:pt x="299618" y="224438"/>
                  </a:lnTo>
                  <a:lnTo>
                    <a:pt x="300428" y="225200"/>
                  </a:lnTo>
                  <a:lnTo>
                    <a:pt x="301133" y="226514"/>
                  </a:lnTo>
                  <a:lnTo>
                    <a:pt x="302638" y="238877"/>
                  </a:lnTo>
                  <a:lnTo>
                    <a:pt x="306381" y="248898"/>
                  </a:lnTo>
                  <a:lnTo>
                    <a:pt x="307763" y="249260"/>
                  </a:lnTo>
                  <a:lnTo>
                    <a:pt x="306324" y="240744"/>
                  </a:lnTo>
                  <a:lnTo>
                    <a:pt x="307667" y="238287"/>
                  </a:lnTo>
                  <a:lnTo>
                    <a:pt x="309363" y="236420"/>
                  </a:lnTo>
                  <a:lnTo>
                    <a:pt x="309896" y="234286"/>
                  </a:lnTo>
                  <a:lnTo>
                    <a:pt x="307953" y="233562"/>
                  </a:lnTo>
                  <a:lnTo>
                    <a:pt x="306362" y="230496"/>
                  </a:lnTo>
                  <a:lnTo>
                    <a:pt x="304095" y="220656"/>
                  </a:lnTo>
                  <a:lnTo>
                    <a:pt x="304876" y="218084"/>
                  </a:lnTo>
                  <a:lnTo>
                    <a:pt x="309801" y="212808"/>
                  </a:lnTo>
                  <a:lnTo>
                    <a:pt x="315973" y="211598"/>
                  </a:lnTo>
                  <a:lnTo>
                    <a:pt x="322545" y="215294"/>
                  </a:lnTo>
                  <a:lnTo>
                    <a:pt x="324860" y="215332"/>
                  </a:lnTo>
                  <a:lnTo>
                    <a:pt x="328669" y="214341"/>
                  </a:lnTo>
                  <a:lnTo>
                    <a:pt x="335137" y="211293"/>
                  </a:lnTo>
                  <a:lnTo>
                    <a:pt x="338947" y="210131"/>
                  </a:lnTo>
                  <a:lnTo>
                    <a:pt x="340929" y="210131"/>
                  </a:lnTo>
                  <a:lnTo>
                    <a:pt x="341414" y="208588"/>
                  </a:lnTo>
                  <a:lnTo>
                    <a:pt x="339576" y="207597"/>
                  </a:lnTo>
                  <a:lnTo>
                    <a:pt x="338985" y="206635"/>
                  </a:lnTo>
                  <a:lnTo>
                    <a:pt x="337547" y="206083"/>
                  </a:lnTo>
                  <a:lnTo>
                    <a:pt x="331565" y="207731"/>
                  </a:lnTo>
                  <a:lnTo>
                    <a:pt x="315059" y="207207"/>
                  </a:lnTo>
                  <a:lnTo>
                    <a:pt x="313468" y="205445"/>
                  </a:lnTo>
                  <a:lnTo>
                    <a:pt x="313173" y="202387"/>
                  </a:lnTo>
                  <a:lnTo>
                    <a:pt x="314925" y="198006"/>
                  </a:lnTo>
                  <a:lnTo>
                    <a:pt x="316849" y="195577"/>
                  </a:lnTo>
                  <a:lnTo>
                    <a:pt x="323079" y="191205"/>
                  </a:lnTo>
                  <a:lnTo>
                    <a:pt x="329660" y="190614"/>
                  </a:lnTo>
                  <a:lnTo>
                    <a:pt x="336604" y="182813"/>
                  </a:lnTo>
                  <a:lnTo>
                    <a:pt x="339252" y="176946"/>
                  </a:lnTo>
                  <a:lnTo>
                    <a:pt x="340757" y="167850"/>
                  </a:lnTo>
                  <a:lnTo>
                    <a:pt x="344986" y="160458"/>
                  </a:lnTo>
                  <a:lnTo>
                    <a:pt x="355597" y="156239"/>
                  </a:lnTo>
                  <a:lnTo>
                    <a:pt x="356025" y="154372"/>
                  </a:lnTo>
                  <a:lnTo>
                    <a:pt x="354902" y="150495"/>
                  </a:lnTo>
                  <a:lnTo>
                    <a:pt x="354997" y="143504"/>
                  </a:lnTo>
                  <a:lnTo>
                    <a:pt x="357902" y="135322"/>
                  </a:lnTo>
                  <a:lnTo>
                    <a:pt x="359836" y="132474"/>
                  </a:lnTo>
                  <a:lnTo>
                    <a:pt x="360731" y="132131"/>
                  </a:lnTo>
                  <a:lnTo>
                    <a:pt x="363017" y="134817"/>
                  </a:lnTo>
                  <a:lnTo>
                    <a:pt x="365798" y="140513"/>
                  </a:lnTo>
                  <a:lnTo>
                    <a:pt x="370151" y="143770"/>
                  </a:lnTo>
                  <a:lnTo>
                    <a:pt x="375857" y="144332"/>
                  </a:lnTo>
                  <a:lnTo>
                    <a:pt x="377380" y="142732"/>
                  </a:lnTo>
                  <a:lnTo>
                    <a:pt x="372952" y="139494"/>
                  </a:lnTo>
                  <a:lnTo>
                    <a:pt x="369589" y="135246"/>
                  </a:lnTo>
                  <a:lnTo>
                    <a:pt x="369322" y="130969"/>
                  </a:lnTo>
                  <a:lnTo>
                    <a:pt x="370913" y="128702"/>
                  </a:lnTo>
                  <a:lnTo>
                    <a:pt x="373389" y="128949"/>
                  </a:lnTo>
                  <a:lnTo>
                    <a:pt x="376494" y="128473"/>
                  </a:lnTo>
                  <a:lnTo>
                    <a:pt x="379390" y="125587"/>
                  </a:lnTo>
                  <a:lnTo>
                    <a:pt x="379809" y="123558"/>
                  </a:lnTo>
                  <a:lnTo>
                    <a:pt x="379933" y="120796"/>
                  </a:lnTo>
                  <a:lnTo>
                    <a:pt x="380657" y="117986"/>
                  </a:lnTo>
                  <a:lnTo>
                    <a:pt x="384906" y="111252"/>
                  </a:lnTo>
                  <a:lnTo>
                    <a:pt x="397993" y="106861"/>
                  </a:lnTo>
                  <a:lnTo>
                    <a:pt x="398945" y="108652"/>
                  </a:lnTo>
                  <a:lnTo>
                    <a:pt x="398240" y="121634"/>
                  </a:lnTo>
                  <a:lnTo>
                    <a:pt x="396735" y="129978"/>
                  </a:lnTo>
                  <a:lnTo>
                    <a:pt x="396783" y="136055"/>
                  </a:lnTo>
                  <a:lnTo>
                    <a:pt x="399336" y="129978"/>
                  </a:lnTo>
                  <a:lnTo>
                    <a:pt x="402746" y="113243"/>
                  </a:lnTo>
                  <a:lnTo>
                    <a:pt x="405317" y="105318"/>
                  </a:lnTo>
                  <a:lnTo>
                    <a:pt x="408213" y="100755"/>
                  </a:lnTo>
                  <a:lnTo>
                    <a:pt x="410280" y="99727"/>
                  </a:lnTo>
                  <a:lnTo>
                    <a:pt x="412328" y="97355"/>
                  </a:lnTo>
                  <a:lnTo>
                    <a:pt x="415033" y="95945"/>
                  </a:lnTo>
                  <a:lnTo>
                    <a:pt x="415862" y="97765"/>
                  </a:lnTo>
                  <a:lnTo>
                    <a:pt x="416719" y="101984"/>
                  </a:lnTo>
                  <a:lnTo>
                    <a:pt x="415261" y="116710"/>
                  </a:lnTo>
                  <a:lnTo>
                    <a:pt x="415404" y="121339"/>
                  </a:lnTo>
                  <a:lnTo>
                    <a:pt x="413775" y="127521"/>
                  </a:lnTo>
                  <a:lnTo>
                    <a:pt x="407537" y="141227"/>
                  </a:lnTo>
                  <a:lnTo>
                    <a:pt x="407822" y="142970"/>
                  </a:lnTo>
                  <a:lnTo>
                    <a:pt x="409232" y="142323"/>
                  </a:lnTo>
                  <a:lnTo>
                    <a:pt x="411642" y="140075"/>
                  </a:lnTo>
                  <a:lnTo>
                    <a:pt x="419376" y="127044"/>
                  </a:lnTo>
                  <a:lnTo>
                    <a:pt x="426130" y="128692"/>
                  </a:lnTo>
                  <a:lnTo>
                    <a:pt x="426215" y="127625"/>
                  </a:lnTo>
                  <a:lnTo>
                    <a:pt x="424043" y="123787"/>
                  </a:lnTo>
                  <a:lnTo>
                    <a:pt x="421405" y="120101"/>
                  </a:lnTo>
                  <a:lnTo>
                    <a:pt x="420605" y="115529"/>
                  </a:lnTo>
                  <a:lnTo>
                    <a:pt x="420957" y="103261"/>
                  </a:lnTo>
                  <a:lnTo>
                    <a:pt x="422996" y="98374"/>
                  </a:lnTo>
                  <a:lnTo>
                    <a:pt x="428825" y="98889"/>
                  </a:lnTo>
                  <a:lnTo>
                    <a:pt x="432321" y="98212"/>
                  </a:lnTo>
                  <a:lnTo>
                    <a:pt x="433950" y="100432"/>
                  </a:lnTo>
                  <a:lnTo>
                    <a:pt x="437445" y="100270"/>
                  </a:lnTo>
                  <a:lnTo>
                    <a:pt x="439864" y="91411"/>
                  </a:lnTo>
                  <a:lnTo>
                    <a:pt x="444655" y="90630"/>
                  </a:lnTo>
                  <a:lnTo>
                    <a:pt x="448866" y="96498"/>
                  </a:lnTo>
                  <a:lnTo>
                    <a:pt x="453923" y="100432"/>
                  </a:lnTo>
                  <a:lnTo>
                    <a:pt x="457991" y="106070"/>
                  </a:lnTo>
                  <a:lnTo>
                    <a:pt x="459143" y="104527"/>
                  </a:lnTo>
                  <a:lnTo>
                    <a:pt x="456952" y="91326"/>
                  </a:lnTo>
                  <a:lnTo>
                    <a:pt x="454552" y="86487"/>
                  </a:lnTo>
                  <a:lnTo>
                    <a:pt x="449342" y="83963"/>
                  </a:lnTo>
                  <a:lnTo>
                    <a:pt x="443789" y="77972"/>
                  </a:lnTo>
                  <a:lnTo>
                    <a:pt x="442350" y="75305"/>
                  </a:lnTo>
                  <a:lnTo>
                    <a:pt x="442598" y="73323"/>
                  </a:lnTo>
                  <a:lnTo>
                    <a:pt x="447494" y="71409"/>
                  </a:lnTo>
                  <a:lnTo>
                    <a:pt x="453952" y="73609"/>
                  </a:lnTo>
                  <a:lnTo>
                    <a:pt x="459705" y="68590"/>
                  </a:lnTo>
                  <a:lnTo>
                    <a:pt x="461277" y="69971"/>
                  </a:lnTo>
                  <a:lnTo>
                    <a:pt x="465687" y="67342"/>
                  </a:lnTo>
                  <a:lnTo>
                    <a:pt x="468430" y="70885"/>
                  </a:lnTo>
                  <a:lnTo>
                    <a:pt x="470116" y="69837"/>
                  </a:lnTo>
                  <a:lnTo>
                    <a:pt x="471088" y="65084"/>
                  </a:lnTo>
                  <a:lnTo>
                    <a:pt x="478127" y="62132"/>
                  </a:lnTo>
                  <a:lnTo>
                    <a:pt x="482594" y="64865"/>
                  </a:lnTo>
                  <a:lnTo>
                    <a:pt x="484984" y="67675"/>
                  </a:lnTo>
                  <a:lnTo>
                    <a:pt x="486099" y="73076"/>
                  </a:lnTo>
                  <a:lnTo>
                    <a:pt x="487804" y="83696"/>
                  </a:lnTo>
                  <a:lnTo>
                    <a:pt x="491290" y="89402"/>
                  </a:lnTo>
                  <a:lnTo>
                    <a:pt x="493462" y="92192"/>
                  </a:lnTo>
                  <a:lnTo>
                    <a:pt x="496024" y="92964"/>
                  </a:lnTo>
                  <a:lnTo>
                    <a:pt x="497262" y="90126"/>
                  </a:lnTo>
                  <a:lnTo>
                    <a:pt x="494862" y="86697"/>
                  </a:lnTo>
                  <a:lnTo>
                    <a:pt x="494214" y="83458"/>
                  </a:lnTo>
                  <a:lnTo>
                    <a:pt x="495367" y="75400"/>
                  </a:lnTo>
                  <a:lnTo>
                    <a:pt x="496710" y="72228"/>
                  </a:lnTo>
                  <a:lnTo>
                    <a:pt x="504244" y="60141"/>
                  </a:lnTo>
                  <a:lnTo>
                    <a:pt x="510550" y="53835"/>
                  </a:lnTo>
                  <a:lnTo>
                    <a:pt x="514322" y="53302"/>
                  </a:lnTo>
                  <a:lnTo>
                    <a:pt x="520932" y="39081"/>
                  </a:lnTo>
                  <a:lnTo>
                    <a:pt x="522799" y="36481"/>
                  </a:lnTo>
                  <a:lnTo>
                    <a:pt x="524523" y="35881"/>
                  </a:lnTo>
                  <a:lnTo>
                    <a:pt x="524085" y="32375"/>
                  </a:lnTo>
                  <a:lnTo>
                    <a:pt x="520475" y="30156"/>
                  </a:lnTo>
                  <a:lnTo>
                    <a:pt x="520351" y="25794"/>
                  </a:lnTo>
                  <a:lnTo>
                    <a:pt x="525113" y="20479"/>
                  </a:lnTo>
                  <a:lnTo>
                    <a:pt x="530895" y="11516"/>
                  </a:lnTo>
                  <a:lnTo>
                    <a:pt x="533743" y="10916"/>
                  </a:lnTo>
                  <a:lnTo>
                    <a:pt x="535534" y="13411"/>
                  </a:lnTo>
                  <a:lnTo>
                    <a:pt x="541163" y="17459"/>
                  </a:lnTo>
                  <a:lnTo>
                    <a:pt x="544611" y="22079"/>
                  </a:lnTo>
                  <a:lnTo>
                    <a:pt x="547107" y="24403"/>
                  </a:lnTo>
                  <a:lnTo>
                    <a:pt x="548726" y="23917"/>
                  </a:lnTo>
                  <a:lnTo>
                    <a:pt x="550069" y="20450"/>
                  </a:lnTo>
                  <a:lnTo>
                    <a:pt x="551688" y="18821"/>
                  </a:lnTo>
                  <a:lnTo>
                    <a:pt x="555260" y="19736"/>
                  </a:lnTo>
                  <a:lnTo>
                    <a:pt x="557393" y="21965"/>
                  </a:lnTo>
                  <a:lnTo>
                    <a:pt x="559061" y="22260"/>
                  </a:lnTo>
                  <a:lnTo>
                    <a:pt x="560565" y="23613"/>
                  </a:lnTo>
                  <a:lnTo>
                    <a:pt x="560918" y="26575"/>
                  </a:lnTo>
                  <a:lnTo>
                    <a:pt x="557822" y="29804"/>
                  </a:lnTo>
                  <a:lnTo>
                    <a:pt x="552545" y="38310"/>
                  </a:lnTo>
                  <a:lnTo>
                    <a:pt x="547345" y="47930"/>
                  </a:lnTo>
                  <a:lnTo>
                    <a:pt x="545630" y="52978"/>
                  </a:lnTo>
                  <a:lnTo>
                    <a:pt x="543944" y="66151"/>
                  </a:lnTo>
                  <a:lnTo>
                    <a:pt x="539877" y="74524"/>
                  </a:lnTo>
                  <a:lnTo>
                    <a:pt x="539563" y="80372"/>
                  </a:lnTo>
                  <a:lnTo>
                    <a:pt x="541201" y="83115"/>
                  </a:lnTo>
                  <a:lnTo>
                    <a:pt x="545687" y="80963"/>
                  </a:lnTo>
                  <a:lnTo>
                    <a:pt x="551222" y="73162"/>
                  </a:lnTo>
                  <a:lnTo>
                    <a:pt x="552602" y="64837"/>
                  </a:lnTo>
                  <a:lnTo>
                    <a:pt x="566442" y="42062"/>
                  </a:lnTo>
                  <a:lnTo>
                    <a:pt x="572938" y="29356"/>
                  </a:lnTo>
                  <a:lnTo>
                    <a:pt x="580311" y="18755"/>
                  </a:lnTo>
                  <a:lnTo>
                    <a:pt x="584445" y="16554"/>
                  </a:lnTo>
                  <a:lnTo>
                    <a:pt x="586387" y="23593"/>
                  </a:lnTo>
                  <a:lnTo>
                    <a:pt x="584825" y="32737"/>
                  </a:lnTo>
                  <a:lnTo>
                    <a:pt x="581692" y="38538"/>
                  </a:lnTo>
                  <a:lnTo>
                    <a:pt x="584006" y="41196"/>
                  </a:lnTo>
                  <a:lnTo>
                    <a:pt x="583568" y="48054"/>
                  </a:lnTo>
                  <a:lnTo>
                    <a:pt x="582844" y="51854"/>
                  </a:lnTo>
                  <a:lnTo>
                    <a:pt x="582387" y="55826"/>
                  </a:lnTo>
                  <a:lnTo>
                    <a:pt x="582416" y="59312"/>
                  </a:lnTo>
                  <a:lnTo>
                    <a:pt x="584588" y="58379"/>
                  </a:lnTo>
                  <a:lnTo>
                    <a:pt x="593227" y="51216"/>
                  </a:lnTo>
                  <a:lnTo>
                    <a:pt x="595417" y="43425"/>
                  </a:lnTo>
                  <a:lnTo>
                    <a:pt x="597446" y="37557"/>
                  </a:lnTo>
                  <a:lnTo>
                    <a:pt x="598418" y="32480"/>
                  </a:lnTo>
                  <a:lnTo>
                    <a:pt x="601780" y="27651"/>
                  </a:lnTo>
                  <a:lnTo>
                    <a:pt x="608124" y="27613"/>
                  </a:lnTo>
                  <a:lnTo>
                    <a:pt x="608372" y="25708"/>
                  </a:lnTo>
                  <a:lnTo>
                    <a:pt x="600675" y="19069"/>
                  </a:lnTo>
                  <a:lnTo>
                    <a:pt x="599770" y="16031"/>
                  </a:lnTo>
                  <a:lnTo>
                    <a:pt x="602352" y="11973"/>
                  </a:lnTo>
                  <a:lnTo>
                    <a:pt x="609448" y="4200"/>
                  </a:lnTo>
                  <a:lnTo>
                    <a:pt x="613096" y="5058"/>
                  </a:lnTo>
                  <a:lnTo>
                    <a:pt x="615277" y="6829"/>
                  </a:lnTo>
                  <a:lnTo>
                    <a:pt x="624011" y="8182"/>
                  </a:lnTo>
                  <a:lnTo>
                    <a:pt x="630717" y="13735"/>
                  </a:lnTo>
                  <a:lnTo>
                    <a:pt x="630460" y="22393"/>
                  </a:lnTo>
                  <a:lnTo>
                    <a:pt x="628965" y="25994"/>
                  </a:lnTo>
                  <a:lnTo>
                    <a:pt x="627498" y="28204"/>
                  </a:lnTo>
                  <a:lnTo>
                    <a:pt x="618916" y="34719"/>
                  </a:lnTo>
                  <a:lnTo>
                    <a:pt x="617506" y="37929"/>
                  </a:lnTo>
                  <a:lnTo>
                    <a:pt x="620202" y="39033"/>
                  </a:lnTo>
                  <a:lnTo>
                    <a:pt x="625993" y="35795"/>
                  </a:lnTo>
                  <a:lnTo>
                    <a:pt x="627498" y="38738"/>
                  </a:lnTo>
                  <a:lnTo>
                    <a:pt x="625650" y="46072"/>
                  </a:lnTo>
                  <a:lnTo>
                    <a:pt x="625335" y="57017"/>
                  </a:lnTo>
                  <a:lnTo>
                    <a:pt x="624669" y="63370"/>
                  </a:lnTo>
                  <a:lnTo>
                    <a:pt x="624669" y="69142"/>
                  </a:lnTo>
                  <a:lnTo>
                    <a:pt x="625393" y="72238"/>
                  </a:lnTo>
                  <a:lnTo>
                    <a:pt x="627726" y="59950"/>
                  </a:lnTo>
                  <a:lnTo>
                    <a:pt x="628517" y="56779"/>
                  </a:lnTo>
                  <a:lnTo>
                    <a:pt x="631927" y="52121"/>
                  </a:lnTo>
                  <a:lnTo>
                    <a:pt x="633193" y="42701"/>
                  </a:lnTo>
                  <a:lnTo>
                    <a:pt x="636527" y="31318"/>
                  </a:lnTo>
                  <a:lnTo>
                    <a:pt x="640289" y="24670"/>
                  </a:lnTo>
                  <a:lnTo>
                    <a:pt x="642471" y="22850"/>
                  </a:lnTo>
                  <a:lnTo>
                    <a:pt x="649710" y="23108"/>
                  </a:lnTo>
                  <a:lnTo>
                    <a:pt x="652815" y="25613"/>
                  </a:lnTo>
                  <a:lnTo>
                    <a:pt x="655558" y="31166"/>
                  </a:lnTo>
                  <a:lnTo>
                    <a:pt x="657606" y="33385"/>
                  </a:lnTo>
                  <a:lnTo>
                    <a:pt x="664064" y="35738"/>
                  </a:lnTo>
                  <a:lnTo>
                    <a:pt x="666274" y="38681"/>
                  </a:lnTo>
                  <a:lnTo>
                    <a:pt x="666683" y="40434"/>
                  </a:lnTo>
                  <a:lnTo>
                    <a:pt x="668264" y="40786"/>
                  </a:lnTo>
                  <a:lnTo>
                    <a:pt x="672627" y="36605"/>
                  </a:lnTo>
                  <a:lnTo>
                    <a:pt x="675456" y="35909"/>
                  </a:lnTo>
                  <a:lnTo>
                    <a:pt x="680066" y="42424"/>
                  </a:lnTo>
                  <a:lnTo>
                    <a:pt x="679142" y="47234"/>
                  </a:lnTo>
                  <a:lnTo>
                    <a:pt x="679409" y="48759"/>
                  </a:lnTo>
                  <a:lnTo>
                    <a:pt x="684990" y="48454"/>
                  </a:lnTo>
                  <a:lnTo>
                    <a:pt x="689639" y="50340"/>
                  </a:lnTo>
                  <a:lnTo>
                    <a:pt x="698468" y="60131"/>
                  </a:lnTo>
                  <a:lnTo>
                    <a:pt x="699392" y="64684"/>
                  </a:lnTo>
                  <a:lnTo>
                    <a:pt x="698954" y="70190"/>
                  </a:lnTo>
                  <a:lnTo>
                    <a:pt x="686210" y="76219"/>
                  </a:lnTo>
                  <a:lnTo>
                    <a:pt x="680704" y="81972"/>
                  </a:lnTo>
                  <a:lnTo>
                    <a:pt x="671693" y="84182"/>
                  </a:lnTo>
                  <a:lnTo>
                    <a:pt x="641099" y="80334"/>
                  </a:lnTo>
                  <a:lnTo>
                    <a:pt x="641718" y="84496"/>
                  </a:lnTo>
                  <a:lnTo>
                    <a:pt x="663026" y="93555"/>
                  </a:lnTo>
                  <a:lnTo>
                    <a:pt x="664245" y="96136"/>
                  </a:lnTo>
                  <a:lnTo>
                    <a:pt x="663559" y="101546"/>
                  </a:lnTo>
                  <a:lnTo>
                    <a:pt x="663550" y="105880"/>
                  </a:lnTo>
                  <a:lnTo>
                    <a:pt x="663950" y="108833"/>
                  </a:lnTo>
                  <a:lnTo>
                    <a:pt x="665522" y="111576"/>
                  </a:lnTo>
                  <a:lnTo>
                    <a:pt x="668121" y="112862"/>
                  </a:lnTo>
                  <a:lnTo>
                    <a:pt x="673427" y="112185"/>
                  </a:lnTo>
                  <a:lnTo>
                    <a:pt x="676037" y="113662"/>
                  </a:lnTo>
                  <a:lnTo>
                    <a:pt x="677828" y="111481"/>
                  </a:lnTo>
                  <a:lnTo>
                    <a:pt x="678495" y="104118"/>
                  </a:lnTo>
                  <a:lnTo>
                    <a:pt x="680038" y="102489"/>
                  </a:lnTo>
                  <a:lnTo>
                    <a:pt x="683010" y="104632"/>
                  </a:lnTo>
                  <a:lnTo>
                    <a:pt x="684305" y="112500"/>
                  </a:lnTo>
                  <a:lnTo>
                    <a:pt x="685133" y="113309"/>
                  </a:lnTo>
                  <a:lnTo>
                    <a:pt x="686629" y="107709"/>
                  </a:lnTo>
                  <a:lnTo>
                    <a:pt x="689572" y="108109"/>
                  </a:lnTo>
                  <a:lnTo>
                    <a:pt x="692782" y="107642"/>
                  </a:lnTo>
                  <a:lnTo>
                    <a:pt x="696926" y="108566"/>
                  </a:lnTo>
                  <a:close/>
                  <a:moveTo>
                    <a:pt x="498329" y="26746"/>
                  </a:moveTo>
                  <a:lnTo>
                    <a:pt x="497805" y="29299"/>
                  </a:lnTo>
                  <a:lnTo>
                    <a:pt x="496900" y="31775"/>
                  </a:lnTo>
                  <a:lnTo>
                    <a:pt x="494709" y="34385"/>
                  </a:lnTo>
                  <a:lnTo>
                    <a:pt x="488366" y="44682"/>
                  </a:lnTo>
                  <a:lnTo>
                    <a:pt x="484641" y="46330"/>
                  </a:lnTo>
                  <a:lnTo>
                    <a:pt x="483461" y="47939"/>
                  </a:lnTo>
                  <a:lnTo>
                    <a:pt x="481975" y="48901"/>
                  </a:lnTo>
                  <a:lnTo>
                    <a:pt x="477345" y="47501"/>
                  </a:lnTo>
                  <a:lnTo>
                    <a:pt x="475993" y="49578"/>
                  </a:lnTo>
                  <a:lnTo>
                    <a:pt x="474716" y="50968"/>
                  </a:lnTo>
                  <a:lnTo>
                    <a:pt x="471364" y="51502"/>
                  </a:lnTo>
                  <a:lnTo>
                    <a:pt x="469392" y="51054"/>
                  </a:lnTo>
                  <a:lnTo>
                    <a:pt x="464315" y="47263"/>
                  </a:lnTo>
                  <a:lnTo>
                    <a:pt x="461296" y="43148"/>
                  </a:lnTo>
                  <a:lnTo>
                    <a:pt x="459657" y="39624"/>
                  </a:lnTo>
                  <a:lnTo>
                    <a:pt x="464354" y="39691"/>
                  </a:lnTo>
                  <a:lnTo>
                    <a:pt x="466020" y="38833"/>
                  </a:lnTo>
                  <a:lnTo>
                    <a:pt x="469173" y="39576"/>
                  </a:lnTo>
                  <a:lnTo>
                    <a:pt x="471068" y="35947"/>
                  </a:lnTo>
                  <a:lnTo>
                    <a:pt x="475069" y="36385"/>
                  </a:lnTo>
                  <a:lnTo>
                    <a:pt x="482755" y="33861"/>
                  </a:lnTo>
                  <a:lnTo>
                    <a:pt x="485575" y="35271"/>
                  </a:lnTo>
                  <a:lnTo>
                    <a:pt x="492023" y="26803"/>
                  </a:lnTo>
                  <a:lnTo>
                    <a:pt x="494043" y="27022"/>
                  </a:lnTo>
                  <a:lnTo>
                    <a:pt x="497129" y="24594"/>
                  </a:lnTo>
                  <a:lnTo>
                    <a:pt x="498329" y="26746"/>
                  </a:lnTo>
                  <a:close/>
                  <a:moveTo>
                    <a:pt x="513750" y="46815"/>
                  </a:moveTo>
                  <a:lnTo>
                    <a:pt x="508654" y="50016"/>
                  </a:lnTo>
                  <a:lnTo>
                    <a:pt x="505701" y="47263"/>
                  </a:lnTo>
                  <a:lnTo>
                    <a:pt x="504463" y="44434"/>
                  </a:lnTo>
                  <a:lnTo>
                    <a:pt x="504282" y="38138"/>
                  </a:lnTo>
                  <a:lnTo>
                    <a:pt x="504968" y="34290"/>
                  </a:lnTo>
                  <a:lnTo>
                    <a:pt x="507359" y="32299"/>
                  </a:lnTo>
                  <a:lnTo>
                    <a:pt x="508911" y="33757"/>
                  </a:lnTo>
                  <a:lnTo>
                    <a:pt x="509321" y="34976"/>
                  </a:lnTo>
                  <a:lnTo>
                    <a:pt x="512102" y="36166"/>
                  </a:lnTo>
                  <a:lnTo>
                    <a:pt x="515369" y="40129"/>
                  </a:lnTo>
                  <a:lnTo>
                    <a:pt x="513750" y="46815"/>
                  </a:lnTo>
                  <a:close/>
                  <a:moveTo>
                    <a:pt x="503006" y="48263"/>
                  </a:moveTo>
                  <a:lnTo>
                    <a:pt x="503501" y="52016"/>
                  </a:lnTo>
                  <a:lnTo>
                    <a:pt x="503691" y="55102"/>
                  </a:lnTo>
                  <a:lnTo>
                    <a:pt x="501196" y="59550"/>
                  </a:lnTo>
                  <a:lnTo>
                    <a:pt x="495443" y="65370"/>
                  </a:lnTo>
                  <a:lnTo>
                    <a:pt x="495776" y="66932"/>
                  </a:lnTo>
                  <a:lnTo>
                    <a:pt x="493786" y="68428"/>
                  </a:lnTo>
                  <a:lnTo>
                    <a:pt x="490804" y="69523"/>
                  </a:lnTo>
                  <a:lnTo>
                    <a:pt x="489233" y="68466"/>
                  </a:lnTo>
                  <a:lnTo>
                    <a:pt x="489442" y="63484"/>
                  </a:lnTo>
                  <a:lnTo>
                    <a:pt x="488966" y="61998"/>
                  </a:lnTo>
                  <a:lnTo>
                    <a:pt x="486709" y="63979"/>
                  </a:lnTo>
                  <a:lnTo>
                    <a:pt x="484356" y="61436"/>
                  </a:lnTo>
                  <a:lnTo>
                    <a:pt x="484356" y="58883"/>
                  </a:lnTo>
                  <a:lnTo>
                    <a:pt x="484975" y="56664"/>
                  </a:lnTo>
                  <a:lnTo>
                    <a:pt x="487156" y="53283"/>
                  </a:lnTo>
                  <a:lnTo>
                    <a:pt x="490785" y="50949"/>
                  </a:lnTo>
                  <a:lnTo>
                    <a:pt x="493176" y="51825"/>
                  </a:lnTo>
                  <a:lnTo>
                    <a:pt x="501158" y="42843"/>
                  </a:lnTo>
                  <a:lnTo>
                    <a:pt x="502015" y="44729"/>
                  </a:lnTo>
                  <a:lnTo>
                    <a:pt x="503006" y="48263"/>
                  </a:lnTo>
                  <a:close/>
                  <a:moveTo>
                    <a:pt x="400145" y="74724"/>
                  </a:moveTo>
                  <a:lnTo>
                    <a:pt x="401507" y="75648"/>
                  </a:lnTo>
                  <a:lnTo>
                    <a:pt x="402860" y="75076"/>
                  </a:lnTo>
                  <a:lnTo>
                    <a:pt x="403974" y="75886"/>
                  </a:lnTo>
                  <a:lnTo>
                    <a:pt x="406213" y="80039"/>
                  </a:lnTo>
                  <a:lnTo>
                    <a:pt x="408623" y="81667"/>
                  </a:lnTo>
                  <a:lnTo>
                    <a:pt x="408737" y="83744"/>
                  </a:lnTo>
                  <a:lnTo>
                    <a:pt x="406537" y="85763"/>
                  </a:lnTo>
                  <a:lnTo>
                    <a:pt x="403632" y="86373"/>
                  </a:lnTo>
                  <a:lnTo>
                    <a:pt x="400517" y="85668"/>
                  </a:lnTo>
                  <a:lnTo>
                    <a:pt x="399602" y="83077"/>
                  </a:lnTo>
                  <a:lnTo>
                    <a:pt x="398640" y="78762"/>
                  </a:lnTo>
                  <a:lnTo>
                    <a:pt x="396040" y="74524"/>
                  </a:lnTo>
                  <a:lnTo>
                    <a:pt x="395650" y="70799"/>
                  </a:lnTo>
                  <a:lnTo>
                    <a:pt x="397916" y="70209"/>
                  </a:lnTo>
                  <a:lnTo>
                    <a:pt x="400145" y="74724"/>
                  </a:lnTo>
                  <a:close/>
                  <a:moveTo>
                    <a:pt x="386449" y="86544"/>
                  </a:moveTo>
                  <a:lnTo>
                    <a:pt x="388820" y="90802"/>
                  </a:lnTo>
                  <a:lnTo>
                    <a:pt x="390925" y="90392"/>
                  </a:lnTo>
                  <a:lnTo>
                    <a:pt x="391554" y="88792"/>
                  </a:lnTo>
                  <a:lnTo>
                    <a:pt x="392982" y="87992"/>
                  </a:lnTo>
                  <a:lnTo>
                    <a:pt x="395878" y="90249"/>
                  </a:lnTo>
                  <a:lnTo>
                    <a:pt x="395468" y="94069"/>
                  </a:lnTo>
                  <a:lnTo>
                    <a:pt x="391459" y="98879"/>
                  </a:lnTo>
                  <a:lnTo>
                    <a:pt x="388582" y="105718"/>
                  </a:lnTo>
                  <a:lnTo>
                    <a:pt x="384906" y="107299"/>
                  </a:lnTo>
                  <a:lnTo>
                    <a:pt x="383134" y="106480"/>
                  </a:lnTo>
                  <a:lnTo>
                    <a:pt x="379838" y="110414"/>
                  </a:lnTo>
                  <a:lnTo>
                    <a:pt x="377209" y="114491"/>
                  </a:lnTo>
                  <a:lnTo>
                    <a:pt x="374475" y="119634"/>
                  </a:lnTo>
                  <a:lnTo>
                    <a:pt x="374304" y="122282"/>
                  </a:lnTo>
                  <a:lnTo>
                    <a:pt x="373875" y="124301"/>
                  </a:lnTo>
                  <a:lnTo>
                    <a:pt x="363864" y="126301"/>
                  </a:lnTo>
                  <a:lnTo>
                    <a:pt x="360226" y="127625"/>
                  </a:lnTo>
                  <a:lnTo>
                    <a:pt x="356368" y="125921"/>
                  </a:lnTo>
                  <a:lnTo>
                    <a:pt x="354539" y="122530"/>
                  </a:lnTo>
                  <a:lnTo>
                    <a:pt x="355130" y="120691"/>
                  </a:lnTo>
                  <a:lnTo>
                    <a:pt x="358978" y="119958"/>
                  </a:lnTo>
                  <a:lnTo>
                    <a:pt x="359102" y="116805"/>
                  </a:lnTo>
                  <a:lnTo>
                    <a:pt x="360083" y="114881"/>
                  </a:lnTo>
                  <a:lnTo>
                    <a:pt x="361331" y="113824"/>
                  </a:lnTo>
                  <a:lnTo>
                    <a:pt x="362245" y="109785"/>
                  </a:lnTo>
                  <a:lnTo>
                    <a:pt x="363769" y="108728"/>
                  </a:lnTo>
                  <a:lnTo>
                    <a:pt x="366608" y="109718"/>
                  </a:lnTo>
                  <a:lnTo>
                    <a:pt x="368522" y="106785"/>
                  </a:lnTo>
                  <a:lnTo>
                    <a:pt x="369598" y="106280"/>
                  </a:lnTo>
                  <a:lnTo>
                    <a:pt x="370923" y="108709"/>
                  </a:lnTo>
                  <a:lnTo>
                    <a:pt x="371561" y="105366"/>
                  </a:lnTo>
                  <a:lnTo>
                    <a:pt x="370923" y="102308"/>
                  </a:lnTo>
                  <a:lnTo>
                    <a:pt x="371256" y="100241"/>
                  </a:lnTo>
                  <a:lnTo>
                    <a:pt x="374923" y="94859"/>
                  </a:lnTo>
                  <a:lnTo>
                    <a:pt x="376514" y="90926"/>
                  </a:lnTo>
                  <a:lnTo>
                    <a:pt x="378800" y="88382"/>
                  </a:lnTo>
                  <a:lnTo>
                    <a:pt x="381000" y="88783"/>
                  </a:lnTo>
                  <a:lnTo>
                    <a:pt x="381638" y="85030"/>
                  </a:lnTo>
                  <a:lnTo>
                    <a:pt x="381000" y="81182"/>
                  </a:lnTo>
                  <a:lnTo>
                    <a:pt x="381238" y="78667"/>
                  </a:lnTo>
                  <a:lnTo>
                    <a:pt x="383181" y="72552"/>
                  </a:lnTo>
                  <a:lnTo>
                    <a:pt x="385315" y="72295"/>
                  </a:lnTo>
                  <a:lnTo>
                    <a:pt x="386296" y="77733"/>
                  </a:lnTo>
                  <a:lnTo>
                    <a:pt x="386449" y="86544"/>
                  </a:lnTo>
                  <a:close/>
                  <a:moveTo>
                    <a:pt x="427187" y="84715"/>
                  </a:moveTo>
                  <a:lnTo>
                    <a:pt x="425748" y="86535"/>
                  </a:lnTo>
                  <a:lnTo>
                    <a:pt x="423539" y="87278"/>
                  </a:lnTo>
                  <a:lnTo>
                    <a:pt x="422348" y="86154"/>
                  </a:lnTo>
                  <a:lnTo>
                    <a:pt x="420653" y="85411"/>
                  </a:lnTo>
                  <a:lnTo>
                    <a:pt x="418767" y="85744"/>
                  </a:lnTo>
                  <a:lnTo>
                    <a:pt x="417186" y="82401"/>
                  </a:lnTo>
                  <a:lnTo>
                    <a:pt x="417366" y="79591"/>
                  </a:lnTo>
                  <a:lnTo>
                    <a:pt x="419528" y="75781"/>
                  </a:lnTo>
                  <a:lnTo>
                    <a:pt x="423863" y="73609"/>
                  </a:lnTo>
                  <a:lnTo>
                    <a:pt x="427368" y="74505"/>
                  </a:lnTo>
                  <a:lnTo>
                    <a:pt x="428263" y="75619"/>
                  </a:lnTo>
                  <a:lnTo>
                    <a:pt x="427187" y="84715"/>
                  </a:lnTo>
                  <a:close/>
                  <a:moveTo>
                    <a:pt x="672503" y="107537"/>
                  </a:moveTo>
                  <a:lnTo>
                    <a:pt x="667426" y="109795"/>
                  </a:lnTo>
                  <a:lnTo>
                    <a:pt x="666836" y="107937"/>
                  </a:lnTo>
                  <a:lnTo>
                    <a:pt x="667951" y="105042"/>
                  </a:lnTo>
                  <a:lnTo>
                    <a:pt x="669284" y="99098"/>
                  </a:lnTo>
                  <a:lnTo>
                    <a:pt x="671370" y="99336"/>
                  </a:lnTo>
                  <a:lnTo>
                    <a:pt x="673485" y="101603"/>
                  </a:lnTo>
                  <a:lnTo>
                    <a:pt x="675141" y="104308"/>
                  </a:lnTo>
                  <a:lnTo>
                    <a:pt x="672503" y="107537"/>
                  </a:lnTo>
                  <a:close/>
                  <a:moveTo>
                    <a:pt x="339614" y="122968"/>
                  </a:moveTo>
                  <a:lnTo>
                    <a:pt x="342824" y="127340"/>
                  </a:lnTo>
                  <a:lnTo>
                    <a:pt x="344262" y="126006"/>
                  </a:lnTo>
                  <a:lnTo>
                    <a:pt x="347110" y="125501"/>
                  </a:lnTo>
                  <a:lnTo>
                    <a:pt x="349225" y="127044"/>
                  </a:lnTo>
                  <a:lnTo>
                    <a:pt x="350958" y="129816"/>
                  </a:lnTo>
                  <a:lnTo>
                    <a:pt x="353006" y="129940"/>
                  </a:lnTo>
                  <a:lnTo>
                    <a:pt x="354292" y="133560"/>
                  </a:lnTo>
                  <a:lnTo>
                    <a:pt x="354949" y="138255"/>
                  </a:lnTo>
                  <a:lnTo>
                    <a:pt x="353463" y="141751"/>
                  </a:lnTo>
                  <a:lnTo>
                    <a:pt x="351349" y="143342"/>
                  </a:lnTo>
                  <a:lnTo>
                    <a:pt x="350777" y="147447"/>
                  </a:lnTo>
                  <a:lnTo>
                    <a:pt x="351577" y="153191"/>
                  </a:lnTo>
                  <a:lnTo>
                    <a:pt x="346834" y="155153"/>
                  </a:lnTo>
                  <a:lnTo>
                    <a:pt x="341348" y="156029"/>
                  </a:lnTo>
                  <a:lnTo>
                    <a:pt x="339195" y="153286"/>
                  </a:lnTo>
                  <a:lnTo>
                    <a:pt x="334813" y="158296"/>
                  </a:lnTo>
                  <a:lnTo>
                    <a:pt x="330461" y="166078"/>
                  </a:lnTo>
                  <a:lnTo>
                    <a:pt x="328365" y="166992"/>
                  </a:lnTo>
                  <a:lnTo>
                    <a:pt x="328213" y="164535"/>
                  </a:lnTo>
                  <a:lnTo>
                    <a:pt x="325088" y="162830"/>
                  </a:lnTo>
                  <a:lnTo>
                    <a:pt x="321088" y="162735"/>
                  </a:lnTo>
                  <a:lnTo>
                    <a:pt x="321221" y="160906"/>
                  </a:lnTo>
                  <a:lnTo>
                    <a:pt x="321955" y="159620"/>
                  </a:lnTo>
                  <a:lnTo>
                    <a:pt x="325403" y="157705"/>
                  </a:lnTo>
                  <a:lnTo>
                    <a:pt x="326088" y="153743"/>
                  </a:lnTo>
                  <a:lnTo>
                    <a:pt x="325460" y="146656"/>
                  </a:lnTo>
                  <a:lnTo>
                    <a:pt x="326070" y="143199"/>
                  </a:lnTo>
                  <a:lnTo>
                    <a:pt x="326203" y="140818"/>
                  </a:lnTo>
                  <a:lnTo>
                    <a:pt x="328375" y="138017"/>
                  </a:lnTo>
                  <a:lnTo>
                    <a:pt x="335804" y="139332"/>
                  </a:lnTo>
                  <a:lnTo>
                    <a:pt x="336709" y="136655"/>
                  </a:lnTo>
                  <a:lnTo>
                    <a:pt x="336147" y="134969"/>
                  </a:lnTo>
                  <a:lnTo>
                    <a:pt x="332308" y="132017"/>
                  </a:lnTo>
                  <a:lnTo>
                    <a:pt x="332899" y="130026"/>
                  </a:lnTo>
                  <a:lnTo>
                    <a:pt x="335671" y="128245"/>
                  </a:lnTo>
                  <a:lnTo>
                    <a:pt x="338290" y="128006"/>
                  </a:lnTo>
                  <a:lnTo>
                    <a:pt x="339080" y="124997"/>
                  </a:lnTo>
                  <a:lnTo>
                    <a:pt x="339214" y="123673"/>
                  </a:lnTo>
                  <a:lnTo>
                    <a:pt x="339614" y="122968"/>
                  </a:lnTo>
                  <a:close/>
                  <a:moveTo>
                    <a:pt x="293027" y="200406"/>
                  </a:moveTo>
                  <a:lnTo>
                    <a:pt x="293351" y="200920"/>
                  </a:lnTo>
                  <a:lnTo>
                    <a:pt x="296989" y="193872"/>
                  </a:lnTo>
                  <a:lnTo>
                    <a:pt x="301028" y="191672"/>
                  </a:lnTo>
                  <a:lnTo>
                    <a:pt x="301276" y="189205"/>
                  </a:lnTo>
                  <a:lnTo>
                    <a:pt x="302838" y="186823"/>
                  </a:lnTo>
                  <a:lnTo>
                    <a:pt x="302657" y="182918"/>
                  </a:lnTo>
                  <a:lnTo>
                    <a:pt x="303448" y="179746"/>
                  </a:lnTo>
                  <a:lnTo>
                    <a:pt x="305505" y="178899"/>
                  </a:lnTo>
                  <a:lnTo>
                    <a:pt x="306791" y="177822"/>
                  </a:lnTo>
                  <a:lnTo>
                    <a:pt x="308210" y="177222"/>
                  </a:lnTo>
                  <a:lnTo>
                    <a:pt x="310792" y="179803"/>
                  </a:lnTo>
                  <a:lnTo>
                    <a:pt x="312239" y="182661"/>
                  </a:lnTo>
                  <a:lnTo>
                    <a:pt x="314049" y="189024"/>
                  </a:lnTo>
                  <a:lnTo>
                    <a:pt x="313297" y="195158"/>
                  </a:lnTo>
                  <a:lnTo>
                    <a:pt x="308448" y="199930"/>
                  </a:lnTo>
                  <a:lnTo>
                    <a:pt x="304600" y="202073"/>
                  </a:lnTo>
                  <a:lnTo>
                    <a:pt x="300704" y="207521"/>
                  </a:lnTo>
                  <a:lnTo>
                    <a:pt x="298752" y="211969"/>
                  </a:lnTo>
                  <a:lnTo>
                    <a:pt x="297066" y="212931"/>
                  </a:lnTo>
                  <a:lnTo>
                    <a:pt x="296009" y="212569"/>
                  </a:lnTo>
                  <a:lnTo>
                    <a:pt x="295066" y="211503"/>
                  </a:lnTo>
                  <a:lnTo>
                    <a:pt x="293094" y="211503"/>
                  </a:lnTo>
                  <a:lnTo>
                    <a:pt x="290922" y="215351"/>
                  </a:lnTo>
                  <a:lnTo>
                    <a:pt x="284369" y="218475"/>
                  </a:lnTo>
                  <a:lnTo>
                    <a:pt x="281797" y="217570"/>
                  </a:lnTo>
                  <a:lnTo>
                    <a:pt x="281683" y="213741"/>
                  </a:lnTo>
                  <a:lnTo>
                    <a:pt x="280149" y="214055"/>
                  </a:lnTo>
                  <a:lnTo>
                    <a:pt x="277692" y="218646"/>
                  </a:lnTo>
                  <a:lnTo>
                    <a:pt x="275291" y="220180"/>
                  </a:lnTo>
                  <a:lnTo>
                    <a:pt x="273682" y="220647"/>
                  </a:lnTo>
                  <a:lnTo>
                    <a:pt x="270720" y="218923"/>
                  </a:lnTo>
                  <a:lnTo>
                    <a:pt x="262757" y="226714"/>
                  </a:lnTo>
                  <a:lnTo>
                    <a:pt x="255289" y="228162"/>
                  </a:lnTo>
                  <a:lnTo>
                    <a:pt x="252832" y="227267"/>
                  </a:lnTo>
                  <a:lnTo>
                    <a:pt x="252822" y="222504"/>
                  </a:lnTo>
                  <a:lnTo>
                    <a:pt x="257651" y="216389"/>
                  </a:lnTo>
                  <a:lnTo>
                    <a:pt x="261604" y="212131"/>
                  </a:lnTo>
                  <a:lnTo>
                    <a:pt x="275225" y="209150"/>
                  </a:lnTo>
                  <a:lnTo>
                    <a:pt x="283712" y="196425"/>
                  </a:lnTo>
                  <a:lnTo>
                    <a:pt x="285760" y="182489"/>
                  </a:lnTo>
                  <a:lnTo>
                    <a:pt x="287760" y="177422"/>
                  </a:lnTo>
                  <a:lnTo>
                    <a:pt x="286817" y="174555"/>
                  </a:lnTo>
                  <a:lnTo>
                    <a:pt x="284540" y="174050"/>
                  </a:lnTo>
                  <a:lnTo>
                    <a:pt x="284398" y="169631"/>
                  </a:lnTo>
                  <a:lnTo>
                    <a:pt x="285588" y="164792"/>
                  </a:lnTo>
                  <a:lnTo>
                    <a:pt x="290036" y="158125"/>
                  </a:lnTo>
                  <a:lnTo>
                    <a:pt x="292513" y="155277"/>
                  </a:lnTo>
                  <a:lnTo>
                    <a:pt x="296542" y="147190"/>
                  </a:lnTo>
                  <a:lnTo>
                    <a:pt x="298485" y="145370"/>
                  </a:lnTo>
                  <a:lnTo>
                    <a:pt x="300695" y="145370"/>
                  </a:lnTo>
                  <a:lnTo>
                    <a:pt x="302876" y="147495"/>
                  </a:lnTo>
                  <a:lnTo>
                    <a:pt x="302486" y="151829"/>
                  </a:lnTo>
                  <a:lnTo>
                    <a:pt x="299218" y="159620"/>
                  </a:lnTo>
                  <a:lnTo>
                    <a:pt x="294380" y="166230"/>
                  </a:lnTo>
                  <a:lnTo>
                    <a:pt x="294970" y="170964"/>
                  </a:lnTo>
                  <a:lnTo>
                    <a:pt x="296894" y="174841"/>
                  </a:lnTo>
                  <a:lnTo>
                    <a:pt x="297371" y="181451"/>
                  </a:lnTo>
                  <a:lnTo>
                    <a:pt x="297495" y="187795"/>
                  </a:lnTo>
                  <a:lnTo>
                    <a:pt x="293827" y="196329"/>
                  </a:lnTo>
                  <a:lnTo>
                    <a:pt x="293027" y="200406"/>
                  </a:lnTo>
                  <a:close/>
                  <a:moveTo>
                    <a:pt x="278235" y="172260"/>
                  </a:moveTo>
                  <a:lnTo>
                    <a:pt x="281711" y="179727"/>
                  </a:lnTo>
                  <a:lnTo>
                    <a:pt x="283302" y="184080"/>
                  </a:lnTo>
                  <a:lnTo>
                    <a:pt x="282017" y="192262"/>
                  </a:lnTo>
                  <a:lnTo>
                    <a:pt x="278635" y="196377"/>
                  </a:lnTo>
                  <a:lnTo>
                    <a:pt x="273425" y="197110"/>
                  </a:lnTo>
                  <a:lnTo>
                    <a:pt x="269767" y="196768"/>
                  </a:lnTo>
                  <a:lnTo>
                    <a:pt x="267462" y="194786"/>
                  </a:lnTo>
                  <a:lnTo>
                    <a:pt x="267176" y="192567"/>
                  </a:lnTo>
                  <a:lnTo>
                    <a:pt x="265843" y="191910"/>
                  </a:lnTo>
                  <a:lnTo>
                    <a:pt x="262328" y="194767"/>
                  </a:lnTo>
                  <a:lnTo>
                    <a:pt x="259890" y="195148"/>
                  </a:lnTo>
                  <a:lnTo>
                    <a:pt x="256784" y="192938"/>
                  </a:lnTo>
                  <a:lnTo>
                    <a:pt x="255947" y="189395"/>
                  </a:lnTo>
                  <a:lnTo>
                    <a:pt x="259242" y="184947"/>
                  </a:lnTo>
                  <a:lnTo>
                    <a:pt x="260766" y="181480"/>
                  </a:lnTo>
                  <a:lnTo>
                    <a:pt x="264414" y="181785"/>
                  </a:lnTo>
                  <a:lnTo>
                    <a:pt x="265329" y="182861"/>
                  </a:lnTo>
                  <a:lnTo>
                    <a:pt x="267395" y="183537"/>
                  </a:lnTo>
                  <a:lnTo>
                    <a:pt x="268653" y="179356"/>
                  </a:lnTo>
                  <a:lnTo>
                    <a:pt x="268367" y="176460"/>
                  </a:lnTo>
                  <a:lnTo>
                    <a:pt x="269291" y="174441"/>
                  </a:lnTo>
                  <a:lnTo>
                    <a:pt x="273701" y="175898"/>
                  </a:lnTo>
                  <a:lnTo>
                    <a:pt x="273711" y="167992"/>
                  </a:lnTo>
                  <a:lnTo>
                    <a:pt x="275425" y="167440"/>
                  </a:lnTo>
                  <a:lnTo>
                    <a:pt x="276130" y="167745"/>
                  </a:lnTo>
                  <a:lnTo>
                    <a:pt x="277396" y="169412"/>
                  </a:lnTo>
                  <a:lnTo>
                    <a:pt x="278235" y="172260"/>
                  </a:lnTo>
                  <a:close/>
                  <a:moveTo>
                    <a:pt x="242573" y="221875"/>
                  </a:moveTo>
                  <a:lnTo>
                    <a:pt x="244164" y="223104"/>
                  </a:lnTo>
                  <a:lnTo>
                    <a:pt x="248317" y="222742"/>
                  </a:lnTo>
                  <a:lnTo>
                    <a:pt x="249155" y="223199"/>
                  </a:lnTo>
                  <a:lnTo>
                    <a:pt x="248555" y="225228"/>
                  </a:lnTo>
                  <a:lnTo>
                    <a:pt x="246755" y="227457"/>
                  </a:lnTo>
                  <a:lnTo>
                    <a:pt x="242974" y="228829"/>
                  </a:lnTo>
                  <a:lnTo>
                    <a:pt x="241268" y="232229"/>
                  </a:lnTo>
                  <a:lnTo>
                    <a:pt x="240049" y="233382"/>
                  </a:lnTo>
                  <a:lnTo>
                    <a:pt x="236782" y="233391"/>
                  </a:lnTo>
                  <a:lnTo>
                    <a:pt x="234848" y="234182"/>
                  </a:lnTo>
                  <a:lnTo>
                    <a:pt x="232477" y="237191"/>
                  </a:lnTo>
                  <a:lnTo>
                    <a:pt x="230581" y="234972"/>
                  </a:lnTo>
                  <a:lnTo>
                    <a:pt x="230048" y="236553"/>
                  </a:lnTo>
                  <a:lnTo>
                    <a:pt x="229705" y="239373"/>
                  </a:lnTo>
                  <a:lnTo>
                    <a:pt x="228648" y="240192"/>
                  </a:lnTo>
                  <a:lnTo>
                    <a:pt x="225371" y="241211"/>
                  </a:lnTo>
                  <a:lnTo>
                    <a:pt x="224580" y="234648"/>
                  </a:lnTo>
                  <a:lnTo>
                    <a:pt x="226086" y="232267"/>
                  </a:lnTo>
                  <a:lnTo>
                    <a:pt x="227266" y="229410"/>
                  </a:lnTo>
                  <a:lnTo>
                    <a:pt x="229076" y="228971"/>
                  </a:lnTo>
                  <a:lnTo>
                    <a:pt x="230696" y="229210"/>
                  </a:lnTo>
                  <a:lnTo>
                    <a:pt x="233619" y="223037"/>
                  </a:lnTo>
                  <a:lnTo>
                    <a:pt x="237620" y="221275"/>
                  </a:lnTo>
                  <a:lnTo>
                    <a:pt x="240202" y="221075"/>
                  </a:lnTo>
                  <a:lnTo>
                    <a:pt x="242573" y="221875"/>
                  </a:lnTo>
                  <a:close/>
                  <a:moveTo>
                    <a:pt x="218475" y="249860"/>
                  </a:moveTo>
                  <a:lnTo>
                    <a:pt x="214522" y="253603"/>
                  </a:lnTo>
                  <a:lnTo>
                    <a:pt x="215960" y="246764"/>
                  </a:lnTo>
                  <a:lnTo>
                    <a:pt x="218094" y="239811"/>
                  </a:lnTo>
                  <a:lnTo>
                    <a:pt x="221047" y="235820"/>
                  </a:lnTo>
                  <a:lnTo>
                    <a:pt x="222514" y="237382"/>
                  </a:lnTo>
                  <a:lnTo>
                    <a:pt x="221837" y="240725"/>
                  </a:lnTo>
                  <a:lnTo>
                    <a:pt x="221847" y="244021"/>
                  </a:lnTo>
                  <a:lnTo>
                    <a:pt x="221218" y="245574"/>
                  </a:lnTo>
                  <a:lnTo>
                    <a:pt x="218475" y="249860"/>
                  </a:lnTo>
                  <a:close/>
                  <a:moveTo>
                    <a:pt x="203730" y="374837"/>
                  </a:moveTo>
                  <a:lnTo>
                    <a:pt x="201254" y="375266"/>
                  </a:lnTo>
                  <a:lnTo>
                    <a:pt x="201663" y="372361"/>
                  </a:lnTo>
                  <a:lnTo>
                    <a:pt x="203664" y="369599"/>
                  </a:lnTo>
                  <a:lnTo>
                    <a:pt x="204435" y="367713"/>
                  </a:lnTo>
                  <a:lnTo>
                    <a:pt x="204835" y="365484"/>
                  </a:lnTo>
                  <a:lnTo>
                    <a:pt x="206607" y="363798"/>
                  </a:lnTo>
                  <a:lnTo>
                    <a:pt x="209102" y="365960"/>
                  </a:lnTo>
                  <a:lnTo>
                    <a:pt x="209150" y="369618"/>
                  </a:lnTo>
                  <a:lnTo>
                    <a:pt x="207912" y="372951"/>
                  </a:lnTo>
                  <a:lnTo>
                    <a:pt x="203730" y="374837"/>
                  </a:lnTo>
                  <a:close/>
                  <a:moveTo>
                    <a:pt x="206131" y="384105"/>
                  </a:moveTo>
                  <a:lnTo>
                    <a:pt x="203988" y="384296"/>
                  </a:lnTo>
                  <a:lnTo>
                    <a:pt x="204006" y="381619"/>
                  </a:lnTo>
                  <a:lnTo>
                    <a:pt x="205235" y="379181"/>
                  </a:lnTo>
                  <a:lnTo>
                    <a:pt x="207178" y="377552"/>
                  </a:lnTo>
                  <a:lnTo>
                    <a:pt x="209683" y="377123"/>
                  </a:lnTo>
                  <a:lnTo>
                    <a:pt x="212484" y="376933"/>
                  </a:lnTo>
                  <a:lnTo>
                    <a:pt x="213331" y="378228"/>
                  </a:lnTo>
                  <a:lnTo>
                    <a:pt x="211722" y="380047"/>
                  </a:lnTo>
                  <a:lnTo>
                    <a:pt x="206131" y="384105"/>
                  </a:lnTo>
                  <a:close/>
                  <a:moveTo>
                    <a:pt x="191653" y="402022"/>
                  </a:moveTo>
                  <a:lnTo>
                    <a:pt x="189881" y="404012"/>
                  </a:lnTo>
                  <a:lnTo>
                    <a:pt x="186576" y="403441"/>
                  </a:lnTo>
                  <a:lnTo>
                    <a:pt x="186223" y="401726"/>
                  </a:lnTo>
                  <a:lnTo>
                    <a:pt x="187166" y="398297"/>
                  </a:lnTo>
                  <a:lnTo>
                    <a:pt x="189176" y="396878"/>
                  </a:lnTo>
                  <a:lnTo>
                    <a:pt x="191767" y="397154"/>
                  </a:lnTo>
                  <a:lnTo>
                    <a:pt x="192596" y="398583"/>
                  </a:lnTo>
                  <a:lnTo>
                    <a:pt x="191653" y="402022"/>
                  </a:lnTo>
                  <a:close/>
                  <a:moveTo>
                    <a:pt x="171965" y="450523"/>
                  </a:moveTo>
                  <a:lnTo>
                    <a:pt x="170564" y="452276"/>
                  </a:lnTo>
                  <a:lnTo>
                    <a:pt x="167450" y="450875"/>
                  </a:lnTo>
                  <a:lnTo>
                    <a:pt x="161306" y="451961"/>
                  </a:lnTo>
                  <a:lnTo>
                    <a:pt x="158830" y="450256"/>
                  </a:lnTo>
                  <a:lnTo>
                    <a:pt x="160801" y="446923"/>
                  </a:lnTo>
                  <a:lnTo>
                    <a:pt x="166354" y="443417"/>
                  </a:lnTo>
                  <a:lnTo>
                    <a:pt x="169336" y="443579"/>
                  </a:lnTo>
                  <a:lnTo>
                    <a:pt x="172374" y="447885"/>
                  </a:lnTo>
                  <a:lnTo>
                    <a:pt x="171965" y="450523"/>
                  </a:lnTo>
                  <a:close/>
                  <a:moveTo>
                    <a:pt x="98165" y="524256"/>
                  </a:moveTo>
                  <a:lnTo>
                    <a:pt x="95098" y="524399"/>
                  </a:lnTo>
                  <a:lnTo>
                    <a:pt x="93250" y="523046"/>
                  </a:lnTo>
                  <a:lnTo>
                    <a:pt x="97641" y="520360"/>
                  </a:lnTo>
                  <a:lnTo>
                    <a:pt x="104527" y="517788"/>
                  </a:lnTo>
                  <a:lnTo>
                    <a:pt x="105185" y="516160"/>
                  </a:lnTo>
                  <a:lnTo>
                    <a:pt x="106013" y="515960"/>
                  </a:lnTo>
                  <a:lnTo>
                    <a:pt x="107204" y="517960"/>
                  </a:lnTo>
                  <a:lnTo>
                    <a:pt x="107356" y="520703"/>
                  </a:lnTo>
                  <a:lnTo>
                    <a:pt x="106594" y="522065"/>
                  </a:lnTo>
                  <a:lnTo>
                    <a:pt x="98165" y="524256"/>
                  </a:lnTo>
                  <a:close/>
                  <a:moveTo>
                    <a:pt x="88316" y="543973"/>
                  </a:moveTo>
                  <a:lnTo>
                    <a:pt x="85697" y="544011"/>
                  </a:lnTo>
                  <a:lnTo>
                    <a:pt x="82582" y="543097"/>
                  </a:lnTo>
                  <a:lnTo>
                    <a:pt x="80629" y="541144"/>
                  </a:lnTo>
                  <a:lnTo>
                    <a:pt x="80324" y="539420"/>
                  </a:lnTo>
                  <a:lnTo>
                    <a:pt x="83915" y="537277"/>
                  </a:lnTo>
                  <a:lnTo>
                    <a:pt x="87525" y="536019"/>
                  </a:lnTo>
                  <a:lnTo>
                    <a:pt x="89202" y="538382"/>
                  </a:lnTo>
                  <a:lnTo>
                    <a:pt x="89326" y="542249"/>
                  </a:lnTo>
                  <a:lnTo>
                    <a:pt x="88316" y="543973"/>
                  </a:lnTo>
                  <a:close/>
                  <a:moveTo>
                    <a:pt x="4277" y="673037"/>
                  </a:moveTo>
                  <a:lnTo>
                    <a:pt x="1905" y="673732"/>
                  </a:lnTo>
                  <a:lnTo>
                    <a:pt x="0" y="673132"/>
                  </a:lnTo>
                  <a:lnTo>
                    <a:pt x="676" y="667855"/>
                  </a:lnTo>
                  <a:lnTo>
                    <a:pt x="1667" y="666998"/>
                  </a:lnTo>
                  <a:lnTo>
                    <a:pt x="3105" y="666693"/>
                  </a:lnTo>
                  <a:lnTo>
                    <a:pt x="4658" y="669522"/>
                  </a:lnTo>
                  <a:lnTo>
                    <a:pt x="4277" y="673037"/>
                  </a:lnTo>
                  <a:close/>
                  <a:moveTo>
                    <a:pt x="7677" y="715404"/>
                  </a:moveTo>
                  <a:lnTo>
                    <a:pt x="7763" y="721795"/>
                  </a:lnTo>
                  <a:lnTo>
                    <a:pt x="5305" y="721309"/>
                  </a:lnTo>
                  <a:lnTo>
                    <a:pt x="4201" y="718861"/>
                  </a:lnTo>
                  <a:lnTo>
                    <a:pt x="3877" y="717290"/>
                  </a:lnTo>
                  <a:lnTo>
                    <a:pt x="4077" y="713584"/>
                  </a:lnTo>
                  <a:lnTo>
                    <a:pt x="3524" y="709755"/>
                  </a:lnTo>
                  <a:lnTo>
                    <a:pt x="4248" y="707850"/>
                  </a:lnTo>
                  <a:lnTo>
                    <a:pt x="5144" y="707593"/>
                  </a:lnTo>
                  <a:lnTo>
                    <a:pt x="6734" y="711003"/>
                  </a:lnTo>
                  <a:lnTo>
                    <a:pt x="7677" y="715404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5" name="Forme libre : forme 44">
              <a:extLst>
                <a:ext uri="{FF2B5EF4-FFF2-40B4-BE49-F238E27FC236}">
                  <a16:creationId xmlns:a16="http://schemas.microsoft.com/office/drawing/2014/main" id="{ABA9F2C4-5177-BAE4-FA0F-D06C5AB554F0}"/>
                </a:ext>
              </a:extLst>
            </p:cNvPr>
            <p:cNvSpPr/>
            <p:nvPr/>
          </p:nvSpPr>
          <p:spPr>
            <a:xfrm>
              <a:off x="6210517" y="3933968"/>
              <a:ext cx="695237" cy="632237"/>
            </a:xfrm>
            <a:custGeom>
              <a:avLst/>
              <a:gdLst>
                <a:gd name="connsiteX0" fmla="*/ 146371 w 266700"/>
                <a:gd name="connsiteY0" fmla="*/ 17478 h 252012"/>
                <a:gd name="connsiteX1" fmla="*/ 147438 w 266700"/>
                <a:gd name="connsiteY1" fmla="*/ 18031 h 252012"/>
                <a:gd name="connsiteX2" fmla="*/ 154924 w 266700"/>
                <a:gd name="connsiteY2" fmla="*/ 18631 h 252012"/>
                <a:gd name="connsiteX3" fmla="*/ 162516 w 266700"/>
                <a:gd name="connsiteY3" fmla="*/ 19231 h 252012"/>
                <a:gd name="connsiteX4" fmla="*/ 174717 w 266700"/>
                <a:gd name="connsiteY4" fmla="*/ 19888 h 252012"/>
                <a:gd name="connsiteX5" fmla="*/ 187433 w 266700"/>
                <a:gd name="connsiteY5" fmla="*/ 20555 h 252012"/>
                <a:gd name="connsiteX6" fmla="*/ 200635 w 266700"/>
                <a:gd name="connsiteY6" fmla="*/ 21269 h 252012"/>
                <a:gd name="connsiteX7" fmla="*/ 214912 w 266700"/>
                <a:gd name="connsiteY7" fmla="*/ 22022 h 252012"/>
                <a:gd name="connsiteX8" fmla="*/ 229971 w 266700"/>
                <a:gd name="connsiteY8" fmla="*/ 22470 h 252012"/>
                <a:gd name="connsiteX9" fmla="*/ 230896 w 266700"/>
                <a:gd name="connsiteY9" fmla="*/ 22165 h 252012"/>
                <a:gd name="connsiteX10" fmla="*/ 232429 w 266700"/>
                <a:gd name="connsiteY10" fmla="*/ 20384 h 252012"/>
                <a:gd name="connsiteX11" fmla="*/ 234305 w 266700"/>
                <a:gd name="connsiteY11" fmla="*/ 20622 h 252012"/>
                <a:gd name="connsiteX12" fmla="*/ 236525 w 266700"/>
                <a:gd name="connsiteY12" fmla="*/ 21727 h 252012"/>
                <a:gd name="connsiteX13" fmla="*/ 237554 w 266700"/>
                <a:gd name="connsiteY13" fmla="*/ 22546 h 252012"/>
                <a:gd name="connsiteX14" fmla="*/ 237992 w 266700"/>
                <a:gd name="connsiteY14" fmla="*/ 23489 h 252012"/>
                <a:gd name="connsiteX15" fmla="*/ 238268 w 266700"/>
                <a:gd name="connsiteY15" fmla="*/ 24575 h 252012"/>
                <a:gd name="connsiteX16" fmla="*/ 239478 w 266700"/>
                <a:gd name="connsiteY16" fmla="*/ 24784 h 252012"/>
                <a:gd name="connsiteX17" fmla="*/ 241697 w 266700"/>
                <a:gd name="connsiteY17" fmla="*/ 25613 h 252012"/>
                <a:gd name="connsiteX18" fmla="*/ 244688 w 266700"/>
                <a:gd name="connsiteY18" fmla="*/ 27489 h 252012"/>
                <a:gd name="connsiteX19" fmla="*/ 247031 w 266700"/>
                <a:gd name="connsiteY19" fmla="*/ 29308 h 252012"/>
                <a:gd name="connsiteX20" fmla="*/ 249269 w 266700"/>
                <a:gd name="connsiteY20" fmla="*/ 31899 h 252012"/>
                <a:gd name="connsiteX21" fmla="*/ 250012 w 266700"/>
                <a:gd name="connsiteY21" fmla="*/ 34833 h 252012"/>
                <a:gd name="connsiteX22" fmla="*/ 250050 w 266700"/>
                <a:gd name="connsiteY22" fmla="*/ 38157 h 252012"/>
                <a:gd name="connsiteX23" fmla="*/ 249907 w 266700"/>
                <a:gd name="connsiteY23" fmla="*/ 40291 h 252012"/>
                <a:gd name="connsiteX24" fmla="*/ 250098 w 266700"/>
                <a:gd name="connsiteY24" fmla="*/ 41158 h 252012"/>
                <a:gd name="connsiteX25" fmla="*/ 253155 w 266700"/>
                <a:gd name="connsiteY25" fmla="*/ 56521 h 252012"/>
                <a:gd name="connsiteX26" fmla="*/ 258242 w 266700"/>
                <a:gd name="connsiteY26" fmla="*/ 71218 h 252012"/>
                <a:gd name="connsiteX27" fmla="*/ 260109 w 266700"/>
                <a:gd name="connsiteY27" fmla="*/ 78286 h 252012"/>
                <a:gd name="connsiteX28" fmla="*/ 260852 w 266700"/>
                <a:gd name="connsiteY28" fmla="*/ 82039 h 252012"/>
                <a:gd name="connsiteX29" fmla="*/ 261452 w 266700"/>
                <a:gd name="connsiteY29" fmla="*/ 87468 h 252012"/>
                <a:gd name="connsiteX30" fmla="*/ 261633 w 266700"/>
                <a:gd name="connsiteY30" fmla="*/ 91278 h 252012"/>
                <a:gd name="connsiteX31" fmla="*/ 261614 w 266700"/>
                <a:gd name="connsiteY31" fmla="*/ 93412 h 252012"/>
                <a:gd name="connsiteX32" fmla="*/ 261233 w 266700"/>
                <a:gd name="connsiteY32" fmla="*/ 96345 h 252012"/>
                <a:gd name="connsiteX33" fmla="*/ 259728 w 266700"/>
                <a:gd name="connsiteY33" fmla="*/ 98079 h 252012"/>
                <a:gd name="connsiteX34" fmla="*/ 249964 w 266700"/>
                <a:gd name="connsiteY34" fmla="*/ 103032 h 252012"/>
                <a:gd name="connsiteX35" fmla="*/ 248126 w 266700"/>
                <a:gd name="connsiteY35" fmla="*/ 104575 h 252012"/>
                <a:gd name="connsiteX36" fmla="*/ 245250 w 266700"/>
                <a:gd name="connsiteY36" fmla="*/ 108423 h 252012"/>
                <a:gd name="connsiteX37" fmla="*/ 242592 w 266700"/>
                <a:gd name="connsiteY37" fmla="*/ 112376 h 252012"/>
                <a:gd name="connsiteX38" fmla="*/ 241983 w 266700"/>
                <a:gd name="connsiteY38" fmla="*/ 113729 h 252012"/>
                <a:gd name="connsiteX39" fmla="*/ 241821 w 266700"/>
                <a:gd name="connsiteY39" fmla="*/ 114614 h 252012"/>
                <a:gd name="connsiteX40" fmla="*/ 242411 w 266700"/>
                <a:gd name="connsiteY40" fmla="*/ 115910 h 252012"/>
                <a:gd name="connsiteX41" fmla="*/ 245888 w 266700"/>
                <a:gd name="connsiteY41" fmla="*/ 118015 h 252012"/>
                <a:gd name="connsiteX42" fmla="*/ 249393 w 266700"/>
                <a:gd name="connsiteY42" fmla="*/ 119710 h 252012"/>
                <a:gd name="connsiteX43" fmla="*/ 250536 w 266700"/>
                <a:gd name="connsiteY43" fmla="*/ 120977 h 252012"/>
                <a:gd name="connsiteX44" fmla="*/ 253127 w 266700"/>
                <a:gd name="connsiteY44" fmla="*/ 122596 h 252012"/>
                <a:gd name="connsiteX45" fmla="*/ 254070 w 266700"/>
                <a:gd name="connsiteY45" fmla="*/ 124054 h 252012"/>
                <a:gd name="connsiteX46" fmla="*/ 254584 w 266700"/>
                <a:gd name="connsiteY46" fmla="*/ 125311 h 252012"/>
                <a:gd name="connsiteX47" fmla="*/ 254546 w 266700"/>
                <a:gd name="connsiteY47" fmla="*/ 128235 h 252012"/>
                <a:gd name="connsiteX48" fmla="*/ 253384 w 266700"/>
                <a:gd name="connsiteY48" fmla="*/ 132264 h 252012"/>
                <a:gd name="connsiteX49" fmla="*/ 253870 w 266700"/>
                <a:gd name="connsiteY49" fmla="*/ 135303 h 252012"/>
                <a:gd name="connsiteX50" fmla="*/ 252679 w 266700"/>
                <a:gd name="connsiteY50" fmla="*/ 137331 h 252012"/>
                <a:gd name="connsiteX51" fmla="*/ 251708 w 266700"/>
                <a:gd name="connsiteY51" fmla="*/ 139579 h 252012"/>
                <a:gd name="connsiteX52" fmla="*/ 251565 w 266700"/>
                <a:gd name="connsiteY52" fmla="*/ 143504 h 252012"/>
                <a:gd name="connsiteX53" fmla="*/ 253318 w 266700"/>
                <a:gd name="connsiteY53" fmla="*/ 147828 h 252012"/>
                <a:gd name="connsiteX54" fmla="*/ 254756 w 266700"/>
                <a:gd name="connsiteY54" fmla="*/ 150781 h 252012"/>
                <a:gd name="connsiteX55" fmla="*/ 255308 w 266700"/>
                <a:gd name="connsiteY55" fmla="*/ 153095 h 252012"/>
                <a:gd name="connsiteX56" fmla="*/ 254727 w 266700"/>
                <a:gd name="connsiteY56" fmla="*/ 154905 h 252012"/>
                <a:gd name="connsiteX57" fmla="*/ 254898 w 266700"/>
                <a:gd name="connsiteY57" fmla="*/ 156715 h 252012"/>
                <a:gd name="connsiteX58" fmla="*/ 256184 w 266700"/>
                <a:gd name="connsiteY58" fmla="*/ 158639 h 252012"/>
                <a:gd name="connsiteX59" fmla="*/ 260223 w 266700"/>
                <a:gd name="connsiteY59" fmla="*/ 164544 h 252012"/>
                <a:gd name="connsiteX60" fmla="*/ 262214 w 266700"/>
                <a:gd name="connsiteY60" fmla="*/ 170212 h 252012"/>
                <a:gd name="connsiteX61" fmla="*/ 263490 w 266700"/>
                <a:gd name="connsiteY61" fmla="*/ 172421 h 252012"/>
                <a:gd name="connsiteX62" fmla="*/ 266433 w 266700"/>
                <a:gd name="connsiteY62" fmla="*/ 175279 h 252012"/>
                <a:gd name="connsiteX63" fmla="*/ 266700 w 266700"/>
                <a:gd name="connsiteY63" fmla="*/ 176451 h 252012"/>
                <a:gd name="connsiteX64" fmla="*/ 265519 w 266700"/>
                <a:gd name="connsiteY64" fmla="*/ 177527 h 252012"/>
                <a:gd name="connsiteX65" fmla="*/ 264566 w 266700"/>
                <a:gd name="connsiteY65" fmla="*/ 177670 h 252012"/>
                <a:gd name="connsiteX66" fmla="*/ 263795 w 266700"/>
                <a:gd name="connsiteY66" fmla="*/ 177956 h 252012"/>
                <a:gd name="connsiteX67" fmla="*/ 263300 w 266700"/>
                <a:gd name="connsiteY67" fmla="*/ 178956 h 252012"/>
                <a:gd name="connsiteX68" fmla="*/ 264071 w 266700"/>
                <a:gd name="connsiteY68" fmla="*/ 180032 h 252012"/>
                <a:gd name="connsiteX69" fmla="*/ 265109 w 266700"/>
                <a:gd name="connsiteY69" fmla="*/ 181604 h 252012"/>
                <a:gd name="connsiteX70" fmla="*/ 266405 w 266700"/>
                <a:gd name="connsiteY70" fmla="*/ 186052 h 252012"/>
                <a:gd name="connsiteX71" fmla="*/ 266281 w 266700"/>
                <a:gd name="connsiteY71" fmla="*/ 189690 h 252012"/>
                <a:gd name="connsiteX72" fmla="*/ 265281 w 266700"/>
                <a:gd name="connsiteY72" fmla="*/ 190614 h 252012"/>
                <a:gd name="connsiteX73" fmla="*/ 264004 w 266700"/>
                <a:gd name="connsiteY73" fmla="*/ 192767 h 252012"/>
                <a:gd name="connsiteX74" fmla="*/ 263147 w 266700"/>
                <a:gd name="connsiteY74" fmla="*/ 194739 h 252012"/>
                <a:gd name="connsiteX75" fmla="*/ 256165 w 266700"/>
                <a:gd name="connsiteY75" fmla="*/ 196101 h 252012"/>
                <a:gd name="connsiteX76" fmla="*/ 254489 w 266700"/>
                <a:gd name="connsiteY76" fmla="*/ 198206 h 252012"/>
                <a:gd name="connsiteX77" fmla="*/ 250670 w 266700"/>
                <a:gd name="connsiteY77" fmla="*/ 202254 h 252012"/>
                <a:gd name="connsiteX78" fmla="*/ 248069 w 266700"/>
                <a:gd name="connsiteY78" fmla="*/ 204588 h 252012"/>
                <a:gd name="connsiteX79" fmla="*/ 244212 w 266700"/>
                <a:gd name="connsiteY79" fmla="*/ 208788 h 252012"/>
                <a:gd name="connsiteX80" fmla="*/ 238116 w 266700"/>
                <a:gd name="connsiteY80" fmla="*/ 215989 h 252012"/>
                <a:gd name="connsiteX81" fmla="*/ 235868 w 266700"/>
                <a:gd name="connsiteY81" fmla="*/ 218999 h 252012"/>
                <a:gd name="connsiteX82" fmla="*/ 234220 w 266700"/>
                <a:gd name="connsiteY82" fmla="*/ 221485 h 252012"/>
                <a:gd name="connsiteX83" fmla="*/ 229286 w 266700"/>
                <a:gd name="connsiteY83" fmla="*/ 228076 h 252012"/>
                <a:gd name="connsiteX84" fmla="*/ 227772 w 266700"/>
                <a:gd name="connsiteY84" fmla="*/ 230839 h 252012"/>
                <a:gd name="connsiteX85" fmla="*/ 228067 w 266700"/>
                <a:gd name="connsiteY85" fmla="*/ 233105 h 252012"/>
                <a:gd name="connsiteX86" fmla="*/ 229658 w 266700"/>
                <a:gd name="connsiteY86" fmla="*/ 238430 h 252012"/>
                <a:gd name="connsiteX87" fmla="*/ 229991 w 266700"/>
                <a:gd name="connsiteY87" fmla="*/ 240830 h 252012"/>
                <a:gd name="connsiteX88" fmla="*/ 229705 w 266700"/>
                <a:gd name="connsiteY88" fmla="*/ 243040 h 252012"/>
                <a:gd name="connsiteX89" fmla="*/ 229181 w 266700"/>
                <a:gd name="connsiteY89" fmla="*/ 245012 h 252012"/>
                <a:gd name="connsiteX90" fmla="*/ 229276 w 266700"/>
                <a:gd name="connsiteY90" fmla="*/ 245888 h 252012"/>
                <a:gd name="connsiteX91" fmla="*/ 230734 w 266700"/>
                <a:gd name="connsiteY91" fmla="*/ 247317 h 252012"/>
                <a:gd name="connsiteX92" fmla="*/ 233048 w 266700"/>
                <a:gd name="connsiteY92" fmla="*/ 249555 h 252012"/>
                <a:gd name="connsiteX93" fmla="*/ 233182 w 266700"/>
                <a:gd name="connsiteY93" fmla="*/ 250307 h 252012"/>
                <a:gd name="connsiteX94" fmla="*/ 232858 w 266700"/>
                <a:gd name="connsiteY94" fmla="*/ 251279 h 252012"/>
                <a:gd name="connsiteX95" fmla="*/ 232058 w 266700"/>
                <a:gd name="connsiteY95" fmla="*/ 252013 h 252012"/>
                <a:gd name="connsiteX96" fmla="*/ 229152 w 266700"/>
                <a:gd name="connsiteY96" fmla="*/ 251231 h 252012"/>
                <a:gd name="connsiteX97" fmla="*/ 225914 w 266700"/>
                <a:gd name="connsiteY97" fmla="*/ 249717 h 252012"/>
                <a:gd name="connsiteX98" fmla="*/ 224809 w 266700"/>
                <a:gd name="connsiteY98" fmla="*/ 249907 h 252012"/>
                <a:gd name="connsiteX99" fmla="*/ 223057 w 266700"/>
                <a:gd name="connsiteY99" fmla="*/ 249546 h 252012"/>
                <a:gd name="connsiteX100" fmla="*/ 215827 w 266700"/>
                <a:gd name="connsiteY100" fmla="*/ 246621 h 252012"/>
                <a:gd name="connsiteX101" fmla="*/ 210951 w 266700"/>
                <a:gd name="connsiteY101" fmla="*/ 244326 h 252012"/>
                <a:gd name="connsiteX102" fmla="*/ 210464 w 266700"/>
                <a:gd name="connsiteY102" fmla="*/ 242830 h 252012"/>
                <a:gd name="connsiteX103" fmla="*/ 209550 w 266700"/>
                <a:gd name="connsiteY103" fmla="*/ 240668 h 252012"/>
                <a:gd name="connsiteX104" fmla="*/ 207473 w 266700"/>
                <a:gd name="connsiteY104" fmla="*/ 238849 h 252012"/>
                <a:gd name="connsiteX105" fmla="*/ 202711 w 266700"/>
                <a:gd name="connsiteY105" fmla="*/ 237277 h 252012"/>
                <a:gd name="connsiteX106" fmla="*/ 200778 w 266700"/>
                <a:gd name="connsiteY106" fmla="*/ 236049 h 252012"/>
                <a:gd name="connsiteX107" fmla="*/ 193043 w 266700"/>
                <a:gd name="connsiteY107" fmla="*/ 235363 h 252012"/>
                <a:gd name="connsiteX108" fmla="*/ 189691 w 266700"/>
                <a:gd name="connsiteY108" fmla="*/ 235334 h 252012"/>
                <a:gd name="connsiteX109" fmla="*/ 187319 w 266700"/>
                <a:gd name="connsiteY109" fmla="*/ 235839 h 252012"/>
                <a:gd name="connsiteX110" fmla="*/ 185794 w 266700"/>
                <a:gd name="connsiteY110" fmla="*/ 235791 h 252012"/>
                <a:gd name="connsiteX111" fmla="*/ 183709 w 266700"/>
                <a:gd name="connsiteY111" fmla="*/ 239001 h 252012"/>
                <a:gd name="connsiteX112" fmla="*/ 182270 w 266700"/>
                <a:gd name="connsiteY112" fmla="*/ 239935 h 252012"/>
                <a:gd name="connsiteX113" fmla="*/ 180166 w 266700"/>
                <a:gd name="connsiteY113" fmla="*/ 240030 h 252012"/>
                <a:gd name="connsiteX114" fmla="*/ 178318 w 266700"/>
                <a:gd name="connsiteY114" fmla="*/ 239459 h 252012"/>
                <a:gd name="connsiteX115" fmla="*/ 176432 w 266700"/>
                <a:gd name="connsiteY115" fmla="*/ 237773 h 252012"/>
                <a:gd name="connsiteX116" fmla="*/ 173422 w 266700"/>
                <a:gd name="connsiteY116" fmla="*/ 236877 h 252012"/>
                <a:gd name="connsiteX117" fmla="*/ 171241 w 266700"/>
                <a:gd name="connsiteY117" fmla="*/ 237306 h 252012"/>
                <a:gd name="connsiteX118" fmla="*/ 169631 w 266700"/>
                <a:gd name="connsiteY118" fmla="*/ 236944 h 252012"/>
                <a:gd name="connsiteX119" fmla="*/ 168250 w 266700"/>
                <a:gd name="connsiteY119" fmla="*/ 236849 h 252012"/>
                <a:gd name="connsiteX120" fmla="*/ 167764 w 266700"/>
                <a:gd name="connsiteY120" fmla="*/ 237192 h 252012"/>
                <a:gd name="connsiteX121" fmla="*/ 166650 w 266700"/>
                <a:gd name="connsiteY121" fmla="*/ 237144 h 252012"/>
                <a:gd name="connsiteX122" fmla="*/ 165040 w 266700"/>
                <a:gd name="connsiteY122" fmla="*/ 237954 h 252012"/>
                <a:gd name="connsiteX123" fmla="*/ 163268 w 266700"/>
                <a:gd name="connsiteY123" fmla="*/ 239087 h 252012"/>
                <a:gd name="connsiteX124" fmla="*/ 161325 w 266700"/>
                <a:gd name="connsiteY124" fmla="*/ 239963 h 252012"/>
                <a:gd name="connsiteX125" fmla="*/ 159820 w 266700"/>
                <a:gd name="connsiteY125" fmla="*/ 241830 h 252012"/>
                <a:gd name="connsiteX126" fmla="*/ 158487 w 266700"/>
                <a:gd name="connsiteY126" fmla="*/ 245478 h 252012"/>
                <a:gd name="connsiteX127" fmla="*/ 154705 w 266700"/>
                <a:gd name="connsiteY127" fmla="*/ 243840 h 252012"/>
                <a:gd name="connsiteX128" fmla="*/ 153448 w 266700"/>
                <a:gd name="connsiteY128" fmla="*/ 244554 h 252012"/>
                <a:gd name="connsiteX129" fmla="*/ 151657 w 266700"/>
                <a:gd name="connsiteY129" fmla="*/ 245031 h 252012"/>
                <a:gd name="connsiteX130" fmla="*/ 150438 w 266700"/>
                <a:gd name="connsiteY130" fmla="*/ 244535 h 252012"/>
                <a:gd name="connsiteX131" fmla="*/ 150724 w 266700"/>
                <a:gd name="connsiteY131" fmla="*/ 243278 h 252012"/>
                <a:gd name="connsiteX132" fmla="*/ 151276 w 266700"/>
                <a:gd name="connsiteY132" fmla="*/ 241859 h 252012"/>
                <a:gd name="connsiteX133" fmla="*/ 151248 w 266700"/>
                <a:gd name="connsiteY133" fmla="*/ 239878 h 252012"/>
                <a:gd name="connsiteX134" fmla="*/ 150905 w 266700"/>
                <a:gd name="connsiteY134" fmla="*/ 237677 h 252012"/>
                <a:gd name="connsiteX135" fmla="*/ 149733 w 266700"/>
                <a:gd name="connsiteY135" fmla="*/ 236963 h 252012"/>
                <a:gd name="connsiteX136" fmla="*/ 147971 w 266700"/>
                <a:gd name="connsiteY136" fmla="*/ 236706 h 252012"/>
                <a:gd name="connsiteX137" fmla="*/ 147066 w 266700"/>
                <a:gd name="connsiteY137" fmla="*/ 236268 h 252012"/>
                <a:gd name="connsiteX138" fmla="*/ 146971 w 266700"/>
                <a:gd name="connsiteY138" fmla="*/ 235544 h 252012"/>
                <a:gd name="connsiteX139" fmla="*/ 146066 w 266700"/>
                <a:gd name="connsiteY139" fmla="*/ 234610 h 252012"/>
                <a:gd name="connsiteX140" fmla="*/ 144504 w 266700"/>
                <a:gd name="connsiteY140" fmla="*/ 232248 h 252012"/>
                <a:gd name="connsiteX141" fmla="*/ 143037 w 266700"/>
                <a:gd name="connsiteY141" fmla="*/ 229295 h 252012"/>
                <a:gd name="connsiteX142" fmla="*/ 142018 w 266700"/>
                <a:gd name="connsiteY142" fmla="*/ 228429 h 252012"/>
                <a:gd name="connsiteX143" fmla="*/ 140541 w 266700"/>
                <a:gd name="connsiteY143" fmla="*/ 229829 h 252012"/>
                <a:gd name="connsiteX144" fmla="*/ 138303 w 266700"/>
                <a:gd name="connsiteY144" fmla="*/ 231419 h 252012"/>
                <a:gd name="connsiteX145" fmla="*/ 136903 w 266700"/>
                <a:gd name="connsiteY145" fmla="*/ 231972 h 252012"/>
                <a:gd name="connsiteX146" fmla="*/ 134208 w 266700"/>
                <a:gd name="connsiteY146" fmla="*/ 236544 h 252012"/>
                <a:gd name="connsiteX147" fmla="*/ 129369 w 266700"/>
                <a:gd name="connsiteY147" fmla="*/ 236696 h 252012"/>
                <a:gd name="connsiteX148" fmla="*/ 129074 w 266700"/>
                <a:gd name="connsiteY148" fmla="*/ 234563 h 252012"/>
                <a:gd name="connsiteX149" fmla="*/ 128559 w 266700"/>
                <a:gd name="connsiteY149" fmla="*/ 232505 h 252012"/>
                <a:gd name="connsiteX150" fmla="*/ 125730 w 266700"/>
                <a:gd name="connsiteY150" fmla="*/ 232000 h 252012"/>
                <a:gd name="connsiteX151" fmla="*/ 125645 w 266700"/>
                <a:gd name="connsiteY151" fmla="*/ 230791 h 252012"/>
                <a:gd name="connsiteX152" fmla="*/ 125054 w 266700"/>
                <a:gd name="connsiteY152" fmla="*/ 227762 h 252012"/>
                <a:gd name="connsiteX153" fmla="*/ 119377 w 266700"/>
                <a:gd name="connsiteY153" fmla="*/ 221828 h 252012"/>
                <a:gd name="connsiteX154" fmla="*/ 118691 w 266700"/>
                <a:gd name="connsiteY154" fmla="*/ 219351 h 252012"/>
                <a:gd name="connsiteX155" fmla="*/ 118910 w 266700"/>
                <a:gd name="connsiteY155" fmla="*/ 218389 h 252012"/>
                <a:gd name="connsiteX156" fmla="*/ 118520 w 266700"/>
                <a:gd name="connsiteY156" fmla="*/ 216808 h 252012"/>
                <a:gd name="connsiteX157" fmla="*/ 117281 w 266700"/>
                <a:gd name="connsiteY157" fmla="*/ 215856 h 252012"/>
                <a:gd name="connsiteX158" fmla="*/ 112795 w 266700"/>
                <a:gd name="connsiteY158" fmla="*/ 214722 h 252012"/>
                <a:gd name="connsiteX159" fmla="*/ 111643 w 266700"/>
                <a:gd name="connsiteY159" fmla="*/ 215370 h 252012"/>
                <a:gd name="connsiteX160" fmla="*/ 110604 w 266700"/>
                <a:gd name="connsiteY160" fmla="*/ 214703 h 252012"/>
                <a:gd name="connsiteX161" fmla="*/ 108966 w 266700"/>
                <a:gd name="connsiteY161" fmla="*/ 213274 h 252012"/>
                <a:gd name="connsiteX162" fmla="*/ 106137 w 266700"/>
                <a:gd name="connsiteY162" fmla="*/ 212112 h 252012"/>
                <a:gd name="connsiteX163" fmla="*/ 105823 w 266700"/>
                <a:gd name="connsiteY163" fmla="*/ 211512 h 252012"/>
                <a:gd name="connsiteX164" fmla="*/ 104803 w 266700"/>
                <a:gd name="connsiteY164" fmla="*/ 210483 h 252012"/>
                <a:gd name="connsiteX165" fmla="*/ 104242 w 266700"/>
                <a:gd name="connsiteY165" fmla="*/ 210350 h 252012"/>
                <a:gd name="connsiteX166" fmla="*/ 103870 w 266700"/>
                <a:gd name="connsiteY166" fmla="*/ 210969 h 252012"/>
                <a:gd name="connsiteX167" fmla="*/ 103051 w 266700"/>
                <a:gd name="connsiteY167" fmla="*/ 211846 h 252012"/>
                <a:gd name="connsiteX168" fmla="*/ 100136 w 266700"/>
                <a:gd name="connsiteY168" fmla="*/ 212960 h 252012"/>
                <a:gd name="connsiteX169" fmla="*/ 98974 w 266700"/>
                <a:gd name="connsiteY169" fmla="*/ 212503 h 252012"/>
                <a:gd name="connsiteX170" fmla="*/ 97917 w 266700"/>
                <a:gd name="connsiteY170" fmla="*/ 211541 h 252012"/>
                <a:gd name="connsiteX171" fmla="*/ 96707 w 266700"/>
                <a:gd name="connsiteY171" fmla="*/ 209455 h 252012"/>
                <a:gd name="connsiteX172" fmla="*/ 94955 w 266700"/>
                <a:gd name="connsiteY172" fmla="*/ 207626 h 252012"/>
                <a:gd name="connsiteX173" fmla="*/ 93516 w 266700"/>
                <a:gd name="connsiteY173" fmla="*/ 206978 h 252012"/>
                <a:gd name="connsiteX174" fmla="*/ 92688 w 266700"/>
                <a:gd name="connsiteY174" fmla="*/ 206016 h 252012"/>
                <a:gd name="connsiteX175" fmla="*/ 92507 w 266700"/>
                <a:gd name="connsiteY175" fmla="*/ 205273 h 252012"/>
                <a:gd name="connsiteX176" fmla="*/ 95708 w 266700"/>
                <a:gd name="connsiteY176" fmla="*/ 203768 h 252012"/>
                <a:gd name="connsiteX177" fmla="*/ 96412 w 266700"/>
                <a:gd name="connsiteY177" fmla="*/ 202216 h 252012"/>
                <a:gd name="connsiteX178" fmla="*/ 96003 w 266700"/>
                <a:gd name="connsiteY178" fmla="*/ 199387 h 252012"/>
                <a:gd name="connsiteX179" fmla="*/ 95526 w 266700"/>
                <a:gd name="connsiteY179" fmla="*/ 199034 h 252012"/>
                <a:gd name="connsiteX180" fmla="*/ 94250 w 266700"/>
                <a:gd name="connsiteY180" fmla="*/ 199987 h 252012"/>
                <a:gd name="connsiteX181" fmla="*/ 91573 w 266700"/>
                <a:gd name="connsiteY181" fmla="*/ 200825 h 252012"/>
                <a:gd name="connsiteX182" fmla="*/ 89116 w 266700"/>
                <a:gd name="connsiteY182" fmla="*/ 201216 h 252012"/>
                <a:gd name="connsiteX183" fmla="*/ 87849 w 266700"/>
                <a:gd name="connsiteY183" fmla="*/ 201216 h 252012"/>
                <a:gd name="connsiteX184" fmla="*/ 80810 w 266700"/>
                <a:gd name="connsiteY184" fmla="*/ 196063 h 252012"/>
                <a:gd name="connsiteX185" fmla="*/ 76238 w 266700"/>
                <a:gd name="connsiteY185" fmla="*/ 194481 h 252012"/>
                <a:gd name="connsiteX186" fmla="*/ 73543 w 266700"/>
                <a:gd name="connsiteY186" fmla="*/ 194024 h 252012"/>
                <a:gd name="connsiteX187" fmla="*/ 73257 w 266700"/>
                <a:gd name="connsiteY187" fmla="*/ 194548 h 252012"/>
                <a:gd name="connsiteX188" fmla="*/ 74466 w 266700"/>
                <a:gd name="connsiteY188" fmla="*/ 197444 h 252012"/>
                <a:gd name="connsiteX189" fmla="*/ 76581 w 266700"/>
                <a:gd name="connsiteY189" fmla="*/ 201016 h 252012"/>
                <a:gd name="connsiteX190" fmla="*/ 76476 w 266700"/>
                <a:gd name="connsiteY190" fmla="*/ 201959 h 252012"/>
                <a:gd name="connsiteX191" fmla="*/ 73952 w 266700"/>
                <a:gd name="connsiteY191" fmla="*/ 203416 h 252012"/>
                <a:gd name="connsiteX192" fmla="*/ 72523 w 266700"/>
                <a:gd name="connsiteY192" fmla="*/ 204054 h 252012"/>
                <a:gd name="connsiteX193" fmla="*/ 70838 w 266700"/>
                <a:gd name="connsiteY193" fmla="*/ 205283 h 252012"/>
                <a:gd name="connsiteX194" fmla="*/ 69409 w 266700"/>
                <a:gd name="connsiteY194" fmla="*/ 206997 h 252012"/>
                <a:gd name="connsiteX195" fmla="*/ 68170 w 266700"/>
                <a:gd name="connsiteY195" fmla="*/ 207769 h 252012"/>
                <a:gd name="connsiteX196" fmla="*/ 67103 w 266700"/>
                <a:gd name="connsiteY196" fmla="*/ 207569 h 252012"/>
                <a:gd name="connsiteX197" fmla="*/ 65970 w 266700"/>
                <a:gd name="connsiteY197" fmla="*/ 206750 h 252012"/>
                <a:gd name="connsiteX198" fmla="*/ 63055 w 266700"/>
                <a:gd name="connsiteY198" fmla="*/ 201482 h 252012"/>
                <a:gd name="connsiteX199" fmla="*/ 59388 w 266700"/>
                <a:gd name="connsiteY199" fmla="*/ 197444 h 252012"/>
                <a:gd name="connsiteX200" fmla="*/ 58950 w 266700"/>
                <a:gd name="connsiteY200" fmla="*/ 196539 h 252012"/>
                <a:gd name="connsiteX201" fmla="*/ 57808 w 266700"/>
                <a:gd name="connsiteY201" fmla="*/ 196329 h 252012"/>
                <a:gd name="connsiteX202" fmla="*/ 56188 w 266700"/>
                <a:gd name="connsiteY202" fmla="*/ 195396 h 252012"/>
                <a:gd name="connsiteX203" fmla="*/ 55636 w 266700"/>
                <a:gd name="connsiteY203" fmla="*/ 194158 h 252012"/>
                <a:gd name="connsiteX204" fmla="*/ 56455 w 266700"/>
                <a:gd name="connsiteY204" fmla="*/ 192862 h 252012"/>
                <a:gd name="connsiteX205" fmla="*/ 57569 w 266700"/>
                <a:gd name="connsiteY205" fmla="*/ 191681 h 252012"/>
                <a:gd name="connsiteX206" fmla="*/ 59550 w 266700"/>
                <a:gd name="connsiteY206" fmla="*/ 190948 h 252012"/>
                <a:gd name="connsiteX207" fmla="*/ 60150 w 266700"/>
                <a:gd name="connsiteY207" fmla="*/ 190252 h 252012"/>
                <a:gd name="connsiteX208" fmla="*/ 60503 w 266700"/>
                <a:gd name="connsiteY208" fmla="*/ 189214 h 252012"/>
                <a:gd name="connsiteX209" fmla="*/ 61236 w 266700"/>
                <a:gd name="connsiteY209" fmla="*/ 187871 h 252012"/>
                <a:gd name="connsiteX210" fmla="*/ 61046 w 266700"/>
                <a:gd name="connsiteY210" fmla="*/ 187395 h 252012"/>
                <a:gd name="connsiteX211" fmla="*/ 59646 w 266700"/>
                <a:gd name="connsiteY211" fmla="*/ 185871 h 252012"/>
                <a:gd name="connsiteX212" fmla="*/ 57569 w 266700"/>
                <a:gd name="connsiteY212" fmla="*/ 184433 h 252012"/>
                <a:gd name="connsiteX213" fmla="*/ 51797 w 266700"/>
                <a:gd name="connsiteY213" fmla="*/ 185509 h 252012"/>
                <a:gd name="connsiteX214" fmla="*/ 50216 w 266700"/>
                <a:gd name="connsiteY214" fmla="*/ 186280 h 252012"/>
                <a:gd name="connsiteX215" fmla="*/ 49321 w 266700"/>
                <a:gd name="connsiteY215" fmla="*/ 185280 h 252012"/>
                <a:gd name="connsiteX216" fmla="*/ 48644 w 266700"/>
                <a:gd name="connsiteY216" fmla="*/ 183823 h 252012"/>
                <a:gd name="connsiteX217" fmla="*/ 47187 w 266700"/>
                <a:gd name="connsiteY217" fmla="*/ 183537 h 252012"/>
                <a:gd name="connsiteX218" fmla="*/ 45187 w 266700"/>
                <a:gd name="connsiteY218" fmla="*/ 182204 h 252012"/>
                <a:gd name="connsiteX219" fmla="*/ 42815 w 266700"/>
                <a:gd name="connsiteY219" fmla="*/ 180889 h 252012"/>
                <a:gd name="connsiteX220" fmla="*/ 40500 w 266700"/>
                <a:gd name="connsiteY220" fmla="*/ 180508 h 252012"/>
                <a:gd name="connsiteX221" fmla="*/ 35690 w 266700"/>
                <a:gd name="connsiteY221" fmla="*/ 178613 h 252012"/>
                <a:gd name="connsiteX222" fmla="*/ 33833 w 266700"/>
                <a:gd name="connsiteY222" fmla="*/ 178508 h 252012"/>
                <a:gd name="connsiteX223" fmla="*/ 32766 w 266700"/>
                <a:gd name="connsiteY223" fmla="*/ 177860 h 252012"/>
                <a:gd name="connsiteX224" fmla="*/ 31642 w 266700"/>
                <a:gd name="connsiteY224" fmla="*/ 176422 h 252012"/>
                <a:gd name="connsiteX225" fmla="*/ 30689 w 266700"/>
                <a:gd name="connsiteY225" fmla="*/ 174850 h 252012"/>
                <a:gd name="connsiteX226" fmla="*/ 30194 w 266700"/>
                <a:gd name="connsiteY226" fmla="*/ 171650 h 252012"/>
                <a:gd name="connsiteX227" fmla="*/ 26651 w 266700"/>
                <a:gd name="connsiteY227" fmla="*/ 170202 h 252012"/>
                <a:gd name="connsiteX228" fmla="*/ 23117 w 266700"/>
                <a:gd name="connsiteY228" fmla="*/ 169288 h 252012"/>
                <a:gd name="connsiteX229" fmla="*/ 22870 w 266700"/>
                <a:gd name="connsiteY229" fmla="*/ 169754 h 252012"/>
                <a:gd name="connsiteX230" fmla="*/ 23022 w 266700"/>
                <a:gd name="connsiteY230" fmla="*/ 172974 h 252012"/>
                <a:gd name="connsiteX231" fmla="*/ 22832 w 266700"/>
                <a:gd name="connsiteY231" fmla="*/ 174698 h 252012"/>
                <a:gd name="connsiteX232" fmla="*/ 20498 w 266700"/>
                <a:gd name="connsiteY232" fmla="*/ 175755 h 252012"/>
                <a:gd name="connsiteX233" fmla="*/ 18193 w 266700"/>
                <a:gd name="connsiteY233" fmla="*/ 175860 h 252012"/>
                <a:gd name="connsiteX234" fmla="*/ 18317 w 266700"/>
                <a:gd name="connsiteY234" fmla="*/ 175327 h 252012"/>
                <a:gd name="connsiteX235" fmla="*/ 21079 w 266700"/>
                <a:gd name="connsiteY235" fmla="*/ 169526 h 252012"/>
                <a:gd name="connsiteX236" fmla="*/ 22317 w 266700"/>
                <a:gd name="connsiteY236" fmla="*/ 165859 h 252012"/>
                <a:gd name="connsiteX237" fmla="*/ 23736 w 266700"/>
                <a:gd name="connsiteY237" fmla="*/ 159163 h 252012"/>
                <a:gd name="connsiteX238" fmla="*/ 22031 w 266700"/>
                <a:gd name="connsiteY238" fmla="*/ 153857 h 252012"/>
                <a:gd name="connsiteX239" fmla="*/ 21565 w 266700"/>
                <a:gd name="connsiteY239" fmla="*/ 151362 h 252012"/>
                <a:gd name="connsiteX240" fmla="*/ 20774 w 266700"/>
                <a:gd name="connsiteY240" fmla="*/ 150171 h 252012"/>
                <a:gd name="connsiteX241" fmla="*/ 15926 w 266700"/>
                <a:gd name="connsiteY241" fmla="*/ 147571 h 252012"/>
                <a:gd name="connsiteX242" fmla="*/ 15554 w 266700"/>
                <a:gd name="connsiteY242" fmla="*/ 146676 h 252012"/>
                <a:gd name="connsiteX243" fmla="*/ 16297 w 266700"/>
                <a:gd name="connsiteY243" fmla="*/ 143151 h 252012"/>
                <a:gd name="connsiteX244" fmla="*/ 15936 w 266700"/>
                <a:gd name="connsiteY244" fmla="*/ 141665 h 252012"/>
                <a:gd name="connsiteX245" fmla="*/ 14764 w 266700"/>
                <a:gd name="connsiteY245" fmla="*/ 140094 h 252012"/>
                <a:gd name="connsiteX246" fmla="*/ 13231 w 266700"/>
                <a:gd name="connsiteY246" fmla="*/ 136970 h 252012"/>
                <a:gd name="connsiteX247" fmla="*/ 12640 w 266700"/>
                <a:gd name="connsiteY247" fmla="*/ 134312 h 252012"/>
                <a:gd name="connsiteX248" fmla="*/ 14592 w 266700"/>
                <a:gd name="connsiteY248" fmla="*/ 131188 h 252012"/>
                <a:gd name="connsiteX249" fmla="*/ 15078 w 266700"/>
                <a:gd name="connsiteY249" fmla="*/ 128883 h 252012"/>
                <a:gd name="connsiteX250" fmla="*/ 15926 w 266700"/>
                <a:gd name="connsiteY250" fmla="*/ 125730 h 252012"/>
                <a:gd name="connsiteX251" fmla="*/ 16555 w 266700"/>
                <a:gd name="connsiteY251" fmla="*/ 123997 h 252012"/>
                <a:gd name="connsiteX252" fmla="*/ 16679 w 266700"/>
                <a:gd name="connsiteY252" fmla="*/ 123520 h 252012"/>
                <a:gd name="connsiteX253" fmla="*/ 15393 w 266700"/>
                <a:gd name="connsiteY253" fmla="*/ 122291 h 252012"/>
                <a:gd name="connsiteX254" fmla="*/ 15069 w 266700"/>
                <a:gd name="connsiteY254" fmla="*/ 120558 h 252012"/>
                <a:gd name="connsiteX255" fmla="*/ 15411 w 266700"/>
                <a:gd name="connsiteY255" fmla="*/ 118062 h 252012"/>
                <a:gd name="connsiteX256" fmla="*/ 14726 w 266700"/>
                <a:gd name="connsiteY256" fmla="*/ 116205 h 252012"/>
                <a:gd name="connsiteX257" fmla="*/ 13011 w 266700"/>
                <a:gd name="connsiteY257" fmla="*/ 115005 h 252012"/>
                <a:gd name="connsiteX258" fmla="*/ 11897 w 266700"/>
                <a:gd name="connsiteY258" fmla="*/ 113405 h 252012"/>
                <a:gd name="connsiteX259" fmla="*/ 11382 w 266700"/>
                <a:gd name="connsiteY259" fmla="*/ 111423 h 252012"/>
                <a:gd name="connsiteX260" fmla="*/ 11782 w 266700"/>
                <a:gd name="connsiteY260" fmla="*/ 108299 h 252012"/>
                <a:gd name="connsiteX261" fmla="*/ 13116 w 266700"/>
                <a:gd name="connsiteY261" fmla="*/ 104042 h 252012"/>
                <a:gd name="connsiteX262" fmla="*/ 10296 w 266700"/>
                <a:gd name="connsiteY262" fmla="*/ 98898 h 252012"/>
                <a:gd name="connsiteX263" fmla="*/ 3334 w 266700"/>
                <a:gd name="connsiteY263" fmla="*/ 92869 h 252012"/>
                <a:gd name="connsiteX264" fmla="*/ 0 w 266700"/>
                <a:gd name="connsiteY264" fmla="*/ 88649 h 252012"/>
                <a:gd name="connsiteX265" fmla="*/ 267 w 266700"/>
                <a:gd name="connsiteY265" fmla="*/ 86230 h 252012"/>
                <a:gd name="connsiteX266" fmla="*/ 1734 w 266700"/>
                <a:gd name="connsiteY266" fmla="*/ 84039 h 252012"/>
                <a:gd name="connsiteX267" fmla="*/ 4391 w 266700"/>
                <a:gd name="connsiteY267" fmla="*/ 82077 h 252012"/>
                <a:gd name="connsiteX268" fmla="*/ 6411 w 266700"/>
                <a:gd name="connsiteY268" fmla="*/ 78581 h 252012"/>
                <a:gd name="connsiteX269" fmla="*/ 7544 w 266700"/>
                <a:gd name="connsiteY269" fmla="*/ 74419 h 252012"/>
                <a:gd name="connsiteX270" fmla="*/ 7572 w 266700"/>
                <a:gd name="connsiteY270" fmla="*/ 73628 h 252012"/>
                <a:gd name="connsiteX271" fmla="*/ 7639 w 266700"/>
                <a:gd name="connsiteY271" fmla="*/ 70656 h 252012"/>
                <a:gd name="connsiteX272" fmla="*/ 4543 w 266700"/>
                <a:gd name="connsiteY272" fmla="*/ 58446 h 252012"/>
                <a:gd name="connsiteX273" fmla="*/ 4039 w 266700"/>
                <a:gd name="connsiteY273" fmla="*/ 55378 h 252012"/>
                <a:gd name="connsiteX274" fmla="*/ 3667 w 266700"/>
                <a:gd name="connsiteY274" fmla="*/ 51664 h 252012"/>
                <a:gd name="connsiteX275" fmla="*/ 3477 w 266700"/>
                <a:gd name="connsiteY275" fmla="*/ 50654 h 252012"/>
                <a:gd name="connsiteX276" fmla="*/ 9592 w 266700"/>
                <a:gd name="connsiteY276" fmla="*/ 53254 h 252012"/>
                <a:gd name="connsiteX277" fmla="*/ 12154 w 266700"/>
                <a:gd name="connsiteY277" fmla="*/ 54721 h 252012"/>
                <a:gd name="connsiteX278" fmla="*/ 11830 w 266700"/>
                <a:gd name="connsiteY278" fmla="*/ 53073 h 252012"/>
                <a:gd name="connsiteX279" fmla="*/ 11316 w 266700"/>
                <a:gd name="connsiteY279" fmla="*/ 51654 h 252012"/>
                <a:gd name="connsiteX280" fmla="*/ 11659 w 266700"/>
                <a:gd name="connsiteY280" fmla="*/ 49578 h 252012"/>
                <a:gd name="connsiteX281" fmla="*/ 11487 w 266700"/>
                <a:gd name="connsiteY281" fmla="*/ 46434 h 252012"/>
                <a:gd name="connsiteX282" fmla="*/ 5934 w 266700"/>
                <a:gd name="connsiteY282" fmla="*/ 44825 h 252012"/>
                <a:gd name="connsiteX283" fmla="*/ 2267 w 266700"/>
                <a:gd name="connsiteY283" fmla="*/ 44282 h 252012"/>
                <a:gd name="connsiteX284" fmla="*/ 1857 w 266700"/>
                <a:gd name="connsiteY284" fmla="*/ 42091 h 252012"/>
                <a:gd name="connsiteX285" fmla="*/ 2200 w 266700"/>
                <a:gd name="connsiteY285" fmla="*/ 40672 h 252012"/>
                <a:gd name="connsiteX286" fmla="*/ 3220 w 266700"/>
                <a:gd name="connsiteY286" fmla="*/ 41510 h 252012"/>
                <a:gd name="connsiteX287" fmla="*/ 6820 w 266700"/>
                <a:gd name="connsiteY287" fmla="*/ 41834 h 252012"/>
                <a:gd name="connsiteX288" fmla="*/ 15688 w 266700"/>
                <a:gd name="connsiteY288" fmla="*/ 37595 h 252012"/>
                <a:gd name="connsiteX289" fmla="*/ 30995 w 266700"/>
                <a:gd name="connsiteY289" fmla="*/ 32061 h 252012"/>
                <a:gd name="connsiteX290" fmla="*/ 47349 w 266700"/>
                <a:gd name="connsiteY290" fmla="*/ 26870 h 252012"/>
                <a:gd name="connsiteX291" fmla="*/ 51168 w 266700"/>
                <a:gd name="connsiteY291" fmla="*/ 26299 h 252012"/>
                <a:gd name="connsiteX292" fmla="*/ 54997 w 266700"/>
                <a:gd name="connsiteY292" fmla="*/ 25203 h 252012"/>
                <a:gd name="connsiteX293" fmla="*/ 56417 w 266700"/>
                <a:gd name="connsiteY293" fmla="*/ 23251 h 252012"/>
                <a:gd name="connsiteX294" fmla="*/ 57836 w 266700"/>
                <a:gd name="connsiteY294" fmla="*/ 21946 h 252012"/>
                <a:gd name="connsiteX295" fmla="*/ 60055 w 266700"/>
                <a:gd name="connsiteY295" fmla="*/ 18498 h 252012"/>
                <a:gd name="connsiteX296" fmla="*/ 64980 w 266700"/>
                <a:gd name="connsiteY296" fmla="*/ 13125 h 252012"/>
                <a:gd name="connsiteX297" fmla="*/ 73686 w 266700"/>
                <a:gd name="connsiteY297" fmla="*/ 11163 h 252012"/>
                <a:gd name="connsiteX298" fmla="*/ 76943 w 266700"/>
                <a:gd name="connsiteY298" fmla="*/ 8611 h 252012"/>
                <a:gd name="connsiteX299" fmla="*/ 83754 w 266700"/>
                <a:gd name="connsiteY299" fmla="*/ 5029 h 252012"/>
                <a:gd name="connsiteX300" fmla="*/ 99279 w 266700"/>
                <a:gd name="connsiteY300" fmla="*/ 1000 h 252012"/>
                <a:gd name="connsiteX301" fmla="*/ 105775 w 266700"/>
                <a:gd name="connsiteY301" fmla="*/ 105 h 252012"/>
                <a:gd name="connsiteX302" fmla="*/ 112129 w 266700"/>
                <a:gd name="connsiteY302" fmla="*/ 0 h 252012"/>
                <a:gd name="connsiteX303" fmla="*/ 117786 w 266700"/>
                <a:gd name="connsiteY303" fmla="*/ 3181 h 252012"/>
                <a:gd name="connsiteX304" fmla="*/ 123777 w 266700"/>
                <a:gd name="connsiteY304" fmla="*/ 7106 h 252012"/>
                <a:gd name="connsiteX305" fmla="*/ 124854 w 266700"/>
                <a:gd name="connsiteY305" fmla="*/ 9458 h 252012"/>
                <a:gd name="connsiteX306" fmla="*/ 121615 w 266700"/>
                <a:gd name="connsiteY306" fmla="*/ 7991 h 252012"/>
                <a:gd name="connsiteX307" fmla="*/ 116891 w 266700"/>
                <a:gd name="connsiteY307" fmla="*/ 4477 h 252012"/>
                <a:gd name="connsiteX308" fmla="*/ 115138 w 266700"/>
                <a:gd name="connsiteY308" fmla="*/ 4324 h 252012"/>
                <a:gd name="connsiteX309" fmla="*/ 119177 w 266700"/>
                <a:gd name="connsiteY309" fmla="*/ 15002 h 252012"/>
                <a:gd name="connsiteX310" fmla="*/ 121387 w 266700"/>
                <a:gd name="connsiteY310" fmla="*/ 18774 h 252012"/>
                <a:gd name="connsiteX311" fmla="*/ 125835 w 266700"/>
                <a:gd name="connsiteY311" fmla="*/ 21574 h 252012"/>
                <a:gd name="connsiteX312" fmla="*/ 129578 w 266700"/>
                <a:gd name="connsiteY312" fmla="*/ 22527 h 252012"/>
                <a:gd name="connsiteX313" fmla="*/ 141104 w 266700"/>
                <a:gd name="connsiteY313" fmla="*/ 20822 h 252012"/>
                <a:gd name="connsiteX314" fmla="*/ 145189 w 266700"/>
                <a:gd name="connsiteY314" fmla="*/ 18593 h 252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</a:cxnLst>
              <a:rect l="l" t="t" r="r" b="b"/>
              <a:pathLst>
                <a:path w="266700" h="252012">
                  <a:moveTo>
                    <a:pt x="146371" y="17478"/>
                  </a:moveTo>
                  <a:lnTo>
                    <a:pt x="147438" y="18031"/>
                  </a:lnTo>
                  <a:lnTo>
                    <a:pt x="154924" y="18631"/>
                  </a:lnTo>
                  <a:lnTo>
                    <a:pt x="162516" y="19231"/>
                  </a:lnTo>
                  <a:lnTo>
                    <a:pt x="174717" y="19888"/>
                  </a:lnTo>
                  <a:lnTo>
                    <a:pt x="187433" y="20555"/>
                  </a:lnTo>
                  <a:lnTo>
                    <a:pt x="200635" y="21269"/>
                  </a:lnTo>
                  <a:lnTo>
                    <a:pt x="214912" y="22022"/>
                  </a:lnTo>
                  <a:lnTo>
                    <a:pt x="229971" y="22470"/>
                  </a:lnTo>
                  <a:lnTo>
                    <a:pt x="230896" y="22165"/>
                  </a:lnTo>
                  <a:lnTo>
                    <a:pt x="232429" y="20384"/>
                  </a:lnTo>
                  <a:lnTo>
                    <a:pt x="234305" y="20622"/>
                  </a:lnTo>
                  <a:lnTo>
                    <a:pt x="236525" y="21727"/>
                  </a:lnTo>
                  <a:lnTo>
                    <a:pt x="237554" y="22546"/>
                  </a:lnTo>
                  <a:lnTo>
                    <a:pt x="237992" y="23489"/>
                  </a:lnTo>
                  <a:lnTo>
                    <a:pt x="238268" y="24575"/>
                  </a:lnTo>
                  <a:lnTo>
                    <a:pt x="239478" y="24784"/>
                  </a:lnTo>
                  <a:lnTo>
                    <a:pt x="241697" y="25613"/>
                  </a:lnTo>
                  <a:lnTo>
                    <a:pt x="244688" y="27489"/>
                  </a:lnTo>
                  <a:lnTo>
                    <a:pt x="247031" y="29308"/>
                  </a:lnTo>
                  <a:lnTo>
                    <a:pt x="249269" y="31899"/>
                  </a:lnTo>
                  <a:lnTo>
                    <a:pt x="250012" y="34833"/>
                  </a:lnTo>
                  <a:lnTo>
                    <a:pt x="250050" y="38157"/>
                  </a:lnTo>
                  <a:lnTo>
                    <a:pt x="249907" y="40291"/>
                  </a:lnTo>
                  <a:lnTo>
                    <a:pt x="250098" y="41158"/>
                  </a:lnTo>
                  <a:lnTo>
                    <a:pt x="253155" y="56521"/>
                  </a:lnTo>
                  <a:lnTo>
                    <a:pt x="258242" y="71218"/>
                  </a:lnTo>
                  <a:lnTo>
                    <a:pt x="260109" y="78286"/>
                  </a:lnTo>
                  <a:lnTo>
                    <a:pt x="260852" y="82039"/>
                  </a:lnTo>
                  <a:lnTo>
                    <a:pt x="261452" y="87468"/>
                  </a:lnTo>
                  <a:lnTo>
                    <a:pt x="261633" y="91278"/>
                  </a:lnTo>
                  <a:lnTo>
                    <a:pt x="261614" y="93412"/>
                  </a:lnTo>
                  <a:lnTo>
                    <a:pt x="261233" y="96345"/>
                  </a:lnTo>
                  <a:lnTo>
                    <a:pt x="259728" y="98079"/>
                  </a:lnTo>
                  <a:lnTo>
                    <a:pt x="249964" y="103032"/>
                  </a:lnTo>
                  <a:lnTo>
                    <a:pt x="248126" y="104575"/>
                  </a:lnTo>
                  <a:lnTo>
                    <a:pt x="245250" y="108423"/>
                  </a:lnTo>
                  <a:lnTo>
                    <a:pt x="242592" y="112376"/>
                  </a:lnTo>
                  <a:lnTo>
                    <a:pt x="241983" y="113729"/>
                  </a:lnTo>
                  <a:lnTo>
                    <a:pt x="241821" y="114614"/>
                  </a:lnTo>
                  <a:lnTo>
                    <a:pt x="242411" y="115910"/>
                  </a:lnTo>
                  <a:lnTo>
                    <a:pt x="245888" y="118015"/>
                  </a:lnTo>
                  <a:lnTo>
                    <a:pt x="249393" y="119710"/>
                  </a:lnTo>
                  <a:lnTo>
                    <a:pt x="250536" y="120977"/>
                  </a:lnTo>
                  <a:lnTo>
                    <a:pt x="253127" y="122596"/>
                  </a:lnTo>
                  <a:lnTo>
                    <a:pt x="254070" y="124054"/>
                  </a:lnTo>
                  <a:lnTo>
                    <a:pt x="254584" y="125311"/>
                  </a:lnTo>
                  <a:lnTo>
                    <a:pt x="254546" y="128235"/>
                  </a:lnTo>
                  <a:lnTo>
                    <a:pt x="253384" y="132264"/>
                  </a:lnTo>
                  <a:lnTo>
                    <a:pt x="253870" y="135303"/>
                  </a:lnTo>
                  <a:lnTo>
                    <a:pt x="252679" y="137331"/>
                  </a:lnTo>
                  <a:lnTo>
                    <a:pt x="251708" y="139579"/>
                  </a:lnTo>
                  <a:lnTo>
                    <a:pt x="251565" y="143504"/>
                  </a:lnTo>
                  <a:lnTo>
                    <a:pt x="253318" y="147828"/>
                  </a:lnTo>
                  <a:lnTo>
                    <a:pt x="254756" y="150781"/>
                  </a:lnTo>
                  <a:lnTo>
                    <a:pt x="255308" y="153095"/>
                  </a:lnTo>
                  <a:lnTo>
                    <a:pt x="254727" y="154905"/>
                  </a:lnTo>
                  <a:lnTo>
                    <a:pt x="254898" y="156715"/>
                  </a:lnTo>
                  <a:lnTo>
                    <a:pt x="256184" y="158639"/>
                  </a:lnTo>
                  <a:lnTo>
                    <a:pt x="260223" y="164544"/>
                  </a:lnTo>
                  <a:lnTo>
                    <a:pt x="262214" y="170212"/>
                  </a:lnTo>
                  <a:lnTo>
                    <a:pt x="263490" y="172421"/>
                  </a:lnTo>
                  <a:lnTo>
                    <a:pt x="266433" y="175279"/>
                  </a:lnTo>
                  <a:lnTo>
                    <a:pt x="266700" y="176451"/>
                  </a:lnTo>
                  <a:lnTo>
                    <a:pt x="265519" y="177527"/>
                  </a:lnTo>
                  <a:lnTo>
                    <a:pt x="264566" y="177670"/>
                  </a:lnTo>
                  <a:lnTo>
                    <a:pt x="263795" y="177956"/>
                  </a:lnTo>
                  <a:lnTo>
                    <a:pt x="263300" y="178956"/>
                  </a:lnTo>
                  <a:lnTo>
                    <a:pt x="264071" y="180032"/>
                  </a:lnTo>
                  <a:lnTo>
                    <a:pt x="265109" y="181604"/>
                  </a:lnTo>
                  <a:lnTo>
                    <a:pt x="266405" y="186052"/>
                  </a:lnTo>
                  <a:lnTo>
                    <a:pt x="266281" y="189690"/>
                  </a:lnTo>
                  <a:lnTo>
                    <a:pt x="265281" y="190614"/>
                  </a:lnTo>
                  <a:lnTo>
                    <a:pt x="264004" y="192767"/>
                  </a:lnTo>
                  <a:lnTo>
                    <a:pt x="263147" y="194739"/>
                  </a:lnTo>
                  <a:lnTo>
                    <a:pt x="256165" y="196101"/>
                  </a:lnTo>
                  <a:lnTo>
                    <a:pt x="254489" y="198206"/>
                  </a:lnTo>
                  <a:lnTo>
                    <a:pt x="250670" y="202254"/>
                  </a:lnTo>
                  <a:lnTo>
                    <a:pt x="248069" y="204588"/>
                  </a:lnTo>
                  <a:lnTo>
                    <a:pt x="244212" y="208788"/>
                  </a:lnTo>
                  <a:lnTo>
                    <a:pt x="238116" y="215989"/>
                  </a:lnTo>
                  <a:lnTo>
                    <a:pt x="235868" y="218999"/>
                  </a:lnTo>
                  <a:lnTo>
                    <a:pt x="234220" y="221485"/>
                  </a:lnTo>
                  <a:lnTo>
                    <a:pt x="229286" y="228076"/>
                  </a:lnTo>
                  <a:lnTo>
                    <a:pt x="227772" y="230839"/>
                  </a:lnTo>
                  <a:lnTo>
                    <a:pt x="228067" y="233105"/>
                  </a:lnTo>
                  <a:lnTo>
                    <a:pt x="229658" y="238430"/>
                  </a:lnTo>
                  <a:lnTo>
                    <a:pt x="229991" y="240830"/>
                  </a:lnTo>
                  <a:lnTo>
                    <a:pt x="229705" y="243040"/>
                  </a:lnTo>
                  <a:lnTo>
                    <a:pt x="229181" y="245012"/>
                  </a:lnTo>
                  <a:lnTo>
                    <a:pt x="229276" y="245888"/>
                  </a:lnTo>
                  <a:lnTo>
                    <a:pt x="230734" y="247317"/>
                  </a:lnTo>
                  <a:lnTo>
                    <a:pt x="233048" y="249555"/>
                  </a:lnTo>
                  <a:lnTo>
                    <a:pt x="233182" y="250307"/>
                  </a:lnTo>
                  <a:lnTo>
                    <a:pt x="232858" y="251279"/>
                  </a:lnTo>
                  <a:lnTo>
                    <a:pt x="232058" y="252013"/>
                  </a:lnTo>
                  <a:lnTo>
                    <a:pt x="229152" y="251231"/>
                  </a:lnTo>
                  <a:lnTo>
                    <a:pt x="225914" y="249717"/>
                  </a:lnTo>
                  <a:lnTo>
                    <a:pt x="224809" y="249907"/>
                  </a:lnTo>
                  <a:lnTo>
                    <a:pt x="223057" y="249546"/>
                  </a:lnTo>
                  <a:lnTo>
                    <a:pt x="215827" y="246621"/>
                  </a:lnTo>
                  <a:lnTo>
                    <a:pt x="210951" y="244326"/>
                  </a:lnTo>
                  <a:lnTo>
                    <a:pt x="210464" y="242830"/>
                  </a:lnTo>
                  <a:lnTo>
                    <a:pt x="209550" y="240668"/>
                  </a:lnTo>
                  <a:lnTo>
                    <a:pt x="207473" y="238849"/>
                  </a:lnTo>
                  <a:lnTo>
                    <a:pt x="202711" y="237277"/>
                  </a:lnTo>
                  <a:lnTo>
                    <a:pt x="200778" y="236049"/>
                  </a:lnTo>
                  <a:lnTo>
                    <a:pt x="193043" y="235363"/>
                  </a:lnTo>
                  <a:lnTo>
                    <a:pt x="189691" y="235334"/>
                  </a:lnTo>
                  <a:lnTo>
                    <a:pt x="187319" y="235839"/>
                  </a:lnTo>
                  <a:lnTo>
                    <a:pt x="185794" y="235791"/>
                  </a:lnTo>
                  <a:lnTo>
                    <a:pt x="183709" y="239001"/>
                  </a:lnTo>
                  <a:lnTo>
                    <a:pt x="182270" y="239935"/>
                  </a:lnTo>
                  <a:lnTo>
                    <a:pt x="180166" y="240030"/>
                  </a:lnTo>
                  <a:lnTo>
                    <a:pt x="178318" y="239459"/>
                  </a:lnTo>
                  <a:lnTo>
                    <a:pt x="176432" y="237773"/>
                  </a:lnTo>
                  <a:lnTo>
                    <a:pt x="173422" y="236877"/>
                  </a:lnTo>
                  <a:lnTo>
                    <a:pt x="171241" y="237306"/>
                  </a:lnTo>
                  <a:lnTo>
                    <a:pt x="169631" y="236944"/>
                  </a:lnTo>
                  <a:lnTo>
                    <a:pt x="168250" y="236849"/>
                  </a:lnTo>
                  <a:lnTo>
                    <a:pt x="167764" y="237192"/>
                  </a:lnTo>
                  <a:lnTo>
                    <a:pt x="166650" y="237144"/>
                  </a:lnTo>
                  <a:lnTo>
                    <a:pt x="165040" y="237954"/>
                  </a:lnTo>
                  <a:lnTo>
                    <a:pt x="163268" y="239087"/>
                  </a:lnTo>
                  <a:lnTo>
                    <a:pt x="161325" y="239963"/>
                  </a:lnTo>
                  <a:lnTo>
                    <a:pt x="159820" y="241830"/>
                  </a:lnTo>
                  <a:lnTo>
                    <a:pt x="158487" y="245478"/>
                  </a:lnTo>
                  <a:lnTo>
                    <a:pt x="154705" y="243840"/>
                  </a:lnTo>
                  <a:lnTo>
                    <a:pt x="153448" y="244554"/>
                  </a:lnTo>
                  <a:lnTo>
                    <a:pt x="151657" y="245031"/>
                  </a:lnTo>
                  <a:lnTo>
                    <a:pt x="150438" y="244535"/>
                  </a:lnTo>
                  <a:lnTo>
                    <a:pt x="150724" y="243278"/>
                  </a:lnTo>
                  <a:lnTo>
                    <a:pt x="151276" y="241859"/>
                  </a:lnTo>
                  <a:lnTo>
                    <a:pt x="151248" y="239878"/>
                  </a:lnTo>
                  <a:lnTo>
                    <a:pt x="150905" y="237677"/>
                  </a:lnTo>
                  <a:lnTo>
                    <a:pt x="149733" y="236963"/>
                  </a:lnTo>
                  <a:lnTo>
                    <a:pt x="147971" y="236706"/>
                  </a:lnTo>
                  <a:lnTo>
                    <a:pt x="147066" y="236268"/>
                  </a:lnTo>
                  <a:lnTo>
                    <a:pt x="146971" y="235544"/>
                  </a:lnTo>
                  <a:lnTo>
                    <a:pt x="146066" y="234610"/>
                  </a:lnTo>
                  <a:lnTo>
                    <a:pt x="144504" y="232248"/>
                  </a:lnTo>
                  <a:lnTo>
                    <a:pt x="143037" y="229295"/>
                  </a:lnTo>
                  <a:lnTo>
                    <a:pt x="142018" y="228429"/>
                  </a:lnTo>
                  <a:lnTo>
                    <a:pt x="140541" y="229829"/>
                  </a:lnTo>
                  <a:lnTo>
                    <a:pt x="138303" y="231419"/>
                  </a:lnTo>
                  <a:lnTo>
                    <a:pt x="136903" y="231972"/>
                  </a:lnTo>
                  <a:lnTo>
                    <a:pt x="134208" y="236544"/>
                  </a:lnTo>
                  <a:lnTo>
                    <a:pt x="129369" y="236696"/>
                  </a:lnTo>
                  <a:lnTo>
                    <a:pt x="129074" y="234563"/>
                  </a:lnTo>
                  <a:lnTo>
                    <a:pt x="128559" y="232505"/>
                  </a:lnTo>
                  <a:lnTo>
                    <a:pt x="125730" y="232000"/>
                  </a:lnTo>
                  <a:lnTo>
                    <a:pt x="125645" y="230791"/>
                  </a:lnTo>
                  <a:lnTo>
                    <a:pt x="125054" y="227762"/>
                  </a:lnTo>
                  <a:lnTo>
                    <a:pt x="119377" y="221828"/>
                  </a:lnTo>
                  <a:lnTo>
                    <a:pt x="118691" y="219351"/>
                  </a:lnTo>
                  <a:lnTo>
                    <a:pt x="118910" y="218389"/>
                  </a:lnTo>
                  <a:lnTo>
                    <a:pt x="118520" y="216808"/>
                  </a:lnTo>
                  <a:lnTo>
                    <a:pt x="117281" y="215856"/>
                  </a:lnTo>
                  <a:lnTo>
                    <a:pt x="112795" y="214722"/>
                  </a:lnTo>
                  <a:lnTo>
                    <a:pt x="111643" y="215370"/>
                  </a:lnTo>
                  <a:lnTo>
                    <a:pt x="110604" y="214703"/>
                  </a:lnTo>
                  <a:lnTo>
                    <a:pt x="108966" y="213274"/>
                  </a:lnTo>
                  <a:lnTo>
                    <a:pt x="106137" y="212112"/>
                  </a:lnTo>
                  <a:lnTo>
                    <a:pt x="105823" y="211512"/>
                  </a:lnTo>
                  <a:lnTo>
                    <a:pt x="104803" y="210483"/>
                  </a:lnTo>
                  <a:lnTo>
                    <a:pt x="104242" y="210350"/>
                  </a:lnTo>
                  <a:lnTo>
                    <a:pt x="103870" y="210969"/>
                  </a:lnTo>
                  <a:lnTo>
                    <a:pt x="103051" y="211846"/>
                  </a:lnTo>
                  <a:lnTo>
                    <a:pt x="100136" y="212960"/>
                  </a:lnTo>
                  <a:lnTo>
                    <a:pt x="98974" y="212503"/>
                  </a:lnTo>
                  <a:lnTo>
                    <a:pt x="97917" y="211541"/>
                  </a:lnTo>
                  <a:lnTo>
                    <a:pt x="96707" y="209455"/>
                  </a:lnTo>
                  <a:lnTo>
                    <a:pt x="94955" y="207626"/>
                  </a:lnTo>
                  <a:lnTo>
                    <a:pt x="93516" y="206978"/>
                  </a:lnTo>
                  <a:lnTo>
                    <a:pt x="92688" y="206016"/>
                  </a:lnTo>
                  <a:lnTo>
                    <a:pt x="92507" y="205273"/>
                  </a:lnTo>
                  <a:lnTo>
                    <a:pt x="95708" y="203768"/>
                  </a:lnTo>
                  <a:lnTo>
                    <a:pt x="96412" y="202216"/>
                  </a:lnTo>
                  <a:lnTo>
                    <a:pt x="96003" y="199387"/>
                  </a:lnTo>
                  <a:lnTo>
                    <a:pt x="95526" y="199034"/>
                  </a:lnTo>
                  <a:lnTo>
                    <a:pt x="94250" y="199987"/>
                  </a:lnTo>
                  <a:lnTo>
                    <a:pt x="91573" y="200825"/>
                  </a:lnTo>
                  <a:lnTo>
                    <a:pt x="89116" y="201216"/>
                  </a:lnTo>
                  <a:lnTo>
                    <a:pt x="87849" y="201216"/>
                  </a:lnTo>
                  <a:lnTo>
                    <a:pt x="80810" y="196063"/>
                  </a:lnTo>
                  <a:lnTo>
                    <a:pt x="76238" y="194481"/>
                  </a:lnTo>
                  <a:lnTo>
                    <a:pt x="73543" y="194024"/>
                  </a:lnTo>
                  <a:lnTo>
                    <a:pt x="73257" y="194548"/>
                  </a:lnTo>
                  <a:lnTo>
                    <a:pt x="74466" y="197444"/>
                  </a:lnTo>
                  <a:lnTo>
                    <a:pt x="76581" y="201016"/>
                  </a:lnTo>
                  <a:lnTo>
                    <a:pt x="76476" y="201959"/>
                  </a:lnTo>
                  <a:lnTo>
                    <a:pt x="73952" y="203416"/>
                  </a:lnTo>
                  <a:lnTo>
                    <a:pt x="72523" y="204054"/>
                  </a:lnTo>
                  <a:lnTo>
                    <a:pt x="70838" y="205283"/>
                  </a:lnTo>
                  <a:lnTo>
                    <a:pt x="69409" y="206997"/>
                  </a:lnTo>
                  <a:lnTo>
                    <a:pt x="68170" y="207769"/>
                  </a:lnTo>
                  <a:lnTo>
                    <a:pt x="67103" y="207569"/>
                  </a:lnTo>
                  <a:lnTo>
                    <a:pt x="65970" y="206750"/>
                  </a:lnTo>
                  <a:lnTo>
                    <a:pt x="63055" y="201482"/>
                  </a:lnTo>
                  <a:lnTo>
                    <a:pt x="59388" y="197444"/>
                  </a:lnTo>
                  <a:lnTo>
                    <a:pt x="58950" y="196539"/>
                  </a:lnTo>
                  <a:lnTo>
                    <a:pt x="57808" y="196329"/>
                  </a:lnTo>
                  <a:lnTo>
                    <a:pt x="56188" y="195396"/>
                  </a:lnTo>
                  <a:lnTo>
                    <a:pt x="55636" y="194158"/>
                  </a:lnTo>
                  <a:lnTo>
                    <a:pt x="56455" y="192862"/>
                  </a:lnTo>
                  <a:lnTo>
                    <a:pt x="57569" y="191681"/>
                  </a:lnTo>
                  <a:lnTo>
                    <a:pt x="59550" y="190948"/>
                  </a:lnTo>
                  <a:lnTo>
                    <a:pt x="60150" y="190252"/>
                  </a:lnTo>
                  <a:lnTo>
                    <a:pt x="60503" y="189214"/>
                  </a:lnTo>
                  <a:lnTo>
                    <a:pt x="61236" y="187871"/>
                  </a:lnTo>
                  <a:lnTo>
                    <a:pt x="61046" y="187395"/>
                  </a:lnTo>
                  <a:lnTo>
                    <a:pt x="59646" y="185871"/>
                  </a:lnTo>
                  <a:lnTo>
                    <a:pt x="57569" y="184433"/>
                  </a:lnTo>
                  <a:lnTo>
                    <a:pt x="51797" y="185509"/>
                  </a:lnTo>
                  <a:lnTo>
                    <a:pt x="50216" y="186280"/>
                  </a:lnTo>
                  <a:lnTo>
                    <a:pt x="49321" y="185280"/>
                  </a:lnTo>
                  <a:lnTo>
                    <a:pt x="48644" y="183823"/>
                  </a:lnTo>
                  <a:lnTo>
                    <a:pt x="47187" y="183537"/>
                  </a:lnTo>
                  <a:lnTo>
                    <a:pt x="45187" y="182204"/>
                  </a:lnTo>
                  <a:lnTo>
                    <a:pt x="42815" y="180889"/>
                  </a:lnTo>
                  <a:lnTo>
                    <a:pt x="40500" y="180508"/>
                  </a:lnTo>
                  <a:lnTo>
                    <a:pt x="35690" y="178613"/>
                  </a:lnTo>
                  <a:lnTo>
                    <a:pt x="33833" y="178508"/>
                  </a:lnTo>
                  <a:lnTo>
                    <a:pt x="32766" y="177860"/>
                  </a:lnTo>
                  <a:lnTo>
                    <a:pt x="31642" y="176422"/>
                  </a:lnTo>
                  <a:lnTo>
                    <a:pt x="30689" y="174850"/>
                  </a:lnTo>
                  <a:lnTo>
                    <a:pt x="30194" y="171650"/>
                  </a:lnTo>
                  <a:lnTo>
                    <a:pt x="26651" y="170202"/>
                  </a:lnTo>
                  <a:lnTo>
                    <a:pt x="23117" y="169288"/>
                  </a:lnTo>
                  <a:lnTo>
                    <a:pt x="22870" y="169754"/>
                  </a:lnTo>
                  <a:lnTo>
                    <a:pt x="23022" y="172974"/>
                  </a:lnTo>
                  <a:lnTo>
                    <a:pt x="22832" y="174698"/>
                  </a:lnTo>
                  <a:lnTo>
                    <a:pt x="20498" y="175755"/>
                  </a:lnTo>
                  <a:lnTo>
                    <a:pt x="18193" y="175860"/>
                  </a:lnTo>
                  <a:lnTo>
                    <a:pt x="18317" y="175327"/>
                  </a:lnTo>
                  <a:lnTo>
                    <a:pt x="21079" y="169526"/>
                  </a:lnTo>
                  <a:lnTo>
                    <a:pt x="22317" y="165859"/>
                  </a:lnTo>
                  <a:lnTo>
                    <a:pt x="23736" y="159163"/>
                  </a:lnTo>
                  <a:lnTo>
                    <a:pt x="22031" y="153857"/>
                  </a:lnTo>
                  <a:lnTo>
                    <a:pt x="21565" y="151362"/>
                  </a:lnTo>
                  <a:lnTo>
                    <a:pt x="20774" y="150171"/>
                  </a:lnTo>
                  <a:lnTo>
                    <a:pt x="15926" y="147571"/>
                  </a:lnTo>
                  <a:lnTo>
                    <a:pt x="15554" y="146676"/>
                  </a:lnTo>
                  <a:lnTo>
                    <a:pt x="16297" y="143151"/>
                  </a:lnTo>
                  <a:lnTo>
                    <a:pt x="15936" y="141665"/>
                  </a:lnTo>
                  <a:lnTo>
                    <a:pt x="14764" y="140094"/>
                  </a:lnTo>
                  <a:lnTo>
                    <a:pt x="13231" y="136970"/>
                  </a:lnTo>
                  <a:lnTo>
                    <a:pt x="12640" y="134312"/>
                  </a:lnTo>
                  <a:lnTo>
                    <a:pt x="14592" y="131188"/>
                  </a:lnTo>
                  <a:lnTo>
                    <a:pt x="15078" y="128883"/>
                  </a:lnTo>
                  <a:lnTo>
                    <a:pt x="15926" y="125730"/>
                  </a:lnTo>
                  <a:lnTo>
                    <a:pt x="16555" y="123997"/>
                  </a:lnTo>
                  <a:lnTo>
                    <a:pt x="16679" y="123520"/>
                  </a:lnTo>
                  <a:lnTo>
                    <a:pt x="15393" y="122291"/>
                  </a:lnTo>
                  <a:lnTo>
                    <a:pt x="15069" y="120558"/>
                  </a:lnTo>
                  <a:lnTo>
                    <a:pt x="15411" y="118062"/>
                  </a:lnTo>
                  <a:lnTo>
                    <a:pt x="14726" y="116205"/>
                  </a:lnTo>
                  <a:lnTo>
                    <a:pt x="13011" y="115005"/>
                  </a:lnTo>
                  <a:lnTo>
                    <a:pt x="11897" y="113405"/>
                  </a:lnTo>
                  <a:lnTo>
                    <a:pt x="11382" y="111423"/>
                  </a:lnTo>
                  <a:lnTo>
                    <a:pt x="11782" y="108299"/>
                  </a:lnTo>
                  <a:lnTo>
                    <a:pt x="13116" y="104042"/>
                  </a:lnTo>
                  <a:lnTo>
                    <a:pt x="10296" y="98898"/>
                  </a:lnTo>
                  <a:lnTo>
                    <a:pt x="3334" y="92869"/>
                  </a:lnTo>
                  <a:lnTo>
                    <a:pt x="0" y="88649"/>
                  </a:lnTo>
                  <a:lnTo>
                    <a:pt x="267" y="86230"/>
                  </a:lnTo>
                  <a:lnTo>
                    <a:pt x="1734" y="84039"/>
                  </a:lnTo>
                  <a:lnTo>
                    <a:pt x="4391" y="82077"/>
                  </a:lnTo>
                  <a:lnTo>
                    <a:pt x="6411" y="78581"/>
                  </a:lnTo>
                  <a:lnTo>
                    <a:pt x="7544" y="74419"/>
                  </a:lnTo>
                  <a:lnTo>
                    <a:pt x="7572" y="73628"/>
                  </a:lnTo>
                  <a:lnTo>
                    <a:pt x="7639" y="70656"/>
                  </a:lnTo>
                  <a:lnTo>
                    <a:pt x="4543" y="58446"/>
                  </a:lnTo>
                  <a:lnTo>
                    <a:pt x="4039" y="55378"/>
                  </a:lnTo>
                  <a:lnTo>
                    <a:pt x="3667" y="51664"/>
                  </a:lnTo>
                  <a:lnTo>
                    <a:pt x="3477" y="50654"/>
                  </a:lnTo>
                  <a:lnTo>
                    <a:pt x="9592" y="53254"/>
                  </a:lnTo>
                  <a:lnTo>
                    <a:pt x="12154" y="54721"/>
                  </a:lnTo>
                  <a:lnTo>
                    <a:pt x="11830" y="53073"/>
                  </a:lnTo>
                  <a:lnTo>
                    <a:pt x="11316" y="51654"/>
                  </a:lnTo>
                  <a:lnTo>
                    <a:pt x="11659" y="49578"/>
                  </a:lnTo>
                  <a:lnTo>
                    <a:pt x="11487" y="46434"/>
                  </a:lnTo>
                  <a:lnTo>
                    <a:pt x="5934" y="44825"/>
                  </a:lnTo>
                  <a:lnTo>
                    <a:pt x="2267" y="44282"/>
                  </a:lnTo>
                  <a:lnTo>
                    <a:pt x="1857" y="42091"/>
                  </a:lnTo>
                  <a:lnTo>
                    <a:pt x="2200" y="40672"/>
                  </a:lnTo>
                  <a:lnTo>
                    <a:pt x="3220" y="41510"/>
                  </a:lnTo>
                  <a:lnTo>
                    <a:pt x="6820" y="41834"/>
                  </a:lnTo>
                  <a:lnTo>
                    <a:pt x="15688" y="37595"/>
                  </a:lnTo>
                  <a:lnTo>
                    <a:pt x="30995" y="32061"/>
                  </a:lnTo>
                  <a:lnTo>
                    <a:pt x="47349" y="26870"/>
                  </a:lnTo>
                  <a:lnTo>
                    <a:pt x="51168" y="26299"/>
                  </a:lnTo>
                  <a:lnTo>
                    <a:pt x="54997" y="25203"/>
                  </a:lnTo>
                  <a:lnTo>
                    <a:pt x="56417" y="23251"/>
                  </a:lnTo>
                  <a:lnTo>
                    <a:pt x="57836" y="21946"/>
                  </a:lnTo>
                  <a:lnTo>
                    <a:pt x="60055" y="18498"/>
                  </a:lnTo>
                  <a:lnTo>
                    <a:pt x="64980" y="13125"/>
                  </a:lnTo>
                  <a:lnTo>
                    <a:pt x="73686" y="11163"/>
                  </a:lnTo>
                  <a:lnTo>
                    <a:pt x="76943" y="8611"/>
                  </a:lnTo>
                  <a:lnTo>
                    <a:pt x="83754" y="5029"/>
                  </a:lnTo>
                  <a:lnTo>
                    <a:pt x="99279" y="1000"/>
                  </a:lnTo>
                  <a:lnTo>
                    <a:pt x="105775" y="105"/>
                  </a:lnTo>
                  <a:lnTo>
                    <a:pt x="112129" y="0"/>
                  </a:lnTo>
                  <a:lnTo>
                    <a:pt x="117786" y="3181"/>
                  </a:lnTo>
                  <a:lnTo>
                    <a:pt x="123777" y="7106"/>
                  </a:lnTo>
                  <a:lnTo>
                    <a:pt x="124854" y="9458"/>
                  </a:lnTo>
                  <a:lnTo>
                    <a:pt x="121615" y="7991"/>
                  </a:lnTo>
                  <a:lnTo>
                    <a:pt x="116891" y="4477"/>
                  </a:lnTo>
                  <a:lnTo>
                    <a:pt x="115138" y="4324"/>
                  </a:lnTo>
                  <a:lnTo>
                    <a:pt x="119177" y="15002"/>
                  </a:lnTo>
                  <a:lnTo>
                    <a:pt x="121387" y="18774"/>
                  </a:lnTo>
                  <a:lnTo>
                    <a:pt x="125835" y="21574"/>
                  </a:lnTo>
                  <a:lnTo>
                    <a:pt x="129578" y="22527"/>
                  </a:lnTo>
                  <a:lnTo>
                    <a:pt x="141104" y="20822"/>
                  </a:lnTo>
                  <a:lnTo>
                    <a:pt x="145189" y="18593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6" name="Forme libre : forme 45">
              <a:extLst>
                <a:ext uri="{FF2B5EF4-FFF2-40B4-BE49-F238E27FC236}">
                  <a16:creationId xmlns:a16="http://schemas.microsoft.com/office/drawing/2014/main" id="{4DE13091-A1F7-BF6D-129A-39D91A4D3FC2}"/>
                </a:ext>
              </a:extLst>
            </p:cNvPr>
            <p:cNvSpPr/>
            <p:nvPr/>
          </p:nvSpPr>
          <p:spPr>
            <a:xfrm>
              <a:off x="4565410" y="5224639"/>
              <a:ext cx="227692" cy="445087"/>
            </a:xfrm>
            <a:custGeom>
              <a:avLst/>
              <a:gdLst>
                <a:gd name="connsiteX0" fmla="*/ 112417 w 302478"/>
                <a:gd name="connsiteY0" fmla="*/ 0 h 614387"/>
                <a:gd name="connsiteX1" fmla="*/ 117331 w 302478"/>
                <a:gd name="connsiteY1" fmla="*/ 461 h 614387"/>
                <a:gd name="connsiteX2" fmla="*/ 118155 w 302478"/>
                <a:gd name="connsiteY2" fmla="*/ 3200 h 614387"/>
                <a:gd name="connsiteX3" fmla="*/ 120991 w 302478"/>
                <a:gd name="connsiteY3" fmla="*/ 8478 h 614387"/>
                <a:gd name="connsiteX4" fmla="*/ 124157 w 302478"/>
                <a:gd name="connsiteY4" fmla="*/ 12138 h 614387"/>
                <a:gd name="connsiteX5" fmla="*/ 125015 w 302478"/>
                <a:gd name="connsiteY5" fmla="*/ 14843 h 614387"/>
                <a:gd name="connsiteX6" fmla="*/ 117296 w 302478"/>
                <a:gd name="connsiteY6" fmla="*/ 26157 h 614387"/>
                <a:gd name="connsiteX7" fmla="*/ 116244 w 302478"/>
                <a:gd name="connsiteY7" fmla="*/ 30018 h 614387"/>
                <a:gd name="connsiteX8" fmla="*/ 120268 w 302478"/>
                <a:gd name="connsiteY8" fmla="*/ 37307 h 614387"/>
                <a:gd name="connsiteX9" fmla="*/ 120860 w 302478"/>
                <a:gd name="connsiteY9" fmla="*/ 39617 h 614387"/>
                <a:gd name="connsiteX10" fmla="*/ 122806 w 302478"/>
                <a:gd name="connsiteY10" fmla="*/ 40604 h 614387"/>
                <a:gd name="connsiteX11" fmla="*/ 128184 w 302478"/>
                <a:gd name="connsiteY11" fmla="*/ 40341 h 614387"/>
                <a:gd name="connsiteX12" fmla="*/ 137749 w 302478"/>
                <a:gd name="connsiteY12" fmla="*/ 35659 h 614387"/>
                <a:gd name="connsiteX13" fmla="*/ 144246 w 302478"/>
                <a:gd name="connsiteY13" fmla="*/ 31732 h 614387"/>
                <a:gd name="connsiteX14" fmla="*/ 146521 w 302478"/>
                <a:gd name="connsiteY14" fmla="*/ 33349 h 614387"/>
                <a:gd name="connsiteX15" fmla="*/ 165356 w 302478"/>
                <a:gd name="connsiteY15" fmla="*/ 31140 h 614387"/>
                <a:gd name="connsiteX16" fmla="*/ 169810 w 302478"/>
                <a:gd name="connsiteY16" fmla="*/ 32920 h 614387"/>
                <a:gd name="connsiteX17" fmla="*/ 172778 w 302478"/>
                <a:gd name="connsiteY17" fmla="*/ 34932 h 614387"/>
                <a:gd name="connsiteX18" fmla="*/ 182048 w 302478"/>
                <a:gd name="connsiteY18" fmla="*/ 37636 h 614387"/>
                <a:gd name="connsiteX19" fmla="*/ 192143 w 302478"/>
                <a:gd name="connsiteY19" fmla="*/ 37934 h 614387"/>
                <a:gd name="connsiteX20" fmla="*/ 204641 w 302478"/>
                <a:gd name="connsiteY20" fmla="*/ 34139 h 614387"/>
                <a:gd name="connsiteX21" fmla="*/ 210119 w 302478"/>
                <a:gd name="connsiteY21" fmla="*/ 30316 h 614387"/>
                <a:gd name="connsiteX22" fmla="*/ 211172 w 302478"/>
                <a:gd name="connsiteY22" fmla="*/ 26091 h 614387"/>
                <a:gd name="connsiteX23" fmla="*/ 211439 w 302478"/>
                <a:gd name="connsiteY23" fmla="*/ 22891 h 614387"/>
                <a:gd name="connsiteX24" fmla="*/ 213053 w 302478"/>
                <a:gd name="connsiteY24" fmla="*/ 20848 h 614387"/>
                <a:gd name="connsiteX25" fmla="*/ 215892 w 302478"/>
                <a:gd name="connsiteY25" fmla="*/ 19694 h 614387"/>
                <a:gd name="connsiteX26" fmla="*/ 220346 w 302478"/>
                <a:gd name="connsiteY26" fmla="*/ 21772 h 614387"/>
                <a:gd name="connsiteX27" fmla="*/ 226711 w 302478"/>
                <a:gd name="connsiteY27" fmla="*/ 23452 h 614387"/>
                <a:gd name="connsiteX28" fmla="*/ 241983 w 302478"/>
                <a:gd name="connsiteY28" fmla="*/ 24144 h 614387"/>
                <a:gd name="connsiteX29" fmla="*/ 244982 w 302478"/>
                <a:gd name="connsiteY29" fmla="*/ 21803 h 614387"/>
                <a:gd name="connsiteX30" fmla="*/ 250163 w 302478"/>
                <a:gd name="connsiteY30" fmla="*/ 22496 h 614387"/>
                <a:gd name="connsiteX31" fmla="*/ 256992 w 302478"/>
                <a:gd name="connsiteY31" fmla="*/ 25464 h 614387"/>
                <a:gd name="connsiteX32" fmla="*/ 264874 w 302478"/>
                <a:gd name="connsiteY32" fmla="*/ 24508 h 614387"/>
                <a:gd name="connsiteX33" fmla="*/ 268866 w 302478"/>
                <a:gd name="connsiteY33" fmla="*/ 28137 h 614387"/>
                <a:gd name="connsiteX34" fmla="*/ 270515 w 302478"/>
                <a:gd name="connsiteY34" fmla="*/ 32954 h 614387"/>
                <a:gd name="connsiteX35" fmla="*/ 270975 w 302478"/>
                <a:gd name="connsiteY35" fmla="*/ 43409 h 614387"/>
                <a:gd name="connsiteX36" fmla="*/ 270383 w 302478"/>
                <a:gd name="connsiteY36" fmla="*/ 53965 h 614387"/>
                <a:gd name="connsiteX37" fmla="*/ 271935 w 302478"/>
                <a:gd name="connsiteY37" fmla="*/ 57857 h 614387"/>
                <a:gd name="connsiteX38" fmla="*/ 277275 w 302478"/>
                <a:gd name="connsiteY38" fmla="*/ 58879 h 614387"/>
                <a:gd name="connsiteX39" fmla="*/ 285887 w 302478"/>
                <a:gd name="connsiteY39" fmla="*/ 58747 h 614387"/>
                <a:gd name="connsiteX40" fmla="*/ 293637 w 302478"/>
                <a:gd name="connsiteY40" fmla="*/ 61583 h 614387"/>
                <a:gd name="connsiteX41" fmla="*/ 299642 w 302478"/>
                <a:gd name="connsiteY41" fmla="*/ 66567 h 614387"/>
                <a:gd name="connsiteX42" fmla="*/ 301620 w 302478"/>
                <a:gd name="connsiteY42" fmla="*/ 71643 h 614387"/>
                <a:gd name="connsiteX43" fmla="*/ 302478 w 302478"/>
                <a:gd name="connsiteY43" fmla="*/ 75141 h 614387"/>
                <a:gd name="connsiteX44" fmla="*/ 299542 w 302478"/>
                <a:gd name="connsiteY44" fmla="*/ 77122 h 614387"/>
                <a:gd name="connsiteX45" fmla="*/ 295386 w 302478"/>
                <a:gd name="connsiteY45" fmla="*/ 84640 h 614387"/>
                <a:gd name="connsiteX46" fmla="*/ 284831 w 302478"/>
                <a:gd name="connsiteY46" fmla="*/ 94437 h 614387"/>
                <a:gd name="connsiteX47" fmla="*/ 269756 w 302478"/>
                <a:gd name="connsiteY47" fmla="*/ 103244 h 614387"/>
                <a:gd name="connsiteX48" fmla="*/ 258245 w 302478"/>
                <a:gd name="connsiteY48" fmla="*/ 114197 h 614387"/>
                <a:gd name="connsiteX49" fmla="*/ 250329 w 302478"/>
                <a:gd name="connsiteY49" fmla="*/ 127256 h 614387"/>
                <a:gd name="connsiteX50" fmla="*/ 240400 w 302478"/>
                <a:gd name="connsiteY50" fmla="*/ 132800 h 614387"/>
                <a:gd name="connsiteX51" fmla="*/ 237363 w 302478"/>
                <a:gd name="connsiteY51" fmla="*/ 135768 h 614387"/>
                <a:gd name="connsiteX52" fmla="*/ 236175 w 302478"/>
                <a:gd name="connsiteY52" fmla="*/ 139297 h 614387"/>
                <a:gd name="connsiteX53" fmla="*/ 242741 w 302478"/>
                <a:gd name="connsiteY53" fmla="*/ 155262 h 614387"/>
                <a:gd name="connsiteX54" fmla="*/ 244753 w 302478"/>
                <a:gd name="connsiteY54" fmla="*/ 167566 h 614387"/>
                <a:gd name="connsiteX55" fmla="*/ 246371 w 302478"/>
                <a:gd name="connsiteY55" fmla="*/ 182609 h 614387"/>
                <a:gd name="connsiteX56" fmla="*/ 245314 w 302478"/>
                <a:gd name="connsiteY56" fmla="*/ 186831 h 614387"/>
                <a:gd name="connsiteX57" fmla="*/ 244753 w 302478"/>
                <a:gd name="connsiteY57" fmla="*/ 203322 h 614387"/>
                <a:gd name="connsiteX58" fmla="*/ 243236 w 302478"/>
                <a:gd name="connsiteY58" fmla="*/ 208139 h 614387"/>
                <a:gd name="connsiteX59" fmla="*/ 243631 w 302478"/>
                <a:gd name="connsiteY59" fmla="*/ 212062 h 614387"/>
                <a:gd name="connsiteX60" fmla="*/ 246038 w 302478"/>
                <a:gd name="connsiteY60" fmla="*/ 216253 h 614387"/>
                <a:gd name="connsiteX61" fmla="*/ 247129 w 302478"/>
                <a:gd name="connsiteY61" fmla="*/ 220277 h 614387"/>
                <a:gd name="connsiteX62" fmla="*/ 242610 w 302478"/>
                <a:gd name="connsiteY62" fmla="*/ 225388 h 614387"/>
                <a:gd name="connsiteX63" fmla="*/ 234330 w 302478"/>
                <a:gd name="connsiteY63" fmla="*/ 231327 h 614387"/>
                <a:gd name="connsiteX64" fmla="*/ 228197 w 302478"/>
                <a:gd name="connsiteY64" fmla="*/ 236539 h 614387"/>
                <a:gd name="connsiteX65" fmla="*/ 226545 w 302478"/>
                <a:gd name="connsiteY65" fmla="*/ 241418 h 614387"/>
                <a:gd name="connsiteX66" fmla="*/ 227009 w 302478"/>
                <a:gd name="connsiteY66" fmla="*/ 244455 h 614387"/>
                <a:gd name="connsiteX67" fmla="*/ 237332 w 302478"/>
                <a:gd name="connsiteY67" fmla="*/ 254779 h 614387"/>
                <a:gd name="connsiteX68" fmla="*/ 239212 w 302478"/>
                <a:gd name="connsiteY68" fmla="*/ 259000 h 614387"/>
                <a:gd name="connsiteX69" fmla="*/ 237827 w 302478"/>
                <a:gd name="connsiteY69" fmla="*/ 269195 h 614387"/>
                <a:gd name="connsiteX70" fmla="*/ 231888 w 302478"/>
                <a:gd name="connsiteY70" fmla="*/ 285853 h 614387"/>
                <a:gd name="connsiteX71" fmla="*/ 226216 w 302478"/>
                <a:gd name="connsiteY71" fmla="*/ 295978 h 614387"/>
                <a:gd name="connsiteX72" fmla="*/ 225225 w 302478"/>
                <a:gd name="connsiteY72" fmla="*/ 296969 h 614387"/>
                <a:gd name="connsiteX73" fmla="*/ 218729 w 302478"/>
                <a:gd name="connsiteY73" fmla="*/ 299836 h 614387"/>
                <a:gd name="connsiteX74" fmla="*/ 187589 w 302478"/>
                <a:gd name="connsiteY74" fmla="*/ 299937 h 614387"/>
                <a:gd name="connsiteX75" fmla="*/ 180036 w 302478"/>
                <a:gd name="connsiteY75" fmla="*/ 302212 h 614387"/>
                <a:gd name="connsiteX76" fmla="*/ 181092 w 302478"/>
                <a:gd name="connsiteY76" fmla="*/ 304259 h 614387"/>
                <a:gd name="connsiteX77" fmla="*/ 188413 w 302478"/>
                <a:gd name="connsiteY77" fmla="*/ 317255 h 614387"/>
                <a:gd name="connsiteX78" fmla="*/ 196035 w 302478"/>
                <a:gd name="connsiteY78" fmla="*/ 324147 h 614387"/>
                <a:gd name="connsiteX79" fmla="*/ 198574 w 302478"/>
                <a:gd name="connsiteY79" fmla="*/ 325729 h 614387"/>
                <a:gd name="connsiteX80" fmla="*/ 201313 w 302478"/>
                <a:gd name="connsiteY80" fmla="*/ 340870 h 614387"/>
                <a:gd name="connsiteX81" fmla="*/ 213683 w 302478"/>
                <a:gd name="connsiteY81" fmla="*/ 365017 h 614387"/>
                <a:gd name="connsiteX82" fmla="*/ 225655 w 302478"/>
                <a:gd name="connsiteY82" fmla="*/ 368349 h 614387"/>
                <a:gd name="connsiteX83" fmla="*/ 229810 w 302478"/>
                <a:gd name="connsiteY83" fmla="*/ 374385 h 614387"/>
                <a:gd name="connsiteX84" fmla="*/ 229052 w 302478"/>
                <a:gd name="connsiteY84" fmla="*/ 382828 h 614387"/>
                <a:gd name="connsiteX85" fmla="*/ 225357 w 302478"/>
                <a:gd name="connsiteY85" fmla="*/ 392098 h 614387"/>
                <a:gd name="connsiteX86" fmla="*/ 218001 w 302478"/>
                <a:gd name="connsiteY86" fmla="*/ 401597 h 614387"/>
                <a:gd name="connsiteX87" fmla="*/ 209261 w 302478"/>
                <a:gd name="connsiteY87" fmla="*/ 408260 h 614387"/>
                <a:gd name="connsiteX88" fmla="*/ 203554 w 302478"/>
                <a:gd name="connsiteY88" fmla="*/ 414888 h 614387"/>
                <a:gd name="connsiteX89" fmla="*/ 203093 w 302478"/>
                <a:gd name="connsiteY89" fmla="*/ 422576 h 614387"/>
                <a:gd name="connsiteX90" fmla="*/ 201278 w 302478"/>
                <a:gd name="connsiteY90" fmla="*/ 432307 h 614387"/>
                <a:gd name="connsiteX91" fmla="*/ 198539 w 302478"/>
                <a:gd name="connsiteY91" fmla="*/ 439992 h 614387"/>
                <a:gd name="connsiteX92" fmla="*/ 197847 w 302478"/>
                <a:gd name="connsiteY92" fmla="*/ 445169 h 614387"/>
                <a:gd name="connsiteX93" fmla="*/ 219750 w 302478"/>
                <a:gd name="connsiteY93" fmla="*/ 477663 h 614387"/>
                <a:gd name="connsiteX94" fmla="*/ 231954 w 302478"/>
                <a:gd name="connsiteY94" fmla="*/ 476077 h 614387"/>
                <a:gd name="connsiteX95" fmla="*/ 233537 w 302478"/>
                <a:gd name="connsiteY95" fmla="*/ 476839 h 614387"/>
                <a:gd name="connsiteX96" fmla="*/ 231362 w 302478"/>
                <a:gd name="connsiteY96" fmla="*/ 484554 h 614387"/>
                <a:gd name="connsiteX97" fmla="*/ 227500 w 302478"/>
                <a:gd name="connsiteY97" fmla="*/ 493593 h 614387"/>
                <a:gd name="connsiteX98" fmla="*/ 222884 w 302478"/>
                <a:gd name="connsiteY98" fmla="*/ 495310 h 614387"/>
                <a:gd name="connsiteX99" fmla="*/ 212426 w 302478"/>
                <a:gd name="connsiteY99" fmla="*/ 498081 h 614387"/>
                <a:gd name="connsiteX100" fmla="*/ 202532 w 302478"/>
                <a:gd name="connsiteY100" fmla="*/ 509755 h 614387"/>
                <a:gd name="connsiteX101" fmla="*/ 194515 w 302478"/>
                <a:gd name="connsiteY101" fmla="*/ 523773 h 614387"/>
                <a:gd name="connsiteX102" fmla="*/ 188479 w 302478"/>
                <a:gd name="connsiteY102" fmla="*/ 530571 h 614387"/>
                <a:gd name="connsiteX103" fmla="*/ 182973 w 302478"/>
                <a:gd name="connsiteY103" fmla="*/ 547193 h 614387"/>
                <a:gd name="connsiteX104" fmla="*/ 183665 w 302478"/>
                <a:gd name="connsiteY104" fmla="*/ 554386 h 614387"/>
                <a:gd name="connsiteX105" fmla="*/ 186335 w 302478"/>
                <a:gd name="connsiteY105" fmla="*/ 565468 h 614387"/>
                <a:gd name="connsiteX106" fmla="*/ 191977 w 302478"/>
                <a:gd name="connsiteY106" fmla="*/ 594298 h 614387"/>
                <a:gd name="connsiteX107" fmla="*/ 183863 w 302478"/>
                <a:gd name="connsiteY107" fmla="*/ 595582 h 614387"/>
                <a:gd name="connsiteX108" fmla="*/ 152328 w 302478"/>
                <a:gd name="connsiteY108" fmla="*/ 614352 h 614387"/>
                <a:gd name="connsiteX109" fmla="*/ 142566 w 302478"/>
                <a:gd name="connsiteY109" fmla="*/ 614387 h 614387"/>
                <a:gd name="connsiteX110" fmla="*/ 124323 w 302478"/>
                <a:gd name="connsiteY110" fmla="*/ 606138 h 614387"/>
                <a:gd name="connsiteX111" fmla="*/ 92130 w 302478"/>
                <a:gd name="connsiteY111" fmla="*/ 603468 h 614387"/>
                <a:gd name="connsiteX112" fmla="*/ 81641 w 302478"/>
                <a:gd name="connsiteY112" fmla="*/ 600995 h 614387"/>
                <a:gd name="connsiteX113" fmla="*/ 68544 w 302478"/>
                <a:gd name="connsiteY113" fmla="*/ 606404 h 614387"/>
                <a:gd name="connsiteX114" fmla="*/ 58418 w 302478"/>
                <a:gd name="connsiteY114" fmla="*/ 606273 h 614387"/>
                <a:gd name="connsiteX115" fmla="*/ 50370 w 302478"/>
                <a:gd name="connsiteY115" fmla="*/ 613164 h 614387"/>
                <a:gd name="connsiteX116" fmla="*/ 44597 w 302478"/>
                <a:gd name="connsiteY116" fmla="*/ 611284 h 614387"/>
                <a:gd name="connsiteX117" fmla="*/ 51229 w 302478"/>
                <a:gd name="connsiteY117" fmla="*/ 595814 h 614387"/>
                <a:gd name="connsiteX118" fmla="*/ 61618 w 302478"/>
                <a:gd name="connsiteY118" fmla="*/ 565139 h 614387"/>
                <a:gd name="connsiteX119" fmla="*/ 61188 w 302478"/>
                <a:gd name="connsiteY119" fmla="*/ 546369 h 614387"/>
                <a:gd name="connsiteX120" fmla="*/ 63664 w 302478"/>
                <a:gd name="connsiteY120" fmla="*/ 530010 h 614387"/>
                <a:gd name="connsiteX121" fmla="*/ 60828 w 302478"/>
                <a:gd name="connsiteY121" fmla="*/ 513782 h 614387"/>
                <a:gd name="connsiteX122" fmla="*/ 55613 w 302478"/>
                <a:gd name="connsiteY122" fmla="*/ 503622 h 614387"/>
                <a:gd name="connsiteX123" fmla="*/ 62705 w 302478"/>
                <a:gd name="connsiteY123" fmla="*/ 477265 h 614387"/>
                <a:gd name="connsiteX124" fmla="*/ 61916 w 302478"/>
                <a:gd name="connsiteY124" fmla="*/ 463641 h 614387"/>
                <a:gd name="connsiteX125" fmla="*/ 55419 w 302478"/>
                <a:gd name="connsiteY125" fmla="*/ 446357 h 614387"/>
                <a:gd name="connsiteX126" fmla="*/ 75110 w 302478"/>
                <a:gd name="connsiteY126" fmla="*/ 448996 h 614387"/>
                <a:gd name="connsiteX127" fmla="*/ 69008 w 302478"/>
                <a:gd name="connsiteY127" fmla="*/ 442136 h 614387"/>
                <a:gd name="connsiteX128" fmla="*/ 63003 w 302478"/>
                <a:gd name="connsiteY128" fmla="*/ 437949 h 614387"/>
                <a:gd name="connsiteX129" fmla="*/ 57199 w 302478"/>
                <a:gd name="connsiteY129" fmla="*/ 438905 h 614387"/>
                <a:gd name="connsiteX130" fmla="*/ 52285 w 302478"/>
                <a:gd name="connsiteY130" fmla="*/ 438638 h 614387"/>
                <a:gd name="connsiteX131" fmla="*/ 35527 w 302478"/>
                <a:gd name="connsiteY131" fmla="*/ 445335 h 614387"/>
                <a:gd name="connsiteX132" fmla="*/ 27116 w 302478"/>
                <a:gd name="connsiteY132" fmla="*/ 447347 h 614387"/>
                <a:gd name="connsiteX133" fmla="*/ 24674 w 302478"/>
                <a:gd name="connsiteY133" fmla="*/ 446160 h 614387"/>
                <a:gd name="connsiteX134" fmla="*/ 25599 w 302478"/>
                <a:gd name="connsiteY134" fmla="*/ 435473 h 614387"/>
                <a:gd name="connsiteX135" fmla="*/ 21246 w 302478"/>
                <a:gd name="connsiteY135" fmla="*/ 421586 h 614387"/>
                <a:gd name="connsiteX136" fmla="*/ 27974 w 302478"/>
                <a:gd name="connsiteY136" fmla="*/ 417926 h 614387"/>
                <a:gd name="connsiteX137" fmla="*/ 35790 w 302478"/>
                <a:gd name="connsiteY137" fmla="*/ 416869 h 614387"/>
                <a:gd name="connsiteX138" fmla="*/ 42453 w 302478"/>
                <a:gd name="connsiteY138" fmla="*/ 410934 h 614387"/>
                <a:gd name="connsiteX139" fmla="*/ 46578 w 302478"/>
                <a:gd name="connsiteY139" fmla="*/ 404302 h 614387"/>
                <a:gd name="connsiteX140" fmla="*/ 44400 w 302478"/>
                <a:gd name="connsiteY140" fmla="*/ 392462 h 614387"/>
                <a:gd name="connsiteX141" fmla="*/ 50172 w 302478"/>
                <a:gd name="connsiteY141" fmla="*/ 381210 h 614387"/>
                <a:gd name="connsiteX142" fmla="*/ 63730 w 302478"/>
                <a:gd name="connsiteY142" fmla="*/ 371680 h 614387"/>
                <a:gd name="connsiteX143" fmla="*/ 56704 w 302478"/>
                <a:gd name="connsiteY143" fmla="*/ 373131 h 614387"/>
                <a:gd name="connsiteX144" fmla="*/ 48656 w 302478"/>
                <a:gd name="connsiteY144" fmla="*/ 379067 h 614387"/>
                <a:gd name="connsiteX145" fmla="*/ 35988 w 302478"/>
                <a:gd name="connsiteY145" fmla="*/ 400576 h 614387"/>
                <a:gd name="connsiteX146" fmla="*/ 31863 w 302478"/>
                <a:gd name="connsiteY146" fmla="*/ 411460 h 614387"/>
                <a:gd name="connsiteX147" fmla="*/ 21080 w 302478"/>
                <a:gd name="connsiteY147" fmla="*/ 414989 h 614387"/>
                <a:gd name="connsiteX148" fmla="*/ 11414 w 302478"/>
                <a:gd name="connsiteY148" fmla="*/ 416738 h 614387"/>
                <a:gd name="connsiteX149" fmla="*/ 6466 w 302478"/>
                <a:gd name="connsiteY149" fmla="*/ 415581 h 614387"/>
                <a:gd name="connsiteX150" fmla="*/ 530 w 302478"/>
                <a:gd name="connsiteY150" fmla="*/ 412845 h 614387"/>
                <a:gd name="connsiteX151" fmla="*/ 0 w 302478"/>
                <a:gd name="connsiteY151" fmla="*/ 404828 h 614387"/>
                <a:gd name="connsiteX152" fmla="*/ 464 w 302478"/>
                <a:gd name="connsiteY152" fmla="*/ 398432 h 614387"/>
                <a:gd name="connsiteX153" fmla="*/ 4488 w 302478"/>
                <a:gd name="connsiteY153" fmla="*/ 385699 h 614387"/>
                <a:gd name="connsiteX154" fmla="*/ 6071 w 302478"/>
                <a:gd name="connsiteY154" fmla="*/ 367687 h 614387"/>
                <a:gd name="connsiteX155" fmla="*/ 11778 w 302478"/>
                <a:gd name="connsiteY155" fmla="*/ 351525 h 614387"/>
                <a:gd name="connsiteX156" fmla="*/ 11348 w 302478"/>
                <a:gd name="connsiteY156" fmla="*/ 347204 h 614387"/>
                <a:gd name="connsiteX157" fmla="*/ 9731 w 302478"/>
                <a:gd name="connsiteY157" fmla="*/ 340773 h 614387"/>
                <a:gd name="connsiteX158" fmla="*/ 14811 w 302478"/>
                <a:gd name="connsiteY158" fmla="*/ 334473 h 614387"/>
                <a:gd name="connsiteX159" fmla="*/ 21111 w 302478"/>
                <a:gd name="connsiteY159" fmla="*/ 330314 h 614387"/>
                <a:gd name="connsiteX160" fmla="*/ 30679 w 302478"/>
                <a:gd name="connsiteY160" fmla="*/ 316396 h 614387"/>
                <a:gd name="connsiteX161" fmla="*/ 44036 w 302478"/>
                <a:gd name="connsiteY161" fmla="*/ 283113 h 614387"/>
                <a:gd name="connsiteX162" fmla="*/ 59440 w 302478"/>
                <a:gd name="connsiteY162" fmla="*/ 247590 h 614387"/>
                <a:gd name="connsiteX163" fmla="*/ 58186 w 302478"/>
                <a:gd name="connsiteY163" fmla="*/ 243236 h 614387"/>
                <a:gd name="connsiteX164" fmla="*/ 54920 w 302478"/>
                <a:gd name="connsiteY164" fmla="*/ 239870 h 614387"/>
                <a:gd name="connsiteX165" fmla="*/ 56243 w 302478"/>
                <a:gd name="connsiteY165" fmla="*/ 230240 h 614387"/>
                <a:gd name="connsiteX166" fmla="*/ 65510 w 302478"/>
                <a:gd name="connsiteY166" fmla="*/ 188247 h 614387"/>
                <a:gd name="connsiteX167" fmla="*/ 69271 w 302478"/>
                <a:gd name="connsiteY167" fmla="*/ 182741 h 614387"/>
                <a:gd name="connsiteX168" fmla="*/ 73624 w 302478"/>
                <a:gd name="connsiteY168" fmla="*/ 170371 h 614387"/>
                <a:gd name="connsiteX169" fmla="*/ 74615 w 302478"/>
                <a:gd name="connsiteY169" fmla="*/ 150382 h 614387"/>
                <a:gd name="connsiteX170" fmla="*/ 76329 w 302478"/>
                <a:gd name="connsiteY170" fmla="*/ 136593 h 614387"/>
                <a:gd name="connsiteX171" fmla="*/ 75934 w 302478"/>
                <a:gd name="connsiteY171" fmla="*/ 129666 h 614387"/>
                <a:gd name="connsiteX172" fmla="*/ 74549 w 302478"/>
                <a:gd name="connsiteY172" fmla="*/ 121321 h 614387"/>
                <a:gd name="connsiteX173" fmla="*/ 68644 w 302478"/>
                <a:gd name="connsiteY173" fmla="*/ 105356 h 614387"/>
                <a:gd name="connsiteX174" fmla="*/ 62442 w 302478"/>
                <a:gd name="connsiteY174" fmla="*/ 71512 h 614387"/>
                <a:gd name="connsiteX175" fmla="*/ 61947 w 302478"/>
                <a:gd name="connsiteY175" fmla="*/ 60167 h 614387"/>
                <a:gd name="connsiteX176" fmla="*/ 67062 w 302478"/>
                <a:gd name="connsiteY176" fmla="*/ 54425 h 614387"/>
                <a:gd name="connsiteX177" fmla="*/ 58650 w 302478"/>
                <a:gd name="connsiteY177" fmla="*/ 53601 h 614387"/>
                <a:gd name="connsiteX178" fmla="*/ 54823 w 302478"/>
                <a:gd name="connsiteY178" fmla="*/ 46246 h 614387"/>
                <a:gd name="connsiteX179" fmla="*/ 55682 w 302478"/>
                <a:gd name="connsiteY179" fmla="*/ 37900 h 614387"/>
                <a:gd name="connsiteX180" fmla="*/ 65050 w 302478"/>
                <a:gd name="connsiteY180" fmla="*/ 24411 h 614387"/>
                <a:gd name="connsiteX181" fmla="*/ 73790 w 302478"/>
                <a:gd name="connsiteY181" fmla="*/ 16031 h 614387"/>
                <a:gd name="connsiteX182" fmla="*/ 82431 w 302478"/>
                <a:gd name="connsiteY182" fmla="*/ 10556 h 614387"/>
                <a:gd name="connsiteX183" fmla="*/ 87216 w 302478"/>
                <a:gd name="connsiteY183" fmla="*/ 8478 h 614387"/>
                <a:gd name="connsiteX184" fmla="*/ 107170 w 302478"/>
                <a:gd name="connsiteY184" fmla="*/ 2771 h 614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302478" h="614387">
                  <a:moveTo>
                    <a:pt x="112417" y="0"/>
                  </a:moveTo>
                  <a:lnTo>
                    <a:pt x="117331" y="461"/>
                  </a:lnTo>
                  <a:lnTo>
                    <a:pt x="118155" y="3200"/>
                  </a:lnTo>
                  <a:lnTo>
                    <a:pt x="120991" y="8478"/>
                  </a:lnTo>
                  <a:lnTo>
                    <a:pt x="124157" y="12138"/>
                  </a:lnTo>
                  <a:lnTo>
                    <a:pt x="125015" y="14843"/>
                  </a:lnTo>
                  <a:lnTo>
                    <a:pt x="117296" y="26157"/>
                  </a:lnTo>
                  <a:lnTo>
                    <a:pt x="116244" y="30018"/>
                  </a:lnTo>
                  <a:lnTo>
                    <a:pt x="120268" y="37307"/>
                  </a:lnTo>
                  <a:lnTo>
                    <a:pt x="120860" y="39617"/>
                  </a:lnTo>
                  <a:lnTo>
                    <a:pt x="122806" y="40604"/>
                  </a:lnTo>
                  <a:lnTo>
                    <a:pt x="128184" y="40341"/>
                  </a:lnTo>
                  <a:lnTo>
                    <a:pt x="137749" y="35659"/>
                  </a:lnTo>
                  <a:lnTo>
                    <a:pt x="144246" y="31732"/>
                  </a:lnTo>
                  <a:lnTo>
                    <a:pt x="146521" y="33349"/>
                  </a:lnTo>
                  <a:lnTo>
                    <a:pt x="165356" y="31140"/>
                  </a:lnTo>
                  <a:lnTo>
                    <a:pt x="169810" y="32920"/>
                  </a:lnTo>
                  <a:lnTo>
                    <a:pt x="172778" y="34932"/>
                  </a:lnTo>
                  <a:lnTo>
                    <a:pt x="182048" y="37636"/>
                  </a:lnTo>
                  <a:lnTo>
                    <a:pt x="192143" y="37934"/>
                  </a:lnTo>
                  <a:lnTo>
                    <a:pt x="204641" y="34139"/>
                  </a:lnTo>
                  <a:lnTo>
                    <a:pt x="210119" y="30316"/>
                  </a:lnTo>
                  <a:lnTo>
                    <a:pt x="211172" y="26091"/>
                  </a:lnTo>
                  <a:lnTo>
                    <a:pt x="211439" y="22891"/>
                  </a:lnTo>
                  <a:lnTo>
                    <a:pt x="213053" y="20848"/>
                  </a:lnTo>
                  <a:lnTo>
                    <a:pt x="215892" y="19694"/>
                  </a:lnTo>
                  <a:lnTo>
                    <a:pt x="220346" y="21772"/>
                  </a:lnTo>
                  <a:lnTo>
                    <a:pt x="226711" y="23452"/>
                  </a:lnTo>
                  <a:lnTo>
                    <a:pt x="241983" y="24144"/>
                  </a:lnTo>
                  <a:lnTo>
                    <a:pt x="244982" y="21803"/>
                  </a:lnTo>
                  <a:lnTo>
                    <a:pt x="250163" y="22496"/>
                  </a:lnTo>
                  <a:lnTo>
                    <a:pt x="256992" y="25464"/>
                  </a:lnTo>
                  <a:lnTo>
                    <a:pt x="264874" y="24508"/>
                  </a:lnTo>
                  <a:lnTo>
                    <a:pt x="268866" y="28137"/>
                  </a:lnTo>
                  <a:lnTo>
                    <a:pt x="270515" y="32954"/>
                  </a:lnTo>
                  <a:lnTo>
                    <a:pt x="270975" y="43409"/>
                  </a:lnTo>
                  <a:lnTo>
                    <a:pt x="270383" y="53965"/>
                  </a:lnTo>
                  <a:lnTo>
                    <a:pt x="271935" y="57857"/>
                  </a:lnTo>
                  <a:lnTo>
                    <a:pt x="277275" y="58879"/>
                  </a:lnTo>
                  <a:lnTo>
                    <a:pt x="285887" y="58747"/>
                  </a:lnTo>
                  <a:lnTo>
                    <a:pt x="293637" y="61583"/>
                  </a:lnTo>
                  <a:lnTo>
                    <a:pt x="299642" y="66567"/>
                  </a:lnTo>
                  <a:lnTo>
                    <a:pt x="301620" y="71643"/>
                  </a:lnTo>
                  <a:lnTo>
                    <a:pt x="302478" y="75141"/>
                  </a:lnTo>
                  <a:lnTo>
                    <a:pt x="299542" y="77122"/>
                  </a:lnTo>
                  <a:lnTo>
                    <a:pt x="295386" y="84640"/>
                  </a:lnTo>
                  <a:lnTo>
                    <a:pt x="284831" y="94437"/>
                  </a:lnTo>
                  <a:lnTo>
                    <a:pt x="269756" y="103244"/>
                  </a:lnTo>
                  <a:lnTo>
                    <a:pt x="258245" y="114197"/>
                  </a:lnTo>
                  <a:lnTo>
                    <a:pt x="250329" y="127256"/>
                  </a:lnTo>
                  <a:lnTo>
                    <a:pt x="240400" y="132800"/>
                  </a:lnTo>
                  <a:lnTo>
                    <a:pt x="237363" y="135768"/>
                  </a:lnTo>
                  <a:lnTo>
                    <a:pt x="236175" y="139297"/>
                  </a:lnTo>
                  <a:lnTo>
                    <a:pt x="242741" y="155262"/>
                  </a:lnTo>
                  <a:lnTo>
                    <a:pt x="244753" y="167566"/>
                  </a:lnTo>
                  <a:lnTo>
                    <a:pt x="246371" y="182609"/>
                  </a:lnTo>
                  <a:lnTo>
                    <a:pt x="245314" y="186831"/>
                  </a:lnTo>
                  <a:lnTo>
                    <a:pt x="244753" y="203322"/>
                  </a:lnTo>
                  <a:lnTo>
                    <a:pt x="243236" y="208139"/>
                  </a:lnTo>
                  <a:lnTo>
                    <a:pt x="243631" y="212062"/>
                  </a:lnTo>
                  <a:lnTo>
                    <a:pt x="246038" y="216253"/>
                  </a:lnTo>
                  <a:lnTo>
                    <a:pt x="247129" y="220277"/>
                  </a:lnTo>
                  <a:lnTo>
                    <a:pt x="242610" y="225388"/>
                  </a:lnTo>
                  <a:lnTo>
                    <a:pt x="234330" y="231327"/>
                  </a:lnTo>
                  <a:lnTo>
                    <a:pt x="228197" y="236539"/>
                  </a:lnTo>
                  <a:lnTo>
                    <a:pt x="226545" y="241418"/>
                  </a:lnTo>
                  <a:lnTo>
                    <a:pt x="227009" y="244455"/>
                  </a:lnTo>
                  <a:lnTo>
                    <a:pt x="237332" y="254779"/>
                  </a:lnTo>
                  <a:lnTo>
                    <a:pt x="239212" y="259000"/>
                  </a:lnTo>
                  <a:lnTo>
                    <a:pt x="237827" y="269195"/>
                  </a:lnTo>
                  <a:lnTo>
                    <a:pt x="231888" y="285853"/>
                  </a:lnTo>
                  <a:lnTo>
                    <a:pt x="226216" y="295978"/>
                  </a:lnTo>
                  <a:lnTo>
                    <a:pt x="225225" y="296969"/>
                  </a:lnTo>
                  <a:lnTo>
                    <a:pt x="218729" y="299836"/>
                  </a:lnTo>
                  <a:lnTo>
                    <a:pt x="187589" y="299937"/>
                  </a:lnTo>
                  <a:lnTo>
                    <a:pt x="180036" y="302212"/>
                  </a:lnTo>
                  <a:lnTo>
                    <a:pt x="181092" y="304259"/>
                  </a:lnTo>
                  <a:lnTo>
                    <a:pt x="188413" y="317255"/>
                  </a:lnTo>
                  <a:lnTo>
                    <a:pt x="196035" y="324147"/>
                  </a:lnTo>
                  <a:lnTo>
                    <a:pt x="198574" y="325729"/>
                  </a:lnTo>
                  <a:lnTo>
                    <a:pt x="201313" y="340870"/>
                  </a:lnTo>
                  <a:lnTo>
                    <a:pt x="213683" y="365017"/>
                  </a:lnTo>
                  <a:lnTo>
                    <a:pt x="225655" y="368349"/>
                  </a:lnTo>
                  <a:lnTo>
                    <a:pt x="229810" y="374385"/>
                  </a:lnTo>
                  <a:lnTo>
                    <a:pt x="229052" y="382828"/>
                  </a:lnTo>
                  <a:lnTo>
                    <a:pt x="225357" y="392098"/>
                  </a:lnTo>
                  <a:lnTo>
                    <a:pt x="218001" y="401597"/>
                  </a:lnTo>
                  <a:lnTo>
                    <a:pt x="209261" y="408260"/>
                  </a:lnTo>
                  <a:lnTo>
                    <a:pt x="203554" y="414888"/>
                  </a:lnTo>
                  <a:lnTo>
                    <a:pt x="203093" y="422576"/>
                  </a:lnTo>
                  <a:lnTo>
                    <a:pt x="201278" y="432307"/>
                  </a:lnTo>
                  <a:lnTo>
                    <a:pt x="198539" y="439992"/>
                  </a:lnTo>
                  <a:lnTo>
                    <a:pt x="197847" y="445169"/>
                  </a:lnTo>
                  <a:lnTo>
                    <a:pt x="219750" y="477663"/>
                  </a:lnTo>
                  <a:lnTo>
                    <a:pt x="231954" y="476077"/>
                  </a:lnTo>
                  <a:lnTo>
                    <a:pt x="233537" y="476839"/>
                  </a:lnTo>
                  <a:lnTo>
                    <a:pt x="231362" y="484554"/>
                  </a:lnTo>
                  <a:lnTo>
                    <a:pt x="227500" y="493593"/>
                  </a:lnTo>
                  <a:lnTo>
                    <a:pt x="222884" y="495310"/>
                  </a:lnTo>
                  <a:lnTo>
                    <a:pt x="212426" y="498081"/>
                  </a:lnTo>
                  <a:lnTo>
                    <a:pt x="202532" y="509755"/>
                  </a:lnTo>
                  <a:lnTo>
                    <a:pt x="194515" y="523773"/>
                  </a:lnTo>
                  <a:lnTo>
                    <a:pt x="188479" y="530571"/>
                  </a:lnTo>
                  <a:lnTo>
                    <a:pt x="182973" y="547193"/>
                  </a:lnTo>
                  <a:lnTo>
                    <a:pt x="183665" y="554386"/>
                  </a:lnTo>
                  <a:lnTo>
                    <a:pt x="186335" y="565468"/>
                  </a:lnTo>
                  <a:lnTo>
                    <a:pt x="191977" y="594298"/>
                  </a:lnTo>
                  <a:lnTo>
                    <a:pt x="183863" y="595582"/>
                  </a:lnTo>
                  <a:lnTo>
                    <a:pt x="152328" y="614352"/>
                  </a:lnTo>
                  <a:lnTo>
                    <a:pt x="142566" y="614387"/>
                  </a:lnTo>
                  <a:lnTo>
                    <a:pt x="124323" y="606138"/>
                  </a:lnTo>
                  <a:lnTo>
                    <a:pt x="92130" y="603468"/>
                  </a:lnTo>
                  <a:lnTo>
                    <a:pt x="81641" y="600995"/>
                  </a:lnTo>
                  <a:lnTo>
                    <a:pt x="68544" y="606404"/>
                  </a:lnTo>
                  <a:lnTo>
                    <a:pt x="58418" y="606273"/>
                  </a:lnTo>
                  <a:lnTo>
                    <a:pt x="50370" y="613164"/>
                  </a:lnTo>
                  <a:lnTo>
                    <a:pt x="44597" y="611284"/>
                  </a:lnTo>
                  <a:lnTo>
                    <a:pt x="51229" y="595814"/>
                  </a:lnTo>
                  <a:lnTo>
                    <a:pt x="61618" y="565139"/>
                  </a:lnTo>
                  <a:lnTo>
                    <a:pt x="61188" y="546369"/>
                  </a:lnTo>
                  <a:lnTo>
                    <a:pt x="63664" y="530010"/>
                  </a:lnTo>
                  <a:lnTo>
                    <a:pt x="60828" y="513782"/>
                  </a:lnTo>
                  <a:lnTo>
                    <a:pt x="55613" y="503622"/>
                  </a:lnTo>
                  <a:lnTo>
                    <a:pt x="62705" y="477265"/>
                  </a:lnTo>
                  <a:lnTo>
                    <a:pt x="61916" y="463641"/>
                  </a:lnTo>
                  <a:lnTo>
                    <a:pt x="55419" y="446357"/>
                  </a:lnTo>
                  <a:lnTo>
                    <a:pt x="75110" y="448996"/>
                  </a:lnTo>
                  <a:lnTo>
                    <a:pt x="69008" y="442136"/>
                  </a:lnTo>
                  <a:lnTo>
                    <a:pt x="63003" y="437949"/>
                  </a:lnTo>
                  <a:lnTo>
                    <a:pt x="57199" y="438905"/>
                  </a:lnTo>
                  <a:lnTo>
                    <a:pt x="52285" y="438638"/>
                  </a:lnTo>
                  <a:lnTo>
                    <a:pt x="35527" y="445335"/>
                  </a:lnTo>
                  <a:lnTo>
                    <a:pt x="27116" y="447347"/>
                  </a:lnTo>
                  <a:lnTo>
                    <a:pt x="24674" y="446160"/>
                  </a:lnTo>
                  <a:lnTo>
                    <a:pt x="25599" y="435473"/>
                  </a:lnTo>
                  <a:lnTo>
                    <a:pt x="21246" y="421586"/>
                  </a:lnTo>
                  <a:lnTo>
                    <a:pt x="27974" y="417926"/>
                  </a:lnTo>
                  <a:lnTo>
                    <a:pt x="35790" y="416869"/>
                  </a:lnTo>
                  <a:lnTo>
                    <a:pt x="42453" y="410934"/>
                  </a:lnTo>
                  <a:lnTo>
                    <a:pt x="46578" y="404302"/>
                  </a:lnTo>
                  <a:lnTo>
                    <a:pt x="44400" y="392462"/>
                  </a:lnTo>
                  <a:lnTo>
                    <a:pt x="50172" y="381210"/>
                  </a:lnTo>
                  <a:lnTo>
                    <a:pt x="63730" y="371680"/>
                  </a:lnTo>
                  <a:lnTo>
                    <a:pt x="56704" y="373131"/>
                  </a:lnTo>
                  <a:lnTo>
                    <a:pt x="48656" y="379067"/>
                  </a:lnTo>
                  <a:lnTo>
                    <a:pt x="35988" y="400576"/>
                  </a:lnTo>
                  <a:lnTo>
                    <a:pt x="31863" y="411460"/>
                  </a:lnTo>
                  <a:lnTo>
                    <a:pt x="21080" y="414989"/>
                  </a:lnTo>
                  <a:lnTo>
                    <a:pt x="11414" y="416738"/>
                  </a:lnTo>
                  <a:lnTo>
                    <a:pt x="6466" y="415581"/>
                  </a:lnTo>
                  <a:lnTo>
                    <a:pt x="530" y="412845"/>
                  </a:lnTo>
                  <a:lnTo>
                    <a:pt x="0" y="404828"/>
                  </a:lnTo>
                  <a:lnTo>
                    <a:pt x="464" y="398432"/>
                  </a:lnTo>
                  <a:lnTo>
                    <a:pt x="4488" y="385699"/>
                  </a:lnTo>
                  <a:lnTo>
                    <a:pt x="6071" y="367687"/>
                  </a:lnTo>
                  <a:lnTo>
                    <a:pt x="11778" y="351525"/>
                  </a:lnTo>
                  <a:lnTo>
                    <a:pt x="11348" y="347204"/>
                  </a:lnTo>
                  <a:lnTo>
                    <a:pt x="9731" y="340773"/>
                  </a:lnTo>
                  <a:lnTo>
                    <a:pt x="14811" y="334473"/>
                  </a:lnTo>
                  <a:lnTo>
                    <a:pt x="21111" y="330314"/>
                  </a:lnTo>
                  <a:lnTo>
                    <a:pt x="30679" y="316396"/>
                  </a:lnTo>
                  <a:lnTo>
                    <a:pt x="44036" y="283113"/>
                  </a:lnTo>
                  <a:lnTo>
                    <a:pt x="59440" y="247590"/>
                  </a:lnTo>
                  <a:lnTo>
                    <a:pt x="58186" y="243236"/>
                  </a:lnTo>
                  <a:lnTo>
                    <a:pt x="54920" y="239870"/>
                  </a:lnTo>
                  <a:lnTo>
                    <a:pt x="56243" y="230240"/>
                  </a:lnTo>
                  <a:lnTo>
                    <a:pt x="65510" y="188247"/>
                  </a:lnTo>
                  <a:lnTo>
                    <a:pt x="69271" y="182741"/>
                  </a:lnTo>
                  <a:lnTo>
                    <a:pt x="73624" y="170371"/>
                  </a:lnTo>
                  <a:lnTo>
                    <a:pt x="74615" y="150382"/>
                  </a:lnTo>
                  <a:lnTo>
                    <a:pt x="76329" y="136593"/>
                  </a:lnTo>
                  <a:lnTo>
                    <a:pt x="75934" y="129666"/>
                  </a:lnTo>
                  <a:lnTo>
                    <a:pt x="74549" y="121321"/>
                  </a:lnTo>
                  <a:lnTo>
                    <a:pt x="68644" y="105356"/>
                  </a:lnTo>
                  <a:lnTo>
                    <a:pt x="62442" y="71512"/>
                  </a:lnTo>
                  <a:lnTo>
                    <a:pt x="61947" y="60167"/>
                  </a:lnTo>
                  <a:lnTo>
                    <a:pt x="67062" y="54425"/>
                  </a:lnTo>
                  <a:lnTo>
                    <a:pt x="58650" y="53601"/>
                  </a:lnTo>
                  <a:lnTo>
                    <a:pt x="54823" y="46246"/>
                  </a:lnTo>
                  <a:lnTo>
                    <a:pt x="55682" y="37900"/>
                  </a:lnTo>
                  <a:lnTo>
                    <a:pt x="65050" y="24411"/>
                  </a:lnTo>
                  <a:lnTo>
                    <a:pt x="73790" y="16031"/>
                  </a:lnTo>
                  <a:lnTo>
                    <a:pt x="82431" y="10556"/>
                  </a:lnTo>
                  <a:lnTo>
                    <a:pt x="87216" y="8478"/>
                  </a:lnTo>
                  <a:lnTo>
                    <a:pt x="107170" y="2771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7" name="Forme libre : forme 46">
              <a:extLst>
                <a:ext uri="{FF2B5EF4-FFF2-40B4-BE49-F238E27FC236}">
                  <a16:creationId xmlns:a16="http://schemas.microsoft.com/office/drawing/2014/main" id="{B3425628-BD58-AF6D-AF96-1D2075A3401B}"/>
                </a:ext>
              </a:extLst>
            </p:cNvPr>
            <p:cNvSpPr/>
            <p:nvPr/>
          </p:nvSpPr>
          <p:spPr>
            <a:xfrm>
              <a:off x="6636498" y="4642844"/>
              <a:ext cx="659505" cy="442048"/>
            </a:xfrm>
            <a:custGeom>
              <a:avLst/>
              <a:gdLst>
                <a:gd name="connsiteX0" fmla="*/ 213065 w 252993"/>
                <a:gd name="connsiteY0" fmla="*/ 109661 h 176202"/>
                <a:gd name="connsiteX1" fmla="*/ 215884 w 252993"/>
                <a:gd name="connsiteY1" fmla="*/ 113576 h 176202"/>
                <a:gd name="connsiteX2" fmla="*/ 219456 w 252993"/>
                <a:gd name="connsiteY2" fmla="*/ 115662 h 176202"/>
                <a:gd name="connsiteX3" fmla="*/ 227724 w 252993"/>
                <a:gd name="connsiteY3" fmla="*/ 117862 h 176202"/>
                <a:gd name="connsiteX4" fmla="*/ 228467 w 252993"/>
                <a:gd name="connsiteY4" fmla="*/ 117596 h 176202"/>
                <a:gd name="connsiteX5" fmla="*/ 228543 w 252993"/>
                <a:gd name="connsiteY5" fmla="*/ 117186 h 176202"/>
                <a:gd name="connsiteX6" fmla="*/ 227972 w 252993"/>
                <a:gd name="connsiteY6" fmla="*/ 116614 h 176202"/>
                <a:gd name="connsiteX7" fmla="*/ 227886 w 252993"/>
                <a:gd name="connsiteY7" fmla="*/ 115891 h 176202"/>
                <a:gd name="connsiteX8" fmla="*/ 228285 w 252993"/>
                <a:gd name="connsiteY8" fmla="*/ 114995 h 176202"/>
                <a:gd name="connsiteX9" fmla="*/ 229428 w 252993"/>
                <a:gd name="connsiteY9" fmla="*/ 114948 h 176202"/>
                <a:gd name="connsiteX10" fmla="*/ 231296 w 252993"/>
                <a:gd name="connsiteY10" fmla="*/ 115748 h 176202"/>
                <a:gd name="connsiteX11" fmla="*/ 234858 w 252993"/>
                <a:gd name="connsiteY11" fmla="*/ 114586 h 176202"/>
                <a:gd name="connsiteX12" fmla="*/ 240097 w 252993"/>
                <a:gd name="connsiteY12" fmla="*/ 111462 h 176202"/>
                <a:gd name="connsiteX13" fmla="*/ 244916 w 252993"/>
                <a:gd name="connsiteY13" fmla="*/ 110833 h 176202"/>
                <a:gd name="connsiteX14" fmla="*/ 249298 w 252993"/>
                <a:gd name="connsiteY14" fmla="*/ 112681 h 176202"/>
                <a:gd name="connsiteX15" fmla="*/ 251546 w 252993"/>
                <a:gd name="connsiteY15" fmla="*/ 114833 h 176202"/>
                <a:gd name="connsiteX16" fmla="*/ 252993 w 252993"/>
                <a:gd name="connsiteY16" fmla="*/ 116881 h 176202"/>
                <a:gd name="connsiteX17" fmla="*/ 252536 w 252993"/>
                <a:gd name="connsiteY17" fmla="*/ 119405 h 176202"/>
                <a:gd name="connsiteX18" fmla="*/ 252260 w 252993"/>
                <a:gd name="connsiteY18" fmla="*/ 120977 h 176202"/>
                <a:gd name="connsiteX19" fmla="*/ 251107 w 252993"/>
                <a:gd name="connsiteY19" fmla="*/ 127463 h 176202"/>
                <a:gd name="connsiteX20" fmla="*/ 250307 w 252993"/>
                <a:gd name="connsiteY20" fmla="*/ 129883 h 176202"/>
                <a:gd name="connsiteX21" fmla="*/ 249021 w 252993"/>
                <a:gd name="connsiteY21" fmla="*/ 132588 h 176202"/>
                <a:gd name="connsiteX22" fmla="*/ 235411 w 252993"/>
                <a:gd name="connsiteY22" fmla="*/ 135817 h 176202"/>
                <a:gd name="connsiteX23" fmla="*/ 236287 w 252993"/>
                <a:gd name="connsiteY23" fmla="*/ 134264 h 176202"/>
                <a:gd name="connsiteX24" fmla="*/ 235972 w 252993"/>
                <a:gd name="connsiteY24" fmla="*/ 131550 h 176202"/>
                <a:gd name="connsiteX25" fmla="*/ 235401 w 252993"/>
                <a:gd name="connsiteY25" fmla="*/ 129492 h 176202"/>
                <a:gd name="connsiteX26" fmla="*/ 236668 w 252993"/>
                <a:gd name="connsiteY26" fmla="*/ 127645 h 176202"/>
                <a:gd name="connsiteX27" fmla="*/ 233610 w 252993"/>
                <a:gd name="connsiteY27" fmla="*/ 126968 h 176202"/>
                <a:gd name="connsiteX28" fmla="*/ 232267 w 252993"/>
                <a:gd name="connsiteY28" fmla="*/ 127987 h 176202"/>
                <a:gd name="connsiteX29" fmla="*/ 231220 w 252993"/>
                <a:gd name="connsiteY29" fmla="*/ 129759 h 176202"/>
                <a:gd name="connsiteX30" fmla="*/ 232143 w 252993"/>
                <a:gd name="connsiteY30" fmla="*/ 133845 h 176202"/>
                <a:gd name="connsiteX31" fmla="*/ 230657 w 252993"/>
                <a:gd name="connsiteY31" fmla="*/ 136103 h 176202"/>
                <a:gd name="connsiteX32" fmla="*/ 230086 w 252993"/>
                <a:gd name="connsiteY32" fmla="*/ 137360 h 176202"/>
                <a:gd name="connsiteX33" fmla="*/ 230019 w 252993"/>
                <a:gd name="connsiteY33" fmla="*/ 140341 h 176202"/>
                <a:gd name="connsiteX34" fmla="*/ 229134 w 252993"/>
                <a:gd name="connsiteY34" fmla="*/ 141618 h 176202"/>
                <a:gd name="connsiteX35" fmla="*/ 228962 w 252993"/>
                <a:gd name="connsiteY35" fmla="*/ 143027 h 176202"/>
                <a:gd name="connsiteX36" fmla="*/ 231134 w 252993"/>
                <a:gd name="connsiteY36" fmla="*/ 142665 h 176202"/>
                <a:gd name="connsiteX37" fmla="*/ 230153 w 252993"/>
                <a:gd name="connsiteY37" fmla="*/ 145228 h 176202"/>
                <a:gd name="connsiteX38" fmla="*/ 226076 w 252993"/>
                <a:gd name="connsiteY38" fmla="*/ 150143 h 176202"/>
                <a:gd name="connsiteX39" fmla="*/ 224647 w 252993"/>
                <a:gd name="connsiteY39" fmla="*/ 153076 h 176202"/>
                <a:gd name="connsiteX40" fmla="*/ 225000 w 252993"/>
                <a:gd name="connsiteY40" fmla="*/ 164649 h 176202"/>
                <a:gd name="connsiteX41" fmla="*/ 223181 w 252993"/>
                <a:gd name="connsiteY41" fmla="*/ 171545 h 176202"/>
                <a:gd name="connsiteX42" fmla="*/ 223038 w 252993"/>
                <a:gd name="connsiteY42" fmla="*/ 173574 h 176202"/>
                <a:gd name="connsiteX43" fmla="*/ 218713 w 252993"/>
                <a:gd name="connsiteY43" fmla="*/ 173641 h 176202"/>
                <a:gd name="connsiteX44" fmla="*/ 217418 w 252993"/>
                <a:gd name="connsiteY44" fmla="*/ 173479 h 176202"/>
                <a:gd name="connsiteX45" fmla="*/ 213322 w 252993"/>
                <a:gd name="connsiteY45" fmla="*/ 172450 h 176202"/>
                <a:gd name="connsiteX46" fmla="*/ 208722 w 252993"/>
                <a:gd name="connsiteY46" fmla="*/ 170621 h 176202"/>
                <a:gd name="connsiteX47" fmla="*/ 206026 w 252993"/>
                <a:gd name="connsiteY47" fmla="*/ 167059 h 176202"/>
                <a:gd name="connsiteX48" fmla="*/ 204301 w 252993"/>
                <a:gd name="connsiteY48" fmla="*/ 164516 h 176202"/>
                <a:gd name="connsiteX49" fmla="*/ 200396 w 252993"/>
                <a:gd name="connsiteY49" fmla="*/ 165668 h 176202"/>
                <a:gd name="connsiteX50" fmla="*/ 199663 w 252993"/>
                <a:gd name="connsiteY50" fmla="*/ 165363 h 176202"/>
                <a:gd name="connsiteX51" fmla="*/ 198587 w 252993"/>
                <a:gd name="connsiteY51" fmla="*/ 164135 h 176202"/>
                <a:gd name="connsiteX52" fmla="*/ 195653 w 252993"/>
                <a:gd name="connsiteY52" fmla="*/ 163306 h 176202"/>
                <a:gd name="connsiteX53" fmla="*/ 192024 w 252993"/>
                <a:gd name="connsiteY53" fmla="*/ 163287 h 176202"/>
                <a:gd name="connsiteX54" fmla="*/ 183880 w 252993"/>
                <a:gd name="connsiteY54" fmla="*/ 158629 h 176202"/>
                <a:gd name="connsiteX55" fmla="*/ 182985 w 252993"/>
                <a:gd name="connsiteY55" fmla="*/ 157848 h 176202"/>
                <a:gd name="connsiteX56" fmla="*/ 176584 w 252993"/>
                <a:gd name="connsiteY56" fmla="*/ 158629 h 176202"/>
                <a:gd name="connsiteX57" fmla="*/ 167002 w 252993"/>
                <a:gd name="connsiteY57" fmla="*/ 160934 h 176202"/>
                <a:gd name="connsiteX58" fmla="*/ 159696 w 252993"/>
                <a:gd name="connsiteY58" fmla="*/ 163782 h 176202"/>
                <a:gd name="connsiteX59" fmla="*/ 152143 w 252993"/>
                <a:gd name="connsiteY59" fmla="*/ 168840 h 176202"/>
                <a:gd name="connsiteX60" fmla="*/ 149085 w 252993"/>
                <a:gd name="connsiteY60" fmla="*/ 172669 h 176202"/>
                <a:gd name="connsiteX61" fmla="*/ 145532 w 252993"/>
                <a:gd name="connsiteY61" fmla="*/ 174698 h 176202"/>
                <a:gd name="connsiteX62" fmla="*/ 140484 w 252993"/>
                <a:gd name="connsiteY62" fmla="*/ 176203 h 176202"/>
                <a:gd name="connsiteX63" fmla="*/ 131464 w 252993"/>
                <a:gd name="connsiteY63" fmla="*/ 175641 h 176202"/>
                <a:gd name="connsiteX64" fmla="*/ 122063 w 252993"/>
                <a:gd name="connsiteY64" fmla="*/ 173717 h 176202"/>
                <a:gd name="connsiteX65" fmla="*/ 111976 w 252993"/>
                <a:gd name="connsiteY65" fmla="*/ 171650 h 176202"/>
                <a:gd name="connsiteX66" fmla="*/ 106518 w 252993"/>
                <a:gd name="connsiteY66" fmla="*/ 172793 h 176202"/>
                <a:gd name="connsiteX67" fmla="*/ 99146 w 252993"/>
                <a:gd name="connsiteY67" fmla="*/ 171936 h 176202"/>
                <a:gd name="connsiteX68" fmla="*/ 88021 w 252993"/>
                <a:gd name="connsiteY68" fmla="*/ 169469 h 176202"/>
                <a:gd name="connsiteX69" fmla="*/ 79734 w 252993"/>
                <a:gd name="connsiteY69" fmla="*/ 168716 h 176202"/>
                <a:gd name="connsiteX70" fmla="*/ 71561 w 252993"/>
                <a:gd name="connsiteY70" fmla="*/ 170174 h 176202"/>
                <a:gd name="connsiteX71" fmla="*/ 70190 w 252993"/>
                <a:gd name="connsiteY71" fmla="*/ 169059 h 176202"/>
                <a:gd name="connsiteX72" fmla="*/ 69895 w 252993"/>
                <a:gd name="connsiteY72" fmla="*/ 167783 h 176202"/>
                <a:gd name="connsiteX73" fmla="*/ 70209 w 252993"/>
                <a:gd name="connsiteY73" fmla="*/ 165983 h 176202"/>
                <a:gd name="connsiteX74" fmla="*/ 71361 w 252993"/>
                <a:gd name="connsiteY74" fmla="*/ 164525 h 176202"/>
                <a:gd name="connsiteX75" fmla="*/ 73343 w 252993"/>
                <a:gd name="connsiteY75" fmla="*/ 163420 h 176202"/>
                <a:gd name="connsiteX76" fmla="*/ 74381 w 252993"/>
                <a:gd name="connsiteY76" fmla="*/ 162296 h 176202"/>
                <a:gd name="connsiteX77" fmla="*/ 74495 w 252993"/>
                <a:gd name="connsiteY77" fmla="*/ 161163 h 176202"/>
                <a:gd name="connsiteX78" fmla="*/ 72276 w 252993"/>
                <a:gd name="connsiteY78" fmla="*/ 159334 h 176202"/>
                <a:gd name="connsiteX79" fmla="*/ 67723 w 252993"/>
                <a:gd name="connsiteY79" fmla="*/ 156810 h 176202"/>
                <a:gd name="connsiteX80" fmla="*/ 65847 w 252993"/>
                <a:gd name="connsiteY80" fmla="*/ 155229 h 176202"/>
                <a:gd name="connsiteX81" fmla="*/ 65389 w 252993"/>
                <a:gd name="connsiteY81" fmla="*/ 154838 h 176202"/>
                <a:gd name="connsiteX82" fmla="*/ 65265 w 252993"/>
                <a:gd name="connsiteY82" fmla="*/ 153419 h 176202"/>
                <a:gd name="connsiteX83" fmla="*/ 64322 w 252993"/>
                <a:gd name="connsiteY83" fmla="*/ 152305 h 176202"/>
                <a:gd name="connsiteX84" fmla="*/ 62551 w 252993"/>
                <a:gd name="connsiteY84" fmla="*/ 151486 h 176202"/>
                <a:gd name="connsiteX85" fmla="*/ 61189 w 252993"/>
                <a:gd name="connsiteY85" fmla="*/ 150009 h 176202"/>
                <a:gd name="connsiteX86" fmla="*/ 60217 w 252993"/>
                <a:gd name="connsiteY86" fmla="*/ 147866 h 176202"/>
                <a:gd name="connsiteX87" fmla="*/ 60427 w 252993"/>
                <a:gd name="connsiteY87" fmla="*/ 145847 h 176202"/>
                <a:gd name="connsiteX88" fmla="*/ 61808 w 252993"/>
                <a:gd name="connsiteY88" fmla="*/ 143951 h 176202"/>
                <a:gd name="connsiteX89" fmla="*/ 63579 w 252993"/>
                <a:gd name="connsiteY89" fmla="*/ 143123 h 176202"/>
                <a:gd name="connsiteX90" fmla="*/ 65732 w 252993"/>
                <a:gd name="connsiteY90" fmla="*/ 143380 h 176202"/>
                <a:gd name="connsiteX91" fmla="*/ 66627 w 252993"/>
                <a:gd name="connsiteY91" fmla="*/ 142837 h 176202"/>
                <a:gd name="connsiteX92" fmla="*/ 66266 w 252993"/>
                <a:gd name="connsiteY92" fmla="*/ 141513 h 176202"/>
                <a:gd name="connsiteX93" fmla="*/ 64161 w 252993"/>
                <a:gd name="connsiteY93" fmla="*/ 139808 h 176202"/>
                <a:gd name="connsiteX94" fmla="*/ 60303 w 252993"/>
                <a:gd name="connsiteY94" fmla="*/ 137741 h 176202"/>
                <a:gd name="connsiteX95" fmla="*/ 56379 w 252993"/>
                <a:gd name="connsiteY95" fmla="*/ 138865 h 176202"/>
                <a:gd name="connsiteX96" fmla="*/ 52368 w 252993"/>
                <a:gd name="connsiteY96" fmla="*/ 143189 h 176202"/>
                <a:gd name="connsiteX97" fmla="*/ 49492 w 252993"/>
                <a:gd name="connsiteY97" fmla="*/ 143885 h 176202"/>
                <a:gd name="connsiteX98" fmla="*/ 47720 w 252993"/>
                <a:gd name="connsiteY98" fmla="*/ 140979 h 176202"/>
                <a:gd name="connsiteX99" fmla="*/ 44577 w 252993"/>
                <a:gd name="connsiteY99" fmla="*/ 139236 h 176202"/>
                <a:gd name="connsiteX100" fmla="*/ 40053 w 252993"/>
                <a:gd name="connsiteY100" fmla="*/ 138694 h 176202"/>
                <a:gd name="connsiteX101" fmla="*/ 37272 w 252993"/>
                <a:gd name="connsiteY101" fmla="*/ 137579 h 176202"/>
                <a:gd name="connsiteX102" fmla="*/ 36233 w 252993"/>
                <a:gd name="connsiteY102" fmla="*/ 135893 h 176202"/>
                <a:gd name="connsiteX103" fmla="*/ 34252 w 252993"/>
                <a:gd name="connsiteY103" fmla="*/ 134598 h 176202"/>
                <a:gd name="connsiteX104" fmla="*/ 29889 w 252993"/>
                <a:gd name="connsiteY104" fmla="*/ 133217 h 176202"/>
                <a:gd name="connsiteX105" fmla="*/ 29832 w 252993"/>
                <a:gd name="connsiteY105" fmla="*/ 131902 h 176202"/>
                <a:gd name="connsiteX106" fmla="*/ 30537 w 252993"/>
                <a:gd name="connsiteY106" fmla="*/ 131588 h 176202"/>
                <a:gd name="connsiteX107" fmla="*/ 32090 w 252993"/>
                <a:gd name="connsiteY107" fmla="*/ 131464 h 176202"/>
                <a:gd name="connsiteX108" fmla="*/ 34166 w 252993"/>
                <a:gd name="connsiteY108" fmla="*/ 131188 h 176202"/>
                <a:gd name="connsiteX109" fmla="*/ 34500 w 252993"/>
                <a:gd name="connsiteY109" fmla="*/ 130435 h 176202"/>
                <a:gd name="connsiteX110" fmla="*/ 34519 w 252993"/>
                <a:gd name="connsiteY110" fmla="*/ 129750 h 176202"/>
                <a:gd name="connsiteX111" fmla="*/ 32881 w 252993"/>
                <a:gd name="connsiteY111" fmla="*/ 128883 h 176202"/>
                <a:gd name="connsiteX112" fmla="*/ 31232 w 252993"/>
                <a:gd name="connsiteY112" fmla="*/ 128292 h 176202"/>
                <a:gd name="connsiteX113" fmla="*/ 30366 w 252993"/>
                <a:gd name="connsiteY113" fmla="*/ 127702 h 176202"/>
                <a:gd name="connsiteX114" fmla="*/ 29813 w 252993"/>
                <a:gd name="connsiteY114" fmla="*/ 127044 h 176202"/>
                <a:gd name="connsiteX115" fmla="*/ 29699 w 252993"/>
                <a:gd name="connsiteY115" fmla="*/ 126359 h 176202"/>
                <a:gd name="connsiteX116" fmla="*/ 30185 w 252993"/>
                <a:gd name="connsiteY116" fmla="*/ 125892 h 176202"/>
                <a:gd name="connsiteX117" fmla="*/ 30852 w 252993"/>
                <a:gd name="connsiteY117" fmla="*/ 125863 h 176202"/>
                <a:gd name="connsiteX118" fmla="*/ 31509 w 252993"/>
                <a:gd name="connsiteY118" fmla="*/ 125454 h 176202"/>
                <a:gd name="connsiteX119" fmla="*/ 31880 w 252993"/>
                <a:gd name="connsiteY119" fmla="*/ 123863 h 176202"/>
                <a:gd name="connsiteX120" fmla="*/ 32775 w 252993"/>
                <a:gd name="connsiteY120" fmla="*/ 122549 h 176202"/>
                <a:gd name="connsiteX121" fmla="*/ 33414 w 252993"/>
                <a:gd name="connsiteY121" fmla="*/ 122091 h 176202"/>
                <a:gd name="connsiteX122" fmla="*/ 33376 w 252993"/>
                <a:gd name="connsiteY122" fmla="*/ 121120 h 176202"/>
                <a:gd name="connsiteX123" fmla="*/ 32709 w 252993"/>
                <a:gd name="connsiteY123" fmla="*/ 120215 h 176202"/>
                <a:gd name="connsiteX124" fmla="*/ 31804 w 252993"/>
                <a:gd name="connsiteY124" fmla="*/ 119434 h 176202"/>
                <a:gd name="connsiteX125" fmla="*/ 30470 w 252993"/>
                <a:gd name="connsiteY125" fmla="*/ 118958 h 176202"/>
                <a:gd name="connsiteX126" fmla="*/ 26318 w 252993"/>
                <a:gd name="connsiteY126" fmla="*/ 117586 h 176202"/>
                <a:gd name="connsiteX127" fmla="*/ 24222 w 252993"/>
                <a:gd name="connsiteY127" fmla="*/ 115681 h 176202"/>
                <a:gd name="connsiteX128" fmla="*/ 22936 w 252993"/>
                <a:gd name="connsiteY128" fmla="*/ 115605 h 176202"/>
                <a:gd name="connsiteX129" fmla="*/ 20907 w 252993"/>
                <a:gd name="connsiteY129" fmla="*/ 114548 h 176202"/>
                <a:gd name="connsiteX130" fmla="*/ 18717 w 252993"/>
                <a:gd name="connsiteY130" fmla="*/ 112890 h 176202"/>
                <a:gd name="connsiteX131" fmla="*/ 16812 w 252993"/>
                <a:gd name="connsiteY131" fmla="*/ 110528 h 176202"/>
                <a:gd name="connsiteX132" fmla="*/ 14764 w 252993"/>
                <a:gd name="connsiteY132" fmla="*/ 108995 h 176202"/>
                <a:gd name="connsiteX133" fmla="*/ 14231 w 252993"/>
                <a:gd name="connsiteY133" fmla="*/ 108366 h 176202"/>
                <a:gd name="connsiteX134" fmla="*/ 14183 w 252993"/>
                <a:gd name="connsiteY134" fmla="*/ 107775 h 176202"/>
                <a:gd name="connsiteX135" fmla="*/ 14564 w 252993"/>
                <a:gd name="connsiteY135" fmla="*/ 107109 h 176202"/>
                <a:gd name="connsiteX136" fmla="*/ 14544 w 252993"/>
                <a:gd name="connsiteY136" fmla="*/ 106385 h 176202"/>
                <a:gd name="connsiteX137" fmla="*/ 14011 w 252993"/>
                <a:gd name="connsiteY137" fmla="*/ 104070 h 176202"/>
                <a:gd name="connsiteX138" fmla="*/ 14374 w 252993"/>
                <a:gd name="connsiteY138" fmla="*/ 101613 h 176202"/>
                <a:gd name="connsiteX139" fmla="*/ 14278 w 252993"/>
                <a:gd name="connsiteY139" fmla="*/ 99298 h 176202"/>
                <a:gd name="connsiteX140" fmla="*/ 14250 w 252993"/>
                <a:gd name="connsiteY140" fmla="*/ 98260 h 176202"/>
                <a:gd name="connsiteX141" fmla="*/ 13849 w 252993"/>
                <a:gd name="connsiteY141" fmla="*/ 97936 h 176202"/>
                <a:gd name="connsiteX142" fmla="*/ 13497 w 252993"/>
                <a:gd name="connsiteY142" fmla="*/ 98288 h 176202"/>
                <a:gd name="connsiteX143" fmla="*/ 12992 w 252993"/>
                <a:gd name="connsiteY143" fmla="*/ 98727 h 176202"/>
                <a:gd name="connsiteX144" fmla="*/ 12497 w 252993"/>
                <a:gd name="connsiteY144" fmla="*/ 98812 h 176202"/>
                <a:gd name="connsiteX145" fmla="*/ 10982 w 252993"/>
                <a:gd name="connsiteY145" fmla="*/ 97126 h 176202"/>
                <a:gd name="connsiteX146" fmla="*/ 9068 w 252993"/>
                <a:gd name="connsiteY146" fmla="*/ 93688 h 176202"/>
                <a:gd name="connsiteX147" fmla="*/ 7772 w 252993"/>
                <a:gd name="connsiteY147" fmla="*/ 92535 h 176202"/>
                <a:gd name="connsiteX148" fmla="*/ 5249 w 252993"/>
                <a:gd name="connsiteY148" fmla="*/ 90954 h 176202"/>
                <a:gd name="connsiteX149" fmla="*/ 3115 w 252993"/>
                <a:gd name="connsiteY149" fmla="*/ 89621 h 176202"/>
                <a:gd name="connsiteX150" fmla="*/ 1591 w 252993"/>
                <a:gd name="connsiteY150" fmla="*/ 86744 h 176202"/>
                <a:gd name="connsiteX151" fmla="*/ 0 w 252993"/>
                <a:gd name="connsiteY151" fmla="*/ 84515 h 176202"/>
                <a:gd name="connsiteX152" fmla="*/ 1048 w 252993"/>
                <a:gd name="connsiteY152" fmla="*/ 83582 h 176202"/>
                <a:gd name="connsiteX153" fmla="*/ 7115 w 252993"/>
                <a:gd name="connsiteY153" fmla="*/ 82267 h 176202"/>
                <a:gd name="connsiteX154" fmla="*/ 9944 w 252993"/>
                <a:gd name="connsiteY154" fmla="*/ 83553 h 176202"/>
                <a:gd name="connsiteX155" fmla="*/ 11211 w 252993"/>
                <a:gd name="connsiteY155" fmla="*/ 83087 h 176202"/>
                <a:gd name="connsiteX156" fmla="*/ 12440 w 252993"/>
                <a:gd name="connsiteY156" fmla="*/ 82048 h 176202"/>
                <a:gd name="connsiteX157" fmla="*/ 13125 w 252993"/>
                <a:gd name="connsiteY157" fmla="*/ 81210 h 176202"/>
                <a:gd name="connsiteX158" fmla="*/ 13249 w 252993"/>
                <a:gd name="connsiteY158" fmla="*/ 80324 h 176202"/>
                <a:gd name="connsiteX159" fmla="*/ 13859 w 252993"/>
                <a:gd name="connsiteY159" fmla="*/ 79219 h 176202"/>
                <a:gd name="connsiteX160" fmla="*/ 15907 w 252993"/>
                <a:gd name="connsiteY160" fmla="*/ 78695 h 176202"/>
                <a:gd name="connsiteX161" fmla="*/ 21336 w 252993"/>
                <a:gd name="connsiteY161" fmla="*/ 79372 h 176202"/>
                <a:gd name="connsiteX162" fmla="*/ 23517 w 252993"/>
                <a:gd name="connsiteY162" fmla="*/ 77819 h 176202"/>
                <a:gd name="connsiteX163" fmla="*/ 24327 w 252993"/>
                <a:gd name="connsiteY163" fmla="*/ 76981 h 176202"/>
                <a:gd name="connsiteX164" fmla="*/ 24822 w 252993"/>
                <a:gd name="connsiteY164" fmla="*/ 75114 h 176202"/>
                <a:gd name="connsiteX165" fmla="*/ 25394 w 252993"/>
                <a:gd name="connsiteY165" fmla="*/ 73609 h 176202"/>
                <a:gd name="connsiteX166" fmla="*/ 27337 w 252993"/>
                <a:gd name="connsiteY166" fmla="*/ 72809 h 176202"/>
                <a:gd name="connsiteX167" fmla="*/ 27308 w 252993"/>
                <a:gd name="connsiteY167" fmla="*/ 71438 h 176202"/>
                <a:gd name="connsiteX168" fmla="*/ 27013 w 252993"/>
                <a:gd name="connsiteY168" fmla="*/ 69952 h 176202"/>
                <a:gd name="connsiteX169" fmla="*/ 28137 w 252993"/>
                <a:gd name="connsiteY169" fmla="*/ 66608 h 176202"/>
                <a:gd name="connsiteX170" fmla="*/ 28823 w 252993"/>
                <a:gd name="connsiteY170" fmla="*/ 65237 h 176202"/>
                <a:gd name="connsiteX171" fmla="*/ 29928 w 252993"/>
                <a:gd name="connsiteY171" fmla="*/ 64741 h 176202"/>
                <a:gd name="connsiteX172" fmla="*/ 31252 w 252993"/>
                <a:gd name="connsiteY172" fmla="*/ 63684 h 176202"/>
                <a:gd name="connsiteX173" fmla="*/ 33557 w 252993"/>
                <a:gd name="connsiteY173" fmla="*/ 61493 h 176202"/>
                <a:gd name="connsiteX174" fmla="*/ 33023 w 252993"/>
                <a:gd name="connsiteY174" fmla="*/ 59588 h 176202"/>
                <a:gd name="connsiteX175" fmla="*/ 33481 w 252993"/>
                <a:gd name="connsiteY175" fmla="*/ 58169 h 176202"/>
                <a:gd name="connsiteX176" fmla="*/ 35881 w 252993"/>
                <a:gd name="connsiteY176" fmla="*/ 54721 h 176202"/>
                <a:gd name="connsiteX177" fmla="*/ 37709 w 252993"/>
                <a:gd name="connsiteY177" fmla="*/ 51387 h 176202"/>
                <a:gd name="connsiteX178" fmla="*/ 37681 w 252993"/>
                <a:gd name="connsiteY178" fmla="*/ 49711 h 176202"/>
                <a:gd name="connsiteX179" fmla="*/ 37948 w 252993"/>
                <a:gd name="connsiteY179" fmla="*/ 48253 h 176202"/>
                <a:gd name="connsiteX180" fmla="*/ 39567 w 252993"/>
                <a:gd name="connsiteY180" fmla="*/ 46653 h 176202"/>
                <a:gd name="connsiteX181" fmla="*/ 41263 w 252993"/>
                <a:gd name="connsiteY181" fmla="*/ 44567 h 176202"/>
                <a:gd name="connsiteX182" fmla="*/ 43501 w 252993"/>
                <a:gd name="connsiteY182" fmla="*/ 38033 h 176202"/>
                <a:gd name="connsiteX183" fmla="*/ 44310 w 252993"/>
                <a:gd name="connsiteY183" fmla="*/ 36938 h 176202"/>
                <a:gd name="connsiteX184" fmla="*/ 45777 w 252993"/>
                <a:gd name="connsiteY184" fmla="*/ 35690 h 176202"/>
                <a:gd name="connsiteX185" fmla="*/ 46873 w 252993"/>
                <a:gd name="connsiteY185" fmla="*/ 34452 h 176202"/>
                <a:gd name="connsiteX186" fmla="*/ 46987 w 252993"/>
                <a:gd name="connsiteY186" fmla="*/ 30147 h 176202"/>
                <a:gd name="connsiteX187" fmla="*/ 48016 w 252993"/>
                <a:gd name="connsiteY187" fmla="*/ 28899 h 176202"/>
                <a:gd name="connsiteX188" fmla="*/ 49987 w 252993"/>
                <a:gd name="connsiteY188" fmla="*/ 27499 h 176202"/>
                <a:gd name="connsiteX189" fmla="*/ 51949 w 252993"/>
                <a:gd name="connsiteY189" fmla="*/ 25251 h 176202"/>
                <a:gd name="connsiteX190" fmla="*/ 53540 w 252993"/>
                <a:gd name="connsiteY190" fmla="*/ 22584 h 176202"/>
                <a:gd name="connsiteX191" fmla="*/ 54769 w 252993"/>
                <a:gd name="connsiteY191" fmla="*/ 21336 h 176202"/>
                <a:gd name="connsiteX192" fmla="*/ 56398 w 252993"/>
                <a:gd name="connsiteY192" fmla="*/ 21002 h 176202"/>
                <a:gd name="connsiteX193" fmla="*/ 58160 w 252993"/>
                <a:gd name="connsiteY193" fmla="*/ 19955 h 176202"/>
                <a:gd name="connsiteX194" fmla="*/ 60131 w 252993"/>
                <a:gd name="connsiteY194" fmla="*/ 19564 h 176202"/>
                <a:gd name="connsiteX195" fmla="*/ 62046 w 252993"/>
                <a:gd name="connsiteY195" fmla="*/ 20079 h 176202"/>
                <a:gd name="connsiteX196" fmla="*/ 63255 w 252993"/>
                <a:gd name="connsiteY196" fmla="*/ 19812 h 176202"/>
                <a:gd name="connsiteX197" fmla="*/ 65094 w 252993"/>
                <a:gd name="connsiteY197" fmla="*/ 18517 h 176202"/>
                <a:gd name="connsiteX198" fmla="*/ 69771 w 252993"/>
                <a:gd name="connsiteY198" fmla="*/ 13602 h 176202"/>
                <a:gd name="connsiteX199" fmla="*/ 70428 w 252993"/>
                <a:gd name="connsiteY199" fmla="*/ 12620 h 176202"/>
                <a:gd name="connsiteX200" fmla="*/ 71400 w 252993"/>
                <a:gd name="connsiteY200" fmla="*/ 11944 h 176202"/>
                <a:gd name="connsiteX201" fmla="*/ 75190 w 252993"/>
                <a:gd name="connsiteY201" fmla="*/ 10258 h 176202"/>
                <a:gd name="connsiteX202" fmla="*/ 76152 w 252993"/>
                <a:gd name="connsiteY202" fmla="*/ 8563 h 176202"/>
                <a:gd name="connsiteX203" fmla="*/ 77457 w 252993"/>
                <a:gd name="connsiteY203" fmla="*/ 7039 h 176202"/>
                <a:gd name="connsiteX204" fmla="*/ 79143 w 252993"/>
                <a:gd name="connsiteY204" fmla="*/ 7153 h 176202"/>
                <a:gd name="connsiteX205" fmla="*/ 84649 w 252993"/>
                <a:gd name="connsiteY205" fmla="*/ 10925 h 176202"/>
                <a:gd name="connsiteX206" fmla="*/ 90535 w 252993"/>
                <a:gd name="connsiteY206" fmla="*/ 10687 h 176202"/>
                <a:gd name="connsiteX207" fmla="*/ 91611 w 252993"/>
                <a:gd name="connsiteY207" fmla="*/ 10830 h 176202"/>
                <a:gd name="connsiteX208" fmla="*/ 91964 w 252993"/>
                <a:gd name="connsiteY208" fmla="*/ 10906 h 176202"/>
                <a:gd name="connsiteX209" fmla="*/ 92688 w 252993"/>
                <a:gd name="connsiteY209" fmla="*/ 11211 h 176202"/>
                <a:gd name="connsiteX210" fmla="*/ 100517 w 252993"/>
                <a:gd name="connsiteY210" fmla="*/ 13078 h 176202"/>
                <a:gd name="connsiteX211" fmla="*/ 101727 w 252993"/>
                <a:gd name="connsiteY211" fmla="*/ 12868 h 176202"/>
                <a:gd name="connsiteX212" fmla="*/ 102061 w 252993"/>
                <a:gd name="connsiteY212" fmla="*/ 12725 h 176202"/>
                <a:gd name="connsiteX213" fmla="*/ 105213 w 252993"/>
                <a:gd name="connsiteY213" fmla="*/ 14259 h 176202"/>
                <a:gd name="connsiteX214" fmla="*/ 108004 w 252993"/>
                <a:gd name="connsiteY214" fmla="*/ 14059 h 176202"/>
                <a:gd name="connsiteX215" fmla="*/ 110652 w 252993"/>
                <a:gd name="connsiteY215" fmla="*/ 12992 h 176202"/>
                <a:gd name="connsiteX216" fmla="*/ 113405 w 252993"/>
                <a:gd name="connsiteY216" fmla="*/ 12630 h 176202"/>
                <a:gd name="connsiteX217" fmla="*/ 115938 w 252993"/>
                <a:gd name="connsiteY217" fmla="*/ 13268 h 176202"/>
                <a:gd name="connsiteX218" fmla="*/ 117863 w 252993"/>
                <a:gd name="connsiteY218" fmla="*/ 15430 h 176202"/>
                <a:gd name="connsiteX219" fmla="*/ 122863 w 252993"/>
                <a:gd name="connsiteY219" fmla="*/ 20021 h 176202"/>
                <a:gd name="connsiteX220" fmla="*/ 124349 w 252993"/>
                <a:gd name="connsiteY220" fmla="*/ 21736 h 176202"/>
                <a:gd name="connsiteX221" fmla="*/ 126635 w 252993"/>
                <a:gd name="connsiteY221" fmla="*/ 21479 h 176202"/>
                <a:gd name="connsiteX222" fmla="*/ 129168 w 252993"/>
                <a:gd name="connsiteY222" fmla="*/ 20622 h 176202"/>
                <a:gd name="connsiteX223" fmla="*/ 131731 w 252993"/>
                <a:gd name="connsiteY223" fmla="*/ 17564 h 176202"/>
                <a:gd name="connsiteX224" fmla="*/ 139608 w 252993"/>
                <a:gd name="connsiteY224" fmla="*/ 14078 h 176202"/>
                <a:gd name="connsiteX225" fmla="*/ 145618 w 252993"/>
                <a:gd name="connsiteY225" fmla="*/ 13211 h 176202"/>
                <a:gd name="connsiteX226" fmla="*/ 151486 w 252993"/>
                <a:gd name="connsiteY226" fmla="*/ 11811 h 176202"/>
                <a:gd name="connsiteX227" fmla="*/ 158277 w 252993"/>
                <a:gd name="connsiteY227" fmla="*/ 10820 h 176202"/>
                <a:gd name="connsiteX228" fmla="*/ 160239 w 252993"/>
                <a:gd name="connsiteY228" fmla="*/ 7963 h 176202"/>
                <a:gd name="connsiteX229" fmla="*/ 161325 w 252993"/>
                <a:gd name="connsiteY229" fmla="*/ 6010 h 176202"/>
                <a:gd name="connsiteX230" fmla="*/ 162097 w 252993"/>
                <a:gd name="connsiteY230" fmla="*/ 2391 h 176202"/>
                <a:gd name="connsiteX231" fmla="*/ 165754 w 252993"/>
                <a:gd name="connsiteY231" fmla="*/ 1343 h 176202"/>
                <a:gd name="connsiteX232" fmla="*/ 169231 w 252993"/>
                <a:gd name="connsiteY232" fmla="*/ 600 h 176202"/>
                <a:gd name="connsiteX233" fmla="*/ 170469 w 252993"/>
                <a:gd name="connsiteY233" fmla="*/ 143 h 176202"/>
                <a:gd name="connsiteX234" fmla="*/ 173003 w 252993"/>
                <a:gd name="connsiteY234" fmla="*/ 0 h 176202"/>
                <a:gd name="connsiteX235" fmla="*/ 174974 w 252993"/>
                <a:gd name="connsiteY235" fmla="*/ 305 h 176202"/>
                <a:gd name="connsiteX236" fmla="*/ 178013 w 252993"/>
                <a:gd name="connsiteY236" fmla="*/ 2096 h 176202"/>
                <a:gd name="connsiteX237" fmla="*/ 180147 w 252993"/>
                <a:gd name="connsiteY237" fmla="*/ 4334 h 176202"/>
                <a:gd name="connsiteX238" fmla="*/ 180984 w 252993"/>
                <a:gd name="connsiteY238" fmla="*/ 6115 h 176202"/>
                <a:gd name="connsiteX239" fmla="*/ 182804 w 252993"/>
                <a:gd name="connsiteY239" fmla="*/ 8630 h 176202"/>
                <a:gd name="connsiteX240" fmla="*/ 184718 w 252993"/>
                <a:gd name="connsiteY240" fmla="*/ 12144 h 176202"/>
                <a:gd name="connsiteX241" fmla="*/ 186833 w 252993"/>
                <a:gd name="connsiteY241" fmla="*/ 16821 h 176202"/>
                <a:gd name="connsiteX242" fmla="*/ 187290 w 252993"/>
                <a:gd name="connsiteY242" fmla="*/ 19174 h 176202"/>
                <a:gd name="connsiteX243" fmla="*/ 188090 w 252993"/>
                <a:gd name="connsiteY243" fmla="*/ 21727 h 176202"/>
                <a:gd name="connsiteX244" fmla="*/ 189662 w 252993"/>
                <a:gd name="connsiteY244" fmla="*/ 24822 h 176202"/>
                <a:gd name="connsiteX245" fmla="*/ 192662 w 252993"/>
                <a:gd name="connsiteY245" fmla="*/ 28251 h 176202"/>
                <a:gd name="connsiteX246" fmla="*/ 193081 w 252993"/>
                <a:gd name="connsiteY246" fmla="*/ 28889 h 176202"/>
                <a:gd name="connsiteX247" fmla="*/ 194443 w 252993"/>
                <a:gd name="connsiteY247" fmla="*/ 31299 h 176202"/>
                <a:gd name="connsiteX248" fmla="*/ 197072 w 252993"/>
                <a:gd name="connsiteY248" fmla="*/ 36624 h 176202"/>
                <a:gd name="connsiteX249" fmla="*/ 199273 w 252993"/>
                <a:gd name="connsiteY249" fmla="*/ 38748 h 176202"/>
                <a:gd name="connsiteX250" fmla="*/ 201187 w 252993"/>
                <a:gd name="connsiteY250" fmla="*/ 41062 h 176202"/>
                <a:gd name="connsiteX251" fmla="*/ 202111 w 252993"/>
                <a:gd name="connsiteY251" fmla="*/ 43386 h 176202"/>
                <a:gd name="connsiteX252" fmla="*/ 203482 w 252993"/>
                <a:gd name="connsiteY252" fmla="*/ 45491 h 176202"/>
                <a:gd name="connsiteX253" fmla="*/ 206702 w 252993"/>
                <a:gd name="connsiteY253" fmla="*/ 48282 h 176202"/>
                <a:gd name="connsiteX254" fmla="*/ 209312 w 252993"/>
                <a:gd name="connsiteY254" fmla="*/ 50816 h 176202"/>
                <a:gd name="connsiteX255" fmla="*/ 211398 w 252993"/>
                <a:gd name="connsiteY255" fmla="*/ 58083 h 176202"/>
                <a:gd name="connsiteX256" fmla="*/ 212855 w 252993"/>
                <a:gd name="connsiteY256" fmla="*/ 61417 h 176202"/>
                <a:gd name="connsiteX257" fmla="*/ 213789 w 252993"/>
                <a:gd name="connsiteY257" fmla="*/ 63960 h 176202"/>
                <a:gd name="connsiteX258" fmla="*/ 213341 w 252993"/>
                <a:gd name="connsiteY258" fmla="*/ 69104 h 176202"/>
                <a:gd name="connsiteX259" fmla="*/ 213922 w 252993"/>
                <a:gd name="connsiteY259" fmla="*/ 71304 h 176202"/>
                <a:gd name="connsiteX260" fmla="*/ 212731 w 252993"/>
                <a:gd name="connsiteY260" fmla="*/ 75314 h 176202"/>
                <a:gd name="connsiteX261" fmla="*/ 210579 w 252993"/>
                <a:gd name="connsiteY261" fmla="*/ 83353 h 176202"/>
                <a:gd name="connsiteX262" fmla="*/ 210055 w 252993"/>
                <a:gd name="connsiteY262" fmla="*/ 89735 h 176202"/>
                <a:gd name="connsiteX263" fmla="*/ 210426 w 252993"/>
                <a:gd name="connsiteY263" fmla="*/ 93164 h 176202"/>
                <a:gd name="connsiteX264" fmla="*/ 210474 w 252993"/>
                <a:gd name="connsiteY264" fmla="*/ 95364 h 176202"/>
                <a:gd name="connsiteX265" fmla="*/ 210998 w 252993"/>
                <a:gd name="connsiteY265" fmla="*/ 96764 h 176202"/>
                <a:gd name="connsiteX266" fmla="*/ 211569 w 252993"/>
                <a:gd name="connsiteY266" fmla="*/ 99660 h 176202"/>
                <a:gd name="connsiteX267" fmla="*/ 211655 w 252993"/>
                <a:gd name="connsiteY267" fmla="*/ 102175 h 176202"/>
                <a:gd name="connsiteX268" fmla="*/ 210884 w 252993"/>
                <a:gd name="connsiteY268" fmla="*/ 102889 h 176202"/>
                <a:gd name="connsiteX269" fmla="*/ 209807 w 252993"/>
                <a:gd name="connsiteY269" fmla="*/ 103489 h 176202"/>
                <a:gd name="connsiteX270" fmla="*/ 209388 w 252993"/>
                <a:gd name="connsiteY270" fmla="*/ 104013 h 176202"/>
                <a:gd name="connsiteX271" fmla="*/ 210378 w 252993"/>
                <a:gd name="connsiteY271" fmla="*/ 105146 h 176202"/>
                <a:gd name="connsiteX272" fmla="*/ 211731 w 252993"/>
                <a:gd name="connsiteY272" fmla="*/ 107251 h 176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252993" h="176202">
                  <a:moveTo>
                    <a:pt x="213065" y="109661"/>
                  </a:moveTo>
                  <a:lnTo>
                    <a:pt x="215884" y="113576"/>
                  </a:lnTo>
                  <a:lnTo>
                    <a:pt x="219456" y="115662"/>
                  </a:lnTo>
                  <a:lnTo>
                    <a:pt x="227724" y="117862"/>
                  </a:lnTo>
                  <a:lnTo>
                    <a:pt x="228467" y="117596"/>
                  </a:lnTo>
                  <a:lnTo>
                    <a:pt x="228543" y="117186"/>
                  </a:lnTo>
                  <a:lnTo>
                    <a:pt x="227972" y="116614"/>
                  </a:lnTo>
                  <a:lnTo>
                    <a:pt x="227886" y="115891"/>
                  </a:lnTo>
                  <a:lnTo>
                    <a:pt x="228285" y="114995"/>
                  </a:lnTo>
                  <a:lnTo>
                    <a:pt x="229428" y="114948"/>
                  </a:lnTo>
                  <a:lnTo>
                    <a:pt x="231296" y="115748"/>
                  </a:lnTo>
                  <a:lnTo>
                    <a:pt x="234858" y="114586"/>
                  </a:lnTo>
                  <a:lnTo>
                    <a:pt x="240097" y="111462"/>
                  </a:lnTo>
                  <a:lnTo>
                    <a:pt x="244916" y="110833"/>
                  </a:lnTo>
                  <a:lnTo>
                    <a:pt x="249298" y="112681"/>
                  </a:lnTo>
                  <a:lnTo>
                    <a:pt x="251546" y="114833"/>
                  </a:lnTo>
                  <a:lnTo>
                    <a:pt x="252993" y="116881"/>
                  </a:lnTo>
                  <a:lnTo>
                    <a:pt x="252536" y="119405"/>
                  </a:lnTo>
                  <a:lnTo>
                    <a:pt x="252260" y="120977"/>
                  </a:lnTo>
                  <a:lnTo>
                    <a:pt x="251107" y="127463"/>
                  </a:lnTo>
                  <a:lnTo>
                    <a:pt x="250307" y="129883"/>
                  </a:lnTo>
                  <a:lnTo>
                    <a:pt x="249021" y="132588"/>
                  </a:lnTo>
                  <a:lnTo>
                    <a:pt x="235411" y="135817"/>
                  </a:lnTo>
                  <a:lnTo>
                    <a:pt x="236287" y="134264"/>
                  </a:lnTo>
                  <a:lnTo>
                    <a:pt x="235972" y="131550"/>
                  </a:lnTo>
                  <a:lnTo>
                    <a:pt x="235401" y="129492"/>
                  </a:lnTo>
                  <a:lnTo>
                    <a:pt x="236668" y="127645"/>
                  </a:lnTo>
                  <a:lnTo>
                    <a:pt x="233610" y="126968"/>
                  </a:lnTo>
                  <a:lnTo>
                    <a:pt x="232267" y="127987"/>
                  </a:lnTo>
                  <a:lnTo>
                    <a:pt x="231220" y="129759"/>
                  </a:lnTo>
                  <a:lnTo>
                    <a:pt x="232143" y="133845"/>
                  </a:lnTo>
                  <a:lnTo>
                    <a:pt x="230657" y="136103"/>
                  </a:lnTo>
                  <a:lnTo>
                    <a:pt x="230086" y="137360"/>
                  </a:lnTo>
                  <a:lnTo>
                    <a:pt x="230019" y="140341"/>
                  </a:lnTo>
                  <a:lnTo>
                    <a:pt x="229134" y="141618"/>
                  </a:lnTo>
                  <a:lnTo>
                    <a:pt x="228962" y="143027"/>
                  </a:lnTo>
                  <a:lnTo>
                    <a:pt x="231134" y="142665"/>
                  </a:lnTo>
                  <a:lnTo>
                    <a:pt x="230153" y="145228"/>
                  </a:lnTo>
                  <a:lnTo>
                    <a:pt x="226076" y="150143"/>
                  </a:lnTo>
                  <a:lnTo>
                    <a:pt x="224647" y="153076"/>
                  </a:lnTo>
                  <a:lnTo>
                    <a:pt x="225000" y="164649"/>
                  </a:lnTo>
                  <a:lnTo>
                    <a:pt x="223181" y="171545"/>
                  </a:lnTo>
                  <a:lnTo>
                    <a:pt x="223038" y="173574"/>
                  </a:lnTo>
                  <a:lnTo>
                    <a:pt x="218713" y="173641"/>
                  </a:lnTo>
                  <a:lnTo>
                    <a:pt x="217418" y="173479"/>
                  </a:lnTo>
                  <a:lnTo>
                    <a:pt x="213322" y="172450"/>
                  </a:lnTo>
                  <a:lnTo>
                    <a:pt x="208722" y="170621"/>
                  </a:lnTo>
                  <a:lnTo>
                    <a:pt x="206026" y="167059"/>
                  </a:lnTo>
                  <a:lnTo>
                    <a:pt x="204301" y="164516"/>
                  </a:lnTo>
                  <a:lnTo>
                    <a:pt x="200396" y="165668"/>
                  </a:lnTo>
                  <a:lnTo>
                    <a:pt x="199663" y="165363"/>
                  </a:lnTo>
                  <a:lnTo>
                    <a:pt x="198587" y="164135"/>
                  </a:lnTo>
                  <a:lnTo>
                    <a:pt x="195653" y="163306"/>
                  </a:lnTo>
                  <a:lnTo>
                    <a:pt x="192024" y="163287"/>
                  </a:lnTo>
                  <a:lnTo>
                    <a:pt x="183880" y="158629"/>
                  </a:lnTo>
                  <a:lnTo>
                    <a:pt x="182985" y="157848"/>
                  </a:lnTo>
                  <a:lnTo>
                    <a:pt x="176584" y="158629"/>
                  </a:lnTo>
                  <a:lnTo>
                    <a:pt x="167002" y="160934"/>
                  </a:lnTo>
                  <a:lnTo>
                    <a:pt x="159696" y="163782"/>
                  </a:lnTo>
                  <a:lnTo>
                    <a:pt x="152143" y="168840"/>
                  </a:lnTo>
                  <a:lnTo>
                    <a:pt x="149085" y="172669"/>
                  </a:lnTo>
                  <a:lnTo>
                    <a:pt x="145532" y="174698"/>
                  </a:lnTo>
                  <a:lnTo>
                    <a:pt x="140484" y="176203"/>
                  </a:lnTo>
                  <a:lnTo>
                    <a:pt x="131464" y="175641"/>
                  </a:lnTo>
                  <a:lnTo>
                    <a:pt x="122063" y="173717"/>
                  </a:lnTo>
                  <a:lnTo>
                    <a:pt x="111976" y="171650"/>
                  </a:lnTo>
                  <a:lnTo>
                    <a:pt x="106518" y="172793"/>
                  </a:lnTo>
                  <a:lnTo>
                    <a:pt x="99146" y="171936"/>
                  </a:lnTo>
                  <a:lnTo>
                    <a:pt x="88021" y="169469"/>
                  </a:lnTo>
                  <a:lnTo>
                    <a:pt x="79734" y="168716"/>
                  </a:lnTo>
                  <a:lnTo>
                    <a:pt x="71561" y="170174"/>
                  </a:lnTo>
                  <a:lnTo>
                    <a:pt x="70190" y="169059"/>
                  </a:lnTo>
                  <a:lnTo>
                    <a:pt x="69895" y="167783"/>
                  </a:lnTo>
                  <a:lnTo>
                    <a:pt x="70209" y="165983"/>
                  </a:lnTo>
                  <a:lnTo>
                    <a:pt x="71361" y="164525"/>
                  </a:lnTo>
                  <a:lnTo>
                    <a:pt x="73343" y="163420"/>
                  </a:lnTo>
                  <a:lnTo>
                    <a:pt x="74381" y="162296"/>
                  </a:lnTo>
                  <a:lnTo>
                    <a:pt x="74495" y="161163"/>
                  </a:lnTo>
                  <a:lnTo>
                    <a:pt x="72276" y="159334"/>
                  </a:lnTo>
                  <a:lnTo>
                    <a:pt x="67723" y="156810"/>
                  </a:lnTo>
                  <a:lnTo>
                    <a:pt x="65847" y="155229"/>
                  </a:lnTo>
                  <a:lnTo>
                    <a:pt x="65389" y="154838"/>
                  </a:lnTo>
                  <a:lnTo>
                    <a:pt x="65265" y="153419"/>
                  </a:lnTo>
                  <a:lnTo>
                    <a:pt x="64322" y="152305"/>
                  </a:lnTo>
                  <a:lnTo>
                    <a:pt x="62551" y="151486"/>
                  </a:lnTo>
                  <a:lnTo>
                    <a:pt x="61189" y="150009"/>
                  </a:lnTo>
                  <a:lnTo>
                    <a:pt x="60217" y="147866"/>
                  </a:lnTo>
                  <a:lnTo>
                    <a:pt x="60427" y="145847"/>
                  </a:lnTo>
                  <a:lnTo>
                    <a:pt x="61808" y="143951"/>
                  </a:lnTo>
                  <a:lnTo>
                    <a:pt x="63579" y="143123"/>
                  </a:lnTo>
                  <a:lnTo>
                    <a:pt x="65732" y="143380"/>
                  </a:lnTo>
                  <a:lnTo>
                    <a:pt x="66627" y="142837"/>
                  </a:lnTo>
                  <a:lnTo>
                    <a:pt x="66266" y="141513"/>
                  </a:lnTo>
                  <a:lnTo>
                    <a:pt x="64161" y="139808"/>
                  </a:lnTo>
                  <a:lnTo>
                    <a:pt x="60303" y="137741"/>
                  </a:lnTo>
                  <a:lnTo>
                    <a:pt x="56379" y="138865"/>
                  </a:lnTo>
                  <a:lnTo>
                    <a:pt x="52368" y="143189"/>
                  </a:lnTo>
                  <a:lnTo>
                    <a:pt x="49492" y="143885"/>
                  </a:lnTo>
                  <a:lnTo>
                    <a:pt x="47720" y="140979"/>
                  </a:lnTo>
                  <a:lnTo>
                    <a:pt x="44577" y="139236"/>
                  </a:lnTo>
                  <a:lnTo>
                    <a:pt x="40053" y="138694"/>
                  </a:lnTo>
                  <a:lnTo>
                    <a:pt x="37272" y="137579"/>
                  </a:lnTo>
                  <a:lnTo>
                    <a:pt x="36233" y="135893"/>
                  </a:lnTo>
                  <a:lnTo>
                    <a:pt x="34252" y="134598"/>
                  </a:lnTo>
                  <a:lnTo>
                    <a:pt x="29889" y="133217"/>
                  </a:lnTo>
                  <a:lnTo>
                    <a:pt x="29832" y="131902"/>
                  </a:lnTo>
                  <a:lnTo>
                    <a:pt x="30537" y="131588"/>
                  </a:lnTo>
                  <a:lnTo>
                    <a:pt x="32090" y="131464"/>
                  </a:lnTo>
                  <a:lnTo>
                    <a:pt x="34166" y="131188"/>
                  </a:lnTo>
                  <a:lnTo>
                    <a:pt x="34500" y="130435"/>
                  </a:lnTo>
                  <a:lnTo>
                    <a:pt x="34519" y="129750"/>
                  </a:lnTo>
                  <a:lnTo>
                    <a:pt x="32881" y="128883"/>
                  </a:lnTo>
                  <a:lnTo>
                    <a:pt x="31232" y="128292"/>
                  </a:lnTo>
                  <a:lnTo>
                    <a:pt x="30366" y="127702"/>
                  </a:lnTo>
                  <a:lnTo>
                    <a:pt x="29813" y="127044"/>
                  </a:lnTo>
                  <a:lnTo>
                    <a:pt x="29699" y="126359"/>
                  </a:lnTo>
                  <a:lnTo>
                    <a:pt x="30185" y="125892"/>
                  </a:lnTo>
                  <a:lnTo>
                    <a:pt x="30852" y="125863"/>
                  </a:lnTo>
                  <a:lnTo>
                    <a:pt x="31509" y="125454"/>
                  </a:lnTo>
                  <a:lnTo>
                    <a:pt x="31880" y="123863"/>
                  </a:lnTo>
                  <a:lnTo>
                    <a:pt x="32775" y="122549"/>
                  </a:lnTo>
                  <a:lnTo>
                    <a:pt x="33414" y="122091"/>
                  </a:lnTo>
                  <a:lnTo>
                    <a:pt x="33376" y="121120"/>
                  </a:lnTo>
                  <a:lnTo>
                    <a:pt x="32709" y="120215"/>
                  </a:lnTo>
                  <a:lnTo>
                    <a:pt x="31804" y="119434"/>
                  </a:lnTo>
                  <a:lnTo>
                    <a:pt x="30470" y="118958"/>
                  </a:lnTo>
                  <a:lnTo>
                    <a:pt x="26318" y="117586"/>
                  </a:lnTo>
                  <a:lnTo>
                    <a:pt x="24222" y="115681"/>
                  </a:lnTo>
                  <a:lnTo>
                    <a:pt x="22936" y="115605"/>
                  </a:lnTo>
                  <a:lnTo>
                    <a:pt x="20907" y="114548"/>
                  </a:lnTo>
                  <a:lnTo>
                    <a:pt x="18717" y="112890"/>
                  </a:lnTo>
                  <a:lnTo>
                    <a:pt x="16812" y="110528"/>
                  </a:lnTo>
                  <a:lnTo>
                    <a:pt x="14764" y="108995"/>
                  </a:lnTo>
                  <a:lnTo>
                    <a:pt x="14231" y="108366"/>
                  </a:lnTo>
                  <a:lnTo>
                    <a:pt x="14183" y="107775"/>
                  </a:lnTo>
                  <a:lnTo>
                    <a:pt x="14564" y="107109"/>
                  </a:lnTo>
                  <a:lnTo>
                    <a:pt x="14544" y="106385"/>
                  </a:lnTo>
                  <a:lnTo>
                    <a:pt x="14011" y="104070"/>
                  </a:lnTo>
                  <a:lnTo>
                    <a:pt x="14374" y="101613"/>
                  </a:lnTo>
                  <a:lnTo>
                    <a:pt x="14278" y="99298"/>
                  </a:lnTo>
                  <a:lnTo>
                    <a:pt x="14250" y="98260"/>
                  </a:lnTo>
                  <a:lnTo>
                    <a:pt x="13849" y="97936"/>
                  </a:lnTo>
                  <a:lnTo>
                    <a:pt x="13497" y="98288"/>
                  </a:lnTo>
                  <a:lnTo>
                    <a:pt x="12992" y="98727"/>
                  </a:lnTo>
                  <a:lnTo>
                    <a:pt x="12497" y="98812"/>
                  </a:lnTo>
                  <a:lnTo>
                    <a:pt x="10982" y="97126"/>
                  </a:lnTo>
                  <a:lnTo>
                    <a:pt x="9068" y="93688"/>
                  </a:lnTo>
                  <a:lnTo>
                    <a:pt x="7772" y="92535"/>
                  </a:lnTo>
                  <a:lnTo>
                    <a:pt x="5249" y="90954"/>
                  </a:lnTo>
                  <a:lnTo>
                    <a:pt x="3115" y="89621"/>
                  </a:lnTo>
                  <a:lnTo>
                    <a:pt x="1591" y="86744"/>
                  </a:lnTo>
                  <a:lnTo>
                    <a:pt x="0" y="84515"/>
                  </a:lnTo>
                  <a:lnTo>
                    <a:pt x="1048" y="83582"/>
                  </a:lnTo>
                  <a:lnTo>
                    <a:pt x="7115" y="82267"/>
                  </a:lnTo>
                  <a:lnTo>
                    <a:pt x="9944" y="83553"/>
                  </a:lnTo>
                  <a:lnTo>
                    <a:pt x="11211" y="83087"/>
                  </a:lnTo>
                  <a:lnTo>
                    <a:pt x="12440" y="82048"/>
                  </a:lnTo>
                  <a:lnTo>
                    <a:pt x="13125" y="81210"/>
                  </a:lnTo>
                  <a:lnTo>
                    <a:pt x="13249" y="80324"/>
                  </a:lnTo>
                  <a:lnTo>
                    <a:pt x="13859" y="79219"/>
                  </a:lnTo>
                  <a:lnTo>
                    <a:pt x="15907" y="78695"/>
                  </a:lnTo>
                  <a:lnTo>
                    <a:pt x="21336" y="79372"/>
                  </a:lnTo>
                  <a:lnTo>
                    <a:pt x="23517" y="77819"/>
                  </a:lnTo>
                  <a:lnTo>
                    <a:pt x="24327" y="76981"/>
                  </a:lnTo>
                  <a:lnTo>
                    <a:pt x="24822" y="75114"/>
                  </a:lnTo>
                  <a:lnTo>
                    <a:pt x="25394" y="73609"/>
                  </a:lnTo>
                  <a:lnTo>
                    <a:pt x="27337" y="72809"/>
                  </a:lnTo>
                  <a:lnTo>
                    <a:pt x="27308" y="71438"/>
                  </a:lnTo>
                  <a:lnTo>
                    <a:pt x="27013" y="69952"/>
                  </a:lnTo>
                  <a:lnTo>
                    <a:pt x="28137" y="66608"/>
                  </a:lnTo>
                  <a:lnTo>
                    <a:pt x="28823" y="65237"/>
                  </a:lnTo>
                  <a:lnTo>
                    <a:pt x="29928" y="64741"/>
                  </a:lnTo>
                  <a:lnTo>
                    <a:pt x="31252" y="63684"/>
                  </a:lnTo>
                  <a:lnTo>
                    <a:pt x="33557" y="61493"/>
                  </a:lnTo>
                  <a:lnTo>
                    <a:pt x="33023" y="59588"/>
                  </a:lnTo>
                  <a:lnTo>
                    <a:pt x="33481" y="58169"/>
                  </a:lnTo>
                  <a:lnTo>
                    <a:pt x="35881" y="54721"/>
                  </a:lnTo>
                  <a:lnTo>
                    <a:pt x="37709" y="51387"/>
                  </a:lnTo>
                  <a:lnTo>
                    <a:pt x="37681" y="49711"/>
                  </a:lnTo>
                  <a:lnTo>
                    <a:pt x="37948" y="48253"/>
                  </a:lnTo>
                  <a:lnTo>
                    <a:pt x="39567" y="46653"/>
                  </a:lnTo>
                  <a:lnTo>
                    <a:pt x="41263" y="44567"/>
                  </a:lnTo>
                  <a:lnTo>
                    <a:pt x="43501" y="38033"/>
                  </a:lnTo>
                  <a:lnTo>
                    <a:pt x="44310" y="36938"/>
                  </a:lnTo>
                  <a:lnTo>
                    <a:pt x="45777" y="35690"/>
                  </a:lnTo>
                  <a:lnTo>
                    <a:pt x="46873" y="34452"/>
                  </a:lnTo>
                  <a:lnTo>
                    <a:pt x="46987" y="30147"/>
                  </a:lnTo>
                  <a:lnTo>
                    <a:pt x="48016" y="28899"/>
                  </a:lnTo>
                  <a:lnTo>
                    <a:pt x="49987" y="27499"/>
                  </a:lnTo>
                  <a:lnTo>
                    <a:pt x="51949" y="25251"/>
                  </a:lnTo>
                  <a:lnTo>
                    <a:pt x="53540" y="22584"/>
                  </a:lnTo>
                  <a:lnTo>
                    <a:pt x="54769" y="21336"/>
                  </a:lnTo>
                  <a:lnTo>
                    <a:pt x="56398" y="21002"/>
                  </a:lnTo>
                  <a:lnTo>
                    <a:pt x="58160" y="19955"/>
                  </a:lnTo>
                  <a:lnTo>
                    <a:pt x="60131" y="19564"/>
                  </a:lnTo>
                  <a:lnTo>
                    <a:pt x="62046" y="20079"/>
                  </a:lnTo>
                  <a:lnTo>
                    <a:pt x="63255" y="19812"/>
                  </a:lnTo>
                  <a:lnTo>
                    <a:pt x="65094" y="18517"/>
                  </a:lnTo>
                  <a:lnTo>
                    <a:pt x="69771" y="13602"/>
                  </a:lnTo>
                  <a:lnTo>
                    <a:pt x="70428" y="12620"/>
                  </a:lnTo>
                  <a:lnTo>
                    <a:pt x="71400" y="11944"/>
                  </a:lnTo>
                  <a:lnTo>
                    <a:pt x="75190" y="10258"/>
                  </a:lnTo>
                  <a:lnTo>
                    <a:pt x="76152" y="8563"/>
                  </a:lnTo>
                  <a:lnTo>
                    <a:pt x="77457" y="7039"/>
                  </a:lnTo>
                  <a:lnTo>
                    <a:pt x="79143" y="7153"/>
                  </a:lnTo>
                  <a:lnTo>
                    <a:pt x="84649" y="10925"/>
                  </a:lnTo>
                  <a:lnTo>
                    <a:pt x="90535" y="10687"/>
                  </a:lnTo>
                  <a:lnTo>
                    <a:pt x="91611" y="10830"/>
                  </a:lnTo>
                  <a:lnTo>
                    <a:pt x="91964" y="10906"/>
                  </a:lnTo>
                  <a:lnTo>
                    <a:pt x="92688" y="11211"/>
                  </a:lnTo>
                  <a:lnTo>
                    <a:pt x="100517" y="13078"/>
                  </a:lnTo>
                  <a:lnTo>
                    <a:pt x="101727" y="12868"/>
                  </a:lnTo>
                  <a:lnTo>
                    <a:pt x="102061" y="12725"/>
                  </a:lnTo>
                  <a:lnTo>
                    <a:pt x="105213" y="14259"/>
                  </a:lnTo>
                  <a:lnTo>
                    <a:pt x="108004" y="14059"/>
                  </a:lnTo>
                  <a:lnTo>
                    <a:pt x="110652" y="12992"/>
                  </a:lnTo>
                  <a:lnTo>
                    <a:pt x="113405" y="12630"/>
                  </a:lnTo>
                  <a:lnTo>
                    <a:pt x="115938" y="13268"/>
                  </a:lnTo>
                  <a:lnTo>
                    <a:pt x="117863" y="15430"/>
                  </a:lnTo>
                  <a:lnTo>
                    <a:pt x="122863" y="20021"/>
                  </a:lnTo>
                  <a:lnTo>
                    <a:pt x="124349" y="21736"/>
                  </a:lnTo>
                  <a:lnTo>
                    <a:pt x="126635" y="21479"/>
                  </a:lnTo>
                  <a:lnTo>
                    <a:pt x="129168" y="20622"/>
                  </a:lnTo>
                  <a:lnTo>
                    <a:pt x="131731" y="17564"/>
                  </a:lnTo>
                  <a:lnTo>
                    <a:pt x="139608" y="14078"/>
                  </a:lnTo>
                  <a:lnTo>
                    <a:pt x="145618" y="13211"/>
                  </a:lnTo>
                  <a:lnTo>
                    <a:pt x="151486" y="11811"/>
                  </a:lnTo>
                  <a:lnTo>
                    <a:pt x="158277" y="10820"/>
                  </a:lnTo>
                  <a:lnTo>
                    <a:pt x="160239" y="7963"/>
                  </a:lnTo>
                  <a:lnTo>
                    <a:pt x="161325" y="6010"/>
                  </a:lnTo>
                  <a:lnTo>
                    <a:pt x="162097" y="2391"/>
                  </a:lnTo>
                  <a:lnTo>
                    <a:pt x="165754" y="1343"/>
                  </a:lnTo>
                  <a:lnTo>
                    <a:pt x="169231" y="600"/>
                  </a:lnTo>
                  <a:lnTo>
                    <a:pt x="170469" y="143"/>
                  </a:lnTo>
                  <a:lnTo>
                    <a:pt x="173003" y="0"/>
                  </a:lnTo>
                  <a:lnTo>
                    <a:pt x="174974" y="305"/>
                  </a:lnTo>
                  <a:lnTo>
                    <a:pt x="178013" y="2096"/>
                  </a:lnTo>
                  <a:lnTo>
                    <a:pt x="180147" y="4334"/>
                  </a:lnTo>
                  <a:lnTo>
                    <a:pt x="180984" y="6115"/>
                  </a:lnTo>
                  <a:lnTo>
                    <a:pt x="182804" y="8630"/>
                  </a:lnTo>
                  <a:lnTo>
                    <a:pt x="184718" y="12144"/>
                  </a:lnTo>
                  <a:lnTo>
                    <a:pt x="186833" y="16821"/>
                  </a:lnTo>
                  <a:lnTo>
                    <a:pt x="187290" y="19174"/>
                  </a:lnTo>
                  <a:lnTo>
                    <a:pt x="188090" y="21727"/>
                  </a:lnTo>
                  <a:lnTo>
                    <a:pt x="189662" y="24822"/>
                  </a:lnTo>
                  <a:lnTo>
                    <a:pt x="192662" y="28251"/>
                  </a:lnTo>
                  <a:lnTo>
                    <a:pt x="193081" y="28889"/>
                  </a:lnTo>
                  <a:lnTo>
                    <a:pt x="194443" y="31299"/>
                  </a:lnTo>
                  <a:lnTo>
                    <a:pt x="197072" y="36624"/>
                  </a:lnTo>
                  <a:lnTo>
                    <a:pt x="199273" y="38748"/>
                  </a:lnTo>
                  <a:lnTo>
                    <a:pt x="201187" y="41062"/>
                  </a:lnTo>
                  <a:lnTo>
                    <a:pt x="202111" y="43386"/>
                  </a:lnTo>
                  <a:lnTo>
                    <a:pt x="203482" y="45491"/>
                  </a:lnTo>
                  <a:lnTo>
                    <a:pt x="206702" y="48282"/>
                  </a:lnTo>
                  <a:lnTo>
                    <a:pt x="209312" y="50816"/>
                  </a:lnTo>
                  <a:lnTo>
                    <a:pt x="211398" y="58083"/>
                  </a:lnTo>
                  <a:lnTo>
                    <a:pt x="212855" y="61417"/>
                  </a:lnTo>
                  <a:lnTo>
                    <a:pt x="213789" y="63960"/>
                  </a:lnTo>
                  <a:lnTo>
                    <a:pt x="213341" y="69104"/>
                  </a:lnTo>
                  <a:lnTo>
                    <a:pt x="213922" y="71304"/>
                  </a:lnTo>
                  <a:lnTo>
                    <a:pt x="212731" y="75314"/>
                  </a:lnTo>
                  <a:lnTo>
                    <a:pt x="210579" y="83353"/>
                  </a:lnTo>
                  <a:lnTo>
                    <a:pt x="210055" y="89735"/>
                  </a:lnTo>
                  <a:lnTo>
                    <a:pt x="210426" y="93164"/>
                  </a:lnTo>
                  <a:lnTo>
                    <a:pt x="210474" y="95364"/>
                  </a:lnTo>
                  <a:lnTo>
                    <a:pt x="210998" y="96764"/>
                  </a:lnTo>
                  <a:lnTo>
                    <a:pt x="211569" y="99660"/>
                  </a:lnTo>
                  <a:lnTo>
                    <a:pt x="211655" y="102175"/>
                  </a:lnTo>
                  <a:lnTo>
                    <a:pt x="210884" y="102889"/>
                  </a:lnTo>
                  <a:lnTo>
                    <a:pt x="209807" y="103489"/>
                  </a:lnTo>
                  <a:lnTo>
                    <a:pt x="209388" y="104013"/>
                  </a:lnTo>
                  <a:lnTo>
                    <a:pt x="210378" y="105146"/>
                  </a:lnTo>
                  <a:lnTo>
                    <a:pt x="211731" y="107251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61" name="Forme libre : forme 47">
              <a:extLst>
                <a:ext uri="{FF2B5EF4-FFF2-40B4-BE49-F238E27FC236}">
                  <a16:creationId xmlns:a16="http://schemas.microsoft.com/office/drawing/2014/main" id="{C2991B28-035B-5EE9-624E-B7CF68FC8625}"/>
                </a:ext>
              </a:extLst>
            </p:cNvPr>
            <p:cNvSpPr/>
            <p:nvPr/>
          </p:nvSpPr>
          <p:spPr>
            <a:xfrm>
              <a:off x="6538743" y="4849017"/>
              <a:ext cx="288350" cy="366346"/>
            </a:xfrm>
            <a:custGeom>
              <a:avLst/>
              <a:gdLst>
                <a:gd name="connsiteX0" fmla="*/ 23670 w 110614"/>
                <a:gd name="connsiteY0" fmla="*/ 667 h 146027"/>
                <a:gd name="connsiteX1" fmla="*/ 26880 w 110614"/>
                <a:gd name="connsiteY1" fmla="*/ 895 h 146027"/>
                <a:gd name="connsiteX2" fmla="*/ 29280 w 110614"/>
                <a:gd name="connsiteY2" fmla="*/ 295 h 146027"/>
                <a:gd name="connsiteX3" fmla="*/ 35347 w 110614"/>
                <a:gd name="connsiteY3" fmla="*/ 1057 h 146027"/>
                <a:gd name="connsiteX4" fmla="*/ 36652 w 110614"/>
                <a:gd name="connsiteY4" fmla="*/ 1657 h 146027"/>
                <a:gd name="connsiteX5" fmla="*/ 37500 w 110614"/>
                <a:gd name="connsiteY5" fmla="*/ 2334 h 146027"/>
                <a:gd name="connsiteX6" fmla="*/ 39091 w 110614"/>
                <a:gd name="connsiteY6" fmla="*/ 4563 h 146027"/>
                <a:gd name="connsiteX7" fmla="*/ 40615 w 110614"/>
                <a:gd name="connsiteY7" fmla="*/ 7439 h 146027"/>
                <a:gd name="connsiteX8" fmla="*/ 42749 w 110614"/>
                <a:gd name="connsiteY8" fmla="*/ 8772 h 146027"/>
                <a:gd name="connsiteX9" fmla="*/ 45272 w 110614"/>
                <a:gd name="connsiteY9" fmla="*/ 10354 h 146027"/>
                <a:gd name="connsiteX10" fmla="*/ 46568 w 110614"/>
                <a:gd name="connsiteY10" fmla="*/ 11506 h 146027"/>
                <a:gd name="connsiteX11" fmla="*/ 48483 w 110614"/>
                <a:gd name="connsiteY11" fmla="*/ 14945 h 146027"/>
                <a:gd name="connsiteX12" fmla="*/ 49997 w 110614"/>
                <a:gd name="connsiteY12" fmla="*/ 16631 h 146027"/>
                <a:gd name="connsiteX13" fmla="*/ 50492 w 110614"/>
                <a:gd name="connsiteY13" fmla="*/ 16545 h 146027"/>
                <a:gd name="connsiteX14" fmla="*/ 50997 w 110614"/>
                <a:gd name="connsiteY14" fmla="*/ 16107 h 146027"/>
                <a:gd name="connsiteX15" fmla="*/ 51349 w 110614"/>
                <a:gd name="connsiteY15" fmla="*/ 15754 h 146027"/>
                <a:gd name="connsiteX16" fmla="*/ 51750 w 110614"/>
                <a:gd name="connsiteY16" fmla="*/ 16078 h 146027"/>
                <a:gd name="connsiteX17" fmla="*/ 51778 w 110614"/>
                <a:gd name="connsiteY17" fmla="*/ 17116 h 146027"/>
                <a:gd name="connsiteX18" fmla="*/ 51874 w 110614"/>
                <a:gd name="connsiteY18" fmla="*/ 19431 h 146027"/>
                <a:gd name="connsiteX19" fmla="*/ 51511 w 110614"/>
                <a:gd name="connsiteY19" fmla="*/ 21888 h 146027"/>
                <a:gd name="connsiteX20" fmla="*/ 52044 w 110614"/>
                <a:gd name="connsiteY20" fmla="*/ 24203 h 146027"/>
                <a:gd name="connsiteX21" fmla="*/ 52064 w 110614"/>
                <a:gd name="connsiteY21" fmla="*/ 24927 h 146027"/>
                <a:gd name="connsiteX22" fmla="*/ 51683 w 110614"/>
                <a:gd name="connsiteY22" fmla="*/ 25594 h 146027"/>
                <a:gd name="connsiteX23" fmla="*/ 51731 w 110614"/>
                <a:gd name="connsiteY23" fmla="*/ 26184 h 146027"/>
                <a:gd name="connsiteX24" fmla="*/ 52264 w 110614"/>
                <a:gd name="connsiteY24" fmla="*/ 26813 h 146027"/>
                <a:gd name="connsiteX25" fmla="*/ 54312 w 110614"/>
                <a:gd name="connsiteY25" fmla="*/ 28347 h 146027"/>
                <a:gd name="connsiteX26" fmla="*/ 56217 w 110614"/>
                <a:gd name="connsiteY26" fmla="*/ 30709 h 146027"/>
                <a:gd name="connsiteX27" fmla="*/ 58407 w 110614"/>
                <a:gd name="connsiteY27" fmla="*/ 32366 h 146027"/>
                <a:gd name="connsiteX28" fmla="*/ 60436 w 110614"/>
                <a:gd name="connsiteY28" fmla="*/ 33423 h 146027"/>
                <a:gd name="connsiteX29" fmla="*/ 61722 w 110614"/>
                <a:gd name="connsiteY29" fmla="*/ 33499 h 146027"/>
                <a:gd name="connsiteX30" fmla="*/ 63818 w 110614"/>
                <a:gd name="connsiteY30" fmla="*/ 35405 h 146027"/>
                <a:gd name="connsiteX31" fmla="*/ 67970 w 110614"/>
                <a:gd name="connsiteY31" fmla="*/ 36776 h 146027"/>
                <a:gd name="connsiteX32" fmla="*/ 69304 w 110614"/>
                <a:gd name="connsiteY32" fmla="*/ 37252 h 146027"/>
                <a:gd name="connsiteX33" fmla="*/ 70209 w 110614"/>
                <a:gd name="connsiteY33" fmla="*/ 38033 h 146027"/>
                <a:gd name="connsiteX34" fmla="*/ 70876 w 110614"/>
                <a:gd name="connsiteY34" fmla="*/ 38938 h 146027"/>
                <a:gd name="connsiteX35" fmla="*/ 70914 w 110614"/>
                <a:gd name="connsiteY35" fmla="*/ 39910 h 146027"/>
                <a:gd name="connsiteX36" fmla="*/ 70275 w 110614"/>
                <a:gd name="connsiteY36" fmla="*/ 40367 h 146027"/>
                <a:gd name="connsiteX37" fmla="*/ 69380 w 110614"/>
                <a:gd name="connsiteY37" fmla="*/ 41681 h 146027"/>
                <a:gd name="connsiteX38" fmla="*/ 69009 w 110614"/>
                <a:gd name="connsiteY38" fmla="*/ 43272 h 146027"/>
                <a:gd name="connsiteX39" fmla="*/ 68352 w 110614"/>
                <a:gd name="connsiteY39" fmla="*/ 43682 h 146027"/>
                <a:gd name="connsiteX40" fmla="*/ 67685 w 110614"/>
                <a:gd name="connsiteY40" fmla="*/ 43710 h 146027"/>
                <a:gd name="connsiteX41" fmla="*/ 67199 w 110614"/>
                <a:gd name="connsiteY41" fmla="*/ 44177 h 146027"/>
                <a:gd name="connsiteX42" fmla="*/ 67313 w 110614"/>
                <a:gd name="connsiteY42" fmla="*/ 44863 h 146027"/>
                <a:gd name="connsiteX43" fmla="*/ 67866 w 110614"/>
                <a:gd name="connsiteY43" fmla="*/ 45520 h 146027"/>
                <a:gd name="connsiteX44" fmla="*/ 68732 w 110614"/>
                <a:gd name="connsiteY44" fmla="*/ 46111 h 146027"/>
                <a:gd name="connsiteX45" fmla="*/ 70381 w 110614"/>
                <a:gd name="connsiteY45" fmla="*/ 46701 h 146027"/>
                <a:gd name="connsiteX46" fmla="*/ 72019 w 110614"/>
                <a:gd name="connsiteY46" fmla="*/ 47568 h 146027"/>
                <a:gd name="connsiteX47" fmla="*/ 72000 w 110614"/>
                <a:gd name="connsiteY47" fmla="*/ 48254 h 146027"/>
                <a:gd name="connsiteX48" fmla="*/ 71666 w 110614"/>
                <a:gd name="connsiteY48" fmla="*/ 49006 h 146027"/>
                <a:gd name="connsiteX49" fmla="*/ 69590 w 110614"/>
                <a:gd name="connsiteY49" fmla="*/ 49282 h 146027"/>
                <a:gd name="connsiteX50" fmla="*/ 68037 w 110614"/>
                <a:gd name="connsiteY50" fmla="*/ 49406 h 146027"/>
                <a:gd name="connsiteX51" fmla="*/ 67333 w 110614"/>
                <a:gd name="connsiteY51" fmla="*/ 49721 h 146027"/>
                <a:gd name="connsiteX52" fmla="*/ 67389 w 110614"/>
                <a:gd name="connsiteY52" fmla="*/ 51035 h 146027"/>
                <a:gd name="connsiteX53" fmla="*/ 71752 w 110614"/>
                <a:gd name="connsiteY53" fmla="*/ 52416 h 146027"/>
                <a:gd name="connsiteX54" fmla="*/ 73733 w 110614"/>
                <a:gd name="connsiteY54" fmla="*/ 53712 h 146027"/>
                <a:gd name="connsiteX55" fmla="*/ 74772 w 110614"/>
                <a:gd name="connsiteY55" fmla="*/ 55397 h 146027"/>
                <a:gd name="connsiteX56" fmla="*/ 77553 w 110614"/>
                <a:gd name="connsiteY56" fmla="*/ 56512 h 146027"/>
                <a:gd name="connsiteX57" fmla="*/ 82077 w 110614"/>
                <a:gd name="connsiteY57" fmla="*/ 57055 h 146027"/>
                <a:gd name="connsiteX58" fmla="*/ 85220 w 110614"/>
                <a:gd name="connsiteY58" fmla="*/ 58798 h 146027"/>
                <a:gd name="connsiteX59" fmla="*/ 86992 w 110614"/>
                <a:gd name="connsiteY59" fmla="*/ 61703 h 146027"/>
                <a:gd name="connsiteX60" fmla="*/ 89868 w 110614"/>
                <a:gd name="connsiteY60" fmla="*/ 61008 h 146027"/>
                <a:gd name="connsiteX61" fmla="*/ 93879 w 110614"/>
                <a:gd name="connsiteY61" fmla="*/ 56683 h 146027"/>
                <a:gd name="connsiteX62" fmla="*/ 97803 w 110614"/>
                <a:gd name="connsiteY62" fmla="*/ 55559 h 146027"/>
                <a:gd name="connsiteX63" fmla="*/ 101661 w 110614"/>
                <a:gd name="connsiteY63" fmla="*/ 57626 h 146027"/>
                <a:gd name="connsiteX64" fmla="*/ 103766 w 110614"/>
                <a:gd name="connsiteY64" fmla="*/ 59331 h 146027"/>
                <a:gd name="connsiteX65" fmla="*/ 104127 w 110614"/>
                <a:gd name="connsiteY65" fmla="*/ 60655 h 146027"/>
                <a:gd name="connsiteX66" fmla="*/ 103232 w 110614"/>
                <a:gd name="connsiteY66" fmla="*/ 61198 h 146027"/>
                <a:gd name="connsiteX67" fmla="*/ 101079 w 110614"/>
                <a:gd name="connsiteY67" fmla="*/ 60941 h 146027"/>
                <a:gd name="connsiteX68" fmla="*/ 99308 w 110614"/>
                <a:gd name="connsiteY68" fmla="*/ 61770 h 146027"/>
                <a:gd name="connsiteX69" fmla="*/ 97927 w 110614"/>
                <a:gd name="connsiteY69" fmla="*/ 63665 h 146027"/>
                <a:gd name="connsiteX70" fmla="*/ 97717 w 110614"/>
                <a:gd name="connsiteY70" fmla="*/ 65684 h 146027"/>
                <a:gd name="connsiteX71" fmla="*/ 98689 w 110614"/>
                <a:gd name="connsiteY71" fmla="*/ 67828 h 146027"/>
                <a:gd name="connsiteX72" fmla="*/ 100051 w 110614"/>
                <a:gd name="connsiteY72" fmla="*/ 69304 h 146027"/>
                <a:gd name="connsiteX73" fmla="*/ 101822 w 110614"/>
                <a:gd name="connsiteY73" fmla="*/ 70123 h 146027"/>
                <a:gd name="connsiteX74" fmla="*/ 102765 w 110614"/>
                <a:gd name="connsiteY74" fmla="*/ 71238 h 146027"/>
                <a:gd name="connsiteX75" fmla="*/ 102889 w 110614"/>
                <a:gd name="connsiteY75" fmla="*/ 72657 h 146027"/>
                <a:gd name="connsiteX76" fmla="*/ 103347 w 110614"/>
                <a:gd name="connsiteY76" fmla="*/ 73047 h 146027"/>
                <a:gd name="connsiteX77" fmla="*/ 102337 w 110614"/>
                <a:gd name="connsiteY77" fmla="*/ 73695 h 146027"/>
                <a:gd name="connsiteX78" fmla="*/ 101251 w 110614"/>
                <a:gd name="connsiteY78" fmla="*/ 74666 h 146027"/>
                <a:gd name="connsiteX79" fmla="*/ 100632 w 110614"/>
                <a:gd name="connsiteY79" fmla="*/ 76362 h 146027"/>
                <a:gd name="connsiteX80" fmla="*/ 100470 w 110614"/>
                <a:gd name="connsiteY80" fmla="*/ 79077 h 146027"/>
                <a:gd name="connsiteX81" fmla="*/ 97041 w 110614"/>
                <a:gd name="connsiteY81" fmla="*/ 81201 h 146027"/>
                <a:gd name="connsiteX82" fmla="*/ 95755 w 110614"/>
                <a:gd name="connsiteY82" fmla="*/ 81591 h 146027"/>
                <a:gd name="connsiteX83" fmla="*/ 95174 w 110614"/>
                <a:gd name="connsiteY83" fmla="*/ 83001 h 146027"/>
                <a:gd name="connsiteX84" fmla="*/ 94269 w 110614"/>
                <a:gd name="connsiteY84" fmla="*/ 86973 h 146027"/>
                <a:gd name="connsiteX85" fmla="*/ 94374 w 110614"/>
                <a:gd name="connsiteY85" fmla="*/ 89954 h 146027"/>
                <a:gd name="connsiteX86" fmla="*/ 94841 w 110614"/>
                <a:gd name="connsiteY86" fmla="*/ 91469 h 146027"/>
                <a:gd name="connsiteX87" fmla="*/ 95050 w 110614"/>
                <a:gd name="connsiteY87" fmla="*/ 92707 h 146027"/>
                <a:gd name="connsiteX88" fmla="*/ 96164 w 110614"/>
                <a:gd name="connsiteY88" fmla="*/ 94221 h 146027"/>
                <a:gd name="connsiteX89" fmla="*/ 97174 w 110614"/>
                <a:gd name="connsiteY89" fmla="*/ 96546 h 146027"/>
                <a:gd name="connsiteX90" fmla="*/ 97841 w 110614"/>
                <a:gd name="connsiteY90" fmla="*/ 99613 h 146027"/>
                <a:gd name="connsiteX91" fmla="*/ 99327 w 110614"/>
                <a:gd name="connsiteY91" fmla="*/ 101975 h 146027"/>
                <a:gd name="connsiteX92" fmla="*/ 103127 w 110614"/>
                <a:gd name="connsiteY92" fmla="*/ 104299 h 146027"/>
                <a:gd name="connsiteX93" fmla="*/ 105013 w 110614"/>
                <a:gd name="connsiteY93" fmla="*/ 105651 h 146027"/>
                <a:gd name="connsiteX94" fmla="*/ 106413 w 110614"/>
                <a:gd name="connsiteY94" fmla="*/ 107613 h 146027"/>
                <a:gd name="connsiteX95" fmla="*/ 107480 w 110614"/>
                <a:gd name="connsiteY95" fmla="*/ 109385 h 146027"/>
                <a:gd name="connsiteX96" fmla="*/ 110614 w 110614"/>
                <a:gd name="connsiteY96" fmla="*/ 111738 h 146027"/>
                <a:gd name="connsiteX97" fmla="*/ 110376 w 110614"/>
                <a:gd name="connsiteY97" fmla="*/ 113414 h 146027"/>
                <a:gd name="connsiteX98" fmla="*/ 109690 w 110614"/>
                <a:gd name="connsiteY98" fmla="*/ 115053 h 146027"/>
                <a:gd name="connsiteX99" fmla="*/ 108966 w 110614"/>
                <a:gd name="connsiteY99" fmla="*/ 115824 h 146027"/>
                <a:gd name="connsiteX100" fmla="*/ 107404 w 110614"/>
                <a:gd name="connsiteY100" fmla="*/ 117929 h 146027"/>
                <a:gd name="connsiteX101" fmla="*/ 105880 w 110614"/>
                <a:gd name="connsiteY101" fmla="*/ 119110 h 146027"/>
                <a:gd name="connsiteX102" fmla="*/ 103375 w 110614"/>
                <a:gd name="connsiteY102" fmla="*/ 122815 h 146027"/>
                <a:gd name="connsiteX103" fmla="*/ 99422 w 110614"/>
                <a:gd name="connsiteY103" fmla="*/ 123015 h 146027"/>
                <a:gd name="connsiteX104" fmla="*/ 98479 w 110614"/>
                <a:gd name="connsiteY104" fmla="*/ 123311 h 146027"/>
                <a:gd name="connsiteX105" fmla="*/ 96974 w 110614"/>
                <a:gd name="connsiteY105" fmla="*/ 124320 h 146027"/>
                <a:gd name="connsiteX106" fmla="*/ 96241 w 110614"/>
                <a:gd name="connsiteY106" fmla="*/ 126168 h 146027"/>
                <a:gd name="connsiteX107" fmla="*/ 96946 w 110614"/>
                <a:gd name="connsiteY107" fmla="*/ 127654 h 146027"/>
                <a:gd name="connsiteX108" fmla="*/ 96879 w 110614"/>
                <a:gd name="connsiteY108" fmla="*/ 129149 h 146027"/>
                <a:gd name="connsiteX109" fmla="*/ 96164 w 110614"/>
                <a:gd name="connsiteY109" fmla="*/ 132055 h 146027"/>
                <a:gd name="connsiteX110" fmla="*/ 97117 w 110614"/>
                <a:gd name="connsiteY110" fmla="*/ 135169 h 146027"/>
                <a:gd name="connsiteX111" fmla="*/ 98517 w 110614"/>
                <a:gd name="connsiteY111" fmla="*/ 136588 h 146027"/>
                <a:gd name="connsiteX112" fmla="*/ 98736 w 110614"/>
                <a:gd name="connsiteY112" fmla="*/ 137408 h 146027"/>
                <a:gd name="connsiteX113" fmla="*/ 98498 w 110614"/>
                <a:gd name="connsiteY113" fmla="*/ 138855 h 146027"/>
                <a:gd name="connsiteX114" fmla="*/ 96412 w 110614"/>
                <a:gd name="connsiteY114" fmla="*/ 141808 h 146027"/>
                <a:gd name="connsiteX115" fmla="*/ 95784 w 110614"/>
                <a:gd name="connsiteY115" fmla="*/ 142903 h 146027"/>
                <a:gd name="connsiteX116" fmla="*/ 93698 w 110614"/>
                <a:gd name="connsiteY116" fmla="*/ 143437 h 146027"/>
                <a:gd name="connsiteX117" fmla="*/ 92983 w 110614"/>
                <a:gd name="connsiteY117" fmla="*/ 143161 h 146027"/>
                <a:gd name="connsiteX118" fmla="*/ 91907 w 110614"/>
                <a:gd name="connsiteY118" fmla="*/ 142151 h 146027"/>
                <a:gd name="connsiteX119" fmla="*/ 90907 w 110614"/>
                <a:gd name="connsiteY119" fmla="*/ 141846 h 146027"/>
                <a:gd name="connsiteX120" fmla="*/ 88421 w 110614"/>
                <a:gd name="connsiteY120" fmla="*/ 143037 h 146027"/>
                <a:gd name="connsiteX121" fmla="*/ 85887 w 110614"/>
                <a:gd name="connsiteY121" fmla="*/ 143770 h 146027"/>
                <a:gd name="connsiteX122" fmla="*/ 83897 w 110614"/>
                <a:gd name="connsiteY122" fmla="*/ 143218 h 146027"/>
                <a:gd name="connsiteX123" fmla="*/ 81934 w 110614"/>
                <a:gd name="connsiteY123" fmla="*/ 143151 h 146027"/>
                <a:gd name="connsiteX124" fmla="*/ 80572 w 110614"/>
                <a:gd name="connsiteY124" fmla="*/ 143637 h 146027"/>
                <a:gd name="connsiteX125" fmla="*/ 79543 w 110614"/>
                <a:gd name="connsiteY125" fmla="*/ 143828 h 146027"/>
                <a:gd name="connsiteX126" fmla="*/ 77524 w 110614"/>
                <a:gd name="connsiteY126" fmla="*/ 145104 h 146027"/>
                <a:gd name="connsiteX127" fmla="*/ 74295 w 110614"/>
                <a:gd name="connsiteY127" fmla="*/ 146028 h 146027"/>
                <a:gd name="connsiteX128" fmla="*/ 72800 w 110614"/>
                <a:gd name="connsiteY128" fmla="*/ 145828 h 146027"/>
                <a:gd name="connsiteX129" fmla="*/ 72247 w 110614"/>
                <a:gd name="connsiteY129" fmla="*/ 144628 h 146027"/>
                <a:gd name="connsiteX130" fmla="*/ 71637 w 110614"/>
                <a:gd name="connsiteY130" fmla="*/ 142923 h 146027"/>
                <a:gd name="connsiteX131" fmla="*/ 71933 w 110614"/>
                <a:gd name="connsiteY131" fmla="*/ 142142 h 146027"/>
                <a:gd name="connsiteX132" fmla="*/ 74076 w 110614"/>
                <a:gd name="connsiteY132" fmla="*/ 140789 h 146027"/>
                <a:gd name="connsiteX133" fmla="*/ 74314 w 110614"/>
                <a:gd name="connsiteY133" fmla="*/ 139503 h 146027"/>
                <a:gd name="connsiteX134" fmla="*/ 77305 w 110614"/>
                <a:gd name="connsiteY134" fmla="*/ 133274 h 146027"/>
                <a:gd name="connsiteX135" fmla="*/ 77877 w 110614"/>
                <a:gd name="connsiteY135" fmla="*/ 131245 h 146027"/>
                <a:gd name="connsiteX136" fmla="*/ 77896 w 110614"/>
                <a:gd name="connsiteY136" fmla="*/ 130588 h 146027"/>
                <a:gd name="connsiteX137" fmla="*/ 77114 w 110614"/>
                <a:gd name="connsiteY137" fmla="*/ 130140 h 146027"/>
                <a:gd name="connsiteX138" fmla="*/ 75476 w 110614"/>
                <a:gd name="connsiteY138" fmla="*/ 130159 h 146027"/>
                <a:gd name="connsiteX139" fmla="*/ 68209 w 110614"/>
                <a:gd name="connsiteY139" fmla="*/ 127626 h 146027"/>
                <a:gd name="connsiteX140" fmla="*/ 68542 w 110614"/>
                <a:gd name="connsiteY140" fmla="*/ 124720 h 146027"/>
                <a:gd name="connsiteX141" fmla="*/ 66409 w 110614"/>
                <a:gd name="connsiteY141" fmla="*/ 123149 h 146027"/>
                <a:gd name="connsiteX142" fmla="*/ 64104 w 110614"/>
                <a:gd name="connsiteY142" fmla="*/ 121749 h 146027"/>
                <a:gd name="connsiteX143" fmla="*/ 63722 w 110614"/>
                <a:gd name="connsiteY143" fmla="*/ 120187 h 146027"/>
                <a:gd name="connsiteX144" fmla="*/ 61160 w 110614"/>
                <a:gd name="connsiteY144" fmla="*/ 117024 h 146027"/>
                <a:gd name="connsiteX145" fmla="*/ 59293 w 110614"/>
                <a:gd name="connsiteY145" fmla="*/ 115253 h 146027"/>
                <a:gd name="connsiteX146" fmla="*/ 56902 w 110614"/>
                <a:gd name="connsiteY146" fmla="*/ 114367 h 146027"/>
                <a:gd name="connsiteX147" fmla="*/ 54845 w 110614"/>
                <a:gd name="connsiteY147" fmla="*/ 113062 h 146027"/>
                <a:gd name="connsiteX148" fmla="*/ 53607 w 110614"/>
                <a:gd name="connsiteY148" fmla="*/ 112262 h 146027"/>
                <a:gd name="connsiteX149" fmla="*/ 53054 w 110614"/>
                <a:gd name="connsiteY149" fmla="*/ 110785 h 146027"/>
                <a:gd name="connsiteX150" fmla="*/ 53054 w 110614"/>
                <a:gd name="connsiteY150" fmla="*/ 109909 h 146027"/>
                <a:gd name="connsiteX151" fmla="*/ 52435 w 110614"/>
                <a:gd name="connsiteY151" fmla="*/ 109061 h 146027"/>
                <a:gd name="connsiteX152" fmla="*/ 51445 w 110614"/>
                <a:gd name="connsiteY152" fmla="*/ 109156 h 146027"/>
                <a:gd name="connsiteX153" fmla="*/ 49759 w 110614"/>
                <a:gd name="connsiteY153" fmla="*/ 110338 h 146027"/>
                <a:gd name="connsiteX154" fmla="*/ 47692 w 110614"/>
                <a:gd name="connsiteY154" fmla="*/ 111347 h 146027"/>
                <a:gd name="connsiteX155" fmla="*/ 47330 w 110614"/>
                <a:gd name="connsiteY155" fmla="*/ 112090 h 146027"/>
                <a:gd name="connsiteX156" fmla="*/ 48083 w 110614"/>
                <a:gd name="connsiteY156" fmla="*/ 113833 h 146027"/>
                <a:gd name="connsiteX157" fmla="*/ 48616 w 110614"/>
                <a:gd name="connsiteY157" fmla="*/ 114957 h 146027"/>
                <a:gd name="connsiteX158" fmla="*/ 48368 w 110614"/>
                <a:gd name="connsiteY158" fmla="*/ 116005 h 146027"/>
                <a:gd name="connsiteX159" fmla="*/ 47720 w 110614"/>
                <a:gd name="connsiteY159" fmla="*/ 117348 h 146027"/>
                <a:gd name="connsiteX160" fmla="*/ 43739 w 110614"/>
                <a:gd name="connsiteY160" fmla="*/ 120301 h 146027"/>
                <a:gd name="connsiteX161" fmla="*/ 43292 w 110614"/>
                <a:gd name="connsiteY161" fmla="*/ 121339 h 146027"/>
                <a:gd name="connsiteX162" fmla="*/ 44053 w 110614"/>
                <a:gd name="connsiteY162" fmla="*/ 122996 h 146027"/>
                <a:gd name="connsiteX163" fmla="*/ 43568 w 110614"/>
                <a:gd name="connsiteY163" fmla="*/ 123758 h 146027"/>
                <a:gd name="connsiteX164" fmla="*/ 40243 w 110614"/>
                <a:gd name="connsiteY164" fmla="*/ 124854 h 146027"/>
                <a:gd name="connsiteX165" fmla="*/ 40329 w 110614"/>
                <a:gd name="connsiteY165" fmla="*/ 123949 h 146027"/>
                <a:gd name="connsiteX166" fmla="*/ 40120 w 110614"/>
                <a:gd name="connsiteY166" fmla="*/ 122492 h 146027"/>
                <a:gd name="connsiteX167" fmla="*/ 38215 w 110614"/>
                <a:gd name="connsiteY167" fmla="*/ 120939 h 146027"/>
                <a:gd name="connsiteX168" fmla="*/ 35519 w 110614"/>
                <a:gd name="connsiteY168" fmla="*/ 119739 h 146027"/>
                <a:gd name="connsiteX169" fmla="*/ 29537 w 110614"/>
                <a:gd name="connsiteY169" fmla="*/ 115614 h 146027"/>
                <a:gd name="connsiteX170" fmla="*/ 27242 w 110614"/>
                <a:gd name="connsiteY170" fmla="*/ 115071 h 146027"/>
                <a:gd name="connsiteX171" fmla="*/ 25185 w 110614"/>
                <a:gd name="connsiteY171" fmla="*/ 114586 h 146027"/>
                <a:gd name="connsiteX172" fmla="*/ 22241 w 110614"/>
                <a:gd name="connsiteY172" fmla="*/ 112614 h 146027"/>
                <a:gd name="connsiteX173" fmla="*/ 20727 w 110614"/>
                <a:gd name="connsiteY173" fmla="*/ 112262 h 146027"/>
                <a:gd name="connsiteX174" fmla="*/ 19050 w 110614"/>
                <a:gd name="connsiteY174" fmla="*/ 110852 h 146027"/>
                <a:gd name="connsiteX175" fmla="*/ 15393 w 110614"/>
                <a:gd name="connsiteY175" fmla="*/ 106071 h 146027"/>
                <a:gd name="connsiteX176" fmla="*/ 12278 w 110614"/>
                <a:gd name="connsiteY176" fmla="*/ 103461 h 146027"/>
                <a:gd name="connsiteX177" fmla="*/ 10154 w 110614"/>
                <a:gd name="connsiteY177" fmla="*/ 102146 h 146027"/>
                <a:gd name="connsiteX178" fmla="*/ 9553 w 110614"/>
                <a:gd name="connsiteY178" fmla="*/ 100860 h 146027"/>
                <a:gd name="connsiteX179" fmla="*/ 9430 w 110614"/>
                <a:gd name="connsiteY179" fmla="*/ 99536 h 146027"/>
                <a:gd name="connsiteX180" fmla="*/ 9497 w 110614"/>
                <a:gd name="connsiteY180" fmla="*/ 99089 h 146027"/>
                <a:gd name="connsiteX181" fmla="*/ 11106 w 110614"/>
                <a:gd name="connsiteY181" fmla="*/ 97203 h 146027"/>
                <a:gd name="connsiteX182" fmla="*/ 12345 w 110614"/>
                <a:gd name="connsiteY182" fmla="*/ 96936 h 146027"/>
                <a:gd name="connsiteX183" fmla="*/ 13935 w 110614"/>
                <a:gd name="connsiteY183" fmla="*/ 96869 h 146027"/>
                <a:gd name="connsiteX184" fmla="*/ 14993 w 110614"/>
                <a:gd name="connsiteY184" fmla="*/ 97822 h 146027"/>
                <a:gd name="connsiteX185" fmla="*/ 16364 w 110614"/>
                <a:gd name="connsiteY185" fmla="*/ 98031 h 146027"/>
                <a:gd name="connsiteX186" fmla="*/ 17136 w 110614"/>
                <a:gd name="connsiteY186" fmla="*/ 96812 h 146027"/>
                <a:gd name="connsiteX187" fmla="*/ 17536 w 110614"/>
                <a:gd name="connsiteY187" fmla="*/ 95060 h 146027"/>
                <a:gd name="connsiteX188" fmla="*/ 17355 w 110614"/>
                <a:gd name="connsiteY188" fmla="*/ 92821 h 146027"/>
                <a:gd name="connsiteX189" fmla="*/ 14031 w 110614"/>
                <a:gd name="connsiteY189" fmla="*/ 87611 h 146027"/>
                <a:gd name="connsiteX190" fmla="*/ 11182 w 110614"/>
                <a:gd name="connsiteY190" fmla="*/ 83972 h 146027"/>
                <a:gd name="connsiteX191" fmla="*/ 10849 w 110614"/>
                <a:gd name="connsiteY191" fmla="*/ 83163 h 146027"/>
                <a:gd name="connsiteX192" fmla="*/ 11468 w 110614"/>
                <a:gd name="connsiteY192" fmla="*/ 82477 h 146027"/>
                <a:gd name="connsiteX193" fmla="*/ 12468 w 110614"/>
                <a:gd name="connsiteY193" fmla="*/ 82115 h 146027"/>
                <a:gd name="connsiteX194" fmla="*/ 13535 w 110614"/>
                <a:gd name="connsiteY194" fmla="*/ 82420 h 146027"/>
                <a:gd name="connsiteX195" fmla="*/ 16316 w 110614"/>
                <a:gd name="connsiteY195" fmla="*/ 82687 h 146027"/>
                <a:gd name="connsiteX196" fmla="*/ 18993 w 110614"/>
                <a:gd name="connsiteY196" fmla="*/ 82344 h 146027"/>
                <a:gd name="connsiteX197" fmla="*/ 19908 w 110614"/>
                <a:gd name="connsiteY197" fmla="*/ 81458 h 146027"/>
                <a:gd name="connsiteX198" fmla="*/ 19908 w 110614"/>
                <a:gd name="connsiteY198" fmla="*/ 80258 h 146027"/>
                <a:gd name="connsiteX199" fmla="*/ 18936 w 110614"/>
                <a:gd name="connsiteY199" fmla="*/ 79143 h 146027"/>
                <a:gd name="connsiteX200" fmla="*/ 15802 w 110614"/>
                <a:gd name="connsiteY200" fmla="*/ 76143 h 146027"/>
                <a:gd name="connsiteX201" fmla="*/ 13364 w 110614"/>
                <a:gd name="connsiteY201" fmla="*/ 73495 h 146027"/>
                <a:gd name="connsiteX202" fmla="*/ 10487 w 110614"/>
                <a:gd name="connsiteY202" fmla="*/ 71457 h 146027"/>
                <a:gd name="connsiteX203" fmla="*/ 8363 w 110614"/>
                <a:gd name="connsiteY203" fmla="*/ 70638 h 146027"/>
                <a:gd name="connsiteX204" fmla="*/ 7734 w 110614"/>
                <a:gd name="connsiteY204" fmla="*/ 69599 h 146027"/>
                <a:gd name="connsiteX205" fmla="*/ 7468 w 110614"/>
                <a:gd name="connsiteY205" fmla="*/ 68494 h 146027"/>
                <a:gd name="connsiteX206" fmla="*/ 7706 w 110614"/>
                <a:gd name="connsiteY206" fmla="*/ 66465 h 146027"/>
                <a:gd name="connsiteX207" fmla="*/ 7849 w 110614"/>
                <a:gd name="connsiteY207" fmla="*/ 63875 h 146027"/>
                <a:gd name="connsiteX208" fmla="*/ 8344 w 110614"/>
                <a:gd name="connsiteY208" fmla="*/ 62256 h 146027"/>
                <a:gd name="connsiteX209" fmla="*/ 10268 w 110614"/>
                <a:gd name="connsiteY209" fmla="*/ 59179 h 146027"/>
                <a:gd name="connsiteX210" fmla="*/ 12106 w 110614"/>
                <a:gd name="connsiteY210" fmla="*/ 55912 h 146027"/>
                <a:gd name="connsiteX211" fmla="*/ 13240 w 110614"/>
                <a:gd name="connsiteY211" fmla="*/ 52769 h 146027"/>
                <a:gd name="connsiteX212" fmla="*/ 13840 w 110614"/>
                <a:gd name="connsiteY212" fmla="*/ 49844 h 146027"/>
                <a:gd name="connsiteX213" fmla="*/ 13621 w 110614"/>
                <a:gd name="connsiteY213" fmla="*/ 48997 h 146027"/>
                <a:gd name="connsiteX214" fmla="*/ 12659 w 110614"/>
                <a:gd name="connsiteY214" fmla="*/ 48378 h 146027"/>
                <a:gd name="connsiteX215" fmla="*/ 10639 w 110614"/>
                <a:gd name="connsiteY215" fmla="*/ 47739 h 146027"/>
                <a:gd name="connsiteX216" fmla="*/ 7820 w 110614"/>
                <a:gd name="connsiteY216" fmla="*/ 48292 h 146027"/>
                <a:gd name="connsiteX217" fmla="*/ 5429 w 110614"/>
                <a:gd name="connsiteY217" fmla="*/ 49359 h 146027"/>
                <a:gd name="connsiteX218" fmla="*/ 4496 w 110614"/>
                <a:gd name="connsiteY218" fmla="*/ 49444 h 146027"/>
                <a:gd name="connsiteX219" fmla="*/ 4182 w 110614"/>
                <a:gd name="connsiteY219" fmla="*/ 48130 h 146027"/>
                <a:gd name="connsiteX220" fmla="*/ 4553 w 110614"/>
                <a:gd name="connsiteY220" fmla="*/ 47549 h 146027"/>
                <a:gd name="connsiteX221" fmla="*/ 5305 w 110614"/>
                <a:gd name="connsiteY221" fmla="*/ 47625 h 146027"/>
                <a:gd name="connsiteX222" fmla="*/ 5925 w 110614"/>
                <a:gd name="connsiteY222" fmla="*/ 47873 h 146027"/>
                <a:gd name="connsiteX223" fmla="*/ 6582 w 110614"/>
                <a:gd name="connsiteY223" fmla="*/ 47273 h 146027"/>
                <a:gd name="connsiteX224" fmla="*/ 6982 w 110614"/>
                <a:gd name="connsiteY224" fmla="*/ 45511 h 146027"/>
                <a:gd name="connsiteX225" fmla="*/ 5982 w 110614"/>
                <a:gd name="connsiteY225" fmla="*/ 39338 h 146027"/>
                <a:gd name="connsiteX226" fmla="*/ 7773 w 110614"/>
                <a:gd name="connsiteY226" fmla="*/ 38795 h 146027"/>
                <a:gd name="connsiteX227" fmla="*/ 7801 w 110614"/>
                <a:gd name="connsiteY227" fmla="*/ 37900 h 146027"/>
                <a:gd name="connsiteX228" fmla="*/ 7963 w 110614"/>
                <a:gd name="connsiteY228" fmla="*/ 37109 h 146027"/>
                <a:gd name="connsiteX229" fmla="*/ 9811 w 110614"/>
                <a:gd name="connsiteY229" fmla="*/ 38186 h 146027"/>
                <a:gd name="connsiteX230" fmla="*/ 12402 w 110614"/>
                <a:gd name="connsiteY230" fmla="*/ 38205 h 146027"/>
                <a:gd name="connsiteX231" fmla="*/ 14678 w 110614"/>
                <a:gd name="connsiteY231" fmla="*/ 37986 h 146027"/>
                <a:gd name="connsiteX232" fmla="*/ 15021 w 110614"/>
                <a:gd name="connsiteY232" fmla="*/ 37376 h 146027"/>
                <a:gd name="connsiteX233" fmla="*/ 15002 w 110614"/>
                <a:gd name="connsiteY233" fmla="*/ 36500 h 146027"/>
                <a:gd name="connsiteX234" fmla="*/ 14526 w 110614"/>
                <a:gd name="connsiteY234" fmla="*/ 35805 h 146027"/>
                <a:gd name="connsiteX235" fmla="*/ 13716 w 110614"/>
                <a:gd name="connsiteY235" fmla="*/ 35252 h 146027"/>
                <a:gd name="connsiteX236" fmla="*/ 13135 w 110614"/>
                <a:gd name="connsiteY236" fmla="*/ 34395 h 146027"/>
                <a:gd name="connsiteX237" fmla="*/ 11602 w 110614"/>
                <a:gd name="connsiteY237" fmla="*/ 34014 h 146027"/>
                <a:gd name="connsiteX238" fmla="*/ 6791 w 110614"/>
                <a:gd name="connsiteY238" fmla="*/ 31785 h 146027"/>
                <a:gd name="connsiteX239" fmla="*/ 4429 w 110614"/>
                <a:gd name="connsiteY239" fmla="*/ 29413 h 146027"/>
                <a:gd name="connsiteX240" fmla="*/ 4506 w 110614"/>
                <a:gd name="connsiteY240" fmla="*/ 26889 h 146027"/>
                <a:gd name="connsiteX241" fmla="*/ 5192 w 110614"/>
                <a:gd name="connsiteY241" fmla="*/ 25508 h 146027"/>
                <a:gd name="connsiteX242" fmla="*/ 6020 w 110614"/>
                <a:gd name="connsiteY242" fmla="*/ 25022 h 146027"/>
                <a:gd name="connsiteX243" fmla="*/ 5772 w 110614"/>
                <a:gd name="connsiteY243" fmla="*/ 24555 h 146027"/>
                <a:gd name="connsiteX244" fmla="*/ 3067 w 110614"/>
                <a:gd name="connsiteY244" fmla="*/ 23384 h 146027"/>
                <a:gd name="connsiteX245" fmla="*/ 2105 w 110614"/>
                <a:gd name="connsiteY245" fmla="*/ 21755 h 146027"/>
                <a:gd name="connsiteX246" fmla="*/ 2896 w 110614"/>
                <a:gd name="connsiteY246" fmla="*/ 19669 h 146027"/>
                <a:gd name="connsiteX247" fmla="*/ 1486 w 110614"/>
                <a:gd name="connsiteY247" fmla="*/ 15412 h 146027"/>
                <a:gd name="connsiteX248" fmla="*/ 0 w 110614"/>
                <a:gd name="connsiteY248" fmla="*/ 12792 h 146027"/>
                <a:gd name="connsiteX249" fmla="*/ 1457 w 110614"/>
                <a:gd name="connsiteY249" fmla="*/ 11659 h 146027"/>
                <a:gd name="connsiteX250" fmla="*/ 1657 w 110614"/>
                <a:gd name="connsiteY250" fmla="*/ 10040 h 146027"/>
                <a:gd name="connsiteX251" fmla="*/ 1772 w 110614"/>
                <a:gd name="connsiteY251" fmla="*/ 9115 h 146027"/>
                <a:gd name="connsiteX252" fmla="*/ 2372 w 110614"/>
                <a:gd name="connsiteY252" fmla="*/ 9135 h 146027"/>
                <a:gd name="connsiteX253" fmla="*/ 4725 w 110614"/>
                <a:gd name="connsiteY253" fmla="*/ 8049 h 146027"/>
                <a:gd name="connsiteX254" fmla="*/ 5582 w 110614"/>
                <a:gd name="connsiteY254" fmla="*/ 7172 h 146027"/>
                <a:gd name="connsiteX255" fmla="*/ 6077 w 110614"/>
                <a:gd name="connsiteY255" fmla="*/ 6134 h 146027"/>
                <a:gd name="connsiteX256" fmla="*/ 6639 w 110614"/>
                <a:gd name="connsiteY256" fmla="*/ 5877 h 146027"/>
                <a:gd name="connsiteX257" fmla="*/ 8211 w 110614"/>
                <a:gd name="connsiteY257" fmla="*/ 7001 h 146027"/>
                <a:gd name="connsiteX258" fmla="*/ 9877 w 110614"/>
                <a:gd name="connsiteY258" fmla="*/ 7096 h 146027"/>
                <a:gd name="connsiteX259" fmla="*/ 11735 w 110614"/>
                <a:gd name="connsiteY259" fmla="*/ 6391 h 146027"/>
                <a:gd name="connsiteX260" fmla="*/ 13135 w 110614"/>
                <a:gd name="connsiteY260" fmla="*/ 5410 h 146027"/>
                <a:gd name="connsiteX261" fmla="*/ 14802 w 110614"/>
                <a:gd name="connsiteY261" fmla="*/ 4591 h 146027"/>
                <a:gd name="connsiteX262" fmla="*/ 15564 w 110614"/>
                <a:gd name="connsiteY262" fmla="*/ 4029 h 146027"/>
                <a:gd name="connsiteX263" fmla="*/ 16536 w 110614"/>
                <a:gd name="connsiteY263" fmla="*/ 3153 h 146027"/>
                <a:gd name="connsiteX264" fmla="*/ 18488 w 110614"/>
                <a:gd name="connsiteY264" fmla="*/ 543 h 146027"/>
                <a:gd name="connsiteX265" fmla="*/ 20707 w 110614"/>
                <a:gd name="connsiteY265" fmla="*/ 0 h 14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</a:cxnLst>
              <a:rect l="l" t="t" r="r" b="b"/>
              <a:pathLst>
                <a:path w="110614" h="146027">
                  <a:moveTo>
                    <a:pt x="23670" y="667"/>
                  </a:moveTo>
                  <a:lnTo>
                    <a:pt x="26880" y="895"/>
                  </a:lnTo>
                  <a:lnTo>
                    <a:pt x="29280" y="295"/>
                  </a:lnTo>
                  <a:lnTo>
                    <a:pt x="35347" y="1057"/>
                  </a:lnTo>
                  <a:lnTo>
                    <a:pt x="36652" y="1657"/>
                  </a:lnTo>
                  <a:lnTo>
                    <a:pt x="37500" y="2334"/>
                  </a:lnTo>
                  <a:lnTo>
                    <a:pt x="39091" y="4563"/>
                  </a:lnTo>
                  <a:lnTo>
                    <a:pt x="40615" y="7439"/>
                  </a:lnTo>
                  <a:lnTo>
                    <a:pt x="42749" y="8772"/>
                  </a:lnTo>
                  <a:lnTo>
                    <a:pt x="45272" y="10354"/>
                  </a:lnTo>
                  <a:lnTo>
                    <a:pt x="46568" y="11506"/>
                  </a:lnTo>
                  <a:lnTo>
                    <a:pt x="48483" y="14945"/>
                  </a:lnTo>
                  <a:lnTo>
                    <a:pt x="49997" y="16631"/>
                  </a:lnTo>
                  <a:lnTo>
                    <a:pt x="50492" y="16545"/>
                  </a:lnTo>
                  <a:lnTo>
                    <a:pt x="50997" y="16107"/>
                  </a:lnTo>
                  <a:lnTo>
                    <a:pt x="51349" y="15754"/>
                  </a:lnTo>
                  <a:lnTo>
                    <a:pt x="51750" y="16078"/>
                  </a:lnTo>
                  <a:lnTo>
                    <a:pt x="51778" y="17116"/>
                  </a:lnTo>
                  <a:lnTo>
                    <a:pt x="51874" y="19431"/>
                  </a:lnTo>
                  <a:lnTo>
                    <a:pt x="51511" y="21888"/>
                  </a:lnTo>
                  <a:lnTo>
                    <a:pt x="52044" y="24203"/>
                  </a:lnTo>
                  <a:lnTo>
                    <a:pt x="52064" y="24927"/>
                  </a:lnTo>
                  <a:lnTo>
                    <a:pt x="51683" y="25594"/>
                  </a:lnTo>
                  <a:lnTo>
                    <a:pt x="51731" y="26184"/>
                  </a:lnTo>
                  <a:lnTo>
                    <a:pt x="52264" y="26813"/>
                  </a:lnTo>
                  <a:lnTo>
                    <a:pt x="54312" y="28347"/>
                  </a:lnTo>
                  <a:lnTo>
                    <a:pt x="56217" y="30709"/>
                  </a:lnTo>
                  <a:lnTo>
                    <a:pt x="58407" y="32366"/>
                  </a:lnTo>
                  <a:lnTo>
                    <a:pt x="60436" y="33423"/>
                  </a:lnTo>
                  <a:lnTo>
                    <a:pt x="61722" y="33499"/>
                  </a:lnTo>
                  <a:lnTo>
                    <a:pt x="63818" y="35405"/>
                  </a:lnTo>
                  <a:lnTo>
                    <a:pt x="67970" y="36776"/>
                  </a:lnTo>
                  <a:lnTo>
                    <a:pt x="69304" y="37252"/>
                  </a:lnTo>
                  <a:lnTo>
                    <a:pt x="70209" y="38033"/>
                  </a:lnTo>
                  <a:lnTo>
                    <a:pt x="70876" y="38938"/>
                  </a:lnTo>
                  <a:lnTo>
                    <a:pt x="70914" y="39910"/>
                  </a:lnTo>
                  <a:lnTo>
                    <a:pt x="70275" y="40367"/>
                  </a:lnTo>
                  <a:lnTo>
                    <a:pt x="69380" y="41681"/>
                  </a:lnTo>
                  <a:lnTo>
                    <a:pt x="69009" y="43272"/>
                  </a:lnTo>
                  <a:lnTo>
                    <a:pt x="68352" y="43682"/>
                  </a:lnTo>
                  <a:lnTo>
                    <a:pt x="67685" y="43710"/>
                  </a:lnTo>
                  <a:lnTo>
                    <a:pt x="67199" y="44177"/>
                  </a:lnTo>
                  <a:lnTo>
                    <a:pt x="67313" y="44863"/>
                  </a:lnTo>
                  <a:lnTo>
                    <a:pt x="67866" y="45520"/>
                  </a:lnTo>
                  <a:lnTo>
                    <a:pt x="68732" y="46111"/>
                  </a:lnTo>
                  <a:lnTo>
                    <a:pt x="70381" y="46701"/>
                  </a:lnTo>
                  <a:lnTo>
                    <a:pt x="72019" y="47568"/>
                  </a:lnTo>
                  <a:lnTo>
                    <a:pt x="72000" y="48254"/>
                  </a:lnTo>
                  <a:lnTo>
                    <a:pt x="71666" y="49006"/>
                  </a:lnTo>
                  <a:lnTo>
                    <a:pt x="69590" y="49282"/>
                  </a:lnTo>
                  <a:lnTo>
                    <a:pt x="68037" y="49406"/>
                  </a:lnTo>
                  <a:lnTo>
                    <a:pt x="67333" y="49721"/>
                  </a:lnTo>
                  <a:lnTo>
                    <a:pt x="67389" y="51035"/>
                  </a:lnTo>
                  <a:lnTo>
                    <a:pt x="71752" y="52416"/>
                  </a:lnTo>
                  <a:lnTo>
                    <a:pt x="73733" y="53712"/>
                  </a:lnTo>
                  <a:lnTo>
                    <a:pt x="74772" y="55397"/>
                  </a:lnTo>
                  <a:lnTo>
                    <a:pt x="77553" y="56512"/>
                  </a:lnTo>
                  <a:lnTo>
                    <a:pt x="82077" y="57055"/>
                  </a:lnTo>
                  <a:lnTo>
                    <a:pt x="85220" y="58798"/>
                  </a:lnTo>
                  <a:lnTo>
                    <a:pt x="86992" y="61703"/>
                  </a:lnTo>
                  <a:lnTo>
                    <a:pt x="89868" y="61008"/>
                  </a:lnTo>
                  <a:lnTo>
                    <a:pt x="93879" y="56683"/>
                  </a:lnTo>
                  <a:lnTo>
                    <a:pt x="97803" y="55559"/>
                  </a:lnTo>
                  <a:lnTo>
                    <a:pt x="101661" y="57626"/>
                  </a:lnTo>
                  <a:lnTo>
                    <a:pt x="103766" y="59331"/>
                  </a:lnTo>
                  <a:lnTo>
                    <a:pt x="104127" y="60655"/>
                  </a:lnTo>
                  <a:lnTo>
                    <a:pt x="103232" y="61198"/>
                  </a:lnTo>
                  <a:lnTo>
                    <a:pt x="101079" y="60941"/>
                  </a:lnTo>
                  <a:lnTo>
                    <a:pt x="99308" y="61770"/>
                  </a:lnTo>
                  <a:lnTo>
                    <a:pt x="97927" y="63665"/>
                  </a:lnTo>
                  <a:lnTo>
                    <a:pt x="97717" y="65684"/>
                  </a:lnTo>
                  <a:lnTo>
                    <a:pt x="98689" y="67828"/>
                  </a:lnTo>
                  <a:lnTo>
                    <a:pt x="100051" y="69304"/>
                  </a:lnTo>
                  <a:lnTo>
                    <a:pt x="101822" y="70123"/>
                  </a:lnTo>
                  <a:lnTo>
                    <a:pt x="102765" y="71238"/>
                  </a:lnTo>
                  <a:lnTo>
                    <a:pt x="102889" y="72657"/>
                  </a:lnTo>
                  <a:lnTo>
                    <a:pt x="103347" y="73047"/>
                  </a:lnTo>
                  <a:lnTo>
                    <a:pt x="102337" y="73695"/>
                  </a:lnTo>
                  <a:lnTo>
                    <a:pt x="101251" y="74666"/>
                  </a:lnTo>
                  <a:lnTo>
                    <a:pt x="100632" y="76362"/>
                  </a:lnTo>
                  <a:lnTo>
                    <a:pt x="100470" y="79077"/>
                  </a:lnTo>
                  <a:lnTo>
                    <a:pt x="97041" y="81201"/>
                  </a:lnTo>
                  <a:lnTo>
                    <a:pt x="95755" y="81591"/>
                  </a:lnTo>
                  <a:lnTo>
                    <a:pt x="95174" y="83001"/>
                  </a:lnTo>
                  <a:lnTo>
                    <a:pt x="94269" y="86973"/>
                  </a:lnTo>
                  <a:lnTo>
                    <a:pt x="94374" y="89954"/>
                  </a:lnTo>
                  <a:lnTo>
                    <a:pt x="94841" y="91469"/>
                  </a:lnTo>
                  <a:lnTo>
                    <a:pt x="95050" y="92707"/>
                  </a:lnTo>
                  <a:lnTo>
                    <a:pt x="96164" y="94221"/>
                  </a:lnTo>
                  <a:lnTo>
                    <a:pt x="97174" y="96546"/>
                  </a:lnTo>
                  <a:lnTo>
                    <a:pt x="97841" y="99613"/>
                  </a:lnTo>
                  <a:lnTo>
                    <a:pt x="99327" y="101975"/>
                  </a:lnTo>
                  <a:lnTo>
                    <a:pt x="103127" y="104299"/>
                  </a:lnTo>
                  <a:lnTo>
                    <a:pt x="105013" y="105651"/>
                  </a:lnTo>
                  <a:lnTo>
                    <a:pt x="106413" y="107613"/>
                  </a:lnTo>
                  <a:lnTo>
                    <a:pt x="107480" y="109385"/>
                  </a:lnTo>
                  <a:lnTo>
                    <a:pt x="110614" y="111738"/>
                  </a:lnTo>
                  <a:lnTo>
                    <a:pt x="110376" y="113414"/>
                  </a:lnTo>
                  <a:lnTo>
                    <a:pt x="109690" y="115053"/>
                  </a:lnTo>
                  <a:lnTo>
                    <a:pt x="108966" y="115824"/>
                  </a:lnTo>
                  <a:lnTo>
                    <a:pt x="107404" y="117929"/>
                  </a:lnTo>
                  <a:lnTo>
                    <a:pt x="105880" y="119110"/>
                  </a:lnTo>
                  <a:lnTo>
                    <a:pt x="103375" y="122815"/>
                  </a:lnTo>
                  <a:lnTo>
                    <a:pt x="99422" y="123015"/>
                  </a:lnTo>
                  <a:lnTo>
                    <a:pt x="98479" y="123311"/>
                  </a:lnTo>
                  <a:lnTo>
                    <a:pt x="96974" y="124320"/>
                  </a:lnTo>
                  <a:lnTo>
                    <a:pt x="96241" y="126168"/>
                  </a:lnTo>
                  <a:lnTo>
                    <a:pt x="96946" y="127654"/>
                  </a:lnTo>
                  <a:lnTo>
                    <a:pt x="96879" y="129149"/>
                  </a:lnTo>
                  <a:lnTo>
                    <a:pt x="96164" y="132055"/>
                  </a:lnTo>
                  <a:lnTo>
                    <a:pt x="97117" y="135169"/>
                  </a:lnTo>
                  <a:lnTo>
                    <a:pt x="98517" y="136588"/>
                  </a:lnTo>
                  <a:lnTo>
                    <a:pt x="98736" y="137408"/>
                  </a:lnTo>
                  <a:lnTo>
                    <a:pt x="98498" y="138855"/>
                  </a:lnTo>
                  <a:lnTo>
                    <a:pt x="96412" y="141808"/>
                  </a:lnTo>
                  <a:lnTo>
                    <a:pt x="95784" y="142903"/>
                  </a:lnTo>
                  <a:lnTo>
                    <a:pt x="93698" y="143437"/>
                  </a:lnTo>
                  <a:lnTo>
                    <a:pt x="92983" y="143161"/>
                  </a:lnTo>
                  <a:lnTo>
                    <a:pt x="91907" y="142151"/>
                  </a:lnTo>
                  <a:lnTo>
                    <a:pt x="90907" y="141846"/>
                  </a:lnTo>
                  <a:lnTo>
                    <a:pt x="88421" y="143037"/>
                  </a:lnTo>
                  <a:lnTo>
                    <a:pt x="85887" y="143770"/>
                  </a:lnTo>
                  <a:lnTo>
                    <a:pt x="83897" y="143218"/>
                  </a:lnTo>
                  <a:lnTo>
                    <a:pt x="81934" y="143151"/>
                  </a:lnTo>
                  <a:lnTo>
                    <a:pt x="80572" y="143637"/>
                  </a:lnTo>
                  <a:lnTo>
                    <a:pt x="79543" y="143828"/>
                  </a:lnTo>
                  <a:lnTo>
                    <a:pt x="77524" y="145104"/>
                  </a:lnTo>
                  <a:lnTo>
                    <a:pt x="74295" y="146028"/>
                  </a:lnTo>
                  <a:lnTo>
                    <a:pt x="72800" y="145828"/>
                  </a:lnTo>
                  <a:lnTo>
                    <a:pt x="72247" y="144628"/>
                  </a:lnTo>
                  <a:lnTo>
                    <a:pt x="71637" y="142923"/>
                  </a:lnTo>
                  <a:lnTo>
                    <a:pt x="71933" y="142142"/>
                  </a:lnTo>
                  <a:lnTo>
                    <a:pt x="74076" y="140789"/>
                  </a:lnTo>
                  <a:lnTo>
                    <a:pt x="74314" y="139503"/>
                  </a:lnTo>
                  <a:lnTo>
                    <a:pt x="77305" y="133274"/>
                  </a:lnTo>
                  <a:lnTo>
                    <a:pt x="77877" y="131245"/>
                  </a:lnTo>
                  <a:lnTo>
                    <a:pt x="77896" y="130588"/>
                  </a:lnTo>
                  <a:lnTo>
                    <a:pt x="77114" y="130140"/>
                  </a:lnTo>
                  <a:lnTo>
                    <a:pt x="75476" y="130159"/>
                  </a:lnTo>
                  <a:lnTo>
                    <a:pt x="68209" y="127626"/>
                  </a:lnTo>
                  <a:lnTo>
                    <a:pt x="68542" y="124720"/>
                  </a:lnTo>
                  <a:lnTo>
                    <a:pt x="66409" y="123149"/>
                  </a:lnTo>
                  <a:lnTo>
                    <a:pt x="64104" y="121749"/>
                  </a:lnTo>
                  <a:lnTo>
                    <a:pt x="63722" y="120187"/>
                  </a:lnTo>
                  <a:lnTo>
                    <a:pt x="61160" y="117024"/>
                  </a:lnTo>
                  <a:lnTo>
                    <a:pt x="59293" y="115253"/>
                  </a:lnTo>
                  <a:lnTo>
                    <a:pt x="56902" y="114367"/>
                  </a:lnTo>
                  <a:lnTo>
                    <a:pt x="54845" y="113062"/>
                  </a:lnTo>
                  <a:lnTo>
                    <a:pt x="53607" y="112262"/>
                  </a:lnTo>
                  <a:lnTo>
                    <a:pt x="53054" y="110785"/>
                  </a:lnTo>
                  <a:lnTo>
                    <a:pt x="53054" y="109909"/>
                  </a:lnTo>
                  <a:lnTo>
                    <a:pt x="52435" y="109061"/>
                  </a:lnTo>
                  <a:lnTo>
                    <a:pt x="51445" y="109156"/>
                  </a:lnTo>
                  <a:lnTo>
                    <a:pt x="49759" y="110338"/>
                  </a:lnTo>
                  <a:lnTo>
                    <a:pt x="47692" y="111347"/>
                  </a:lnTo>
                  <a:lnTo>
                    <a:pt x="47330" y="112090"/>
                  </a:lnTo>
                  <a:lnTo>
                    <a:pt x="48083" y="113833"/>
                  </a:lnTo>
                  <a:lnTo>
                    <a:pt x="48616" y="114957"/>
                  </a:lnTo>
                  <a:lnTo>
                    <a:pt x="48368" y="116005"/>
                  </a:lnTo>
                  <a:lnTo>
                    <a:pt x="47720" y="117348"/>
                  </a:lnTo>
                  <a:lnTo>
                    <a:pt x="43739" y="120301"/>
                  </a:lnTo>
                  <a:lnTo>
                    <a:pt x="43292" y="121339"/>
                  </a:lnTo>
                  <a:lnTo>
                    <a:pt x="44053" y="122996"/>
                  </a:lnTo>
                  <a:lnTo>
                    <a:pt x="43568" y="123758"/>
                  </a:lnTo>
                  <a:lnTo>
                    <a:pt x="40243" y="124854"/>
                  </a:lnTo>
                  <a:lnTo>
                    <a:pt x="40329" y="123949"/>
                  </a:lnTo>
                  <a:lnTo>
                    <a:pt x="40120" y="122492"/>
                  </a:lnTo>
                  <a:lnTo>
                    <a:pt x="38215" y="120939"/>
                  </a:lnTo>
                  <a:lnTo>
                    <a:pt x="35519" y="119739"/>
                  </a:lnTo>
                  <a:lnTo>
                    <a:pt x="29537" y="115614"/>
                  </a:lnTo>
                  <a:lnTo>
                    <a:pt x="27242" y="115071"/>
                  </a:lnTo>
                  <a:lnTo>
                    <a:pt x="25185" y="114586"/>
                  </a:lnTo>
                  <a:lnTo>
                    <a:pt x="22241" y="112614"/>
                  </a:lnTo>
                  <a:lnTo>
                    <a:pt x="20727" y="112262"/>
                  </a:lnTo>
                  <a:lnTo>
                    <a:pt x="19050" y="110852"/>
                  </a:lnTo>
                  <a:lnTo>
                    <a:pt x="15393" y="106071"/>
                  </a:lnTo>
                  <a:lnTo>
                    <a:pt x="12278" y="103461"/>
                  </a:lnTo>
                  <a:lnTo>
                    <a:pt x="10154" y="102146"/>
                  </a:lnTo>
                  <a:lnTo>
                    <a:pt x="9553" y="100860"/>
                  </a:lnTo>
                  <a:lnTo>
                    <a:pt x="9430" y="99536"/>
                  </a:lnTo>
                  <a:lnTo>
                    <a:pt x="9497" y="99089"/>
                  </a:lnTo>
                  <a:lnTo>
                    <a:pt x="11106" y="97203"/>
                  </a:lnTo>
                  <a:lnTo>
                    <a:pt x="12345" y="96936"/>
                  </a:lnTo>
                  <a:lnTo>
                    <a:pt x="13935" y="96869"/>
                  </a:lnTo>
                  <a:lnTo>
                    <a:pt x="14993" y="97822"/>
                  </a:lnTo>
                  <a:lnTo>
                    <a:pt x="16364" y="98031"/>
                  </a:lnTo>
                  <a:lnTo>
                    <a:pt x="17136" y="96812"/>
                  </a:lnTo>
                  <a:lnTo>
                    <a:pt x="17536" y="95060"/>
                  </a:lnTo>
                  <a:lnTo>
                    <a:pt x="17355" y="92821"/>
                  </a:lnTo>
                  <a:lnTo>
                    <a:pt x="14031" y="87611"/>
                  </a:lnTo>
                  <a:lnTo>
                    <a:pt x="11182" y="83972"/>
                  </a:lnTo>
                  <a:lnTo>
                    <a:pt x="10849" y="83163"/>
                  </a:lnTo>
                  <a:lnTo>
                    <a:pt x="11468" y="82477"/>
                  </a:lnTo>
                  <a:lnTo>
                    <a:pt x="12468" y="82115"/>
                  </a:lnTo>
                  <a:lnTo>
                    <a:pt x="13535" y="82420"/>
                  </a:lnTo>
                  <a:lnTo>
                    <a:pt x="16316" y="82687"/>
                  </a:lnTo>
                  <a:lnTo>
                    <a:pt x="18993" y="82344"/>
                  </a:lnTo>
                  <a:lnTo>
                    <a:pt x="19908" y="81458"/>
                  </a:lnTo>
                  <a:lnTo>
                    <a:pt x="19908" y="80258"/>
                  </a:lnTo>
                  <a:lnTo>
                    <a:pt x="18936" y="79143"/>
                  </a:lnTo>
                  <a:lnTo>
                    <a:pt x="15802" y="76143"/>
                  </a:lnTo>
                  <a:lnTo>
                    <a:pt x="13364" y="73495"/>
                  </a:lnTo>
                  <a:lnTo>
                    <a:pt x="10487" y="71457"/>
                  </a:lnTo>
                  <a:lnTo>
                    <a:pt x="8363" y="70638"/>
                  </a:lnTo>
                  <a:lnTo>
                    <a:pt x="7734" y="69599"/>
                  </a:lnTo>
                  <a:lnTo>
                    <a:pt x="7468" y="68494"/>
                  </a:lnTo>
                  <a:lnTo>
                    <a:pt x="7706" y="66465"/>
                  </a:lnTo>
                  <a:lnTo>
                    <a:pt x="7849" y="63875"/>
                  </a:lnTo>
                  <a:lnTo>
                    <a:pt x="8344" y="62256"/>
                  </a:lnTo>
                  <a:lnTo>
                    <a:pt x="10268" y="59179"/>
                  </a:lnTo>
                  <a:lnTo>
                    <a:pt x="12106" y="55912"/>
                  </a:lnTo>
                  <a:lnTo>
                    <a:pt x="13240" y="52769"/>
                  </a:lnTo>
                  <a:lnTo>
                    <a:pt x="13840" y="49844"/>
                  </a:lnTo>
                  <a:lnTo>
                    <a:pt x="13621" y="48997"/>
                  </a:lnTo>
                  <a:lnTo>
                    <a:pt x="12659" y="48378"/>
                  </a:lnTo>
                  <a:lnTo>
                    <a:pt x="10639" y="47739"/>
                  </a:lnTo>
                  <a:lnTo>
                    <a:pt x="7820" y="48292"/>
                  </a:lnTo>
                  <a:lnTo>
                    <a:pt x="5429" y="49359"/>
                  </a:lnTo>
                  <a:lnTo>
                    <a:pt x="4496" y="49444"/>
                  </a:lnTo>
                  <a:lnTo>
                    <a:pt x="4182" y="48130"/>
                  </a:lnTo>
                  <a:lnTo>
                    <a:pt x="4553" y="47549"/>
                  </a:lnTo>
                  <a:lnTo>
                    <a:pt x="5305" y="47625"/>
                  </a:lnTo>
                  <a:lnTo>
                    <a:pt x="5925" y="47873"/>
                  </a:lnTo>
                  <a:lnTo>
                    <a:pt x="6582" y="47273"/>
                  </a:lnTo>
                  <a:lnTo>
                    <a:pt x="6982" y="45511"/>
                  </a:lnTo>
                  <a:lnTo>
                    <a:pt x="5982" y="39338"/>
                  </a:lnTo>
                  <a:lnTo>
                    <a:pt x="7773" y="38795"/>
                  </a:lnTo>
                  <a:lnTo>
                    <a:pt x="7801" y="37900"/>
                  </a:lnTo>
                  <a:lnTo>
                    <a:pt x="7963" y="37109"/>
                  </a:lnTo>
                  <a:lnTo>
                    <a:pt x="9811" y="38186"/>
                  </a:lnTo>
                  <a:lnTo>
                    <a:pt x="12402" y="38205"/>
                  </a:lnTo>
                  <a:lnTo>
                    <a:pt x="14678" y="37986"/>
                  </a:lnTo>
                  <a:lnTo>
                    <a:pt x="15021" y="37376"/>
                  </a:lnTo>
                  <a:lnTo>
                    <a:pt x="15002" y="36500"/>
                  </a:lnTo>
                  <a:lnTo>
                    <a:pt x="14526" y="35805"/>
                  </a:lnTo>
                  <a:lnTo>
                    <a:pt x="13716" y="35252"/>
                  </a:lnTo>
                  <a:lnTo>
                    <a:pt x="13135" y="34395"/>
                  </a:lnTo>
                  <a:lnTo>
                    <a:pt x="11602" y="34014"/>
                  </a:lnTo>
                  <a:lnTo>
                    <a:pt x="6791" y="31785"/>
                  </a:lnTo>
                  <a:lnTo>
                    <a:pt x="4429" y="29413"/>
                  </a:lnTo>
                  <a:lnTo>
                    <a:pt x="4506" y="26889"/>
                  </a:lnTo>
                  <a:lnTo>
                    <a:pt x="5192" y="25508"/>
                  </a:lnTo>
                  <a:lnTo>
                    <a:pt x="6020" y="25022"/>
                  </a:lnTo>
                  <a:lnTo>
                    <a:pt x="5772" y="24555"/>
                  </a:lnTo>
                  <a:lnTo>
                    <a:pt x="3067" y="23384"/>
                  </a:lnTo>
                  <a:lnTo>
                    <a:pt x="2105" y="21755"/>
                  </a:lnTo>
                  <a:lnTo>
                    <a:pt x="2896" y="19669"/>
                  </a:lnTo>
                  <a:lnTo>
                    <a:pt x="1486" y="15412"/>
                  </a:lnTo>
                  <a:lnTo>
                    <a:pt x="0" y="12792"/>
                  </a:lnTo>
                  <a:lnTo>
                    <a:pt x="1457" y="11659"/>
                  </a:lnTo>
                  <a:lnTo>
                    <a:pt x="1657" y="10040"/>
                  </a:lnTo>
                  <a:lnTo>
                    <a:pt x="1772" y="9115"/>
                  </a:lnTo>
                  <a:lnTo>
                    <a:pt x="2372" y="9135"/>
                  </a:lnTo>
                  <a:lnTo>
                    <a:pt x="4725" y="8049"/>
                  </a:lnTo>
                  <a:lnTo>
                    <a:pt x="5582" y="7172"/>
                  </a:lnTo>
                  <a:lnTo>
                    <a:pt x="6077" y="6134"/>
                  </a:lnTo>
                  <a:lnTo>
                    <a:pt x="6639" y="5877"/>
                  </a:lnTo>
                  <a:lnTo>
                    <a:pt x="8211" y="7001"/>
                  </a:lnTo>
                  <a:lnTo>
                    <a:pt x="9877" y="7096"/>
                  </a:lnTo>
                  <a:lnTo>
                    <a:pt x="11735" y="6391"/>
                  </a:lnTo>
                  <a:lnTo>
                    <a:pt x="13135" y="5410"/>
                  </a:lnTo>
                  <a:lnTo>
                    <a:pt x="14802" y="4591"/>
                  </a:lnTo>
                  <a:lnTo>
                    <a:pt x="15564" y="4029"/>
                  </a:lnTo>
                  <a:lnTo>
                    <a:pt x="16536" y="3153"/>
                  </a:lnTo>
                  <a:lnTo>
                    <a:pt x="18488" y="543"/>
                  </a:lnTo>
                  <a:lnTo>
                    <a:pt x="20707" y="0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62" name="Forme libre : forme 48">
              <a:extLst>
                <a:ext uri="{FF2B5EF4-FFF2-40B4-BE49-F238E27FC236}">
                  <a16:creationId xmlns:a16="http://schemas.microsoft.com/office/drawing/2014/main" id="{96F62881-372D-DA79-D4A8-903186F3BBBA}"/>
                </a:ext>
              </a:extLst>
            </p:cNvPr>
            <p:cNvSpPr/>
            <p:nvPr/>
          </p:nvSpPr>
          <p:spPr>
            <a:xfrm>
              <a:off x="6002541" y="1869670"/>
              <a:ext cx="906687" cy="2005012"/>
            </a:xfrm>
            <a:custGeom>
              <a:avLst/>
              <a:gdLst>
                <a:gd name="connsiteX0" fmla="*/ 347815 w 347814"/>
                <a:gd name="connsiteY0" fmla="*/ 225095 h 799204"/>
                <a:gd name="connsiteX1" fmla="*/ 340728 w 347814"/>
                <a:gd name="connsiteY1" fmla="*/ 226600 h 799204"/>
                <a:gd name="connsiteX2" fmla="*/ 335404 w 347814"/>
                <a:gd name="connsiteY2" fmla="*/ 223580 h 799204"/>
                <a:gd name="connsiteX3" fmla="*/ 332746 w 347814"/>
                <a:gd name="connsiteY3" fmla="*/ 225095 h 799204"/>
                <a:gd name="connsiteX4" fmla="*/ 328107 w 347814"/>
                <a:gd name="connsiteY4" fmla="*/ 225161 h 799204"/>
                <a:gd name="connsiteX5" fmla="*/ 322831 w 347814"/>
                <a:gd name="connsiteY5" fmla="*/ 226352 h 799204"/>
                <a:gd name="connsiteX6" fmla="*/ 321050 w 347814"/>
                <a:gd name="connsiteY6" fmla="*/ 228705 h 799204"/>
                <a:gd name="connsiteX7" fmla="*/ 319649 w 347814"/>
                <a:gd name="connsiteY7" fmla="*/ 229648 h 799204"/>
                <a:gd name="connsiteX8" fmla="*/ 314763 w 347814"/>
                <a:gd name="connsiteY8" fmla="*/ 226324 h 799204"/>
                <a:gd name="connsiteX9" fmla="*/ 310143 w 347814"/>
                <a:gd name="connsiteY9" fmla="*/ 220808 h 799204"/>
                <a:gd name="connsiteX10" fmla="*/ 306771 w 347814"/>
                <a:gd name="connsiteY10" fmla="*/ 225009 h 799204"/>
                <a:gd name="connsiteX11" fmla="*/ 304590 w 347814"/>
                <a:gd name="connsiteY11" fmla="*/ 225800 h 799204"/>
                <a:gd name="connsiteX12" fmla="*/ 302619 w 347814"/>
                <a:gd name="connsiteY12" fmla="*/ 221999 h 799204"/>
                <a:gd name="connsiteX13" fmla="*/ 300904 w 347814"/>
                <a:gd name="connsiteY13" fmla="*/ 221380 h 799204"/>
                <a:gd name="connsiteX14" fmla="*/ 299980 w 347814"/>
                <a:gd name="connsiteY14" fmla="*/ 222647 h 799204"/>
                <a:gd name="connsiteX15" fmla="*/ 299171 w 347814"/>
                <a:gd name="connsiteY15" fmla="*/ 226009 h 799204"/>
                <a:gd name="connsiteX16" fmla="*/ 297875 w 347814"/>
                <a:gd name="connsiteY16" fmla="*/ 228648 h 799204"/>
                <a:gd name="connsiteX17" fmla="*/ 297532 w 347814"/>
                <a:gd name="connsiteY17" fmla="*/ 230314 h 799204"/>
                <a:gd name="connsiteX18" fmla="*/ 297313 w 347814"/>
                <a:gd name="connsiteY18" fmla="*/ 237020 h 799204"/>
                <a:gd name="connsiteX19" fmla="*/ 296980 w 347814"/>
                <a:gd name="connsiteY19" fmla="*/ 238573 h 799204"/>
                <a:gd name="connsiteX20" fmla="*/ 292494 w 347814"/>
                <a:gd name="connsiteY20" fmla="*/ 237706 h 799204"/>
                <a:gd name="connsiteX21" fmla="*/ 292760 w 347814"/>
                <a:gd name="connsiteY21" fmla="*/ 239468 h 799204"/>
                <a:gd name="connsiteX22" fmla="*/ 293741 w 347814"/>
                <a:gd name="connsiteY22" fmla="*/ 240354 h 799204"/>
                <a:gd name="connsiteX23" fmla="*/ 294141 w 347814"/>
                <a:gd name="connsiteY23" fmla="*/ 241468 h 799204"/>
                <a:gd name="connsiteX24" fmla="*/ 292512 w 347814"/>
                <a:gd name="connsiteY24" fmla="*/ 242926 h 799204"/>
                <a:gd name="connsiteX25" fmla="*/ 288064 w 347814"/>
                <a:gd name="connsiteY25" fmla="*/ 242783 h 799204"/>
                <a:gd name="connsiteX26" fmla="*/ 287607 w 347814"/>
                <a:gd name="connsiteY26" fmla="*/ 244335 h 799204"/>
                <a:gd name="connsiteX27" fmla="*/ 288855 w 347814"/>
                <a:gd name="connsiteY27" fmla="*/ 246774 h 799204"/>
                <a:gd name="connsiteX28" fmla="*/ 287874 w 347814"/>
                <a:gd name="connsiteY28" fmla="*/ 248917 h 799204"/>
                <a:gd name="connsiteX29" fmla="*/ 286969 w 347814"/>
                <a:gd name="connsiteY29" fmla="*/ 249755 h 799204"/>
                <a:gd name="connsiteX30" fmla="*/ 281644 w 347814"/>
                <a:gd name="connsiteY30" fmla="*/ 251079 h 799204"/>
                <a:gd name="connsiteX31" fmla="*/ 278568 w 347814"/>
                <a:gd name="connsiteY31" fmla="*/ 250774 h 799204"/>
                <a:gd name="connsiteX32" fmla="*/ 277682 w 347814"/>
                <a:gd name="connsiteY32" fmla="*/ 252155 h 799204"/>
                <a:gd name="connsiteX33" fmla="*/ 277444 w 347814"/>
                <a:gd name="connsiteY33" fmla="*/ 253946 h 799204"/>
                <a:gd name="connsiteX34" fmla="*/ 278025 w 347814"/>
                <a:gd name="connsiteY34" fmla="*/ 255708 h 799204"/>
                <a:gd name="connsiteX35" fmla="*/ 279387 w 347814"/>
                <a:gd name="connsiteY35" fmla="*/ 256642 h 799204"/>
                <a:gd name="connsiteX36" fmla="*/ 279835 w 347814"/>
                <a:gd name="connsiteY36" fmla="*/ 257756 h 799204"/>
                <a:gd name="connsiteX37" fmla="*/ 279739 w 347814"/>
                <a:gd name="connsiteY37" fmla="*/ 260166 h 799204"/>
                <a:gd name="connsiteX38" fmla="*/ 278606 w 347814"/>
                <a:gd name="connsiteY38" fmla="*/ 260604 h 799204"/>
                <a:gd name="connsiteX39" fmla="*/ 275406 w 347814"/>
                <a:gd name="connsiteY39" fmla="*/ 256365 h 799204"/>
                <a:gd name="connsiteX40" fmla="*/ 274425 w 347814"/>
                <a:gd name="connsiteY40" fmla="*/ 256584 h 799204"/>
                <a:gd name="connsiteX41" fmla="*/ 275158 w 347814"/>
                <a:gd name="connsiteY41" fmla="*/ 258785 h 799204"/>
                <a:gd name="connsiteX42" fmla="*/ 276987 w 347814"/>
                <a:gd name="connsiteY42" fmla="*/ 261185 h 799204"/>
                <a:gd name="connsiteX43" fmla="*/ 278044 w 347814"/>
                <a:gd name="connsiteY43" fmla="*/ 263633 h 799204"/>
                <a:gd name="connsiteX44" fmla="*/ 278968 w 347814"/>
                <a:gd name="connsiteY44" fmla="*/ 266567 h 799204"/>
                <a:gd name="connsiteX45" fmla="*/ 278787 w 347814"/>
                <a:gd name="connsiteY45" fmla="*/ 268796 h 799204"/>
                <a:gd name="connsiteX46" fmla="*/ 274806 w 347814"/>
                <a:gd name="connsiteY46" fmla="*/ 275958 h 799204"/>
                <a:gd name="connsiteX47" fmla="*/ 271300 w 347814"/>
                <a:gd name="connsiteY47" fmla="*/ 280464 h 799204"/>
                <a:gd name="connsiteX48" fmla="*/ 268691 w 347814"/>
                <a:gd name="connsiteY48" fmla="*/ 284512 h 799204"/>
                <a:gd name="connsiteX49" fmla="*/ 267148 w 347814"/>
                <a:gd name="connsiteY49" fmla="*/ 288798 h 799204"/>
                <a:gd name="connsiteX50" fmla="*/ 268938 w 347814"/>
                <a:gd name="connsiteY50" fmla="*/ 290951 h 799204"/>
                <a:gd name="connsiteX51" fmla="*/ 270920 w 347814"/>
                <a:gd name="connsiteY51" fmla="*/ 294056 h 799204"/>
                <a:gd name="connsiteX52" fmla="*/ 272319 w 347814"/>
                <a:gd name="connsiteY52" fmla="*/ 300009 h 799204"/>
                <a:gd name="connsiteX53" fmla="*/ 273987 w 347814"/>
                <a:gd name="connsiteY53" fmla="*/ 305305 h 799204"/>
                <a:gd name="connsiteX54" fmla="*/ 277349 w 347814"/>
                <a:gd name="connsiteY54" fmla="*/ 310344 h 799204"/>
                <a:gd name="connsiteX55" fmla="*/ 276673 w 347814"/>
                <a:gd name="connsiteY55" fmla="*/ 313249 h 799204"/>
                <a:gd name="connsiteX56" fmla="*/ 275891 w 347814"/>
                <a:gd name="connsiteY56" fmla="*/ 315506 h 799204"/>
                <a:gd name="connsiteX57" fmla="*/ 270300 w 347814"/>
                <a:gd name="connsiteY57" fmla="*/ 320469 h 799204"/>
                <a:gd name="connsiteX58" fmla="*/ 263957 w 347814"/>
                <a:gd name="connsiteY58" fmla="*/ 327917 h 799204"/>
                <a:gd name="connsiteX59" fmla="*/ 257117 w 347814"/>
                <a:gd name="connsiteY59" fmla="*/ 346815 h 799204"/>
                <a:gd name="connsiteX60" fmla="*/ 254841 w 347814"/>
                <a:gd name="connsiteY60" fmla="*/ 349339 h 799204"/>
                <a:gd name="connsiteX61" fmla="*/ 248860 w 347814"/>
                <a:gd name="connsiteY61" fmla="*/ 352511 h 799204"/>
                <a:gd name="connsiteX62" fmla="*/ 246659 w 347814"/>
                <a:gd name="connsiteY62" fmla="*/ 355578 h 799204"/>
                <a:gd name="connsiteX63" fmla="*/ 242202 w 347814"/>
                <a:gd name="connsiteY63" fmla="*/ 359216 h 799204"/>
                <a:gd name="connsiteX64" fmla="*/ 234419 w 347814"/>
                <a:gd name="connsiteY64" fmla="*/ 362341 h 799204"/>
                <a:gd name="connsiteX65" fmla="*/ 230895 w 347814"/>
                <a:gd name="connsiteY65" fmla="*/ 366684 h 799204"/>
                <a:gd name="connsiteX66" fmla="*/ 229305 w 347814"/>
                <a:gd name="connsiteY66" fmla="*/ 371161 h 799204"/>
                <a:gd name="connsiteX67" fmla="*/ 227533 w 347814"/>
                <a:gd name="connsiteY67" fmla="*/ 371484 h 799204"/>
                <a:gd name="connsiteX68" fmla="*/ 225771 w 347814"/>
                <a:gd name="connsiteY68" fmla="*/ 369732 h 799204"/>
                <a:gd name="connsiteX69" fmla="*/ 223428 w 347814"/>
                <a:gd name="connsiteY69" fmla="*/ 368427 h 799204"/>
                <a:gd name="connsiteX70" fmla="*/ 223123 w 347814"/>
                <a:gd name="connsiteY70" fmla="*/ 371351 h 799204"/>
                <a:gd name="connsiteX71" fmla="*/ 223228 w 347814"/>
                <a:gd name="connsiteY71" fmla="*/ 373494 h 799204"/>
                <a:gd name="connsiteX72" fmla="*/ 219475 w 347814"/>
                <a:gd name="connsiteY72" fmla="*/ 370322 h 799204"/>
                <a:gd name="connsiteX73" fmla="*/ 217703 w 347814"/>
                <a:gd name="connsiteY73" fmla="*/ 373237 h 799204"/>
                <a:gd name="connsiteX74" fmla="*/ 216322 w 347814"/>
                <a:gd name="connsiteY74" fmla="*/ 378085 h 799204"/>
                <a:gd name="connsiteX75" fmla="*/ 210921 w 347814"/>
                <a:gd name="connsiteY75" fmla="*/ 384600 h 799204"/>
                <a:gd name="connsiteX76" fmla="*/ 205101 w 347814"/>
                <a:gd name="connsiteY76" fmla="*/ 383429 h 799204"/>
                <a:gd name="connsiteX77" fmla="*/ 204454 w 347814"/>
                <a:gd name="connsiteY77" fmla="*/ 384572 h 799204"/>
                <a:gd name="connsiteX78" fmla="*/ 205997 w 347814"/>
                <a:gd name="connsiteY78" fmla="*/ 385400 h 799204"/>
                <a:gd name="connsiteX79" fmla="*/ 206235 w 347814"/>
                <a:gd name="connsiteY79" fmla="*/ 386439 h 799204"/>
                <a:gd name="connsiteX80" fmla="*/ 205178 w 347814"/>
                <a:gd name="connsiteY80" fmla="*/ 386991 h 799204"/>
                <a:gd name="connsiteX81" fmla="*/ 203578 w 347814"/>
                <a:gd name="connsiteY81" fmla="*/ 386934 h 799204"/>
                <a:gd name="connsiteX82" fmla="*/ 201111 w 347814"/>
                <a:gd name="connsiteY82" fmla="*/ 388220 h 799204"/>
                <a:gd name="connsiteX83" fmla="*/ 199491 w 347814"/>
                <a:gd name="connsiteY83" fmla="*/ 388125 h 799204"/>
                <a:gd name="connsiteX84" fmla="*/ 198720 w 347814"/>
                <a:gd name="connsiteY84" fmla="*/ 391192 h 799204"/>
                <a:gd name="connsiteX85" fmla="*/ 197462 w 347814"/>
                <a:gd name="connsiteY85" fmla="*/ 394897 h 799204"/>
                <a:gd name="connsiteX86" fmla="*/ 194177 w 347814"/>
                <a:gd name="connsiteY86" fmla="*/ 396430 h 799204"/>
                <a:gd name="connsiteX87" fmla="*/ 192481 w 347814"/>
                <a:gd name="connsiteY87" fmla="*/ 396745 h 799204"/>
                <a:gd name="connsiteX88" fmla="*/ 191643 w 347814"/>
                <a:gd name="connsiteY88" fmla="*/ 398850 h 799204"/>
                <a:gd name="connsiteX89" fmla="*/ 196701 w 347814"/>
                <a:gd name="connsiteY89" fmla="*/ 399288 h 799204"/>
                <a:gd name="connsiteX90" fmla="*/ 196301 w 347814"/>
                <a:gd name="connsiteY90" fmla="*/ 401069 h 799204"/>
                <a:gd name="connsiteX91" fmla="*/ 196186 w 347814"/>
                <a:gd name="connsiteY91" fmla="*/ 402850 h 799204"/>
                <a:gd name="connsiteX92" fmla="*/ 195662 w 347814"/>
                <a:gd name="connsiteY92" fmla="*/ 404755 h 799204"/>
                <a:gd name="connsiteX93" fmla="*/ 189909 w 347814"/>
                <a:gd name="connsiteY93" fmla="*/ 407499 h 799204"/>
                <a:gd name="connsiteX94" fmla="*/ 189023 w 347814"/>
                <a:gd name="connsiteY94" fmla="*/ 409651 h 799204"/>
                <a:gd name="connsiteX95" fmla="*/ 187823 w 347814"/>
                <a:gd name="connsiteY95" fmla="*/ 410985 h 799204"/>
                <a:gd name="connsiteX96" fmla="*/ 185261 w 347814"/>
                <a:gd name="connsiteY96" fmla="*/ 410909 h 799204"/>
                <a:gd name="connsiteX97" fmla="*/ 185356 w 347814"/>
                <a:gd name="connsiteY97" fmla="*/ 409670 h 799204"/>
                <a:gd name="connsiteX98" fmla="*/ 185775 w 347814"/>
                <a:gd name="connsiteY98" fmla="*/ 408270 h 799204"/>
                <a:gd name="connsiteX99" fmla="*/ 181966 w 347814"/>
                <a:gd name="connsiteY99" fmla="*/ 408394 h 799204"/>
                <a:gd name="connsiteX100" fmla="*/ 180775 w 347814"/>
                <a:gd name="connsiteY100" fmla="*/ 405298 h 799204"/>
                <a:gd name="connsiteX101" fmla="*/ 180051 w 347814"/>
                <a:gd name="connsiteY101" fmla="*/ 406089 h 799204"/>
                <a:gd name="connsiteX102" fmla="*/ 180480 w 347814"/>
                <a:gd name="connsiteY102" fmla="*/ 408584 h 799204"/>
                <a:gd name="connsiteX103" fmla="*/ 181470 w 347814"/>
                <a:gd name="connsiteY103" fmla="*/ 411175 h 799204"/>
                <a:gd name="connsiteX104" fmla="*/ 182585 w 347814"/>
                <a:gd name="connsiteY104" fmla="*/ 414976 h 799204"/>
                <a:gd name="connsiteX105" fmla="*/ 181680 w 347814"/>
                <a:gd name="connsiteY105" fmla="*/ 417366 h 799204"/>
                <a:gd name="connsiteX106" fmla="*/ 180680 w 347814"/>
                <a:gd name="connsiteY106" fmla="*/ 418557 h 799204"/>
                <a:gd name="connsiteX107" fmla="*/ 181413 w 347814"/>
                <a:gd name="connsiteY107" fmla="*/ 419652 h 799204"/>
                <a:gd name="connsiteX108" fmla="*/ 183442 w 347814"/>
                <a:gd name="connsiteY108" fmla="*/ 420491 h 799204"/>
                <a:gd name="connsiteX109" fmla="*/ 184261 w 347814"/>
                <a:gd name="connsiteY109" fmla="*/ 421986 h 799204"/>
                <a:gd name="connsiteX110" fmla="*/ 181851 w 347814"/>
                <a:gd name="connsiteY110" fmla="*/ 423262 h 799204"/>
                <a:gd name="connsiteX111" fmla="*/ 178841 w 347814"/>
                <a:gd name="connsiteY111" fmla="*/ 427644 h 799204"/>
                <a:gd name="connsiteX112" fmla="*/ 175717 w 347814"/>
                <a:gd name="connsiteY112" fmla="*/ 427749 h 799204"/>
                <a:gd name="connsiteX113" fmla="*/ 173812 w 347814"/>
                <a:gd name="connsiteY113" fmla="*/ 430644 h 799204"/>
                <a:gd name="connsiteX114" fmla="*/ 171783 w 347814"/>
                <a:gd name="connsiteY114" fmla="*/ 430635 h 799204"/>
                <a:gd name="connsiteX115" fmla="*/ 170136 w 347814"/>
                <a:gd name="connsiteY115" fmla="*/ 428815 h 799204"/>
                <a:gd name="connsiteX116" fmla="*/ 167497 w 347814"/>
                <a:gd name="connsiteY116" fmla="*/ 427320 h 799204"/>
                <a:gd name="connsiteX117" fmla="*/ 166649 w 347814"/>
                <a:gd name="connsiteY117" fmla="*/ 429949 h 799204"/>
                <a:gd name="connsiteX118" fmla="*/ 166516 w 347814"/>
                <a:gd name="connsiteY118" fmla="*/ 432044 h 799204"/>
                <a:gd name="connsiteX119" fmla="*/ 168002 w 347814"/>
                <a:gd name="connsiteY119" fmla="*/ 437331 h 799204"/>
                <a:gd name="connsiteX120" fmla="*/ 170840 w 347814"/>
                <a:gd name="connsiteY120" fmla="*/ 441408 h 799204"/>
                <a:gd name="connsiteX121" fmla="*/ 173469 w 347814"/>
                <a:gd name="connsiteY121" fmla="*/ 443170 h 799204"/>
                <a:gd name="connsiteX122" fmla="*/ 171574 w 347814"/>
                <a:gd name="connsiteY122" fmla="*/ 444360 h 799204"/>
                <a:gd name="connsiteX123" fmla="*/ 170164 w 347814"/>
                <a:gd name="connsiteY123" fmla="*/ 446989 h 799204"/>
                <a:gd name="connsiteX124" fmla="*/ 168459 w 347814"/>
                <a:gd name="connsiteY124" fmla="*/ 455181 h 799204"/>
                <a:gd name="connsiteX125" fmla="*/ 167535 w 347814"/>
                <a:gd name="connsiteY125" fmla="*/ 458400 h 799204"/>
                <a:gd name="connsiteX126" fmla="*/ 166535 w 347814"/>
                <a:gd name="connsiteY126" fmla="*/ 464058 h 799204"/>
                <a:gd name="connsiteX127" fmla="*/ 167164 w 347814"/>
                <a:gd name="connsiteY127" fmla="*/ 468821 h 799204"/>
                <a:gd name="connsiteX128" fmla="*/ 167678 w 347814"/>
                <a:gd name="connsiteY128" fmla="*/ 471154 h 799204"/>
                <a:gd name="connsiteX129" fmla="*/ 168964 w 347814"/>
                <a:gd name="connsiteY129" fmla="*/ 474326 h 799204"/>
                <a:gd name="connsiteX130" fmla="*/ 165468 w 347814"/>
                <a:gd name="connsiteY130" fmla="*/ 473916 h 799204"/>
                <a:gd name="connsiteX131" fmla="*/ 161773 w 347814"/>
                <a:gd name="connsiteY131" fmla="*/ 472068 h 799204"/>
                <a:gd name="connsiteX132" fmla="*/ 162287 w 347814"/>
                <a:gd name="connsiteY132" fmla="*/ 475907 h 799204"/>
                <a:gd name="connsiteX133" fmla="*/ 160020 w 347814"/>
                <a:gd name="connsiteY133" fmla="*/ 480441 h 799204"/>
                <a:gd name="connsiteX134" fmla="*/ 160439 w 347814"/>
                <a:gd name="connsiteY134" fmla="*/ 484422 h 799204"/>
                <a:gd name="connsiteX135" fmla="*/ 160915 w 347814"/>
                <a:gd name="connsiteY135" fmla="*/ 487004 h 799204"/>
                <a:gd name="connsiteX136" fmla="*/ 160211 w 347814"/>
                <a:gd name="connsiteY136" fmla="*/ 491280 h 799204"/>
                <a:gd name="connsiteX137" fmla="*/ 161277 w 347814"/>
                <a:gd name="connsiteY137" fmla="*/ 492623 h 799204"/>
                <a:gd name="connsiteX138" fmla="*/ 161858 w 347814"/>
                <a:gd name="connsiteY138" fmla="*/ 495167 h 799204"/>
                <a:gd name="connsiteX139" fmla="*/ 160896 w 347814"/>
                <a:gd name="connsiteY139" fmla="*/ 497043 h 799204"/>
                <a:gd name="connsiteX140" fmla="*/ 161315 w 347814"/>
                <a:gd name="connsiteY140" fmla="*/ 498653 h 799204"/>
                <a:gd name="connsiteX141" fmla="*/ 161477 w 347814"/>
                <a:gd name="connsiteY141" fmla="*/ 504339 h 799204"/>
                <a:gd name="connsiteX142" fmla="*/ 162201 w 347814"/>
                <a:gd name="connsiteY142" fmla="*/ 513207 h 799204"/>
                <a:gd name="connsiteX143" fmla="*/ 161934 w 347814"/>
                <a:gd name="connsiteY143" fmla="*/ 515074 h 799204"/>
                <a:gd name="connsiteX144" fmla="*/ 163963 w 347814"/>
                <a:gd name="connsiteY144" fmla="*/ 522732 h 799204"/>
                <a:gd name="connsiteX145" fmla="*/ 163496 w 347814"/>
                <a:gd name="connsiteY145" fmla="*/ 525409 h 799204"/>
                <a:gd name="connsiteX146" fmla="*/ 163220 w 347814"/>
                <a:gd name="connsiteY146" fmla="*/ 528809 h 799204"/>
                <a:gd name="connsiteX147" fmla="*/ 166135 w 347814"/>
                <a:gd name="connsiteY147" fmla="*/ 532076 h 799204"/>
                <a:gd name="connsiteX148" fmla="*/ 168726 w 347814"/>
                <a:gd name="connsiteY148" fmla="*/ 532028 h 799204"/>
                <a:gd name="connsiteX149" fmla="*/ 171355 w 347814"/>
                <a:gd name="connsiteY149" fmla="*/ 531981 h 799204"/>
                <a:gd name="connsiteX150" fmla="*/ 172355 w 347814"/>
                <a:gd name="connsiteY150" fmla="*/ 532790 h 799204"/>
                <a:gd name="connsiteX151" fmla="*/ 173364 w 347814"/>
                <a:gd name="connsiteY151" fmla="*/ 535095 h 799204"/>
                <a:gd name="connsiteX152" fmla="*/ 174174 w 347814"/>
                <a:gd name="connsiteY152" fmla="*/ 537820 h 799204"/>
                <a:gd name="connsiteX153" fmla="*/ 176336 w 347814"/>
                <a:gd name="connsiteY153" fmla="*/ 537601 h 799204"/>
                <a:gd name="connsiteX154" fmla="*/ 179794 w 347814"/>
                <a:gd name="connsiteY154" fmla="*/ 535391 h 799204"/>
                <a:gd name="connsiteX155" fmla="*/ 182042 w 347814"/>
                <a:gd name="connsiteY155" fmla="*/ 534867 h 799204"/>
                <a:gd name="connsiteX156" fmla="*/ 183528 w 347814"/>
                <a:gd name="connsiteY156" fmla="*/ 539115 h 799204"/>
                <a:gd name="connsiteX157" fmla="*/ 187566 w 347814"/>
                <a:gd name="connsiteY157" fmla="*/ 544716 h 799204"/>
                <a:gd name="connsiteX158" fmla="*/ 189919 w 347814"/>
                <a:gd name="connsiteY158" fmla="*/ 547221 h 799204"/>
                <a:gd name="connsiteX159" fmla="*/ 193910 w 347814"/>
                <a:gd name="connsiteY159" fmla="*/ 548545 h 799204"/>
                <a:gd name="connsiteX160" fmla="*/ 198120 w 347814"/>
                <a:gd name="connsiteY160" fmla="*/ 553041 h 799204"/>
                <a:gd name="connsiteX161" fmla="*/ 197529 w 347814"/>
                <a:gd name="connsiteY161" fmla="*/ 558451 h 799204"/>
                <a:gd name="connsiteX162" fmla="*/ 199282 w 347814"/>
                <a:gd name="connsiteY162" fmla="*/ 560251 h 799204"/>
                <a:gd name="connsiteX163" fmla="*/ 204245 w 347814"/>
                <a:gd name="connsiteY163" fmla="*/ 562375 h 799204"/>
                <a:gd name="connsiteX164" fmla="*/ 206007 w 347814"/>
                <a:gd name="connsiteY164" fmla="*/ 565242 h 799204"/>
                <a:gd name="connsiteX165" fmla="*/ 206854 w 347814"/>
                <a:gd name="connsiteY165" fmla="*/ 567680 h 799204"/>
                <a:gd name="connsiteX166" fmla="*/ 208159 w 347814"/>
                <a:gd name="connsiteY166" fmla="*/ 569700 h 799204"/>
                <a:gd name="connsiteX167" fmla="*/ 209693 w 347814"/>
                <a:gd name="connsiteY167" fmla="*/ 575786 h 799204"/>
                <a:gd name="connsiteX168" fmla="*/ 209159 w 347814"/>
                <a:gd name="connsiteY168" fmla="*/ 579530 h 799204"/>
                <a:gd name="connsiteX169" fmla="*/ 207159 w 347814"/>
                <a:gd name="connsiteY169" fmla="*/ 580815 h 799204"/>
                <a:gd name="connsiteX170" fmla="*/ 202425 w 347814"/>
                <a:gd name="connsiteY170" fmla="*/ 584816 h 799204"/>
                <a:gd name="connsiteX171" fmla="*/ 200320 w 347814"/>
                <a:gd name="connsiteY171" fmla="*/ 587797 h 799204"/>
                <a:gd name="connsiteX172" fmla="*/ 198672 w 347814"/>
                <a:gd name="connsiteY172" fmla="*/ 589645 h 799204"/>
                <a:gd name="connsiteX173" fmla="*/ 193977 w 347814"/>
                <a:gd name="connsiteY173" fmla="*/ 593617 h 799204"/>
                <a:gd name="connsiteX174" fmla="*/ 192252 w 347814"/>
                <a:gd name="connsiteY174" fmla="*/ 594331 h 799204"/>
                <a:gd name="connsiteX175" fmla="*/ 190605 w 347814"/>
                <a:gd name="connsiteY175" fmla="*/ 596389 h 799204"/>
                <a:gd name="connsiteX176" fmla="*/ 189014 w 347814"/>
                <a:gd name="connsiteY176" fmla="*/ 597294 h 799204"/>
                <a:gd name="connsiteX177" fmla="*/ 187585 w 347814"/>
                <a:gd name="connsiteY177" fmla="*/ 596779 h 799204"/>
                <a:gd name="connsiteX178" fmla="*/ 182251 w 347814"/>
                <a:gd name="connsiteY178" fmla="*/ 600504 h 799204"/>
                <a:gd name="connsiteX179" fmla="*/ 178651 w 347814"/>
                <a:gd name="connsiteY179" fmla="*/ 599475 h 799204"/>
                <a:gd name="connsiteX180" fmla="*/ 177136 w 347814"/>
                <a:gd name="connsiteY180" fmla="*/ 597637 h 799204"/>
                <a:gd name="connsiteX181" fmla="*/ 178098 w 347814"/>
                <a:gd name="connsiteY181" fmla="*/ 590321 h 799204"/>
                <a:gd name="connsiteX182" fmla="*/ 177498 w 347814"/>
                <a:gd name="connsiteY182" fmla="*/ 587959 h 799204"/>
                <a:gd name="connsiteX183" fmla="*/ 176803 w 347814"/>
                <a:gd name="connsiteY183" fmla="*/ 586769 h 799204"/>
                <a:gd name="connsiteX184" fmla="*/ 174441 w 347814"/>
                <a:gd name="connsiteY184" fmla="*/ 588131 h 799204"/>
                <a:gd name="connsiteX185" fmla="*/ 174860 w 347814"/>
                <a:gd name="connsiteY185" fmla="*/ 590931 h 799204"/>
                <a:gd name="connsiteX186" fmla="*/ 170774 w 347814"/>
                <a:gd name="connsiteY186" fmla="*/ 591045 h 799204"/>
                <a:gd name="connsiteX187" fmla="*/ 166925 w 347814"/>
                <a:gd name="connsiteY187" fmla="*/ 588674 h 799204"/>
                <a:gd name="connsiteX188" fmla="*/ 166430 w 347814"/>
                <a:gd name="connsiteY188" fmla="*/ 593341 h 799204"/>
                <a:gd name="connsiteX189" fmla="*/ 158162 w 347814"/>
                <a:gd name="connsiteY189" fmla="*/ 589474 h 799204"/>
                <a:gd name="connsiteX190" fmla="*/ 155886 w 347814"/>
                <a:gd name="connsiteY190" fmla="*/ 590455 h 799204"/>
                <a:gd name="connsiteX191" fmla="*/ 152238 w 347814"/>
                <a:gd name="connsiteY191" fmla="*/ 588512 h 799204"/>
                <a:gd name="connsiteX192" fmla="*/ 149866 w 347814"/>
                <a:gd name="connsiteY192" fmla="*/ 590836 h 799204"/>
                <a:gd name="connsiteX193" fmla="*/ 147047 w 347814"/>
                <a:gd name="connsiteY193" fmla="*/ 589998 h 799204"/>
                <a:gd name="connsiteX194" fmla="*/ 145094 w 347814"/>
                <a:gd name="connsiteY194" fmla="*/ 587235 h 799204"/>
                <a:gd name="connsiteX195" fmla="*/ 142389 w 347814"/>
                <a:gd name="connsiteY195" fmla="*/ 592093 h 799204"/>
                <a:gd name="connsiteX196" fmla="*/ 136484 w 347814"/>
                <a:gd name="connsiteY196" fmla="*/ 593474 h 799204"/>
                <a:gd name="connsiteX197" fmla="*/ 130930 w 347814"/>
                <a:gd name="connsiteY197" fmla="*/ 594246 h 799204"/>
                <a:gd name="connsiteX198" fmla="*/ 133607 w 347814"/>
                <a:gd name="connsiteY198" fmla="*/ 595865 h 799204"/>
                <a:gd name="connsiteX199" fmla="*/ 146066 w 347814"/>
                <a:gd name="connsiteY199" fmla="*/ 595560 h 799204"/>
                <a:gd name="connsiteX200" fmla="*/ 149590 w 347814"/>
                <a:gd name="connsiteY200" fmla="*/ 596760 h 799204"/>
                <a:gd name="connsiteX201" fmla="*/ 154171 w 347814"/>
                <a:gd name="connsiteY201" fmla="*/ 595960 h 799204"/>
                <a:gd name="connsiteX202" fmla="*/ 158229 w 347814"/>
                <a:gd name="connsiteY202" fmla="*/ 599770 h 799204"/>
                <a:gd name="connsiteX203" fmla="*/ 161154 w 347814"/>
                <a:gd name="connsiteY203" fmla="*/ 600685 h 799204"/>
                <a:gd name="connsiteX204" fmla="*/ 164611 w 347814"/>
                <a:gd name="connsiteY204" fmla="*/ 605057 h 799204"/>
                <a:gd name="connsiteX205" fmla="*/ 166382 w 347814"/>
                <a:gd name="connsiteY205" fmla="*/ 603866 h 799204"/>
                <a:gd name="connsiteX206" fmla="*/ 169164 w 347814"/>
                <a:gd name="connsiteY206" fmla="*/ 604047 h 799204"/>
                <a:gd name="connsiteX207" fmla="*/ 171735 w 347814"/>
                <a:gd name="connsiteY207" fmla="*/ 605295 h 799204"/>
                <a:gd name="connsiteX208" fmla="*/ 179898 w 347814"/>
                <a:gd name="connsiteY208" fmla="*/ 605133 h 799204"/>
                <a:gd name="connsiteX209" fmla="*/ 182670 w 347814"/>
                <a:gd name="connsiteY209" fmla="*/ 602085 h 799204"/>
                <a:gd name="connsiteX210" fmla="*/ 186757 w 347814"/>
                <a:gd name="connsiteY210" fmla="*/ 602751 h 799204"/>
                <a:gd name="connsiteX211" fmla="*/ 188843 w 347814"/>
                <a:gd name="connsiteY211" fmla="*/ 601961 h 799204"/>
                <a:gd name="connsiteX212" fmla="*/ 190442 w 347814"/>
                <a:gd name="connsiteY212" fmla="*/ 600094 h 799204"/>
                <a:gd name="connsiteX213" fmla="*/ 192195 w 347814"/>
                <a:gd name="connsiteY213" fmla="*/ 599665 h 799204"/>
                <a:gd name="connsiteX214" fmla="*/ 193786 w 347814"/>
                <a:gd name="connsiteY214" fmla="*/ 600018 h 799204"/>
                <a:gd name="connsiteX215" fmla="*/ 195482 w 347814"/>
                <a:gd name="connsiteY215" fmla="*/ 598541 h 799204"/>
                <a:gd name="connsiteX216" fmla="*/ 196815 w 347814"/>
                <a:gd name="connsiteY216" fmla="*/ 597951 h 799204"/>
                <a:gd name="connsiteX217" fmla="*/ 198187 w 347814"/>
                <a:gd name="connsiteY217" fmla="*/ 598665 h 799204"/>
                <a:gd name="connsiteX218" fmla="*/ 199720 w 347814"/>
                <a:gd name="connsiteY218" fmla="*/ 602199 h 799204"/>
                <a:gd name="connsiteX219" fmla="*/ 196539 w 347814"/>
                <a:gd name="connsiteY219" fmla="*/ 604028 h 799204"/>
                <a:gd name="connsiteX220" fmla="*/ 194281 w 347814"/>
                <a:gd name="connsiteY220" fmla="*/ 604114 h 799204"/>
                <a:gd name="connsiteX221" fmla="*/ 193177 w 347814"/>
                <a:gd name="connsiteY221" fmla="*/ 609886 h 799204"/>
                <a:gd name="connsiteX222" fmla="*/ 191814 w 347814"/>
                <a:gd name="connsiteY222" fmla="*/ 612362 h 799204"/>
                <a:gd name="connsiteX223" fmla="*/ 190833 w 347814"/>
                <a:gd name="connsiteY223" fmla="*/ 613553 h 799204"/>
                <a:gd name="connsiteX224" fmla="*/ 185833 w 347814"/>
                <a:gd name="connsiteY224" fmla="*/ 616001 h 799204"/>
                <a:gd name="connsiteX225" fmla="*/ 182527 w 347814"/>
                <a:gd name="connsiteY225" fmla="*/ 619097 h 799204"/>
                <a:gd name="connsiteX226" fmla="*/ 178632 w 347814"/>
                <a:gd name="connsiteY226" fmla="*/ 621582 h 799204"/>
                <a:gd name="connsiteX227" fmla="*/ 176936 w 347814"/>
                <a:gd name="connsiteY227" fmla="*/ 621039 h 799204"/>
                <a:gd name="connsiteX228" fmla="*/ 174374 w 347814"/>
                <a:gd name="connsiteY228" fmla="*/ 623564 h 799204"/>
                <a:gd name="connsiteX229" fmla="*/ 168687 w 347814"/>
                <a:gd name="connsiteY229" fmla="*/ 626545 h 799204"/>
                <a:gd name="connsiteX230" fmla="*/ 165764 w 347814"/>
                <a:gd name="connsiteY230" fmla="*/ 630564 h 799204"/>
                <a:gd name="connsiteX231" fmla="*/ 159220 w 347814"/>
                <a:gd name="connsiteY231" fmla="*/ 634146 h 799204"/>
                <a:gd name="connsiteX232" fmla="*/ 155886 w 347814"/>
                <a:gd name="connsiteY232" fmla="*/ 637061 h 799204"/>
                <a:gd name="connsiteX233" fmla="*/ 146828 w 347814"/>
                <a:gd name="connsiteY233" fmla="*/ 637213 h 799204"/>
                <a:gd name="connsiteX234" fmla="*/ 138179 w 347814"/>
                <a:gd name="connsiteY234" fmla="*/ 636575 h 799204"/>
                <a:gd name="connsiteX235" fmla="*/ 135464 w 347814"/>
                <a:gd name="connsiteY235" fmla="*/ 637956 h 799204"/>
                <a:gd name="connsiteX236" fmla="*/ 138246 w 347814"/>
                <a:gd name="connsiteY236" fmla="*/ 638385 h 799204"/>
                <a:gd name="connsiteX237" fmla="*/ 140189 w 347814"/>
                <a:gd name="connsiteY237" fmla="*/ 639737 h 799204"/>
                <a:gd name="connsiteX238" fmla="*/ 142523 w 347814"/>
                <a:gd name="connsiteY238" fmla="*/ 639166 h 799204"/>
                <a:gd name="connsiteX239" fmla="*/ 148009 w 347814"/>
                <a:gd name="connsiteY239" fmla="*/ 639842 h 799204"/>
                <a:gd name="connsiteX240" fmla="*/ 150828 w 347814"/>
                <a:gd name="connsiteY240" fmla="*/ 640585 h 799204"/>
                <a:gd name="connsiteX241" fmla="*/ 154448 w 347814"/>
                <a:gd name="connsiteY241" fmla="*/ 645328 h 799204"/>
                <a:gd name="connsiteX242" fmla="*/ 151790 w 347814"/>
                <a:gd name="connsiteY242" fmla="*/ 647005 h 799204"/>
                <a:gd name="connsiteX243" fmla="*/ 147180 w 347814"/>
                <a:gd name="connsiteY243" fmla="*/ 648300 h 799204"/>
                <a:gd name="connsiteX244" fmla="*/ 148914 w 347814"/>
                <a:gd name="connsiteY244" fmla="*/ 654987 h 799204"/>
                <a:gd name="connsiteX245" fmla="*/ 150333 w 347814"/>
                <a:gd name="connsiteY245" fmla="*/ 659482 h 799204"/>
                <a:gd name="connsiteX246" fmla="*/ 148466 w 347814"/>
                <a:gd name="connsiteY246" fmla="*/ 662188 h 799204"/>
                <a:gd name="connsiteX247" fmla="*/ 148323 w 347814"/>
                <a:gd name="connsiteY247" fmla="*/ 674446 h 799204"/>
                <a:gd name="connsiteX248" fmla="*/ 145704 w 347814"/>
                <a:gd name="connsiteY248" fmla="*/ 674675 h 799204"/>
                <a:gd name="connsiteX249" fmla="*/ 144589 w 347814"/>
                <a:gd name="connsiteY249" fmla="*/ 679723 h 799204"/>
                <a:gd name="connsiteX250" fmla="*/ 145409 w 347814"/>
                <a:gd name="connsiteY250" fmla="*/ 682295 h 799204"/>
                <a:gd name="connsiteX251" fmla="*/ 145342 w 347814"/>
                <a:gd name="connsiteY251" fmla="*/ 688248 h 799204"/>
                <a:gd name="connsiteX252" fmla="*/ 145885 w 347814"/>
                <a:gd name="connsiteY252" fmla="*/ 691905 h 799204"/>
                <a:gd name="connsiteX253" fmla="*/ 147171 w 347814"/>
                <a:gd name="connsiteY253" fmla="*/ 695268 h 799204"/>
                <a:gd name="connsiteX254" fmla="*/ 146599 w 347814"/>
                <a:gd name="connsiteY254" fmla="*/ 698763 h 799204"/>
                <a:gd name="connsiteX255" fmla="*/ 142456 w 347814"/>
                <a:gd name="connsiteY255" fmla="*/ 706926 h 799204"/>
                <a:gd name="connsiteX256" fmla="*/ 142541 w 347814"/>
                <a:gd name="connsiteY256" fmla="*/ 710746 h 799204"/>
                <a:gd name="connsiteX257" fmla="*/ 143294 w 347814"/>
                <a:gd name="connsiteY257" fmla="*/ 713013 h 799204"/>
                <a:gd name="connsiteX258" fmla="*/ 143846 w 347814"/>
                <a:gd name="connsiteY258" fmla="*/ 716623 h 799204"/>
                <a:gd name="connsiteX259" fmla="*/ 141961 w 347814"/>
                <a:gd name="connsiteY259" fmla="*/ 723547 h 799204"/>
                <a:gd name="connsiteX260" fmla="*/ 140637 w 347814"/>
                <a:gd name="connsiteY260" fmla="*/ 729310 h 799204"/>
                <a:gd name="connsiteX261" fmla="*/ 139055 w 347814"/>
                <a:gd name="connsiteY261" fmla="*/ 734149 h 799204"/>
                <a:gd name="connsiteX262" fmla="*/ 135521 w 347814"/>
                <a:gd name="connsiteY262" fmla="*/ 739930 h 799204"/>
                <a:gd name="connsiteX263" fmla="*/ 133759 w 347814"/>
                <a:gd name="connsiteY263" fmla="*/ 744245 h 799204"/>
                <a:gd name="connsiteX264" fmla="*/ 129644 w 347814"/>
                <a:gd name="connsiteY264" fmla="*/ 757647 h 799204"/>
                <a:gd name="connsiteX265" fmla="*/ 127606 w 347814"/>
                <a:gd name="connsiteY265" fmla="*/ 760295 h 799204"/>
                <a:gd name="connsiteX266" fmla="*/ 125101 w 347814"/>
                <a:gd name="connsiteY266" fmla="*/ 762324 h 799204"/>
                <a:gd name="connsiteX267" fmla="*/ 122311 w 347814"/>
                <a:gd name="connsiteY267" fmla="*/ 760448 h 799204"/>
                <a:gd name="connsiteX268" fmla="*/ 119748 w 347814"/>
                <a:gd name="connsiteY268" fmla="*/ 759428 h 799204"/>
                <a:gd name="connsiteX269" fmla="*/ 116624 w 347814"/>
                <a:gd name="connsiteY269" fmla="*/ 759552 h 799204"/>
                <a:gd name="connsiteX270" fmla="*/ 111728 w 347814"/>
                <a:gd name="connsiteY270" fmla="*/ 761095 h 799204"/>
                <a:gd name="connsiteX271" fmla="*/ 104365 w 347814"/>
                <a:gd name="connsiteY271" fmla="*/ 760066 h 799204"/>
                <a:gd name="connsiteX272" fmla="*/ 97174 w 347814"/>
                <a:gd name="connsiteY272" fmla="*/ 760562 h 799204"/>
                <a:gd name="connsiteX273" fmla="*/ 95355 w 347814"/>
                <a:gd name="connsiteY273" fmla="*/ 761886 h 799204"/>
                <a:gd name="connsiteX274" fmla="*/ 96450 w 347814"/>
                <a:gd name="connsiteY274" fmla="*/ 766715 h 799204"/>
                <a:gd name="connsiteX275" fmla="*/ 93793 w 347814"/>
                <a:gd name="connsiteY275" fmla="*/ 767344 h 799204"/>
                <a:gd name="connsiteX276" fmla="*/ 91202 w 347814"/>
                <a:gd name="connsiteY276" fmla="*/ 765972 h 799204"/>
                <a:gd name="connsiteX277" fmla="*/ 88916 w 347814"/>
                <a:gd name="connsiteY277" fmla="*/ 767610 h 799204"/>
                <a:gd name="connsiteX278" fmla="*/ 87011 w 347814"/>
                <a:gd name="connsiteY278" fmla="*/ 769401 h 799204"/>
                <a:gd name="connsiteX279" fmla="*/ 83268 w 347814"/>
                <a:gd name="connsiteY279" fmla="*/ 773649 h 799204"/>
                <a:gd name="connsiteX280" fmla="*/ 82010 w 347814"/>
                <a:gd name="connsiteY280" fmla="*/ 776259 h 799204"/>
                <a:gd name="connsiteX281" fmla="*/ 81686 w 347814"/>
                <a:gd name="connsiteY281" fmla="*/ 781164 h 799204"/>
                <a:gd name="connsiteX282" fmla="*/ 83658 w 347814"/>
                <a:gd name="connsiteY282" fmla="*/ 785555 h 799204"/>
                <a:gd name="connsiteX283" fmla="*/ 85401 w 347814"/>
                <a:gd name="connsiteY283" fmla="*/ 790689 h 799204"/>
                <a:gd name="connsiteX284" fmla="*/ 80915 w 347814"/>
                <a:gd name="connsiteY284" fmla="*/ 796852 h 799204"/>
                <a:gd name="connsiteX285" fmla="*/ 78410 w 347814"/>
                <a:gd name="connsiteY285" fmla="*/ 797062 h 799204"/>
                <a:gd name="connsiteX286" fmla="*/ 71095 w 347814"/>
                <a:gd name="connsiteY286" fmla="*/ 795347 h 799204"/>
                <a:gd name="connsiteX287" fmla="*/ 58131 w 347814"/>
                <a:gd name="connsiteY287" fmla="*/ 799205 h 799204"/>
                <a:gd name="connsiteX288" fmla="*/ 46491 w 347814"/>
                <a:gd name="connsiteY288" fmla="*/ 796157 h 799204"/>
                <a:gd name="connsiteX289" fmla="*/ 47949 w 347814"/>
                <a:gd name="connsiteY289" fmla="*/ 792851 h 799204"/>
                <a:gd name="connsiteX290" fmla="*/ 47901 w 347814"/>
                <a:gd name="connsiteY290" fmla="*/ 790423 h 799204"/>
                <a:gd name="connsiteX291" fmla="*/ 48558 w 347814"/>
                <a:gd name="connsiteY291" fmla="*/ 786679 h 799204"/>
                <a:gd name="connsiteX292" fmla="*/ 48949 w 347814"/>
                <a:gd name="connsiteY292" fmla="*/ 782841 h 799204"/>
                <a:gd name="connsiteX293" fmla="*/ 48844 w 347814"/>
                <a:gd name="connsiteY293" fmla="*/ 780269 h 799204"/>
                <a:gd name="connsiteX294" fmla="*/ 47987 w 347814"/>
                <a:gd name="connsiteY294" fmla="*/ 777516 h 799204"/>
                <a:gd name="connsiteX295" fmla="*/ 45120 w 347814"/>
                <a:gd name="connsiteY295" fmla="*/ 773916 h 799204"/>
                <a:gd name="connsiteX296" fmla="*/ 38652 w 347814"/>
                <a:gd name="connsiteY296" fmla="*/ 761714 h 799204"/>
                <a:gd name="connsiteX297" fmla="*/ 36738 w 347814"/>
                <a:gd name="connsiteY297" fmla="*/ 756542 h 799204"/>
                <a:gd name="connsiteX298" fmla="*/ 35404 w 347814"/>
                <a:gd name="connsiteY298" fmla="*/ 754380 h 799204"/>
                <a:gd name="connsiteX299" fmla="*/ 36366 w 347814"/>
                <a:gd name="connsiteY299" fmla="*/ 754266 h 799204"/>
                <a:gd name="connsiteX300" fmla="*/ 41700 w 347814"/>
                <a:gd name="connsiteY300" fmla="*/ 757047 h 799204"/>
                <a:gd name="connsiteX301" fmla="*/ 42939 w 347814"/>
                <a:gd name="connsiteY301" fmla="*/ 756704 h 799204"/>
                <a:gd name="connsiteX302" fmla="*/ 44244 w 347814"/>
                <a:gd name="connsiteY302" fmla="*/ 755666 h 799204"/>
                <a:gd name="connsiteX303" fmla="*/ 42653 w 347814"/>
                <a:gd name="connsiteY303" fmla="*/ 751675 h 799204"/>
                <a:gd name="connsiteX304" fmla="*/ 41281 w 347814"/>
                <a:gd name="connsiteY304" fmla="*/ 749875 h 799204"/>
                <a:gd name="connsiteX305" fmla="*/ 40357 w 347814"/>
                <a:gd name="connsiteY305" fmla="*/ 747170 h 799204"/>
                <a:gd name="connsiteX306" fmla="*/ 43472 w 347814"/>
                <a:gd name="connsiteY306" fmla="*/ 746436 h 799204"/>
                <a:gd name="connsiteX307" fmla="*/ 45729 w 347814"/>
                <a:gd name="connsiteY307" fmla="*/ 746598 h 799204"/>
                <a:gd name="connsiteX308" fmla="*/ 47387 w 347814"/>
                <a:gd name="connsiteY308" fmla="*/ 743550 h 799204"/>
                <a:gd name="connsiteX309" fmla="*/ 46425 w 347814"/>
                <a:gd name="connsiteY309" fmla="*/ 738607 h 799204"/>
                <a:gd name="connsiteX310" fmla="*/ 44005 w 347814"/>
                <a:gd name="connsiteY310" fmla="*/ 737083 h 799204"/>
                <a:gd name="connsiteX311" fmla="*/ 41986 w 347814"/>
                <a:gd name="connsiteY311" fmla="*/ 736416 h 799204"/>
                <a:gd name="connsiteX312" fmla="*/ 38109 w 347814"/>
                <a:gd name="connsiteY312" fmla="*/ 728605 h 799204"/>
                <a:gd name="connsiteX313" fmla="*/ 34071 w 347814"/>
                <a:gd name="connsiteY313" fmla="*/ 724548 h 799204"/>
                <a:gd name="connsiteX314" fmla="*/ 26860 w 347814"/>
                <a:gd name="connsiteY314" fmla="*/ 708822 h 799204"/>
                <a:gd name="connsiteX315" fmla="*/ 24222 w 347814"/>
                <a:gd name="connsiteY315" fmla="*/ 697944 h 799204"/>
                <a:gd name="connsiteX316" fmla="*/ 21774 w 347814"/>
                <a:gd name="connsiteY316" fmla="*/ 698983 h 799204"/>
                <a:gd name="connsiteX317" fmla="*/ 20583 w 347814"/>
                <a:gd name="connsiteY317" fmla="*/ 694230 h 799204"/>
                <a:gd name="connsiteX318" fmla="*/ 19726 w 347814"/>
                <a:gd name="connsiteY318" fmla="*/ 689705 h 799204"/>
                <a:gd name="connsiteX319" fmla="*/ 19555 w 347814"/>
                <a:gd name="connsiteY319" fmla="*/ 686381 h 799204"/>
                <a:gd name="connsiteX320" fmla="*/ 15707 w 347814"/>
                <a:gd name="connsiteY320" fmla="*/ 684476 h 799204"/>
                <a:gd name="connsiteX321" fmla="*/ 15554 w 347814"/>
                <a:gd name="connsiteY321" fmla="*/ 682133 h 799204"/>
                <a:gd name="connsiteX322" fmla="*/ 14859 w 347814"/>
                <a:gd name="connsiteY322" fmla="*/ 671655 h 799204"/>
                <a:gd name="connsiteX323" fmla="*/ 10735 w 347814"/>
                <a:gd name="connsiteY323" fmla="*/ 670246 h 799204"/>
                <a:gd name="connsiteX324" fmla="*/ 8068 w 347814"/>
                <a:gd name="connsiteY324" fmla="*/ 664340 h 799204"/>
                <a:gd name="connsiteX325" fmla="*/ 7591 w 347814"/>
                <a:gd name="connsiteY325" fmla="*/ 653110 h 799204"/>
                <a:gd name="connsiteX326" fmla="*/ 4877 w 347814"/>
                <a:gd name="connsiteY326" fmla="*/ 651062 h 799204"/>
                <a:gd name="connsiteX327" fmla="*/ 2695 w 347814"/>
                <a:gd name="connsiteY327" fmla="*/ 651634 h 799204"/>
                <a:gd name="connsiteX328" fmla="*/ 2800 w 347814"/>
                <a:gd name="connsiteY328" fmla="*/ 648843 h 799204"/>
                <a:gd name="connsiteX329" fmla="*/ 3324 w 347814"/>
                <a:gd name="connsiteY329" fmla="*/ 646214 h 799204"/>
                <a:gd name="connsiteX330" fmla="*/ 2048 w 347814"/>
                <a:gd name="connsiteY330" fmla="*/ 635756 h 799204"/>
                <a:gd name="connsiteX331" fmla="*/ 1619 w 347814"/>
                <a:gd name="connsiteY331" fmla="*/ 626164 h 799204"/>
                <a:gd name="connsiteX332" fmla="*/ 590 w 347814"/>
                <a:gd name="connsiteY332" fmla="*/ 623249 h 799204"/>
                <a:gd name="connsiteX333" fmla="*/ 0 w 347814"/>
                <a:gd name="connsiteY333" fmla="*/ 619839 h 799204"/>
                <a:gd name="connsiteX334" fmla="*/ 524 w 347814"/>
                <a:gd name="connsiteY334" fmla="*/ 616887 h 799204"/>
                <a:gd name="connsiteX335" fmla="*/ 1305 w 347814"/>
                <a:gd name="connsiteY335" fmla="*/ 615182 h 799204"/>
                <a:gd name="connsiteX336" fmla="*/ 3962 w 347814"/>
                <a:gd name="connsiteY336" fmla="*/ 614734 h 799204"/>
                <a:gd name="connsiteX337" fmla="*/ 6448 w 347814"/>
                <a:gd name="connsiteY337" fmla="*/ 617344 h 799204"/>
                <a:gd name="connsiteX338" fmla="*/ 8649 w 347814"/>
                <a:gd name="connsiteY338" fmla="*/ 623916 h 799204"/>
                <a:gd name="connsiteX339" fmla="*/ 10592 w 347814"/>
                <a:gd name="connsiteY339" fmla="*/ 624773 h 799204"/>
                <a:gd name="connsiteX340" fmla="*/ 13240 w 347814"/>
                <a:gd name="connsiteY340" fmla="*/ 623059 h 799204"/>
                <a:gd name="connsiteX341" fmla="*/ 15097 w 347814"/>
                <a:gd name="connsiteY341" fmla="*/ 618268 h 799204"/>
                <a:gd name="connsiteX342" fmla="*/ 16154 w 347814"/>
                <a:gd name="connsiteY342" fmla="*/ 611057 h 799204"/>
                <a:gd name="connsiteX343" fmla="*/ 17393 w 347814"/>
                <a:gd name="connsiteY343" fmla="*/ 604152 h 799204"/>
                <a:gd name="connsiteX344" fmla="*/ 15926 w 347814"/>
                <a:gd name="connsiteY344" fmla="*/ 596741 h 799204"/>
                <a:gd name="connsiteX345" fmla="*/ 14364 w 347814"/>
                <a:gd name="connsiteY345" fmla="*/ 590207 h 799204"/>
                <a:gd name="connsiteX346" fmla="*/ 14249 w 347814"/>
                <a:gd name="connsiteY346" fmla="*/ 588283 h 799204"/>
                <a:gd name="connsiteX347" fmla="*/ 18355 w 347814"/>
                <a:gd name="connsiteY347" fmla="*/ 582739 h 799204"/>
                <a:gd name="connsiteX348" fmla="*/ 19612 w 347814"/>
                <a:gd name="connsiteY348" fmla="*/ 578225 h 799204"/>
                <a:gd name="connsiteX349" fmla="*/ 20974 w 347814"/>
                <a:gd name="connsiteY349" fmla="*/ 573910 h 799204"/>
                <a:gd name="connsiteX350" fmla="*/ 22479 w 347814"/>
                <a:gd name="connsiteY350" fmla="*/ 572443 h 799204"/>
                <a:gd name="connsiteX351" fmla="*/ 24708 w 347814"/>
                <a:gd name="connsiteY351" fmla="*/ 572110 h 799204"/>
                <a:gd name="connsiteX352" fmla="*/ 27308 w 347814"/>
                <a:gd name="connsiteY352" fmla="*/ 571300 h 799204"/>
                <a:gd name="connsiteX353" fmla="*/ 30585 w 347814"/>
                <a:gd name="connsiteY353" fmla="*/ 568404 h 799204"/>
                <a:gd name="connsiteX354" fmla="*/ 33528 w 347814"/>
                <a:gd name="connsiteY354" fmla="*/ 564518 h 799204"/>
                <a:gd name="connsiteX355" fmla="*/ 35776 w 347814"/>
                <a:gd name="connsiteY355" fmla="*/ 560946 h 799204"/>
                <a:gd name="connsiteX356" fmla="*/ 36538 w 347814"/>
                <a:gd name="connsiteY356" fmla="*/ 553860 h 799204"/>
                <a:gd name="connsiteX357" fmla="*/ 36566 w 347814"/>
                <a:gd name="connsiteY357" fmla="*/ 550288 h 799204"/>
                <a:gd name="connsiteX358" fmla="*/ 37557 w 347814"/>
                <a:gd name="connsiteY358" fmla="*/ 547630 h 799204"/>
                <a:gd name="connsiteX359" fmla="*/ 38510 w 347814"/>
                <a:gd name="connsiteY359" fmla="*/ 542430 h 799204"/>
                <a:gd name="connsiteX360" fmla="*/ 37576 w 347814"/>
                <a:gd name="connsiteY360" fmla="*/ 537286 h 799204"/>
                <a:gd name="connsiteX361" fmla="*/ 34671 w 347814"/>
                <a:gd name="connsiteY361" fmla="*/ 529457 h 799204"/>
                <a:gd name="connsiteX362" fmla="*/ 31175 w 347814"/>
                <a:gd name="connsiteY362" fmla="*/ 518379 h 799204"/>
                <a:gd name="connsiteX363" fmla="*/ 30632 w 347814"/>
                <a:gd name="connsiteY363" fmla="*/ 512302 h 799204"/>
                <a:gd name="connsiteX364" fmla="*/ 32223 w 347814"/>
                <a:gd name="connsiteY364" fmla="*/ 511169 h 799204"/>
                <a:gd name="connsiteX365" fmla="*/ 35262 w 347814"/>
                <a:gd name="connsiteY365" fmla="*/ 510159 h 799204"/>
                <a:gd name="connsiteX366" fmla="*/ 41024 w 347814"/>
                <a:gd name="connsiteY366" fmla="*/ 509864 h 799204"/>
                <a:gd name="connsiteX367" fmla="*/ 41634 w 347814"/>
                <a:gd name="connsiteY367" fmla="*/ 509149 h 799204"/>
                <a:gd name="connsiteX368" fmla="*/ 42215 w 347814"/>
                <a:gd name="connsiteY368" fmla="*/ 506473 h 799204"/>
                <a:gd name="connsiteX369" fmla="*/ 43520 w 347814"/>
                <a:gd name="connsiteY369" fmla="*/ 502844 h 799204"/>
                <a:gd name="connsiteX370" fmla="*/ 44901 w 347814"/>
                <a:gd name="connsiteY370" fmla="*/ 500196 h 799204"/>
                <a:gd name="connsiteX371" fmla="*/ 45853 w 347814"/>
                <a:gd name="connsiteY371" fmla="*/ 496395 h 799204"/>
                <a:gd name="connsiteX372" fmla="*/ 46311 w 347814"/>
                <a:gd name="connsiteY372" fmla="*/ 492947 h 799204"/>
                <a:gd name="connsiteX373" fmla="*/ 43015 w 347814"/>
                <a:gd name="connsiteY373" fmla="*/ 487737 h 799204"/>
                <a:gd name="connsiteX374" fmla="*/ 38700 w 347814"/>
                <a:gd name="connsiteY374" fmla="*/ 482384 h 799204"/>
                <a:gd name="connsiteX375" fmla="*/ 35776 w 347814"/>
                <a:gd name="connsiteY375" fmla="*/ 480603 h 799204"/>
                <a:gd name="connsiteX376" fmla="*/ 30575 w 347814"/>
                <a:gd name="connsiteY376" fmla="*/ 476088 h 799204"/>
                <a:gd name="connsiteX377" fmla="*/ 26918 w 347814"/>
                <a:gd name="connsiteY377" fmla="*/ 472307 h 799204"/>
                <a:gd name="connsiteX378" fmla="*/ 29013 w 347814"/>
                <a:gd name="connsiteY378" fmla="*/ 457819 h 799204"/>
                <a:gd name="connsiteX379" fmla="*/ 30575 w 347814"/>
                <a:gd name="connsiteY379" fmla="*/ 446951 h 799204"/>
                <a:gd name="connsiteX380" fmla="*/ 30823 w 347814"/>
                <a:gd name="connsiteY380" fmla="*/ 444303 h 799204"/>
                <a:gd name="connsiteX381" fmla="*/ 30880 w 347814"/>
                <a:gd name="connsiteY381" fmla="*/ 440188 h 799204"/>
                <a:gd name="connsiteX382" fmla="*/ 25832 w 347814"/>
                <a:gd name="connsiteY382" fmla="*/ 422519 h 799204"/>
                <a:gd name="connsiteX383" fmla="*/ 26032 w 347814"/>
                <a:gd name="connsiteY383" fmla="*/ 418567 h 799204"/>
                <a:gd name="connsiteX384" fmla="*/ 26508 w 347814"/>
                <a:gd name="connsiteY384" fmla="*/ 414995 h 799204"/>
                <a:gd name="connsiteX385" fmla="*/ 25965 w 347814"/>
                <a:gd name="connsiteY385" fmla="*/ 408889 h 799204"/>
                <a:gd name="connsiteX386" fmla="*/ 25670 w 347814"/>
                <a:gd name="connsiteY386" fmla="*/ 403412 h 799204"/>
                <a:gd name="connsiteX387" fmla="*/ 26536 w 347814"/>
                <a:gd name="connsiteY387" fmla="*/ 401745 h 799204"/>
                <a:gd name="connsiteX388" fmla="*/ 28594 w 347814"/>
                <a:gd name="connsiteY388" fmla="*/ 398640 h 799204"/>
                <a:gd name="connsiteX389" fmla="*/ 26622 w 347814"/>
                <a:gd name="connsiteY389" fmla="*/ 393821 h 799204"/>
                <a:gd name="connsiteX390" fmla="*/ 26460 w 347814"/>
                <a:gd name="connsiteY390" fmla="*/ 393421 h 799204"/>
                <a:gd name="connsiteX391" fmla="*/ 22746 w 347814"/>
                <a:gd name="connsiteY391" fmla="*/ 381438 h 799204"/>
                <a:gd name="connsiteX392" fmla="*/ 28422 w 347814"/>
                <a:gd name="connsiteY392" fmla="*/ 369484 h 799204"/>
                <a:gd name="connsiteX393" fmla="*/ 27432 w 347814"/>
                <a:gd name="connsiteY393" fmla="*/ 363264 h 799204"/>
                <a:gd name="connsiteX394" fmla="*/ 30813 w 347814"/>
                <a:gd name="connsiteY394" fmla="*/ 358740 h 799204"/>
                <a:gd name="connsiteX395" fmla="*/ 36986 w 347814"/>
                <a:gd name="connsiteY395" fmla="*/ 348339 h 799204"/>
                <a:gd name="connsiteX396" fmla="*/ 40452 w 347814"/>
                <a:gd name="connsiteY396" fmla="*/ 342452 h 799204"/>
                <a:gd name="connsiteX397" fmla="*/ 41186 w 347814"/>
                <a:gd name="connsiteY397" fmla="*/ 341424 h 799204"/>
                <a:gd name="connsiteX398" fmla="*/ 43929 w 347814"/>
                <a:gd name="connsiteY398" fmla="*/ 338833 h 799204"/>
                <a:gd name="connsiteX399" fmla="*/ 49139 w 347814"/>
                <a:gd name="connsiteY399" fmla="*/ 335756 h 799204"/>
                <a:gd name="connsiteX400" fmla="*/ 54912 w 347814"/>
                <a:gd name="connsiteY400" fmla="*/ 334251 h 799204"/>
                <a:gd name="connsiteX401" fmla="*/ 57483 w 347814"/>
                <a:gd name="connsiteY401" fmla="*/ 334270 h 799204"/>
                <a:gd name="connsiteX402" fmla="*/ 67408 w 347814"/>
                <a:gd name="connsiteY402" fmla="*/ 336356 h 799204"/>
                <a:gd name="connsiteX403" fmla="*/ 75152 w 347814"/>
                <a:gd name="connsiteY403" fmla="*/ 337976 h 799204"/>
                <a:gd name="connsiteX404" fmla="*/ 76285 w 347814"/>
                <a:gd name="connsiteY404" fmla="*/ 336347 h 799204"/>
                <a:gd name="connsiteX405" fmla="*/ 77905 w 347814"/>
                <a:gd name="connsiteY405" fmla="*/ 333004 h 799204"/>
                <a:gd name="connsiteX406" fmla="*/ 79991 w 347814"/>
                <a:gd name="connsiteY406" fmla="*/ 328231 h 799204"/>
                <a:gd name="connsiteX407" fmla="*/ 80172 w 347814"/>
                <a:gd name="connsiteY407" fmla="*/ 322907 h 799204"/>
                <a:gd name="connsiteX408" fmla="*/ 79420 w 347814"/>
                <a:gd name="connsiteY408" fmla="*/ 315058 h 799204"/>
                <a:gd name="connsiteX409" fmla="*/ 78286 w 347814"/>
                <a:gd name="connsiteY409" fmla="*/ 310344 h 799204"/>
                <a:gd name="connsiteX410" fmla="*/ 72837 w 347814"/>
                <a:gd name="connsiteY410" fmla="*/ 307267 h 799204"/>
                <a:gd name="connsiteX411" fmla="*/ 66865 w 347814"/>
                <a:gd name="connsiteY411" fmla="*/ 303047 h 799204"/>
                <a:gd name="connsiteX412" fmla="*/ 74209 w 347814"/>
                <a:gd name="connsiteY412" fmla="*/ 289608 h 799204"/>
                <a:gd name="connsiteX413" fmla="*/ 79296 w 347814"/>
                <a:gd name="connsiteY413" fmla="*/ 280216 h 799204"/>
                <a:gd name="connsiteX414" fmla="*/ 85639 w 347814"/>
                <a:gd name="connsiteY414" fmla="*/ 265995 h 799204"/>
                <a:gd name="connsiteX415" fmla="*/ 87611 w 347814"/>
                <a:gd name="connsiteY415" fmla="*/ 260042 h 799204"/>
                <a:gd name="connsiteX416" fmla="*/ 89039 w 347814"/>
                <a:gd name="connsiteY416" fmla="*/ 257670 h 799204"/>
                <a:gd name="connsiteX417" fmla="*/ 90907 w 347814"/>
                <a:gd name="connsiteY417" fmla="*/ 235477 h 799204"/>
                <a:gd name="connsiteX418" fmla="*/ 92145 w 347814"/>
                <a:gd name="connsiteY418" fmla="*/ 229219 h 799204"/>
                <a:gd name="connsiteX419" fmla="*/ 93183 w 347814"/>
                <a:gd name="connsiteY419" fmla="*/ 225933 h 799204"/>
                <a:gd name="connsiteX420" fmla="*/ 93193 w 347814"/>
                <a:gd name="connsiteY420" fmla="*/ 222561 h 799204"/>
                <a:gd name="connsiteX421" fmla="*/ 92516 w 347814"/>
                <a:gd name="connsiteY421" fmla="*/ 216856 h 799204"/>
                <a:gd name="connsiteX422" fmla="*/ 90735 w 347814"/>
                <a:gd name="connsiteY422" fmla="*/ 203902 h 799204"/>
                <a:gd name="connsiteX423" fmla="*/ 100755 w 347814"/>
                <a:gd name="connsiteY423" fmla="*/ 202292 h 799204"/>
                <a:gd name="connsiteX424" fmla="*/ 104013 w 347814"/>
                <a:gd name="connsiteY424" fmla="*/ 201378 h 799204"/>
                <a:gd name="connsiteX425" fmla="*/ 107042 w 347814"/>
                <a:gd name="connsiteY425" fmla="*/ 199825 h 799204"/>
                <a:gd name="connsiteX426" fmla="*/ 112966 w 347814"/>
                <a:gd name="connsiteY426" fmla="*/ 195786 h 799204"/>
                <a:gd name="connsiteX427" fmla="*/ 115871 w 347814"/>
                <a:gd name="connsiteY427" fmla="*/ 192205 h 799204"/>
                <a:gd name="connsiteX428" fmla="*/ 114252 w 347814"/>
                <a:gd name="connsiteY428" fmla="*/ 179937 h 799204"/>
                <a:gd name="connsiteX429" fmla="*/ 117834 w 347814"/>
                <a:gd name="connsiteY429" fmla="*/ 175765 h 799204"/>
                <a:gd name="connsiteX430" fmla="*/ 126578 w 347814"/>
                <a:gd name="connsiteY430" fmla="*/ 161153 h 799204"/>
                <a:gd name="connsiteX431" fmla="*/ 136027 w 347814"/>
                <a:gd name="connsiteY431" fmla="*/ 147047 h 799204"/>
                <a:gd name="connsiteX432" fmla="*/ 140455 w 347814"/>
                <a:gd name="connsiteY432" fmla="*/ 141675 h 799204"/>
                <a:gd name="connsiteX433" fmla="*/ 140913 w 347814"/>
                <a:gd name="connsiteY433" fmla="*/ 139046 h 799204"/>
                <a:gd name="connsiteX434" fmla="*/ 141275 w 347814"/>
                <a:gd name="connsiteY434" fmla="*/ 134807 h 799204"/>
                <a:gd name="connsiteX435" fmla="*/ 139303 w 347814"/>
                <a:gd name="connsiteY435" fmla="*/ 128121 h 799204"/>
                <a:gd name="connsiteX436" fmla="*/ 137189 w 347814"/>
                <a:gd name="connsiteY436" fmla="*/ 123968 h 799204"/>
                <a:gd name="connsiteX437" fmla="*/ 133064 w 347814"/>
                <a:gd name="connsiteY437" fmla="*/ 116072 h 799204"/>
                <a:gd name="connsiteX438" fmla="*/ 134836 w 347814"/>
                <a:gd name="connsiteY438" fmla="*/ 110538 h 799204"/>
                <a:gd name="connsiteX439" fmla="*/ 137874 w 347814"/>
                <a:gd name="connsiteY439" fmla="*/ 109461 h 799204"/>
                <a:gd name="connsiteX440" fmla="*/ 141884 w 347814"/>
                <a:gd name="connsiteY440" fmla="*/ 107280 h 799204"/>
                <a:gd name="connsiteX441" fmla="*/ 145018 w 347814"/>
                <a:gd name="connsiteY441" fmla="*/ 102527 h 799204"/>
                <a:gd name="connsiteX442" fmla="*/ 145323 w 347814"/>
                <a:gd name="connsiteY442" fmla="*/ 101917 h 799204"/>
                <a:gd name="connsiteX443" fmla="*/ 150619 w 347814"/>
                <a:gd name="connsiteY443" fmla="*/ 83096 h 799204"/>
                <a:gd name="connsiteX444" fmla="*/ 160954 w 347814"/>
                <a:gd name="connsiteY444" fmla="*/ 73476 h 799204"/>
                <a:gd name="connsiteX445" fmla="*/ 165078 w 347814"/>
                <a:gd name="connsiteY445" fmla="*/ 68208 h 799204"/>
                <a:gd name="connsiteX446" fmla="*/ 171498 w 347814"/>
                <a:gd name="connsiteY446" fmla="*/ 72171 h 799204"/>
                <a:gd name="connsiteX447" fmla="*/ 180908 w 347814"/>
                <a:gd name="connsiteY447" fmla="*/ 78134 h 799204"/>
                <a:gd name="connsiteX448" fmla="*/ 185090 w 347814"/>
                <a:gd name="connsiteY448" fmla="*/ 69361 h 799204"/>
                <a:gd name="connsiteX449" fmla="*/ 186471 w 347814"/>
                <a:gd name="connsiteY449" fmla="*/ 66094 h 799204"/>
                <a:gd name="connsiteX450" fmla="*/ 187852 w 347814"/>
                <a:gd name="connsiteY450" fmla="*/ 61274 h 799204"/>
                <a:gd name="connsiteX451" fmla="*/ 187300 w 347814"/>
                <a:gd name="connsiteY451" fmla="*/ 52892 h 799204"/>
                <a:gd name="connsiteX452" fmla="*/ 187061 w 347814"/>
                <a:gd name="connsiteY452" fmla="*/ 41948 h 799204"/>
                <a:gd name="connsiteX453" fmla="*/ 187480 w 347814"/>
                <a:gd name="connsiteY453" fmla="*/ 37529 h 799204"/>
                <a:gd name="connsiteX454" fmla="*/ 191233 w 347814"/>
                <a:gd name="connsiteY454" fmla="*/ 35557 h 799204"/>
                <a:gd name="connsiteX455" fmla="*/ 193253 w 347814"/>
                <a:gd name="connsiteY455" fmla="*/ 35052 h 799204"/>
                <a:gd name="connsiteX456" fmla="*/ 203711 w 347814"/>
                <a:gd name="connsiteY456" fmla="*/ 39605 h 799204"/>
                <a:gd name="connsiteX457" fmla="*/ 206340 w 347814"/>
                <a:gd name="connsiteY457" fmla="*/ 39529 h 799204"/>
                <a:gd name="connsiteX458" fmla="*/ 211274 w 347814"/>
                <a:gd name="connsiteY458" fmla="*/ 40138 h 799204"/>
                <a:gd name="connsiteX459" fmla="*/ 216789 w 347814"/>
                <a:gd name="connsiteY459" fmla="*/ 42129 h 799204"/>
                <a:gd name="connsiteX460" fmla="*/ 228342 w 347814"/>
                <a:gd name="connsiteY460" fmla="*/ 47425 h 799204"/>
                <a:gd name="connsiteX461" fmla="*/ 233115 w 347814"/>
                <a:gd name="connsiteY461" fmla="*/ 49606 h 799204"/>
                <a:gd name="connsiteX462" fmla="*/ 235782 w 347814"/>
                <a:gd name="connsiteY462" fmla="*/ 50025 h 799204"/>
                <a:gd name="connsiteX463" fmla="*/ 238087 w 347814"/>
                <a:gd name="connsiteY463" fmla="*/ 47568 h 799204"/>
                <a:gd name="connsiteX464" fmla="*/ 243011 w 347814"/>
                <a:gd name="connsiteY464" fmla="*/ 41234 h 799204"/>
                <a:gd name="connsiteX465" fmla="*/ 235763 w 347814"/>
                <a:gd name="connsiteY465" fmla="*/ 36528 h 799204"/>
                <a:gd name="connsiteX466" fmla="*/ 240535 w 347814"/>
                <a:gd name="connsiteY466" fmla="*/ 31756 h 799204"/>
                <a:gd name="connsiteX467" fmla="*/ 243011 w 347814"/>
                <a:gd name="connsiteY467" fmla="*/ 26927 h 799204"/>
                <a:gd name="connsiteX468" fmla="*/ 245135 w 347814"/>
                <a:gd name="connsiteY468" fmla="*/ 20974 h 799204"/>
                <a:gd name="connsiteX469" fmla="*/ 245907 w 347814"/>
                <a:gd name="connsiteY469" fmla="*/ 13983 h 799204"/>
                <a:gd name="connsiteX470" fmla="*/ 245612 w 347814"/>
                <a:gd name="connsiteY470" fmla="*/ 10211 h 799204"/>
                <a:gd name="connsiteX471" fmla="*/ 244144 w 347814"/>
                <a:gd name="connsiteY471" fmla="*/ 7629 h 799204"/>
                <a:gd name="connsiteX472" fmla="*/ 239716 w 347814"/>
                <a:gd name="connsiteY472" fmla="*/ 1191 h 799204"/>
                <a:gd name="connsiteX473" fmla="*/ 249745 w 347814"/>
                <a:gd name="connsiteY473" fmla="*/ 267 h 799204"/>
                <a:gd name="connsiteX474" fmla="*/ 253222 w 347814"/>
                <a:gd name="connsiteY474" fmla="*/ 0 h 799204"/>
                <a:gd name="connsiteX475" fmla="*/ 260518 w 347814"/>
                <a:gd name="connsiteY475" fmla="*/ 4248 h 799204"/>
                <a:gd name="connsiteX476" fmla="*/ 260842 w 347814"/>
                <a:gd name="connsiteY476" fmla="*/ 5172 h 799204"/>
                <a:gd name="connsiteX477" fmla="*/ 260890 w 347814"/>
                <a:gd name="connsiteY477" fmla="*/ 7382 h 799204"/>
                <a:gd name="connsiteX478" fmla="*/ 261147 w 347814"/>
                <a:gd name="connsiteY478" fmla="*/ 9668 h 799204"/>
                <a:gd name="connsiteX479" fmla="*/ 268224 w 347814"/>
                <a:gd name="connsiteY479" fmla="*/ 15449 h 799204"/>
                <a:gd name="connsiteX480" fmla="*/ 270262 w 347814"/>
                <a:gd name="connsiteY480" fmla="*/ 18507 h 799204"/>
                <a:gd name="connsiteX481" fmla="*/ 274615 w 347814"/>
                <a:gd name="connsiteY481" fmla="*/ 23136 h 799204"/>
                <a:gd name="connsiteX482" fmla="*/ 275767 w 347814"/>
                <a:gd name="connsiteY482" fmla="*/ 25632 h 799204"/>
                <a:gd name="connsiteX483" fmla="*/ 279797 w 347814"/>
                <a:gd name="connsiteY483" fmla="*/ 28546 h 799204"/>
                <a:gd name="connsiteX484" fmla="*/ 282683 w 347814"/>
                <a:gd name="connsiteY484" fmla="*/ 31661 h 799204"/>
                <a:gd name="connsiteX485" fmla="*/ 286055 w 347814"/>
                <a:gd name="connsiteY485" fmla="*/ 34176 h 799204"/>
                <a:gd name="connsiteX486" fmla="*/ 289989 w 347814"/>
                <a:gd name="connsiteY486" fmla="*/ 38081 h 799204"/>
                <a:gd name="connsiteX487" fmla="*/ 295275 w 347814"/>
                <a:gd name="connsiteY487" fmla="*/ 41186 h 799204"/>
                <a:gd name="connsiteX488" fmla="*/ 299732 w 347814"/>
                <a:gd name="connsiteY488" fmla="*/ 42196 h 799204"/>
                <a:gd name="connsiteX489" fmla="*/ 310972 w 347814"/>
                <a:gd name="connsiteY489" fmla="*/ 47501 h 799204"/>
                <a:gd name="connsiteX490" fmla="*/ 312887 w 347814"/>
                <a:gd name="connsiteY490" fmla="*/ 49216 h 799204"/>
                <a:gd name="connsiteX491" fmla="*/ 316125 w 347814"/>
                <a:gd name="connsiteY491" fmla="*/ 52902 h 799204"/>
                <a:gd name="connsiteX492" fmla="*/ 319401 w 347814"/>
                <a:gd name="connsiteY492" fmla="*/ 57150 h 799204"/>
                <a:gd name="connsiteX493" fmla="*/ 321669 w 347814"/>
                <a:gd name="connsiteY493" fmla="*/ 65856 h 799204"/>
                <a:gd name="connsiteX494" fmla="*/ 325298 w 347814"/>
                <a:gd name="connsiteY494" fmla="*/ 66304 h 799204"/>
                <a:gd name="connsiteX495" fmla="*/ 326288 w 347814"/>
                <a:gd name="connsiteY495" fmla="*/ 69285 h 799204"/>
                <a:gd name="connsiteX496" fmla="*/ 329460 w 347814"/>
                <a:gd name="connsiteY496" fmla="*/ 74381 h 799204"/>
                <a:gd name="connsiteX497" fmla="*/ 333860 w 347814"/>
                <a:gd name="connsiteY497" fmla="*/ 78867 h 799204"/>
                <a:gd name="connsiteX498" fmla="*/ 333699 w 347814"/>
                <a:gd name="connsiteY498" fmla="*/ 80372 h 799204"/>
                <a:gd name="connsiteX499" fmla="*/ 330194 w 347814"/>
                <a:gd name="connsiteY499" fmla="*/ 84487 h 799204"/>
                <a:gd name="connsiteX500" fmla="*/ 329812 w 347814"/>
                <a:gd name="connsiteY500" fmla="*/ 90049 h 799204"/>
                <a:gd name="connsiteX501" fmla="*/ 330146 w 347814"/>
                <a:gd name="connsiteY501" fmla="*/ 97126 h 799204"/>
                <a:gd name="connsiteX502" fmla="*/ 331251 w 347814"/>
                <a:gd name="connsiteY502" fmla="*/ 102879 h 799204"/>
                <a:gd name="connsiteX503" fmla="*/ 331137 w 347814"/>
                <a:gd name="connsiteY503" fmla="*/ 104556 h 799204"/>
                <a:gd name="connsiteX504" fmla="*/ 330270 w 347814"/>
                <a:gd name="connsiteY504" fmla="*/ 106537 h 799204"/>
                <a:gd name="connsiteX505" fmla="*/ 329232 w 347814"/>
                <a:gd name="connsiteY505" fmla="*/ 109633 h 799204"/>
                <a:gd name="connsiteX506" fmla="*/ 328850 w 347814"/>
                <a:gd name="connsiteY506" fmla="*/ 112328 h 799204"/>
                <a:gd name="connsiteX507" fmla="*/ 328946 w 347814"/>
                <a:gd name="connsiteY507" fmla="*/ 113643 h 799204"/>
                <a:gd name="connsiteX508" fmla="*/ 329298 w 347814"/>
                <a:gd name="connsiteY508" fmla="*/ 114367 h 799204"/>
                <a:gd name="connsiteX509" fmla="*/ 331146 w 347814"/>
                <a:gd name="connsiteY509" fmla="*/ 114424 h 799204"/>
                <a:gd name="connsiteX510" fmla="*/ 334451 w 347814"/>
                <a:gd name="connsiteY510" fmla="*/ 115062 h 799204"/>
                <a:gd name="connsiteX511" fmla="*/ 336395 w 347814"/>
                <a:gd name="connsiteY511" fmla="*/ 116253 h 799204"/>
                <a:gd name="connsiteX512" fmla="*/ 337499 w 347814"/>
                <a:gd name="connsiteY512" fmla="*/ 122796 h 799204"/>
                <a:gd name="connsiteX513" fmla="*/ 337128 w 347814"/>
                <a:gd name="connsiteY513" fmla="*/ 124054 h 799204"/>
                <a:gd name="connsiteX514" fmla="*/ 334346 w 347814"/>
                <a:gd name="connsiteY514" fmla="*/ 127006 h 799204"/>
                <a:gd name="connsiteX515" fmla="*/ 333527 w 347814"/>
                <a:gd name="connsiteY515" fmla="*/ 129350 h 799204"/>
                <a:gd name="connsiteX516" fmla="*/ 333451 w 347814"/>
                <a:gd name="connsiteY516" fmla="*/ 132779 h 799204"/>
                <a:gd name="connsiteX517" fmla="*/ 333946 w 347814"/>
                <a:gd name="connsiteY517" fmla="*/ 136550 h 799204"/>
                <a:gd name="connsiteX518" fmla="*/ 334909 w 347814"/>
                <a:gd name="connsiteY518" fmla="*/ 140751 h 799204"/>
                <a:gd name="connsiteX519" fmla="*/ 337090 w 347814"/>
                <a:gd name="connsiteY519" fmla="*/ 145237 h 799204"/>
                <a:gd name="connsiteX520" fmla="*/ 340043 w 347814"/>
                <a:gd name="connsiteY520" fmla="*/ 149914 h 799204"/>
                <a:gd name="connsiteX521" fmla="*/ 341986 w 347814"/>
                <a:gd name="connsiteY521" fmla="*/ 153743 h 799204"/>
                <a:gd name="connsiteX522" fmla="*/ 342900 w 347814"/>
                <a:gd name="connsiteY522" fmla="*/ 156429 h 799204"/>
                <a:gd name="connsiteX523" fmla="*/ 343233 w 347814"/>
                <a:gd name="connsiteY523" fmla="*/ 158315 h 799204"/>
                <a:gd name="connsiteX524" fmla="*/ 341909 w 347814"/>
                <a:gd name="connsiteY524" fmla="*/ 160677 h 799204"/>
                <a:gd name="connsiteX525" fmla="*/ 340719 w 347814"/>
                <a:gd name="connsiteY525" fmla="*/ 165335 h 799204"/>
                <a:gd name="connsiteX526" fmla="*/ 340500 w 347814"/>
                <a:gd name="connsiteY526" fmla="*/ 170650 h 799204"/>
                <a:gd name="connsiteX527" fmla="*/ 339957 w 347814"/>
                <a:gd name="connsiteY527" fmla="*/ 174107 h 799204"/>
                <a:gd name="connsiteX528" fmla="*/ 337366 w 347814"/>
                <a:gd name="connsiteY528" fmla="*/ 178860 h 799204"/>
                <a:gd name="connsiteX529" fmla="*/ 335566 w 347814"/>
                <a:gd name="connsiteY529" fmla="*/ 180537 h 799204"/>
                <a:gd name="connsiteX530" fmla="*/ 335051 w 347814"/>
                <a:gd name="connsiteY530" fmla="*/ 183032 h 799204"/>
                <a:gd name="connsiteX531" fmla="*/ 334832 w 347814"/>
                <a:gd name="connsiteY531" fmla="*/ 187214 h 799204"/>
                <a:gd name="connsiteX532" fmla="*/ 335366 w 347814"/>
                <a:gd name="connsiteY532" fmla="*/ 192300 h 799204"/>
                <a:gd name="connsiteX533" fmla="*/ 335546 w 347814"/>
                <a:gd name="connsiteY533" fmla="*/ 195729 h 799204"/>
                <a:gd name="connsiteX534" fmla="*/ 336099 w 347814"/>
                <a:gd name="connsiteY534" fmla="*/ 198196 h 799204"/>
                <a:gd name="connsiteX535" fmla="*/ 336918 w 347814"/>
                <a:gd name="connsiteY535" fmla="*/ 199806 h 799204"/>
                <a:gd name="connsiteX536" fmla="*/ 341080 w 347814"/>
                <a:gd name="connsiteY536" fmla="*/ 202635 h 799204"/>
                <a:gd name="connsiteX537" fmla="*/ 343415 w 347814"/>
                <a:gd name="connsiteY537" fmla="*/ 208426 h 799204"/>
                <a:gd name="connsiteX538" fmla="*/ 344871 w 347814"/>
                <a:gd name="connsiteY538" fmla="*/ 213065 h 799204"/>
                <a:gd name="connsiteX539" fmla="*/ 347815 w 347814"/>
                <a:gd name="connsiteY539" fmla="*/ 225095 h 799204"/>
                <a:gd name="connsiteX540" fmla="*/ 199177 w 347814"/>
                <a:gd name="connsiteY540" fmla="*/ 594627 h 799204"/>
                <a:gd name="connsiteX541" fmla="*/ 198511 w 347814"/>
                <a:gd name="connsiteY541" fmla="*/ 596370 h 799204"/>
                <a:gd name="connsiteX542" fmla="*/ 197834 w 347814"/>
                <a:gd name="connsiteY542" fmla="*/ 594236 h 799204"/>
                <a:gd name="connsiteX543" fmla="*/ 198101 w 347814"/>
                <a:gd name="connsiteY543" fmla="*/ 593817 h 799204"/>
                <a:gd name="connsiteX544" fmla="*/ 198558 w 347814"/>
                <a:gd name="connsiteY544" fmla="*/ 591712 h 799204"/>
                <a:gd name="connsiteX545" fmla="*/ 199854 w 347814"/>
                <a:gd name="connsiteY545" fmla="*/ 590559 h 799204"/>
                <a:gd name="connsiteX546" fmla="*/ 201920 w 347814"/>
                <a:gd name="connsiteY546" fmla="*/ 591255 h 799204"/>
                <a:gd name="connsiteX547" fmla="*/ 201911 w 347814"/>
                <a:gd name="connsiteY547" fmla="*/ 591779 h 799204"/>
                <a:gd name="connsiteX548" fmla="*/ 199930 w 347814"/>
                <a:gd name="connsiteY548" fmla="*/ 593484 h 799204"/>
                <a:gd name="connsiteX549" fmla="*/ 199177 w 347814"/>
                <a:gd name="connsiteY549" fmla="*/ 594627 h 799204"/>
                <a:gd name="connsiteX550" fmla="*/ 194386 w 347814"/>
                <a:gd name="connsiteY550" fmla="*/ 617658 h 799204"/>
                <a:gd name="connsiteX551" fmla="*/ 193195 w 347814"/>
                <a:gd name="connsiteY551" fmla="*/ 618154 h 799204"/>
                <a:gd name="connsiteX552" fmla="*/ 192605 w 347814"/>
                <a:gd name="connsiteY552" fmla="*/ 618001 h 799204"/>
                <a:gd name="connsiteX553" fmla="*/ 193338 w 347814"/>
                <a:gd name="connsiteY553" fmla="*/ 615591 h 799204"/>
                <a:gd name="connsiteX554" fmla="*/ 193881 w 347814"/>
                <a:gd name="connsiteY554" fmla="*/ 614553 h 799204"/>
                <a:gd name="connsiteX555" fmla="*/ 195682 w 347814"/>
                <a:gd name="connsiteY555" fmla="*/ 613581 h 799204"/>
                <a:gd name="connsiteX556" fmla="*/ 196234 w 347814"/>
                <a:gd name="connsiteY556" fmla="*/ 613753 h 799204"/>
                <a:gd name="connsiteX557" fmla="*/ 194386 w 347814"/>
                <a:gd name="connsiteY557" fmla="*/ 617658 h 799204"/>
                <a:gd name="connsiteX558" fmla="*/ 214179 w 347814"/>
                <a:gd name="connsiteY558" fmla="*/ 674122 h 799204"/>
                <a:gd name="connsiteX559" fmla="*/ 213693 w 347814"/>
                <a:gd name="connsiteY559" fmla="*/ 677256 h 799204"/>
                <a:gd name="connsiteX560" fmla="*/ 212303 w 347814"/>
                <a:gd name="connsiteY560" fmla="*/ 677018 h 799204"/>
                <a:gd name="connsiteX561" fmla="*/ 211036 w 347814"/>
                <a:gd name="connsiteY561" fmla="*/ 674703 h 799204"/>
                <a:gd name="connsiteX562" fmla="*/ 213598 w 347814"/>
                <a:gd name="connsiteY562" fmla="*/ 671170 h 799204"/>
                <a:gd name="connsiteX563" fmla="*/ 217513 w 347814"/>
                <a:gd name="connsiteY563" fmla="*/ 671360 h 799204"/>
                <a:gd name="connsiteX564" fmla="*/ 218856 w 347814"/>
                <a:gd name="connsiteY564" fmla="*/ 672103 h 799204"/>
                <a:gd name="connsiteX565" fmla="*/ 214179 w 347814"/>
                <a:gd name="connsiteY565" fmla="*/ 674122 h 799204"/>
                <a:gd name="connsiteX566" fmla="*/ 212036 w 347814"/>
                <a:gd name="connsiteY566" fmla="*/ 678475 h 799204"/>
                <a:gd name="connsiteX567" fmla="*/ 209826 w 347814"/>
                <a:gd name="connsiteY567" fmla="*/ 679666 h 799204"/>
                <a:gd name="connsiteX568" fmla="*/ 208531 w 347814"/>
                <a:gd name="connsiteY568" fmla="*/ 683200 h 799204"/>
                <a:gd name="connsiteX569" fmla="*/ 206740 w 347814"/>
                <a:gd name="connsiteY569" fmla="*/ 683800 h 799204"/>
                <a:gd name="connsiteX570" fmla="*/ 205025 w 347814"/>
                <a:gd name="connsiteY570" fmla="*/ 684971 h 799204"/>
                <a:gd name="connsiteX571" fmla="*/ 204416 w 347814"/>
                <a:gd name="connsiteY571" fmla="*/ 696078 h 799204"/>
                <a:gd name="connsiteX572" fmla="*/ 207550 w 347814"/>
                <a:gd name="connsiteY572" fmla="*/ 700278 h 799204"/>
                <a:gd name="connsiteX573" fmla="*/ 205826 w 347814"/>
                <a:gd name="connsiteY573" fmla="*/ 700869 h 799204"/>
                <a:gd name="connsiteX574" fmla="*/ 204254 w 347814"/>
                <a:gd name="connsiteY574" fmla="*/ 702126 h 799204"/>
                <a:gd name="connsiteX575" fmla="*/ 203130 w 347814"/>
                <a:gd name="connsiteY575" fmla="*/ 703983 h 799204"/>
                <a:gd name="connsiteX576" fmla="*/ 201978 w 347814"/>
                <a:gd name="connsiteY576" fmla="*/ 707974 h 799204"/>
                <a:gd name="connsiteX577" fmla="*/ 197663 w 347814"/>
                <a:gd name="connsiteY577" fmla="*/ 710232 h 799204"/>
                <a:gd name="connsiteX578" fmla="*/ 196034 w 347814"/>
                <a:gd name="connsiteY578" fmla="*/ 711898 h 799204"/>
                <a:gd name="connsiteX579" fmla="*/ 193624 w 347814"/>
                <a:gd name="connsiteY579" fmla="*/ 715604 h 799204"/>
                <a:gd name="connsiteX580" fmla="*/ 192367 w 347814"/>
                <a:gd name="connsiteY580" fmla="*/ 720966 h 799204"/>
                <a:gd name="connsiteX581" fmla="*/ 189929 w 347814"/>
                <a:gd name="connsiteY581" fmla="*/ 723252 h 799204"/>
                <a:gd name="connsiteX582" fmla="*/ 187185 w 347814"/>
                <a:gd name="connsiteY582" fmla="*/ 723795 h 799204"/>
                <a:gd name="connsiteX583" fmla="*/ 188786 w 347814"/>
                <a:gd name="connsiteY583" fmla="*/ 719414 h 799204"/>
                <a:gd name="connsiteX584" fmla="*/ 190891 w 347814"/>
                <a:gd name="connsiteY584" fmla="*/ 715832 h 799204"/>
                <a:gd name="connsiteX585" fmla="*/ 188871 w 347814"/>
                <a:gd name="connsiteY585" fmla="*/ 713365 h 799204"/>
                <a:gd name="connsiteX586" fmla="*/ 187652 w 347814"/>
                <a:gd name="connsiteY586" fmla="*/ 709508 h 799204"/>
                <a:gd name="connsiteX587" fmla="*/ 186071 w 347814"/>
                <a:gd name="connsiteY587" fmla="*/ 706536 h 799204"/>
                <a:gd name="connsiteX588" fmla="*/ 187328 w 347814"/>
                <a:gd name="connsiteY588" fmla="*/ 703212 h 799204"/>
                <a:gd name="connsiteX589" fmla="*/ 186709 w 347814"/>
                <a:gd name="connsiteY589" fmla="*/ 697763 h 799204"/>
                <a:gd name="connsiteX590" fmla="*/ 186909 w 347814"/>
                <a:gd name="connsiteY590" fmla="*/ 692420 h 799204"/>
                <a:gd name="connsiteX591" fmla="*/ 188738 w 347814"/>
                <a:gd name="connsiteY591" fmla="*/ 689724 h 799204"/>
                <a:gd name="connsiteX592" fmla="*/ 190833 w 347814"/>
                <a:gd name="connsiteY592" fmla="*/ 687524 h 799204"/>
                <a:gd name="connsiteX593" fmla="*/ 194091 w 347814"/>
                <a:gd name="connsiteY593" fmla="*/ 682447 h 799204"/>
                <a:gd name="connsiteX594" fmla="*/ 197625 w 347814"/>
                <a:gd name="connsiteY594" fmla="*/ 678752 h 799204"/>
                <a:gd name="connsiteX595" fmla="*/ 202559 w 347814"/>
                <a:gd name="connsiteY595" fmla="*/ 677094 h 799204"/>
                <a:gd name="connsiteX596" fmla="*/ 204788 w 347814"/>
                <a:gd name="connsiteY596" fmla="*/ 678628 h 799204"/>
                <a:gd name="connsiteX597" fmla="*/ 205750 w 347814"/>
                <a:gd name="connsiteY597" fmla="*/ 675265 h 799204"/>
                <a:gd name="connsiteX598" fmla="*/ 207340 w 347814"/>
                <a:gd name="connsiteY598" fmla="*/ 674494 h 799204"/>
                <a:gd name="connsiteX599" fmla="*/ 208836 w 347814"/>
                <a:gd name="connsiteY599" fmla="*/ 675275 h 799204"/>
                <a:gd name="connsiteX600" fmla="*/ 212036 w 347814"/>
                <a:gd name="connsiteY600" fmla="*/ 678475 h 799204"/>
                <a:gd name="connsiteX601" fmla="*/ 143932 w 347814"/>
                <a:gd name="connsiteY601" fmla="*/ 754323 h 799204"/>
                <a:gd name="connsiteX602" fmla="*/ 142551 w 347814"/>
                <a:gd name="connsiteY602" fmla="*/ 756742 h 799204"/>
                <a:gd name="connsiteX603" fmla="*/ 141332 w 347814"/>
                <a:gd name="connsiteY603" fmla="*/ 756571 h 799204"/>
                <a:gd name="connsiteX604" fmla="*/ 140522 w 347814"/>
                <a:gd name="connsiteY604" fmla="*/ 753342 h 799204"/>
                <a:gd name="connsiteX605" fmla="*/ 140332 w 347814"/>
                <a:gd name="connsiteY605" fmla="*/ 745017 h 799204"/>
                <a:gd name="connsiteX606" fmla="*/ 140818 w 347814"/>
                <a:gd name="connsiteY606" fmla="*/ 740883 h 799204"/>
                <a:gd name="connsiteX607" fmla="*/ 146647 w 347814"/>
                <a:gd name="connsiteY607" fmla="*/ 725910 h 799204"/>
                <a:gd name="connsiteX608" fmla="*/ 149247 w 347814"/>
                <a:gd name="connsiteY608" fmla="*/ 724681 h 799204"/>
                <a:gd name="connsiteX609" fmla="*/ 152905 w 347814"/>
                <a:gd name="connsiteY609" fmla="*/ 715442 h 799204"/>
                <a:gd name="connsiteX610" fmla="*/ 153895 w 347814"/>
                <a:gd name="connsiteY610" fmla="*/ 711308 h 799204"/>
                <a:gd name="connsiteX611" fmla="*/ 155486 w 347814"/>
                <a:gd name="connsiteY611" fmla="*/ 707584 h 799204"/>
                <a:gd name="connsiteX612" fmla="*/ 156420 w 347814"/>
                <a:gd name="connsiteY612" fmla="*/ 704240 h 799204"/>
                <a:gd name="connsiteX613" fmla="*/ 157210 w 347814"/>
                <a:gd name="connsiteY613" fmla="*/ 702888 h 799204"/>
                <a:gd name="connsiteX614" fmla="*/ 158915 w 347814"/>
                <a:gd name="connsiteY614" fmla="*/ 703516 h 799204"/>
                <a:gd name="connsiteX615" fmla="*/ 159677 w 347814"/>
                <a:gd name="connsiteY615" fmla="*/ 704136 h 799204"/>
                <a:gd name="connsiteX616" fmla="*/ 157877 w 347814"/>
                <a:gd name="connsiteY616" fmla="*/ 706079 h 799204"/>
                <a:gd name="connsiteX617" fmla="*/ 158086 w 347814"/>
                <a:gd name="connsiteY617" fmla="*/ 708603 h 799204"/>
                <a:gd name="connsiteX618" fmla="*/ 157962 w 347814"/>
                <a:gd name="connsiteY618" fmla="*/ 709641 h 799204"/>
                <a:gd name="connsiteX619" fmla="*/ 153419 w 347814"/>
                <a:gd name="connsiteY619" fmla="*/ 720585 h 799204"/>
                <a:gd name="connsiteX620" fmla="*/ 152209 w 347814"/>
                <a:gd name="connsiteY620" fmla="*/ 727653 h 799204"/>
                <a:gd name="connsiteX621" fmla="*/ 150600 w 347814"/>
                <a:gd name="connsiteY621" fmla="*/ 729377 h 799204"/>
                <a:gd name="connsiteX622" fmla="*/ 143932 w 347814"/>
                <a:gd name="connsiteY622" fmla="*/ 754323 h 799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</a:cxnLst>
              <a:rect l="l" t="t" r="r" b="b"/>
              <a:pathLst>
                <a:path w="347814" h="799204">
                  <a:moveTo>
                    <a:pt x="347815" y="225095"/>
                  </a:moveTo>
                  <a:lnTo>
                    <a:pt x="340728" y="226600"/>
                  </a:lnTo>
                  <a:lnTo>
                    <a:pt x="335404" y="223580"/>
                  </a:lnTo>
                  <a:lnTo>
                    <a:pt x="332746" y="225095"/>
                  </a:lnTo>
                  <a:lnTo>
                    <a:pt x="328107" y="225161"/>
                  </a:lnTo>
                  <a:lnTo>
                    <a:pt x="322831" y="226352"/>
                  </a:lnTo>
                  <a:lnTo>
                    <a:pt x="321050" y="228705"/>
                  </a:lnTo>
                  <a:lnTo>
                    <a:pt x="319649" y="229648"/>
                  </a:lnTo>
                  <a:lnTo>
                    <a:pt x="314763" y="226324"/>
                  </a:lnTo>
                  <a:lnTo>
                    <a:pt x="310143" y="220808"/>
                  </a:lnTo>
                  <a:lnTo>
                    <a:pt x="306771" y="225009"/>
                  </a:lnTo>
                  <a:lnTo>
                    <a:pt x="304590" y="225800"/>
                  </a:lnTo>
                  <a:lnTo>
                    <a:pt x="302619" y="221999"/>
                  </a:lnTo>
                  <a:lnTo>
                    <a:pt x="300904" y="221380"/>
                  </a:lnTo>
                  <a:lnTo>
                    <a:pt x="299980" y="222647"/>
                  </a:lnTo>
                  <a:lnTo>
                    <a:pt x="299171" y="226009"/>
                  </a:lnTo>
                  <a:lnTo>
                    <a:pt x="297875" y="228648"/>
                  </a:lnTo>
                  <a:lnTo>
                    <a:pt x="297532" y="230314"/>
                  </a:lnTo>
                  <a:lnTo>
                    <a:pt x="297313" y="237020"/>
                  </a:lnTo>
                  <a:lnTo>
                    <a:pt x="296980" y="238573"/>
                  </a:lnTo>
                  <a:lnTo>
                    <a:pt x="292494" y="237706"/>
                  </a:lnTo>
                  <a:lnTo>
                    <a:pt x="292760" y="239468"/>
                  </a:lnTo>
                  <a:lnTo>
                    <a:pt x="293741" y="240354"/>
                  </a:lnTo>
                  <a:lnTo>
                    <a:pt x="294141" y="241468"/>
                  </a:lnTo>
                  <a:lnTo>
                    <a:pt x="292512" y="242926"/>
                  </a:lnTo>
                  <a:lnTo>
                    <a:pt x="288064" y="242783"/>
                  </a:lnTo>
                  <a:lnTo>
                    <a:pt x="287607" y="244335"/>
                  </a:lnTo>
                  <a:lnTo>
                    <a:pt x="288855" y="246774"/>
                  </a:lnTo>
                  <a:lnTo>
                    <a:pt x="287874" y="248917"/>
                  </a:lnTo>
                  <a:lnTo>
                    <a:pt x="286969" y="249755"/>
                  </a:lnTo>
                  <a:lnTo>
                    <a:pt x="281644" y="251079"/>
                  </a:lnTo>
                  <a:lnTo>
                    <a:pt x="278568" y="250774"/>
                  </a:lnTo>
                  <a:lnTo>
                    <a:pt x="277682" y="252155"/>
                  </a:lnTo>
                  <a:lnTo>
                    <a:pt x="277444" y="253946"/>
                  </a:lnTo>
                  <a:lnTo>
                    <a:pt x="278025" y="255708"/>
                  </a:lnTo>
                  <a:lnTo>
                    <a:pt x="279387" y="256642"/>
                  </a:lnTo>
                  <a:lnTo>
                    <a:pt x="279835" y="257756"/>
                  </a:lnTo>
                  <a:lnTo>
                    <a:pt x="279739" y="260166"/>
                  </a:lnTo>
                  <a:lnTo>
                    <a:pt x="278606" y="260604"/>
                  </a:lnTo>
                  <a:lnTo>
                    <a:pt x="275406" y="256365"/>
                  </a:lnTo>
                  <a:lnTo>
                    <a:pt x="274425" y="256584"/>
                  </a:lnTo>
                  <a:lnTo>
                    <a:pt x="275158" y="258785"/>
                  </a:lnTo>
                  <a:lnTo>
                    <a:pt x="276987" y="261185"/>
                  </a:lnTo>
                  <a:lnTo>
                    <a:pt x="278044" y="263633"/>
                  </a:lnTo>
                  <a:lnTo>
                    <a:pt x="278968" y="266567"/>
                  </a:lnTo>
                  <a:lnTo>
                    <a:pt x="278787" y="268796"/>
                  </a:lnTo>
                  <a:lnTo>
                    <a:pt x="274806" y="275958"/>
                  </a:lnTo>
                  <a:lnTo>
                    <a:pt x="271300" y="280464"/>
                  </a:lnTo>
                  <a:lnTo>
                    <a:pt x="268691" y="284512"/>
                  </a:lnTo>
                  <a:lnTo>
                    <a:pt x="267148" y="288798"/>
                  </a:lnTo>
                  <a:lnTo>
                    <a:pt x="268938" y="290951"/>
                  </a:lnTo>
                  <a:lnTo>
                    <a:pt x="270920" y="294056"/>
                  </a:lnTo>
                  <a:lnTo>
                    <a:pt x="272319" y="300009"/>
                  </a:lnTo>
                  <a:lnTo>
                    <a:pt x="273987" y="305305"/>
                  </a:lnTo>
                  <a:lnTo>
                    <a:pt x="277349" y="310344"/>
                  </a:lnTo>
                  <a:lnTo>
                    <a:pt x="276673" y="313249"/>
                  </a:lnTo>
                  <a:lnTo>
                    <a:pt x="275891" y="315506"/>
                  </a:lnTo>
                  <a:lnTo>
                    <a:pt x="270300" y="320469"/>
                  </a:lnTo>
                  <a:lnTo>
                    <a:pt x="263957" y="327917"/>
                  </a:lnTo>
                  <a:lnTo>
                    <a:pt x="257117" y="346815"/>
                  </a:lnTo>
                  <a:lnTo>
                    <a:pt x="254841" y="349339"/>
                  </a:lnTo>
                  <a:lnTo>
                    <a:pt x="248860" y="352511"/>
                  </a:lnTo>
                  <a:lnTo>
                    <a:pt x="246659" y="355578"/>
                  </a:lnTo>
                  <a:lnTo>
                    <a:pt x="242202" y="359216"/>
                  </a:lnTo>
                  <a:lnTo>
                    <a:pt x="234419" y="362341"/>
                  </a:lnTo>
                  <a:lnTo>
                    <a:pt x="230895" y="366684"/>
                  </a:lnTo>
                  <a:lnTo>
                    <a:pt x="229305" y="371161"/>
                  </a:lnTo>
                  <a:lnTo>
                    <a:pt x="227533" y="371484"/>
                  </a:lnTo>
                  <a:lnTo>
                    <a:pt x="225771" y="369732"/>
                  </a:lnTo>
                  <a:lnTo>
                    <a:pt x="223428" y="368427"/>
                  </a:lnTo>
                  <a:lnTo>
                    <a:pt x="223123" y="371351"/>
                  </a:lnTo>
                  <a:lnTo>
                    <a:pt x="223228" y="373494"/>
                  </a:lnTo>
                  <a:lnTo>
                    <a:pt x="219475" y="370322"/>
                  </a:lnTo>
                  <a:lnTo>
                    <a:pt x="217703" y="373237"/>
                  </a:lnTo>
                  <a:lnTo>
                    <a:pt x="216322" y="378085"/>
                  </a:lnTo>
                  <a:lnTo>
                    <a:pt x="210921" y="384600"/>
                  </a:lnTo>
                  <a:lnTo>
                    <a:pt x="205101" y="383429"/>
                  </a:lnTo>
                  <a:lnTo>
                    <a:pt x="204454" y="384572"/>
                  </a:lnTo>
                  <a:lnTo>
                    <a:pt x="205997" y="385400"/>
                  </a:lnTo>
                  <a:lnTo>
                    <a:pt x="206235" y="386439"/>
                  </a:lnTo>
                  <a:lnTo>
                    <a:pt x="205178" y="386991"/>
                  </a:lnTo>
                  <a:lnTo>
                    <a:pt x="203578" y="386934"/>
                  </a:lnTo>
                  <a:lnTo>
                    <a:pt x="201111" y="388220"/>
                  </a:lnTo>
                  <a:lnTo>
                    <a:pt x="199491" y="388125"/>
                  </a:lnTo>
                  <a:lnTo>
                    <a:pt x="198720" y="391192"/>
                  </a:lnTo>
                  <a:lnTo>
                    <a:pt x="197462" y="394897"/>
                  </a:lnTo>
                  <a:lnTo>
                    <a:pt x="194177" y="396430"/>
                  </a:lnTo>
                  <a:lnTo>
                    <a:pt x="192481" y="396745"/>
                  </a:lnTo>
                  <a:lnTo>
                    <a:pt x="191643" y="398850"/>
                  </a:lnTo>
                  <a:lnTo>
                    <a:pt x="196701" y="399288"/>
                  </a:lnTo>
                  <a:lnTo>
                    <a:pt x="196301" y="401069"/>
                  </a:lnTo>
                  <a:lnTo>
                    <a:pt x="196186" y="402850"/>
                  </a:lnTo>
                  <a:lnTo>
                    <a:pt x="195662" y="404755"/>
                  </a:lnTo>
                  <a:lnTo>
                    <a:pt x="189909" y="407499"/>
                  </a:lnTo>
                  <a:lnTo>
                    <a:pt x="189023" y="409651"/>
                  </a:lnTo>
                  <a:lnTo>
                    <a:pt x="187823" y="410985"/>
                  </a:lnTo>
                  <a:lnTo>
                    <a:pt x="185261" y="410909"/>
                  </a:lnTo>
                  <a:lnTo>
                    <a:pt x="185356" y="409670"/>
                  </a:lnTo>
                  <a:lnTo>
                    <a:pt x="185775" y="408270"/>
                  </a:lnTo>
                  <a:lnTo>
                    <a:pt x="181966" y="408394"/>
                  </a:lnTo>
                  <a:lnTo>
                    <a:pt x="180775" y="405298"/>
                  </a:lnTo>
                  <a:lnTo>
                    <a:pt x="180051" y="406089"/>
                  </a:lnTo>
                  <a:lnTo>
                    <a:pt x="180480" y="408584"/>
                  </a:lnTo>
                  <a:lnTo>
                    <a:pt x="181470" y="411175"/>
                  </a:lnTo>
                  <a:lnTo>
                    <a:pt x="182585" y="414976"/>
                  </a:lnTo>
                  <a:lnTo>
                    <a:pt x="181680" y="417366"/>
                  </a:lnTo>
                  <a:lnTo>
                    <a:pt x="180680" y="418557"/>
                  </a:lnTo>
                  <a:lnTo>
                    <a:pt x="181413" y="419652"/>
                  </a:lnTo>
                  <a:lnTo>
                    <a:pt x="183442" y="420491"/>
                  </a:lnTo>
                  <a:lnTo>
                    <a:pt x="184261" y="421986"/>
                  </a:lnTo>
                  <a:lnTo>
                    <a:pt x="181851" y="423262"/>
                  </a:lnTo>
                  <a:lnTo>
                    <a:pt x="178841" y="427644"/>
                  </a:lnTo>
                  <a:lnTo>
                    <a:pt x="175717" y="427749"/>
                  </a:lnTo>
                  <a:lnTo>
                    <a:pt x="173812" y="430644"/>
                  </a:lnTo>
                  <a:lnTo>
                    <a:pt x="171783" y="430635"/>
                  </a:lnTo>
                  <a:lnTo>
                    <a:pt x="170136" y="428815"/>
                  </a:lnTo>
                  <a:lnTo>
                    <a:pt x="167497" y="427320"/>
                  </a:lnTo>
                  <a:lnTo>
                    <a:pt x="166649" y="429949"/>
                  </a:lnTo>
                  <a:lnTo>
                    <a:pt x="166516" y="432044"/>
                  </a:lnTo>
                  <a:lnTo>
                    <a:pt x="168002" y="437331"/>
                  </a:lnTo>
                  <a:lnTo>
                    <a:pt x="170840" y="441408"/>
                  </a:lnTo>
                  <a:lnTo>
                    <a:pt x="173469" y="443170"/>
                  </a:lnTo>
                  <a:lnTo>
                    <a:pt x="171574" y="444360"/>
                  </a:lnTo>
                  <a:lnTo>
                    <a:pt x="170164" y="446989"/>
                  </a:lnTo>
                  <a:lnTo>
                    <a:pt x="168459" y="455181"/>
                  </a:lnTo>
                  <a:lnTo>
                    <a:pt x="167535" y="458400"/>
                  </a:lnTo>
                  <a:lnTo>
                    <a:pt x="166535" y="464058"/>
                  </a:lnTo>
                  <a:lnTo>
                    <a:pt x="167164" y="468821"/>
                  </a:lnTo>
                  <a:lnTo>
                    <a:pt x="167678" y="471154"/>
                  </a:lnTo>
                  <a:lnTo>
                    <a:pt x="168964" y="474326"/>
                  </a:lnTo>
                  <a:lnTo>
                    <a:pt x="165468" y="473916"/>
                  </a:lnTo>
                  <a:lnTo>
                    <a:pt x="161773" y="472068"/>
                  </a:lnTo>
                  <a:lnTo>
                    <a:pt x="162287" y="475907"/>
                  </a:lnTo>
                  <a:lnTo>
                    <a:pt x="160020" y="480441"/>
                  </a:lnTo>
                  <a:lnTo>
                    <a:pt x="160439" y="484422"/>
                  </a:lnTo>
                  <a:lnTo>
                    <a:pt x="160915" y="487004"/>
                  </a:lnTo>
                  <a:lnTo>
                    <a:pt x="160211" y="491280"/>
                  </a:lnTo>
                  <a:lnTo>
                    <a:pt x="161277" y="492623"/>
                  </a:lnTo>
                  <a:lnTo>
                    <a:pt x="161858" y="495167"/>
                  </a:lnTo>
                  <a:lnTo>
                    <a:pt x="160896" y="497043"/>
                  </a:lnTo>
                  <a:lnTo>
                    <a:pt x="161315" y="498653"/>
                  </a:lnTo>
                  <a:lnTo>
                    <a:pt x="161477" y="504339"/>
                  </a:lnTo>
                  <a:lnTo>
                    <a:pt x="162201" y="513207"/>
                  </a:lnTo>
                  <a:lnTo>
                    <a:pt x="161934" y="515074"/>
                  </a:lnTo>
                  <a:lnTo>
                    <a:pt x="163963" y="522732"/>
                  </a:lnTo>
                  <a:lnTo>
                    <a:pt x="163496" y="525409"/>
                  </a:lnTo>
                  <a:lnTo>
                    <a:pt x="163220" y="528809"/>
                  </a:lnTo>
                  <a:lnTo>
                    <a:pt x="166135" y="532076"/>
                  </a:lnTo>
                  <a:lnTo>
                    <a:pt x="168726" y="532028"/>
                  </a:lnTo>
                  <a:lnTo>
                    <a:pt x="171355" y="531981"/>
                  </a:lnTo>
                  <a:lnTo>
                    <a:pt x="172355" y="532790"/>
                  </a:lnTo>
                  <a:lnTo>
                    <a:pt x="173364" y="535095"/>
                  </a:lnTo>
                  <a:lnTo>
                    <a:pt x="174174" y="537820"/>
                  </a:lnTo>
                  <a:lnTo>
                    <a:pt x="176336" y="537601"/>
                  </a:lnTo>
                  <a:lnTo>
                    <a:pt x="179794" y="535391"/>
                  </a:lnTo>
                  <a:lnTo>
                    <a:pt x="182042" y="534867"/>
                  </a:lnTo>
                  <a:lnTo>
                    <a:pt x="183528" y="539115"/>
                  </a:lnTo>
                  <a:lnTo>
                    <a:pt x="187566" y="544716"/>
                  </a:lnTo>
                  <a:lnTo>
                    <a:pt x="189919" y="547221"/>
                  </a:lnTo>
                  <a:lnTo>
                    <a:pt x="193910" y="548545"/>
                  </a:lnTo>
                  <a:lnTo>
                    <a:pt x="198120" y="553041"/>
                  </a:lnTo>
                  <a:lnTo>
                    <a:pt x="197529" y="558451"/>
                  </a:lnTo>
                  <a:lnTo>
                    <a:pt x="199282" y="560251"/>
                  </a:lnTo>
                  <a:lnTo>
                    <a:pt x="204245" y="562375"/>
                  </a:lnTo>
                  <a:lnTo>
                    <a:pt x="206007" y="565242"/>
                  </a:lnTo>
                  <a:lnTo>
                    <a:pt x="206854" y="567680"/>
                  </a:lnTo>
                  <a:lnTo>
                    <a:pt x="208159" y="569700"/>
                  </a:lnTo>
                  <a:lnTo>
                    <a:pt x="209693" y="575786"/>
                  </a:lnTo>
                  <a:lnTo>
                    <a:pt x="209159" y="579530"/>
                  </a:lnTo>
                  <a:lnTo>
                    <a:pt x="207159" y="580815"/>
                  </a:lnTo>
                  <a:lnTo>
                    <a:pt x="202425" y="584816"/>
                  </a:lnTo>
                  <a:lnTo>
                    <a:pt x="200320" y="587797"/>
                  </a:lnTo>
                  <a:lnTo>
                    <a:pt x="198672" y="589645"/>
                  </a:lnTo>
                  <a:lnTo>
                    <a:pt x="193977" y="593617"/>
                  </a:lnTo>
                  <a:lnTo>
                    <a:pt x="192252" y="594331"/>
                  </a:lnTo>
                  <a:lnTo>
                    <a:pt x="190605" y="596389"/>
                  </a:lnTo>
                  <a:lnTo>
                    <a:pt x="189014" y="597294"/>
                  </a:lnTo>
                  <a:lnTo>
                    <a:pt x="187585" y="596779"/>
                  </a:lnTo>
                  <a:lnTo>
                    <a:pt x="182251" y="600504"/>
                  </a:lnTo>
                  <a:lnTo>
                    <a:pt x="178651" y="599475"/>
                  </a:lnTo>
                  <a:lnTo>
                    <a:pt x="177136" y="597637"/>
                  </a:lnTo>
                  <a:lnTo>
                    <a:pt x="178098" y="590321"/>
                  </a:lnTo>
                  <a:lnTo>
                    <a:pt x="177498" y="587959"/>
                  </a:lnTo>
                  <a:lnTo>
                    <a:pt x="176803" y="586769"/>
                  </a:lnTo>
                  <a:lnTo>
                    <a:pt x="174441" y="588131"/>
                  </a:lnTo>
                  <a:lnTo>
                    <a:pt x="174860" y="590931"/>
                  </a:lnTo>
                  <a:lnTo>
                    <a:pt x="170774" y="591045"/>
                  </a:lnTo>
                  <a:lnTo>
                    <a:pt x="166925" y="588674"/>
                  </a:lnTo>
                  <a:lnTo>
                    <a:pt x="166430" y="593341"/>
                  </a:lnTo>
                  <a:lnTo>
                    <a:pt x="158162" y="589474"/>
                  </a:lnTo>
                  <a:lnTo>
                    <a:pt x="155886" y="590455"/>
                  </a:lnTo>
                  <a:lnTo>
                    <a:pt x="152238" y="588512"/>
                  </a:lnTo>
                  <a:lnTo>
                    <a:pt x="149866" y="590836"/>
                  </a:lnTo>
                  <a:lnTo>
                    <a:pt x="147047" y="589998"/>
                  </a:lnTo>
                  <a:lnTo>
                    <a:pt x="145094" y="587235"/>
                  </a:lnTo>
                  <a:lnTo>
                    <a:pt x="142389" y="592093"/>
                  </a:lnTo>
                  <a:lnTo>
                    <a:pt x="136484" y="593474"/>
                  </a:lnTo>
                  <a:lnTo>
                    <a:pt x="130930" y="594246"/>
                  </a:lnTo>
                  <a:lnTo>
                    <a:pt x="133607" y="595865"/>
                  </a:lnTo>
                  <a:lnTo>
                    <a:pt x="146066" y="595560"/>
                  </a:lnTo>
                  <a:lnTo>
                    <a:pt x="149590" y="596760"/>
                  </a:lnTo>
                  <a:lnTo>
                    <a:pt x="154171" y="595960"/>
                  </a:lnTo>
                  <a:lnTo>
                    <a:pt x="158229" y="599770"/>
                  </a:lnTo>
                  <a:lnTo>
                    <a:pt x="161154" y="600685"/>
                  </a:lnTo>
                  <a:lnTo>
                    <a:pt x="164611" y="605057"/>
                  </a:lnTo>
                  <a:lnTo>
                    <a:pt x="166382" y="603866"/>
                  </a:lnTo>
                  <a:lnTo>
                    <a:pt x="169164" y="604047"/>
                  </a:lnTo>
                  <a:lnTo>
                    <a:pt x="171735" y="605295"/>
                  </a:lnTo>
                  <a:lnTo>
                    <a:pt x="179898" y="605133"/>
                  </a:lnTo>
                  <a:lnTo>
                    <a:pt x="182670" y="602085"/>
                  </a:lnTo>
                  <a:lnTo>
                    <a:pt x="186757" y="602751"/>
                  </a:lnTo>
                  <a:lnTo>
                    <a:pt x="188843" y="601961"/>
                  </a:lnTo>
                  <a:lnTo>
                    <a:pt x="190442" y="600094"/>
                  </a:lnTo>
                  <a:lnTo>
                    <a:pt x="192195" y="599665"/>
                  </a:lnTo>
                  <a:lnTo>
                    <a:pt x="193786" y="600018"/>
                  </a:lnTo>
                  <a:lnTo>
                    <a:pt x="195482" y="598541"/>
                  </a:lnTo>
                  <a:lnTo>
                    <a:pt x="196815" y="597951"/>
                  </a:lnTo>
                  <a:lnTo>
                    <a:pt x="198187" y="598665"/>
                  </a:lnTo>
                  <a:lnTo>
                    <a:pt x="199720" y="602199"/>
                  </a:lnTo>
                  <a:lnTo>
                    <a:pt x="196539" y="604028"/>
                  </a:lnTo>
                  <a:lnTo>
                    <a:pt x="194281" y="604114"/>
                  </a:lnTo>
                  <a:lnTo>
                    <a:pt x="193177" y="609886"/>
                  </a:lnTo>
                  <a:lnTo>
                    <a:pt x="191814" y="612362"/>
                  </a:lnTo>
                  <a:lnTo>
                    <a:pt x="190833" y="613553"/>
                  </a:lnTo>
                  <a:lnTo>
                    <a:pt x="185833" y="616001"/>
                  </a:lnTo>
                  <a:lnTo>
                    <a:pt x="182527" y="619097"/>
                  </a:lnTo>
                  <a:lnTo>
                    <a:pt x="178632" y="621582"/>
                  </a:lnTo>
                  <a:lnTo>
                    <a:pt x="176936" y="621039"/>
                  </a:lnTo>
                  <a:lnTo>
                    <a:pt x="174374" y="623564"/>
                  </a:lnTo>
                  <a:lnTo>
                    <a:pt x="168687" y="626545"/>
                  </a:lnTo>
                  <a:lnTo>
                    <a:pt x="165764" y="630564"/>
                  </a:lnTo>
                  <a:lnTo>
                    <a:pt x="159220" y="634146"/>
                  </a:lnTo>
                  <a:lnTo>
                    <a:pt x="155886" y="637061"/>
                  </a:lnTo>
                  <a:lnTo>
                    <a:pt x="146828" y="637213"/>
                  </a:lnTo>
                  <a:lnTo>
                    <a:pt x="138179" y="636575"/>
                  </a:lnTo>
                  <a:lnTo>
                    <a:pt x="135464" y="637956"/>
                  </a:lnTo>
                  <a:lnTo>
                    <a:pt x="138246" y="638385"/>
                  </a:lnTo>
                  <a:lnTo>
                    <a:pt x="140189" y="639737"/>
                  </a:lnTo>
                  <a:lnTo>
                    <a:pt x="142523" y="639166"/>
                  </a:lnTo>
                  <a:lnTo>
                    <a:pt x="148009" y="639842"/>
                  </a:lnTo>
                  <a:lnTo>
                    <a:pt x="150828" y="640585"/>
                  </a:lnTo>
                  <a:lnTo>
                    <a:pt x="154448" y="645328"/>
                  </a:lnTo>
                  <a:lnTo>
                    <a:pt x="151790" y="647005"/>
                  </a:lnTo>
                  <a:lnTo>
                    <a:pt x="147180" y="648300"/>
                  </a:lnTo>
                  <a:lnTo>
                    <a:pt x="148914" y="654987"/>
                  </a:lnTo>
                  <a:lnTo>
                    <a:pt x="150333" y="659482"/>
                  </a:lnTo>
                  <a:lnTo>
                    <a:pt x="148466" y="662188"/>
                  </a:lnTo>
                  <a:lnTo>
                    <a:pt x="148323" y="674446"/>
                  </a:lnTo>
                  <a:lnTo>
                    <a:pt x="145704" y="674675"/>
                  </a:lnTo>
                  <a:lnTo>
                    <a:pt x="144589" y="679723"/>
                  </a:lnTo>
                  <a:lnTo>
                    <a:pt x="145409" y="682295"/>
                  </a:lnTo>
                  <a:lnTo>
                    <a:pt x="145342" y="688248"/>
                  </a:lnTo>
                  <a:lnTo>
                    <a:pt x="145885" y="691905"/>
                  </a:lnTo>
                  <a:lnTo>
                    <a:pt x="147171" y="695268"/>
                  </a:lnTo>
                  <a:lnTo>
                    <a:pt x="146599" y="698763"/>
                  </a:lnTo>
                  <a:lnTo>
                    <a:pt x="142456" y="706926"/>
                  </a:lnTo>
                  <a:lnTo>
                    <a:pt x="142541" y="710746"/>
                  </a:lnTo>
                  <a:lnTo>
                    <a:pt x="143294" y="713013"/>
                  </a:lnTo>
                  <a:lnTo>
                    <a:pt x="143846" y="716623"/>
                  </a:lnTo>
                  <a:lnTo>
                    <a:pt x="141961" y="723547"/>
                  </a:lnTo>
                  <a:lnTo>
                    <a:pt x="140637" y="729310"/>
                  </a:lnTo>
                  <a:lnTo>
                    <a:pt x="139055" y="734149"/>
                  </a:lnTo>
                  <a:lnTo>
                    <a:pt x="135521" y="739930"/>
                  </a:lnTo>
                  <a:lnTo>
                    <a:pt x="133759" y="744245"/>
                  </a:lnTo>
                  <a:lnTo>
                    <a:pt x="129644" y="757647"/>
                  </a:lnTo>
                  <a:lnTo>
                    <a:pt x="127606" y="760295"/>
                  </a:lnTo>
                  <a:lnTo>
                    <a:pt x="125101" y="762324"/>
                  </a:lnTo>
                  <a:lnTo>
                    <a:pt x="122311" y="760448"/>
                  </a:lnTo>
                  <a:lnTo>
                    <a:pt x="119748" y="759428"/>
                  </a:lnTo>
                  <a:lnTo>
                    <a:pt x="116624" y="759552"/>
                  </a:lnTo>
                  <a:lnTo>
                    <a:pt x="111728" y="761095"/>
                  </a:lnTo>
                  <a:lnTo>
                    <a:pt x="104365" y="760066"/>
                  </a:lnTo>
                  <a:lnTo>
                    <a:pt x="97174" y="760562"/>
                  </a:lnTo>
                  <a:lnTo>
                    <a:pt x="95355" y="761886"/>
                  </a:lnTo>
                  <a:lnTo>
                    <a:pt x="96450" y="766715"/>
                  </a:lnTo>
                  <a:lnTo>
                    <a:pt x="93793" y="767344"/>
                  </a:lnTo>
                  <a:lnTo>
                    <a:pt x="91202" y="765972"/>
                  </a:lnTo>
                  <a:lnTo>
                    <a:pt x="88916" y="767610"/>
                  </a:lnTo>
                  <a:lnTo>
                    <a:pt x="87011" y="769401"/>
                  </a:lnTo>
                  <a:lnTo>
                    <a:pt x="83268" y="773649"/>
                  </a:lnTo>
                  <a:lnTo>
                    <a:pt x="82010" y="776259"/>
                  </a:lnTo>
                  <a:lnTo>
                    <a:pt x="81686" y="781164"/>
                  </a:lnTo>
                  <a:lnTo>
                    <a:pt x="83658" y="785555"/>
                  </a:lnTo>
                  <a:lnTo>
                    <a:pt x="85401" y="790689"/>
                  </a:lnTo>
                  <a:lnTo>
                    <a:pt x="80915" y="796852"/>
                  </a:lnTo>
                  <a:lnTo>
                    <a:pt x="78410" y="797062"/>
                  </a:lnTo>
                  <a:lnTo>
                    <a:pt x="71095" y="795347"/>
                  </a:lnTo>
                  <a:lnTo>
                    <a:pt x="58131" y="799205"/>
                  </a:lnTo>
                  <a:lnTo>
                    <a:pt x="46491" y="796157"/>
                  </a:lnTo>
                  <a:lnTo>
                    <a:pt x="47949" y="792851"/>
                  </a:lnTo>
                  <a:lnTo>
                    <a:pt x="47901" y="790423"/>
                  </a:lnTo>
                  <a:lnTo>
                    <a:pt x="48558" y="786679"/>
                  </a:lnTo>
                  <a:lnTo>
                    <a:pt x="48949" y="782841"/>
                  </a:lnTo>
                  <a:lnTo>
                    <a:pt x="48844" y="780269"/>
                  </a:lnTo>
                  <a:lnTo>
                    <a:pt x="47987" y="777516"/>
                  </a:lnTo>
                  <a:lnTo>
                    <a:pt x="45120" y="773916"/>
                  </a:lnTo>
                  <a:lnTo>
                    <a:pt x="38652" y="761714"/>
                  </a:lnTo>
                  <a:lnTo>
                    <a:pt x="36738" y="756542"/>
                  </a:lnTo>
                  <a:lnTo>
                    <a:pt x="35404" y="754380"/>
                  </a:lnTo>
                  <a:lnTo>
                    <a:pt x="36366" y="754266"/>
                  </a:lnTo>
                  <a:lnTo>
                    <a:pt x="41700" y="757047"/>
                  </a:lnTo>
                  <a:lnTo>
                    <a:pt x="42939" y="756704"/>
                  </a:lnTo>
                  <a:lnTo>
                    <a:pt x="44244" y="755666"/>
                  </a:lnTo>
                  <a:lnTo>
                    <a:pt x="42653" y="751675"/>
                  </a:lnTo>
                  <a:lnTo>
                    <a:pt x="41281" y="749875"/>
                  </a:lnTo>
                  <a:lnTo>
                    <a:pt x="40357" y="747170"/>
                  </a:lnTo>
                  <a:lnTo>
                    <a:pt x="43472" y="746436"/>
                  </a:lnTo>
                  <a:lnTo>
                    <a:pt x="45729" y="746598"/>
                  </a:lnTo>
                  <a:lnTo>
                    <a:pt x="47387" y="743550"/>
                  </a:lnTo>
                  <a:lnTo>
                    <a:pt x="46425" y="738607"/>
                  </a:lnTo>
                  <a:lnTo>
                    <a:pt x="44005" y="737083"/>
                  </a:lnTo>
                  <a:lnTo>
                    <a:pt x="41986" y="736416"/>
                  </a:lnTo>
                  <a:lnTo>
                    <a:pt x="38109" y="728605"/>
                  </a:lnTo>
                  <a:lnTo>
                    <a:pt x="34071" y="724548"/>
                  </a:lnTo>
                  <a:lnTo>
                    <a:pt x="26860" y="708822"/>
                  </a:lnTo>
                  <a:lnTo>
                    <a:pt x="24222" y="697944"/>
                  </a:lnTo>
                  <a:lnTo>
                    <a:pt x="21774" y="698983"/>
                  </a:lnTo>
                  <a:lnTo>
                    <a:pt x="20583" y="694230"/>
                  </a:lnTo>
                  <a:lnTo>
                    <a:pt x="19726" y="689705"/>
                  </a:lnTo>
                  <a:lnTo>
                    <a:pt x="19555" y="686381"/>
                  </a:lnTo>
                  <a:lnTo>
                    <a:pt x="15707" y="684476"/>
                  </a:lnTo>
                  <a:lnTo>
                    <a:pt x="15554" y="682133"/>
                  </a:lnTo>
                  <a:lnTo>
                    <a:pt x="14859" y="671655"/>
                  </a:lnTo>
                  <a:lnTo>
                    <a:pt x="10735" y="670246"/>
                  </a:lnTo>
                  <a:lnTo>
                    <a:pt x="8068" y="664340"/>
                  </a:lnTo>
                  <a:lnTo>
                    <a:pt x="7591" y="653110"/>
                  </a:lnTo>
                  <a:lnTo>
                    <a:pt x="4877" y="651062"/>
                  </a:lnTo>
                  <a:lnTo>
                    <a:pt x="2695" y="651634"/>
                  </a:lnTo>
                  <a:lnTo>
                    <a:pt x="2800" y="648843"/>
                  </a:lnTo>
                  <a:lnTo>
                    <a:pt x="3324" y="646214"/>
                  </a:lnTo>
                  <a:lnTo>
                    <a:pt x="2048" y="635756"/>
                  </a:lnTo>
                  <a:lnTo>
                    <a:pt x="1619" y="626164"/>
                  </a:lnTo>
                  <a:lnTo>
                    <a:pt x="590" y="623249"/>
                  </a:lnTo>
                  <a:lnTo>
                    <a:pt x="0" y="619839"/>
                  </a:lnTo>
                  <a:lnTo>
                    <a:pt x="524" y="616887"/>
                  </a:lnTo>
                  <a:lnTo>
                    <a:pt x="1305" y="615182"/>
                  </a:lnTo>
                  <a:lnTo>
                    <a:pt x="3962" y="614734"/>
                  </a:lnTo>
                  <a:lnTo>
                    <a:pt x="6448" y="617344"/>
                  </a:lnTo>
                  <a:lnTo>
                    <a:pt x="8649" y="623916"/>
                  </a:lnTo>
                  <a:lnTo>
                    <a:pt x="10592" y="624773"/>
                  </a:lnTo>
                  <a:lnTo>
                    <a:pt x="13240" y="623059"/>
                  </a:lnTo>
                  <a:lnTo>
                    <a:pt x="15097" y="618268"/>
                  </a:lnTo>
                  <a:lnTo>
                    <a:pt x="16154" y="611057"/>
                  </a:lnTo>
                  <a:lnTo>
                    <a:pt x="17393" y="604152"/>
                  </a:lnTo>
                  <a:lnTo>
                    <a:pt x="15926" y="596741"/>
                  </a:lnTo>
                  <a:lnTo>
                    <a:pt x="14364" y="590207"/>
                  </a:lnTo>
                  <a:lnTo>
                    <a:pt x="14249" y="588283"/>
                  </a:lnTo>
                  <a:lnTo>
                    <a:pt x="18355" y="582739"/>
                  </a:lnTo>
                  <a:lnTo>
                    <a:pt x="19612" y="578225"/>
                  </a:lnTo>
                  <a:lnTo>
                    <a:pt x="20974" y="573910"/>
                  </a:lnTo>
                  <a:lnTo>
                    <a:pt x="22479" y="572443"/>
                  </a:lnTo>
                  <a:lnTo>
                    <a:pt x="24708" y="572110"/>
                  </a:lnTo>
                  <a:lnTo>
                    <a:pt x="27308" y="571300"/>
                  </a:lnTo>
                  <a:lnTo>
                    <a:pt x="30585" y="568404"/>
                  </a:lnTo>
                  <a:lnTo>
                    <a:pt x="33528" y="564518"/>
                  </a:lnTo>
                  <a:lnTo>
                    <a:pt x="35776" y="560946"/>
                  </a:lnTo>
                  <a:lnTo>
                    <a:pt x="36538" y="553860"/>
                  </a:lnTo>
                  <a:lnTo>
                    <a:pt x="36566" y="550288"/>
                  </a:lnTo>
                  <a:lnTo>
                    <a:pt x="37557" y="547630"/>
                  </a:lnTo>
                  <a:lnTo>
                    <a:pt x="38510" y="542430"/>
                  </a:lnTo>
                  <a:lnTo>
                    <a:pt x="37576" y="537286"/>
                  </a:lnTo>
                  <a:lnTo>
                    <a:pt x="34671" y="529457"/>
                  </a:lnTo>
                  <a:lnTo>
                    <a:pt x="31175" y="518379"/>
                  </a:lnTo>
                  <a:lnTo>
                    <a:pt x="30632" y="512302"/>
                  </a:lnTo>
                  <a:lnTo>
                    <a:pt x="32223" y="511169"/>
                  </a:lnTo>
                  <a:lnTo>
                    <a:pt x="35262" y="510159"/>
                  </a:lnTo>
                  <a:lnTo>
                    <a:pt x="41024" y="509864"/>
                  </a:lnTo>
                  <a:lnTo>
                    <a:pt x="41634" y="509149"/>
                  </a:lnTo>
                  <a:lnTo>
                    <a:pt x="42215" y="506473"/>
                  </a:lnTo>
                  <a:lnTo>
                    <a:pt x="43520" y="502844"/>
                  </a:lnTo>
                  <a:lnTo>
                    <a:pt x="44901" y="500196"/>
                  </a:lnTo>
                  <a:lnTo>
                    <a:pt x="45853" y="496395"/>
                  </a:lnTo>
                  <a:lnTo>
                    <a:pt x="46311" y="492947"/>
                  </a:lnTo>
                  <a:lnTo>
                    <a:pt x="43015" y="487737"/>
                  </a:lnTo>
                  <a:lnTo>
                    <a:pt x="38700" y="482384"/>
                  </a:lnTo>
                  <a:lnTo>
                    <a:pt x="35776" y="480603"/>
                  </a:lnTo>
                  <a:lnTo>
                    <a:pt x="30575" y="476088"/>
                  </a:lnTo>
                  <a:lnTo>
                    <a:pt x="26918" y="472307"/>
                  </a:lnTo>
                  <a:lnTo>
                    <a:pt x="29013" y="457819"/>
                  </a:lnTo>
                  <a:lnTo>
                    <a:pt x="30575" y="446951"/>
                  </a:lnTo>
                  <a:lnTo>
                    <a:pt x="30823" y="444303"/>
                  </a:lnTo>
                  <a:lnTo>
                    <a:pt x="30880" y="440188"/>
                  </a:lnTo>
                  <a:lnTo>
                    <a:pt x="25832" y="422519"/>
                  </a:lnTo>
                  <a:lnTo>
                    <a:pt x="26032" y="418567"/>
                  </a:lnTo>
                  <a:lnTo>
                    <a:pt x="26508" y="414995"/>
                  </a:lnTo>
                  <a:lnTo>
                    <a:pt x="25965" y="408889"/>
                  </a:lnTo>
                  <a:lnTo>
                    <a:pt x="25670" y="403412"/>
                  </a:lnTo>
                  <a:lnTo>
                    <a:pt x="26536" y="401745"/>
                  </a:lnTo>
                  <a:lnTo>
                    <a:pt x="28594" y="398640"/>
                  </a:lnTo>
                  <a:lnTo>
                    <a:pt x="26622" y="393821"/>
                  </a:lnTo>
                  <a:lnTo>
                    <a:pt x="26460" y="393421"/>
                  </a:lnTo>
                  <a:lnTo>
                    <a:pt x="22746" y="381438"/>
                  </a:lnTo>
                  <a:lnTo>
                    <a:pt x="28422" y="369484"/>
                  </a:lnTo>
                  <a:lnTo>
                    <a:pt x="27432" y="363264"/>
                  </a:lnTo>
                  <a:lnTo>
                    <a:pt x="30813" y="358740"/>
                  </a:lnTo>
                  <a:lnTo>
                    <a:pt x="36986" y="348339"/>
                  </a:lnTo>
                  <a:lnTo>
                    <a:pt x="40452" y="342452"/>
                  </a:lnTo>
                  <a:lnTo>
                    <a:pt x="41186" y="341424"/>
                  </a:lnTo>
                  <a:lnTo>
                    <a:pt x="43929" y="338833"/>
                  </a:lnTo>
                  <a:lnTo>
                    <a:pt x="49139" y="335756"/>
                  </a:lnTo>
                  <a:lnTo>
                    <a:pt x="54912" y="334251"/>
                  </a:lnTo>
                  <a:lnTo>
                    <a:pt x="57483" y="334270"/>
                  </a:lnTo>
                  <a:lnTo>
                    <a:pt x="67408" y="336356"/>
                  </a:lnTo>
                  <a:lnTo>
                    <a:pt x="75152" y="337976"/>
                  </a:lnTo>
                  <a:lnTo>
                    <a:pt x="76285" y="336347"/>
                  </a:lnTo>
                  <a:lnTo>
                    <a:pt x="77905" y="333004"/>
                  </a:lnTo>
                  <a:lnTo>
                    <a:pt x="79991" y="328231"/>
                  </a:lnTo>
                  <a:lnTo>
                    <a:pt x="80172" y="322907"/>
                  </a:lnTo>
                  <a:lnTo>
                    <a:pt x="79420" y="315058"/>
                  </a:lnTo>
                  <a:lnTo>
                    <a:pt x="78286" y="310344"/>
                  </a:lnTo>
                  <a:lnTo>
                    <a:pt x="72837" y="307267"/>
                  </a:lnTo>
                  <a:lnTo>
                    <a:pt x="66865" y="303047"/>
                  </a:lnTo>
                  <a:lnTo>
                    <a:pt x="74209" y="289608"/>
                  </a:lnTo>
                  <a:lnTo>
                    <a:pt x="79296" y="280216"/>
                  </a:lnTo>
                  <a:lnTo>
                    <a:pt x="85639" y="265995"/>
                  </a:lnTo>
                  <a:lnTo>
                    <a:pt x="87611" y="260042"/>
                  </a:lnTo>
                  <a:lnTo>
                    <a:pt x="89039" y="257670"/>
                  </a:lnTo>
                  <a:lnTo>
                    <a:pt x="90907" y="235477"/>
                  </a:lnTo>
                  <a:lnTo>
                    <a:pt x="92145" y="229219"/>
                  </a:lnTo>
                  <a:lnTo>
                    <a:pt x="93183" y="225933"/>
                  </a:lnTo>
                  <a:lnTo>
                    <a:pt x="93193" y="222561"/>
                  </a:lnTo>
                  <a:lnTo>
                    <a:pt x="92516" y="216856"/>
                  </a:lnTo>
                  <a:lnTo>
                    <a:pt x="90735" y="203902"/>
                  </a:lnTo>
                  <a:lnTo>
                    <a:pt x="100755" y="202292"/>
                  </a:lnTo>
                  <a:lnTo>
                    <a:pt x="104013" y="201378"/>
                  </a:lnTo>
                  <a:lnTo>
                    <a:pt x="107042" y="199825"/>
                  </a:lnTo>
                  <a:lnTo>
                    <a:pt x="112966" y="195786"/>
                  </a:lnTo>
                  <a:lnTo>
                    <a:pt x="115871" y="192205"/>
                  </a:lnTo>
                  <a:lnTo>
                    <a:pt x="114252" y="179937"/>
                  </a:lnTo>
                  <a:lnTo>
                    <a:pt x="117834" y="175765"/>
                  </a:lnTo>
                  <a:lnTo>
                    <a:pt x="126578" y="161153"/>
                  </a:lnTo>
                  <a:lnTo>
                    <a:pt x="136027" y="147047"/>
                  </a:lnTo>
                  <a:lnTo>
                    <a:pt x="140455" y="141675"/>
                  </a:lnTo>
                  <a:lnTo>
                    <a:pt x="140913" y="139046"/>
                  </a:lnTo>
                  <a:lnTo>
                    <a:pt x="141275" y="134807"/>
                  </a:lnTo>
                  <a:lnTo>
                    <a:pt x="139303" y="128121"/>
                  </a:lnTo>
                  <a:lnTo>
                    <a:pt x="137189" y="123968"/>
                  </a:lnTo>
                  <a:lnTo>
                    <a:pt x="133064" y="116072"/>
                  </a:lnTo>
                  <a:lnTo>
                    <a:pt x="134836" y="110538"/>
                  </a:lnTo>
                  <a:lnTo>
                    <a:pt x="137874" y="109461"/>
                  </a:lnTo>
                  <a:lnTo>
                    <a:pt x="141884" y="107280"/>
                  </a:lnTo>
                  <a:lnTo>
                    <a:pt x="145018" y="102527"/>
                  </a:lnTo>
                  <a:lnTo>
                    <a:pt x="145323" y="101917"/>
                  </a:lnTo>
                  <a:lnTo>
                    <a:pt x="150619" y="83096"/>
                  </a:lnTo>
                  <a:lnTo>
                    <a:pt x="160954" y="73476"/>
                  </a:lnTo>
                  <a:lnTo>
                    <a:pt x="165078" y="68208"/>
                  </a:lnTo>
                  <a:lnTo>
                    <a:pt x="171498" y="72171"/>
                  </a:lnTo>
                  <a:lnTo>
                    <a:pt x="180908" y="78134"/>
                  </a:lnTo>
                  <a:lnTo>
                    <a:pt x="185090" y="69361"/>
                  </a:lnTo>
                  <a:lnTo>
                    <a:pt x="186471" y="66094"/>
                  </a:lnTo>
                  <a:lnTo>
                    <a:pt x="187852" y="61274"/>
                  </a:lnTo>
                  <a:lnTo>
                    <a:pt x="187300" y="52892"/>
                  </a:lnTo>
                  <a:lnTo>
                    <a:pt x="187061" y="41948"/>
                  </a:lnTo>
                  <a:lnTo>
                    <a:pt x="187480" y="37529"/>
                  </a:lnTo>
                  <a:lnTo>
                    <a:pt x="191233" y="35557"/>
                  </a:lnTo>
                  <a:lnTo>
                    <a:pt x="193253" y="35052"/>
                  </a:lnTo>
                  <a:lnTo>
                    <a:pt x="203711" y="39605"/>
                  </a:lnTo>
                  <a:lnTo>
                    <a:pt x="206340" y="39529"/>
                  </a:lnTo>
                  <a:lnTo>
                    <a:pt x="211274" y="40138"/>
                  </a:lnTo>
                  <a:lnTo>
                    <a:pt x="216789" y="42129"/>
                  </a:lnTo>
                  <a:lnTo>
                    <a:pt x="228342" y="47425"/>
                  </a:lnTo>
                  <a:lnTo>
                    <a:pt x="233115" y="49606"/>
                  </a:lnTo>
                  <a:lnTo>
                    <a:pt x="235782" y="50025"/>
                  </a:lnTo>
                  <a:lnTo>
                    <a:pt x="238087" y="47568"/>
                  </a:lnTo>
                  <a:lnTo>
                    <a:pt x="243011" y="41234"/>
                  </a:lnTo>
                  <a:lnTo>
                    <a:pt x="235763" y="36528"/>
                  </a:lnTo>
                  <a:lnTo>
                    <a:pt x="240535" y="31756"/>
                  </a:lnTo>
                  <a:lnTo>
                    <a:pt x="243011" y="26927"/>
                  </a:lnTo>
                  <a:lnTo>
                    <a:pt x="245135" y="20974"/>
                  </a:lnTo>
                  <a:lnTo>
                    <a:pt x="245907" y="13983"/>
                  </a:lnTo>
                  <a:lnTo>
                    <a:pt x="245612" y="10211"/>
                  </a:lnTo>
                  <a:lnTo>
                    <a:pt x="244144" y="7629"/>
                  </a:lnTo>
                  <a:lnTo>
                    <a:pt x="239716" y="1191"/>
                  </a:lnTo>
                  <a:lnTo>
                    <a:pt x="249745" y="267"/>
                  </a:lnTo>
                  <a:lnTo>
                    <a:pt x="253222" y="0"/>
                  </a:lnTo>
                  <a:lnTo>
                    <a:pt x="260518" y="4248"/>
                  </a:lnTo>
                  <a:lnTo>
                    <a:pt x="260842" y="5172"/>
                  </a:lnTo>
                  <a:lnTo>
                    <a:pt x="260890" y="7382"/>
                  </a:lnTo>
                  <a:lnTo>
                    <a:pt x="261147" y="9668"/>
                  </a:lnTo>
                  <a:lnTo>
                    <a:pt x="268224" y="15449"/>
                  </a:lnTo>
                  <a:lnTo>
                    <a:pt x="270262" y="18507"/>
                  </a:lnTo>
                  <a:lnTo>
                    <a:pt x="274615" y="23136"/>
                  </a:lnTo>
                  <a:lnTo>
                    <a:pt x="275767" y="25632"/>
                  </a:lnTo>
                  <a:lnTo>
                    <a:pt x="279797" y="28546"/>
                  </a:lnTo>
                  <a:lnTo>
                    <a:pt x="282683" y="31661"/>
                  </a:lnTo>
                  <a:lnTo>
                    <a:pt x="286055" y="34176"/>
                  </a:lnTo>
                  <a:lnTo>
                    <a:pt x="289989" y="38081"/>
                  </a:lnTo>
                  <a:lnTo>
                    <a:pt x="295275" y="41186"/>
                  </a:lnTo>
                  <a:lnTo>
                    <a:pt x="299732" y="42196"/>
                  </a:lnTo>
                  <a:lnTo>
                    <a:pt x="310972" y="47501"/>
                  </a:lnTo>
                  <a:lnTo>
                    <a:pt x="312887" y="49216"/>
                  </a:lnTo>
                  <a:lnTo>
                    <a:pt x="316125" y="52902"/>
                  </a:lnTo>
                  <a:lnTo>
                    <a:pt x="319401" y="57150"/>
                  </a:lnTo>
                  <a:lnTo>
                    <a:pt x="321669" y="65856"/>
                  </a:lnTo>
                  <a:lnTo>
                    <a:pt x="325298" y="66304"/>
                  </a:lnTo>
                  <a:lnTo>
                    <a:pt x="326288" y="69285"/>
                  </a:lnTo>
                  <a:lnTo>
                    <a:pt x="329460" y="74381"/>
                  </a:lnTo>
                  <a:lnTo>
                    <a:pt x="333860" y="78867"/>
                  </a:lnTo>
                  <a:lnTo>
                    <a:pt x="333699" y="80372"/>
                  </a:lnTo>
                  <a:lnTo>
                    <a:pt x="330194" y="84487"/>
                  </a:lnTo>
                  <a:lnTo>
                    <a:pt x="329812" y="90049"/>
                  </a:lnTo>
                  <a:lnTo>
                    <a:pt x="330146" y="97126"/>
                  </a:lnTo>
                  <a:lnTo>
                    <a:pt x="331251" y="102879"/>
                  </a:lnTo>
                  <a:lnTo>
                    <a:pt x="331137" y="104556"/>
                  </a:lnTo>
                  <a:lnTo>
                    <a:pt x="330270" y="106537"/>
                  </a:lnTo>
                  <a:lnTo>
                    <a:pt x="329232" y="109633"/>
                  </a:lnTo>
                  <a:lnTo>
                    <a:pt x="328850" y="112328"/>
                  </a:lnTo>
                  <a:lnTo>
                    <a:pt x="328946" y="113643"/>
                  </a:lnTo>
                  <a:lnTo>
                    <a:pt x="329298" y="114367"/>
                  </a:lnTo>
                  <a:lnTo>
                    <a:pt x="331146" y="114424"/>
                  </a:lnTo>
                  <a:lnTo>
                    <a:pt x="334451" y="115062"/>
                  </a:lnTo>
                  <a:lnTo>
                    <a:pt x="336395" y="116253"/>
                  </a:lnTo>
                  <a:lnTo>
                    <a:pt x="337499" y="122796"/>
                  </a:lnTo>
                  <a:lnTo>
                    <a:pt x="337128" y="124054"/>
                  </a:lnTo>
                  <a:lnTo>
                    <a:pt x="334346" y="127006"/>
                  </a:lnTo>
                  <a:lnTo>
                    <a:pt x="333527" y="129350"/>
                  </a:lnTo>
                  <a:lnTo>
                    <a:pt x="333451" y="132779"/>
                  </a:lnTo>
                  <a:lnTo>
                    <a:pt x="333946" y="136550"/>
                  </a:lnTo>
                  <a:lnTo>
                    <a:pt x="334909" y="140751"/>
                  </a:lnTo>
                  <a:lnTo>
                    <a:pt x="337090" y="145237"/>
                  </a:lnTo>
                  <a:lnTo>
                    <a:pt x="340043" y="149914"/>
                  </a:lnTo>
                  <a:lnTo>
                    <a:pt x="341986" y="153743"/>
                  </a:lnTo>
                  <a:lnTo>
                    <a:pt x="342900" y="156429"/>
                  </a:lnTo>
                  <a:lnTo>
                    <a:pt x="343233" y="158315"/>
                  </a:lnTo>
                  <a:lnTo>
                    <a:pt x="341909" y="160677"/>
                  </a:lnTo>
                  <a:lnTo>
                    <a:pt x="340719" y="165335"/>
                  </a:lnTo>
                  <a:lnTo>
                    <a:pt x="340500" y="170650"/>
                  </a:lnTo>
                  <a:lnTo>
                    <a:pt x="339957" y="174107"/>
                  </a:lnTo>
                  <a:lnTo>
                    <a:pt x="337366" y="178860"/>
                  </a:lnTo>
                  <a:lnTo>
                    <a:pt x="335566" y="180537"/>
                  </a:lnTo>
                  <a:lnTo>
                    <a:pt x="335051" y="183032"/>
                  </a:lnTo>
                  <a:lnTo>
                    <a:pt x="334832" y="187214"/>
                  </a:lnTo>
                  <a:lnTo>
                    <a:pt x="335366" y="192300"/>
                  </a:lnTo>
                  <a:lnTo>
                    <a:pt x="335546" y="195729"/>
                  </a:lnTo>
                  <a:lnTo>
                    <a:pt x="336099" y="198196"/>
                  </a:lnTo>
                  <a:lnTo>
                    <a:pt x="336918" y="199806"/>
                  </a:lnTo>
                  <a:lnTo>
                    <a:pt x="341080" y="202635"/>
                  </a:lnTo>
                  <a:lnTo>
                    <a:pt x="343415" y="208426"/>
                  </a:lnTo>
                  <a:lnTo>
                    <a:pt x="344871" y="213065"/>
                  </a:lnTo>
                  <a:lnTo>
                    <a:pt x="347815" y="225095"/>
                  </a:lnTo>
                  <a:close/>
                  <a:moveTo>
                    <a:pt x="199177" y="594627"/>
                  </a:moveTo>
                  <a:lnTo>
                    <a:pt x="198511" y="596370"/>
                  </a:lnTo>
                  <a:lnTo>
                    <a:pt x="197834" y="594236"/>
                  </a:lnTo>
                  <a:lnTo>
                    <a:pt x="198101" y="593817"/>
                  </a:lnTo>
                  <a:lnTo>
                    <a:pt x="198558" y="591712"/>
                  </a:lnTo>
                  <a:lnTo>
                    <a:pt x="199854" y="590559"/>
                  </a:lnTo>
                  <a:lnTo>
                    <a:pt x="201920" y="591255"/>
                  </a:lnTo>
                  <a:lnTo>
                    <a:pt x="201911" y="591779"/>
                  </a:lnTo>
                  <a:lnTo>
                    <a:pt x="199930" y="593484"/>
                  </a:lnTo>
                  <a:lnTo>
                    <a:pt x="199177" y="594627"/>
                  </a:lnTo>
                  <a:close/>
                  <a:moveTo>
                    <a:pt x="194386" y="617658"/>
                  </a:moveTo>
                  <a:lnTo>
                    <a:pt x="193195" y="618154"/>
                  </a:lnTo>
                  <a:lnTo>
                    <a:pt x="192605" y="618001"/>
                  </a:lnTo>
                  <a:lnTo>
                    <a:pt x="193338" y="615591"/>
                  </a:lnTo>
                  <a:lnTo>
                    <a:pt x="193881" y="614553"/>
                  </a:lnTo>
                  <a:lnTo>
                    <a:pt x="195682" y="613581"/>
                  </a:lnTo>
                  <a:lnTo>
                    <a:pt x="196234" y="613753"/>
                  </a:lnTo>
                  <a:lnTo>
                    <a:pt x="194386" y="617658"/>
                  </a:lnTo>
                  <a:close/>
                  <a:moveTo>
                    <a:pt x="214179" y="674122"/>
                  </a:moveTo>
                  <a:lnTo>
                    <a:pt x="213693" y="677256"/>
                  </a:lnTo>
                  <a:lnTo>
                    <a:pt x="212303" y="677018"/>
                  </a:lnTo>
                  <a:lnTo>
                    <a:pt x="211036" y="674703"/>
                  </a:lnTo>
                  <a:lnTo>
                    <a:pt x="213598" y="671170"/>
                  </a:lnTo>
                  <a:lnTo>
                    <a:pt x="217513" y="671360"/>
                  </a:lnTo>
                  <a:lnTo>
                    <a:pt x="218856" y="672103"/>
                  </a:lnTo>
                  <a:lnTo>
                    <a:pt x="214179" y="674122"/>
                  </a:lnTo>
                  <a:close/>
                  <a:moveTo>
                    <a:pt x="212036" y="678475"/>
                  </a:moveTo>
                  <a:lnTo>
                    <a:pt x="209826" y="679666"/>
                  </a:lnTo>
                  <a:lnTo>
                    <a:pt x="208531" y="683200"/>
                  </a:lnTo>
                  <a:lnTo>
                    <a:pt x="206740" y="683800"/>
                  </a:lnTo>
                  <a:lnTo>
                    <a:pt x="205025" y="684971"/>
                  </a:lnTo>
                  <a:lnTo>
                    <a:pt x="204416" y="696078"/>
                  </a:lnTo>
                  <a:lnTo>
                    <a:pt x="207550" y="700278"/>
                  </a:lnTo>
                  <a:lnTo>
                    <a:pt x="205826" y="700869"/>
                  </a:lnTo>
                  <a:lnTo>
                    <a:pt x="204254" y="702126"/>
                  </a:lnTo>
                  <a:lnTo>
                    <a:pt x="203130" y="703983"/>
                  </a:lnTo>
                  <a:lnTo>
                    <a:pt x="201978" y="707974"/>
                  </a:lnTo>
                  <a:lnTo>
                    <a:pt x="197663" y="710232"/>
                  </a:lnTo>
                  <a:lnTo>
                    <a:pt x="196034" y="711898"/>
                  </a:lnTo>
                  <a:lnTo>
                    <a:pt x="193624" y="715604"/>
                  </a:lnTo>
                  <a:lnTo>
                    <a:pt x="192367" y="720966"/>
                  </a:lnTo>
                  <a:lnTo>
                    <a:pt x="189929" y="723252"/>
                  </a:lnTo>
                  <a:lnTo>
                    <a:pt x="187185" y="723795"/>
                  </a:lnTo>
                  <a:lnTo>
                    <a:pt x="188786" y="719414"/>
                  </a:lnTo>
                  <a:lnTo>
                    <a:pt x="190891" y="715832"/>
                  </a:lnTo>
                  <a:lnTo>
                    <a:pt x="188871" y="713365"/>
                  </a:lnTo>
                  <a:lnTo>
                    <a:pt x="187652" y="709508"/>
                  </a:lnTo>
                  <a:lnTo>
                    <a:pt x="186071" y="706536"/>
                  </a:lnTo>
                  <a:lnTo>
                    <a:pt x="187328" y="703212"/>
                  </a:lnTo>
                  <a:lnTo>
                    <a:pt x="186709" y="697763"/>
                  </a:lnTo>
                  <a:lnTo>
                    <a:pt x="186909" y="692420"/>
                  </a:lnTo>
                  <a:lnTo>
                    <a:pt x="188738" y="689724"/>
                  </a:lnTo>
                  <a:lnTo>
                    <a:pt x="190833" y="687524"/>
                  </a:lnTo>
                  <a:lnTo>
                    <a:pt x="194091" y="682447"/>
                  </a:lnTo>
                  <a:lnTo>
                    <a:pt x="197625" y="678752"/>
                  </a:lnTo>
                  <a:lnTo>
                    <a:pt x="202559" y="677094"/>
                  </a:lnTo>
                  <a:lnTo>
                    <a:pt x="204788" y="678628"/>
                  </a:lnTo>
                  <a:lnTo>
                    <a:pt x="205750" y="675265"/>
                  </a:lnTo>
                  <a:lnTo>
                    <a:pt x="207340" y="674494"/>
                  </a:lnTo>
                  <a:lnTo>
                    <a:pt x="208836" y="675275"/>
                  </a:lnTo>
                  <a:lnTo>
                    <a:pt x="212036" y="678475"/>
                  </a:lnTo>
                  <a:close/>
                  <a:moveTo>
                    <a:pt x="143932" y="754323"/>
                  </a:moveTo>
                  <a:lnTo>
                    <a:pt x="142551" y="756742"/>
                  </a:lnTo>
                  <a:lnTo>
                    <a:pt x="141332" y="756571"/>
                  </a:lnTo>
                  <a:lnTo>
                    <a:pt x="140522" y="753342"/>
                  </a:lnTo>
                  <a:lnTo>
                    <a:pt x="140332" y="745017"/>
                  </a:lnTo>
                  <a:lnTo>
                    <a:pt x="140818" y="740883"/>
                  </a:lnTo>
                  <a:lnTo>
                    <a:pt x="146647" y="725910"/>
                  </a:lnTo>
                  <a:lnTo>
                    <a:pt x="149247" y="724681"/>
                  </a:lnTo>
                  <a:lnTo>
                    <a:pt x="152905" y="715442"/>
                  </a:lnTo>
                  <a:lnTo>
                    <a:pt x="153895" y="711308"/>
                  </a:lnTo>
                  <a:lnTo>
                    <a:pt x="155486" y="707584"/>
                  </a:lnTo>
                  <a:lnTo>
                    <a:pt x="156420" y="704240"/>
                  </a:lnTo>
                  <a:lnTo>
                    <a:pt x="157210" y="702888"/>
                  </a:lnTo>
                  <a:lnTo>
                    <a:pt x="158915" y="703516"/>
                  </a:lnTo>
                  <a:lnTo>
                    <a:pt x="159677" y="704136"/>
                  </a:lnTo>
                  <a:lnTo>
                    <a:pt x="157877" y="706079"/>
                  </a:lnTo>
                  <a:lnTo>
                    <a:pt x="158086" y="708603"/>
                  </a:lnTo>
                  <a:lnTo>
                    <a:pt x="157962" y="709641"/>
                  </a:lnTo>
                  <a:lnTo>
                    <a:pt x="153419" y="720585"/>
                  </a:lnTo>
                  <a:lnTo>
                    <a:pt x="152209" y="727653"/>
                  </a:lnTo>
                  <a:lnTo>
                    <a:pt x="150600" y="729377"/>
                  </a:lnTo>
                  <a:lnTo>
                    <a:pt x="143932" y="754323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63" name="Forme libre : forme 49">
              <a:extLst>
                <a:ext uri="{FF2B5EF4-FFF2-40B4-BE49-F238E27FC236}">
                  <a16:creationId xmlns:a16="http://schemas.microsoft.com/office/drawing/2014/main" id="{CEF6AD49-E086-AE2A-C44E-C0A703BB53A8}"/>
                </a:ext>
              </a:extLst>
            </p:cNvPr>
            <p:cNvSpPr/>
            <p:nvPr/>
          </p:nvSpPr>
          <p:spPr>
            <a:xfrm>
              <a:off x="6158200" y="4781584"/>
              <a:ext cx="218675" cy="138476"/>
            </a:xfrm>
            <a:custGeom>
              <a:avLst/>
              <a:gdLst>
                <a:gd name="connsiteX0" fmla="*/ 83887 w 83886"/>
                <a:gd name="connsiteY0" fmla="*/ 14116 h 55197"/>
                <a:gd name="connsiteX1" fmla="*/ 81525 w 83886"/>
                <a:gd name="connsiteY1" fmla="*/ 13173 h 55197"/>
                <a:gd name="connsiteX2" fmla="*/ 78677 w 83886"/>
                <a:gd name="connsiteY2" fmla="*/ 12773 h 55197"/>
                <a:gd name="connsiteX3" fmla="*/ 78143 w 83886"/>
                <a:gd name="connsiteY3" fmla="*/ 13287 h 55197"/>
                <a:gd name="connsiteX4" fmla="*/ 77000 w 83886"/>
                <a:gd name="connsiteY4" fmla="*/ 13811 h 55197"/>
                <a:gd name="connsiteX5" fmla="*/ 76419 w 83886"/>
                <a:gd name="connsiteY5" fmla="*/ 14745 h 55197"/>
                <a:gd name="connsiteX6" fmla="*/ 76858 w 83886"/>
                <a:gd name="connsiteY6" fmla="*/ 18402 h 55197"/>
                <a:gd name="connsiteX7" fmla="*/ 76172 w 83886"/>
                <a:gd name="connsiteY7" fmla="*/ 19031 h 55197"/>
                <a:gd name="connsiteX8" fmla="*/ 72933 w 83886"/>
                <a:gd name="connsiteY8" fmla="*/ 18669 h 55197"/>
                <a:gd name="connsiteX9" fmla="*/ 71866 w 83886"/>
                <a:gd name="connsiteY9" fmla="*/ 19088 h 55197"/>
                <a:gd name="connsiteX10" fmla="*/ 70104 w 83886"/>
                <a:gd name="connsiteY10" fmla="*/ 21631 h 55197"/>
                <a:gd name="connsiteX11" fmla="*/ 68304 w 83886"/>
                <a:gd name="connsiteY11" fmla="*/ 22708 h 55197"/>
                <a:gd name="connsiteX12" fmla="*/ 66018 w 83886"/>
                <a:gd name="connsiteY12" fmla="*/ 23469 h 55197"/>
                <a:gd name="connsiteX13" fmla="*/ 64322 w 83886"/>
                <a:gd name="connsiteY13" fmla="*/ 24384 h 55197"/>
                <a:gd name="connsiteX14" fmla="*/ 62179 w 83886"/>
                <a:gd name="connsiteY14" fmla="*/ 25184 h 55197"/>
                <a:gd name="connsiteX15" fmla="*/ 60360 w 83886"/>
                <a:gd name="connsiteY15" fmla="*/ 25670 h 55197"/>
                <a:gd name="connsiteX16" fmla="*/ 59636 w 83886"/>
                <a:gd name="connsiteY16" fmla="*/ 26775 h 55197"/>
                <a:gd name="connsiteX17" fmla="*/ 59198 w 83886"/>
                <a:gd name="connsiteY17" fmla="*/ 28004 h 55197"/>
                <a:gd name="connsiteX18" fmla="*/ 59312 w 83886"/>
                <a:gd name="connsiteY18" fmla="*/ 29185 h 55197"/>
                <a:gd name="connsiteX19" fmla="*/ 61170 w 83886"/>
                <a:gd name="connsiteY19" fmla="*/ 31518 h 55197"/>
                <a:gd name="connsiteX20" fmla="*/ 61417 w 83886"/>
                <a:gd name="connsiteY20" fmla="*/ 34004 h 55197"/>
                <a:gd name="connsiteX21" fmla="*/ 61217 w 83886"/>
                <a:gd name="connsiteY21" fmla="*/ 37043 h 55197"/>
                <a:gd name="connsiteX22" fmla="*/ 60789 w 83886"/>
                <a:gd name="connsiteY22" fmla="*/ 38662 h 55197"/>
                <a:gd name="connsiteX23" fmla="*/ 60055 w 83886"/>
                <a:gd name="connsiteY23" fmla="*/ 39738 h 55197"/>
                <a:gd name="connsiteX24" fmla="*/ 55493 w 83886"/>
                <a:gd name="connsiteY24" fmla="*/ 41129 h 55197"/>
                <a:gd name="connsiteX25" fmla="*/ 50759 w 83886"/>
                <a:gd name="connsiteY25" fmla="*/ 43615 h 55197"/>
                <a:gd name="connsiteX26" fmla="*/ 50654 w 83886"/>
                <a:gd name="connsiteY26" fmla="*/ 44187 h 55197"/>
                <a:gd name="connsiteX27" fmla="*/ 52816 w 83886"/>
                <a:gd name="connsiteY27" fmla="*/ 46387 h 55197"/>
                <a:gd name="connsiteX28" fmla="*/ 52902 w 83886"/>
                <a:gd name="connsiteY28" fmla="*/ 46939 h 55197"/>
                <a:gd name="connsiteX29" fmla="*/ 51111 w 83886"/>
                <a:gd name="connsiteY29" fmla="*/ 48187 h 55197"/>
                <a:gd name="connsiteX30" fmla="*/ 50940 w 83886"/>
                <a:gd name="connsiteY30" fmla="*/ 49444 h 55197"/>
                <a:gd name="connsiteX31" fmla="*/ 51140 w 83886"/>
                <a:gd name="connsiteY31" fmla="*/ 50892 h 55197"/>
                <a:gd name="connsiteX32" fmla="*/ 52092 w 83886"/>
                <a:gd name="connsiteY32" fmla="*/ 52388 h 55197"/>
                <a:gd name="connsiteX33" fmla="*/ 52435 w 83886"/>
                <a:gd name="connsiteY33" fmla="*/ 53730 h 55197"/>
                <a:gd name="connsiteX34" fmla="*/ 49835 w 83886"/>
                <a:gd name="connsiteY34" fmla="*/ 54702 h 55197"/>
                <a:gd name="connsiteX35" fmla="*/ 46311 w 83886"/>
                <a:gd name="connsiteY35" fmla="*/ 54340 h 55197"/>
                <a:gd name="connsiteX36" fmla="*/ 42139 w 83886"/>
                <a:gd name="connsiteY36" fmla="*/ 52483 h 55197"/>
                <a:gd name="connsiteX37" fmla="*/ 40681 w 83886"/>
                <a:gd name="connsiteY37" fmla="*/ 52749 h 55197"/>
                <a:gd name="connsiteX38" fmla="*/ 39271 w 83886"/>
                <a:gd name="connsiteY38" fmla="*/ 53721 h 55197"/>
                <a:gd name="connsiteX39" fmla="*/ 37824 w 83886"/>
                <a:gd name="connsiteY39" fmla="*/ 53302 h 55197"/>
                <a:gd name="connsiteX40" fmla="*/ 36233 w 83886"/>
                <a:gd name="connsiteY40" fmla="*/ 52149 h 55197"/>
                <a:gd name="connsiteX41" fmla="*/ 33985 w 83886"/>
                <a:gd name="connsiteY41" fmla="*/ 49759 h 55197"/>
                <a:gd name="connsiteX42" fmla="*/ 32890 w 83886"/>
                <a:gd name="connsiteY42" fmla="*/ 48282 h 55197"/>
                <a:gd name="connsiteX43" fmla="*/ 32442 w 83886"/>
                <a:gd name="connsiteY43" fmla="*/ 46720 h 55197"/>
                <a:gd name="connsiteX44" fmla="*/ 31832 w 83886"/>
                <a:gd name="connsiteY44" fmla="*/ 46491 h 55197"/>
                <a:gd name="connsiteX45" fmla="*/ 30899 w 83886"/>
                <a:gd name="connsiteY45" fmla="*/ 46949 h 55197"/>
                <a:gd name="connsiteX46" fmla="*/ 30128 w 83886"/>
                <a:gd name="connsiteY46" fmla="*/ 48854 h 55197"/>
                <a:gd name="connsiteX47" fmla="*/ 28051 w 83886"/>
                <a:gd name="connsiteY47" fmla="*/ 52254 h 55197"/>
                <a:gd name="connsiteX48" fmla="*/ 26508 w 83886"/>
                <a:gd name="connsiteY48" fmla="*/ 53178 h 55197"/>
                <a:gd name="connsiteX49" fmla="*/ 24193 w 83886"/>
                <a:gd name="connsiteY49" fmla="*/ 52978 h 55197"/>
                <a:gd name="connsiteX50" fmla="*/ 20936 w 83886"/>
                <a:gd name="connsiteY50" fmla="*/ 53035 h 55197"/>
                <a:gd name="connsiteX51" fmla="*/ 18907 w 83886"/>
                <a:gd name="connsiteY51" fmla="*/ 53321 h 55197"/>
                <a:gd name="connsiteX52" fmla="*/ 16430 w 83886"/>
                <a:gd name="connsiteY52" fmla="*/ 52121 h 55197"/>
                <a:gd name="connsiteX53" fmla="*/ 15830 w 83886"/>
                <a:gd name="connsiteY53" fmla="*/ 52349 h 55197"/>
                <a:gd name="connsiteX54" fmla="*/ 15830 w 83886"/>
                <a:gd name="connsiteY54" fmla="*/ 53140 h 55197"/>
                <a:gd name="connsiteX55" fmla="*/ 14907 w 83886"/>
                <a:gd name="connsiteY55" fmla="*/ 54378 h 55197"/>
                <a:gd name="connsiteX56" fmla="*/ 13383 w 83886"/>
                <a:gd name="connsiteY56" fmla="*/ 55197 h 55197"/>
                <a:gd name="connsiteX57" fmla="*/ 6344 w 83886"/>
                <a:gd name="connsiteY57" fmla="*/ 53359 h 55197"/>
                <a:gd name="connsiteX58" fmla="*/ 5344 w 83886"/>
                <a:gd name="connsiteY58" fmla="*/ 51835 h 55197"/>
                <a:gd name="connsiteX59" fmla="*/ 6934 w 83886"/>
                <a:gd name="connsiteY59" fmla="*/ 51111 h 55197"/>
                <a:gd name="connsiteX60" fmla="*/ 9134 w 83886"/>
                <a:gd name="connsiteY60" fmla="*/ 49139 h 55197"/>
                <a:gd name="connsiteX61" fmla="*/ 10630 w 83886"/>
                <a:gd name="connsiteY61" fmla="*/ 49359 h 55197"/>
                <a:gd name="connsiteX62" fmla="*/ 12478 w 83886"/>
                <a:gd name="connsiteY62" fmla="*/ 48939 h 55197"/>
                <a:gd name="connsiteX63" fmla="*/ 13278 w 83886"/>
                <a:gd name="connsiteY63" fmla="*/ 48101 h 55197"/>
                <a:gd name="connsiteX64" fmla="*/ 12116 w 83886"/>
                <a:gd name="connsiteY64" fmla="*/ 45606 h 55197"/>
                <a:gd name="connsiteX65" fmla="*/ 9182 w 83886"/>
                <a:gd name="connsiteY65" fmla="*/ 42519 h 55197"/>
                <a:gd name="connsiteX66" fmla="*/ 7630 w 83886"/>
                <a:gd name="connsiteY66" fmla="*/ 41348 h 55197"/>
                <a:gd name="connsiteX67" fmla="*/ 5486 w 83886"/>
                <a:gd name="connsiteY67" fmla="*/ 40567 h 55197"/>
                <a:gd name="connsiteX68" fmla="*/ 5125 w 83886"/>
                <a:gd name="connsiteY68" fmla="*/ 39738 h 55197"/>
                <a:gd name="connsiteX69" fmla="*/ 6305 w 83886"/>
                <a:gd name="connsiteY69" fmla="*/ 34852 h 55197"/>
                <a:gd name="connsiteX70" fmla="*/ 5944 w 83886"/>
                <a:gd name="connsiteY70" fmla="*/ 34157 h 55197"/>
                <a:gd name="connsiteX71" fmla="*/ 3505 w 83886"/>
                <a:gd name="connsiteY71" fmla="*/ 34385 h 55197"/>
                <a:gd name="connsiteX72" fmla="*/ 2934 w 83886"/>
                <a:gd name="connsiteY72" fmla="*/ 33880 h 55197"/>
                <a:gd name="connsiteX73" fmla="*/ 2734 w 83886"/>
                <a:gd name="connsiteY73" fmla="*/ 33033 h 55197"/>
                <a:gd name="connsiteX74" fmla="*/ 2896 w 83886"/>
                <a:gd name="connsiteY74" fmla="*/ 31871 h 55197"/>
                <a:gd name="connsiteX75" fmla="*/ 4543 w 83886"/>
                <a:gd name="connsiteY75" fmla="*/ 29956 h 55197"/>
                <a:gd name="connsiteX76" fmla="*/ 6372 w 83886"/>
                <a:gd name="connsiteY76" fmla="*/ 28270 h 55197"/>
                <a:gd name="connsiteX77" fmla="*/ 6868 w 83886"/>
                <a:gd name="connsiteY77" fmla="*/ 27327 h 55197"/>
                <a:gd name="connsiteX78" fmla="*/ 6801 w 83886"/>
                <a:gd name="connsiteY78" fmla="*/ 26575 h 55197"/>
                <a:gd name="connsiteX79" fmla="*/ 4448 w 83886"/>
                <a:gd name="connsiteY79" fmla="*/ 25832 h 55197"/>
                <a:gd name="connsiteX80" fmla="*/ 3039 w 83886"/>
                <a:gd name="connsiteY80" fmla="*/ 25060 h 55197"/>
                <a:gd name="connsiteX81" fmla="*/ 1914 w 83886"/>
                <a:gd name="connsiteY81" fmla="*/ 24794 h 55197"/>
                <a:gd name="connsiteX82" fmla="*/ 1143 w 83886"/>
                <a:gd name="connsiteY82" fmla="*/ 25222 h 55197"/>
                <a:gd name="connsiteX83" fmla="*/ 581 w 83886"/>
                <a:gd name="connsiteY83" fmla="*/ 24736 h 55197"/>
                <a:gd name="connsiteX84" fmla="*/ 0 w 83886"/>
                <a:gd name="connsiteY84" fmla="*/ 23327 h 55197"/>
                <a:gd name="connsiteX85" fmla="*/ 571 w 83886"/>
                <a:gd name="connsiteY85" fmla="*/ 21164 h 55197"/>
                <a:gd name="connsiteX86" fmla="*/ 2686 w 83886"/>
                <a:gd name="connsiteY86" fmla="*/ 19174 h 55197"/>
                <a:gd name="connsiteX87" fmla="*/ 4953 w 83886"/>
                <a:gd name="connsiteY87" fmla="*/ 17402 h 55197"/>
                <a:gd name="connsiteX88" fmla="*/ 6925 w 83886"/>
                <a:gd name="connsiteY88" fmla="*/ 16107 h 55197"/>
                <a:gd name="connsiteX89" fmla="*/ 8058 w 83886"/>
                <a:gd name="connsiteY89" fmla="*/ 15554 h 55197"/>
                <a:gd name="connsiteX90" fmla="*/ 8601 w 83886"/>
                <a:gd name="connsiteY90" fmla="*/ 13325 h 55197"/>
                <a:gd name="connsiteX91" fmla="*/ 9782 w 83886"/>
                <a:gd name="connsiteY91" fmla="*/ 13563 h 55197"/>
                <a:gd name="connsiteX92" fmla="*/ 12116 w 83886"/>
                <a:gd name="connsiteY92" fmla="*/ 13678 h 55197"/>
                <a:gd name="connsiteX93" fmla="*/ 14726 w 83886"/>
                <a:gd name="connsiteY93" fmla="*/ 14183 h 55197"/>
                <a:gd name="connsiteX94" fmla="*/ 17145 w 83886"/>
                <a:gd name="connsiteY94" fmla="*/ 14811 h 55197"/>
                <a:gd name="connsiteX95" fmla="*/ 19288 w 83886"/>
                <a:gd name="connsiteY95" fmla="*/ 15592 h 55197"/>
                <a:gd name="connsiteX96" fmla="*/ 23765 w 83886"/>
                <a:gd name="connsiteY96" fmla="*/ 16411 h 55197"/>
                <a:gd name="connsiteX97" fmla="*/ 27851 w 83886"/>
                <a:gd name="connsiteY97" fmla="*/ 16907 h 55197"/>
                <a:gd name="connsiteX98" fmla="*/ 29080 w 83886"/>
                <a:gd name="connsiteY98" fmla="*/ 17364 h 55197"/>
                <a:gd name="connsiteX99" fmla="*/ 30080 w 83886"/>
                <a:gd name="connsiteY99" fmla="*/ 17326 h 55197"/>
                <a:gd name="connsiteX100" fmla="*/ 31328 w 83886"/>
                <a:gd name="connsiteY100" fmla="*/ 17993 h 55197"/>
                <a:gd name="connsiteX101" fmla="*/ 32052 w 83886"/>
                <a:gd name="connsiteY101" fmla="*/ 17478 h 55197"/>
                <a:gd name="connsiteX102" fmla="*/ 32585 w 83886"/>
                <a:gd name="connsiteY102" fmla="*/ 16593 h 55197"/>
                <a:gd name="connsiteX103" fmla="*/ 34804 w 83886"/>
                <a:gd name="connsiteY103" fmla="*/ 15526 h 55197"/>
                <a:gd name="connsiteX104" fmla="*/ 36852 w 83886"/>
                <a:gd name="connsiteY104" fmla="*/ 14144 h 55197"/>
                <a:gd name="connsiteX105" fmla="*/ 38291 w 83886"/>
                <a:gd name="connsiteY105" fmla="*/ 12392 h 55197"/>
                <a:gd name="connsiteX106" fmla="*/ 39100 w 83886"/>
                <a:gd name="connsiteY106" fmla="*/ 11001 h 55197"/>
                <a:gd name="connsiteX107" fmla="*/ 40510 w 83886"/>
                <a:gd name="connsiteY107" fmla="*/ 10011 h 55197"/>
                <a:gd name="connsiteX108" fmla="*/ 42006 w 83886"/>
                <a:gd name="connsiteY108" fmla="*/ 9725 h 55197"/>
                <a:gd name="connsiteX109" fmla="*/ 43377 w 83886"/>
                <a:gd name="connsiteY109" fmla="*/ 9230 h 55197"/>
                <a:gd name="connsiteX110" fmla="*/ 49159 w 83886"/>
                <a:gd name="connsiteY110" fmla="*/ 8572 h 55197"/>
                <a:gd name="connsiteX111" fmla="*/ 55102 w 83886"/>
                <a:gd name="connsiteY111" fmla="*/ 9096 h 55197"/>
                <a:gd name="connsiteX112" fmla="*/ 57931 w 83886"/>
                <a:gd name="connsiteY112" fmla="*/ 8115 h 55197"/>
                <a:gd name="connsiteX113" fmla="*/ 60265 w 83886"/>
                <a:gd name="connsiteY113" fmla="*/ 6420 h 55197"/>
                <a:gd name="connsiteX114" fmla="*/ 63684 w 83886"/>
                <a:gd name="connsiteY114" fmla="*/ 5944 h 55197"/>
                <a:gd name="connsiteX115" fmla="*/ 63855 w 83886"/>
                <a:gd name="connsiteY115" fmla="*/ 5915 h 55197"/>
                <a:gd name="connsiteX116" fmla="*/ 68952 w 83886"/>
                <a:gd name="connsiteY116" fmla="*/ 7230 h 55197"/>
                <a:gd name="connsiteX117" fmla="*/ 69342 w 83886"/>
                <a:gd name="connsiteY117" fmla="*/ 6467 h 55197"/>
                <a:gd name="connsiteX118" fmla="*/ 69561 w 83886"/>
                <a:gd name="connsiteY118" fmla="*/ 6125 h 55197"/>
                <a:gd name="connsiteX119" fmla="*/ 69466 w 83886"/>
                <a:gd name="connsiteY119" fmla="*/ 2419 h 55197"/>
                <a:gd name="connsiteX120" fmla="*/ 71085 w 83886"/>
                <a:gd name="connsiteY120" fmla="*/ 724 h 55197"/>
                <a:gd name="connsiteX121" fmla="*/ 72571 w 83886"/>
                <a:gd name="connsiteY121" fmla="*/ 0 h 55197"/>
                <a:gd name="connsiteX122" fmla="*/ 77667 w 83886"/>
                <a:gd name="connsiteY122" fmla="*/ 238 h 55197"/>
                <a:gd name="connsiteX123" fmla="*/ 78334 w 83886"/>
                <a:gd name="connsiteY123" fmla="*/ 1381 h 55197"/>
                <a:gd name="connsiteX124" fmla="*/ 78600 w 83886"/>
                <a:gd name="connsiteY124" fmla="*/ 3153 h 55197"/>
                <a:gd name="connsiteX125" fmla="*/ 79057 w 83886"/>
                <a:gd name="connsiteY125" fmla="*/ 5524 h 55197"/>
                <a:gd name="connsiteX126" fmla="*/ 79905 w 83886"/>
                <a:gd name="connsiteY126" fmla="*/ 6172 h 55197"/>
                <a:gd name="connsiteX127" fmla="*/ 80372 w 83886"/>
                <a:gd name="connsiteY127" fmla="*/ 7106 h 55197"/>
                <a:gd name="connsiteX128" fmla="*/ 80276 w 83886"/>
                <a:gd name="connsiteY128" fmla="*/ 8744 h 55197"/>
                <a:gd name="connsiteX129" fmla="*/ 81277 w 83886"/>
                <a:gd name="connsiteY129" fmla="*/ 9963 h 55197"/>
                <a:gd name="connsiteX130" fmla="*/ 83601 w 83886"/>
                <a:gd name="connsiteY130" fmla="*/ 13259 h 55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83886" h="55197">
                  <a:moveTo>
                    <a:pt x="83887" y="14116"/>
                  </a:moveTo>
                  <a:lnTo>
                    <a:pt x="81525" y="13173"/>
                  </a:lnTo>
                  <a:lnTo>
                    <a:pt x="78677" y="12773"/>
                  </a:lnTo>
                  <a:lnTo>
                    <a:pt x="78143" y="13287"/>
                  </a:lnTo>
                  <a:lnTo>
                    <a:pt x="77000" y="13811"/>
                  </a:lnTo>
                  <a:lnTo>
                    <a:pt x="76419" y="14745"/>
                  </a:lnTo>
                  <a:lnTo>
                    <a:pt x="76858" y="18402"/>
                  </a:lnTo>
                  <a:lnTo>
                    <a:pt x="76172" y="19031"/>
                  </a:lnTo>
                  <a:lnTo>
                    <a:pt x="72933" y="18669"/>
                  </a:lnTo>
                  <a:lnTo>
                    <a:pt x="71866" y="19088"/>
                  </a:lnTo>
                  <a:lnTo>
                    <a:pt x="70104" y="21631"/>
                  </a:lnTo>
                  <a:lnTo>
                    <a:pt x="68304" y="22708"/>
                  </a:lnTo>
                  <a:lnTo>
                    <a:pt x="66018" y="23469"/>
                  </a:lnTo>
                  <a:lnTo>
                    <a:pt x="64322" y="24384"/>
                  </a:lnTo>
                  <a:lnTo>
                    <a:pt x="62179" y="25184"/>
                  </a:lnTo>
                  <a:lnTo>
                    <a:pt x="60360" y="25670"/>
                  </a:lnTo>
                  <a:lnTo>
                    <a:pt x="59636" y="26775"/>
                  </a:lnTo>
                  <a:lnTo>
                    <a:pt x="59198" y="28004"/>
                  </a:lnTo>
                  <a:lnTo>
                    <a:pt x="59312" y="29185"/>
                  </a:lnTo>
                  <a:lnTo>
                    <a:pt x="61170" y="31518"/>
                  </a:lnTo>
                  <a:lnTo>
                    <a:pt x="61417" y="34004"/>
                  </a:lnTo>
                  <a:lnTo>
                    <a:pt x="61217" y="37043"/>
                  </a:lnTo>
                  <a:lnTo>
                    <a:pt x="60789" y="38662"/>
                  </a:lnTo>
                  <a:lnTo>
                    <a:pt x="60055" y="39738"/>
                  </a:lnTo>
                  <a:lnTo>
                    <a:pt x="55493" y="41129"/>
                  </a:lnTo>
                  <a:lnTo>
                    <a:pt x="50759" y="43615"/>
                  </a:lnTo>
                  <a:lnTo>
                    <a:pt x="50654" y="44187"/>
                  </a:lnTo>
                  <a:lnTo>
                    <a:pt x="52816" y="46387"/>
                  </a:lnTo>
                  <a:lnTo>
                    <a:pt x="52902" y="46939"/>
                  </a:lnTo>
                  <a:lnTo>
                    <a:pt x="51111" y="48187"/>
                  </a:lnTo>
                  <a:lnTo>
                    <a:pt x="50940" y="49444"/>
                  </a:lnTo>
                  <a:lnTo>
                    <a:pt x="51140" y="50892"/>
                  </a:lnTo>
                  <a:lnTo>
                    <a:pt x="52092" y="52388"/>
                  </a:lnTo>
                  <a:lnTo>
                    <a:pt x="52435" y="53730"/>
                  </a:lnTo>
                  <a:lnTo>
                    <a:pt x="49835" y="54702"/>
                  </a:lnTo>
                  <a:lnTo>
                    <a:pt x="46311" y="54340"/>
                  </a:lnTo>
                  <a:lnTo>
                    <a:pt x="42139" y="52483"/>
                  </a:lnTo>
                  <a:lnTo>
                    <a:pt x="40681" y="52749"/>
                  </a:lnTo>
                  <a:lnTo>
                    <a:pt x="39271" y="53721"/>
                  </a:lnTo>
                  <a:lnTo>
                    <a:pt x="37824" y="53302"/>
                  </a:lnTo>
                  <a:lnTo>
                    <a:pt x="36233" y="52149"/>
                  </a:lnTo>
                  <a:lnTo>
                    <a:pt x="33985" y="49759"/>
                  </a:lnTo>
                  <a:lnTo>
                    <a:pt x="32890" y="48282"/>
                  </a:lnTo>
                  <a:lnTo>
                    <a:pt x="32442" y="46720"/>
                  </a:lnTo>
                  <a:lnTo>
                    <a:pt x="31832" y="46491"/>
                  </a:lnTo>
                  <a:lnTo>
                    <a:pt x="30899" y="46949"/>
                  </a:lnTo>
                  <a:lnTo>
                    <a:pt x="30128" y="48854"/>
                  </a:lnTo>
                  <a:lnTo>
                    <a:pt x="28051" y="52254"/>
                  </a:lnTo>
                  <a:lnTo>
                    <a:pt x="26508" y="53178"/>
                  </a:lnTo>
                  <a:lnTo>
                    <a:pt x="24193" y="52978"/>
                  </a:lnTo>
                  <a:lnTo>
                    <a:pt x="20936" y="53035"/>
                  </a:lnTo>
                  <a:lnTo>
                    <a:pt x="18907" y="53321"/>
                  </a:lnTo>
                  <a:lnTo>
                    <a:pt x="16430" y="52121"/>
                  </a:lnTo>
                  <a:lnTo>
                    <a:pt x="15830" y="52349"/>
                  </a:lnTo>
                  <a:lnTo>
                    <a:pt x="15830" y="53140"/>
                  </a:lnTo>
                  <a:lnTo>
                    <a:pt x="14907" y="54378"/>
                  </a:lnTo>
                  <a:lnTo>
                    <a:pt x="13383" y="55197"/>
                  </a:lnTo>
                  <a:lnTo>
                    <a:pt x="6344" y="53359"/>
                  </a:lnTo>
                  <a:lnTo>
                    <a:pt x="5344" y="51835"/>
                  </a:lnTo>
                  <a:lnTo>
                    <a:pt x="6934" y="51111"/>
                  </a:lnTo>
                  <a:lnTo>
                    <a:pt x="9134" y="49139"/>
                  </a:lnTo>
                  <a:lnTo>
                    <a:pt x="10630" y="49359"/>
                  </a:lnTo>
                  <a:lnTo>
                    <a:pt x="12478" y="48939"/>
                  </a:lnTo>
                  <a:lnTo>
                    <a:pt x="13278" y="48101"/>
                  </a:lnTo>
                  <a:lnTo>
                    <a:pt x="12116" y="45606"/>
                  </a:lnTo>
                  <a:lnTo>
                    <a:pt x="9182" y="42519"/>
                  </a:lnTo>
                  <a:lnTo>
                    <a:pt x="7630" y="41348"/>
                  </a:lnTo>
                  <a:lnTo>
                    <a:pt x="5486" y="40567"/>
                  </a:lnTo>
                  <a:lnTo>
                    <a:pt x="5125" y="39738"/>
                  </a:lnTo>
                  <a:lnTo>
                    <a:pt x="6305" y="34852"/>
                  </a:lnTo>
                  <a:lnTo>
                    <a:pt x="5944" y="34157"/>
                  </a:lnTo>
                  <a:lnTo>
                    <a:pt x="3505" y="34385"/>
                  </a:lnTo>
                  <a:lnTo>
                    <a:pt x="2934" y="33880"/>
                  </a:lnTo>
                  <a:lnTo>
                    <a:pt x="2734" y="33033"/>
                  </a:lnTo>
                  <a:lnTo>
                    <a:pt x="2896" y="31871"/>
                  </a:lnTo>
                  <a:lnTo>
                    <a:pt x="4543" y="29956"/>
                  </a:lnTo>
                  <a:lnTo>
                    <a:pt x="6372" y="28270"/>
                  </a:lnTo>
                  <a:lnTo>
                    <a:pt x="6868" y="27327"/>
                  </a:lnTo>
                  <a:lnTo>
                    <a:pt x="6801" y="26575"/>
                  </a:lnTo>
                  <a:lnTo>
                    <a:pt x="4448" y="25832"/>
                  </a:lnTo>
                  <a:lnTo>
                    <a:pt x="3039" y="25060"/>
                  </a:lnTo>
                  <a:lnTo>
                    <a:pt x="1914" y="24794"/>
                  </a:lnTo>
                  <a:lnTo>
                    <a:pt x="1143" y="25222"/>
                  </a:lnTo>
                  <a:lnTo>
                    <a:pt x="581" y="24736"/>
                  </a:lnTo>
                  <a:lnTo>
                    <a:pt x="0" y="23327"/>
                  </a:lnTo>
                  <a:lnTo>
                    <a:pt x="571" y="21164"/>
                  </a:lnTo>
                  <a:lnTo>
                    <a:pt x="2686" y="19174"/>
                  </a:lnTo>
                  <a:lnTo>
                    <a:pt x="4953" y="17402"/>
                  </a:lnTo>
                  <a:lnTo>
                    <a:pt x="6925" y="16107"/>
                  </a:lnTo>
                  <a:lnTo>
                    <a:pt x="8058" y="15554"/>
                  </a:lnTo>
                  <a:lnTo>
                    <a:pt x="8601" y="13325"/>
                  </a:lnTo>
                  <a:lnTo>
                    <a:pt x="9782" y="13563"/>
                  </a:lnTo>
                  <a:lnTo>
                    <a:pt x="12116" y="13678"/>
                  </a:lnTo>
                  <a:lnTo>
                    <a:pt x="14726" y="14183"/>
                  </a:lnTo>
                  <a:lnTo>
                    <a:pt x="17145" y="14811"/>
                  </a:lnTo>
                  <a:lnTo>
                    <a:pt x="19288" y="15592"/>
                  </a:lnTo>
                  <a:lnTo>
                    <a:pt x="23765" y="16411"/>
                  </a:lnTo>
                  <a:lnTo>
                    <a:pt x="27851" y="16907"/>
                  </a:lnTo>
                  <a:lnTo>
                    <a:pt x="29080" y="17364"/>
                  </a:lnTo>
                  <a:lnTo>
                    <a:pt x="30080" y="17326"/>
                  </a:lnTo>
                  <a:lnTo>
                    <a:pt x="31328" y="17993"/>
                  </a:lnTo>
                  <a:lnTo>
                    <a:pt x="32052" y="17478"/>
                  </a:lnTo>
                  <a:lnTo>
                    <a:pt x="32585" y="16593"/>
                  </a:lnTo>
                  <a:lnTo>
                    <a:pt x="34804" y="15526"/>
                  </a:lnTo>
                  <a:lnTo>
                    <a:pt x="36852" y="14144"/>
                  </a:lnTo>
                  <a:lnTo>
                    <a:pt x="38291" y="12392"/>
                  </a:lnTo>
                  <a:lnTo>
                    <a:pt x="39100" y="11001"/>
                  </a:lnTo>
                  <a:lnTo>
                    <a:pt x="40510" y="10011"/>
                  </a:lnTo>
                  <a:lnTo>
                    <a:pt x="42006" y="9725"/>
                  </a:lnTo>
                  <a:lnTo>
                    <a:pt x="43377" y="9230"/>
                  </a:lnTo>
                  <a:lnTo>
                    <a:pt x="49159" y="8572"/>
                  </a:lnTo>
                  <a:lnTo>
                    <a:pt x="55102" y="9096"/>
                  </a:lnTo>
                  <a:lnTo>
                    <a:pt x="57931" y="8115"/>
                  </a:lnTo>
                  <a:lnTo>
                    <a:pt x="60265" y="6420"/>
                  </a:lnTo>
                  <a:lnTo>
                    <a:pt x="63684" y="5944"/>
                  </a:lnTo>
                  <a:lnTo>
                    <a:pt x="63855" y="5915"/>
                  </a:lnTo>
                  <a:lnTo>
                    <a:pt x="68952" y="7230"/>
                  </a:lnTo>
                  <a:lnTo>
                    <a:pt x="69342" y="6467"/>
                  </a:lnTo>
                  <a:lnTo>
                    <a:pt x="69561" y="6125"/>
                  </a:lnTo>
                  <a:lnTo>
                    <a:pt x="69466" y="2419"/>
                  </a:lnTo>
                  <a:lnTo>
                    <a:pt x="71085" y="724"/>
                  </a:lnTo>
                  <a:lnTo>
                    <a:pt x="72571" y="0"/>
                  </a:lnTo>
                  <a:lnTo>
                    <a:pt x="77667" y="238"/>
                  </a:lnTo>
                  <a:lnTo>
                    <a:pt x="78334" y="1381"/>
                  </a:lnTo>
                  <a:lnTo>
                    <a:pt x="78600" y="3153"/>
                  </a:lnTo>
                  <a:lnTo>
                    <a:pt x="79057" y="5524"/>
                  </a:lnTo>
                  <a:lnTo>
                    <a:pt x="79905" y="6172"/>
                  </a:lnTo>
                  <a:lnTo>
                    <a:pt x="80372" y="7106"/>
                  </a:lnTo>
                  <a:lnTo>
                    <a:pt x="80276" y="8744"/>
                  </a:lnTo>
                  <a:lnTo>
                    <a:pt x="81277" y="9963"/>
                  </a:lnTo>
                  <a:lnTo>
                    <a:pt x="83601" y="13259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64" name="Forme libre : forme 50">
              <a:extLst>
                <a:ext uri="{FF2B5EF4-FFF2-40B4-BE49-F238E27FC236}">
                  <a16:creationId xmlns:a16="http://schemas.microsoft.com/office/drawing/2014/main" id="{F70E16A6-A083-531C-63C0-693A9ECC9CE7}"/>
                </a:ext>
              </a:extLst>
            </p:cNvPr>
            <p:cNvSpPr/>
            <p:nvPr/>
          </p:nvSpPr>
          <p:spPr>
            <a:xfrm>
              <a:off x="6401013" y="4507043"/>
              <a:ext cx="395540" cy="185789"/>
            </a:xfrm>
            <a:custGeom>
              <a:avLst/>
              <a:gdLst>
                <a:gd name="connsiteX0" fmla="*/ 151733 w 151733"/>
                <a:gd name="connsiteY0" fmla="*/ 21479 h 74056"/>
                <a:gd name="connsiteX1" fmla="*/ 151343 w 151733"/>
                <a:gd name="connsiteY1" fmla="*/ 23155 h 74056"/>
                <a:gd name="connsiteX2" fmla="*/ 150247 w 151733"/>
                <a:gd name="connsiteY2" fmla="*/ 25108 h 74056"/>
                <a:gd name="connsiteX3" fmla="*/ 148886 w 151733"/>
                <a:gd name="connsiteY3" fmla="*/ 27127 h 74056"/>
                <a:gd name="connsiteX4" fmla="*/ 147742 w 151733"/>
                <a:gd name="connsiteY4" fmla="*/ 29566 h 74056"/>
                <a:gd name="connsiteX5" fmla="*/ 146218 w 151733"/>
                <a:gd name="connsiteY5" fmla="*/ 34757 h 74056"/>
                <a:gd name="connsiteX6" fmla="*/ 145228 w 151733"/>
                <a:gd name="connsiteY6" fmla="*/ 37157 h 74056"/>
                <a:gd name="connsiteX7" fmla="*/ 141151 w 151733"/>
                <a:gd name="connsiteY7" fmla="*/ 41881 h 74056"/>
                <a:gd name="connsiteX8" fmla="*/ 140865 w 151733"/>
                <a:gd name="connsiteY8" fmla="*/ 48444 h 74056"/>
                <a:gd name="connsiteX9" fmla="*/ 140313 w 151733"/>
                <a:gd name="connsiteY9" fmla="*/ 48921 h 74056"/>
                <a:gd name="connsiteX10" fmla="*/ 131102 w 151733"/>
                <a:gd name="connsiteY10" fmla="*/ 51140 h 74056"/>
                <a:gd name="connsiteX11" fmla="*/ 129893 w 151733"/>
                <a:gd name="connsiteY11" fmla="*/ 50806 h 74056"/>
                <a:gd name="connsiteX12" fmla="*/ 128635 w 151733"/>
                <a:gd name="connsiteY12" fmla="*/ 49530 h 74056"/>
                <a:gd name="connsiteX13" fmla="*/ 127940 w 151733"/>
                <a:gd name="connsiteY13" fmla="*/ 48597 h 74056"/>
                <a:gd name="connsiteX14" fmla="*/ 127511 w 151733"/>
                <a:gd name="connsiteY14" fmla="*/ 47920 h 74056"/>
                <a:gd name="connsiteX15" fmla="*/ 126711 w 151733"/>
                <a:gd name="connsiteY15" fmla="*/ 46101 h 74056"/>
                <a:gd name="connsiteX16" fmla="*/ 125654 w 151733"/>
                <a:gd name="connsiteY16" fmla="*/ 44815 h 74056"/>
                <a:gd name="connsiteX17" fmla="*/ 124092 w 151733"/>
                <a:gd name="connsiteY17" fmla="*/ 43758 h 74056"/>
                <a:gd name="connsiteX18" fmla="*/ 122663 w 151733"/>
                <a:gd name="connsiteY18" fmla="*/ 42539 h 74056"/>
                <a:gd name="connsiteX19" fmla="*/ 120825 w 151733"/>
                <a:gd name="connsiteY19" fmla="*/ 42491 h 74056"/>
                <a:gd name="connsiteX20" fmla="*/ 115853 w 151733"/>
                <a:gd name="connsiteY20" fmla="*/ 44215 h 74056"/>
                <a:gd name="connsiteX21" fmla="*/ 112405 w 151733"/>
                <a:gd name="connsiteY21" fmla="*/ 44406 h 74056"/>
                <a:gd name="connsiteX22" fmla="*/ 110100 w 151733"/>
                <a:gd name="connsiteY22" fmla="*/ 43853 h 74056"/>
                <a:gd name="connsiteX23" fmla="*/ 107032 w 151733"/>
                <a:gd name="connsiteY23" fmla="*/ 42806 h 74056"/>
                <a:gd name="connsiteX24" fmla="*/ 101060 w 151733"/>
                <a:gd name="connsiteY24" fmla="*/ 42644 h 74056"/>
                <a:gd name="connsiteX25" fmla="*/ 96974 w 151733"/>
                <a:gd name="connsiteY25" fmla="*/ 43558 h 74056"/>
                <a:gd name="connsiteX26" fmla="*/ 96564 w 151733"/>
                <a:gd name="connsiteY26" fmla="*/ 44844 h 74056"/>
                <a:gd name="connsiteX27" fmla="*/ 92793 w 151733"/>
                <a:gd name="connsiteY27" fmla="*/ 52845 h 74056"/>
                <a:gd name="connsiteX28" fmla="*/ 87306 w 151733"/>
                <a:gd name="connsiteY28" fmla="*/ 55797 h 74056"/>
                <a:gd name="connsiteX29" fmla="*/ 82544 w 151733"/>
                <a:gd name="connsiteY29" fmla="*/ 58807 h 74056"/>
                <a:gd name="connsiteX30" fmla="*/ 81162 w 151733"/>
                <a:gd name="connsiteY30" fmla="*/ 59417 h 74056"/>
                <a:gd name="connsiteX31" fmla="*/ 78791 w 151733"/>
                <a:gd name="connsiteY31" fmla="*/ 58464 h 74056"/>
                <a:gd name="connsiteX32" fmla="*/ 76095 w 151733"/>
                <a:gd name="connsiteY32" fmla="*/ 56683 h 74056"/>
                <a:gd name="connsiteX33" fmla="*/ 73857 w 151733"/>
                <a:gd name="connsiteY33" fmla="*/ 55750 h 74056"/>
                <a:gd name="connsiteX34" fmla="*/ 72219 w 151733"/>
                <a:gd name="connsiteY34" fmla="*/ 56159 h 74056"/>
                <a:gd name="connsiteX35" fmla="*/ 70438 w 151733"/>
                <a:gd name="connsiteY35" fmla="*/ 58188 h 74056"/>
                <a:gd name="connsiteX36" fmla="*/ 69618 w 151733"/>
                <a:gd name="connsiteY36" fmla="*/ 60236 h 74056"/>
                <a:gd name="connsiteX37" fmla="*/ 64227 w 151733"/>
                <a:gd name="connsiteY37" fmla="*/ 61741 h 74056"/>
                <a:gd name="connsiteX38" fmla="*/ 54845 w 151733"/>
                <a:gd name="connsiteY38" fmla="*/ 62627 h 74056"/>
                <a:gd name="connsiteX39" fmla="*/ 51568 w 151733"/>
                <a:gd name="connsiteY39" fmla="*/ 64646 h 74056"/>
                <a:gd name="connsiteX40" fmla="*/ 50454 w 151733"/>
                <a:gd name="connsiteY40" fmla="*/ 67066 h 74056"/>
                <a:gd name="connsiteX41" fmla="*/ 50406 w 151733"/>
                <a:gd name="connsiteY41" fmla="*/ 68923 h 74056"/>
                <a:gd name="connsiteX42" fmla="*/ 51207 w 151733"/>
                <a:gd name="connsiteY42" fmla="*/ 70504 h 74056"/>
                <a:gd name="connsiteX43" fmla="*/ 50206 w 151733"/>
                <a:gd name="connsiteY43" fmla="*/ 72342 h 74056"/>
                <a:gd name="connsiteX44" fmla="*/ 49768 w 151733"/>
                <a:gd name="connsiteY44" fmla="*/ 73114 h 74056"/>
                <a:gd name="connsiteX45" fmla="*/ 43139 w 151733"/>
                <a:gd name="connsiteY45" fmla="*/ 73514 h 74056"/>
                <a:gd name="connsiteX46" fmla="*/ 34300 w 151733"/>
                <a:gd name="connsiteY46" fmla="*/ 74057 h 74056"/>
                <a:gd name="connsiteX47" fmla="*/ 29013 w 151733"/>
                <a:gd name="connsiteY47" fmla="*/ 73914 h 74056"/>
                <a:gd name="connsiteX48" fmla="*/ 24041 w 151733"/>
                <a:gd name="connsiteY48" fmla="*/ 73790 h 74056"/>
                <a:gd name="connsiteX49" fmla="*/ 20660 w 151733"/>
                <a:gd name="connsiteY49" fmla="*/ 72209 h 74056"/>
                <a:gd name="connsiteX50" fmla="*/ 16526 w 151733"/>
                <a:gd name="connsiteY50" fmla="*/ 69123 h 74056"/>
                <a:gd name="connsiteX51" fmla="*/ 12154 w 151733"/>
                <a:gd name="connsiteY51" fmla="*/ 65018 h 74056"/>
                <a:gd name="connsiteX52" fmla="*/ 11735 w 151733"/>
                <a:gd name="connsiteY52" fmla="*/ 64922 h 74056"/>
                <a:gd name="connsiteX53" fmla="*/ 11087 w 151733"/>
                <a:gd name="connsiteY53" fmla="*/ 64484 h 74056"/>
                <a:gd name="connsiteX54" fmla="*/ 8344 w 151733"/>
                <a:gd name="connsiteY54" fmla="*/ 64170 h 74056"/>
                <a:gd name="connsiteX55" fmla="*/ 7611 w 151733"/>
                <a:gd name="connsiteY55" fmla="*/ 64418 h 74056"/>
                <a:gd name="connsiteX56" fmla="*/ 5972 w 151733"/>
                <a:gd name="connsiteY56" fmla="*/ 63075 h 74056"/>
                <a:gd name="connsiteX57" fmla="*/ 5496 w 151733"/>
                <a:gd name="connsiteY57" fmla="*/ 61331 h 74056"/>
                <a:gd name="connsiteX58" fmla="*/ 2943 w 151733"/>
                <a:gd name="connsiteY58" fmla="*/ 56750 h 74056"/>
                <a:gd name="connsiteX59" fmla="*/ 76 w 151733"/>
                <a:gd name="connsiteY59" fmla="*/ 49187 h 74056"/>
                <a:gd name="connsiteX60" fmla="*/ 0 w 151733"/>
                <a:gd name="connsiteY60" fmla="*/ 46997 h 74056"/>
                <a:gd name="connsiteX61" fmla="*/ 1124 w 151733"/>
                <a:gd name="connsiteY61" fmla="*/ 44501 h 74056"/>
                <a:gd name="connsiteX62" fmla="*/ 2162 w 151733"/>
                <a:gd name="connsiteY62" fmla="*/ 42586 h 74056"/>
                <a:gd name="connsiteX63" fmla="*/ 2315 w 151733"/>
                <a:gd name="connsiteY63" fmla="*/ 41072 h 74056"/>
                <a:gd name="connsiteX64" fmla="*/ 2420 w 151733"/>
                <a:gd name="connsiteY64" fmla="*/ 40662 h 74056"/>
                <a:gd name="connsiteX65" fmla="*/ 3286 w 151733"/>
                <a:gd name="connsiteY65" fmla="*/ 37510 h 74056"/>
                <a:gd name="connsiteX66" fmla="*/ 5362 w 151733"/>
                <a:gd name="connsiteY66" fmla="*/ 33319 h 74056"/>
                <a:gd name="connsiteX67" fmla="*/ 7306 w 151733"/>
                <a:gd name="connsiteY67" fmla="*/ 30880 h 74056"/>
                <a:gd name="connsiteX68" fmla="*/ 8706 w 151733"/>
                <a:gd name="connsiteY68" fmla="*/ 30071 h 74056"/>
                <a:gd name="connsiteX69" fmla="*/ 11611 w 151733"/>
                <a:gd name="connsiteY69" fmla="*/ 30804 h 74056"/>
                <a:gd name="connsiteX70" fmla="*/ 16573 w 151733"/>
                <a:gd name="connsiteY70" fmla="*/ 31413 h 74056"/>
                <a:gd name="connsiteX71" fmla="*/ 20393 w 151733"/>
                <a:gd name="connsiteY71" fmla="*/ 30842 h 74056"/>
                <a:gd name="connsiteX72" fmla="*/ 23956 w 151733"/>
                <a:gd name="connsiteY72" fmla="*/ 28966 h 74056"/>
                <a:gd name="connsiteX73" fmla="*/ 25889 w 151733"/>
                <a:gd name="connsiteY73" fmla="*/ 27327 h 74056"/>
                <a:gd name="connsiteX74" fmla="*/ 27537 w 151733"/>
                <a:gd name="connsiteY74" fmla="*/ 25603 h 74056"/>
                <a:gd name="connsiteX75" fmla="*/ 28090 w 151733"/>
                <a:gd name="connsiteY75" fmla="*/ 24479 h 74056"/>
                <a:gd name="connsiteX76" fmla="*/ 28823 w 151733"/>
                <a:gd name="connsiteY76" fmla="*/ 23946 h 74056"/>
                <a:gd name="connsiteX77" fmla="*/ 31766 w 151733"/>
                <a:gd name="connsiteY77" fmla="*/ 22946 h 74056"/>
                <a:gd name="connsiteX78" fmla="*/ 32709 w 151733"/>
                <a:gd name="connsiteY78" fmla="*/ 21784 h 74056"/>
                <a:gd name="connsiteX79" fmla="*/ 33090 w 151733"/>
                <a:gd name="connsiteY79" fmla="*/ 19574 h 74056"/>
                <a:gd name="connsiteX80" fmla="*/ 33347 w 151733"/>
                <a:gd name="connsiteY80" fmla="*/ 17116 h 74056"/>
                <a:gd name="connsiteX81" fmla="*/ 33947 w 151733"/>
                <a:gd name="connsiteY81" fmla="*/ 15288 h 74056"/>
                <a:gd name="connsiteX82" fmla="*/ 34710 w 151733"/>
                <a:gd name="connsiteY82" fmla="*/ 13945 h 74056"/>
                <a:gd name="connsiteX83" fmla="*/ 40157 w 151733"/>
                <a:gd name="connsiteY83" fmla="*/ 10725 h 74056"/>
                <a:gd name="connsiteX84" fmla="*/ 40653 w 151733"/>
                <a:gd name="connsiteY84" fmla="*/ 9582 h 74056"/>
                <a:gd name="connsiteX85" fmla="*/ 41520 w 151733"/>
                <a:gd name="connsiteY85" fmla="*/ 8487 h 74056"/>
                <a:gd name="connsiteX86" fmla="*/ 43139 w 151733"/>
                <a:gd name="connsiteY86" fmla="*/ 7249 h 74056"/>
                <a:gd name="connsiteX87" fmla="*/ 44701 w 151733"/>
                <a:gd name="connsiteY87" fmla="*/ 5458 h 74056"/>
                <a:gd name="connsiteX88" fmla="*/ 46358 w 151733"/>
                <a:gd name="connsiteY88" fmla="*/ 4363 h 74056"/>
                <a:gd name="connsiteX89" fmla="*/ 48483 w 151733"/>
                <a:gd name="connsiteY89" fmla="*/ 4486 h 74056"/>
                <a:gd name="connsiteX90" fmla="*/ 50445 w 151733"/>
                <a:gd name="connsiteY90" fmla="*/ 4258 h 74056"/>
                <a:gd name="connsiteX91" fmla="*/ 51978 w 151733"/>
                <a:gd name="connsiteY91" fmla="*/ 3629 h 74056"/>
                <a:gd name="connsiteX92" fmla="*/ 52654 w 151733"/>
                <a:gd name="connsiteY92" fmla="*/ 3572 h 74056"/>
                <a:gd name="connsiteX93" fmla="*/ 55483 w 151733"/>
                <a:gd name="connsiteY93" fmla="*/ 4077 h 74056"/>
                <a:gd name="connsiteX94" fmla="*/ 55998 w 151733"/>
                <a:gd name="connsiteY94" fmla="*/ 6134 h 74056"/>
                <a:gd name="connsiteX95" fmla="*/ 56293 w 151733"/>
                <a:gd name="connsiteY95" fmla="*/ 8268 h 74056"/>
                <a:gd name="connsiteX96" fmla="*/ 61132 w 151733"/>
                <a:gd name="connsiteY96" fmla="*/ 8115 h 74056"/>
                <a:gd name="connsiteX97" fmla="*/ 63827 w 151733"/>
                <a:gd name="connsiteY97" fmla="*/ 3543 h 74056"/>
                <a:gd name="connsiteX98" fmla="*/ 65227 w 151733"/>
                <a:gd name="connsiteY98" fmla="*/ 2991 h 74056"/>
                <a:gd name="connsiteX99" fmla="*/ 67466 w 151733"/>
                <a:gd name="connsiteY99" fmla="*/ 1400 h 74056"/>
                <a:gd name="connsiteX100" fmla="*/ 68942 w 151733"/>
                <a:gd name="connsiteY100" fmla="*/ 0 h 74056"/>
                <a:gd name="connsiteX101" fmla="*/ 69961 w 151733"/>
                <a:gd name="connsiteY101" fmla="*/ 867 h 74056"/>
                <a:gd name="connsiteX102" fmla="*/ 71428 w 151733"/>
                <a:gd name="connsiteY102" fmla="*/ 3820 h 74056"/>
                <a:gd name="connsiteX103" fmla="*/ 72990 w 151733"/>
                <a:gd name="connsiteY103" fmla="*/ 6182 h 74056"/>
                <a:gd name="connsiteX104" fmla="*/ 73895 w 151733"/>
                <a:gd name="connsiteY104" fmla="*/ 7115 h 74056"/>
                <a:gd name="connsiteX105" fmla="*/ 73990 w 151733"/>
                <a:gd name="connsiteY105" fmla="*/ 7839 h 74056"/>
                <a:gd name="connsiteX106" fmla="*/ 74895 w 151733"/>
                <a:gd name="connsiteY106" fmla="*/ 8277 h 74056"/>
                <a:gd name="connsiteX107" fmla="*/ 76658 w 151733"/>
                <a:gd name="connsiteY107" fmla="*/ 8534 h 74056"/>
                <a:gd name="connsiteX108" fmla="*/ 77829 w 151733"/>
                <a:gd name="connsiteY108" fmla="*/ 9249 h 74056"/>
                <a:gd name="connsiteX109" fmla="*/ 78172 w 151733"/>
                <a:gd name="connsiteY109" fmla="*/ 11449 h 74056"/>
                <a:gd name="connsiteX110" fmla="*/ 78200 w 151733"/>
                <a:gd name="connsiteY110" fmla="*/ 13430 h 74056"/>
                <a:gd name="connsiteX111" fmla="*/ 77648 w 151733"/>
                <a:gd name="connsiteY111" fmla="*/ 14850 h 74056"/>
                <a:gd name="connsiteX112" fmla="*/ 77362 w 151733"/>
                <a:gd name="connsiteY112" fmla="*/ 16107 h 74056"/>
                <a:gd name="connsiteX113" fmla="*/ 78581 w 151733"/>
                <a:gd name="connsiteY113" fmla="*/ 16602 h 74056"/>
                <a:gd name="connsiteX114" fmla="*/ 80372 w 151733"/>
                <a:gd name="connsiteY114" fmla="*/ 16126 h 74056"/>
                <a:gd name="connsiteX115" fmla="*/ 81629 w 151733"/>
                <a:gd name="connsiteY115" fmla="*/ 15412 h 74056"/>
                <a:gd name="connsiteX116" fmla="*/ 85411 w 151733"/>
                <a:gd name="connsiteY116" fmla="*/ 17050 h 74056"/>
                <a:gd name="connsiteX117" fmla="*/ 86744 w 151733"/>
                <a:gd name="connsiteY117" fmla="*/ 13402 h 74056"/>
                <a:gd name="connsiteX118" fmla="*/ 88249 w 151733"/>
                <a:gd name="connsiteY118" fmla="*/ 11535 h 74056"/>
                <a:gd name="connsiteX119" fmla="*/ 90192 w 151733"/>
                <a:gd name="connsiteY119" fmla="*/ 10659 h 74056"/>
                <a:gd name="connsiteX120" fmla="*/ 91964 w 151733"/>
                <a:gd name="connsiteY120" fmla="*/ 9525 h 74056"/>
                <a:gd name="connsiteX121" fmla="*/ 93574 w 151733"/>
                <a:gd name="connsiteY121" fmla="*/ 8715 h 74056"/>
                <a:gd name="connsiteX122" fmla="*/ 94688 w 151733"/>
                <a:gd name="connsiteY122" fmla="*/ 8763 h 74056"/>
                <a:gd name="connsiteX123" fmla="*/ 95174 w 151733"/>
                <a:gd name="connsiteY123" fmla="*/ 8420 h 74056"/>
                <a:gd name="connsiteX124" fmla="*/ 96555 w 151733"/>
                <a:gd name="connsiteY124" fmla="*/ 8515 h 74056"/>
                <a:gd name="connsiteX125" fmla="*/ 98165 w 151733"/>
                <a:gd name="connsiteY125" fmla="*/ 8877 h 74056"/>
                <a:gd name="connsiteX126" fmla="*/ 100346 w 151733"/>
                <a:gd name="connsiteY126" fmla="*/ 8449 h 74056"/>
                <a:gd name="connsiteX127" fmla="*/ 103356 w 151733"/>
                <a:gd name="connsiteY127" fmla="*/ 9344 h 74056"/>
                <a:gd name="connsiteX128" fmla="*/ 105242 w 151733"/>
                <a:gd name="connsiteY128" fmla="*/ 11030 h 74056"/>
                <a:gd name="connsiteX129" fmla="*/ 107090 w 151733"/>
                <a:gd name="connsiteY129" fmla="*/ 11602 h 74056"/>
                <a:gd name="connsiteX130" fmla="*/ 109195 w 151733"/>
                <a:gd name="connsiteY130" fmla="*/ 11506 h 74056"/>
                <a:gd name="connsiteX131" fmla="*/ 110633 w 151733"/>
                <a:gd name="connsiteY131" fmla="*/ 10573 h 74056"/>
                <a:gd name="connsiteX132" fmla="*/ 112719 w 151733"/>
                <a:gd name="connsiteY132" fmla="*/ 7363 h 74056"/>
                <a:gd name="connsiteX133" fmla="*/ 114243 w 151733"/>
                <a:gd name="connsiteY133" fmla="*/ 7411 h 74056"/>
                <a:gd name="connsiteX134" fmla="*/ 116615 w 151733"/>
                <a:gd name="connsiteY134" fmla="*/ 6906 h 74056"/>
                <a:gd name="connsiteX135" fmla="*/ 119968 w 151733"/>
                <a:gd name="connsiteY135" fmla="*/ 6934 h 74056"/>
                <a:gd name="connsiteX136" fmla="*/ 127702 w 151733"/>
                <a:gd name="connsiteY136" fmla="*/ 7620 h 74056"/>
                <a:gd name="connsiteX137" fmla="*/ 129635 w 151733"/>
                <a:gd name="connsiteY137" fmla="*/ 8849 h 74056"/>
                <a:gd name="connsiteX138" fmla="*/ 134398 w 151733"/>
                <a:gd name="connsiteY138" fmla="*/ 10420 h 74056"/>
                <a:gd name="connsiteX139" fmla="*/ 136474 w 151733"/>
                <a:gd name="connsiteY139" fmla="*/ 12240 h 74056"/>
                <a:gd name="connsiteX140" fmla="*/ 137389 w 151733"/>
                <a:gd name="connsiteY140" fmla="*/ 14402 h 74056"/>
                <a:gd name="connsiteX141" fmla="*/ 137875 w 151733"/>
                <a:gd name="connsiteY141" fmla="*/ 15897 h 74056"/>
                <a:gd name="connsiteX142" fmla="*/ 142751 w 151733"/>
                <a:gd name="connsiteY142" fmla="*/ 18193 h 74056"/>
                <a:gd name="connsiteX143" fmla="*/ 149981 w 151733"/>
                <a:gd name="connsiteY143" fmla="*/ 21117 h 7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51733" h="74056">
                  <a:moveTo>
                    <a:pt x="151733" y="21479"/>
                  </a:moveTo>
                  <a:lnTo>
                    <a:pt x="151343" y="23155"/>
                  </a:lnTo>
                  <a:lnTo>
                    <a:pt x="150247" y="25108"/>
                  </a:lnTo>
                  <a:lnTo>
                    <a:pt x="148886" y="27127"/>
                  </a:lnTo>
                  <a:lnTo>
                    <a:pt x="147742" y="29566"/>
                  </a:lnTo>
                  <a:lnTo>
                    <a:pt x="146218" y="34757"/>
                  </a:lnTo>
                  <a:lnTo>
                    <a:pt x="145228" y="37157"/>
                  </a:lnTo>
                  <a:lnTo>
                    <a:pt x="141151" y="41881"/>
                  </a:lnTo>
                  <a:lnTo>
                    <a:pt x="140865" y="48444"/>
                  </a:lnTo>
                  <a:lnTo>
                    <a:pt x="140313" y="48921"/>
                  </a:lnTo>
                  <a:lnTo>
                    <a:pt x="131102" y="51140"/>
                  </a:lnTo>
                  <a:lnTo>
                    <a:pt x="129893" y="50806"/>
                  </a:lnTo>
                  <a:lnTo>
                    <a:pt x="128635" y="49530"/>
                  </a:lnTo>
                  <a:lnTo>
                    <a:pt x="127940" y="48597"/>
                  </a:lnTo>
                  <a:lnTo>
                    <a:pt x="127511" y="47920"/>
                  </a:lnTo>
                  <a:lnTo>
                    <a:pt x="126711" y="46101"/>
                  </a:lnTo>
                  <a:lnTo>
                    <a:pt x="125654" y="44815"/>
                  </a:lnTo>
                  <a:lnTo>
                    <a:pt x="124092" y="43758"/>
                  </a:lnTo>
                  <a:lnTo>
                    <a:pt x="122663" y="42539"/>
                  </a:lnTo>
                  <a:lnTo>
                    <a:pt x="120825" y="42491"/>
                  </a:lnTo>
                  <a:lnTo>
                    <a:pt x="115853" y="44215"/>
                  </a:lnTo>
                  <a:lnTo>
                    <a:pt x="112405" y="44406"/>
                  </a:lnTo>
                  <a:lnTo>
                    <a:pt x="110100" y="43853"/>
                  </a:lnTo>
                  <a:lnTo>
                    <a:pt x="107032" y="42806"/>
                  </a:lnTo>
                  <a:lnTo>
                    <a:pt x="101060" y="42644"/>
                  </a:lnTo>
                  <a:lnTo>
                    <a:pt x="96974" y="43558"/>
                  </a:lnTo>
                  <a:lnTo>
                    <a:pt x="96564" y="44844"/>
                  </a:lnTo>
                  <a:lnTo>
                    <a:pt x="92793" y="52845"/>
                  </a:lnTo>
                  <a:lnTo>
                    <a:pt x="87306" y="55797"/>
                  </a:lnTo>
                  <a:lnTo>
                    <a:pt x="82544" y="58807"/>
                  </a:lnTo>
                  <a:lnTo>
                    <a:pt x="81162" y="59417"/>
                  </a:lnTo>
                  <a:lnTo>
                    <a:pt x="78791" y="58464"/>
                  </a:lnTo>
                  <a:lnTo>
                    <a:pt x="76095" y="56683"/>
                  </a:lnTo>
                  <a:lnTo>
                    <a:pt x="73857" y="55750"/>
                  </a:lnTo>
                  <a:lnTo>
                    <a:pt x="72219" y="56159"/>
                  </a:lnTo>
                  <a:lnTo>
                    <a:pt x="70438" y="58188"/>
                  </a:lnTo>
                  <a:lnTo>
                    <a:pt x="69618" y="60236"/>
                  </a:lnTo>
                  <a:lnTo>
                    <a:pt x="64227" y="61741"/>
                  </a:lnTo>
                  <a:lnTo>
                    <a:pt x="54845" y="62627"/>
                  </a:lnTo>
                  <a:lnTo>
                    <a:pt x="51568" y="64646"/>
                  </a:lnTo>
                  <a:lnTo>
                    <a:pt x="50454" y="67066"/>
                  </a:lnTo>
                  <a:lnTo>
                    <a:pt x="50406" y="68923"/>
                  </a:lnTo>
                  <a:lnTo>
                    <a:pt x="51207" y="70504"/>
                  </a:lnTo>
                  <a:lnTo>
                    <a:pt x="50206" y="72342"/>
                  </a:lnTo>
                  <a:lnTo>
                    <a:pt x="49768" y="73114"/>
                  </a:lnTo>
                  <a:lnTo>
                    <a:pt x="43139" y="73514"/>
                  </a:lnTo>
                  <a:lnTo>
                    <a:pt x="34300" y="74057"/>
                  </a:lnTo>
                  <a:lnTo>
                    <a:pt x="29013" y="73914"/>
                  </a:lnTo>
                  <a:lnTo>
                    <a:pt x="24041" y="73790"/>
                  </a:lnTo>
                  <a:lnTo>
                    <a:pt x="20660" y="72209"/>
                  </a:lnTo>
                  <a:lnTo>
                    <a:pt x="16526" y="69123"/>
                  </a:lnTo>
                  <a:lnTo>
                    <a:pt x="12154" y="65018"/>
                  </a:lnTo>
                  <a:lnTo>
                    <a:pt x="11735" y="64922"/>
                  </a:lnTo>
                  <a:lnTo>
                    <a:pt x="11087" y="64484"/>
                  </a:lnTo>
                  <a:lnTo>
                    <a:pt x="8344" y="64170"/>
                  </a:lnTo>
                  <a:lnTo>
                    <a:pt x="7611" y="64418"/>
                  </a:lnTo>
                  <a:lnTo>
                    <a:pt x="5972" y="63075"/>
                  </a:lnTo>
                  <a:lnTo>
                    <a:pt x="5496" y="61331"/>
                  </a:lnTo>
                  <a:lnTo>
                    <a:pt x="2943" y="56750"/>
                  </a:lnTo>
                  <a:lnTo>
                    <a:pt x="76" y="49187"/>
                  </a:lnTo>
                  <a:lnTo>
                    <a:pt x="0" y="46997"/>
                  </a:lnTo>
                  <a:lnTo>
                    <a:pt x="1124" y="44501"/>
                  </a:lnTo>
                  <a:lnTo>
                    <a:pt x="2162" y="42586"/>
                  </a:lnTo>
                  <a:lnTo>
                    <a:pt x="2315" y="41072"/>
                  </a:lnTo>
                  <a:lnTo>
                    <a:pt x="2420" y="40662"/>
                  </a:lnTo>
                  <a:lnTo>
                    <a:pt x="3286" y="37510"/>
                  </a:lnTo>
                  <a:lnTo>
                    <a:pt x="5362" y="33319"/>
                  </a:lnTo>
                  <a:lnTo>
                    <a:pt x="7306" y="30880"/>
                  </a:lnTo>
                  <a:lnTo>
                    <a:pt x="8706" y="30071"/>
                  </a:lnTo>
                  <a:lnTo>
                    <a:pt x="11611" y="30804"/>
                  </a:lnTo>
                  <a:lnTo>
                    <a:pt x="16573" y="31413"/>
                  </a:lnTo>
                  <a:lnTo>
                    <a:pt x="20393" y="30842"/>
                  </a:lnTo>
                  <a:lnTo>
                    <a:pt x="23956" y="28966"/>
                  </a:lnTo>
                  <a:lnTo>
                    <a:pt x="25889" y="27327"/>
                  </a:lnTo>
                  <a:lnTo>
                    <a:pt x="27537" y="25603"/>
                  </a:lnTo>
                  <a:lnTo>
                    <a:pt x="28090" y="24479"/>
                  </a:lnTo>
                  <a:lnTo>
                    <a:pt x="28823" y="23946"/>
                  </a:lnTo>
                  <a:lnTo>
                    <a:pt x="31766" y="22946"/>
                  </a:lnTo>
                  <a:lnTo>
                    <a:pt x="32709" y="21784"/>
                  </a:lnTo>
                  <a:lnTo>
                    <a:pt x="33090" y="19574"/>
                  </a:lnTo>
                  <a:lnTo>
                    <a:pt x="33347" y="17116"/>
                  </a:lnTo>
                  <a:lnTo>
                    <a:pt x="33947" y="15288"/>
                  </a:lnTo>
                  <a:lnTo>
                    <a:pt x="34710" y="13945"/>
                  </a:lnTo>
                  <a:lnTo>
                    <a:pt x="40157" y="10725"/>
                  </a:lnTo>
                  <a:lnTo>
                    <a:pt x="40653" y="9582"/>
                  </a:lnTo>
                  <a:lnTo>
                    <a:pt x="41520" y="8487"/>
                  </a:lnTo>
                  <a:lnTo>
                    <a:pt x="43139" y="7249"/>
                  </a:lnTo>
                  <a:lnTo>
                    <a:pt x="44701" y="5458"/>
                  </a:lnTo>
                  <a:lnTo>
                    <a:pt x="46358" y="4363"/>
                  </a:lnTo>
                  <a:lnTo>
                    <a:pt x="48483" y="4486"/>
                  </a:lnTo>
                  <a:lnTo>
                    <a:pt x="50445" y="4258"/>
                  </a:lnTo>
                  <a:lnTo>
                    <a:pt x="51978" y="3629"/>
                  </a:lnTo>
                  <a:lnTo>
                    <a:pt x="52654" y="3572"/>
                  </a:lnTo>
                  <a:lnTo>
                    <a:pt x="55483" y="4077"/>
                  </a:lnTo>
                  <a:lnTo>
                    <a:pt x="55998" y="6134"/>
                  </a:lnTo>
                  <a:lnTo>
                    <a:pt x="56293" y="8268"/>
                  </a:lnTo>
                  <a:lnTo>
                    <a:pt x="61132" y="8115"/>
                  </a:lnTo>
                  <a:lnTo>
                    <a:pt x="63827" y="3543"/>
                  </a:lnTo>
                  <a:lnTo>
                    <a:pt x="65227" y="2991"/>
                  </a:lnTo>
                  <a:lnTo>
                    <a:pt x="67466" y="1400"/>
                  </a:lnTo>
                  <a:lnTo>
                    <a:pt x="68942" y="0"/>
                  </a:lnTo>
                  <a:lnTo>
                    <a:pt x="69961" y="867"/>
                  </a:lnTo>
                  <a:lnTo>
                    <a:pt x="71428" y="3820"/>
                  </a:lnTo>
                  <a:lnTo>
                    <a:pt x="72990" y="6182"/>
                  </a:lnTo>
                  <a:lnTo>
                    <a:pt x="73895" y="7115"/>
                  </a:lnTo>
                  <a:lnTo>
                    <a:pt x="73990" y="7839"/>
                  </a:lnTo>
                  <a:lnTo>
                    <a:pt x="74895" y="8277"/>
                  </a:lnTo>
                  <a:lnTo>
                    <a:pt x="76658" y="8534"/>
                  </a:lnTo>
                  <a:lnTo>
                    <a:pt x="77829" y="9249"/>
                  </a:lnTo>
                  <a:lnTo>
                    <a:pt x="78172" y="11449"/>
                  </a:lnTo>
                  <a:lnTo>
                    <a:pt x="78200" y="13430"/>
                  </a:lnTo>
                  <a:lnTo>
                    <a:pt x="77648" y="14850"/>
                  </a:lnTo>
                  <a:lnTo>
                    <a:pt x="77362" y="16107"/>
                  </a:lnTo>
                  <a:lnTo>
                    <a:pt x="78581" y="16602"/>
                  </a:lnTo>
                  <a:lnTo>
                    <a:pt x="80372" y="16126"/>
                  </a:lnTo>
                  <a:lnTo>
                    <a:pt x="81629" y="15412"/>
                  </a:lnTo>
                  <a:lnTo>
                    <a:pt x="85411" y="17050"/>
                  </a:lnTo>
                  <a:lnTo>
                    <a:pt x="86744" y="13402"/>
                  </a:lnTo>
                  <a:lnTo>
                    <a:pt x="88249" y="11535"/>
                  </a:lnTo>
                  <a:lnTo>
                    <a:pt x="90192" y="10659"/>
                  </a:lnTo>
                  <a:lnTo>
                    <a:pt x="91964" y="9525"/>
                  </a:lnTo>
                  <a:lnTo>
                    <a:pt x="93574" y="8715"/>
                  </a:lnTo>
                  <a:lnTo>
                    <a:pt x="94688" y="8763"/>
                  </a:lnTo>
                  <a:lnTo>
                    <a:pt x="95174" y="8420"/>
                  </a:lnTo>
                  <a:lnTo>
                    <a:pt x="96555" y="8515"/>
                  </a:lnTo>
                  <a:lnTo>
                    <a:pt x="98165" y="8877"/>
                  </a:lnTo>
                  <a:lnTo>
                    <a:pt x="100346" y="8449"/>
                  </a:lnTo>
                  <a:lnTo>
                    <a:pt x="103356" y="9344"/>
                  </a:lnTo>
                  <a:lnTo>
                    <a:pt x="105242" y="11030"/>
                  </a:lnTo>
                  <a:lnTo>
                    <a:pt x="107090" y="11602"/>
                  </a:lnTo>
                  <a:lnTo>
                    <a:pt x="109195" y="11506"/>
                  </a:lnTo>
                  <a:lnTo>
                    <a:pt x="110633" y="10573"/>
                  </a:lnTo>
                  <a:lnTo>
                    <a:pt x="112719" y="7363"/>
                  </a:lnTo>
                  <a:lnTo>
                    <a:pt x="114243" y="7411"/>
                  </a:lnTo>
                  <a:lnTo>
                    <a:pt x="116615" y="6906"/>
                  </a:lnTo>
                  <a:lnTo>
                    <a:pt x="119968" y="6934"/>
                  </a:lnTo>
                  <a:lnTo>
                    <a:pt x="127702" y="7620"/>
                  </a:lnTo>
                  <a:lnTo>
                    <a:pt x="129635" y="8849"/>
                  </a:lnTo>
                  <a:lnTo>
                    <a:pt x="134398" y="10420"/>
                  </a:lnTo>
                  <a:lnTo>
                    <a:pt x="136474" y="12240"/>
                  </a:lnTo>
                  <a:lnTo>
                    <a:pt x="137389" y="14402"/>
                  </a:lnTo>
                  <a:lnTo>
                    <a:pt x="137875" y="15897"/>
                  </a:lnTo>
                  <a:lnTo>
                    <a:pt x="142751" y="18193"/>
                  </a:lnTo>
                  <a:lnTo>
                    <a:pt x="149981" y="21117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65" name="Forme libre : forme 51">
              <a:extLst>
                <a:ext uri="{FF2B5EF4-FFF2-40B4-BE49-F238E27FC236}">
                  <a16:creationId xmlns:a16="http://schemas.microsoft.com/office/drawing/2014/main" id="{91465CA8-FDFD-03BC-AE88-DE7A42DF4DA8}"/>
                </a:ext>
              </a:extLst>
            </p:cNvPr>
            <p:cNvSpPr/>
            <p:nvPr/>
          </p:nvSpPr>
          <p:spPr>
            <a:xfrm>
              <a:off x="6089818" y="5055359"/>
              <a:ext cx="8215" cy="8889"/>
            </a:xfrm>
            <a:custGeom>
              <a:avLst/>
              <a:gdLst>
                <a:gd name="connsiteX0" fmla="*/ 2362 w 3152"/>
                <a:gd name="connsiteY0" fmla="*/ 3267 h 3543"/>
                <a:gd name="connsiteX1" fmla="*/ 791 w 3152"/>
                <a:gd name="connsiteY1" fmla="*/ 3543 h 3543"/>
                <a:gd name="connsiteX2" fmla="*/ 0 w 3152"/>
                <a:gd name="connsiteY2" fmla="*/ 2038 h 3543"/>
                <a:gd name="connsiteX3" fmla="*/ 1181 w 3152"/>
                <a:gd name="connsiteY3" fmla="*/ 276 h 3543"/>
                <a:gd name="connsiteX4" fmla="*/ 2857 w 3152"/>
                <a:gd name="connsiteY4" fmla="*/ 0 h 3543"/>
                <a:gd name="connsiteX5" fmla="*/ 3153 w 3152"/>
                <a:gd name="connsiteY5" fmla="*/ 1362 h 3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52" h="3543">
                  <a:moveTo>
                    <a:pt x="2362" y="3267"/>
                  </a:moveTo>
                  <a:lnTo>
                    <a:pt x="791" y="3543"/>
                  </a:lnTo>
                  <a:lnTo>
                    <a:pt x="0" y="2038"/>
                  </a:lnTo>
                  <a:lnTo>
                    <a:pt x="1181" y="276"/>
                  </a:lnTo>
                  <a:lnTo>
                    <a:pt x="2857" y="0"/>
                  </a:lnTo>
                  <a:lnTo>
                    <a:pt x="3153" y="1362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66" name="Forme libre : forme 53">
              <a:extLst>
                <a:ext uri="{FF2B5EF4-FFF2-40B4-BE49-F238E27FC236}">
                  <a16:creationId xmlns:a16="http://schemas.microsoft.com/office/drawing/2014/main" id="{7ABF14EB-5402-FD35-0D65-045FE1AC4732}"/>
                </a:ext>
              </a:extLst>
            </p:cNvPr>
            <p:cNvSpPr/>
            <p:nvPr/>
          </p:nvSpPr>
          <p:spPr>
            <a:xfrm>
              <a:off x="6768049" y="4214080"/>
              <a:ext cx="1254256" cy="804168"/>
            </a:xfrm>
            <a:custGeom>
              <a:avLst/>
              <a:gdLst>
                <a:gd name="connsiteX0" fmla="*/ 429977 w 481145"/>
                <a:gd name="connsiteY0" fmla="*/ 217303 h 320544"/>
                <a:gd name="connsiteX1" fmla="*/ 429006 w 481145"/>
                <a:gd name="connsiteY1" fmla="*/ 217741 h 320544"/>
                <a:gd name="connsiteX2" fmla="*/ 419662 w 481145"/>
                <a:gd name="connsiteY2" fmla="*/ 217132 h 320544"/>
                <a:gd name="connsiteX3" fmla="*/ 412032 w 481145"/>
                <a:gd name="connsiteY3" fmla="*/ 217961 h 320544"/>
                <a:gd name="connsiteX4" fmla="*/ 406593 w 481145"/>
                <a:gd name="connsiteY4" fmla="*/ 224123 h 320544"/>
                <a:gd name="connsiteX5" fmla="*/ 403355 w 481145"/>
                <a:gd name="connsiteY5" fmla="*/ 224104 h 320544"/>
                <a:gd name="connsiteX6" fmla="*/ 398793 w 481145"/>
                <a:gd name="connsiteY6" fmla="*/ 225704 h 320544"/>
                <a:gd name="connsiteX7" fmla="*/ 395697 w 481145"/>
                <a:gd name="connsiteY7" fmla="*/ 227695 h 320544"/>
                <a:gd name="connsiteX8" fmla="*/ 392030 w 481145"/>
                <a:gd name="connsiteY8" fmla="*/ 232000 h 320544"/>
                <a:gd name="connsiteX9" fmla="*/ 389191 w 481145"/>
                <a:gd name="connsiteY9" fmla="*/ 230067 h 320544"/>
                <a:gd name="connsiteX10" fmla="*/ 385715 w 481145"/>
                <a:gd name="connsiteY10" fmla="*/ 230124 h 320544"/>
                <a:gd name="connsiteX11" fmla="*/ 382324 w 481145"/>
                <a:gd name="connsiteY11" fmla="*/ 231295 h 320544"/>
                <a:gd name="connsiteX12" fmla="*/ 378247 w 481145"/>
                <a:gd name="connsiteY12" fmla="*/ 234172 h 320544"/>
                <a:gd name="connsiteX13" fmla="*/ 375980 w 481145"/>
                <a:gd name="connsiteY13" fmla="*/ 234677 h 320544"/>
                <a:gd name="connsiteX14" fmla="*/ 371446 w 481145"/>
                <a:gd name="connsiteY14" fmla="*/ 233858 h 320544"/>
                <a:gd name="connsiteX15" fmla="*/ 366160 w 481145"/>
                <a:gd name="connsiteY15" fmla="*/ 235505 h 320544"/>
                <a:gd name="connsiteX16" fmla="*/ 354749 w 481145"/>
                <a:gd name="connsiteY16" fmla="*/ 244907 h 320544"/>
                <a:gd name="connsiteX17" fmla="*/ 350910 w 481145"/>
                <a:gd name="connsiteY17" fmla="*/ 251755 h 320544"/>
                <a:gd name="connsiteX18" fmla="*/ 349510 w 481145"/>
                <a:gd name="connsiteY18" fmla="*/ 253089 h 320544"/>
                <a:gd name="connsiteX19" fmla="*/ 347586 w 481145"/>
                <a:gd name="connsiteY19" fmla="*/ 254756 h 320544"/>
                <a:gd name="connsiteX20" fmla="*/ 345528 w 481145"/>
                <a:gd name="connsiteY20" fmla="*/ 255594 h 320544"/>
                <a:gd name="connsiteX21" fmla="*/ 344443 w 481145"/>
                <a:gd name="connsiteY21" fmla="*/ 255518 h 320544"/>
                <a:gd name="connsiteX22" fmla="*/ 349882 w 481145"/>
                <a:gd name="connsiteY22" fmla="*/ 250660 h 320544"/>
                <a:gd name="connsiteX23" fmla="*/ 351548 w 481145"/>
                <a:gd name="connsiteY23" fmla="*/ 248841 h 320544"/>
                <a:gd name="connsiteX24" fmla="*/ 351834 w 481145"/>
                <a:gd name="connsiteY24" fmla="*/ 247497 h 320544"/>
                <a:gd name="connsiteX25" fmla="*/ 351863 w 481145"/>
                <a:gd name="connsiteY25" fmla="*/ 245316 h 320544"/>
                <a:gd name="connsiteX26" fmla="*/ 350215 w 481145"/>
                <a:gd name="connsiteY26" fmla="*/ 242611 h 320544"/>
                <a:gd name="connsiteX27" fmla="*/ 345767 w 481145"/>
                <a:gd name="connsiteY27" fmla="*/ 249307 h 320544"/>
                <a:gd name="connsiteX28" fmla="*/ 343242 w 481145"/>
                <a:gd name="connsiteY28" fmla="*/ 250279 h 320544"/>
                <a:gd name="connsiteX29" fmla="*/ 340033 w 481145"/>
                <a:gd name="connsiteY29" fmla="*/ 252289 h 320544"/>
                <a:gd name="connsiteX30" fmla="*/ 339871 w 481145"/>
                <a:gd name="connsiteY30" fmla="*/ 256756 h 320544"/>
                <a:gd name="connsiteX31" fmla="*/ 340242 w 481145"/>
                <a:gd name="connsiteY31" fmla="*/ 260070 h 320544"/>
                <a:gd name="connsiteX32" fmla="*/ 341556 w 481145"/>
                <a:gd name="connsiteY32" fmla="*/ 264233 h 320544"/>
                <a:gd name="connsiteX33" fmla="*/ 344662 w 481145"/>
                <a:gd name="connsiteY33" fmla="*/ 271024 h 320544"/>
                <a:gd name="connsiteX34" fmla="*/ 351005 w 481145"/>
                <a:gd name="connsiteY34" fmla="*/ 280692 h 320544"/>
                <a:gd name="connsiteX35" fmla="*/ 354044 w 481145"/>
                <a:gd name="connsiteY35" fmla="*/ 284235 h 320544"/>
                <a:gd name="connsiteX36" fmla="*/ 356273 w 481145"/>
                <a:gd name="connsiteY36" fmla="*/ 285645 h 320544"/>
                <a:gd name="connsiteX37" fmla="*/ 358959 w 481145"/>
                <a:gd name="connsiteY37" fmla="*/ 285845 h 320544"/>
                <a:gd name="connsiteX38" fmla="*/ 364121 w 481145"/>
                <a:gd name="connsiteY38" fmla="*/ 282864 h 320544"/>
                <a:gd name="connsiteX39" fmla="*/ 366322 w 481145"/>
                <a:gd name="connsiteY39" fmla="*/ 282397 h 320544"/>
                <a:gd name="connsiteX40" fmla="*/ 371122 w 481145"/>
                <a:gd name="connsiteY40" fmla="*/ 283531 h 320544"/>
                <a:gd name="connsiteX41" fmla="*/ 372837 w 481145"/>
                <a:gd name="connsiteY41" fmla="*/ 281549 h 320544"/>
                <a:gd name="connsiteX42" fmla="*/ 375332 w 481145"/>
                <a:gd name="connsiteY42" fmla="*/ 280445 h 320544"/>
                <a:gd name="connsiteX43" fmla="*/ 378533 w 481145"/>
                <a:gd name="connsiteY43" fmla="*/ 280302 h 320544"/>
                <a:gd name="connsiteX44" fmla="*/ 382191 w 481145"/>
                <a:gd name="connsiteY44" fmla="*/ 281197 h 320544"/>
                <a:gd name="connsiteX45" fmla="*/ 386153 w 481145"/>
                <a:gd name="connsiteY45" fmla="*/ 282702 h 320544"/>
                <a:gd name="connsiteX46" fmla="*/ 384524 w 481145"/>
                <a:gd name="connsiteY46" fmla="*/ 286102 h 320544"/>
                <a:gd name="connsiteX47" fmla="*/ 382828 w 481145"/>
                <a:gd name="connsiteY47" fmla="*/ 288807 h 320544"/>
                <a:gd name="connsiteX48" fmla="*/ 382228 w 481145"/>
                <a:gd name="connsiteY48" fmla="*/ 291798 h 320544"/>
                <a:gd name="connsiteX49" fmla="*/ 381285 w 481145"/>
                <a:gd name="connsiteY49" fmla="*/ 295122 h 320544"/>
                <a:gd name="connsiteX50" fmla="*/ 376914 w 481145"/>
                <a:gd name="connsiteY50" fmla="*/ 296608 h 320544"/>
                <a:gd name="connsiteX51" fmla="*/ 372237 w 481145"/>
                <a:gd name="connsiteY51" fmla="*/ 296428 h 320544"/>
                <a:gd name="connsiteX52" fmla="*/ 367303 w 481145"/>
                <a:gd name="connsiteY52" fmla="*/ 297389 h 320544"/>
                <a:gd name="connsiteX53" fmla="*/ 365522 w 481145"/>
                <a:gd name="connsiteY53" fmla="*/ 296103 h 320544"/>
                <a:gd name="connsiteX54" fmla="*/ 364341 w 481145"/>
                <a:gd name="connsiteY54" fmla="*/ 294922 h 320544"/>
                <a:gd name="connsiteX55" fmla="*/ 362150 w 481145"/>
                <a:gd name="connsiteY55" fmla="*/ 293741 h 320544"/>
                <a:gd name="connsiteX56" fmla="*/ 359264 w 481145"/>
                <a:gd name="connsiteY56" fmla="*/ 293094 h 320544"/>
                <a:gd name="connsiteX57" fmla="*/ 356673 w 481145"/>
                <a:gd name="connsiteY57" fmla="*/ 293884 h 320544"/>
                <a:gd name="connsiteX58" fmla="*/ 353606 w 481145"/>
                <a:gd name="connsiteY58" fmla="*/ 298409 h 320544"/>
                <a:gd name="connsiteX59" fmla="*/ 348176 w 481145"/>
                <a:gd name="connsiteY59" fmla="*/ 301495 h 320544"/>
                <a:gd name="connsiteX60" fmla="*/ 346386 w 481145"/>
                <a:gd name="connsiteY60" fmla="*/ 305019 h 320544"/>
                <a:gd name="connsiteX61" fmla="*/ 341043 w 481145"/>
                <a:gd name="connsiteY61" fmla="*/ 304229 h 320544"/>
                <a:gd name="connsiteX62" fmla="*/ 336470 w 481145"/>
                <a:gd name="connsiteY62" fmla="*/ 304847 h 320544"/>
                <a:gd name="connsiteX63" fmla="*/ 329869 w 481145"/>
                <a:gd name="connsiteY63" fmla="*/ 308057 h 320544"/>
                <a:gd name="connsiteX64" fmla="*/ 324840 w 481145"/>
                <a:gd name="connsiteY64" fmla="*/ 314915 h 320544"/>
                <a:gd name="connsiteX65" fmla="*/ 319297 w 481145"/>
                <a:gd name="connsiteY65" fmla="*/ 319192 h 320544"/>
                <a:gd name="connsiteX66" fmla="*/ 314906 w 481145"/>
                <a:gd name="connsiteY66" fmla="*/ 320545 h 320544"/>
                <a:gd name="connsiteX67" fmla="*/ 310782 w 481145"/>
                <a:gd name="connsiteY67" fmla="*/ 320126 h 320544"/>
                <a:gd name="connsiteX68" fmla="*/ 308114 w 481145"/>
                <a:gd name="connsiteY68" fmla="*/ 318849 h 320544"/>
                <a:gd name="connsiteX69" fmla="*/ 302628 w 481145"/>
                <a:gd name="connsiteY69" fmla="*/ 314354 h 320544"/>
                <a:gd name="connsiteX70" fmla="*/ 302952 w 481145"/>
                <a:gd name="connsiteY70" fmla="*/ 312744 h 320544"/>
                <a:gd name="connsiteX71" fmla="*/ 303714 w 481145"/>
                <a:gd name="connsiteY71" fmla="*/ 311934 h 320544"/>
                <a:gd name="connsiteX72" fmla="*/ 304752 w 481145"/>
                <a:gd name="connsiteY72" fmla="*/ 309610 h 320544"/>
                <a:gd name="connsiteX73" fmla="*/ 306943 w 481145"/>
                <a:gd name="connsiteY73" fmla="*/ 301076 h 320544"/>
                <a:gd name="connsiteX74" fmla="*/ 306648 w 481145"/>
                <a:gd name="connsiteY74" fmla="*/ 298294 h 320544"/>
                <a:gd name="connsiteX75" fmla="*/ 305419 w 481145"/>
                <a:gd name="connsiteY75" fmla="*/ 293922 h 320544"/>
                <a:gd name="connsiteX76" fmla="*/ 301066 w 481145"/>
                <a:gd name="connsiteY76" fmla="*/ 290513 h 320544"/>
                <a:gd name="connsiteX77" fmla="*/ 297570 w 481145"/>
                <a:gd name="connsiteY77" fmla="*/ 291160 h 320544"/>
                <a:gd name="connsiteX78" fmla="*/ 295580 w 481145"/>
                <a:gd name="connsiteY78" fmla="*/ 290255 h 320544"/>
                <a:gd name="connsiteX79" fmla="*/ 288407 w 481145"/>
                <a:gd name="connsiteY79" fmla="*/ 284445 h 320544"/>
                <a:gd name="connsiteX80" fmla="*/ 284502 w 481145"/>
                <a:gd name="connsiteY80" fmla="*/ 284035 h 320544"/>
                <a:gd name="connsiteX81" fmla="*/ 280187 w 481145"/>
                <a:gd name="connsiteY81" fmla="*/ 285207 h 320544"/>
                <a:gd name="connsiteX82" fmla="*/ 278596 w 481145"/>
                <a:gd name="connsiteY82" fmla="*/ 284359 h 320544"/>
                <a:gd name="connsiteX83" fmla="*/ 277425 w 481145"/>
                <a:gd name="connsiteY83" fmla="*/ 282330 h 320544"/>
                <a:gd name="connsiteX84" fmla="*/ 285978 w 481145"/>
                <a:gd name="connsiteY84" fmla="*/ 275139 h 320544"/>
                <a:gd name="connsiteX85" fmla="*/ 294379 w 481145"/>
                <a:gd name="connsiteY85" fmla="*/ 269186 h 320544"/>
                <a:gd name="connsiteX86" fmla="*/ 298066 w 481145"/>
                <a:gd name="connsiteY86" fmla="*/ 268576 h 320544"/>
                <a:gd name="connsiteX87" fmla="*/ 303037 w 481145"/>
                <a:gd name="connsiteY87" fmla="*/ 265795 h 320544"/>
                <a:gd name="connsiteX88" fmla="*/ 308353 w 481145"/>
                <a:gd name="connsiteY88" fmla="*/ 261623 h 320544"/>
                <a:gd name="connsiteX89" fmla="*/ 307600 w 481145"/>
                <a:gd name="connsiteY89" fmla="*/ 258337 h 320544"/>
                <a:gd name="connsiteX90" fmla="*/ 306457 w 481145"/>
                <a:gd name="connsiteY90" fmla="*/ 255899 h 320544"/>
                <a:gd name="connsiteX91" fmla="*/ 303914 w 481145"/>
                <a:gd name="connsiteY91" fmla="*/ 256565 h 320544"/>
                <a:gd name="connsiteX92" fmla="*/ 302066 w 481145"/>
                <a:gd name="connsiteY92" fmla="*/ 257375 h 320544"/>
                <a:gd name="connsiteX93" fmla="*/ 297618 w 481145"/>
                <a:gd name="connsiteY93" fmla="*/ 254765 h 320544"/>
                <a:gd name="connsiteX94" fmla="*/ 295989 w 481145"/>
                <a:gd name="connsiteY94" fmla="*/ 252841 h 320544"/>
                <a:gd name="connsiteX95" fmla="*/ 289027 w 481145"/>
                <a:gd name="connsiteY95" fmla="*/ 254841 h 320544"/>
                <a:gd name="connsiteX96" fmla="*/ 285149 w 481145"/>
                <a:gd name="connsiteY96" fmla="*/ 254546 h 320544"/>
                <a:gd name="connsiteX97" fmla="*/ 276596 w 481145"/>
                <a:gd name="connsiteY97" fmla="*/ 256384 h 320544"/>
                <a:gd name="connsiteX98" fmla="*/ 272662 w 481145"/>
                <a:gd name="connsiteY98" fmla="*/ 254593 h 320544"/>
                <a:gd name="connsiteX99" fmla="*/ 264804 w 481145"/>
                <a:gd name="connsiteY99" fmla="*/ 249564 h 320544"/>
                <a:gd name="connsiteX100" fmla="*/ 261851 w 481145"/>
                <a:gd name="connsiteY100" fmla="*/ 248555 h 320544"/>
                <a:gd name="connsiteX101" fmla="*/ 259337 w 481145"/>
                <a:gd name="connsiteY101" fmla="*/ 248774 h 320544"/>
                <a:gd name="connsiteX102" fmla="*/ 257965 w 481145"/>
                <a:gd name="connsiteY102" fmla="*/ 247117 h 320544"/>
                <a:gd name="connsiteX103" fmla="*/ 259642 w 481145"/>
                <a:gd name="connsiteY103" fmla="*/ 246288 h 320544"/>
                <a:gd name="connsiteX104" fmla="*/ 261595 w 481145"/>
                <a:gd name="connsiteY104" fmla="*/ 246193 h 320544"/>
                <a:gd name="connsiteX105" fmla="*/ 263623 w 481145"/>
                <a:gd name="connsiteY105" fmla="*/ 245583 h 320544"/>
                <a:gd name="connsiteX106" fmla="*/ 264195 w 481145"/>
                <a:gd name="connsiteY106" fmla="*/ 244707 h 320544"/>
                <a:gd name="connsiteX107" fmla="*/ 264071 w 481145"/>
                <a:gd name="connsiteY107" fmla="*/ 243049 h 320544"/>
                <a:gd name="connsiteX108" fmla="*/ 259985 w 481145"/>
                <a:gd name="connsiteY108" fmla="*/ 241792 h 320544"/>
                <a:gd name="connsiteX109" fmla="*/ 256184 w 481145"/>
                <a:gd name="connsiteY109" fmla="*/ 241430 h 320544"/>
                <a:gd name="connsiteX110" fmla="*/ 253774 w 481145"/>
                <a:gd name="connsiteY110" fmla="*/ 239944 h 320544"/>
                <a:gd name="connsiteX111" fmla="*/ 251936 w 481145"/>
                <a:gd name="connsiteY111" fmla="*/ 238239 h 320544"/>
                <a:gd name="connsiteX112" fmla="*/ 256241 w 481145"/>
                <a:gd name="connsiteY112" fmla="*/ 238210 h 320544"/>
                <a:gd name="connsiteX113" fmla="*/ 260575 w 481145"/>
                <a:gd name="connsiteY113" fmla="*/ 239506 h 320544"/>
                <a:gd name="connsiteX114" fmla="*/ 267348 w 481145"/>
                <a:gd name="connsiteY114" fmla="*/ 239982 h 320544"/>
                <a:gd name="connsiteX115" fmla="*/ 273501 w 481145"/>
                <a:gd name="connsiteY115" fmla="*/ 241316 h 320544"/>
                <a:gd name="connsiteX116" fmla="*/ 275034 w 481145"/>
                <a:gd name="connsiteY116" fmla="*/ 239658 h 320544"/>
                <a:gd name="connsiteX117" fmla="*/ 278606 w 481145"/>
                <a:gd name="connsiteY117" fmla="*/ 236782 h 320544"/>
                <a:gd name="connsiteX118" fmla="*/ 279282 w 481145"/>
                <a:gd name="connsiteY118" fmla="*/ 235868 h 320544"/>
                <a:gd name="connsiteX119" fmla="*/ 273301 w 481145"/>
                <a:gd name="connsiteY119" fmla="*/ 237839 h 320544"/>
                <a:gd name="connsiteX120" fmla="*/ 267233 w 481145"/>
                <a:gd name="connsiteY120" fmla="*/ 236582 h 320544"/>
                <a:gd name="connsiteX121" fmla="*/ 265023 w 481145"/>
                <a:gd name="connsiteY121" fmla="*/ 234829 h 320544"/>
                <a:gd name="connsiteX122" fmla="*/ 263147 w 481145"/>
                <a:gd name="connsiteY122" fmla="*/ 232248 h 320544"/>
                <a:gd name="connsiteX123" fmla="*/ 262356 w 481145"/>
                <a:gd name="connsiteY123" fmla="*/ 229305 h 320544"/>
                <a:gd name="connsiteX124" fmla="*/ 262871 w 481145"/>
                <a:gd name="connsiteY124" fmla="*/ 226561 h 320544"/>
                <a:gd name="connsiteX125" fmla="*/ 262214 w 481145"/>
                <a:gd name="connsiteY125" fmla="*/ 221599 h 320544"/>
                <a:gd name="connsiteX126" fmla="*/ 260213 w 481145"/>
                <a:gd name="connsiteY126" fmla="*/ 217170 h 320544"/>
                <a:gd name="connsiteX127" fmla="*/ 259509 w 481145"/>
                <a:gd name="connsiteY127" fmla="*/ 214741 h 320544"/>
                <a:gd name="connsiteX128" fmla="*/ 257394 w 481145"/>
                <a:gd name="connsiteY128" fmla="*/ 212560 h 320544"/>
                <a:gd name="connsiteX129" fmla="*/ 259470 w 481145"/>
                <a:gd name="connsiteY129" fmla="*/ 217494 h 320544"/>
                <a:gd name="connsiteX130" fmla="*/ 260242 w 481145"/>
                <a:gd name="connsiteY130" fmla="*/ 220770 h 320544"/>
                <a:gd name="connsiteX131" fmla="*/ 261489 w 481145"/>
                <a:gd name="connsiteY131" fmla="*/ 223780 h 320544"/>
                <a:gd name="connsiteX132" fmla="*/ 261195 w 481145"/>
                <a:gd name="connsiteY132" fmla="*/ 231743 h 320544"/>
                <a:gd name="connsiteX133" fmla="*/ 260422 w 481145"/>
                <a:gd name="connsiteY133" fmla="*/ 234534 h 320544"/>
                <a:gd name="connsiteX134" fmla="*/ 257927 w 481145"/>
                <a:gd name="connsiteY134" fmla="*/ 235239 h 320544"/>
                <a:gd name="connsiteX135" fmla="*/ 254651 w 481145"/>
                <a:gd name="connsiteY135" fmla="*/ 234820 h 320544"/>
                <a:gd name="connsiteX136" fmla="*/ 251317 w 481145"/>
                <a:gd name="connsiteY136" fmla="*/ 233953 h 320544"/>
                <a:gd name="connsiteX137" fmla="*/ 252146 w 481145"/>
                <a:gd name="connsiteY137" fmla="*/ 229581 h 320544"/>
                <a:gd name="connsiteX138" fmla="*/ 250364 w 481145"/>
                <a:gd name="connsiteY138" fmla="*/ 231095 h 320544"/>
                <a:gd name="connsiteX139" fmla="*/ 247859 w 481145"/>
                <a:gd name="connsiteY139" fmla="*/ 235353 h 320544"/>
                <a:gd name="connsiteX140" fmla="*/ 245650 w 481145"/>
                <a:gd name="connsiteY140" fmla="*/ 235982 h 320544"/>
                <a:gd name="connsiteX141" fmla="*/ 240744 w 481145"/>
                <a:gd name="connsiteY141" fmla="*/ 235515 h 320544"/>
                <a:gd name="connsiteX142" fmla="*/ 231638 w 481145"/>
                <a:gd name="connsiteY142" fmla="*/ 238325 h 320544"/>
                <a:gd name="connsiteX143" fmla="*/ 231010 w 481145"/>
                <a:gd name="connsiteY143" fmla="*/ 241382 h 320544"/>
                <a:gd name="connsiteX144" fmla="*/ 229638 w 481145"/>
                <a:gd name="connsiteY144" fmla="*/ 245507 h 320544"/>
                <a:gd name="connsiteX145" fmla="*/ 228314 w 481145"/>
                <a:gd name="connsiteY145" fmla="*/ 247907 h 320544"/>
                <a:gd name="connsiteX146" fmla="*/ 227904 w 481145"/>
                <a:gd name="connsiteY146" fmla="*/ 249355 h 320544"/>
                <a:gd name="connsiteX147" fmla="*/ 224028 w 481145"/>
                <a:gd name="connsiteY147" fmla="*/ 255556 h 320544"/>
                <a:gd name="connsiteX148" fmla="*/ 223532 w 481145"/>
                <a:gd name="connsiteY148" fmla="*/ 256146 h 320544"/>
                <a:gd name="connsiteX149" fmla="*/ 216208 w 481145"/>
                <a:gd name="connsiteY149" fmla="*/ 264709 h 320544"/>
                <a:gd name="connsiteX150" fmla="*/ 215274 w 481145"/>
                <a:gd name="connsiteY150" fmla="*/ 265347 h 320544"/>
                <a:gd name="connsiteX151" fmla="*/ 210531 w 481145"/>
                <a:gd name="connsiteY151" fmla="*/ 267338 h 320544"/>
                <a:gd name="connsiteX152" fmla="*/ 207721 w 481145"/>
                <a:gd name="connsiteY152" fmla="*/ 269081 h 320544"/>
                <a:gd name="connsiteX153" fmla="*/ 205568 w 481145"/>
                <a:gd name="connsiteY153" fmla="*/ 269862 h 320544"/>
                <a:gd name="connsiteX154" fmla="*/ 201930 w 481145"/>
                <a:gd name="connsiteY154" fmla="*/ 268996 h 320544"/>
                <a:gd name="connsiteX155" fmla="*/ 200415 w 481145"/>
                <a:gd name="connsiteY155" fmla="*/ 270224 h 320544"/>
                <a:gd name="connsiteX156" fmla="*/ 199701 w 481145"/>
                <a:gd name="connsiteY156" fmla="*/ 271748 h 320544"/>
                <a:gd name="connsiteX157" fmla="*/ 199691 w 481145"/>
                <a:gd name="connsiteY157" fmla="*/ 274901 h 320544"/>
                <a:gd name="connsiteX158" fmla="*/ 201539 w 481145"/>
                <a:gd name="connsiteY158" fmla="*/ 277158 h 320544"/>
                <a:gd name="connsiteX159" fmla="*/ 203054 w 481145"/>
                <a:gd name="connsiteY159" fmla="*/ 284654 h 320544"/>
                <a:gd name="connsiteX160" fmla="*/ 202492 w 481145"/>
                <a:gd name="connsiteY160" fmla="*/ 287817 h 320544"/>
                <a:gd name="connsiteX161" fmla="*/ 201053 w 481145"/>
                <a:gd name="connsiteY161" fmla="*/ 285769 h 320544"/>
                <a:gd name="connsiteX162" fmla="*/ 198796 w 481145"/>
                <a:gd name="connsiteY162" fmla="*/ 283607 h 320544"/>
                <a:gd name="connsiteX163" fmla="*/ 194414 w 481145"/>
                <a:gd name="connsiteY163" fmla="*/ 281759 h 320544"/>
                <a:gd name="connsiteX164" fmla="*/ 189604 w 481145"/>
                <a:gd name="connsiteY164" fmla="*/ 282397 h 320544"/>
                <a:gd name="connsiteX165" fmla="*/ 184356 w 481145"/>
                <a:gd name="connsiteY165" fmla="*/ 285521 h 320544"/>
                <a:gd name="connsiteX166" fmla="*/ 180794 w 481145"/>
                <a:gd name="connsiteY166" fmla="*/ 286683 h 320544"/>
                <a:gd name="connsiteX167" fmla="*/ 178927 w 481145"/>
                <a:gd name="connsiteY167" fmla="*/ 285883 h 320544"/>
                <a:gd name="connsiteX168" fmla="*/ 177784 w 481145"/>
                <a:gd name="connsiteY168" fmla="*/ 285931 h 320544"/>
                <a:gd name="connsiteX169" fmla="*/ 177384 w 481145"/>
                <a:gd name="connsiteY169" fmla="*/ 286826 h 320544"/>
                <a:gd name="connsiteX170" fmla="*/ 177469 w 481145"/>
                <a:gd name="connsiteY170" fmla="*/ 287560 h 320544"/>
                <a:gd name="connsiteX171" fmla="*/ 178041 w 481145"/>
                <a:gd name="connsiteY171" fmla="*/ 288131 h 320544"/>
                <a:gd name="connsiteX172" fmla="*/ 177965 w 481145"/>
                <a:gd name="connsiteY172" fmla="*/ 288541 h 320544"/>
                <a:gd name="connsiteX173" fmla="*/ 177222 w 481145"/>
                <a:gd name="connsiteY173" fmla="*/ 288798 h 320544"/>
                <a:gd name="connsiteX174" fmla="*/ 168954 w 481145"/>
                <a:gd name="connsiteY174" fmla="*/ 286598 h 320544"/>
                <a:gd name="connsiteX175" fmla="*/ 165382 w 481145"/>
                <a:gd name="connsiteY175" fmla="*/ 284512 h 320544"/>
                <a:gd name="connsiteX176" fmla="*/ 162573 w 481145"/>
                <a:gd name="connsiteY176" fmla="*/ 280597 h 320544"/>
                <a:gd name="connsiteX177" fmla="*/ 163973 w 481145"/>
                <a:gd name="connsiteY177" fmla="*/ 279330 h 320544"/>
                <a:gd name="connsiteX178" fmla="*/ 165192 w 481145"/>
                <a:gd name="connsiteY178" fmla="*/ 278768 h 320544"/>
                <a:gd name="connsiteX179" fmla="*/ 169497 w 481145"/>
                <a:gd name="connsiteY179" fmla="*/ 278444 h 320544"/>
                <a:gd name="connsiteX180" fmla="*/ 170240 w 481145"/>
                <a:gd name="connsiteY180" fmla="*/ 278044 h 320544"/>
                <a:gd name="connsiteX181" fmla="*/ 170316 w 481145"/>
                <a:gd name="connsiteY181" fmla="*/ 277139 h 320544"/>
                <a:gd name="connsiteX182" fmla="*/ 170640 w 481145"/>
                <a:gd name="connsiteY182" fmla="*/ 275958 h 320544"/>
                <a:gd name="connsiteX183" fmla="*/ 170526 w 481145"/>
                <a:gd name="connsiteY183" fmla="*/ 274234 h 320544"/>
                <a:gd name="connsiteX184" fmla="*/ 170050 w 481145"/>
                <a:gd name="connsiteY184" fmla="*/ 272405 h 320544"/>
                <a:gd name="connsiteX185" fmla="*/ 171935 w 481145"/>
                <a:gd name="connsiteY185" fmla="*/ 269729 h 320544"/>
                <a:gd name="connsiteX186" fmla="*/ 174745 w 481145"/>
                <a:gd name="connsiteY186" fmla="*/ 267519 h 320544"/>
                <a:gd name="connsiteX187" fmla="*/ 176393 w 481145"/>
                <a:gd name="connsiteY187" fmla="*/ 265300 h 320544"/>
                <a:gd name="connsiteX188" fmla="*/ 176641 w 481145"/>
                <a:gd name="connsiteY188" fmla="*/ 262042 h 320544"/>
                <a:gd name="connsiteX189" fmla="*/ 179603 w 481145"/>
                <a:gd name="connsiteY189" fmla="*/ 260452 h 320544"/>
                <a:gd name="connsiteX190" fmla="*/ 182223 w 481145"/>
                <a:gd name="connsiteY190" fmla="*/ 257718 h 320544"/>
                <a:gd name="connsiteX191" fmla="*/ 182870 w 481145"/>
                <a:gd name="connsiteY191" fmla="*/ 254736 h 320544"/>
                <a:gd name="connsiteX192" fmla="*/ 183794 w 481145"/>
                <a:gd name="connsiteY192" fmla="*/ 252860 h 320544"/>
                <a:gd name="connsiteX193" fmla="*/ 182118 w 481145"/>
                <a:gd name="connsiteY193" fmla="*/ 248545 h 320544"/>
                <a:gd name="connsiteX194" fmla="*/ 181765 w 481145"/>
                <a:gd name="connsiteY194" fmla="*/ 245697 h 320544"/>
                <a:gd name="connsiteX195" fmla="*/ 181689 w 481145"/>
                <a:gd name="connsiteY195" fmla="*/ 243306 h 320544"/>
                <a:gd name="connsiteX196" fmla="*/ 182508 w 481145"/>
                <a:gd name="connsiteY196" fmla="*/ 241983 h 320544"/>
                <a:gd name="connsiteX197" fmla="*/ 184956 w 481145"/>
                <a:gd name="connsiteY197" fmla="*/ 240487 h 320544"/>
                <a:gd name="connsiteX198" fmla="*/ 187528 w 481145"/>
                <a:gd name="connsiteY198" fmla="*/ 239325 h 320544"/>
                <a:gd name="connsiteX199" fmla="*/ 188595 w 481145"/>
                <a:gd name="connsiteY199" fmla="*/ 239439 h 320544"/>
                <a:gd name="connsiteX200" fmla="*/ 188985 w 481145"/>
                <a:gd name="connsiteY200" fmla="*/ 240173 h 320544"/>
                <a:gd name="connsiteX201" fmla="*/ 189080 w 481145"/>
                <a:gd name="connsiteY201" fmla="*/ 245030 h 320544"/>
                <a:gd name="connsiteX202" fmla="*/ 189595 w 481145"/>
                <a:gd name="connsiteY202" fmla="*/ 245126 h 320544"/>
                <a:gd name="connsiteX203" fmla="*/ 190414 w 481145"/>
                <a:gd name="connsiteY203" fmla="*/ 244526 h 320544"/>
                <a:gd name="connsiteX204" fmla="*/ 191757 w 481145"/>
                <a:gd name="connsiteY204" fmla="*/ 241668 h 320544"/>
                <a:gd name="connsiteX205" fmla="*/ 192681 w 481145"/>
                <a:gd name="connsiteY205" fmla="*/ 242497 h 320544"/>
                <a:gd name="connsiteX206" fmla="*/ 194110 w 481145"/>
                <a:gd name="connsiteY206" fmla="*/ 242811 h 320544"/>
                <a:gd name="connsiteX207" fmla="*/ 195176 w 481145"/>
                <a:gd name="connsiteY207" fmla="*/ 242068 h 320544"/>
                <a:gd name="connsiteX208" fmla="*/ 195872 w 481145"/>
                <a:gd name="connsiteY208" fmla="*/ 242154 h 320544"/>
                <a:gd name="connsiteX209" fmla="*/ 196729 w 481145"/>
                <a:gd name="connsiteY209" fmla="*/ 242888 h 320544"/>
                <a:gd name="connsiteX210" fmla="*/ 198444 w 481145"/>
                <a:gd name="connsiteY210" fmla="*/ 243926 h 320544"/>
                <a:gd name="connsiteX211" fmla="*/ 200044 w 481145"/>
                <a:gd name="connsiteY211" fmla="*/ 244269 h 320544"/>
                <a:gd name="connsiteX212" fmla="*/ 201368 w 481145"/>
                <a:gd name="connsiteY212" fmla="*/ 243583 h 320544"/>
                <a:gd name="connsiteX213" fmla="*/ 202501 w 481145"/>
                <a:gd name="connsiteY213" fmla="*/ 242345 h 320544"/>
                <a:gd name="connsiteX214" fmla="*/ 203711 w 481145"/>
                <a:gd name="connsiteY214" fmla="*/ 242764 h 320544"/>
                <a:gd name="connsiteX215" fmla="*/ 206007 w 481145"/>
                <a:gd name="connsiteY215" fmla="*/ 246135 h 320544"/>
                <a:gd name="connsiteX216" fmla="*/ 207073 w 481145"/>
                <a:gd name="connsiteY216" fmla="*/ 245764 h 320544"/>
                <a:gd name="connsiteX217" fmla="*/ 212360 w 481145"/>
                <a:gd name="connsiteY217" fmla="*/ 245088 h 320544"/>
                <a:gd name="connsiteX218" fmla="*/ 213207 w 481145"/>
                <a:gd name="connsiteY218" fmla="*/ 244173 h 320544"/>
                <a:gd name="connsiteX219" fmla="*/ 213836 w 481145"/>
                <a:gd name="connsiteY219" fmla="*/ 243344 h 320544"/>
                <a:gd name="connsiteX220" fmla="*/ 208312 w 481145"/>
                <a:gd name="connsiteY220" fmla="*/ 238868 h 320544"/>
                <a:gd name="connsiteX221" fmla="*/ 208588 w 481145"/>
                <a:gd name="connsiteY221" fmla="*/ 235525 h 320544"/>
                <a:gd name="connsiteX222" fmla="*/ 208797 w 481145"/>
                <a:gd name="connsiteY222" fmla="*/ 231686 h 320544"/>
                <a:gd name="connsiteX223" fmla="*/ 208140 w 481145"/>
                <a:gd name="connsiteY223" fmla="*/ 229400 h 320544"/>
                <a:gd name="connsiteX224" fmla="*/ 207064 w 481145"/>
                <a:gd name="connsiteY224" fmla="*/ 227590 h 320544"/>
                <a:gd name="connsiteX225" fmla="*/ 202844 w 481145"/>
                <a:gd name="connsiteY225" fmla="*/ 225485 h 320544"/>
                <a:gd name="connsiteX226" fmla="*/ 199577 w 481145"/>
                <a:gd name="connsiteY226" fmla="*/ 223304 h 320544"/>
                <a:gd name="connsiteX227" fmla="*/ 198891 w 481145"/>
                <a:gd name="connsiteY227" fmla="*/ 222313 h 320544"/>
                <a:gd name="connsiteX228" fmla="*/ 198805 w 481145"/>
                <a:gd name="connsiteY228" fmla="*/ 221037 h 320544"/>
                <a:gd name="connsiteX229" fmla="*/ 198663 w 481145"/>
                <a:gd name="connsiteY229" fmla="*/ 219056 h 320544"/>
                <a:gd name="connsiteX230" fmla="*/ 197367 w 481145"/>
                <a:gd name="connsiteY230" fmla="*/ 217351 h 320544"/>
                <a:gd name="connsiteX231" fmla="*/ 197262 w 481145"/>
                <a:gd name="connsiteY231" fmla="*/ 215903 h 320544"/>
                <a:gd name="connsiteX232" fmla="*/ 198082 w 481145"/>
                <a:gd name="connsiteY232" fmla="*/ 213646 h 320544"/>
                <a:gd name="connsiteX233" fmla="*/ 198282 w 481145"/>
                <a:gd name="connsiteY233" fmla="*/ 211245 h 320544"/>
                <a:gd name="connsiteX234" fmla="*/ 198005 w 481145"/>
                <a:gd name="connsiteY234" fmla="*/ 210293 h 320544"/>
                <a:gd name="connsiteX235" fmla="*/ 197243 w 481145"/>
                <a:gd name="connsiteY235" fmla="*/ 209512 h 320544"/>
                <a:gd name="connsiteX236" fmla="*/ 195776 w 481145"/>
                <a:gd name="connsiteY236" fmla="*/ 209435 h 320544"/>
                <a:gd name="connsiteX237" fmla="*/ 193843 w 481145"/>
                <a:gd name="connsiteY237" fmla="*/ 208045 h 320544"/>
                <a:gd name="connsiteX238" fmla="*/ 192519 w 481145"/>
                <a:gd name="connsiteY238" fmla="*/ 206169 h 320544"/>
                <a:gd name="connsiteX239" fmla="*/ 188956 w 481145"/>
                <a:gd name="connsiteY239" fmla="*/ 203463 h 320544"/>
                <a:gd name="connsiteX240" fmla="*/ 187871 w 481145"/>
                <a:gd name="connsiteY240" fmla="*/ 203025 h 320544"/>
                <a:gd name="connsiteX241" fmla="*/ 187204 w 481145"/>
                <a:gd name="connsiteY241" fmla="*/ 201682 h 320544"/>
                <a:gd name="connsiteX242" fmla="*/ 186880 w 481145"/>
                <a:gd name="connsiteY242" fmla="*/ 200082 h 320544"/>
                <a:gd name="connsiteX243" fmla="*/ 187633 w 481145"/>
                <a:gd name="connsiteY243" fmla="*/ 198091 h 320544"/>
                <a:gd name="connsiteX244" fmla="*/ 188576 w 481145"/>
                <a:gd name="connsiteY244" fmla="*/ 195015 h 320544"/>
                <a:gd name="connsiteX245" fmla="*/ 189233 w 481145"/>
                <a:gd name="connsiteY245" fmla="*/ 192129 h 320544"/>
                <a:gd name="connsiteX246" fmla="*/ 189243 w 481145"/>
                <a:gd name="connsiteY246" fmla="*/ 190405 h 320544"/>
                <a:gd name="connsiteX247" fmla="*/ 188814 w 481145"/>
                <a:gd name="connsiteY247" fmla="*/ 186137 h 320544"/>
                <a:gd name="connsiteX248" fmla="*/ 186957 w 481145"/>
                <a:gd name="connsiteY248" fmla="*/ 182870 h 320544"/>
                <a:gd name="connsiteX249" fmla="*/ 186090 w 481145"/>
                <a:gd name="connsiteY249" fmla="*/ 182442 h 320544"/>
                <a:gd name="connsiteX250" fmla="*/ 184594 w 481145"/>
                <a:gd name="connsiteY250" fmla="*/ 183356 h 320544"/>
                <a:gd name="connsiteX251" fmla="*/ 182889 w 481145"/>
                <a:gd name="connsiteY251" fmla="*/ 184128 h 320544"/>
                <a:gd name="connsiteX252" fmla="*/ 181546 w 481145"/>
                <a:gd name="connsiteY252" fmla="*/ 183404 h 320544"/>
                <a:gd name="connsiteX253" fmla="*/ 180013 w 481145"/>
                <a:gd name="connsiteY253" fmla="*/ 181632 h 320544"/>
                <a:gd name="connsiteX254" fmla="*/ 177555 w 481145"/>
                <a:gd name="connsiteY254" fmla="*/ 176689 h 320544"/>
                <a:gd name="connsiteX255" fmla="*/ 172955 w 481145"/>
                <a:gd name="connsiteY255" fmla="*/ 175698 h 320544"/>
                <a:gd name="connsiteX256" fmla="*/ 171049 w 481145"/>
                <a:gd name="connsiteY256" fmla="*/ 175460 h 320544"/>
                <a:gd name="connsiteX257" fmla="*/ 169250 w 481145"/>
                <a:gd name="connsiteY257" fmla="*/ 177841 h 320544"/>
                <a:gd name="connsiteX258" fmla="*/ 168687 w 481145"/>
                <a:gd name="connsiteY258" fmla="*/ 177117 h 320544"/>
                <a:gd name="connsiteX259" fmla="*/ 168183 w 481145"/>
                <a:gd name="connsiteY259" fmla="*/ 175593 h 320544"/>
                <a:gd name="connsiteX260" fmla="*/ 167230 w 481145"/>
                <a:gd name="connsiteY260" fmla="*/ 174993 h 320544"/>
                <a:gd name="connsiteX261" fmla="*/ 165973 w 481145"/>
                <a:gd name="connsiteY261" fmla="*/ 175698 h 320544"/>
                <a:gd name="connsiteX262" fmla="*/ 165611 w 481145"/>
                <a:gd name="connsiteY262" fmla="*/ 175022 h 320544"/>
                <a:gd name="connsiteX263" fmla="*/ 166154 w 481145"/>
                <a:gd name="connsiteY263" fmla="*/ 172955 h 320544"/>
                <a:gd name="connsiteX264" fmla="*/ 164659 w 481145"/>
                <a:gd name="connsiteY264" fmla="*/ 171936 h 320544"/>
                <a:gd name="connsiteX265" fmla="*/ 161124 w 481145"/>
                <a:gd name="connsiteY265" fmla="*/ 171955 h 320544"/>
                <a:gd name="connsiteX266" fmla="*/ 159239 w 481145"/>
                <a:gd name="connsiteY266" fmla="*/ 171193 h 320544"/>
                <a:gd name="connsiteX267" fmla="*/ 159019 w 481145"/>
                <a:gd name="connsiteY267" fmla="*/ 169640 h 320544"/>
                <a:gd name="connsiteX268" fmla="*/ 157905 w 481145"/>
                <a:gd name="connsiteY268" fmla="*/ 168621 h 320544"/>
                <a:gd name="connsiteX269" fmla="*/ 155905 w 481145"/>
                <a:gd name="connsiteY269" fmla="*/ 168126 h 320544"/>
                <a:gd name="connsiteX270" fmla="*/ 153952 w 481145"/>
                <a:gd name="connsiteY270" fmla="*/ 166859 h 320544"/>
                <a:gd name="connsiteX271" fmla="*/ 152066 w 481145"/>
                <a:gd name="connsiteY271" fmla="*/ 164811 h 320544"/>
                <a:gd name="connsiteX272" fmla="*/ 149237 w 481145"/>
                <a:gd name="connsiteY272" fmla="*/ 163478 h 320544"/>
                <a:gd name="connsiteX273" fmla="*/ 145475 w 481145"/>
                <a:gd name="connsiteY273" fmla="*/ 162858 h 320544"/>
                <a:gd name="connsiteX274" fmla="*/ 145170 w 481145"/>
                <a:gd name="connsiteY274" fmla="*/ 162639 h 320544"/>
                <a:gd name="connsiteX275" fmla="*/ 144818 w 481145"/>
                <a:gd name="connsiteY275" fmla="*/ 162344 h 320544"/>
                <a:gd name="connsiteX276" fmla="*/ 142389 w 481145"/>
                <a:gd name="connsiteY276" fmla="*/ 163735 h 320544"/>
                <a:gd name="connsiteX277" fmla="*/ 140932 w 481145"/>
                <a:gd name="connsiteY277" fmla="*/ 164840 h 320544"/>
                <a:gd name="connsiteX278" fmla="*/ 139141 w 481145"/>
                <a:gd name="connsiteY278" fmla="*/ 164154 h 320544"/>
                <a:gd name="connsiteX279" fmla="*/ 136245 w 481145"/>
                <a:gd name="connsiteY279" fmla="*/ 166611 h 320544"/>
                <a:gd name="connsiteX280" fmla="*/ 130359 w 481145"/>
                <a:gd name="connsiteY280" fmla="*/ 166735 h 320544"/>
                <a:gd name="connsiteX281" fmla="*/ 127473 w 481145"/>
                <a:gd name="connsiteY281" fmla="*/ 166583 h 320544"/>
                <a:gd name="connsiteX282" fmla="*/ 126044 w 481145"/>
                <a:gd name="connsiteY282" fmla="*/ 165973 h 320544"/>
                <a:gd name="connsiteX283" fmla="*/ 120519 w 481145"/>
                <a:gd name="connsiteY283" fmla="*/ 169707 h 320544"/>
                <a:gd name="connsiteX284" fmla="*/ 119939 w 481145"/>
                <a:gd name="connsiteY284" fmla="*/ 171079 h 320544"/>
                <a:gd name="connsiteX285" fmla="*/ 118700 w 481145"/>
                <a:gd name="connsiteY285" fmla="*/ 171535 h 320544"/>
                <a:gd name="connsiteX286" fmla="*/ 115224 w 481145"/>
                <a:gd name="connsiteY286" fmla="*/ 172278 h 320544"/>
                <a:gd name="connsiteX287" fmla="*/ 111566 w 481145"/>
                <a:gd name="connsiteY287" fmla="*/ 173326 h 320544"/>
                <a:gd name="connsiteX288" fmla="*/ 110794 w 481145"/>
                <a:gd name="connsiteY288" fmla="*/ 176936 h 320544"/>
                <a:gd name="connsiteX289" fmla="*/ 109708 w 481145"/>
                <a:gd name="connsiteY289" fmla="*/ 178889 h 320544"/>
                <a:gd name="connsiteX290" fmla="*/ 107746 w 481145"/>
                <a:gd name="connsiteY290" fmla="*/ 181746 h 320544"/>
                <a:gd name="connsiteX291" fmla="*/ 100955 w 481145"/>
                <a:gd name="connsiteY291" fmla="*/ 182737 h 320544"/>
                <a:gd name="connsiteX292" fmla="*/ 95088 w 481145"/>
                <a:gd name="connsiteY292" fmla="*/ 184128 h 320544"/>
                <a:gd name="connsiteX293" fmla="*/ 89078 w 481145"/>
                <a:gd name="connsiteY293" fmla="*/ 184995 h 320544"/>
                <a:gd name="connsiteX294" fmla="*/ 81200 w 481145"/>
                <a:gd name="connsiteY294" fmla="*/ 188481 h 320544"/>
                <a:gd name="connsiteX295" fmla="*/ 78638 w 481145"/>
                <a:gd name="connsiteY295" fmla="*/ 191548 h 320544"/>
                <a:gd name="connsiteX296" fmla="*/ 76105 w 481145"/>
                <a:gd name="connsiteY296" fmla="*/ 192405 h 320544"/>
                <a:gd name="connsiteX297" fmla="*/ 73809 w 481145"/>
                <a:gd name="connsiteY297" fmla="*/ 192662 h 320544"/>
                <a:gd name="connsiteX298" fmla="*/ 72323 w 481145"/>
                <a:gd name="connsiteY298" fmla="*/ 190948 h 320544"/>
                <a:gd name="connsiteX299" fmla="*/ 67323 w 481145"/>
                <a:gd name="connsiteY299" fmla="*/ 186357 h 320544"/>
                <a:gd name="connsiteX300" fmla="*/ 65398 w 481145"/>
                <a:gd name="connsiteY300" fmla="*/ 184185 h 320544"/>
                <a:gd name="connsiteX301" fmla="*/ 62865 w 481145"/>
                <a:gd name="connsiteY301" fmla="*/ 183547 h 320544"/>
                <a:gd name="connsiteX302" fmla="*/ 60112 w 481145"/>
                <a:gd name="connsiteY302" fmla="*/ 183909 h 320544"/>
                <a:gd name="connsiteX303" fmla="*/ 57464 w 481145"/>
                <a:gd name="connsiteY303" fmla="*/ 184975 h 320544"/>
                <a:gd name="connsiteX304" fmla="*/ 54683 w 481145"/>
                <a:gd name="connsiteY304" fmla="*/ 185175 h 320544"/>
                <a:gd name="connsiteX305" fmla="*/ 51530 w 481145"/>
                <a:gd name="connsiteY305" fmla="*/ 183632 h 320544"/>
                <a:gd name="connsiteX306" fmla="*/ 51197 w 481145"/>
                <a:gd name="connsiteY306" fmla="*/ 183785 h 320544"/>
                <a:gd name="connsiteX307" fmla="*/ 49987 w 481145"/>
                <a:gd name="connsiteY307" fmla="*/ 183994 h 320544"/>
                <a:gd name="connsiteX308" fmla="*/ 42157 w 481145"/>
                <a:gd name="connsiteY308" fmla="*/ 182128 h 320544"/>
                <a:gd name="connsiteX309" fmla="*/ 41434 w 481145"/>
                <a:gd name="connsiteY309" fmla="*/ 181813 h 320544"/>
                <a:gd name="connsiteX310" fmla="*/ 41091 w 481145"/>
                <a:gd name="connsiteY310" fmla="*/ 181737 h 320544"/>
                <a:gd name="connsiteX311" fmla="*/ 40014 w 481145"/>
                <a:gd name="connsiteY311" fmla="*/ 181594 h 320544"/>
                <a:gd name="connsiteX312" fmla="*/ 34118 w 481145"/>
                <a:gd name="connsiteY312" fmla="*/ 181823 h 320544"/>
                <a:gd name="connsiteX313" fmla="*/ 28622 w 481145"/>
                <a:gd name="connsiteY313" fmla="*/ 178051 h 320544"/>
                <a:gd name="connsiteX314" fmla="*/ 26936 w 481145"/>
                <a:gd name="connsiteY314" fmla="*/ 177937 h 320544"/>
                <a:gd name="connsiteX315" fmla="*/ 25632 w 481145"/>
                <a:gd name="connsiteY315" fmla="*/ 179460 h 320544"/>
                <a:gd name="connsiteX316" fmla="*/ 24669 w 481145"/>
                <a:gd name="connsiteY316" fmla="*/ 181156 h 320544"/>
                <a:gd name="connsiteX317" fmla="*/ 20878 w 481145"/>
                <a:gd name="connsiteY317" fmla="*/ 182842 h 320544"/>
                <a:gd name="connsiteX318" fmla="*/ 19907 w 481145"/>
                <a:gd name="connsiteY318" fmla="*/ 183518 h 320544"/>
                <a:gd name="connsiteX319" fmla="*/ 19355 w 481145"/>
                <a:gd name="connsiteY319" fmla="*/ 182994 h 320544"/>
                <a:gd name="connsiteX320" fmla="*/ 19097 w 481145"/>
                <a:gd name="connsiteY320" fmla="*/ 181537 h 320544"/>
                <a:gd name="connsiteX321" fmla="*/ 19383 w 481145"/>
                <a:gd name="connsiteY321" fmla="*/ 180241 h 320544"/>
                <a:gd name="connsiteX322" fmla="*/ 18821 w 481145"/>
                <a:gd name="connsiteY322" fmla="*/ 179022 h 320544"/>
                <a:gd name="connsiteX323" fmla="*/ 17383 w 481145"/>
                <a:gd name="connsiteY323" fmla="*/ 177632 h 320544"/>
                <a:gd name="connsiteX324" fmla="*/ 17030 w 481145"/>
                <a:gd name="connsiteY324" fmla="*/ 177051 h 320544"/>
                <a:gd name="connsiteX325" fmla="*/ 15221 w 481145"/>
                <a:gd name="connsiteY325" fmla="*/ 177155 h 320544"/>
                <a:gd name="connsiteX326" fmla="*/ 14725 w 481145"/>
                <a:gd name="connsiteY326" fmla="*/ 177289 h 320544"/>
                <a:gd name="connsiteX327" fmla="*/ 14544 w 481145"/>
                <a:gd name="connsiteY327" fmla="*/ 177260 h 320544"/>
                <a:gd name="connsiteX328" fmla="*/ 12029 w 481145"/>
                <a:gd name="connsiteY328" fmla="*/ 176079 h 320544"/>
                <a:gd name="connsiteX329" fmla="*/ 10373 w 481145"/>
                <a:gd name="connsiteY329" fmla="*/ 173231 h 320544"/>
                <a:gd name="connsiteX330" fmla="*/ 7791 w 481145"/>
                <a:gd name="connsiteY330" fmla="*/ 171717 h 320544"/>
                <a:gd name="connsiteX331" fmla="*/ 5819 w 481145"/>
                <a:gd name="connsiteY331" fmla="*/ 171202 h 320544"/>
                <a:gd name="connsiteX332" fmla="*/ 4924 w 481145"/>
                <a:gd name="connsiteY332" fmla="*/ 169974 h 320544"/>
                <a:gd name="connsiteX333" fmla="*/ 4343 w 481145"/>
                <a:gd name="connsiteY333" fmla="*/ 168345 h 320544"/>
                <a:gd name="connsiteX334" fmla="*/ 3733 w 481145"/>
                <a:gd name="connsiteY334" fmla="*/ 167116 h 320544"/>
                <a:gd name="connsiteX335" fmla="*/ 3667 w 481145"/>
                <a:gd name="connsiteY335" fmla="*/ 166992 h 320544"/>
                <a:gd name="connsiteX336" fmla="*/ 3247 w 481145"/>
                <a:gd name="connsiteY336" fmla="*/ 165125 h 320544"/>
                <a:gd name="connsiteX337" fmla="*/ 2648 w 481145"/>
                <a:gd name="connsiteY337" fmla="*/ 164935 h 320544"/>
                <a:gd name="connsiteX338" fmla="*/ 2543 w 481145"/>
                <a:gd name="connsiteY338" fmla="*/ 164887 h 320544"/>
                <a:gd name="connsiteX339" fmla="*/ 0 w 481145"/>
                <a:gd name="connsiteY339" fmla="*/ 165211 h 320544"/>
                <a:gd name="connsiteX340" fmla="*/ 295 w 481145"/>
                <a:gd name="connsiteY340" fmla="*/ 158648 h 320544"/>
                <a:gd name="connsiteX341" fmla="*/ 4362 w 481145"/>
                <a:gd name="connsiteY341" fmla="*/ 153914 h 320544"/>
                <a:gd name="connsiteX342" fmla="*/ 5362 w 481145"/>
                <a:gd name="connsiteY342" fmla="*/ 151524 h 320544"/>
                <a:gd name="connsiteX343" fmla="*/ 6886 w 481145"/>
                <a:gd name="connsiteY343" fmla="*/ 146332 h 320544"/>
                <a:gd name="connsiteX344" fmla="*/ 8029 w 481145"/>
                <a:gd name="connsiteY344" fmla="*/ 143894 h 320544"/>
                <a:gd name="connsiteX345" fmla="*/ 9401 w 481145"/>
                <a:gd name="connsiteY345" fmla="*/ 141875 h 320544"/>
                <a:gd name="connsiteX346" fmla="*/ 10496 w 481145"/>
                <a:gd name="connsiteY346" fmla="*/ 139922 h 320544"/>
                <a:gd name="connsiteX347" fmla="*/ 10887 w 481145"/>
                <a:gd name="connsiteY347" fmla="*/ 138246 h 320544"/>
                <a:gd name="connsiteX348" fmla="*/ 11992 w 481145"/>
                <a:gd name="connsiteY348" fmla="*/ 138055 h 320544"/>
                <a:gd name="connsiteX349" fmla="*/ 15230 w 481145"/>
                <a:gd name="connsiteY349" fmla="*/ 139570 h 320544"/>
                <a:gd name="connsiteX350" fmla="*/ 18136 w 481145"/>
                <a:gd name="connsiteY350" fmla="*/ 140351 h 320544"/>
                <a:gd name="connsiteX351" fmla="*/ 18935 w 481145"/>
                <a:gd name="connsiteY351" fmla="*/ 139608 h 320544"/>
                <a:gd name="connsiteX352" fmla="*/ 19269 w 481145"/>
                <a:gd name="connsiteY352" fmla="*/ 138636 h 320544"/>
                <a:gd name="connsiteX353" fmla="*/ 19135 w 481145"/>
                <a:gd name="connsiteY353" fmla="*/ 137884 h 320544"/>
                <a:gd name="connsiteX354" fmla="*/ 16811 w 481145"/>
                <a:gd name="connsiteY354" fmla="*/ 135646 h 320544"/>
                <a:gd name="connsiteX355" fmla="*/ 15354 w 481145"/>
                <a:gd name="connsiteY355" fmla="*/ 134217 h 320544"/>
                <a:gd name="connsiteX356" fmla="*/ 15259 w 481145"/>
                <a:gd name="connsiteY356" fmla="*/ 133340 h 320544"/>
                <a:gd name="connsiteX357" fmla="*/ 15783 w 481145"/>
                <a:gd name="connsiteY357" fmla="*/ 131369 h 320544"/>
                <a:gd name="connsiteX358" fmla="*/ 16068 w 481145"/>
                <a:gd name="connsiteY358" fmla="*/ 129159 h 320544"/>
                <a:gd name="connsiteX359" fmla="*/ 15735 w 481145"/>
                <a:gd name="connsiteY359" fmla="*/ 126759 h 320544"/>
                <a:gd name="connsiteX360" fmla="*/ 14144 w 481145"/>
                <a:gd name="connsiteY360" fmla="*/ 121434 h 320544"/>
                <a:gd name="connsiteX361" fmla="*/ 13849 w 481145"/>
                <a:gd name="connsiteY361" fmla="*/ 119167 h 320544"/>
                <a:gd name="connsiteX362" fmla="*/ 15364 w 481145"/>
                <a:gd name="connsiteY362" fmla="*/ 116405 h 320544"/>
                <a:gd name="connsiteX363" fmla="*/ 20298 w 481145"/>
                <a:gd name="connsiteY363" fmla="*/ 109814 h 320544"/>
                <a:gd name="connsiteX364" fmla="*/ 21945 w 481145"/>
                <a:gd name="connsiteY364" fmla="*/ 107327 h 320544"/>
                <a:gd name="connsiteX365" fmla="*/ 24193 w 481145"/>
                <a:gd name="connsiteY365" fmla="*/ 104327 h 320544"/>
                <a:gd name="connsiteX366" fmla="*/ 30299 w 481145"/>
                <a:gd name="connsiteY366" fmla="*/ 97126 h 320544"/>
                <a:gd name="connsiteX367" fmla="*/ 34147 w 481145"/>
                <a:gd name="connsiteY367" fmla="*/ 92926 h 320544"/>
                <a:gd name="connsiteX368" fmla="*/ 36756 w 481145"/>
                <a:gd name="connsiteY368" fmla="*/ 90592 h 320544"/>
                <a:gd name="connsiteX369" fmla="*/ 40576 w 481145"/>
                <a:gd name="connsiteY369" fmla="*/ 86544 h 320544"/>
                <a:gd name="connsiteX370" fmla="*/ 42253 w 481145"/>
                <a:gd name="connsiteY370" fmla="*/ 84439 h 320544"/>
                <a:gd name="connsiteX371" fmla="*/ 49225 w 481145"/>
                <a:gd name="connsiteY371" fmla="*/ 83067 h 320544"/>
                <a:gd name="connsiteX372" fmla="*/ 50092 w 481145"/>
                <a:gd name="connsiteY372" fmla="*/ 81096 h 320544"/>
                <a:gd name="connsiteX373" fmla="*/ 51368 w 481145"/>
                <a:gd name="connsiteY373" fmla="*/ 78943 h 320544"/>
                <a:gd name="connsiteX374" fmla="*/ 52358 w 481145"/>
                <a:gd name="connsiteY374" fmla="*/ 78019 h 320544"/>
                <a:gd name="connsiteX375" fmla="*/ 52492 w 481145"/>
                <a:gd name="connsiteY375" fmla="*/ 74390 h 320544"/>
                <a:gd name="connsiteX376" fmla="*/ 51197 w 481145"/>
                <a:gd name="connsiteY376" fmla="*/ 69942 h 320544"/>
                <a:gd name="connsiteX377" fmla="*/ 50159 w 481145"/>
                <a:gd name="connsiteY377" fmla="*/ 68370 h 320544"/>
                <a:gd name="connsiteX378" fmla="*/ 49387 w 481145"/>
                <a:gd name="connsiteY378" fmla="*/ 67294 h 320544"/>
                <a:gd name="connsiteX379" fmla="*/ 49892 w 481145"/>
                <a:gd name="connsiteY379" fmla="*/ 66294 h 320544"/>
                <a:gd name="connsiteX380" fmla="*/ 50663 w 481145"/>
                <a:gd name="connsiteY380" fmla="*/ 66008 h 320544"/>
                <a:gd name="connsiteX381" fmla="*/ 51615 w 481145"/>
                <a:gd name="connsiteY381" fmla="*/ 65865 h 320544"/>
                <a:gd name="connsiteX382" fmla="*/ 52797 w 481145"/>
                <a:gd name="connsiteY382" fmla="*/ 64789 h 320544"/>
                <a:gd name="connsiteX383" fmla="*/ 52530 w 481145"/>
                <a:gd name="connsiteY383" fmla="*/ 63617 h 320544"/>
                <a:gd name="connsiteX384" fmla="*/ 49587 w 481145"/>
                <a:gd name="connsiteY384" fmla="*/ 60760 h 320544"/>
                <a:gd name="connsiteX385" fmla="*/ 48310 w 481145"/>
                <a:gd name="connsiteY385" fmla="*/ 58560 h 320544"/>
                <a:gd name="connsiteX386" fmla="*/ 46320 w 481145"/>
                <a:gd name="connsiteY386" fmla="*/ 52883 h 320544"/>
                <a:gd name="connsiteX387" fmla="*/ 42281 w 481145"/>
                <a:gd name="connsiteY387" fmla="*/ 46977 h 320544"/>
                <a:gd name="connsiteX388" fmla="*/ 41005 w 481145"/>
                <a:gd name="connsiteY388" fmla="*/ 45063 h 320544"/>
                <a:gd name="connsiteX389" fmla="*/ 40824 w 481145"/>
                <a:gd name="connsiteY389" fmla="*/ 43253 h 320544"/>
                <a:gd name="connsiteX390" fmla="*/ 41414 w 481145"/>
                <a:gd name="connsiteY390" fmla="*/ 41443 h 320544"/>
                <a:gd name="connsiteX391" fmla="*/ 40852 w 481145"/>
                <a:gd name="connsiteY391" fmla="*/ 39129 h 320544"/>
                <a:gd name="connsiteX392" fmla="*/ 39424 w 481145"/>
                <a:gd name="connsiteY392" fmla="*/ 36176 h 320544"/>
                <a:gd name="connsiteX393" fmla="*/ 39652 w 481145"/>
                <a:gd name="connsiteY393" fmla="*/ 35852 h 320544"/>
                <a:gd name="connsiteX394" fmla="*/ 39509 w 481145"/>
                <a:gd name="connsiteY394" fmla="*/ 32204 h 320544"/>
                <a:gd name="connsiteX395" fmla="*/ 40528 w 481145"/>
                <a:gd name="connsiteY395" fmla="*/ 31413 h 320544"/>
                <a:gd name="connsiteX396" fmla="*/ 42138 w 481145"/>
                <a:gd name="connsiteY396" fmla="*/ 30880 h 320544"/>
                <a:gd name="connsiteX397" fmla="*/ 44405 w 481145"/>
                <a:gd name="connsiteY397" fmla="*/ 31061 h 320544"/>
                <a:gd name="connsiteX398" fmla="*/ 46348 w 481145"/>
                <a:gd name="connsiteY398" fmla="*/ 31623 h 320544"/>
                <a:gd name="connsiteX399" fmla="*/ 48673 w 481145"/>
                <a:gd name="connsiteY399" fmla="*/ 33290 h 320544"/>
                <a:gd name="connsiteX400" fmla="*/ 49396 w 481145"/>
                <a:gd name="connsiteY400" fmla="*/ 33023 h 320544"/>
                <a:gd name="connsiteX401" fmla="*/ 53368 w 481145"/>
                <a:gd name="connsiteY401" fmla="*/ 29880 h 320544"/>
                <a:gd name="connsiteX402" fmla="*/ 57464 w 481145"/>
                <a:gd name="connsiteY402" fmla="*/ 25136 h 320544"/>
                <a:gd name="connsiteX403" fmla="*/ 58635 w 481145"/>
                <a:gd name="connsiteY403" fmla="*/ 22384 h 320544"/>
                <a:gd name="connsiteX404" fmla="*/ 59655 w 481145"/>
                <a:gd name="connsiteY404" fmla="*/ 21126 h 320544"/>
                <a:gd name="connsiteX405" fmla="*/ 63217 w 481145"/>
                <a:gd name="connsiteY405" fmla="*/ 20460 h 320544"/>
                <a:gd name="connsiteX406" fmla="*/ 66322 w 481145"/>
                <a:gd name="connsiteY406" fmla="*/ 20183 h 320544"/>
                <a:gd name="connsiteX407" fmla="*/ 68294 w 481145"/>
                <a:gd name="connsiteY407" fmla="*/ 20231 h 320544"/>
                <a:gd name="connsiteX408" fmla="*/ 73142 w 481145"/>
                <a:gd name="connsiteY408" fmla="*/ 19764 h 320544"/>
                <a:gd name="connsiteX409" fmla="*/ 76009 w 481145"/>
                <a:gd name="connsiteY409" fmla="*/ 19240 h 320544"/>
                <a:gd name="connsiteX410" fmla="*/ 78495 w 481145"/>
                <a:gd name="connsiteY410" fmla="*/ 18402 h 320544"/>
                <a:gd name="connsiteX411" fmla="*/ 83858 w 481145"/>
                <a:gd name="connsiteY411" fmla="*/ 18088 h 320544"/>
                <a:gd name="connsiteX412" fmla="*/ 92221 w 481145"/>
                <a:gd name="connsiteY412" fmla="*/ 18650 h 320544"/>
                <a:gd name="connsiteX413" fmla="*/ 97717 w 481145"/>
                <a:gd name="connsiteY413" fmla="*/ 18688 h 320544"/>
                <a:gd name="connsiteX414" fmla="*/ 101450 w 481145"/>
                <a:gd name="connsiteY414" fmla="*/ 19135 h 320544"/>
                <a:gd name="connsiteX415" fmla="*/ 110585 w 481145"/>
                <a:gd name="connsiteY415" fmla="*/ 21660 h 320544"/>
                <a:gd name="connsiteX416" fmla="*/ 113985 w 481145"/>
                <a:gd name="connsiteY416" fmla="*/ 22117 h 320544"/>
                <a:gd name="connsiteX417" fmla="*/ 115567 w 481145"/>
                <a:gd name="connsiteY417" fmla="*/ 23460 h 320544"/>
                <a:gd name="connsiteX418" fmla="*/ 118605 w 481145"/>
                <a:gd name="connsiteY418" fmla="*/ 23955 h 320544"/>
                <a:gd name="connsiteX419" fmla="*/ 124130 w 481145"/>
                <a:gd name="connsiteY419" fmla="*/ 25298 h 320544"/>
                <a:gd name="connsiteX420" fmla="*/ 128921 w 481145"/>
                <a:gd name="connsiteY420" fmla="*/ 26022 h 320544"/>
                <a:gd name="connsiteX421" fmla="*/ 132159 w 481145"/>
                <a:gd name="connsiteY421" fmla="*/ 25727 h 320544"/>
                <a:gd name="connsiteX422" fmla="*/ 133969 w 481145"/>
                <a:gd name="connsiteY422" fmla="*/ 26108 h 320544"/>
                <a:gd name="connsiteX423" fmla="*/ 137398 w 481145"/>
                <a:gd name="connsiteY423" fmla="*/ 32061 h 320544"/>
                <a:gd name="connsiteX424" fmla="*/ 138103 w 481145"/>
                <a:gd name="connsiteY424" fmla="*/ 32756 h 320544"/>
                <a:gd name="connsiteX425" fmla="*/ 139474 w 481145"/>
                <a:gd name="connsiteY425" fmla="*/ 32899 h 320544"/>
                <a:gd name="connsiteX426" fmla="*/ 142274 w 481145"/>
                <a:gd name="connsiteY426" fmla="*/ 32385 h 320544"/>
                <a:gd name="connsiteX427" fmla="*/ 146256 w 481145"/>
                <a:gd name="connsiteY427" fmla="*/ 32585 h 320544"/>
                <a:gd name="connsiteX428" fmla="*/ 148618 w 481145"/>
                <a:gd name="connsiteY428" fmla="*/ 33833 h 320544"/>
                <a:gd name="connsiteX429" fmla="*/ 148275 w 481145"/>
                <a:gd name="connsiteY429" fmla="*/ 37366 h 320544"/>
                <a:gd name="connsiteX430" fmla="*/ 148894 w 481145"/>
                <a:gd name="connsiteY430" fmla="*/ 37881 h 320544"/>
                <a:gd name="connsiteX431" fmla="*/ 150000 w 481145"/>
                <a:gd name="connsiteY431" fmla="*/ 37681 h 320544"/>
                <a:gd name="connsiteX432" fmla="*/ 151266 w 481145"/>
                <a:gd name="connsiteY432" fmla="*/ 35690 h 320544"/>
                <a:gd name="connsiteX433" fmla="*/ 152333 w 481145"/>
                <a:gd name="connsiteY433" fmla="*/ 33623 h 320544"/>
                <a:gd name="connsiteX434" fmla="*/ 153124 w 481145"/>
                <a:gd name="connsiteY434" fmla="*/ 32975 h 320544"/>
                <a:gd name="connsiteX435" fmla="*/ 157191 w 481145"/>
                <a:gd name="connsiteY435" fmla="*/ 34376 h 320544"/>
                <a:gd name="connsiteX436" fmla="*/ 159048 w 481145"/>
                <a:gd name="connsiteY436" fmla="*/ 34147 h 320544"/>
                <a:gd name="connsiteX437" fmla="*/ 160763 w 481145"/>
                <a:gd name="connsiteY437" fmla="*/ 32575 h 320544"/>
                <a:gd name="connsiteX438" fmla="*/ 161810 w 481145"/>
                <a:gd name="connsiteY438" fmla="*/ 32309 h 320544"/>
                <a:gd name="connsiteX439" fmla="*/ 164696 w 481145"/>
                <a:gd name="connsiteY439" fmla="*/ 33423 h 320544"/>
                <a:gd name="connsiteX440" fmla="*/ 168249 w 481145"/>
                <a:gd name="connsiteY440" fmla="*/ 34204 h 320544"/>
                <a:gd name="connsiteX441" fmla="*/ 171126 w 481145"/>
                <a:gd name="connsiteY441" fmla="*/ 34252 h 320544"/>
                <a:gd name="connsiteX442" fmla="*/ 172917 w 481145"/>
                <a:gd name="connsiteY442" fmla="*/ 35100 h 320544"/>
                <a:gd name="connsiteX443" fmla="*/ 174221 w 481145"/>
                <a:gd name="connsiteY443" fmla="*/ 38786 h 320544"/>
                <a:gd name="connsiteX444" fmla="*/ 175355 w 481145"/>
                <a:gd name="connsiteY444" fmla="*/ 39548 h 320544"/>
                <a:gd name="connsiteX445" fmla="*/ 176450 w 481145"/>
                <a:gd name="connsiteY445" fmla="*/ 39776 h 320544"/>
                <a:gd name="connsiteX446" fmla="*/ 178108 w 481145"/>
                <a:gd name="connsiteY446" fmla="*/ 36481 h 320544"/>
                <a:gd name="connsiteX447" fmla="*/ 179613 w 481145"/>
                <a:gd name="connsiteY447" fmla="*/ 35204 h 320544"/>
                <a:gd name="connsiteX448" fmla="*/ 181699 w 481145"/>
                <a:gd name="connsiteY448" fmla="*/ 34261 h 320544"/>
                <a:gd name="connsiteX449" fmla="*/ 183042 w 481145"/>
                <a:gd name="connsiteY449" fmla="*/ 33852 h 320544"/>
                <a:gd name="connsiteX450" fmla="*/ 183994 w 481145"/>
                <a:gd name="connsiteY450" fmla="*/ 32680 h 320544"/>
                <a:gd name="connsiteX451" fmla="*/ 185271 w 481145"/>
                <a:gd name="connsiteY451" fmla="*/ 31547 h 320544"/>
                <a:gd name="connsiteX452" fmla="*/ 186375 w 481145"/>
                <a:gd name="connsiteY452" fmla="*/ 31452 h 320544"/>
                <a:gd name="connsiteX453" fmla="*/ 187271 w 481145"/>
                <a:gd name="connsiteY453" fmla="*/ 31890 h 320544"/>
                <a:gd name="connsiteX454" fmla="*/ 188300 w 481145"/>
                <a:gd name="connsiteY454" fmla="*/ 33461 h 320544"/>
                <a:gd name="connsiteX455" fmla="*/ 189804 w 481145"/>
                <a:gd name="connsiteY455" fmla="*/ 37043 h 320544"/>
                <a:gd name="connsiteX456" fmla="*/ 191633 w 481145"/>
                <a:gd name="connsiteY456" fmla="*/ 40634 h 320544"/>
                <a:gd name="connsiteX457" fmla="*/ 192910 w 481145"/>
                <a:gd name="connsiteY457" fmla="*/ 41938 h 320544"/>
                <a:gd name="connsiteX458" fmla="*/ 196205 w 481145"/>
                <a:gd name="connsiteY458" fmla="*/ 40834 h 320544"/>
                <a:gd name="connsiteX459" fmla="*/ 198434 w 481145"/>
                <a:gd name="connsiteY459" fmla="*/ 39709 h 320544"/>
                <a:gd name="connsiteX460" fmla="*/ 202520 w 481145"/>
                <a:gd name="connsiteY460" fmla="*/ 39500 h 320544"/>
                <a:gd name="connsiteX461" fmla="*/ 207940 w 481145"/>
                <a:gd name="connsiteY461" fmla="*/ 38710 h 320544"/>
                <a:gd name="connsiteX462" fmla="*/ 212084 w 481145"/>
                <a:gd name="connsiteY462" fmla="*/ 37681 h 320544"/>
                <a:gd name="connsiteX463" fmla="*/ 214674 w 481145"/>
                <a:gd name="connsiteY463" fmla="*/ 37862 h 320544"/>
                <a:gd name="connsiteX464" fmla="*/ 216246 w 481145"/>
                <a:gd name="connsiteY464" fmla="*/ 39005 h 320544"/>
                <a:gd name="connsiteX465" fmla="*/ 218637 w 481145"/>
                <a:gd name="connsiteY465" fmla="*/ 41205 h 320544"/>
                <a:gd name="connsiteX466" fmla="*/ 219284 w 481145"/>
                <a:gd name="connsiteY466" fmla="*/ 44367 h 320544"/>
                <a:gd name="connsiteX467" fmla="*/ 222389 w 481145"/>
                <a:gd name="connsiteY467" fmla="*/ 46549 h 320544"/>
                <a:gd name="connsiteX468" fmla="*/ 224933 w 481145"/>
                <a:gd name="connsiteY468" fmla="*/ 46949 h 320544"/>
                <a:gd name="connsiteX469" fmla="*/ 225800 w 481145"/>
                <a:gd name="connsiteY469" fmla="*/ 44682 h 320544"/>
                <a:gd name="connsiteX470" fmla="*/ 227286 w 481145"/>
                <a:gd name="connsiteY470" fmla="*/ 43101 h 320544"/>
                <a:gd name="connsiteX471" fmla="*/ 226723 w 481145"/>
                <a:gd name="connsiteY471" fmla="*/ 40919 h 320544"/>
                <a:gd name="connsiteX472" fmla="*/ 226476 w 481145"/>
                <a:gd name="connsiteY472" fmla="*/ 38138 h 320544"/>
                <a:gd name="connsiteX473" fmla="*/ 225361 w 481145"/>
                <a:gd name="connsiteY473" fmla="*/ 35557 h 320544"/>
                <a:gd name="connsiteX474" fmla="*/ 224618 w 481145"/>
                <a:gd name="connsiteY474" fmla="*/ 32775 h 320544"/>
                <a:gd name="connsiteX475" fmla="*/ 225980 w 481145"/>
                <a:gd name="connsiteY475" fmla="*/ 28794 h 320544"/>
                <a:gd name="connsiteX476" fmla="*/ 227466 w 481145"/>
                <a:gd name="connsiteY476" fmla="*/ 25308 h 320544"/>
                <a:gd name="connsiteX477" fmla="*/ 228209 w 481145"/>
                <a:gd name="connsiteY477" fmla="*/ 23412 h 320544"/>
                <a:gd name="connsiteX478" fmla="*/ 230562 w 481145"/>
                <a:gd name="connsiteY478" fmla="*/ 19907 h 320544"/>
                <a:gd name="connsiteX479" fmla="*/ 232972 w 481145"/>
                <a:gd name="connsiteY479" fmla="*/ 17402 h 320544"/>
                <a:gd name="connsiteX480" fmla="*/ 236581 w 481145"/>
                <a:gd name="connsiteY480" fmla="*/ 13373 h 320544"/>
                <a:gd name="connsiteX481" fmla="*/ 239220 w 481145"/>
                <a:gd name="connsiteY481" fmla="*/ 12039 h 320544"/>
                <a:gd name="connsiteX482" fmla="*/ 241602 w 481145"/>
                <a:gd name="connsiteY482" fmla="*/ 12649 h 320544"/>
                <a:gd name="connsiteX483" fmla="*/ 242925 w 481145"/>
                <a:gd name="connsiteY483" fmla="*/ 13202 h 320544"/>
                <a:gd name="connsiteX484" fmla="*/ 246345 w 481145"/>
                <a:gd name="connsiteY484" fmla="*/ 10811 h 320544"/>
                <a:gd name="connsiteX485" fmla="*/ 252431 w 481145"/>
                <a:gd name="connsiteY485" fmla="*/ 10687 h 320544"/>
                <a:gd name="connsiteX486" fmla="*/ 257499 w 481145"/>
                <a:gd name="connsiteY486" fmla="*/ 10992 h 320544"/>
                <a:gd name="connsiteX487" fmla="*/ 258013 w 481145"/>
                <a:gd name="connsiteY487" fmla="*/ 11068 h 320544"/>
                <a:gd name="connsiteX488" fmla="*/ 260509 w 481145"/>
                <a:gd name="connsiteY488" fmla="*/ 12306 h 320544"/>
                <a:gd name="connsiteX489" fmla="*/ 263128 w 481145"/>
                <a:gd name="connsiteY489" fmla="*/ 13354 h 320544"/>
                <a:gd name="connsiteX490" fmla="*/ 264937 w 481145"/>
                <a:gd name="connsiteY490" fmla="*/ 13421 h 320544"/>
                <a:gd name="connsiteX491" fmla="*/ 267090 w 481145"/>
                <a:gd name="connsiteY491" fmla="*/ 13182 h 320544"/>
                <a:gd name="connsiteX492" fmla="*/ 269624 w 481145"/>
                <a:gd name="connsiteY492" fmla="*/ 11782 h 320544"/>
                <a:gd name="connsiteX493" fmla="*/ 271386 w 481145"/>
                <a:gd name="connsiteY493" fmla="*/ 10430 h 320544"/>
                <a:gd name="connsiteX494" fmla="*/ 273529 w 481145"/>
                <a:gd name="connsiteY494" fmla="*/ 3553 h 320544"/>
                <a:gd name="connsiteX495" fmla="*/ 274291 w 481145"/>
                <a:gd name="connsiteY495" fmla="*/ 2562 h 320544"/>
                <a:gd name="connsiteX496" fmla="*/ 275472 w 481145"/>
                <a:gd name="connsiteY496" fmla="*/ 2019 h 320544"/>
                <a:gd name="connsiteX497" fmla="*/ 277406 w 481145"/>
                <a:gd name="connsiteY497" fmla="*/ 1962 h 320544"/>
                <a:gd name="connsiteX498" fmla="*/ 281082 w 481145"/>
                <a:gd name="connsiteY498" fmla="*/ 3248 h 320544"/>
                <a:gd name="connsiteX499" fmla="*/ 285388 w 481145"/>
                <a:gd name="connsiteY499" fmla="*/ 4400 h 320544"/>
                <a:gd name="connsiteX500" fmla="*/ 287884 w 481145"/>
                <a:gd name="connsiteY500" fmla="*/ 4238 h 320544"/>
                <a:gd name="connsiteX501" fmla="*/ 294532 w 481145"/>
                <a:gd name="connsiteY501" fmla="*/ 571 h 320544"/>
                <a:gd name="connsiteX502" fmla="*/ 298237 w 481145"/>
                <a:gd name="connsiteY502" fmla="*/ 0 h 320544"/>
                <a:gd name="connsiteX503" fmla="*/ 302637 w 481145"/>
                <a:gd name="connsiteY503" fmla="*/ 857 h 320544"/>
                <a:gd name="connsiteX504" fmla="*/ 306962 w 481145"/>
                <a:gd name="connsiteY504" fmla="*/ 905 h 320544"/>
                <a:gd name="connsiteX505" fmla="*/ 310219 w 481145"/>
                <a:gd name="connsiteY505" fmla="*/ 371 h 320544"/>
                <a:gd name="connsiteX506" fmla="*/ 312458 w 481145"/>
                <a:gd name="connsiteY506" fmla="*/ 1638 h 320544"/>
                <a:gd name="connsiteX507" fmla="*/ 315220 w 481145"/>
                <a:gd name="connsiteY507" fmla="*/ 4438 h 320544"/>
                <a:gd name="connsiteX508" fmla="*/ 317716 w 481145"/>
                <a:gd name="connsiteY508" fmla="*/ 8591 h 320544"/>
                <a:gd name="connsiteX509" fmla="*/ 320325 w 481145"/>
                <a:gd name="connsiteY509" fmla="*/ 16240 h 320544"/>
                <a:gd name="connsiteX510" fmla="*/ 327936 w 481145"/>
                <a:gd name="connsiteY510" fmla="*/ 24841 h 320544"/>
                <a:gd name="connsiteX511" fmla="*/ 328060 w 481145"/>
                <a:gd name="connsiteY511" fmla="*/ 26518 h 320544"/>
                <a:gd name="connsiteX512" fmla="*/ 327440 w 481145"/>
                <a:gd name="connsiteY512" fmla="*/ 27594 h 320544"/>
                <a:gd name="connsiteX513" fmla="*/ 323697 w 481145"/>
                <a:gd name="connsiteY513" fmla="*/ 28632 h 320544"/>
                <a:gd name="connsiteX514" fmla="*/ 320535 w 481145"/>
                <a:gd name="connsiteY514" fmla="*/ 29194 h 320544"/>
                <a:gd name="connsiteX515" fmla="*/ 320383 w 481145"/>
                <a:gd name="connsiteY515" fmla="*/ 30661 h 320544"/>
                <a:gd name="connsiteX516" fmla="*/ 321221 w 481145"/>
                <a:gd name="connsiteY516" fmla="*/ 32252 h 320544"/>
                <a:gd name="connsiteX517" fmla="*/ 322669 w 481145"/>
                <a:gd name="connsiteY517" fmla="*/ 34576 h 320544"/>
                <a:gd name="connsiteX518" fmla="*/ 322888 w 481145"/>
                <a:gd name="connsiteY518" fmla="*/ 37567 h 320544"/>
                <a:gd name="connsiteX519" fmla="*/ 322812 w 481145"/>
                <a:gd name="connsiteY519" fmla="*/ 40310 h 320544"/>
                <a:gd name="connsiteX520" fmla="*/ 323431 w 481145"/>
                <a:gd name="connsiteY520" fmla="*/ 42729 h 320544"/>
                <a:gd name="connsiteX521" fmla="*/ 324640 w 481145"/>
                <a:gd name="connsiteY521" fmla="*/ 43720 h 320544"/>
                <a:gd name="connsiteX522" fmla="*/ 324793 w 481145"/>
                <a:gd name="connsiteY522" fmla="*/ 44929 h 320544"/>
                <a:gd name="connsiteX523" fmla="*/ 323402 w 481145"/>
                <a:gd name="connsiteY523" fmla="*/ 46415 h 320544"/>
                <a:gd name="connsiteX524" fmla="*/ 323012 w 481145"/>
                <a:gd name="connsiteY524" fmla="*/ 47330 h 320544"/>
                <a:gd name="connsiteX525" fmla="*/ 323555 w 481145"/>
                <a:gd name="connsiteY525" fmla="*/ 47825 h 320544"/>
                <a:gd name="connsiteX526" fmla="*/ 330422 w 481145"/>
                <a:gd name="connsiteY526" fmla="*/ 48111 h 320544"/>
                <a:gd name="connsiteX527" fmla="*/ 333784 w 481145"/>
                <a:gd name="connsiteY527" fmla="*/ 49549 h 320544"/>
                <a:gd name="connsiteX528" fmla="*/ 336337 w 481145"/>
                <a:gd name="connsiteY528" fmla="*/ 50863 h 320544"/>
                <a:gd name="connsiteX529" fmla="*/ 337623 w 481145"/>
                <a:gd name="connsiteY529" fmla="*/ 50987 h 320544"/>
                <a:gd name="connsiteX530" fmla="*/ 340519 w 481145"/>
                <a:gd name="connsiteY530" fmla="*/ 50149 h 320544"/>
                <a:gd name="connsiteX531" fmla="*/ 343776 w 481145"/>
                <a:gd name="connsiteY531" fmla="*/ 49616 h 320544"/>
                <a:gd name="connsiteX532" fmla="*/ 345748 w 481145"/>
                <a:gd name="connsiteY532" fmla="*/ 49539 h 320544"/>
                <a:gd name="connsiteX533" fmla="*/ 346510 w 481145"/>
                <a:gd name="connsiteY533" fmla="*/ 50511 h 320544"/>
                <a:gd name="connsiteX534" fmla="*/ 347120 w 481145"/>
                <a:gd name="connsiteY534" fmla="*/ 53054 h 320544"/>
                <a:gd name="connsiteX535" fmla="*/ 348262 w 481145"/>
                <a:gd name="connsiteY535" fmla="*/ 55597 h 320544"/>
                <a:gd name="connsiteX536" fmla="*/ 349329 w 481145"/>
                <a:gd name="connsiteY536" fmla="*/ 56321 h 320544"/>
                <a:gd name="connsiteX537" fmla="*/ 351234 w 481145"/>
                <a:gd name="connsiteY537" fmla="*/ 56197 h 320544"/>
                <a:gd name="connsiteX538" fmla="*/ 352377 w 481145"/>
                <a:gd name="connsiteY538" fmla="*/ 56321 h 320544"/>
                <a:gd name="connsiteX539" fmla="*/ 352987 w 481145"/>
                <a:gd name="connsiteY539" fmla="*/ 57283 h 320544"/>
                <a:gd name="connsiteX540" fmla="*/ 352301 w 481145"/>
                <a:gd name="connsiteY540" fmla="*/ 58731 h 320544"/>
                <a:gd name="connsiteX541" fmla="*/ 352454 w 481145"/>
                <a:gd name="connsiteY541" fmla="*/ 60303 h 320544"/>
                <a:gd name="connsiteX542" fmla="*/ 353291 w 481145"/>
                <a:gd name="connsiteY542" fmla="*/ 62227 h 320544"/>
                <a:gd name="connsiteX543" fmla="*/ 354282 w 481145"/>
                <a:gd name="connsiteY543" fmla="*/ 66675 h 320544"/>
                <a:gd name="connsiteX544" fmla="*/ 355196 w 481145"/>
                <a:gd name="connsiteY544" fmla="*/ 67999 h 320544"/>
                <a:gd name="connsiteX545" fmla="*/ 355806 w 481145"/>
                <a:gd name="connsiteY545" fmla="*/ 69675 h 320544"/>
                <a:gd name="connsiteX546" fmla="*/ 355806 w 481145"/>
                <a:gd name="connsiteY546" fmla="*/ 71599 h 320544"/>
                <a:gd name="connsiteX547" fmla="*/ 355044 w 481145"/>
                <a:gd name="connsiteY547" fmla="*/ 73276 h 320544"/>
                <a:gd name="connsiteX548" fmla="*/ 354511 w 481145"/>
                <a:gd name="connsiteY548" fmla="*/ 74590 h 320544"/>
                <a:gd name="connsiteX549" fmla="*/ 355044 w 481145"/>
                <a:gd name="connsiteY549" fmla="*/ 77581 h 320544"/>
                <a:gd name="connsiteX550" fmla="*/ 357101 w 481145"/>
                <a:gd name="connsiteY550" fmla="*/ 80924 h 320544"/>
                <a:gd name="connsiteX551" fmla="*/ 358625 w 481145"/>
                <a:gd name="connsiteY551" fmla="*/ 81753 h 320544"/>
                <a:gd name="connsiteX552" fmla="*/ 359845 w 481145"/>
                <a:gd name="connsiteY552" fmla="*/ 84734 h 320544"/>
                <a:gd name="connsiteX553" fmla="*/ 362055 w 481145"/>
                <a:gd name="connsiteY553" fmla="*/ 85687 h 320544"/>
                <a:gd name="connsiteX554" fmla="*/ 365331 w 481145"/>
                <a:gd name="connsiteY554" fmla="*/ 83182 h 320544"/>
                <a:gd name="connsiteX555" fmla="*/ 367846 w 481145"/>
                <a:gd name="connsiteY555" fmla="*/ 81867 h 320544"/>
                <a:gd name="connsiteX556" fmla="*/ 370989 w 481145"/>
                <a:gd name="connsiteY556" fmla="*/ 82601 h 320544"/>
                <a:gd name="connsiteX557" fmla="*/ 373894 w 481145"/>
                <a:gd name="connsiteY557" fmla="*/ 83067 h 320544"/>
                <a:gd name="connsiteX558" fmla="*/ 375847 w 481145"/>
                <a:gd name="connsiteY558" fmla="*/ 84772 h 320544"/>
                <a:gd name="connsiteX559" fmla="*/ 377285 w 481145"/>
                <a:gd name="connsiteY559" fmla="*/ 87116 h 320544"/>
                <a:gd name="connsiteX560" fmla="*/ 378961 w 481145"/>
                <a:gd name="connsiteY560" fmla="*/ 88420 h 320544"/>
                <a:gd name="connsiteX561" fmla="*/ 380638 w 481145"/>
                <a:gd name="connsiteY561" fmla="*/ 87735 h 320544"/>
                <a:gd name="connsiteX562" fmla="*/ 384134 w 481145"/>
                <a:gd name="connsiteY562" fmla="*/ 88420 h 320544"/>
                <a:gd name="connsiteX563" fmla="*/ 385733 w 481145"/>
                <a:gd name="connsiteY563" fmla="*/ 90316 h 320544"/>
                <a:gd name="connsiteX564" fmla="*/ 387334 w 481145"/>
                <a:gd name="connsiteY564" fmla="*/ 91383 h 320544"/>
                <a:gd name="connsiteX565" fmla="*/ 389391 w 481145"/>
                <a:gd name="connsiteY565" fmla="*/ 89840 h 320544"/>
                <a:gd name="connsiteX566" fmla="*/ 391067 w 481145"/>
                <a:gd name="connsiteY566" fmla="*/ 87935 h 320544"/>
                <a:gd name="connsiteX567" fmla="*/ 397202 w 481145"/>
                <a:gd name="connsiteY567" fmla="*/ 85944 h 320544"/>
                <a:gd name="connsiteX568" fmla="*/ 401012 w 481145"/>
                <a:gd name="connsiteY568" fmla="*/ 85449 h 320544"/>
                <a:gd name="connsiteX569" fmla="*/ 402078 w 481145"/>
                <a:gd name="connsiteY569" fmla="*/ 85058 h 320544"/>
                <a:gd name="connsiteX570" fmla="*/ 404317 w 481145"/>
                <a:gd name="connsiteY570" fmla="*/ 83629 h 320544"/>
                <a:gd name="connsiteX571" fmla="*/ 406679 w 481145"/>
                <a:gd name="connsiteY571" fmla="*/ 82677 h 320544"/>
                <a:gd name="connsiteX572" fmla="*/ 408803 w 481145"/>
                <a:gd name="connsiteY572" fmla="*/ 82934 h 320544"/>
                <a:gd name="connsiteX573" fmla="*/ 410899 w 481145"/>
                <a:gd name="connsiteY573" fmla="*/ 85896 h 320544"/>
                <a:gd name="connsiteX574" fmla="*/ 413070 w 481145"/>
                <a:gd name="connsiteY574" fmla="*/ 87935 h 320544"/>
                <a:gd name="connsiteX575" fmla="*/ 413680 w 481145"/>
                <a:gd name="connsiteY575" fmla="*/ 91145 h 320544"/>
                <a:gd name="connsiteX576" fmla="*/ 416328 w 481145"/>
                <a:gd name="connsiteY576" fmla="*/ 95545 h 320544"/>
                <a:gd name="connsiteX577" fmla="*/ 422910 w 481145"/>
                <a:gd name="connsiteY577" fmla="*/ 101555 h 320544"/>
                <a:gd name="connsiteX578" fmla="*/ 425491 w 481145"/>
                <a:gd name="connsiteY578" fmla="*/ 103384 h 320544"/>
                <a:gd name="connsiteX579" fmla="*/ 427244 w 481145"/>
                <a:gd name="connsiteY579" fmla="*/ 103060 h 320544"/>
                <a:gd name="connsiteX580" fmla="*/ 428158 w 481145"/>
                <a:gd name="connsiteY580" fmla="*/ 102584 h 320544"/>
                <a:gd name="connsiteX581" fmla="*/ 428587 w 481145"/>
                <a:gd name="connsiteY581" fmla="*/ 101955 h 320544"/>
                <a:gd name="connsiteX582" fmla="*/ 428987 w 481145"/>
                <a:gd name="connsiteY582" fmla="*/ 99012 h 320544"/>
                <a:gd name="connsiteX583" fmla="*/ 429816 w 481145"/>
                <a:gd name="connsiteY583" fmla="*/ 97926 h 320544"/>
                <a:gd name="connsiteX584" fmla="*/ 431149 w 481145"/>
                <a:gd name="connsiteY584" fmla="*/ 97898 h 320544"/>
                <a:gd name="connsiteX585" fmla="*/ 436302 w 481145"/>
                <a:gd name="connsiteY585" fmla="*/ 101555 h 320544"/>
                <a:gd name="connsiteX586" fmla="*/ 438998 w 481145"/>
                <a:gd name="connsiteY586" fmla="*/ 101955 h 320544"/>
                <a:gd name="connsiteX587" fmla="*/ 441560 w 481145"/>
                <a:gd name="connsiteY587" fmla="*/ 102022 h 320544"/>
                <a:gd name="connsiteX588" fmla="*/ 445008 w 481145"/>
                <a:gd name="connsiteY588" fmla="*/ 104860 h 320544"/>
                <a:gd name="connsiteX589" fmla="*/ 448789 w 481145"/>
                <a:gd name="connsiteY589" fmla="*/ 107327 h 320544"/>
                <a:gd name="connsiteX590" fmla="*/ 451713 w 481145"/>
                <a:gd name="connsiteY590" fmla="*/ 107585 h 320544"/>
                <a:gd name="connsiteX591" fmla="*/ 454047 w 481145"/>
                <a:gd name="connsiteY591" fmla="*/ 106613 h 320544"/>
                <a:gd name="connsiteX592" fmla="*/ 455647 w 481145"/>
                <a:gd name="connsiteY592" fmla="*/ 106023 h 320544"/>
                <a:gd name="connsiteX593" fmla="*/ 456638 w 481145"/>
                <a:gd name="connsiteY593" fmla="*/ 106966 h 320544"/>
                <a:gd name="connsiteX594" fmla="*/ 457552 w 481145"/>
                <a:gd name="connsiteY594" fmla="*/ 109090 h 320544"/>
                <a:gd name="connsiteX595" fmla="*/ 459076 w 481145"/>
                <a:gd name="connsiteY595" fmla="*/ 110737 h 320544"/>
                <a:gd name="connsiteX596" fmla="*/ 460829 w 481145"/>
                <a:gd name="connsiteY596" fmla="*/ 111204 h 320544"/>
                <a:gd name="connsiteX597" fmla="*/ 463353 w 481145"/>
                <a:gd name="connsiteY597" fmla="*/ 111309 h 320544"/>
                <a:gd name="connsiteX598" fmla="*/ 467734 w 481145"/>
                <a:gd name="connsiteY598" fmla="*/ 114490 h 320544"/>
                <a:gd name="connsiteX599" fmla="*/ 471849 w 481145"/>
                <a:gd name="connsiteY599" fmla="*/ 117729 h 320544"/>
                <a:gd name="connsiteX600" fmla="*/ 474421 w 481145"/>
                <a:gd name="connsiteY600" fmla="*/ 117910 h 320544"/>
                <a:gd name="connsiteX601" fmla="*/ 476602 w 481145"/>
                <a:gd name="connsiteY601" fmla="*/ 116957 h 320544"/>
                <a:gd name="connsiteX602" fmla="*/ 478526 w 481145"/>
                <a:gd name="connsiteY602" fmla="*/ 116710 h 320544"/>
                <a:gd name="connsiteX603" fmla="*/ 479869 w 481145"/>
                <a:gd name="connsiteY603" fmla="*/ 117529 h 320544"/>
                <a:gd name="connsiteX604" fmla="*/ 480250 w 481145"/>
                <a:gd name="connsiteY604" fmla="*/ 118929 h 320544"/>
                <a:gd name="connsiteX605" fmla="*/ 479260 w 481145"/>
                <a:gd name="connsiteY605" fmla="*/ 120805 h 320544"/>
                <a:gd name="connsiteX606" fmla="*/ 479260 w 481145"/>
                <a:gd name="connsiteY606" fmla="*/ 123492 h 320544"/>
                <a:gd name="connsiteX607" fmla="*/ 481089 w 481145"/>
                <a:gd name="connsiteY607" fmla="*/ 126063 h 320544"/>
                <a:gd name="connsiteX608" fmla="*/ 481146 w 481145"/>
                <a:gd name="connsiteY608" fmla="*/ 128588 h 320544"/>
                <a:gd name="connsiteX609" fmla="*/ 480622 w 481145"/>
                <a:gd name="connsiteY609" fmla="*/ 130864 h 320544"/>
                <a:gd name="connsiteX610" fmla="*/ 479584 w 481145"/>
                <a:gd name="connsiteY610" fmla="*/ 132959 h 320544"/>
                <a:gd name="connsiteX611" fmla="*/ 477078 w 481145"/>
                <a:gd name="connsiteY611" fmla="*/ 135836 h 320544"/>
                <a:gd name="connsiteX612" fmla="*/ 474764 w 481145"/>
                <a:gd name="connsiteY612" fmla="*/ 138512 h 320544"/>
                <a:gd name="connsiteX613" fmla="*/ 471287 w 481145"/>
                <a:gd name="connsiteY613" fmla="*/ 139627 h 320544"/>
                <a:gd name="connsiteX614" fmla="*/ 469335 w 481145"/>
                <a:gd name="connsiteY614" fmla="*/ 140798 h 320544"/>
                <a:gd name="connsiteX615" fmla="*/ 469849 w 481145"/>
                <a:gd name="connsiteY615" fmla="*/ 142760 h 320544"/>
                <a:gd name="connsiteX616" fmla="*/ 471125 w 481145"/>
                <a:gd name="connsiteY616" fmla="*/ 144589 h 320544"/>
                <a:gd name="connsiteX617" fmla="*/ 474078 w 481145"/>
                <a:gd name="connsiteY617" fmla="*/ 146066 h 320544"/>
                <a:gd name="connsiteX618" fmla="*/ 477431 w 481145"/>
                <a:gd name="connsiteY618" fmla="*/ 147142 h 320544"/>
                <a:gd name="connsiteX619" fmla="*/ 477821 w 481145"/>
                <a:gd name="connsiteY619" fmla="*/ 148333 h 320544"/>
                <a:gd name="connsiteX620" fmla="*/ 477307 w 481145"/>
                <a:gd name="connsiteY620" fmla="*/ 148933 h 320544"/>
                <a:gd name="connsiteX621" fmla="*/ 475154 w 481145"/>
                <a:gd name="connsiteY621" fmla="*/ 149485 h 320544"/>
                <a:gd name="connsiteX622" fmla="*/ 472183 w 481145"/>
                <a:gd name="connsiteY622" fmla="*/ 148923 h 320544"/>
                <a:gd name="connsiteX623" fmla="*/ 471192 w 481145"/>
                <a:gd name="connsiteY623" fmla="*/ 149961 h 320544"/>
                <a:gd name="connsiteX624" fmla="*/ 469820 w 481145"/>
                <a:gd name="connsiteY624" fmla="*/ 151686 h 320544"/>
                <a:gd name="connsiteX625" fmla="*/ 468906 w 481145"/>
                <a:gd name="connsiteY625" fmla="*/ 154791 h 320544"/>
                <a:gd name="connsiteX626" fmla="*/ 468220 w 481145"/>
                <a:gd name="connsiteY626" fmla="*/ 157667 h 320544"/>
                <a:gd name="connsiteX627" fmla="*/ 471449 w 481145"/>
                <a:gd name="connsiteY627" fmla="*/ 158448 h 320544"/>
                <a:gd name="connsiteX628" fmla="*/ 473326 w 481145"/>
                <a:gd name="connsiteY628" fmla="*/ 159620 h 320544"/>
                <a:gd name="connsiteX629" fmla="*/ 473916 w 481145"/>
                <a:gd name="connsiteY629" fmla="*/ 161972 h 320544"/>
                <a:gd name="connsiteX630" fmla="*/ 474583 w 481145"/>
                <a:gd name="connsiteY630" fmla="*/ 164592 h 320544"/>
                <a:gd name="connsiteX631" fmla="*/ 474783 w 481145"/>
                <a:gd name="connsiteY631" fmla="*/ 166944 h 320544"/>
                <a:gd name="connsiteX632" fmla="*/ 473716 w 481145"/>
                <a:gd name="connsiteY632" fmla="*/ 168087 h 320544"/>
                <a:gd name="connsiteX633" fmla="*/ 473650 w 481145"/>
                <a:gd name="connsiteY633" fmla="*/ 169259 h 320544"/>
                <a:gd name="connsiteX634" fmla="*/ 474154 w 481145"/>
                <a:gd name="connsiteY634" fmla="*/ 169840 h 320544"/>
                <a:gd name="connsiteX635" fmla="*/ 475545 w 481145"/>
                <a:gd name="connsiteY635" fmla="*/ 170097 h 320544"/>
                <a:gd name="connsiteX636" fmla="*/ 476602 w 481145"/>
                <a:gd name="connsiteY636" fmla="*/ 170621 h 320544"/>
                <a:gd name="connsiteX637" fmla="*/ 476688 w 481145"/>
                <a:gd name="connsiteY637" fmla="*/ 171860 h 320544"/>
                <a:gd name="connsiteX638" fmla="*/ 474659 w 481145"/>
                <a:gd name="connsiteY638" fmla="*/ 174641 h 320544"/>
                <a:gd name="connsiteX639" fmla="*/ 472764 w 481145"/>
                <a:gd name="connsiteY639" fmla="*/ 179956 h 320544"/>
                <a:gd name="connsiteX640" fmla="*/ 471744 w 481145"/>
                <a:gd name="connsiteY640" fmla="*/ 182775 h 320544"/>
                <a:gd name="connsiteX641" fmla="*/ 471821 w 481145"/>
                <a:gd name="connsiteY641" fmla="*/ 185833 h 320544"/>
                <a:gd name="connsiteX642" fmla="*/ 470678 w 481145"/>
                <a:gd name="connsiteY642" fmla="*/ 187528 h 320544"/>
                <a:gd name="connsiteX643" fmla="*/ 468573 w 481145"/>
                <a:gd name="connsiteY643" fmla="*/ 187747 h 320544"/>
                <a:gd name="connsiteX644" fmla="*/ 461429 w 481145"/>
                <a:gd name="connsiteY644" fmla="*/ 188042 h 320544"/>
                <a:gd name="connsiteX645" fmla="*/ 455209 w 481145"/>
                <a:gd name="connsiteY645" fmla="*/ 187890 h 320544"/>
                <a:gd name="connsiteX646" fmla="*/ 452523 w 481145"/>
                <a:gd name="connsiteY646" fmla="*/ 187452 h 320544"/>
                <a:gd name="connsiteX647" fmla="*/ 448313 w 481145"/>
                <a:gd name="connsiteY647" fmla="*/ 187185 h 320544"/>
                <a:gd name="connsiteX648" fmla="*/ 446227 w 481145"/>
                <a:gd name="connsiteY648" fmla="*/ 187909 h 320544"/>
                <a:gd name="connsiteX649" fmla="*/ 443465 w 481145"/>
                <a:gd name="connsiteY649" fmla="*/ 192786 h 320544"/>
                <a:gd name="connsiteX650" fmla="*/ 441369 w 481145"/>
                <a:gd name="connsiteY650" fmla="*/ 194691 h 320544"/>
                <a:gd name="connsiteX651" fmla="*/ 437912 w 481145"/>
                <a:gd name="connsiteY651" fmla="*/ 196415 h 320544"/>
                <a:gd name="connsiteX652" fmla="*/ 434111 w 481145"/>
                <a:gd name="connsiteY652" fmla="*/ 196910 h 320544"/>
                <a:gd name="connsiteX653" fmla="*/ 431930 w 481145"/>
                <a:gd name="connsiteY653" fmla="*/ 198911 h 320544"/>
                <a:gd name="connsiteX654" fmla="*/ 431159 w 481145"/>
                <a:gd name="connsiteY654" fmla="*/ 202054 h 320544"/>
                <a:gd name="connsiteX655" fmla="*/ 431101 w 481145"/>
                <a:gd name="connsiteY655" fmla="*/ 204835 h 320544"/>
                <a:gd name="connsiteX656" fmla="*/ 430749 w 481145"/>
                <a:gd name="connsiteY656" fmla="*/ 206226 h 320544"/>
                <a:gd name="connsiteX657" fmla="*/ 429930 w 481145"/>
                <a:gd name="connsiteY657" fmla="*/ 207445 h 320544"/>
                <a:gd name="connsiteX658" fmla="*/ 429634 w 481145"/>
                <a:gd name="connsiteY658" fmla="*/ 208312 h 320544"/>
                <a:gd name="connsiteX659" fmla="*/ 429816 w 481145"/>
                <a:gd name="connsiteY659" fmla="*/ 209264 h 320544"/>
                <a:gd name="connsiteX660" fmla="*/ 430701 w 481145"/>
                <a:gd name="connsiteY660" fmla="*/ 209607 h 320544"/>
                <a:gd name="connsiteX661" fmla="*/ 431759 w 481145"/>
                <a:gd name="connsiteY661" fmla="*/ 210045 h 320544"/>
                <a:gd name="connsiteX662" fmla="*/ 431759 w 481145"/>
                <a:gd name="connsiteY662" fmla="*/ 210731 h 320544"/>
                <a:gd name="connsiteX663" fmla="*/ 431349 w 481145"/>
                <a:gd name="connsiteY663" fmla="*/ 211598 h 320544"/>
                <a:gd name="connsiteX664" fmla="*/ 430168 w 481145"/>
                <a:gd name="connsiteY664" fmla="*/ 212550 h 320544"/>
                <a:gd name="connsiteX665" fmla="*/ 429634 w 481145"/>
                <a:gd name="connsiteY665" fmla="*/ 214017 h 320544"/>
                <a:gd name="connsiteX666" fmla="*/ 429758 w 481145"/>
                <a:gd name="connsiteY666" fmla="*/ 215579 h 320544"/>
                <a:gd name="connsiteX667" fmla="*/ 429977 w 481145"/>
                <a:gd name="connsiteY667" fmla="*/ 217303 h 320544"/>
                <a:gd name="connsiteX668" fmla="*/ 264185 w 481145"/>
                <a:gd name="connsiteY668" fmla="*/ 251755 h 320544"/>
                <a:gd name="connsiteX669" fmla="*/ 267871 w 481145"/>
                <a:gd name="connsiteY669" fmla="*/ 253651 h 320544"/>
                <a:gd name="connsiteX670" fmla="*/ 264109 w 481145"/>
                <a:gd name="connsiteY670" fmla="*/ 253146 h 320544"/>
                <a:gd name="connsiteX671" fmla="*/ 255851 w 481145"/>
                <a:gd name="connsiteY671" fmla="*/ 251365 h 320544"/>
                <a:gd name="connsiteX672" fmla="*/ 252203 w 481145"/>
                <a:gd name="connsiteY672" fmla="*/ 249679 h 320544"/>
                <a:gd name="connsiteX673" fmla="*/ 251260 w 481145"/>
                <a:gd name="connsiteY673" fmla="*/ 247793 h 320544"/>
                <a:gd name="connsiteX674" fmla="*/ 250727 w 481145"/>
                <a:gd name="connsiteY674" fmla="*/ 245221 h 320544"/>
                <a:gd name="connsiteX675" fmla="*/ 252765 w 481145"/>
                <a:gd name="connsiteY675" fmla="*/ 247917 h 320544"/>
                <a:gd name="connsiteX676" fmla="*/ 254193 w 481145"/>
                <a:gd name="connsiteY676" fmla="*/ 249098 h 320544"/>
                <a:gd name="connsiteX677" fmla="*/ 264185 w 481145"/>
                <a:gd name="connsiteY677" fmla="*/ 251755 h 32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</a:cxnLst>
              <a:rect l="l" t="t" r="r" b="b"/>
              <a:pathLst>
                <a:path w="481145" h="320544">
                  <a:moveTo>
                    <a:pt x="429977" y="217303"/>
                  </a:moveTo>
                  <a:lnTo>
                    <a:pt x="429006" y="217741"/>
                  </a:lnTo>
                  <a:lnTo>
                    <a:pt x="419662" y="217132"/>
                  </a:lnTo>
                  <a:lnTo>
                    <a:pt x="412032" y="217961"/>
                  </a:lnTo>
                  <a:lnTo>
                    <a:pt x="406593" y="224123"/>
                  </a:lnTo>
                  <a:lnTo>
                    <a:pt x="403355" y="224104"/>
                  </a:lnTo>
                  <a:lnTo>
                    <a:pt x="398793" y="225704"/>
                  </a:lnTo>
                  <a:lnTo>
                    <a:pt x="395697" y="227695"/>
                  </a:lnTo>
                  <a:lnTo>
                    <a:pt x="392030" y="232000"/>
                  </a:lnTo>
                  <a:lnTo>
                    <a:pt x="389191" y="230067"/>
                  </a:lnTo>
                  <a:lnTo>
                    <a:pt x="385715" y="230124"/>
                  </a:lnTo>
                  <a:lnTo>
                    <a:pt x="382324" y="231295"/>
                  </a:lnTo>
                  <a:lnTo>
                    <a:pt x="378247" y="234172"/>
                  </a:lnTo>
                  <a:lnTo>
                    <a:pt x="375980" y="234677"/>
                  </a:lnTo>
                  <a:lnTo>
                    <a:pt x="371446" y="233858"/>
                  </a:lnTo>
                  <a:lnTo>
                    <a:pt x="366160" y="235505"/>
                  </a:lnTo>
                  <a:lnTo>
                    <a:pt x="354749" y="244907"/>
                  </a:lnTo>
                  <a:lnTo>
                    <a:pt x="350910" y="251755"/>
                  </a:lnTo>
                  <a:lnTo>
                    <a:pt x="349510" y="253089"/>
                  </a:lnTo>
                  <a:lnTo>
                    <a:pt x="347586" y="254756"/>
                  </a:lnTo>
                  <a:lnTo>
                    <a:pt x="345528" y="255594"/>
                  </a:lnTo>
                  <a:lnTo>
                    <a:pt x="344443" y="255518"/>
                  </a:lnTo>
                  <a:lnTo>
                    <a:pt x="349882" y="250660"/>
                  </a:lnTo>
                  <a:lnTo>
                    <a:pt x="351548" y="248841"/>
                  </a:lnTo>
                  <a:lnTo>
                    <a:pt x="351834" y="247497"/>
                  </a:lnTo>
                  <a:lnTo>
                    <a:pt x="351863" y="245316"/>
                  </a:lnTo>
                  <a:lnTo>
                    <a:pt x="350215" y="242611"/>
                  </a:lnTo>
                  <a:lnTo>
                    <a:pt x="345767" y="249307"/>
                  </a:lnTo>
                  <a:lnTo>
                    <a:pt x="343242" y="250279"/>
                  </a:lnTo>
                  <a:lnTo>
                    <a:pt x="340033" y="252289"/>
                  </a:lnTo>
                  <a:lnTo>
                    <a:pt x="339871" y="256756"/>
                  </a:lnTo>
                  <a:lnTo>
                    <a:pt x="340242" y="260070"/>
                  </a:lnTo>
                  <a:lnTo>
                    <a:pt x="341556" y="264233"/>
                  </a:lnTo>
                  <a:lnTo>
                    <a:pt x="344662" y="271024"/>
                  </a:lnTo>
                  <a:lnTo>
                    <a:pt x="351005" y="280692"/>
                  </a:lnTo>
                  <a:lnTo>
                    <a:pt x="354044" y="284235"/>
                  </a:lnTo>
                  <a:lnTo>
                    <a:pt x="356273" y="285645"/>
                  </a:lnTo>
                  <a:lnTo>
                    <a:pt x="358959" y="285845"/>
                  </a:lnTo>
                  <a:lnTo>
                    <a:pt x="364121" y="282864"/>
                  </a:lnTo>
                  <a:lnTo>
                    <a:pt x="366322" y="282397"/>
                  </a:lnTo>
                  <a:lnTo>
                    <a:pt x="371122" y="283531"/>
                  </a:lnTo>
                  <a:lnTo>
                    <a:pt x="372837" y="281549"/>
                  </a:lnTo>
                  <a:lnTo>
                    <a:pt x="375332" y="280445"/>
                  </a:lnTo>
                  <a:lnTo>
                    <a:pt x="378533" y="280302"/>
                  </a:lnTo>
                  <a:lnTo>
                    <a:pt x="382191" y="281197"/>
                  </a:lnTo>
                  <a:lnTo>
                    <a:pt x="386153" y="282702"/>
                  </a:lnTo>
                  <a:lnTo>
                    <a:pt x="384524" y="286102"/>
                  </a:lnTo>
                  <a:lnTo>
                    <a:pt x="382828" y="288807"/>
                  </a:lnTo>
                  <a:lnTo>
                    <a:pt x="382228" y="291798"/>
                  </a:lnTo>
                  <a:lnTo>
                    <a:pt x="381285" y="295122"/>
                  </a:lnTo>
                  <a:lnTo>
                    <a:pt x="376914" y="296608"/>
                  </a:lnTo>
                  <a:lnTo>
                    <a:pt x="372237" y="296428"/>
                  </a:lnTo>
                  <a:lnTo>
                    <a:pt x="367303" y="297389"/>
                  </a:lnTo>
                  <a:lnTo>
                    <a:pt x="365522" y="296103"/>
                  </a:lnTo>
                  <a:lnTo>
                    <a:pt x="364341" y="294922"/>
                  </a:lnTo>
                  <a:lnTo>
                    <a:pt x="362150" y="293741"/>
                  </a:lnTo>
                  <a:lnTo>
                    <a:pt x="359264" y="293094"/>
                  </a:lnTo>
                  <a:lnTo>
                    <a:pt x="356673" y="293884"/>
                  </a:lnTo>
                  <a:lnTo>
                    <a:pt x="353606" y="298409"/>
                  </a:lnTo>
                  <a:lnTo>
                    <a:pt x="348176" y="301495"/>
                  </a:lnTo>
                  <a:lnTo>
                    <a:pt x="346386" y="305019"/>
                  </a:lnTo>
                  <a:lnTo>
                    <a:pt x="341043" y="304229"/>
                  </a:lnTo>
                  <a:lnTo>
                    <a:pt x="336470" y="304847"/>
                  </a:lnTo>
                  <a:lnTo>
                    <a:pt x="329869" y="308057"/>
                  </a:lnTo>
                  <a:lnTo>
                    <a:pt x="324840" y="314915"/>
                  </a:lnTo>
                  <a:lnTo>
                    <a:pt x="319297" y="319192"/>
                  </a:lnTo>
                  <a:lnTo>
                    <a:pt x="314906" y="320545"/>
                  </a:lnTo>
                  <a:lnTo>
                    <a:pt x="310782" y="320126"/>
                  </a:lnTo>
                  <a:lnTo>
                    <a:pt x="308114" y="318849"/>
                  </a:lnTo>
                  <a:lnTo>
                    <a:pt x="302628" y="314354"/>
                  </a:lnTo>
                  <a:lnTo>
                    <a:pt x="302952" y="312744"/>
                  </a:lnTo>
                  <a:lnTo>
                    <a:pt x="303714" y="311934"/>
                  </a:lnTo>
                  <a:lnTo>
                    <a:pt x="304752" y="309610"/>
                  </a:lnTo>
                  <a:lnTo>
                    <a:pt x="306943" y="301076"/>
                  </a:lnTo>
                  <a:lnTo>
                    <a:pt x="306648" y="298294"/>
                  </a:lnTo>
                  <a:lnTo>
                    <a:pt x="305419" y="293922"/>
                  </a:lnTo>
                  <a:lnTo>
                    <a:pt x="301066" y="290513"/>
                  </a:lnTo>
                  <a:lnTo>
                    <a:pt x="297570" y="291160"/>
                  </a:lnTo>
                  <a:lnTo>
                    <a:pt x="295580" y="290255"/>
                  </a:lnTo>
                  <a:lnTo>
                    <a:pt x="288407" y="284445"/>
                  </a:lnTo>
                  <a:lnTo>
                    <a:pt x="284502" y="284035"/>
                  </a:lnTo>
                  <a:lnTo>
                    <a:pt x="280187" y="285207"/>
                  </a:lnTo>
                  <a:lnTo>
                    <a:pt x="278596" y="284359"/>
                  </a:lnTo>
                  <a:lnTo>
                    <a:pt x="277425" y="282330"/>
                  </a:lnTo>
                  <a:lnTo>
                    <a:pt x="285978" y="275139"/>
                  </a:lnTo>
                  <a:lnTo>
                    <a:pt x="294379" y="269186"/>
                  </a:lnTo>
                  <a:lnTo>
                    <a:pt x="298066" y="268576"/>
                  </a:lnTo>
                  <a:lnTo>
                    <a:pt x="303037" y="265795"/>
                  </a:lnTo>
                  <a:lnTo>
                    <a:pt x="308353" y="261623"/>
                  </a:lnTo>
                  <a:lnTo>
                    <a:pt x="307600" y="258337"/>
                  </a:lnTo>
                  <a:lnTo>
                    <a:pt x="306457" y="255899"/>
                  </a:lnTo>
                  <a:lnTo>
                    <a:pt x="303914" y="256565"/>
                  </a:lnTo>
                  <a:lnTo>
                    <a:pt x="302066" y="257375"/>
                  </a:lnTo>
                  <a:lnTo>
                    <a:pt x="297618" y="254765"/>
                  </a:lnTo>
                  <a:lnTo>
                    <a:pt x="295989" y="252841"/>
                  </a:lnTo>
                  <a:lnTo>
                    <a:pt x="289027" y="254841"/>
                  </a:lnTo>
                  <a:lnTo>
                    <a:pt x="285149" y="254546"/>
                  </a:lnTo>
                  <a:lnTo>
                    <a:pt x="276596" y="256384"/>
                  </a:lnTo>
                  <a:lnTo>
                    <a:pt x="272662" y="254593"/>
                  </a:lnTo>
                  <a:lnTo>
                    <a:pt x="264804" y="249564"/>
                  </a:lnTo>
                  <a:lnTo>
                    <a:pt x="261851" y="248555"/>
                  </a:lnTo>
                  <a:lnTo>
                    <a:pt x="259337" y="248774"/>
                  </a:lnTo>
                  <a:lnTo>
                    <a:pt x="257965" y="247117"/>
                  </a:lnTo>
                  <a:lnTo>
                    <a:pt x="259642" y="246288"/>
                  </a:lnTo>
                  <a:lnTo>
                    <a:pt x="261595" y="246193"/>
                  </a:lnTo>
                  <a:lnTo>
                    <a:pt x="263623" y="245583"/>
                  </a:lnTo>
                  <a:lnTo>
                    <a:pt x="264195" y="244707"/>
                  </a:lnTo>
                  <a:lnTo>
                    <a:pt x="264071" y="243049"/>
                  </a:lnTo>
                  <a:lnTo>
                    <a:pt x="259985" y="241792"/>
                  </a:lnTo>
                  <a:lnTo>
                    <a:pt x="256184" y="241430"/>
                  </a:lnTo>
                  <a:lnTo>
                    <a:pt x="253774" y="239944"/>
                  </a:lnTo>
                  <a:lnTo>
                    <a:pt x="251936" y="238239"/>
                  </a:lnTo>
                  <a:lnTo>
                    <a:pt x="256241" y="238210"/>
                  </a:lnTo>
                  <a:lnTo>
                    <a:pt x="260575" y="239506"/>
                  </a:lnTo>
                  <a:lnTo>
                    <a:pt x="267348" y="239982"/>
                  </a:lnTo>
                  <a:lnTo>
                    <a:pt x="273501" y="241316"/>
                  </a:lnTo>
                  <a:lnTo>
                    <a:pt x="275034" y="239658"/>
                  </a:lnTo>
                  <a:lnTo>
                    <a:pt x="278606" y="236782"/>
                  </a:lnTo>
                  <a:lnTo>
                    <a:pt x="279282" y="235868"/>
                  </a:lnTo>
                  <a:lnTo>
                    <a:pt x="273301" y="237839"/>
                  </a:lnTo>
                  <a:lnTo>
                    <a:pt x="267233" y="236582"/>
                  </a:lnTo>
                  <a:lnTo>
                    <a:pt x="265023" y="234829"/>
                  </a:lnTo>
                  <a:lnTo>
                    <a:pt x="263147" y="232248"/>
                  </a:lnTo>
                  <a:lnTo>
                    <a:pt x="262356" y="229305"/>
                  </a:lnTo>
                  <a:lnTo>
                    <a:pt x="262871" y="226561"/>
                  </a:lnTo>
                  <a:lnTo>
                    <a:pt x="262214" y="221599"/>
                  </a:lnTo>
                  <a:lnTo>
                    <a:pt x="260213" y="217170"/>
                  </a:lnTo>
                  <a:lnTo>
                    <a:pt x="259509" y="214741"/>
                  </a:lnTo>
                  <a:lnTo>
                    <a:pt x="257394" y="212560"/>
                  </a:lnTo>
                  <a:lnTo>
                    <a:pt x="259470" y="217494"/>
                  </a:lnTo>
                  <a:lnTo>
                    <a:pt x="260242" y="220770"/>
                  </a:lnTo>
                  <a:lnTo>
                    <a:pt x="261489" y="223780"/>
                  </a:lnTo>
                  <a:lnTo>
                    <a:pt x="261195" y="231743"/>
                  </a:lnTo>
                  <a:lnTo>
                    <a:pt x="260422" y="234534"/>
                  </a:lnTo>
                  <a:lnTo>
                    <a:pt x="257927" y="235239"/>
                  </a:lnTo>
                  <a:lnTo>
                    <a:pt x="254651" y="234820"/>
                  </a:lnTo>
                  <a:lnTo>
                    <a:pt x="251317" y="233953"/>
                  </a:lnTo>
                  <a:lnTo>
                    <a:pt x="252146" y="229581"/>
                  </a:lnTo>
                  <a:lnTo>
                    <a:pt x="250364" y="231095"/>
                  </a:lnTo>
                  <a:lnTo>
                    <a:pt x="247859" y="235353"/>
                  </a:lnTo>
                  <a:lnTo>
                    <a:pt x="245650" y="235982"/>
                  </a:lnTo>
                  <a:lnTo>
                    <a:pt x="240744" y="235515"/>
                  </a:lnTo>
                  <a:lnTo>
                    <a:pt x="231638" y="238325"/>
                  </a:lnTo>
                  <a:lnTo>
                    <a:pt x="231010" y="241382"/>
                  </a:lnTo>
                  <a:lnTo>
                    <a:pt x="229638" y="245507"/>
                  </a:lnTo>
                  <a:lnTo>
                    <a:pt x="228314" y="247907"/>
                  </a:lnTo>
                  <a:lnTo>
                    <a:pt x="227904" y="249355"/>
                  </a:lnTo>
                  <a:lnTo>
                    <a:pt x="224028" y="255556"/>
                  </a:lnTo>
                  <a:lnTo>
                    <a:pt x="223532" y="256146"/>
                  </a:lnTo>
                  <a:lnTo>
                    <a:pt x="216208" y="264709"/>
                  </a:lnTo>
                  <a:lnTo>
                    <a:pt x="215274" y="265347"/>
                  </a:lnTo>
                  <a:lnTo>
                    <a:pt x="210531" y="267338"/>
                  </a:lnTo>
                  <a:lnTo>
                    <a:pt x="207721" y="269081"/>
                  </a:lnTo>
                  <a:lnTo>
                    <a:pt x="205568" y="269862"/>
                  </a:lnTo>
                  <a:lnTo>
                    <a:pt x="201930" y="268996"/>
                  </a:lnTo>
                  <a:lnTo>
                    <a:pt x="200415" y="270224"/>
                  </a:lnTo>
                  <a:lnTo>
                    <a:pt x="199701" y="271748"/>
                  </a:lnTo>
                  <a:lnTo>
                    <a:pt x="199691" y="274901"/>
                  </a:lnTo>
                  <a:lnTo>
                    <a:pt x="201539" y="277158"/>
                  </a:lnTo>
                  <a:lnTo>
                    <a:pt x="203054" y="284654"/>
                  </a:lnTo>
                  <a:lnTo>
                    <a:pt x="202492" y="287817"/>
                  </a:lnTo>
                  <a:lnTo>
                    <a:pt x="201053" y="285769"/>
                  </a:lnTo>
                  <a:lnTo>
                    <a:pt x="198796" y="283607"/>
                  </a:lnTo>
                  <a:lnTo>
                    <a:pt x="194414" y="281759"/>
                  </a:lnTo>
                  <a:lnTo>
                    <a:pt x="189604" y="282397"/>
                  </a:lnTo>
                  <a:lnTo>
                    <a:pt x="184356" y="285521"/>
                  </a:lnTo>
                  <a:lnTo>
                    <a:pt x="180794" y="286683"/>
                  </a:lnTo>
                  <a:lnTo>
                    <a:pt x="178927" y="285883"/>
                  </a:lnTo>
                  <a:lnTo>
                    <a:pt x="177784" y="285931"/>
                  </a:lnTo>
                  <a:lnTo>
                    <a:pt x="177384" y="286826"/>
                  </a:lnTo>
                  <a:lnTo>
                    <a:pt x="177469" y="287560"/>
                  </a:lnTo>
                  <a:lnTo>
                    <a:pt x="178041" y="288131"/>
                  </a:lnTo>
                  <a:lnTo>
                    <a:pt x="177965" y="288541"/>
                  </a:lnTo>
                  <a:lnTo>
                    <a:pt x="177222" y="288798"/>
                  </a:lnTo>
                  <a:lnTo>
                    <a:pt x="168954" y="286598"/>
                  </a:lnTo>
                  <a:lnTo>
                    <a:pt x="165382" y="284512"/>
                  </a:lnTo>
                  <a:lnTo>
                    <a:pt x="162573" y="280597"/>
                  </a:lnTo>
                  <a:lnTo>
                    <a:pt x="163973" y="279330"/>
                  </a:lnTo>
                  <a:lnTo>
                    <a:pt x="165192" y="278768"/>
                  </a:lnTo>
                  <a:lnTo>
                    <a:pt x="169497" y="278444"/>
                  </a:lnTo>
                  <a:lnTo>
                    <a:pt x="170240" y="278044"/>
                  </a:lnTo>
                  <a:lnTo>
                    <a:pt x="170316" y="277139"/>
                  </a:lnTo>
                  <a:lnTo>
                    <a:pt x="170640" y="275958"/>
                  </a:lnTo>
                  <a:lnTo>
                    <a:pt x="170526" y="274234"/>
                  </a:lnTo>
                  <a:lnTo>
                    <a:pt x="170050" y="272405"/>
                  </a:lnTo>
                  <a:lnTo>
                    <a:pt x="171935" y="269729"/>
                  </a:lnTo>
                  <a:lnTo>
                    <a:pt x="174745" y="267519"/>
                  </a:lnTo>
                  <a:lnTo>
                    <a:pt x="176393" y="265300"/>
                  </a:lnTo>
                  <a:lnTo>
                    <a:pt x="176641" y="262042"/>
                  </a:lnTo>
                  <a:lnTo>
                    <a:pt x="179603" y="260452"/>
                  </a:lnTo>
                  <a:lnTo>
                    <a:pt x="182223" y="257718"/>
                  </a:lnTo>
                  <a:lnTo>
                    <a:pt x="182870" y="254736"/>
                  </a:lnTo>
                  <a:lnTo>
                    <a:pt x="183794" y="252860"/>
                  </a:lnTo>
                  <a:lnTo>
                    <a:pt x="182118" y="248545"/>
                  </a:lnTo>
                  <a:lnTo>
                    <a:pt x="181765" y="245697"/>
                  </a:lnTo>
                  <a:lnTo>
                    <a:pt x="181689" y="243306"/>
                  </a:lnTo>
                  <a:lnTo>
                    <a:pt x="182508" y="241983"/>
                  </a:lnTo>
                  <a:lnTo>
                    <a:pt x="184956" y="240487"/>
                  </a:lnTo>
                  <a:lnTo>
                    <a:pt x="187528" y="239325"/>
                  </a:lnTo>
                  <a:lnTo>
                    <a:pt x="188595" y="239439"/>
                  </a:lnTo>
                  <a:lnTo>
                    <a:pt x="188985" y="240173"/>
                  </a:lnTo>
                  <a:lnTo>
                    <a:pt x="189080" y="245030"/>
                  </a:lnTo>
                  <a:lnTo>
                    <a:pt x="189595" y="245126"/>
                  </a:lnTo>
                  <a:lnTo>
                    <a:pt x="190414" y="244526"/>
                  </a:lnTo>
                  <a:lnTo>
                    <a:pt x="191757" y="241668"/>
                  </a:lnTo>
                  <a:lnTo>
                    <a:pt x="192681" y="242497"/>
                  </a:lnTo>
                  <a:lnTo>
                    <a:pt x="194110" y="242811"/>
                  </a:lnTo>
                  <a:lnTo>
                    <a:pt x="195176" y="242068"/>
                  </a:lnTo>
                  <a:lnTo>
                    <a:pt x="195872" y="242154"/>
                  </a:lnTo>
                  <a:lnTo>
                    <a:pt x="196729" y="242888"/>
                  </a:lnTo>
                  <a:lnTo>
                    <a:pt x="198444" y="243926"/>
                  </a:lnTo>
                  <a:lnTo>
                    <a:pt x="200044" y="244269"/>
                  </a:lnTo>
                  <a:lnTo>
                    <a:pt x="201368" y="243583"/>
                  </a:lnTo>
                  <a:lnTo>
                    <a:pt x="202501" y="242345"/>
                  </a:lnTo>
                  <a:lnTo>
                    <a:pt x="203711" y="242764"/>
                  </a:lnTo>
                  <a:lnTo>
                    <a:pt x="206007" y="246135"/>
                  </a:lnTo>
                  <a:lnTo>
                    <a:pt x="207073" y="245764"/>
                  </a:lnTo>
                  <a:lnTo>
                    <a:pt x="212360" y="245088"/>
                  </a:lnTo>
                  <a:lnTo>
                    <a:pt x="213207" y="244173"/>
                  </a:lnTo>
                  <a:lnTo>
                    <a:pt x="213836" y="243344"/>
                  </a:lnTo>
                  <a:lnTo>
                    <a:pt x="208312" y="238868"/>
                  </a:lnTo>
                  <a:lnTo>
                    <a:pt x="208588" y="235525"/>
                  </a:lnTo>
                  <a:lnTo>
                    <a:pt x="208797" y="231686"/>
                  </a:lnTo>
                  <a:lnTo>
                    <a:pt x="208140" y="229400"/>
                  </a:lnTo>
                  <a:lnTo>
                    <a:pt x="207064" y="227590"/>
                  </a:lnTo>
                  <a:lnTo>
                    <a:pt x="202844" y="225485"/>
                  </a:lnTo>
                  <a:lnTo>
                    <a:pt x="199577" y="223304"/>
                  </a:lnTo>
                  <a:lnTo>
                    <a:pt x="198891" y="222313"/>
                  </a:lnTo>
                  <a:lnTo>
                    <a:pt x="198805" y="221037"/>
                  </a:lnTo>
                  <a:lnTo>
                    <a:pt x="198663" y="219056"/>
                  </a:lnTo>
                  <a:lnTo>
                    <a:pt x="197367" y="217351"/>
                  </a:lnTo>
                  <a:lnTo>
                    <a:pt x="197262" y="215903"/>
                  </a:lnTo>
                  <a:lnTo>
                    <a:pt x="198082" y="213646"/>
                  </a:lnTo>
                  <a:lnTo>
                    <a:pt x="198282" y="211245"/>
                  </a:lnTo>
                  <a:lnTo>
                    <a:pt x="198005" y="210293"/>
                  </a:lnTo>
                  <a:lnTo>
                    <a:pt x="197243" y="209512"/>
                  </a:lnTo>
                  <a:lnTo>
                    <a:pt x="195776" y="209435"/>
                  </a:lnTo>
                  <a:lnTo>
                    <a:pt x="193843" y="208045"/>
                  </a:lnTo>
                  <a:lnTo>
                    <a:pt x="192519" y="206169"/>
                  </a:lnTo>
                  <a:lnTo>
                    <a:pt x="188956" y="203463"/>
                  </a:lnTo>
                  <a:lnTo>
                    <a:pt x="187871" y="203025"/>
                  </a:lnTo>
                  <a:lnTo>
                    <a:pt x="187204" y="201682"/>
                  </a:lnTo>
                  <a:lnTo>
                    <a:pt x="186880" y="200082"/>
                  </a:lnTo>
                  <a:lnTo>
                    <a:pt x="187633" y="198091"/>
                  </a:lnTo>
                  <a:lnTo>
                    <a:pt x="188576" y="195015"/>
                  </a:lnTo>
                  <a:lnTo>
                    <a:pt x="189233" y="192129"/>
                  </a:lnTo>
                  <a:lnTo>
                    <a:pt x="189243" y="190405"/>
                  </a:lnTo>
                  <a:lnTo>
                    <a:pt x="188814" y="186137"/>
                  </a:lnTo>
                  <a:lnTo>
                    <a:pt x="186957" y="182870"/>
                  </a:lnTo>
                  <a:lnTo>
                    <a:pt x="186090" y="182442"/>
                  </a:lnTo>
                  <a:lnTo>
                    <a:pt x="184594" y="183356"/>
                  </a:lnTo>
                  <a:lnTo>
                    <a:pt x="182889" y="184128"/>
                  </a:lnTo>
                  <a:lnTo>
                    <a:pt x="181546" y="183404"/>
                  </a:lnTo>
                  <a:lnTo>
                    <a:pt x="180013" y="181632"/>
                  </a:lnTo>
                  <a:lnTo>
                    <a:pt x="177555" y="176689"/>
                  </a:lnTo>
                  <a:lnTo>
                    <a:pt x="172955" y="175698"/>
                  </a:lnTo>
                  <a:lnTo>
                    <a:pt x="171049" y="175460"/>
                  </a:lnTo>
                  <a:lnTo>
                    <a:pt x="169250" y="177841"/>
                  </a:lnTo>
                  <a:lnTo>
                    <a:pt x="168687" y="177117"/>
                  </a:lnTo>
                  <a:lnTo>
                    <a:pt x="168183" y="175593"/>
                  </a:lnTo>
                  <a:lnTo>
                    <a:pt x="167230" y="174993"/>
                  </a:lnTo>
                  <a:lnTo>
                    <a:pt x="165973" y="175698"/>
                  </a:lnTo>
                  <a:lnTo>
                    <a:pt x="165611" y="175022"/>
                  </a:lnTo>
                  <a:lnTo>
                    <a:pt x="166154" y="172955"/>
                  </a:lnTo>
                  <a:lnTo>
                    <a:pt x="164659" y="171936"/>
                  </a:lnTo>
                  <a:lnTo>
                    <a:pt x="161124" y="171955"/>
                  </a:lnTo>
                  <a:lnTo>
                    <a:pt x="159239" y="171193"/>
                  </a:lnTo>
                  <a:lnTo>
                    <a:pt x="159019" y="169640"/>
                  </a:lnTo>
                  <a:lnTo>
                    <a:pt x="157905" y="168621"/>
                  </a:lnTo>
                  <a:lnTo>
                    <a:pt x="155905" y="168126"/>
                  </a:lnTo>
                  <a:lnTo>
                    <a:pt x="153952" y="166859"/>
                  </a:lnTo>
                  <a:lnTo>
                    <a:pt x="152066" y="164811"/>
                  </a:lnTo>
                  <a:lnTo>
                    <a:pt x="149237" y="163478"/>
                  </a:lnTo>
                  <a:lnTo>
                    <a:pt x="145475" y="162858"/>
                  </a:lnTo>
                  <a:lnTo>
                    <a:pt x="145170" y="162639"/>
                  </a:lnTo>
                  <a:lnTo>
                    <a:pt x="144818" y="162344"/>
                  </a:lnTo>
                  <a:lnTo>
                    <a:pt x="142389" y="163735"/>
                  </a:lnTo>
                  <a:lnTo>
                    <a:pt x="140932" y="164840"/>
                  </a:lnTo>
                  <a:lnTo>
                    <a:pt x="139141" y="164154"/>
                  </a:lnTo>
                  <a:lnTo>
                    <a:pt x="136245" y="166611"/>
                  </a:lnTo>
                  <a:lnTo>
                    <a:pt x="130359" y="166735"/>
                  </a:lnTo>
                  <a:lnTo>
                    <a:pt x="127473" y="166583"/>
                  </a:lnTo>
                  <a:lnTo>
                    <a:pt x="126044" y="165973"/>
                  </a:lnTo>
                  <a:lnTo>
                    <a:pt x="120519" y="169707"/>
                  </a:lnTo>
                  <a:lnTo>
                    <a:pt x="119939" y="171079"/>
                  </a:lnTo>
                  <a:lnTo>
                    <a:pt x="118700" y="171535"/>
                  </a:lnTo>
                  <a:lnTo>
                    <a:pt x="115224" y="172278"/>
                  </a:lnTo>
                  <a:lnTo>
                    <a:pt x="111566" y="173326"/>
                  </a:lnTo>
                  <a:lnTo>
                    <a:pt x="110794" y="176936"/>
                  </a:lnTo>
                  <a:lnTo>
                    <a:pt x="109708" y="178889"/>
                  </a:lnTo>
                  <a:lnTo>
                    <a:pt x="107746" y="181746"/>
                  </a:lnTo>
                  <a:lnTo>
                    <a:pt x="100955" y="182737"/>
                  </a:lnTo>
                  <a:lnTo>
                    <a:pt x="95088" y="184128"/>
                  </a:lnTo>
                  <a:lnTo>
                    <a:pt x="89078" y="184995"/>
                  </a:lnTo>
                  <a:lnTo>
                    <a:pt x="81200" y="188481"/>
                  </a:lnTo>
                  <a:lnTo>
                    <a:pt x="78638" y="191548"/>
                  </a:lnTo>
                  <a:lnTo>
                    <a:pt x="76105" y="192405"/>
                  </a:lnTo>
                  <a:lnTo>
                    <a:pt x="73809" y="192662"/>
                  </a:lnTo>
                  <a:lnTo>
                    <a:pt x="72323" y="190948"/>
                  </a:lnTo>
                  <a:lnTo>
                    <a:pt x="67323" y="186357"/>
                  </a:lnTo>
                  <a:lnTo>
                    <a:pt x="65398" y="184185"/>
                  </a:lnTo>
                  <a:lnTo>
                    <a:pt x="62865" y="183547"/>
                  </a:lnTo>
                  <a:lnTo>
                    <a:pt x="60112" y="183909"/>
                  </a:lnTo>
                  <a:lnTo>
                    <a:pt x="57464" y="184975"/>
                  </a:lnTo>
                  <a:lnTo>
                    <a:pt x="54683" y="185175"/>
                  </a:lnTo>
                  <a:lnTo>
                    <a:pt x="51530" y="183632"/>
                  </a:lnTo>
                  <a:lnTo>
                    <a:pt x="51197" y="183785"/>
                  </a:lnTo>
                  <a:lnTo>
                    <a:pt x="49987" y="183994"/>
                  </a:lnTo>
                  <a:lnTo>
                    <a:pt x="42157" y="182128"/>
                  </a:lnTo>
                  <a:lnTo>
                    <a:pt x="41434" y="181813"/>
                  </a:lnTo>
                  <a:lnTo>
                    <a:pt x="41091" y="181737"/>
                  </a:lnTo>
                  <a:lnTo>
                    <a:pt x="40014" y="181594"/>
                  </a:lnTo>
                  <a:lnTo>
                    <a:pt x="34118" y="181823"/>
                  </a:lnTo>
                  <a:lnTo>
                    <a:pt x="28622" y="178051"/>
                  </a:lnTo>
                  <a:lnTo>
                    <a:pt x="26936" y="177937"/>
                  </a:lnTo>
                  <a:lnTo>
                    <a:pt x="25632" y="179460"/>
                  </a:lnTo>
                  <a:lnTo>
                    <a:pt x="24669" y="181156"/>
                  </a:lnTo>
                  <a:lnTo>
                    <a:pt x="20878" y="182842"/>
                  </a:lnTo>
                  <a:lnTo>
                    <a:pt x="19907" y="183518"/>
                  </a:lnTo>
                  <a:lnTo>
                    <a:pt x="19355" y="182994"/>
                  </a:lnTo>
                  <a:lnTo>
                    <a:pt x="19097" y="181537"/>
                  </a:lnTo>
                  <a:lnTo>
                    <a:pt x="19383" y="180241"/>
                  </a:lnTo>
                  <a:lnTo>
                    <a:pt x="18821" y="179022"/>
                  </a:lnTo>
                  <a:lnTo>
                    <a:pt x="17383" y="177632"/>
                  </a:lnTo>
                  <a:lnTo>
                    <a:pt x="17030" y="177051"/>
                  </a:lnTo>
                  <a:lnTo>
                    <a:pt x="15221" y="177155"/>
                  </a:lnTo>
                  <a:lnTo>
                    <a:pt x="14725" y="177289"/>
                  </a:lnTo>
                  <a:lnTo>
                    <a:pt x="14544" y="177260"/>
                  </a:lnTo>
                  <a:lnTo>
                    <a:pt x="12029" y="176079"/>
                  </a:lnTo>
                  <a:lnTo>
                    <a:pt x="10373" y="173231"/>
                  </a:lnTo>
                  <a:lnTo>
                    <a:pt x="7791" y="171717"/>
                  </a:lnTo>
                  <a:lnTo>
                    <a:pt x="5819" y="171202"/>
                  </a:lnTo>
                  <a:lnTo>
                    <a:pt x="4924" y="169974"/>
                  </a:lnTo>
                  <a:lnTo>
                    <a:pt x="4343" y="168345"/>
                  </a:lnTo>
                  <a:lnTo>
                    <a:pt x="3733" y="167116"/>
                  </a:lnTo>
                  <a:lnTo>
                    <a:pt x="3667" y="166992"/>
                  </a:lnTo>
                  <a:lnTo>
                    <a:pt x="3247" y="165125"/>
                  </a:lnTo>
                  <a:lnTo>
                    <a:pt x="2648" y="164935"/>
                  </a:lnTo>
                  <a:lnTo>
                    <a:pt x="2543" y="164887"/>
                  </a:lnTo>
                  <a:lnTo>
                    <a:pt x="0" y="165211"/>
                  </a:lnTo>
                  <a:lnTo>
                    <a:pt x="295" y="158648"/>
                  </a:lnTo>
                  <a:lnTo>
                    <a:pt x="4362" y="153914"/>
                  </a:lnTo>
                  <a:lnTo>
                    <a:pt x="5362" y="151524"/>
                  </a:lnTo>
                  <a:lnTo>
                    <a:pt x="6886" y="146332"/>
                  </a:lnTo>
                  <a:lnTo>
                    <a:pt x="8029" y="143894"/>
                  </a:lnTo>
                  <a:lnTo>
                    <a:pt x="9401" y="141875"/>
                  </a:lnTo>
                  <a:lnTo>
                    <a:pt x="10496" y="139922"/>
                  </a:lnTo>
                  <a:lnTo>
                    <a:pt x="10887" y="138246"/>
                  </a:lnTo>
                  <a:lnTo>
                    <a:pt x="11992" y="138055"/>
                  </a:lnTo>
                  <a:lnTo>
                    <a:pt x="15230" y="139570"/>
                  </a:lnTo>
                  <a:lnTo>
                    <a:pt x="18136" y="140351"/>
                  </a:lnTo>
                  <a:lnTo>
                    <a:pt x="18935" y="139608"/>
                  </a:lnTo>
                  <a:lnTo>
                    <a:pt x="19269" y="138636"/>
                  </a:lnTo>
                  <a:lnTo>
                    <a:pt x="19135" y="137884"/>
                  </a:lnTo>
                  <a:lnTo>
                    <a:pt x="16811" y="135646"/>
                  </a:lnTo>
                  <a:lnTo>
                    <a:pt x="15354" y="134217"/>
                  </a:lnTo>
                  <a:lnTo>
                    <a:pt x="15259" y="133340"/>
                  </a:lnTo>
                  <a:lnTo>
                    <a:pt x="15783" y="131369"/>
                  </a:lnTo>
                  <a:lnTo>
                    <a:pt x="16068" y="129159"/>
                  </a:lnTo>
                  <a:lnTo>
                    <a:pt x="15735" y="126759"/>
                  </a:lnTo>
                  <a:lnTo>
                    <a:pt x="14144" y="121434"/>
                  </a:lnTo>
                  <a:lnTo>
                    <a:pt x="13849" y="119167"/>
                  </a:lnTo>
                  <a:lnTo>
                    <a:pt x="15364" y="116405"/>
                  </a:lnTo>
                  <a:lnTo>
                    <a:pt x="20298" y="109814"/>
                  </a:lnTo>
                  <a:lnTo>
                    <a:pt x="21945" y="107327"/>
                  </a:lnTo>
                  <a:lnTo>
                    <a:pt x="24193" y="104327"/>
                  </a:lnTo>
                  <a:lnTo>
                    <a:pt x="30299" y="97126"/>
                  </a:lnTo>
                  <a:lnTo>
                    <a:pt x="34147" y="92926"/>
                  </a:lnTo>
                  <a:lnTo>
                    <a:pt x="36756" y="90592"/>
                  </a:lnTo>
                  <a:lnTo>
                    <a:pt x="40576" y="86544"/>
                  </a:lnTo>
                  <a:lnTo>
                    <a:pt x="42253" y="84439"/>
                  </a:lnTo>
                  <a:lnTo>
                    <a:pt x="49225" y="83067"/>
                  </a:lnTo>
                  <a:lnTo>
                    <a:pt x="50092" y="81096"/>
                  </a:lnTo>
                  <a:lnTo>
                    <a:pt x="51368" y="78943"/>
                  </a:lnTo>
                  <a:lnTo>
                    <a:pt x="52358" y="78019"/>
                  </a:lnTo>
                  <a:lnTo>
                    <a:pt x="52492" y="74390"/>
                  </a:lnTo>
                  <a:lnTo>
                    <a:pt x="51197" y="69942"/>
                  </a:lnTo>
                  <a:lnTo>
                    <a:pt x="50159" y="68370"/>
                  </a:lnTo>
                  <a:lnTo>
                    <a:pt x="49387" y="67294"/>
                  </a:lnTo>
                  <a:lnTo>
                    <a:pt x="49892" y="66294"/>
                  </a:lnTo>
                  <a:lnTo>
                    <a:pt x="50663" y="66008"/>
                  </a:lnTo>
                  <a:lnTo>
                    <a:pt x="51615" y="65865"/>
                  </a:lnTo>
                  <a:lnTo>
                    <a:pt x="52797" y="64789"/>
                  </a:lnTo>
                  <a:lnTo>
                    <a:pt x="52530" y="63617"/>
                  </a:lnTo>
                  <a:lnTo>
                    <a:pt x="49587" y="60760"/>
                  </a:lnTo>
                  <a:lnTo>
                    <a:pt x="48310" y="58560"/>
                  </a:lnTo>
                  <a:lnTo>
                    <a:pt x="46320" y="52883"/>
                  </a:lnTo>
                  <a:lnTo>
                    <a:pt x="42281" y="46977"/>
                  </a:lnTo>
                  <a:lnTo>
                    <a:pt x="41005" y="45063"/>
                  </a:lnTo>
                  <a:lnTo>
                    <a:pt x="40824" y="43253"/>
                  </a:lnTo>
                  <a:lnTo>
                    <a:pt x="41414" y="41443"/>
                  </a:lnTo>
                  <a:lnTo>
                    <a:pt x="40852" y="39129"/>
                  </a:lnTo>
                  <a:lnTo>
                    <a:pt x="39424" y="36176"/>
                  </a:lnTo>
                  <a:lnTo>
                    <a:pt x="39652" y="35852"/>
                  </a:lnTo>
                  <a:lnTo>
                    <a:pt x="39509" y="32204"/>
                  </a:lnTo>
                  <a:lnTo>
                    <a:pt x="40528" y="31413"/>
                  </a:lnTo>
                  <a:lnTo>
                    <a:pt x="42138" y="30880"/>
                  </a:lnTo>
                  <a:lnTo>
                    <a:pt x="44405" y="31061"/>
                  </a:lnTo>
                  <a:lnTo>
                    <a:pt x="46348" y="31623"/>
                  </a:lnTo>
                  <a:lnTo>
                    <a:pt x="48673" y="33290"/>
                  </a:lnTo>
                  <a:lnTo>
                    <a:pt x="49396" y="33023"/>
                  </a:lnTo>
                  <a:lnTo>
                    <a:pt x="53368" y="29880"/>
                  </a:lnTo>
                  <a:lnTo>
                    <a:pt x="57464" y="25136"/>
                  </a:lnTo>
                  <a:lnTo>
                    <a:pt x="58635" y="22384"/>
                  </a:lnTo>
                  <a:lnTo>
                    <a:pt x="59655" y="21126"/>
                  </a:lnTo>
                  <a:lnTo>
                    <a:pt x="63217" y="20460"/>
                  </a:lnTo>
                  <a:lnTo>
                    <a:pt x="66322" y="20183"/>
                  </a:lnTo>
                  <a:lnTo>
                    <a:pt x="68294" y="20231"/>
                  </a:lnTo>
                  <a:lnTo>
                    <a:pt x="73142" y="19764"/>
                  </a:lnTo>
                  <a:lnTo>
                    <a:pt x="76009" y="19240"/>
                  </a:lnTo>
                  <a:lnTo>
                    <a:pt x="78495" y="18402"/>
                  </a:lnTo>
                  <a:lnTo>
                    <a:pt x="83858" y="18088"/>
                  </a:lnTo>
                  <a:lnTo>
                    <a:pt x="92221" y="18650"/>
                  </a:lnTo>
                  <a:lnTo>
                    <a:pt x="97717" y="18688"/>
                  </a:lnTo>
                  <a:lnTo>
                    <a:pt x="101450" y="19135"/>
                  </a:lnTo>
                  <a:lnTo>
                    <a:pt x="110585" y="21660"/>
                  </a:lnTo>
                  <a:lnTo>
                    <a:pt x="113985" y="22117"/>
                  </a:lnTo>
                  <a:lnTo>
                    <a:pt x="115567" y="23460"/>
                  </a:lnTo>
                  <a:lnTo>
                    <a:pt x="118605" y="23955"/>
                  </a:lnTo>
                  <a:lnTo>
                    <a:pt x="124130" y="25298"/>
                  </a:lnTo>
                  <a:lnTo>
                    <a:pt x="128921" y="26022"/>
                  </a:lnTo>
                  <a:lnTo>
                    <a:pt x="132159" y="25727"/>
                  </a:lnTo>
                  <a:lnTo>
                    <a:pt x="133969" y="26108"/>
                  </a:lnTo>
                  <a:lnTo>
                    <a:pt x="137398" y="32061"/>
                  </a:lnTo>
                  <a:lnTo>
                    <a:pt x="138103" y="32756"/>
                  </a:lnTo>
                  <a:lnTo>
                    <a:pt x="139474" y="32899"/>
                  </a:lnTo>
                  <a:lnTo>
                    <a:pt x="142274" y="32385"/>
                  </a:lnTo>
                  <a:lnTo>
                    <a:pt x="146256" y="32585"/>
                  </a:lnTo>
                  <a:lnTo>
                    <a:pt x="148618" y="33833"/>
                  </a:lnTo>
                  <a:lnTo>
                    <a:pt x="148275" y="37366"/>
                  </a:lnTo>
                  <a:lnTo>
                    <a:pt x="148894" y="37881"/>
                  </a:lnTo>
                  <a:lnTo>
                    <a:pt x="150000" y="37681"/>
                  </a:lnTo>
                  <a:lnTo>
                    <a:pt x="151266" y="35690"/>
                  </a:lnTo>
                  <a:lnTo>
                    <a:pt x="152333" y="33623"/>
                  </a:lnTo>
                  <a:lnTo>
                    <a:pt x="153124" y="32975"/>
                  </a:lnTo>
                  <a:lnTo>
                    <a:pt x="157191" y="34376"/>
                  </a:lnTo>
                  <a:lnTo>
                    <a:pt x="159048" y="34147"/>
                  </a:lnTo>
                  <a:lnTo>
                    <a:pt x="160763" y="32575"/>
                  </a:lnTo>
                  <a:lnTo>
                    <a:pt x="161810" y="32309"/>
                  </a:lnTo>
                  <a:lnTo>
                    <a:pt x="164696" y="33423"/>
                  </a:lnTo>
                  <a:lnTo>
                    <a:pt x="168249" y="34204"/>
                  </a:lnTo>
                  <a:lnTo>
                    <a:pt x="171126" y="34252"/>
                  </a:lnTo>
                  <a:lnTo>
                    <a:pt x="172917" y="35100"/>
                  </a:lnTo>
                  <a:lnTo>
                    <a:pt x="174221" y="38786"/>
                  </a:lnTo>
                  <a:lnTo>
                    <a:pt x="175355" y="39548"/>
                  </a:lnTo>
                  <a:lnTo>
                    <a:pt x="176450" y="39776"/>
                  </a:lnTo>
                  <a:lnTo>
                    <a:pt x="178108" y="36481"/>
                  </a:lnTo>
                  <a:lnTo>
                    <a:pt x="179613" y="35204"/>
                  </a:lnTo>
                  <a:lnTo>
                    <a:pt x="181699" y="34261"/>
                  </a:lnTo>
                  <a:lnTo>
                    <a:pt x="183042" y="33852"/>
                  </a:lnTo>
                  <a:lnTo>
                    <a:pt x="183994" y="32680"/>
                  </a:lnTo>
                  <a:lnTo>
                    <a:pt x="185271" y="31547"/>
                  </a:lnTo>
                  <a:lnTo>
                    <a:pt x="186375" y="31452"/>
                  </a:lnTo>
                  <a:lnTo>
                    <a:pt x="187271" y="31890"/>
                  </a:lnTo>
                  <a:lnTo>
                    <a:pt x="188300" y="33461"/>
                  </a:lnTo>
                  <a:lnTo>
                    <a:pt x="189804" y="37043"/>
                  </a:lnTo>
                  <a:lnTo>
                    <a:pt x="191633" y="40634"/>
                  </a:lnTo>
                  <a:lnTo>
                    <a:pt x="192910" y="41938"/>
                  </a:lnTo>
                  <a:lnTo>
                    <a:pt x="196205" y="40834"/>
                  </a:lnTo>
                  <a:lnTo>
                    <a:pt x="198434" y="39709"/>
                  </a:lnTo>
                  <a:lnTo>
                    <a:pt x="202520" y="39500"/>
                  </a:lnTo>
                  <a:lnTo>
                    <a:pt x="207940" y="38710"/>
                  </a:lnTo>
                  <a:lnTo>
                    <a:pt x="212084" y="37681"/>
                  </a:lnTo>
                  <a:lnTo>
                    <a:pt x="214674" y="37862"/>
                  </a:lnTo>
                  <a:lnTo>
                    <a:pt x="216246" y="39005"/>
                  </a:lnTo>
                  <a:lnTo>
                    <a:pt x="218637" y="41205"/>
                  </a:lnTo>
                  <a:lnTo>
                    <a:pt x="219284" y="44367"/>
                  </a:lnTo>
                  <a:lnTo>
                    <a:pt x="222389" y="46549"/>
                  </a:lnTo>
                  <a:lnTo>
                    <a:pt x="224933" y="46949"/>
                  </a:lnTo>
                  <a:lnTo>
                    <a:pt x="225800" y="44682"/>
                  </a:lnTo>
                  <a:lnTo>
                    <a:pt x="227286" y="43101"/>
                  </a:lnTo>
                  <a:lnTo>
                    <a:pt x="226723" y="40919"/>
                  </a:lnTo>
                  <a:lnTo>
                    <a:pt x="226476" y="38138"/>
                  </a:lnTo>
                  <a:lnTo>
                    <a:pt x="225361" y="35557"/>
                  </a:lnTo>
                  <a:lnTo>
                    <a:pt x="224618" y="32775"/>
                  </a:lnTo>
                  <a:lnTo>
                    <a:pt x="225980" y="28794"/>
                  </a:lnTo>
                  <a:lnTo>
                    <a:pt x="227466" y="25308"/>
                  </a:lnTo>
                  <a:lnTo>
                    <a:pt x="228209" y="23412"/>
                  </a:lnTo>
                  <a:lnTo>
                    <a:pt x="230562" y="19907"/>
                  </a:lnTo>
                  <a:lnTo>
                    <a:pt x="232972" y="17402"/>
                  </a:lnTo>
                  <a:lnTo>
                    <a:pt x="236581" y="13373"/>
                  </a:lnTo>
                  <a:lnTo>
                    <a:pt x="239220" y="12039"/>
                  </a:lnTo>
                  <a:lnTo>
                    <a:pt x="241602" y="12649"/>
                  </a:lnTo>
                  <a:lnTo>
                    <a:pt x="242925" y="13202"/>
                  </a:lnTo>
                  <a:lnTo>
                    <a:pt x="246345" y="10811"/>
                  </a:lnTo>
                  <a:lnTo>
                    <a:pt x="252431" y="10687"/>
                  </a:lnTo>
                  <a:lnTo>
                    <a:pt x="257499" y="10992"/>
                  </a:lnTo>
                  <a:lnTo>
                    <a:pt x="258013" y="11068"/>
                  </a:lnTo>
                  <a:lnTo>
                    <a:pt x="260509" y="12306"/>
                  </a:lnTo>
                  <a:lnTo>
                    <a:pt x="263128" y="13354"/>
                  </a:lnTo>
                  <a:lnTo>
                    <a:pt x="264937" y="13421"/>
                  </a:lnTo>
                  <a:lnTo>
                    <a:pt x="267090" y="13182"/>
                  </a:lnTo>
                  <a:lnTo>
                    <a:pt x="269624" y="11782"/>
                  </a:lnTo>
                  <a:lnTo>
                    <a:pt x="271386" y="10430"/>
                  </a:lnTo>
                  <a:lnTo>
                    <a:pt x="273529" y="3553"/>
                  </a:lnTo>
                  <a:lnTo>
                    <a:pt x="274291" y="2562"/>
                  </a:lnTo>
                  <a:lnTo>
                    <a:pt x="275472" y="2019"/>
                  </a:lnTo>
                  <a:lnTo>
                    <a:pt x="277406" y="1962"/>
                  </a:lnTo>
                  <a:lnTo>
                    <a:pt x="281082" y="3248"/>
                  </a:lnTo>
                  <a:lnTo>
                    <a:pt x="285388" y="4400"/>
                  </a:lnTo>
                  <a:lnTo>
                    <a:pt x="287884" y="4238"/>
                  </a:lnTo>
                  <a:lnTo>
                    <a:pt x="294532" y="571"/>
                  </a:lnTo>
                  <a:lnTo>
                    <a:pt x="298237" y="0"/>
                  </a:lnTo>
                  <a:lnTo>
                    <a:pt x="302637" y="857"/>
                  </a:lnTo>
                  <a:lnTo>
                    <a:pt x="306962" y="905"/>
                  </a:lnTo>
                  <a:lnTo>
                    <a:pt x="310219" y="371"/>
                  </a:lnTo>
                  <a:lnTo>
                    <a:pt x="312458" y="1638"/>
                  </a:lnTo>
                  <a:lnTo>
                    <a:pt x="315220" y="4438"/>
                  </a:lnTo>
                  <a:lnTo>
                    <a:pt x="317716" y="8591"/>
                  </a:lnTo>
                  <a:lnTo>
                    <a:pt x="320325" y="16240"/>
                  </a:lnTo>
                  <a:lnTo>
                    <a:pt x="327936" y="24841"/>
                  </a:lnTo>
                  <a:lnTo>
                    <a:pt x="328060" y="26518"/>
                  </a:lnTo>
                  <a:lnTo>
                    <a:pt x="327440" y="27594"/>
                  </a:lnTo>
                  <a:lnTo>
                    <a:pt x="323697" y="28632"/>
                  </a:lnTo>
                  <a:lnTo>
                    <a:pt x="320535" y="29194"/>
                  </a:lnTo>
                  <a:lnTo>
                    <a:pt x="320383" y="30661"/>
                  </a:lnTo>
                  <a:lnTo>
                    <a:pt x="321221" y="32252"/>
                  </a:lnTo>
                  <a:lnTo>
                    <a:pt x="322669" y="34576"/>
                  </a:lnTo>
                  <a:lnTo>
                    <a:pt x="322888" y="37567"/>
                  </a:lnTo>
                  <a:lnTo>
                    <a:pt x="322812" y="40310"/>
                  </a:lnTo>
                  <a:lnTo>
                    <a:pt x="323431" y="42729"/>
                  </a:lnTo>
                  <a:lnTo>
                    <a:pt x="324640" y="43720"/>
                  </a:lnTo>
                  <a:lnTo>
                    <a:pt x="324793" y="44929"/>
                  </a:lnTo>
                  <a:lnTo>
                    <a:pt x="323402" y="46415"/>
                  </a:lnTo>
                  <a:lnTo>
                    <a:pt x="323012" y="47330"/>
                  </a:lnTo>
                  <a:lnTo>
                    <a:pt x="323555" y="47825"/>
                  </a:lnTo>
                  <a:lnTo>
                    <a:pt x="330422" y="48111"/>
                  </a:lnTo>
                  <a:lnTo>
                    <a:pt x="333784" y="49549"/>
                  </a:lnTo>
                  <a:lnTo>
                    <a:pt x="336337" y="50863"/>
                  </a:lnTo>
                  <a:lnTo>
                    <a:pt x="337623" y="50987"/>
                  </a:lnTo>
                  <a:lnTo>
                    <a:pt x="340519" y="50149"/>
                  </a:lnTo>
                  <a:lnTo>
                    <a:pt x="343776" y="49616"/>
                  </a:lnTo>
                  <a:lnTo>
                    <a:pt x="345748" y="49539"/>
                  </a:lnTo>
                  <a:lnTo>
                    <a:pt x="346510" y="50511"/>
                  </a:lnTo>
                  <a:lnTo>
                    <a:pt x="347120" y="53054"/>
                  </a:lnTo>
                  <a:lnTo>
                    <a:pt x="348262" y="55597"/>
                  </a:lnTo>
                  <a:lnTo>
                    <a:pt x="349329" y="56321"/>
                  </a:lnTo>
                  <a:lnTo>
                    <a:pt x="351234" y="56197"/>
                  </a:lnTo>
                  <a:lnTo>
                    <a:pt x="352377" y="56321"/>
                  </a:lnTo>
                  <a:lnTo>
                    <a:pt x="352987" y="57283"/>
                  </a:lnTo>
                  <a:lnTo>
                    <a:pt x="352301" y="58731"/>
                  </a:lnTo>
                  <a:lnTo>
                    <a:pt x="352454" y="60303"/>
                  </a:lnTo>
                  <a:lnTo>
                    <a:pt x="353291" y="62227"/>
                  </a:lnTo>
                  <a:lnTo>
                    <a:pt x="354282" y="66675"/>
                  </a:lnTo>
                  <a:lnTo>
                    <a:pt x="355196" y="67999"/>
                  </a:lnTo>
                  <a:lnTo>
                    <a:pt x="355806" y="69675"/>
                  </a:lnTo>
                  <a:lnTo>
                    <a:pt x="355806" y="71599"/>
                  </a:lnTo>
                  <a:lnTo>
                    <a:pt x="355044" y="73276"/>
                  </a:lnTo>
                  <a:lnTo>
                    <a:pt x="354511" y="74590"/>
                  </a:lnTo>
                  <a:lnTo>
                    <a:pt x="355044" y="77581"/>
                  </a:lnTo>
                  <a:lnTo>
                    <a:pt x="357101" y="80924"/>
                  </a:lnTo>
                  <a:lnTo>
                    <a:pt x="358625" y="81753"/>
                  </a:lnTo>
                  <a:lnTo>
                    <a:pt x="359845" y="84734"/>
                  </a:lnTo>
                  <a:lnTo>
                    <a:pt x="362055" y="85687"/>
                  </a:lnTo>
                  <a:lnTo>
                    <a:pt x="365331" y="83182"/>
                  </a:lnTo>
                  <a:lnTo>
                    <a:pt x="367846" y="81867"/>
                  </a:lnTo>
                  <a:lnTo>
                    <a:pt x="370989" y="82601"/>
                  </a:lnTo>
                  <a:lnTo>
                    <a:pt x="373894" y="83067"/>
                  </a:lnTo>
                  <a:lnTo>
                    <a:pt x="375847" y="84772"/>
                  </a:lnTo>
                  <a:lnTo>
                    <a:pt x="377285" y="87116"/>
                  </a:lnTo>
                  <a:lnTo>
                    <a:pt x="378961" y="88420"/>
                  </a:lnTo>
                  <a:lnTo>
                    <a:pt x="380638" y="87735"/>
                  </a:lnTo>
                  <a:lnTo>
                    <a:pt x="384134" y="88420"/>
                  </a:lnTo>
                  <a:lnTo>
                    <a:pt x="385733" y="90316"/>
                  </a:lnTo>
                  <a:lnTo>
                    <a:pt x="387334" y="91383"/>
                  </a:lnTo>
                  <a:lnTo>
                    <a:pt x="389391" y="89840"/>
                  </a:lnTo>
                  <a:lnTo>
                    <a:pt x="391067" y="87935"/>
                  </a:lnTo>
                  <a:lnTo>
                    <a:pt x="397202" y="85944"/>
                  </a:lnTo>
                  <a:lnTo>
                    <a:pt x="401012" y="85449"/>
                  </a:lnTo>
                  <a:lnTo>
                    <a:pt x="402078" y="85058"/>
                  </a:lnTo>
                  <a:lnTo>
                    <a:pt x="404317" y="83629"/>
                  </a:lnTo>
                  <a:lnTo>
                    <a:pt x="406679" y="82677"/>
                  </a:lnTo>
                  <a:lnTo>
                    <a:pt x="408803" y="82934"/>
                  </a:lnTo>
                  <a:lnTo>
                    <a:pt x="410899" y="85896"/>
                  </a:lnTo>
                  <a:lnTo>
                    <a:pt x="413070" y="87935"/>
                  </a:lnTo>
                  <a:lnTo>
                    <a:pt x="413680" y="91145"/>
                  </a:lnTo>
                  <a:lnTo>
                    <a:pt x="416328" y="95545"/>
                  </a:lnTo>
                  <a:lnTo>
                    <a:pt x="422910" y="101555"/>
                  </a:lnTo>
                  <a:lnTo>
                    <a:pt x="425491" y="103384"/>
                  </a:lnTo>
                  <a:lnTo>
                    <a:pt x="427244" y="103060"/>
                  </a:lnTo>
                  <a:lnTo>
                    <a:pt x="428158" y="102584"/>
                  </a:lnTo>
                  <a:lnTo>
                    <a:pt x="428587" y="101955"/>
                  </a:lnTo>
                  <a:lnTo>
                    <a:pt x="428987" y="99012"/>
                  </a:lnTo>
                  <a:lnTo>
                    <a:pt x="429816" y="97926"/>
                  </a:lnTo>
                  <a:lnTo>
                    <a:pt x="431149" y="97898"/>
                  </a:lnTo>
                  <a:lnTo>
                    <a:pt x="436302" y="101555"/>
                  </a:lnTo>
                  <a:lnTo>
                    <a:pt x="438998" y="101955"/>
                  </a:lnTo>
                  <a:lnTo>
                    <a:pt x="441560" y="102022"/>
                  </a:lnTo>
                  <a:lnTo>
                    <a:pt x="445008" y="104860"/>
                  </a:lnTo>
                  <a:lnTo>
                    <a:pt x="448789" y="107327"/>
                  </a:lnTo>
                  <a:lnTo>
                    <a:pt x="451713" y="107585"/>
                  </a:lnTo>
                  <a:lnTo>
                    <a:pt x="454047" y="106613"/>
                  </a:lnTo>
                  <a:lnTo>
                    <a:pt x="455647" y="106023"/>
                  </a:lnTo>
                  <a:lnTo>
                    <a:pt x="456638" y="106966"/>
                  </a:lnTo>
                  <a:lnTo>
                    <a:pt x="457552" y="109090"/>
                  </a:lnTo>
                  <a:lnTo>
                    <a:pt x="459076" y="110737"/>
                  </a:lnTo>
                  <a:lnTo>
                    <a:pt x="460829" y="111204"/>
                  </a:lnTo>
                  <a:lnTo>
                    <a:pt x="463353" y="111309"/>
                  </a:lnTo>
                  <a:lnTo>
                    <a:pt x="467734" y="114490"/>
                  </a:lnTo>
                  <a:lnTo>
                    <a:pt x="471849" y="117729"/>
                  </a:lnTo>
                  <a:lnTo>
                    <a:pt x="474421" y="117910"/>
                  </a:lnTo>
                  <a:lnTo>
                    <a:pt x="476602" y="116957"/>
                  </a:lnTo>
                  <a:lnTo>
                    <a:pt x="478526" y="116710"/>
                  </a:lnTo>
                  <a:lnTo>
                    <a:pt x="479869" y="117529"/>
                  </a:lnTo>
                  <a:lnTo>
                    <a:pt x="480250" y="118929"/>
                  </a:lnTo>
                  <a:lnTo>
                    <a:pt x="479260" y="120805"/>
                  </a:lnTo>
                  <a:lnTo>
                    <a:pt x="479260" y="123492"/>
                  </a:lnTo>
                  <a:lnTo>
                    <a:pt x="481089" y="126063"/>
                  </a:lnTo>
                  <a:lnTo>
                    <a:pt x="481146" y="128588"/>
                  </a:lnTo>
                  <a:lnTo>
                    <a:pt x="480622" y="130864"/>
                  </a:lnTo>
                  <a:lnTo>
                    <a:pt x="479584" y="132959"/>
                  </a:lnTo>
                  <a:lnTo>
                    <a:pt x="477078" y="135836"/>
                  </a:lnTo>
                  <a:lnTo>
                    <a:pt x="474764" y="138512"/>
                  </a:lnTo>
                  <a:lnTo>
                    <a:pt x="471287" y="139627"/>
                  </a:lnTo>
                  <a:lnTo>
                    <a:pt x="469335" y="140798"/>
                  </a:lnTo>
                  <a:lnTo>
                    <a:pt x="469849" y="142760"/>
                  </a:lnTo>
                  <a:lnTo>
                    <a:pt x="471125" y="144589"/>
                  </a:lnTo>
                  <a:lnTo>
                    <a:pt x="474078" y="146066"/>
                  </a:lnTo>
                  <a:lnTo>
                    <a:pt x="477431" y="147142"/>
                  </a:lnTo>
                  <a:lnTo>
                    <a:pt x="477821" y="148333"/>
                  </a:lnTo>
                  <a:lnTo>
                    <a:pt x="477307" y="148933"/>
                  </a:lnTo>
                  <a:lnTo>
                    <a:pt x="475154" y="149485"/>
                  </a:lnTo>
                  <a:lnTo>
                    <a:pt x="472183" y="148923"/>
                  </a:lnTo>
                  <a:lnTo>
                    <a:pt x="471192" y="149961"/>
                  </a:lnTo>
                  <a:lnTo>
                    <a:pt x="469820" y="151686"/>
                  </a:lnTo>
                  <a:lnTo>
                    <a:pt x="468906" y="154791"/>
                  </a:lnTo>
                  <a:lnTo>
                    <a:pt x="468220" y="157667"/>
                  </a:lnTo>
                  <a:lnTo>
                    <a:pt x="471449" y="158448"/>
                  </a:lnTo>
                  <a:lnTo>
                    <a:pt x="473326" y="159620"/>
                  </a:lnTo>
                  <a:lnTo>
                    <a:pt x="473916" y="161972"/>
                  </a:lnTo>
                  <a:lnTo>
                    <a:pt x="474583" y="164592"/>
                  </a:lnTo>
                  <a:lnTo>
                    <a:pt x="474783" y="166944"/>
                  </a:lnTo>
                  <a:lnTo>
                    <a:pt x="473716" y="168087"/>
                  </a:lnTo>
                  <a:lnTo>
                    <a:pt x="473650" y="169259"/>
                  </a:lnTo>
                  <a:lnTo>
                    <a:pt x="474154" y="169840"/>
                  </a:lnTo>
                  <a:lnTo>
                    <a:pt x="475545" y="170097"/>
                  </a:lnTo>
                  <a:lnTo>
                    <a:pt x="476602" y="170621"/>
                  </a:lnTo>
                  <a:lnTo>
                    <a:pt x="476688" y="171860"/>
                  </a:lnTo>
                  <a:lnTo>
                    <a:pt x="474659" y="174641"/>
                  </a:lnTo>
                  <a:lnTo>
                    <a:pt x="472764" y="179956"/>
                  </a:lnTo>
                  <a:lnTo>
                    <a:pt x="471744" y="182775"/>
                  </a:lnTo>
                  <a:lnTo>
                    <a:pt x="471821" y="185833"/>
                  </a:lnTo>
                  <a:lnTo>
                    <a:pt x="470678" y="187528"/>
                  </a:lnTo>
                  <a:lnTo>
                    <a:pt x="468573" y="187747"/>
                  </a:lnTo>
                  <a:lnTo>
                    <a:pt x="461429" y="188042"/>
                  </a:lnTo>
                  <a:lnTo>
                    <a:pt x="455209" y="187890"/>
                  </a:lnTo>
                  <a:lnTo>
                    <a:pt x="452523" y="187452"/>
                  </a:lnTo>
                  <a:lnTo>
                    <a:pt x="448313" y="187185"/>
                  </a:lnTo>
                  <a:lnTo>
                    <a:pt x="446227" y="187909"/>
                  </a:lnTo>
                  <a:lnTo>
                    <a:pt x="443465" y="192786"/>
                  </a:lnTo>
                  <a:lnTo>
                    <a:pt x="441369" y="194691"/>
                  </a:lnTo>
                  <a:lnTo>
                    <a:pt x="437912" y="196415"/>
                  </a:lnTo>
                  <a:lnTo>
                    <a:pt x="434111" y="196910"/>
                  </a:lnTo>
                  <a:lnTo>
                    <a:pt x="431930" y="198911"/>
                  </a:lnTo>
                  <a:lnTo>
                    <a:pt x="431159" y="202054"/>
                  </a:lnTo>
                  <a:lnTo>
                    <a:pt x="431101" y="204835"/>
                  </a:lnTo>
                  <a:lnTo>
                    <a:pt x="430749" y="206226"/>
                  </a:lnTo>
                  <a:lnTo>
                    <a:pt x="429930" y="207445"/>
                  </a:lnTo>
                  <a:lnTo>
                    <a:pt x="429634" y="208312"/>
                  </a:lnTo>
                  <a:lnTo>
                    <a:pt x="429816" y="209264"/>
                  </a:lnTo>
                  <a:lnTo>
                    <a:pt x="430701" y="209607"/>
                  </a:lnTo>
                  <a:lnTo>
                    <a:pt x="431759" y="210045"/>
                  </a:lnTo>
                  <a:lnTo>
                    <a:pt x="431759" y="210731"/>
                  </a:lnTo>
                  <a:lnTo>
                    <a:pt x="431349" y="211598"/>
                  </a:lnTo>
                  <a:lnTo>
                    <a:pt x="430168" y="212550"/>
                  </a:lnTo>
                  <a:lnTo>
                    <a:pt x="429634" y="214017"/>
                  </a:lnTo>
                  <a:lnTo>
                    <a:pt x="429758" y="215579"/>
                  </a:lnTo>
                  <a:lnTo>
                    <a:pt x="429977" y="217303"/>
                  </a:lnTo>
                  <a:close/>
                  <a:moveTo>
                    <a:pt x="264185" y="251755"/>
                  </a:moveTo>
                  <a:lnTo>
                    <a:pt x="267871" y="253651"/>
                  </a:lnTo>
                  <a:lnTo>
                    <a:pt x="264109" y="253146"/>
                  </a:lnTo>
                  <a:lnTo>
                    <a:pt x="255851" y="251365"/>
                  </a:lnTo>
                  <a:lnTo>
                    <a:pt x="252203" y="249679"/>
                  </a:lnTo>
                  <a:lnTo>
                    <a:pt x="251260" y="247793"/>
                  </a:lnTo>
                  <a:lnTo>
                    <a:pt x="250727" y="245221"/>
                  </a:lnTo>
                  <a:lnTo>
                    <a:pt x="252765" y="247917"/>
                  </a:lnTo>
                  <a:lnTo>
                    <a:pt x="254193" y="249098"/>
                  </a:lnTo>
                  <a:lnTo>
                    <a:pt x="264185" y="251755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67" name="Forme libre : forme 54">
              <a:extLst>
                <a:ext uri="{FF2B5EF4-FFF2-40B4-BE49-F238E27FC236}">
                  <a16:creationId xmlns:a16="http://schemas.microsoft.com/office/drawing/2014/main" id="{2945D5A3-A0A8-523E-5942-8FFD94AA75F2}"/>
                </a:ext>
              </a:extLst>
            </p:cNvPr>
            <p:cNvSpPr/>
            <p:nvPr/>
          </p:nvSpPr>
          <p:spPr>
            <a:xfrm>
              <a:off x="6091953" y="5245594"/>
              <a:ext cx="818" cy="787"/>
            </a:xfrm>
            <a:custGeom>
              <a:avLst/>
              <a:gdLst>
                <a:gd name="connsiteX0" fmla="*/ 314 w 314"/>
                <a:gd name="connsiteY0" fmla="*/ 286 h 314"/>
                <a:gd name="connsiteX1" fmla="*/ 86 w 314"/>
                <a:gd name="connsiteY1" fmla="*/ 314 h 314"/>
                <a:gd name="connsiteX2" fmla="*/ 0 w 314"/>
                <a:gd name="connsiteY2" fmla="*/ 190 h 314"/>
                <a:gd name="connsiteX3" fmla="*/ 86 w 314"/>
                <a:gd name="connsiteY3" fmla="*/ 28 h 314"/>
                <a:gd name="connsiteX4" fmla="*/ 286 w 314"/>
                <a:gd name="connsiteY4" fmla="*/ 0 h 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" h="314">
                  <a:moveTo>
                    <a:pt x="314" y="286"/>
                  </a:moveTo>
                  <a:lnTo>
                    <a:pt x="86" y="314"/>
                  </a:lnTo>
                  <a:lnTo>
                    <a:pt x="0" y="190"/>
                  </a:lnTo>
                  <a:lnTo>
                    <a:pt x="86" y="28"/>
                  </a:lnTo>
                  <a:lnTo>
                    <a:pt x="286" y="0"/>
                  </a:ln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</p:grpSp>
      <p:sp>
        <p:nvSpPr>
          <p:cNvPr id="68" name="Forme libre : forme 21">
            <a:extLst>
              <a:ext uri="{FF2B5EF4-FFF2-40B4-BE49-F238E27FC236}">
                <a16:creationId xmlns:a16="http://schemas.microsoft.com/office/drawing/2014/main" id="{459134EB-48F8-DBFC-9122-9D9AC9C950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673256" y="3175466"/>
            <a:ext cx="689400" cy="1284884"/>
          </a:xfrm>
          <a:custGeom>
            <a:avLst/>
            <a:gdLst>
              <a:gd name="connsiteX0" fmla="*/ 189271 w 264461"/>
              <a:gd name="connsiteY0" fmla="*/ 484203 h 512159"/>
              <a:gd name="connsiteX1" fmla="*/ 187033 w 264461"/>
              <a:gd name="connsiteY1" fmla="*/ 485651 h 512159"/>
              <a:gd name="connsiteX2" fmla="*/ 186328 w 264461"/>
              <a:gd name="connsiteY2" fmla="*/ 487356 h 512159"/>
              <a:gd name="connsiteX3" fmla="*/ 185785 w 264461"/>
              <a:gd name="connsiteY3" fmla="*/ 488023 h 512159"/>
              <a:gd name="connsiteX4" fmla="*/ 184309 w 264461"/>
              <a:gd name="connsiteY4" fmla="*/ 488461 h 512159"/>
              <a:gd name="connsiteX5" fmla="*/ 182842 w 264461"/>
              <a:gd name="connsiteY5" fmla="*/ 488470 h 512159"/>
              <a:gd name="connsiteX6" fmla="*/ 177260 w 264461"/>
              <a:gd name="connsiteY6" fmla="*/ 485061 h 512159"/>
              <a:gd name="connsiteX7" fmla="*/ 175974 w 264461"/>
              <a:gd name="connsiteY7" fmla="*/ 485213 h 512159"/>
              <a:gd name="connsiteX8" fmla="*/ 177251 w 264461"/>
              <a:gd name="connsiteY8" fmla="*/ 483651 h 512159"/>
              <a:gd name="connsiteX9" fmla="*/ 180718 w 264461"/>
              <a:gd name="connsiteY9" fmla="*/ 482375 h 512159"/>
              <a:gd name="connsiteX10" fmla="*/ 182670 w 264461"/>
              <a:gd name="connsiteY10" fmla="*/ 480689 h 512159"/>
              <a:gd name="connsiteX11" fmla="*/ 187176 w 264461"/>
              <a:gd name="connsiteY11" fmla="*/ 482317 h 512159"/>
              <a:gd name="connsiteX12" fmla="*/ 189271 w 264461"/>
              <a:gd name="connsiteY12" fmla="*/ 484203 h 512159"/>
              <a:gd name="connsiteX13" fmla="*/ 105565 w 264461"/>
              <a:gd name="connsiteY13" fmla="*/ 370189 h 512159"/>
              <a:gd name="connsiteX14" fmla="*/ 106689 w 264461"/>
              <a:gd name="connsiteY14" fmla="*/ 371018 h 512159"/>
              <a:gd name="connsiteX15" fmla="*/ 109509 w 264461"/>
              <a:gd name="connsiteY15" fmla="*/ 370884 h 512159"/>
              <a:gd name="connsiteX16" fmla="*/ 108575 w 264461"/>
              <a:gd name="connsiteY16" fmla="*/ 372732 h 512159"/>
              <a:gd name="connsiteX17" fmla="*/ 105470 w 264461"/>
              <a:gd name="connsiteY17" fmla="*/ 374790 h 512159"/>
              <a:gd name="connsiteX18" fmla="*/ 103384 w 264461"/>
              <a:gd name="connsiteY18" fmla="*/ 376819 h 512159"/>
              <a:gd name="connsiteX19" fmla="*/ 100860 w 264461"/>
              <a:gd name="connsiteY19" fmla="*/ 378514 h 512159"/>
              <a:gd name="connsiteX20" fmla="*/ 99641 w 264461"/>
              <a:gd name="connsiteY20" fmla="*/ 376561 h 512159"/>
              <a:gd name="connsiteX21" fmla="*/ 98222 w 264461"/>
              <a:gd name="connsiteY21" fmla="*/ 376637 h 512159"/>
              <a:gd name="connsiteX22" fmla="*/ 96050 w 264461"/>
              <a:gd name="connsiteY22" fmla="*/ 372885 h 512159"/>
              <a:gd name="connsiteX23" fmla="*/ 95660 w 264461"/>
              <a:gd name="connsiteY23" fmla="*/ 367265 h 512159"/>
              <a:gd name="connsiteX24" fmla="*/ 98498 w 264461"/>
              <a:gd name="connsiteY24" fmla="*/ 365798 h 512159"/>
              <a:gd name="connsiteX25" fmla="*/ 102422 w 264461"/>
              <a:gd name="connsiteY25" fmla="*/ 365884 h 512159"/>
              <a:gd name="connsiteX26" fmla="*/ 105565 w 264461"/>
              <a:gd name="connsiteY26" fmla="*/ 370189 h 512159"/>
              <a:gd name="connsiteX27" fmla="*/ 47339 w 264461"/>
              <a:gd name="connsiteY27" fmla="*/ 282445 h 512159"/>
              <a:gd name="connsiteX28" fmla="*/ 51111 w 264461"/>
              <a:gd name="connsiteY28" fmla="*/ 283616 h 512159"/>
              <a:gd name="connsiteX29" fmla="*/ 53921 w 264461"/>
              <a:gd name="connsiteY29" fmla="*/ 283598 h 512159"/>
              <a:gd name="connsiteX30" fmla="*/ 56416 w 264461"/>
              <a:gd name="connsiteY30" fmla="*/ 286998 h 512159"/>
              <a:gd name="connsiteX31" fmla="*/ 57750 w 264461"/>
              <a:gd name="connsiteY31" fmla="*/ 292351 h 512159"/>
              <a:gd name="connsiteX32" fmla="*/ 60865 w 264461"/>
              <a:gd name="connsiteY32" fmla="*/ 297628 h 512159"/>
              <a:gd name="connsiteX33" fmla="*/ 64941 w 264461"/>
              <a:gd name="connsiteY33" fmla="*/ 302200 h 512159"/>
              <a:gd name="connsiteX34" fmla="*/ 65103 w 264461"/>
              <a:gd name="connsiteY34" fmla="*/ 304990 h 512159"/>
              <a:gd name="connsiteX35" fmla="*/ 63646 w 264461"/>
              <a:gd name="connsiteY35" fmla="*/ 306486 h 512159"/>
              <a:gd name="connsiteX36" fmla="*/ 60607 w 264461"/>
              <a:gd name="connsiteY36" fmla="*/ 308343 h 512159"/>
              <a:gd name="connsiteX37" fmla="*/ 60617 w 264461"/>
              <a:gd name="connsiteY37" fmla="*/ 310334 h 512159"/>
              <a:gd name="connsiteX38" fmla="*/ 62627 w 264461"/>
              <a:gd name="connsiteY38" fmla="*/ 309334 h 512159"/>
              <a:gd name="connsiteX39" fmla="*/ 64360 w 264461"/>
              <a:gd name="connsiteY39" fmla="*/ 308877 h 512159"/>
              <a:gd name="connsiteX40" fmla="*/ 68532 w 264461"/>
              <a:gd name="connsiteY40" fmla="*/ 309315 h 512159"/>
              <a:gd name="connsiteX41" fmla="*/ 69990 w 264461"/>
              <a:gd name="connsiteY41" fmla="*/ 311334 h 512159"/>
              <a:gd name="connsiteX42" fmla="*/ 70999 w 264461"/>
              <a:gd name="connsiteY42" fmla="*/ 314354 h 512159"/>
              <a:gd name="connsiteX43" fmla="*/ 71533 w 264461"/>
              <a:gd name="connsiteY43" fmla="*/ 316830 h 512159"/>
              <a:gd name="connsiteX44" fmla="*/ 71171 w 264461"/>
              <a:gd name="connsiteY44" fmla="*/ 319516 h 512159"/>
              <a:gd name="connsiteX45" fmla="*/ 70047 w 264461"/>
              <a:gd name="connsiteY45" fmla="*/ 318659 h 512159"/>
              <a:gd name="connsiteX46" fmla="*/ 68904 w 264461"/>
              <a:gd name="connsiteY46" fmla="*/ 316259 h 512159"/>
              <a:gd name="connsiteX47" fmla="*/ 67637 w 264461"/>
              <a:gd name="connsiteY47" fmla="*/ 315154 h 512159"/>
              <a:gd name="connsiteX48" fmla="*/ 66161 w 264461"/>
              <a:gd name="connsiteY48" fmla="*/ 314554 h 512159"/>
              <a:gd name="connsiteX49" fmla="*/ 66827 w 264461"/>
              <a:gd name="connsiteY49" fmla="*/ 317859 h 512159"/>
              <a:gd name="connsiteX50" fmla="*/ 66560 w 264461"/>
              <a:gd name="connsiteY50" fmla="*/ 322269 h 512159"/>
              <a:gd name="connsiteX51" fmla="*/ 67199 w 264461"/>
              <a:gd name="connsiteY51" fmla="*/ 322679 h 512159"/>
              <a:gd name="connsiteX52" fmla="*/ 69180 w 264461"/>
              <a:gd name="connsiteY52" fmla="*/ 322755 h 512159"/>
              <a:gd name="connsiteX53" fmla="*/ 67875 w 264461"/>
              <a:gd name="connsiteY53" fmla="*/ 327250 h 512159"/>
              <a:gd name="connsiteX54" fmla="*/ 65160 w 264461"/>
              <a:gd name="connsiteY54" fmla="*/ 328470 h 512159"/>
              <a:gd name="connsiteX55" fmla="*/ 62008 w 264461"/>
              <a:gd name="connsiteY55" fmla="*/ 328927 h 512159"/>
              <a:gd name="connsiteX56" fmla="*/ 61246 w 264461"/>
              <a:gd name="connsiteY56" fmla="*/ 330518 h 512159"/>
              <a:gd name="connsiteX57" fmla="*/ 60674 w 264461"/>
              <a:gd name="connsiteY57" fmla="*/ 332565 h 512159"/>
              <a:gd name="connsiteX58" fmla="*/ 59026 w 264461"/>
              <a:gd name="connsiteY58" fmla="*/ 335614 h 512159"/>
              <a:gd name="connsiteX59" fmla="*/ 56855 w 264461"/>
              <a:gd name="connsiteY59" fmla="*/ 337338 h 512159"/>
              <a:gd name="connsiteX60" fmla="*/ 54168 w 264461"/>
              <a:gd name="connsiteY60" fmla="*/ 336985 h 512159"/>
              <a:gd name="connsiteX61" fmla="*/ 51540 w 264461"/>
              <a:gd name="connsiteY61" fmla="*/ 335623 h 512159"/>
              <a:gd name="connsiteX62" fmla="*/ 49244 w 264461"/>
              <a:gd name="connsiteY62" fmla="*/ 335347 h 512159"/>
              <a:gd name="connsiteX63" fmla="*/ 47644 w 264461"/>
              <a:gd name="connsiteY63" fmla="*/ 336156 h 512159"/>
              <a:gd name="connsiteX64" fmla="*/ 46606 w 264461"/>
              <a:gd name="connsiteY64" fmla="*/ 336909 h 512159"/>
              <a:gd name="connsiteX65" fmla="*/ 45596 w 264461"/>
              <a:gd name="connsiteY65" fmla="*/ 336775 h 512159"/>
              <a:gd name="connsiteX66" fmla="*/ 42710 w 264461"/>
              <a:gd name="connsiteY66" fmla="*/ 337061 h 512159"/>
              <a:gd name="connsiteX67" fmla="*/ 39995 w 264461"/>
              <a:gd name="connsiteY67" fmla="*/ 337004 h 512159"/>
              <a:gd name="connsiteX68" fmla="*/ 39605 w 264461"/>
              <a:gd name="connsiteY68" fmla="*/ 335814 h 512159"/>
              <a:gd name="connsiteX69" fmla="*/ 40072 w 264461"/>
              <a:gd name="connsiteY69" fmla="*/ 332232 h 512159"/>
              <a:gd name="connsiteX70" fmla="*/ 39462 w 264461"/>
              <a:gd name="connsiteY70" fmla="*/ 331261 h 512159"/>
              <a:gd name="connsiteX71" fmla="*/ 36871 w 264461"/>
              <a:gd name="connsiteY71" fmla="*/ 330765 h 512159"/>
              <a:gd name="connsiteX72" fmla="*/ 35909 w 264461"/>
              <a:gd name="connsiteY72" fmla="*/ 329908 h 512159"/>
              <a:gd name="connsiteX73" fmla="*/ 34414 w 264461"/>
              <a:gd name="connsiteY73" fmla="*/ 327431 h 512159"/>
              <a:gd name="connsiteX74" fmla="*/ 34119 w 264461"/>
              <a:gd name="connsiteY74" fmla="*/ 326269 h 512159"/>
              <a:gd name="connsiteX75" fmla="*/ 33909 w 264461"/>
              <a:gd name="connsiteY75" fmla="*/ 324669 h 512159"/>
              <a:gd name="connsiteX76" fmla="*/ 32328 w 264461"/>
              <a:gd name="connsiteY76" fmla="*/ 322602 h 512159"/>
              <a:gd name="connsiteX77" fmla="*/ 30413 w 264461"/>
              <a:gd name="connsiteY77" fmla="*/ 321116 h 512159"/>
              <a:gd name="connsiteX78" fmla="*/ 29289 w 264461"/>
              <a:gd name="connsiteY78" fmla="*/ 321040 h 512159"/>
              <a:gd name="connsiteX79" fmla="*/ 27051 w 264461"/>
              <a:gd name="connsiteY79" fmla="*/ 323460 h 512159"/>
              <a:gd name="connsiteX80" fmla="*/ 25203 w 264461"/>
              <a:gd name="connsiteY80" fmla="*/ 325907 h 512159"/>
              <a:gd name="connsiteX81" fmla="*/ 25851 w 264461"/>
              <a:gd name="connsiteY81" fmla="*/ 327136 h 512159"/>
              <a:gd name="connsiteX82" fmla="*/ 26451 w 264461"/>
              <a:gd name="connsiteY82" fmla="*/ 328746 h 512159"/>
              <a:gd name="connsiteX83" fmla="*/ 25451 w 264461"/>
              <a:gd name="connsiteY83" fmla="*/ 329908 h 512159"/>
              <a:gd name="connsiteX84" fmla="*/ 22412 w 264461"/>
              <a:gd name="connsiteY84" fmla="*/ 332556 h 512159"/>
              <a:gd name="connsiteX85" fmla="*/ 21936 w 264461"/>
              <a:gd name="connsiteY85" fmla="*/ 333585 h 512159"/>
              <a:gd name="connsiteX86" fmla="*/ 21117 w 264461"/>
              <a:gd name="connsiteY86" fmla="*/ 334146 h 512159"/>
              <a:gd name="connsiteX87" fmla="*/ 19669 w 264461"/>
              <a:gd name="connsiteY87" fmla="*/ 333413 h 512159"/>
              <a:gd name="connsiteX88" fmla="*/ 16059 w 264461"/>
              <a:gd name="connsiteY88" fmla="*/ 333585 h 512159"/>
              <a:gd name="connsiteX89" fmla="*/ 14402 w 264461"/>
              <a:gd name="connsiteY89" fmla="*/ 333118 h 512159"/>
              <a:gd name="connsiteX90" fmla="*/ 12468 w 264461"/>
              <a:gd name="connsiteY90" fmla="*/ 331165 h 512159"/>
              <a:gd name="connsiteX91" fmla="*/ 7753 w 264461"/>
              <a:gd name="connsiteY91" fmla="*/ 329860 h 512159"/>
              <a:gd name="connsiteX92" fmla="*/ 6963 w 264461"/>
              <a:gd name="connsiteY92" fmla="*/ 326727 h 512159"/>
              <a:gd name="connsiteX93" fmla="*/ 6058 w 264461"/>
              <a:gd name="connsiteY93" fmla="*/ 326136 h 512159"/>
              <a:gd name="connsiteX94" fmla="*/ 714 w 264461"/>
              <a:gd name="connsiteY94" fmla="*/ 320754 h 512159"/>
              <a:gd name="connsiteX95" fmla="*/ 0 w 264461"/>
              <a:gd name="connsiteY95" fmla="*/ 318954 h 512159"/>
              <a:gd name="connsiteX96" fmla="*/ 695 w 264461"/>
              <a:gd name="connsiteY96" fmla="*/ 317878 h 512159"/>
              <a:gd name="connsiteX97" fmla="*/ 2686 w 264461"/>
              <a:gd name="connsiteY97" fmla="*/ 316249 h 512159"/>
              <a:gd name="connsiteX98" fmla="*/ 9382 w 264461"/>
              <a:gd name="connsiteY98" fmla="*/ 313544 h 512159"/>
              <a:gd name="connsiteX99" fmla="*/ 10439 w 264461"/>
              <a:gd name="connsiteY99" fmla="*/ 312458 h 512159"/>
              <a:gd name="connsiteX100" fmla="*/ 10658 w 264461"/>
              <a:gd name="connsiteY100" fmla="*/ 311496 h 512159"/>
              <a:gd name="connsiteX101" fmla="*/ 8687 w 264461"/>
              <a:gd name="connsiteY101" fmla="*/ 310401 h 512159"/>
              <a:gd name="connsiteX102" fmla="*/ 6915 w 264461"/>
              <a:gd name="connsiteY102" fmla="*/ 309181 h 512159"/>
              <a:gd name="connsiteX103" fmla="*/ 6315 w 264461"/>
              <a:gd name="connsiteY103" fmla="*/ 308391 h 512159"/>
              <a:gd name="connsiteX104" fmla="*/ 6267 w 264461"/>
              <a:gd name="connsiteY104" fmla="*/ 307696 h 512159"/>
              <a:gd name="connsiteX105" fmla="*/ 7277 w 264461"/>
              <a:gd name="connsiteY105" fmla="*/ 306791 h 512159"/>
              <a:gd name="connsiteX106" fmla="*/ 9296 w 264461"/>
              <a:gd name="connsiteY106" fmla="*/ 306724 h 512159"/>
              <a:gd name="connsiteX107" fmla="*/ 10896 w 264461"/>
              <a:gd name="connsiteY107" fmla="*/ 307134 h 512159"/>
              <a:gd name="connsiteX108" fmla="*/ 12163 w 264461"/>
              <a:gd name="connsiteY108" fmla="*/ 306324 h 512159"/>
              <a:gd name="connsiteX109" fmla="*/ 14392 w 264461"/>
              <a:gd name="connsiteY109" fmla="*/ 305505 h 512159"/>
              <a:gd name="connsiteX110" fmla="*/ 15888 w 264461"/>
              <a:gd name="connsiteY110" fmla="*/ 304476 h 512159"/>
              <a:gd name="connsiteX111" fmla="*/ 17173 w 264461"/>
              <a:gd name="connsiteY111" fmla="*/ 301819 h 512159"/>
              <a:gd name="connsiteX112" fmla="*/ 18535 w 264461"/>
              <a:gd name="connsiteY112" fmla="*/ 299428 h 512159"/>
              <a:gd name="connsiteX113" fmla="*/ 18679 w 264461"/>
              <a:gd name="connsiteY113" fmla="*/ 298132 h 512159"/>
              <a:gd name="connsiteX114" fmla="*/ 19869 w 264461"/>
              <a:gd name="connsiteY114" fmla="*/ 293570 h 512159"/>
              <a:gd name="connsiteX115" fmla="*/ 20526 w 264461"/>
              <a:gd name="connsiteY115" fmla="*/ 292437 h 512159"/>
              <a:gd name="connsiteX116" fmla="*/ 24755 w 264461"/>
              <a:gd name="connsiteY116" fmla="*/ 289446 h 512159"/>
              <a:gd name="connsiteX117" fmla="*/ 25822 w 264461"/>
              <a:gd name="connsiteY117" fmla="*/ 291084 h 512159"/>
              <a:gd name="connsiteX118" fmla="*/ 27908 w 264461"/>
              <a:gd name="connsiteY118" fmla="*/ 291484 h 512159"/>
              <a:gd name="connsiteX119" fmla="*/ 29775 w 264461"/>
              <a:gd name="connsiteY119" fmla="*/ 289979 h 512159"/>
              <a:gd name="connsiteX120" fmla="*/ 32013 w 264461"/>
              <a:gd name="connsiteY120" fmla="*/ 285226 h 512159"/>
              <a:gd name="connsiteX121" fmla="*/ 33566 w 264461"/>
              <a:gd name="connsiteY121" fmla="*/ 284931 h 512159"/>
              <a:gd name="connsiteX122" fmla="*/ 35280 w 264461"/>
              <a:gd name="connsiteY122" fmla="*/ 285322 h 512159"/>
              <a:gd name="connsiteX123" fmla="*/ 38652 w 264461"/>
              <a:gd name="connsiteY123" fmla="*/ 284721 h 512159"/>
              <a:gd name="connsiteX124" fmla="*/ 44634 w 264461"/>
              <a:gd name="connsiteY124" fmla="*/ 282502 h 512159"/>
              <a:gd name="connsiteX125" fmla="*/ 47339 w 264461"/>
              <a:gd name="connsiteY125" fmla="*/ 282445 h 512159"/>
              <a:gd name="connsiteX126" fmla="*/ 81277 w 264461"/>
              <a:gd name="connsiteY126" fmla="*/ 272729 h 512159"/>
              <a:gd name="connsiteX127" fmla="*/ 77905 w 264461"/>
              <a:gd name="connsiteY127" fmla="*/ 272767 h 512159"/>
              <a:gd name="connsiteX128" fmla="*/ 76686 w 264461"/>
              <a:gd name="connsiteY128" fmla="*/ 272358 h 512159"/>
              <a:gd name="connsiteX129" fmla="*/ 75228 w 264461"/>
              <a:gd name="connsiteY129" fmla="*/ 271215 h 512159"/>
              <a:gd name="connsiteX130" fmla="*/ 73590 w 264461"/>
              <a:gd name="connsiteY130" fmla="*/ 264738 h 512159"/>
              <a:gd name="connsiteX131" fmla="*/ 74181 w 264461"/>
              <a:gd name="connsiteY131" fmla="*/ 262442 h 512159"/>
              <a:gd name="connsiteX132" fmla="*/ 74847 w 264461"/>
              <a:gd name="connsiteY132" fmla="*/ 261318 h 512159"/>
              <a:gd name="connsiteX133" fmla="*/ 75590 w 264461"/>
              <a:gd name="connsiteY133" fmla="*/ 260442 h 512159"/>
              <a:gd name="connsiteX134" fmla="*/ 77371 w 264461"/>
              <a:gd name="connsiteY134" fmla="*/ 260080 h 512159"/>
              <a:gd name="connsiteX135" fmla="*/ 79143 w 264461"/>
              <a:gd name="connsiteY135" fmla="*/ 261309 h 512159"/>
              <a:gd name="connsiteX136" fmla="*/ 79810 w 264461"/>
              <a:gd name="connsiteY136" fmla="*/ 262452 h 512159"/>
              <a:gd name="connsiteX137" fmla="*/ 81296 w 264461"/>
              <a:gd name="connsiteY137" fmla="*/ 266833 h 512159"/>
              <a:gd name="connsiteX138" fmla="*/ 81572 w 264461"/>
              <a:gd name="connsiteY138" fmla="*/ 270586 h 512159"/>
              <a:gd name="connsiteX139" fmla="*/ 81277 w 264461"/>
              <a:gd name="connsiteY139" fmla="*/ 272729 h 512159"/>
              <a:gd name="connsiteX140" fmla="*/ 53921 w 264461"/>
              <a:gd name="connsiteY140" fmla="*/ 249927 h 512159"/>
              <a:gd name="connsiteX141" fmla="*/ 54883 w 264461"/>
              <a:gd name="connsiteY141" fmla="*/ 256032 h 512159"/>
              <a:gd name="connsiteX142" fmla="*/ 55826 w 264461"/>
              <a:gd name="connsiteY142" fmla="*/ 259804 h 512159"/>
              <a:gd name="connsiteX143" fmla="*/ 55893 w 264461"/>
              <a:gd name="connsiteY143" fmla="*/ 261090 h 512159"/>
              <a:gd name="connsiteX144" fmla="*/ 55007 w 264461"/>
              <a:gd name="connsiteY144" fmla="*/ 262880 h 512159"/>
              <a:gd name="connsiteX145" fmla="*/ 50597 w 264461"/>
              <a:gd name="connsiteY145" fmla="*/ 265262 h 512159"/>
              <a:gd name="connsiteX146" fmla="*/ 49206 w 264461"/>
              <a:gd name="connsiteY146" fmla="*/ 265271 h 512159"/>
              <a:gd name="connsiteX147" fmla="*/ 49149 w 264461"/>
              <a:gd name="connsiteY147" fmla="*/ 264690 h 512159"/>
              <a:gd name="connsiteX148" fmla="*/ 50139 w 264461"/>
              <a:gd name="connsiteY148" fmla="*/ 262271 h 512159"/>
              <a:gd name="connsiteX149" fmla="*/ 49282 w 264461"/>
              <a:gd name="connsiteY149" fmla="*/ 259518 h 512159"/>
              <a:gd name="connsiteX150" fmla="*/ 49701 w 264461"/>
              <a:gd name="connsiteY150" fmla="*/ 257423 h 512159"/>
              <a:gd name="connsiteX151" fmla="*/ 49292 w 264461"/>
              <a:gd name="connsiteY151" fmla="*/ 257042 h 512159"/>
              <a:gd name="connsiteX152" fmla="*/ 48435 w 264461"/>
              <a:gd name="connsiteY152" fmla="*/ 257337 h 512159"/>
              <a:gd name="connsiteX153" fmla="*/ 45272 w 264461"/>
              <a:gd name="connsiteY153" fmla="*/ 260661 h 512159"/>
              <a:gd name="connsiteX154" fmla="*/ 44215 w 264461"/>
              <a:gd name="connsiteY154" fmla="*/ 260985 h 512159"/>
              <a:gd name="connsiteX155" fmla="*/ 44101 w 264461"/>
              <a:gd name="connsiteY155" fmla="*/ 260309 h 512159"/>
              <a:gd name="connsiteX156" fmla="*/ 44882 w 264461"/>
              <a:gd name="connsiteY156" fmla="*/ 257585 h 512159"/>
              <a:gd name="connsiteX157" fmla="*/ 44977 w 264461"/>
              <a:gd name="connsiteY157" fmla="*/ 255718 h 512159"/>
              <a:gd name="connsiteX158" fmla="*/ 45444 w 264461"/>
              <a:gd name="connsiteY158" fmla="*/ 254575 h 512159"/>
              <a:gd name="connsiteX159" fmla="*/ 46301 w 264461"/>
              <a:gd name="connsiteY159" fmla="*/ 253517 h 512159"/>
              <a:gd name="connsiteX160" fmla="*/ 47320 w 264461"/>
              <a:gd name="connsiteY160" fmla="*/ 252727 h 512159"/>
              <a:gd name="connsiteX161" fmla="*/ 48149 w 264461"/>
              <a:gd name="connsiteY161" fmla="*/ 252612 h 512159"/>
              <a:gd name="connsiteX162" fmla="*/ 49025 w 264461"/>
              <a:gd name="connsiteY162" fmla="*/ 253432 h 512159"/>
              <a:gd name="connsiteX163" fmla="*/ 51578 w 264461"/>
              <a:gd name="connsiteY163" fmla="*/ 251146 h 512159"/>
              <a:gd name="connsiteX164" fmla="*/ 53921 w 264461"/>
              <a:gd name="connsiteY164" fmla="*/ 249927 h 512159"/>
              <a:gd name="connsiteX165" fmla="*/ 58169 w 264461"/>
              <a:gd name="connsiteY165" fmla="*/ 255451 h 512159"/>
              <a:gd name="connsiteX166" fmla="*/ 57607 w 264461"/>
              <a:gd name="connsiteY166" fmla="*/ 255956 h 512159"/>
              <a:gd name="connsiteX167" fmla="*/ 56254 w 264461"/>
              <a:gd name="connsiteY167" fmla="*/ 255813 h 512159"/>
              <a:gd name="connsiteX168" fmla="*/ 55750 w 264461"/>
              <a:gd name="connsiteY168" fmla="*/ 255041 h 512159"/>
              <a:gd name="connsiteX169" fmla="*/ 55473 w 264461"/>
              <a:gd name="connsiteY169" fmla="*/ 253860 h 512159"/>
              <a:gd name="connsiteX170" fmla="*/ 55445 w 264461"/>
              <a:gd name="connsiteY170" fmla="*/ 251698 h 512159"/>
              <a:gd name="connsiteX171" fmla="*/ 56264 w 264461"/>
              <a:gd name="connsiteY171" fmla="*/ 250145 h 512159"/>
              <a:gd name="connsiteX172" fmla="*/ 59731 w 264461"/>
              <a:gd name="connsiteY172" fmla="*/ 247802 h 512159"/>
              <a:gd name="connsiteX173" fmla="*/ 58160 w 264461"/>
              <a:gd name="connsiteY173" fmla="*/ 246974 h 512159"/>
              <a:gd name="connsiteX174" fmla="*/ 58102 w 264461"/>
              <a:gd name="connsiteY174" fmla="*/ 246383 h 512159"/>
              <a:gd name="connsiteX175" fmla="*/ 58998 w 264461"/>
              <a:gd name="connsiteY175" fmla="*/ 244431 h 512159"/>
              <a:gd name="connsiteX176" fmla="*/ 62722 w 264461"/>
              <a:gd name="connsiteY176" fmla="*/ 241392 h 512159"/>
              <a:gd name="connsiteX177" fmla="*/ 63722 w 264461"/>
              <a:gd name="connsiteY177" fmla="*/ 240840 h 512159"/>
              <a:gd name="connsiteX178" fmla="*/ 64713 w 264461"/>
              <a:gd name="connsiteY178" fmla="*/ 240925 h 512159"/>
              <a:gd name="connsiteX179" fmla="*/ 62789 w 264461"/>
              <a:gd name="connsiteY179" fmla="*/ 246317 h 512159"/>
              <a:gd name="connsiteX180" fmla="*/ 58169 w 264461"/>
              <a:gd name="connsiteY180" fmla="*/ 255451 h 512159"/>
              <a:gd name="connsiteX181" fmla="*/ 63303 w 264461"/>
              <a:gd name="connsiteY181" fmla="*/ 230124 h 512159"/>
              <a:gd name="connsiteX182" fmla="*/ 52654 w 264461"/>
              <a:gd name="connsiteY182" fmla="*/ 232801 h 512159"/>
              <a:gd name="connsiteX183" fmla="*/ 48987 w 264461"/>
              <a:gd name="connsiteY183" fmla="*/ 232563 h 512159"/>
              <a:gd name="connsiteX184" fmla="*/ 48654 w 264461"/>
              <a:gd name="connsiteY184" fmla="*/ 231248 h 512159"/>
              <a:gd name="connsiteX185" fmla="*/ 49387 w 264461"/>
              <a:gd name="connsiteY185" fmla="*/ 230372 h 512159"/>
              <a:gd name="connsiteX186" fmla="*/ 52426 w 264461"/>
              <a:gd name="connsiteY186" fmla="*/ 229524 h 512159"/>
              <a:gd name="connsiteX187" fmla="*/ 53654 w 264461"/>
              <a:gd name="connsiteY187" fmla="*/ 223076 h 512159"/>
              <a:gd name="connsiteX188" fmla="*/ 49063 w 264461"/>
              <a:gd name="connsiteY188" fmla="*/ 220094 h 512159"/>
              <a:gd name="connsiteX189" fmla="*/ 48825 w 264461"/>
              <a:gd name="connsiteY189" fmla="*/ 219265 h 512159"/>
              <a:gd name="connsiteX190" fmla="*/ 49187 w 264461"/>
              <a:gd name="connsiteY190" fmla="*/ 217846 h 512159"/>
              <a:gd name="connsiteX191" fmla="*/ 49721 w 264461"/>
              <a:gd name="connsiteY191" fmla="*/ 217208 h 512159"/>
              <a:gd name="connsiteX192" fmla="*/ 52502 w 264461"/>
              <a:gd name="connsiteY192" fmla="*/ 215703 h 512159"/>
              <a:gd name="connsiteX193" fmla="*/ 53673 w 264461"/>
              <a:gd name="connsiteY193" fmla="*/ 215370 h 512159"/>
              <a:gd name="connsiteX194" fmla="*/ 54626 w 264461"/>
              <a:gd name="connsiteY194" fmla="*/ 215570 h 512159"/>
              <a:gd name="connsiteX195" fmla="*/ 56588 w 264461"/>
              <a:gd name="connsiteY195" fmla="*/ 217313 h 512159"/>
              <a:gd name="connsiteX196" fmla="*/ 58798 w 264461"/>
              <a:gd name="connsiteY196" fmla="*/ 220961 h 512159"/>
              <a:gd name="connsiteX197" fmla="*/ 61760 w 264461"/>
              <a:gd name="connsiteY197" fmla="*/ 221542 h 512159"/>
              <a:gd name="connsiteX198" fmla="*/ 63770 w 264461"/>
              <a:gd name="connsiteY198" fmla="*/ 223085 h 512159"/>
              <a:gd name="connsiteX199" fmla="*/ 63303 w 264461"/>
              <a:gd name="connsiteY199" fmla="*/ 230124 h 512159"/>
              <a:gd name="connsiteX200" fmla="*/ 41119 w 264461"/>
              <a:gd name="connsiteY200" fmla="*/ 218504 h 512159"/>
              <a:gd name="connsiteX201" fmla="*/ 39605 w 264461"/>
              <a:gd name="connsiteY201" fmla="*/ 218770 h 512159"/>
              <a:gd name="connsiteX202" fmla="*/ 39491 w 264461"/>
              <a:gd name="connsiteY202" fmla="*/ 218084 h 512159"/>
              <a:gd name="connsiteX203" fmla="*/ 42129 w 264461"/>
              <a:gd name="connsiteY203" fmla="*/ 214808 h 512159"/>
              <a:gd name="connsiteX204" fmla="*/ 43834 w 264461"/>
              <a:gd name="connsiteY204" fmla="*/ 214265 h 512159"/>
              <a:gd name="connsiteX205" fmla="*/ 44434 w 264461"/>
              <a:gd name="connsiteY205" fmla="*/ 214589 h 512159"/>
              <a:gd name="connsiteX206" fmla="*/ 43196 w 264461"/>
              <a:gd name="connsiteY206" fmla="*/ 216494 h 512159"/>
              <a:gd name="connsiteX207" fmla="*/ 41119 w 264461"/>
              <a:gd name="connsiteY207" fmla="*/ 218504 h 512159"/>
              <a:gd name="connsiteX208" fmla="*/ 19488 w 264461"/>
              <a:gd name="connsiteY208" fmla="*/ 199977 h 512159"/>
              <a:gd name="connsiteX209" fmla="*/ 17135 w 264461"/>
              <a:gd name="connsiteY209" fmla="*/ 200644 h 512159"/>
              <a:gd name="connsiteX210" fmla="*/ 16268 w 264461"/>
              <a:gd name="connsiteY210" fmla="*/ 200254 h 512159"/>
              <a:gd name="connsiteX211" fmla="*/ 16116 w 264461"/>
              <a:gd name="connsiteY211" fmla="*/ 199635 h 512159"/>
              <a:gd name="connsiteX212" fmla="*/ 16650 w 264461"/>
              <a:gd name="connsiteY212" fmla="*/ 197949 h 512159"/>
              <a:gd name="connsiteX213" fmla="*/ 18450 w 264461"/>
              <a:gd name="connsiteY213" fmla="*/ 197348 h 512159"/>
              <a:gd name="connsiteX214" fmla="*/ 19755 w 264461"/>
              <a:gd name="connsiteY214" fmla="*/ 198263 h 512159"/>
              <a:gd name="connsiteX215" fmla="*/ 19964 w 264461"/>
              <a:gd name="connsiteY215" fmla="*/ 199092 h 512159"/>
              <a:gd name="connsiteX216" fmla="*/ 19488 w 264461"/>
              <a:gd name="connsiteY216" fmla="*/ 199977 h 512159"/>
              <a:gd name="connsiteX217" fmla="*/ 49911 w 264461"/>
              <a:gd name="connsiteY217" fmla="*/ 200015 h 512159"/>
              <a:gd name="connsiteX218" fmla="*/ 49120 w 264461"/>
              <a:gd name="connsiteY218" fmla="*/ 200644 h 512159"/>
              <a:gd name="connsiteX219" fmla="*/ 48120 w 264461"/>
              <a:gd name="connsiteY219" fmla="*/ 200520 h 512159"/>
              <a:gd name="connsiteX220" fmla="*/ 47130 w 264461"/>
              <a:gd name="connsiteY220" fmla="*/ 199711 h 512159"/>
              <a:gd name="connsiteX221" fmla="*/ 45815 w 264461"/>
              <a:gd name="connsiteY221" fmla="*/ 197406 h 512159"/>
              <a:gd name="connsiteX222" fmla="*/ 48768 w 264461"/>
              <a:gd name="connsiteY222" fmla="*/ 195805 h 512159"/>
              <a:gd name="connsiteX223" fmla="*/ 49949 w 264461"/>
              <a:gd name="connsiteY223" fmla="*/ 196748 h 512159"/>
              <a:gd name="connsiteX224" fmla="*/ 50397 w 264461"/>
              <a:gd name="connsiteY224" fmla="*/ 197825 h 512159"/>
              <a:gd name="connsiteX225" fmla="*/ 50416 w 264461"/>
              <a:gd name="connsiteY225" fmla="*/ 199015 h 512159"/>
              <a:gd name="connsiteX226" fmla="*/ 49911 w 264461"/>
              <a:gd name="connsiteY226" fmla="*/ 200015 h 512159"/>
              <a:gd name="connsiteX227" fmla="*/ 23955 w 264461"/>
              <a:gd name="connsiteY227" fmla="*/ 192624 h 512159"/>
              <a:gd name="connsiteX228" fmla="*/ 22822 w 264461"/>
              <a:gd name="connsiteY228" fmla="*/ 192900 h 512159"/>
              <a:gd name="connsiteX229" fmla="*/ 21346 w 264461"/>
              <a:gd name="connsiteY229" fmla="*/ 192634 h 512159"/>
              <a:gd name="connsiteX230" fmla="*/ 20431 w 264461"/>
              <a:gd name="connsiteY230" fmla="*/ 191872 h 512159"/>
              <a:gd name="connsiteX231" fmla="*/ 19507 w 264461"/>
              <a:gd name="connsiteY231" fmla="*/ 188852 h 512159"/>
              <a:gd name="connsiteX232" fmla="*/ 19336 w 264461"/>
              <a:gd name="connsiteY232" fmla="*/ 187023 h 512159"/>
              <a:gd name="connsiteX233" fmla="*/ 19745 w 264461"/>
              <a:gd name="connsiteY233" fmla="*/ 183614 h 512159"/>
              <a:gd name="connsiteX234" fmla="*/ 19650 w 264461"/>
              <a:gd name="connsiteY234" fmla="*/ 179527 h 512159"/>
              <a:gd name="connsiteX235" fmla="*/ 22698 w 264461"/>
              <a:gd name="connsiteY235" fmla="*/ 179403 h 512159"/>
              <a:gd name="connsiteX236" fmla="*/ 23488 w 264461"/>
              <a:gd name="connsiteY236" fmla="*/ 179994 h 512159"/>
              <a:gd name="connsiteX237" fmla="*/ 24012 w 264461"/>
              <a:gd name="connsiteY237" fmla="*/ 192100 h 512159"/>
              <a:gd name="connsiteX238" fmla="*/ 23955 w 264461"/>
              <a:gd name="connsiteY238" fmla="*/ 192624 h 512159"/>
              <a:gd name="connsiteX239" fmla="*/ 53502 w 264461"/>
              <a:gd name="connsiteY239" fmla="*/ 173384 h 512159"/>
              <a:gd name="connsiteX240" fmla="*/ 53464 w 264461"/>
              <a:gd name="connsiteY240" fmla="*/ 175574 h 512159"/>
              <a:gd name="connsiteX241" fmla="*/ 52987 w 264461"/>
              <a:gd name="connsiteY241" fmla="*/ 178156 h 512159"/>
              <a:gd name="connsiteX242" fmla="*/ 53597 w 264461"/>
              <a:gd name="connsiteY242" fmla="*/ 180889 h 512159"/>
              <a:gd name="connsiteX243" fmla="*/ 53740 w 264461"/>
              <a:gd name="connsiteY243" fmla="*/ 182842 h 512159"/>
              <a:gd name="connsiteX244" fmla="*/ 54864 w 264461"/>
              <a:gd name="connsiteY244" fmla="*/ 183461 h 512159"/>
              <a:gd name="connsiteX245" fmla="*/ 55550 w 264461"/>
              <a:gd name="connsiteY245" fmla="*/ 184356 h 512159"/>
              <a:gd name="connsiteX246" fmla="*/ 60560 w 264461"/>
              <a:gd name="connsiteY246" fmla="*/ 185356 h 512159"/>
              <a:gd name="connsiteX247" fmla="*/ 65218 w 264461"/>
              <a:gd name="connsiteY247" fmla="*/ 185071 h 512159"/>
              <a:gd name="connsiteX248" fmla="*/ 66113 w 264461"/>
              <a:gd name="connsiteY248" fmla="*/ 185871 h 512159"/>
              <a:gd name="connsiteX249" fmla="*/ 66218 w 264461"/>
              <a:gd name="connsiteY249" fmla="*/ 187147 h 512159"/>
              <a:gd name="connsiteX250" fmla="*/ 65484 w 264461"/>
              <a:gd name="connsiteY250" fmla="*/ 188548 h 512159"/>
              <a:gd name="connsiteX251" fmla="*/ 62827 w 264461"/>
              <a:gd name="connsiteY251" fmla="*/ 191100 h 512159"/>
              <a:gd name="connsiteX252" fmla="*/ 59664 w 264461"/>
              <a:gd name="connsiteY252" fmla="*/ 195224 h 512159"/>
              <a:gd name="connsiteX253" fmla="*/ 58721 w 264461"/>
              <a:gd name="connsiteY253" fmla="*/ 196082 h 512159"/>
              <a:gd name="connsiteX254" fmla="*/ 57702 w 264461"/>
              <a:gd name="connsiteY254" fmla="*/ 196120 h 512159"/>
              <a:gd name="connsiteX255" fmla="*/ 56969 w 264461"/>
              <a:gd name="connsiteY255" fmla="*/ 195748 h 512159"/>
              <a:gd name="connsiteX256" fmla="*/ 56445 w 264461"/>
              <a:gd name="connsiteY256" fmla="*/ 188414 h 512159"/>
              <a:gd name="connsiteX257" fmla="*/ 53016 w 264461"/>
              <a:gd name="connsiteY257" fmla="*/ 189357 h 512159"/>
              <a:gd name="connsiteX258" fmla="*/ 50254 w 264461"/>
              <a:gd name="connsiteY258" fmla="*/ 189252 h 512159"/>
              <a:gd name="connsiteX259" fmla="*/ 48739 w 264461"/>
              <a:gd name="connsiteY259" fmla="*/ 188357 h 512159"/>
              <a:gd name="connsiteX260" fmla="*/ 47682 w 264461"/>
              <a:gd name="connsiteY260" fmla="*/ 186633 h 512159"/>
              <a:gd name="connsiteX261" fmla="*/ 45539 w 264461"/>
              <a:gd name="connsiteY261" fmla="*/ 182194 h 512159"/>
              <a:gd name="connsiteX262" fmla="*/ 39310 w 264461"/>
              <a:gd name="connsiteY262" fmla="*/ 180442 h 512159"/>
              <a:gd name="connsiteX263" fmla="*/ 37547 w 264461"/>
              <a:gd name="connsiteY263" fmla="*/ 177984 h 512159"/>
              <a:gd name="connsiteX264" fmla="*/ 37014 w 264461"/>
              <a:gd name="connsiteY264" fmla="*/ 176498 h 512159"/>
              <a:gd name="connsiteX265" fmla="*/ 37233 w 264461"/>
              <a:gd name="connsiteY265" fmla="*/ 175679 h 512159"/>
              <a:gd name="connsiteX266" fmla="*/ 38528 w 264461"/>
              <a:gd name="connsiteY266" fmla="*/ 173850 h 512159"/>
              <a:gd name="connsiteX267" fmla="*/ 40148 w 264461"/>
              <a:gd name="connsiteY267" fmla="*/ 174498 h 512159"/>
              <a:gd name="connsiteX268" fmla="*/ 41148 w 264461"/>
              <a:gd name="connsiteY268" fmla="*/ 174098 h 512159"/>
              <a:gd name="connsiteX269" fmla="*/ 41757 w 264461"/>
              <a:gd name="connsiteY269" fmla="*/ 173279 h 512159"/>
              <a:gd name="connsiteX270" fmla="*/ 41748 w 264461"/>
              <a:gd name="connsiteY270" fmla="*/ 172603 h 512159"/>
              <a:gd name="connsiteX271" fmla="*/ 40900 w 264461"/>
              <a:gd name="connsiteY271" fmla="*/ 171012 h 512159"/>
              <a:gd name="connsiteX272" fmla="*/ 40862 w 264461"/>
              <a:gd name="connsiteY272" fmla="*/ 170517 h 512159"/>
              <a:gd name="connsiteX273" fmla="*/ 47234 w 264461"/>
              <a:gd name="connsiteY273" fmla="*/ 168497 h 512159"/>
              <a:gd name="connsiteX274" fmla="*/ 47796 w 264461"/>
              <a:gd name="connsiteY274" fmla="*/ 165335 h 512159"/>
              <a:gd name="connsiteX275" fmla="*/ 49178 w 264461"/>
              <a:gd name="connsiteY275" fmla="*/ 165078 h 512159"/>
              <a:gd name="connsiteX276" fmla="*/ 50759 w 264461"/>
              <a:gd name="connsiteY276" fmla="*/ 166116 h 512159"/>
              <a:gd name="connsiteX277" fmla="*/ 52921 w 264461"/>
              <a:gd name="connsiteY277" fmla="*/ 169402 h 512159"/>
              <a:gd name="connsiteX278" fmla="*/ 53502 w 264461"/>
              <a:gd name="connsiteY278" fmla="*/ 173384 h 512159"/>
              <a:gd name="connsiteX279" fmla="*/ 25136 w 264461"/>
              <a:gd name="connsiteY279" fmla="*/ 164525 h 512159"/>
              <a:gd name="connsiteX280" fmla="*/ 28156 w 264461"/>
              <a:gd name="connsiteY280" fmla="*/ 167326 h 512159"/>
              <a:gd name="connsiteX281" fmla="*/ 25755 w 264461"/>
              <a:gd name="connsiteY281" fmla="*/ 171974 h 512159"/>
              <a:gd name="connsiteX282" fmla="*/ 22069 w 264461"/>
              <a:gd name="connsiteY282" fmla="*/ 171955 h 512159"/>
              <a:gd name="connsiteX283" fmla="*/ 16878 w 264461"/>
              <a:gd name="connsiteY283" fmla="*/ 168564 h 512159"/>
              <a:gd name="connsiteX284" fmla="*/ 16859 w 264461"/>
              <a:gd name="connsiteY284" fmla="*/ 167869 h 512159"/>
              <a:gd name="connsiteX285" fmla="*/ 17288 w 264461"/>
              <a:gd name="connsiteY285" fmla="*/ 166849 h 512159"/>
              <a:gd name="connsiteX286" fmla="*/ 18069 w 264461"/>
              <a:gd name="connsiteY286" fmla="*/ 166040 h 512159"/>
              <a:gd name="connsiteX287" fmla="*/ 18878 w 264461"/>
              <a:gd name="connsiteY287" fmla="*/ 165849 h 512159"/>
              <a:gd name="connsiteX288" fmla="*/ 20164 w 264461"/>
              <a:gd name="connsiteY288" fmla="*/ 166402 h 512159"/>
              <a:gd name="connsiteX289" fmla="*/ 21955 w 264461"/>
              <a:gd name="connsiteY289" fmla="*/ 165506 h 512159"/>
              <a:gd name="connsiteX290" fmla="*/ 23384 w 264461"/>
              <a:gd name="connsiteY290" fmla="*/ 165792 h 512159"/>
              <a:gd name="connsiteX291" fmla="*/ 25136 w 264461"/>
              <a:gd name="connsiteY291" fmla="*/ 164525 h 512159"/>
              <a:gd name="connsiteX292" fmla="*/ 52054 w 264461"/>
              <a:gd name="connsiteY292" fmla="*/ 130245 h 512159"/>
              <a:gd name="connsiteX293" fmla="*/ 48654 w 264461"/>
              <a:gd name="connsiteY293" fmla="*/ 139094 h 512159"/>
              <a:gd name="connsiteX294" fmla="*/ 47320 w 264461"/>
              <a:gd name="connsiteY294" fmla="*/ 139313 h 512159"/>
              <a:gd name="connsiteX295" fmla="*/ 46149 w 264461"/>
              <a:gd name="connsiteY295" fmla="*/ 141522 h 512159"/>
              <a:gd name="connsiteX296" fmla="*/ 42529 w 264461"/>
              <a:gd name="connsiteY296" fmla="*/ 143951 h 512159"/>
              <a:gd name="connsiteX297" fmla="*/ 45691 w 264461"/>
              <a:gd name="connsiteY297" fmla="*/ 143999 h 512159"/>
              <a:gd name="connsiteX298" fmla="*/ 46577 w 264461"/>
              <a:gd name="connsiteY298" fmla="*/ 144809 h 512159"/>
              <a:gd name="connsiteX299" fmla="*/ 46596 w 264461"/>
              <a:gd name="connsiteY299" fmla="*/ 146552 h 512159"/>
              <a:gd name="connsiteX300" fmla="*/ 45996 w 264461"/>
              <a:gd name="connsiteY300" fmla="*/ 147561 h 512159"/>
              <a:gd name="connsiteX301" fmla="*/ 41910 w 264461"/>
              <a:gd name="connsiteY301" fmla="*/ 151581 h 512159"/>
              <a:gd name="connsiteX302" fmla="*/ 39100 w 264461"/>
              <a:gd name="connsiteY302" fmla="*/ 153105 h 512159"/>
              <a:gd name="connsiteX303" fmla="*/ 36071 w 264461"/>
              <a:gd name="connsiteY303" fmla="*/ 157296 h 512159"/>
              <a:gd name="connsiteX304" fmla="*/ 34537 w 264461"/>
              <a:gd name="connsiteY304" fmla="*/ 157344 h 512159"/>
              <a:gd name="connsiteX305" fmla="*/ 33023 w 264461"/>
              <a:gd name="connsiteY305" fmla="*/ 160001 h 512159"/>
              <a:gd name="connsiteX306" fmla="*/ 31785 w 264461"/>
              <a:gd name="connsiteY306" fmla="*/ 161172 h 512159"/>
              <a:gd name="connsiteX307" fmla="*/ 31080 w 264461"/>
              <a:gd name="connsiteY307" fmla="*/ 161172 h 512159"/>
              <a:gd name="connsiteX308" fmla="*/ 30280 w 264461"/>
              <a:gd name="connsiteY308" fmla="*/ 160582 h 512159"/>
              <a:gd name="connsiteX309" fmla="*/ 28403 w 264461"/>
              <a:gd name="connsiteY309" fmla="*/ 157982 h 512159"/>
              <a:gd name="connsiteX310" fmla="*/ 31813 w 264461"/>
              <a:gd name="connsiteY310" fmla="*/ 155420 h 512159"/>
              <a:gd name="connsiteX311" fmla="*/ 32128 w 264461"/>
              <a:gd name="connsiteY311" fmla="*/ 153981 h 512159"/>
              <a:gd name="connsiteX312" fmla="*/ 34461 w 264461"/>
              <a:gd name="connsiteY312" fmla="*/ 152476 h 512159"/>
              <a:gd name="connsiteX313" fmla="*/ 34261 w 264461"/>
              <a:gd name="connsiteY313" fmla="*/ 152010 h 512159"/>
              <a:gd name="connsiteX314" fmla="*/ 30556 w 264461"/>
              <a:gd name="connsiteY314" fmla="*/ 149895 h 512159"/>
              <a:gd name="connsiteX315" fmla="*/ 29099 w 264461"/>
              <a:gd name="connsiteY315" fmla="*/ 148476 h 512159"/>
              <a:gd name="connsiteX316" fmla="*/ 29232 w 264461"/>
              <a:gd name="connsiteY316" fmla="*/ 147733 h 512159"/>
              <a:gd name="connsiteX317" fmla="*/ 31013 w 264461"/>
              <a:gd name="connsiteY317" fmla="*/ 146095 h 512159"/>
              <a:gd name="connsiteX318" fmla="*/ 30175 w 264461"/>
              <a:gd name="connsiteY318" fmla="*/ 145885 h 512159"/>
              <a:gd name="connsiteX319" fmla="*/ 29604 w 264461"/>
              <a:gd name="connsiteY319" fmla="*/ 144999 h 512159"/>
              <a:gd name="connsiteX320" fmla="*/ 28575 w 264461"/>
              <a:gd name="connsiteY320" fmla="*/ 144656 h 512159"/>
              <a:gd name="connsiteX321" fmla="*/ 28260 w 264461"/>
              <a:gd name="connsiteY321" fmla="*/ 143837 h 512159"/>
              <a:gd name="connsiteX322" fmla="*/ 28070 w 264461"/>
              <a:gd name="connsiteY322" fmla="*/ 141665 h 512159"/>
              <a:gd name="connsiteX323" fmla="*/ 28346 w 264461"/>
              <a:gd name="connsiteY323" fmla="*/ 139446 h 512159"/>
              <a:gd name="connsiteX324" fmla="*/ 29423 w 264461"/>
              <a:gd name="connsiteY324" fmla="*/ 138465 h 512159"/>
              <a:gd name="connsiteX325" fmla="*/ 29861 w 264461"/>
              <a:gd name="connsiteY325" fmla="*/ 137417 h 512159"/>
              <a:gd name="connsiteX326" fmla="*/ 30299 w 264461"/>
              <a:gd name="connsiteY326" fmla="*/ 137093 h 512159"/>
              <a:gd name="connsiteX327" fmla="*/ 31966 w 264461"/>
              <a:gd name="connsiteY327" fmla="*/ 137655 h 512159"/>
              <a:gd name="connsiteX328" fmla="*/ 33661 w 264461"/>
              <a:gd name="connsiteY328" fmla="*/ 139437 h 512159"/>
              <a:gd name="connsiteX329" fmla="*/ 35642 w 264461"/>
              <a:gd name="connsiteY329" fmla="*/ 138751 h 512159"/>
              <a:gd name="connsiteX330" fmla="*/ 37938 w 264461"/>
              <a:gd name="connsiteY330" fmla="*/ 139084 h 512159"/>
              <a:gd name="connsiteX331" fmla="*/ 37985 w 264461"/>
              <a:gd name="connsiteY331" fmla="*/ 138674 h 512159"/>
              <a:gd name="connsiteX332" fmla="*/ 36300 w 264461"/>
              <a:gd name="connsiteY332" fmla="*/ 134303 h 512159"/>
              <a:gd name="connsiteX333" fmla="*/ 36604 w 264461"/>
              <a:gd name="connsiteY333" fmla="*/ 133407 h 512159"/>
              <a:gd name="connsiteX334" fmla="*/ 37519 w 264461"/>
              <a:gd name="connsiteY334" fmla="*/ 132388 h 512159"/>
              <a:gd name="connsiteX335" fmla="*/ 42815 w 264461"/>
              <a:gd name="connsiteY335" fmla="*/ 129254 h 512159"/>
              <a:gd name="connsiteX336" fmla="*/ 49416 w 264461"/>
              <a:gd name="connsiteY336" fmla="*/ 123977 h 512159"/>
              <a:gd name="connsiteX337" fmla="*/ 51016 w 264461"/>
              <a:gd name="connsiteY337" fmla="*/ 123149 h 512159"/>
              <a:gd name="connsiteX338" fmla="*/ 51502 w 264461"/>
              <a:gd name="connsiteY338" fmla="*/ 123873 h 512159"/>
              <a:gd name="connsiteX339" fmla="*/ 52168 w 264461"/>
              <a:gd name="connsiteY339" fmla="*/ 126606 h 512159"/>
              <a:gd name="connsiteX340" fmla="*/ 52054 w 264461"/>
              <a:gd name="connsiteY340" fmla="*/ 130245 h 512159"/>
              <a:gd name="connsiteX341" fmla="*/ 134626 w 264461"/>
              <a:gd name="connsiteY341" fmla="*/ 122482 h 512159"/>
              <a:gd name="connsiteX342" fmla="*/ 134855 w 264461"/>
              <a:gd name="connsiteY342" fmla="*/ 126654 h 512159"/>
              <a:gd name="connsiteX343" fmla="*/ 134541 w 264461"/>
              <a:gd name="connsiteY343" fmla="*/ 127921 h 512159"/>
              <a:gd name="connsiteX344" fmla="*/ 133902 w 264461"/>
              <a:gd name="connsiteY344" fmla="*/ 129483 h 512159"/>
              <a:gd name="connsiteX345" fmla="*/ 131883 w 264461"/>
              <a:gd name="connsiteY345" fmla="*/ 132388 h 512159"/>
              <a:gd name="connsiteX346" fmla="*/ 126568 w 264461"/>
              <a:gd name="connsiteY346" fmla="*/ 136531 h 512159"/>
              <a:gd name="connsiteX347" fmla="*/ 116843 w 264461"/>
              <a:gd name="connsiteY347" fmla="*/ 146018 h 512159"/>
              <a:gd name="connsiteX348" fmla="*/ 111090 w 264461"/>
              <a:gd name="connsiteY348" fmla="*/ 150704 h 512159"/>
              <a:gd name="connsiteX349" fmla="*/ 110299 w 264461"/>
              <a:gd name="connsiteY349" fmla="*/ 152953 h 512159"/>
              <a:gd name="connsiteX350" fmla="*/ 109871 w 264461"/>
              <a:gd name="connsiteY350" fmla="*/ 156077 h 512159"/>
              <a:gd name="connsiteX351" fmla="*/ 113309 w 264461"/>
              <a:gd name="connsiteY351" fmla="*/ 156696 h 512159"/>
              <a:gd name="connsiteX352" fmla="*/ 114643 w 264461"/>
              <a:gd name="connsiteY352" fmla="*/ 157753 h 512159"/>
              <a:gd name="connsiteX353" fmla="*/ 113824 w 264461"/>
              <a:gd name="connsiteY353" fmla="*/ 159334 h 512159"/>
              <a:gd name="connsiteX354" fmla="*/ 108728 w 264461"/>
              <a:gd name="connsiteY354" fmla="*/ 164830 h 512159"/>
              <a:gd name="connsiteX355" fmla="*/ 107232 w 264461"/>
              <a:gd name="connsiteY355" fmla="*/ 169783 h 512159"/>
              <a:gd name="connsiteX356" fmla="*/ 111138 w 264461"/>
              <a:gd name="connsiteY356" fmla="*/ 169602 h 512159"/>
              <a:gd name="connsiteX357" fmla="*/ 114357 w 264461"/>
              <a:gd name="connsiteY357" fmla="*/ 168650 h 512159"/>
              <a:gd name="connsiteX358" fmla="*/ 120767 w 264461"/>
              <a:gd name="connsiteY358" fmla="*/ 165563 h 512159"/>
              <a:gd name="connsiteX359" fmla="*/ 126797 w 264461"/>
              <a:gd name="connsiteY359" fmla="*/ 163268 h 512159"/>
              <a:gd name="connsiteX360" fmla="*/ 129692 w 264461"/>
              <a:gd name="connsiteY360" fmla="*/ 163173 h 512159"/>
              <a:gd name="connsiteX361" fmla="*/ 135322 w 264461"/>
              <a:gd name="connsiteY361" fmla="*/ 165002 h 512159"/>
              <a:gd name="connsiteX362" fmla="*/ 136598 w 264461"/>
              <a:gd name="connsiteY362" fmla="*/ 165059 h 512159"/>
              <a:gd name="connsiteX363" fmla="*/ 138989 w 264461"/>
              <a:gd name="connsiteY363" fmla="*/ 164211 h 512159"/>
              <a:gd name="connsiteX364" fmla="*/ 141408 w 264461"/>
              <a:gd name="connsiteY364" fmla="*/ 164059 h 512159"/>
              <a:gd name="connsiteX365" fmla="*/ 157772 w 264461"/>
              <a:gd name="connsiteY365" fmla="*/ 164630 h 512159"/>
              <a:gd name="connsiteX366" fmla="*/ 162325 w 264461"/>
              <a:gd name="connsiteY366" fmla="*/ 163554 h 512159"/>
              <a:gd name="connsiteX367" fmla="*/ 165335 w 264461"/>
              <a:gd name="connsiteY367" fmla="*/ 164840 h 512159"/>
              <a:gd name="connsiteX368" fmla="*/ 167849 w 264461"/>
              <a:gd name="connsiteY368" fmla="*/ 168040 h 512159"/>
              <a:gd name="connsiteX369" fmla="*/ 170240 w 264461"/>
              <a:gd name="connsiteY369" fmla="*/ 173936 h 512159"/>
              <a:gd name="connsiteX370" fmla="*/ 170164 w 264461"/>
              <a:gd name="connsiteY370" fmla="*/ 174917 h 512159"/>
              <a:gd name="connsiteX371" fmla="*/ 168716 w 264461"/>
              <a:gd name="connsiteY371" fmla="*/ 177594 h 512159"/>
              <a:gd name="connsiteX372" fmla="*/ 166049 w 264461"/>
              <a:gd name="connsiteY372" fmla="*/ 180947 h 512159"/>
              <a:gd name="connsiteX373" fmla="*/ 163754 w 264461"/>
              <a:gd name="connsiteY373" fmla="*/ 185556 h 512159"/>
              <a:gd name="connsiteX374" fmla="*/ 163087 w 264461"/>
              <a:gd name="connsiteY374" fmla="*/ 188033 h 512159"/>
              <a:gd name="connsiteX375" fmla="*/ 162639 w 264461"/>
              <a:gd name="connsiteY375" fmla="*/ 190748 h 512159"/>
              <a:gd name="connsiteX376" fmla="*/ 161915 w 264461"/>
              <a:gd name="connsiteY376" fmla="*/ 193253 h 512159"/>
              <a:gd name="connsiteX377" fmla="*/ 157353 w 264461"/>
              <a:gd name="connsiteY377" fmla="*/ 204969 h 512159"/>
              <a:gd name="connsiteX378" fmla="*/ 152905 w 264461"/>
              <a:gd name="connsiteY378" fmla="*/ 211426 h 512159"/>
              <a:gd name="connsiteX379" fmla="*/ 150924 w 264461"/>
              <a:gd name="connsiteY379" fmla="*/ 215998 h 512159"/>
              <a:gd name="connsiteX380" fmla="*/ 148476 w 264461"/>
              <a:gd name="connsiteY380" fmla="*/ 219628 h 512159"/>
              <a:gd name="connsiteX381" fmla="*/ 146113 w 264461"/>
              <a:gd name="connsiteY381" fmla="*/ 221913 h 512159"/>
              <a:gd name="connsiteX382" fmla="*/ 143599 w 264461"/>
              <a:gd name="connsiteY382" fmla="*/ 223438 h 512159"/>
              <a:gd name="connsiteX383" fmla="*/ 136322 w 264461"/>
              <a:gd name="connsiteY383" fmla="*/ 225057 h 512159"/>
              <a:gd name="connsiteX384" fmla="*/ 134283 w 264461"/>
              <a:gd name="connsiteY384" fmla="*/ 226219 h 512159"/>
              <a:gd name="connsiteX385" fmla="*/ 131854 w 264461"/>
              <a:gd name="connsiteY385" fmla="*/ 228210 h 512159"/>
              <a:gd name="connsiteX386" fmla="*/ 129302 w 264461"/>
              <a:gd name="connsiteY386" fmla="*/ 229200 h 512159"/>
              <a:gd name="connsiteX387" fmla="*/ 132293 w 264461"/>
              <a:gd name="connsiteY387" fmla="*/ 229076 h 512159"/>
              <a:gd name="connsiteX388" fmla="*/ 135255 w 264461"/>
              <a:gd name="connsiteY388" fmla="*/ 227971 h 512159"/>
              <a:gd name="connsiteX389" fmla="*/ 140656 w 264461"/>
              <a:gd name="connsiteY389" fmla="*/ 227571 h 512159"/>
              <a:gd name="connsiteX390" fmla="*/ 146866 w 264461"/>
              <a:gd name="connsiteY390" fmla="*/ 231381 h 512159"/>
              <a:gd name="connsiteX391" fmla="*/ 146285 w 264461"/>
              <a:gd name="connsiteY391" fmla="*/ 234496 h 512159"/>
              <a:gd name="connsiteX392" fmla="*/ 143789 w 264461"/>
              <a:gd name="connsiteY392" fmla="*/ 236954 h 512159"/>
              <a:gd name="connsiteX393" fmla="*/ 138113 w 264461"/>
              <a:gd name="connsiteY393" fmla="*/ 237344 h 512159"/>
              <a:gd name="connsiteX394" fmla="*/ 132807 w 264461"/>
              <a:gd name="connsiteY394" fmla="*/ 242802 h 512159"/>
              <a:gd name="connsiteX395" fmla="*/ 130416 w 264461"/>
              <a:gd name="connsiteY395" fmla="*/ 244478 h 512159"/>
              <a:gd name="connsiteX396" fmla="*/ 127883 w 264461"/>
              <a:gd name="connsiteY396" fmla="*/ 245307 h 512159"/>
              <a:gd name="connsiteX397" fmla="*/ 124720 w 264461"/>
              <a:gd name="connsiteY397" fmla="*/ 245059 h 512159"/>
              <a:gd name="connsiteX398" fmla="*/ 118977 w 264461"/>
              <a:gd name="connsiteY398" fmla="*/ 243602 h 512159"/>
              <a:gd name="connsiteX399" fmla="*/ 116462 w 264461"/>
              <a:gd name="connsiteY399" fmla="*/ 242078 h 512159"/>
              <a:gd name="connsiteX400" fmla="*/ 118729 w 264461"/>
              <a:gd name="connsiteY400" fmla="*/ 244564 h 512159"/>
              <a:gd name="connsiteX401" fmla="*/ 121310 w 264461"/>
              <a:gd name="connsiteY401" fmla="*/ 245859 h 512159"/>
              <a:gd name="connsiteX402" fmla="*/ 136255 w 264461"/>
              <a:gd name="connsiteY402" fmla="*/ 248917 h 512159"/>
              <a:gd name="connsiteX403" fmla="*/ 137160 w 264461"/>
              <a:gd name="connsiteY403" fmla="*/ 248593 h 512159"/>
              <a:gd name="connsiteX404" fmla="*/ 141922 w 264461"/>
              <a:gd name="connsiteY404" fmla="*/ 245374 h 512159"/>
              <a:gd name="connsiteX405" fmla="*/ 148276 w 264461"/>
              <a:gd name="connsiteY405" fmla="*/ 245326 h 512159"/>
              <a:gd name="connsiteX406" fmla="*/ 160363 w 264461"/>
              <a:gd name="connsiteY406" fmla="*/ 251250 h 512159"/>
              <a:gd name="connsiteX407" fmla="*/ 163839 w 264461"/>
              <a:gd name="connsiteY407" fmla="*/ 255775 h 512159"/>
              <a:gd name="connsiteX408" fmla="*/ 168830 w 264461"/>
              <a:gd name="connsiteY408" fmla="*/ 262223 h 512159"/>
              <a:gd name="connsiteX409" fmla="*/ 171545 w 264461"/>
              <a:gd name="connsiteY409" fmla="*/ 264738 h 512159"/>
              <a:gd name="connsiteX410" fmla="*/ 173507 w 264461"/>
              <a:gd name="connsiteY410" fmla="*/ 267014 h 512159"/>
              <a:gd name="connsiteX411" fmla="*/ 174717 w 264461"/>
              <a:gd name="connsiteY411" fmla="*/ 270415 h 512159"/>
              <a:gd name="connsiteX412" fmla="*/ 177060 w 264461"/>
              <a:gd name="connsiteY412" fmla="*/ 281616 h 512159"/>
              <a:gd name="connsiteX413" fmla="*/ 179737 w 264461"/>
              <a:gd name="connsiteY413" fmla="*/ 292494 h 512159"/>
              <a:gd name="connsiteX414" fmla="*/ 183232 w 264461"/>
              <a:gd name="connsiteY414" fmla="*/ 304209 h 512159"/>
              <a:gd name="connsiteX415" fmla="*/ 184823 w 264461"/>
              <a:gd name="connsiteY415" fmla="*/ 307448 h 512159"/>
              <a:gd name="connsiteX416" fmla="*/ 186909 w 264461"/>
              <a:gd name="connsiteY416" fmla="*/ 309715 h 512159"/>
              <a:gd name="connsiteX417" fmla="*/ 197463 w 264461"/>
              <a:gd name="connsiteY417" fmla="*/ 314916 h 512159"/>
              <a:gd name="connsiteX418" fmla="*/ 199815 w 264461"/>
              <a:gd name="connsiteY418" fmla="*/ 316640 h 512159"/>
              <a:gd name="connsiteX419" fmla="*/ 203911 w 264461"/>
              <a:gd name="connsiteY419" fmla="*/ 321631 h 512159"/>
              <a:gd name="connsiteX420" fmla="*/ 207864 w 264461"/>
              <a:gd name="connsiteY420" fmla="*/ 326936 h 512159"/>
              <a:gd name="connsiteX421" fmla="*/ 211541 w 264461"/>
              <a:gd name="connsiteY421" fmla="*/ 331003 h 512159"/>
              <a:gd name="connsiteX422" fmla="*/ 215512 w 264461"/>
              <a:gd name="connsiteY422" fmla="*/ 334289 h 512159"/>
              <a:gd name="connsiteX423" fmla="*/ 213588 w 264461"/>
              <a:gd name="connsiteY423" fmla="*/ 335994 h 512159"/>
              <a:gd name="connsiteX424" fmla="*/ 212274 w 264461"/>
              <a:gd name="connsiteY424" fmla="*/ 338671 h 512159"/>
              <a:gd name="connsiteX425" fmla="*/ 213265 w 264461"/>
              <a:gd name="connsiteY425" fmla="*/ 342300 h 512159"/>
              <a:gd name="connsiteX426" fmla="*/ 214874 w 264461"/>
              <a:gd name="connsiteY426" fmla="*/ 345757 h 512159"/>
              <a:gd name="connsiteX427" fmla="*/ 218046 w 264461"/>
              <a:gd name="connsiteY427" fmla="*/ 351282 h 512159"/>
              <a:gd name="connsiteX428" fmla="*/ 220846 w 264461"/>
              <a:gd name="connsiteY428" fmla="*/ 357292 h 512159"/>
              <a:gd name="connsiteX429" fmla="*/ 219818 w 264461"/>
              <a:gd name="connsiteY429" fmla="*/ 356388 h 512159"/>
              <a:gd name="connsiteX430" fmla="*/ 218732 w 264461"/>
              <a:gd name="connsiteY430" fmla="*/ 355892 h 512159"/>
              <a:gd name="connsiteX431" fmla="*/ 217246 w 264461"/>
              <a:gd name="connsiteY431" fmla="*/ 356045 h 512159"/>
              <a:gd name="connsiteX432" fmla="*/ 215798 w 264461"/>
              <a:gd name="connsiteY432" fmla="*/ 355759 h 512159"/>
              <a:gd name="connsiteX433" fmla="*/ 213122 w 264461"/>
              <a:gd name="connsiteY433" fmla="*/ 353873 h 512159"/>
              <a:gd name="connsiteX434" fmla="*/ 210550 w 264461"/>
              <a:gd name="connsiteY434" fmla="*/ 351558 h 512159"/>
              <a:gd name="connsiteX435" fmla="*/ 205435 w 264461"/>
              <a:gd name="connsiteY435" fmla="*/ 352492 h 512159"/>
              <a:gd name="connsiteX436" fmla="*/ 202597 w 264461"/>
              <a:gd name="connsiteY436" fmla="*/ 352073 h 512159"/>
              <a:gd name="connsiteX437" fmla="*/ 200130 w 264461"/>
              <a:gd name="connsiteY437" fmla="*/ 352139 h 512159"/>
              <a:gd name="connsiteX438" fmla="*/ 204806 w 264461"/>
              <a:gd name="connsiteY438" fmla="*/ 353473 h 512159"/>
              <a:gd name="connsiteX439" fmla="*/ 209921 w 264461"/>
              <a:gd name="connsiteY439" fmla="*/ 353568 h 512159"/>
              <a:gd name="connsiteX440" fmla="*/ 221199 w 264461"/>
              <a:gd name="connsiteY440" fmla="*/ 363636 h 512159"/>
              <a:gd name="connsiteX441" fmla="*/ 225009 w 264461"/>
              <a:gd name="connsiteY441" fmla="*/ 369579 h 512159"/>
              <a:gd name="connsiteX442" fmla="*/ 227276 w 264461"/>
              <a:gd name="connsiteY442" fmla="*/ 377400 h 512159"/>
              <a:gd name="connsiteX443" fmla="*/ 225733 w 264461"/>
              <a:gd name="connsiteY443" fmla="*/ 380905 h 512159"/>
              <a:gd name="connsiteX444" fmla="*/ 223333 w 264461"/>
              <a:gd name="connsiteY444" fmla="*/ 383172 h 512159"/>
              <a:gd name="connsiteX445" fmla="*/ 221094 w 264461"/>
              <a:gd name="connsiteY445" fmla="*/ 385753 h 512159"/>
              <a:gd name="connsiteX446" fmla="*/ 218989 w 264461"/>
              <a:gd name="connsiteY446" fmla="*/ 388677 h 512159"/>
              <a:gd name="connsiteX447" fmla="*/ 225247 w 264461"/>
              <a:gd name="connsiteY447" fmla="*/ 392954 h 512159"/>
              <a:gd name="connsiteX448" fmla="*/ 226600 w 264461"/>
              <a:gd name="connsiteY448" fmla="*/ 392830 h 512159"/>
              <a:gd name="connsiteX449" fmla="*/ 227981 w 264461"/>
              <a:gd name="connsiteY449" fmla="*/ 392230 h 512159"/>
              <a:gd name="connsiteX450" fmla="*/ 229314 w 264461"/>
              <a:gd name="connsiteY450" fmla="*/ 390773 h 512159"/>
              <a:gd name="connsiteX451" fmla="*/ 231553 w 264461"/>
              <a:gd name="connsiteY451" fmla="*/ 387220 h 512159"/>
              <a:gd name="connsiteX452" fmla="*/ 232705 w 264461"/>
              <a:gd name="connsiteY452" fmla="*/ 385963 h 512159"/>
              <a:gd name="connsiteX453" fmla="*/ 236601 w 264461"/>
              <a:gd name="connsiteY453" fmla="*/ 385505 h 512159"/>
              <a:gd name="connsiteX454" fmla="*/ 239868 w 264461"/>
              <a:gd name="connsiteY454" fmla="*/ 385782 h 512159"/>
              <a:gd name="connsiteX455" fmla="*/ 243116 w 264461"/>
              <a:gd name="connsiteY455" fmla="*/ 386572 h 512159"/>
              <a:gd name="connsiteX456" fmla="*/ 245983 w 264461"/>
              <a:gd name="connsiteY456" fmla="*/ 386324 h 512159"/>
              <a:gd name="connsiteX457" fmla="*/ 251746 w 264461"/>
              <a:gd name="connsiteY457" fmla="*/ 387848 h 512159"/>
              <a:gd name="connsiteX458" fmla="*/ 254708 w 264461"/>
              <a:gd name="connsiteY458" fmla="*/ 389220 h 512159"/>
              <a:gd name="connsiteX459" fmla="*/ 262052 w 264461"/>
              <a:gd name="connsiteY459" fmla="*/ 395383 h 512159"/>
              <a:gd name="connsiteX460" fmla="*/ 263642 w 264461"/>
              <a:gd name="connsiteY460" fmla="*/ 398755 h 512159"/>
              <a:gd name="connsiteX461" fmla="*/ 264376 w 264461"/>
              <a:gd name="connsiteY461" fmla="*/ 403098 h 512159"/>
              <a:gd name="connsiteX462" fmla="*/ 264461 w 264461"/>
              <a:gd name="connsiteY462" fmla="*/ 407899 h 512159"/>
              <a:gd name="connsiteX463" fmla="*/ 263223 w 264461"/>
              <a:gd name="connsiteY463" fmla="*/ 412270 h 512159"/>
              <a:gd name="connsiteX464" fmla="*/ 261804 w 264461"/>
              <a:gd name="connsiteY464" fmla="*/ 416214 h 512159"/>
              <a:gd name="connsiteX465" fmla="*/ 260928 w 264461"/>
              <a:gd name="connsiteY465" fmla="*/ 421291 h 512159"/>
              <a:gd name="connsiteX466" fmla="*/ 260309 w 264461"/>
              <a:gd name="connsiteY466" fmla="*/ 423120 h 512159"/>
              <a:gd name="connsiteX467" fmla="*/ 259442 w 264461"/>
              <a:gd name="connsiteY467" fmla="*/ 424548 h 512159"/>
              <a:gd name="connsiteX468" fmla="*/ 255556 w 264461"/>
              <a:gd name="connsiteY468" fmla="*/ 428539 h 512159"/>
              <a:gd name="connsiteX469" fmla="*/ 252974 w 264461"/>
              <a:gd name="connsiteY469" fmla="*/ 430178 h 512159"/>
              <a:gd name="connsiteX470" fmla="*/ 251888 w 264461"/>
              <a:gd name="connsiteY470" fmla="*/ 429463 h 512159"/>
              <a:gd name="connsiteX471" fmla="*/ 250717 w 264461"/>
              <a:gd name="connsiteY471" fmla="*/ 429558 h 512159"/>
              <a:gd name="connsiteX472" fmla="*/ 250593 w 264461"/>
              <a:gd name="connsiteY472" fmla="*/ 430521 h 512159"/>
              <a:gd name="connsiteX473" fmla="*/ 251822 w 264461"/>
              <a:gd name="connsiteY473" fmla="*/ 432549 h 512159"/>
              <a:gd name="connsiteX474" fmla="*/ 251831 w 264461"/>
              <a:gd name="connsiteY474" fmla="*/ 434997 h 512159"/>
              <a:gd name="connsiteX475" fmla="*/ 249536 w 264461"/>
              <a:gd name="connsiteY475" fmla="*/ 436807 h 512159"/>
              <a:gd name="connsiteX476" fmla="*/ 247202 w 264461"/>
              <a:gd name="connsiteY476" fmla="*/ 437579 h 512159"/>
              <a:gd name="connsiteX477" fmla="*/ 243297 w 264461"/>
              <a:gd name="connsiteY477" fmla="*/ 436616 h 512159"/>
              <a:gd name="connsiteX478" fmla="*/ 237877 w 264461"/>
              <a:gd name="connsiteY478" fmla="*/ 439988 h 512159"/>
              <a:gd name="connsiteX479" fmla="*/ 241773 w 264461"/>
              <a:gd name="connsiteY479" fmla="*/ 441722 h 512159"/>
              <a:gd name="connsiteX480" fmla="*/ 242563 w 264461"/>
              <a:gd name="connsiteY480" fmla="*/ 443560 h 512159"/>
              <a:gd name="connsiteX481" fmla="*/ 241592 w 264461"/>
              <a:gd name="connsiteY481" fmla="*/ 446789 h 512159"/>
              <a:gd name="connsiteX482" fmla="*/ 239144 w 264461"/>
              <a:gd name="connsiteY482" fmla="*/ 448228 h 512159"/>
              <a:gd name="connsiteX483" fmla="*/ 236420 w 264461"/>
              <a:gd name="connsiteY483" fmla="*/ 448866 h 512159"/>
              <a:gd name="connsiteX484" fmla="*/ 233639 w 264461"/>
              <a:gd name="connsiteY484" fmla="*/ 449018 h 512159"/>
              <a:gd name="connsiteX485" fmla="*/ 231334 w 264461"/>
              <a:gd name="connsiteY485" fmla="*/ 449809 h 512159"/>
              <a:gd name="connsiteX486" fmla="*/ 229124 w 264461"/>
              <a:gd name="connsiteY486" fmla="*/ 451333 h 512159"/>
              <a:gd name="connsiteX487" fmla="*/ 231895 w 264461"/>
              <a:gd name="connsiteY487" fmla="*/ 450532 h 512159"/>
              <a:gd name="connsiteX488" fmla="*/ 233819 w 264461"/>
              <a:gd name="connsiteY488" fmla="*/ 451237 h 512159"/>
              <a:gd name="connsiteX489" fmla="*/ 235029 w 264461"/>
              <a:gd name="connsiteY489" fmla="*/ 453942 h 512159"/>
              <a:gd name="connsiteX490" fmla="*/ 236125 w 264461"/>
              <a:gd name="connsiteY490" fmla="*/ 454723 h 512159"/>
              <a:gd name="connsiteX491" fmla="*/ 241554 w 264461"/>
              <a:gd name="connsiteY491" fmla="*/ 455876 h 512159"/>
              <a:gd name="connsiteX492" fmla="*/ 244907 w 264461"/>
              <a:gd name="connsiteY492" fmla="*/ 455867 h 512159"/>
              <a:gd name="connsiteX493" fmla="*/ 251384 w 264461"/>
              <a:gd name="connsiteY493" fmla="*/ 455209 h 512159"/>
              <a:gd name="connsiteX494" fmla="*/ 254498 w 264461"/>
              <a:gd name="connsiteY494" fmla="*/ 455219 h 512159"/>
              <a:gd name="connsiteX495" fmla="*/ 255603 w 264461"/>
              <a:gd name="connsiteY495" fmla="*/ 455714 h 512159"/>
              <a:gd name="connsiteX496" fmla="*/ 255622 w 264461"/>
              <a:gd name="connsiteY496" fmla="*/ 457953 h 512159"/>
              <a:gd name="connsiteX497" fmla="*/ 255146 w 264461"/>
              <a:gd name="connsiteY497" fmla="*/ 463439 h 512159"/>
              <a:gd name="connsiteX498" fmla="*/ 254289 w 264461"/>
              <a:gd name="connsiteY498" fmla="*/ 464573 h 512159"/>
              <a:gd name="connsiteX499" fmla="*/ 245707 w 264461"/>
              <a:gd name="connsiteY499" fmla="*/ 469164 h 512159"/>
              <a:gd name="connsiteX500" fmla="*/ 243945 w 264461"/>
              <a:gd name="connsiteY500" fmla="*/ 472364 h 512159"/>
              <a:gd name="connsiteX501" fmla="*/ 243459 w 264461"/>
              <a:gd name="connsiteY501" fmla="*/ 474298 h 512159"/>
              <a:gd name="connsiteX502" fmla="*/ 238439 w 264461"/>
              <a:gd name="connsiteY502" fmla="*/ 473955 h 512159"/>
              <a:gd name="connsiteX503" fmla="*/ 236086 w 264461"/>
              <a:gd name="connsiteY503" fmla="*/ 476002 h 512159"/>
              <a:gd name="connsiteX504" fmla="*/ 232019 w 264461"/>
              <a:gd name="connsiteY504" fmla="*/ 477364 h 512159"/>
              <a:gd name="connsiteX505" fmla="*/ 228876 w 264461"/>
              <a:gd name="connsiteY505" fmla="*/ 478803 h 512159"/>
              <a:gd name="connsiteX506" fmla="*/ 225800 w 264461"/>
              <a:gd name="connsiteY506" fmla="*/ 480622 h 512159"/>
              <a:gd name="connsiteX507" fmla="*/ 223266 w 264461"/>
              <a:gd name="connsiteY507" fmla="*/ 481165 h 512159"/>
              <a:gd name="connsiteX508" fmla="*/ 212341 w 264461"/>
              <a:gd name="connsiteY508" fmla="*/ 479003 h 512159"/>
              <a:gd name="connsiteX509" fmla="*/ 205740 w 264461"/>
              <a:gd name="connsiteY509" fmla="*/ 479184 h 512159"/>
              <a:gd name="connsiteX510" fmla="*/ 196796 w 264461"/>
              <a:gd name="connsiteY510" fmla="*/ 481070 h 512159"/>
              <a:gd name="connsiteX511" fmla="*/ 194491 w 264461"/>
              <a:gd name="connsiteY511" fmla="*/ 480755 h 512159"/>
              <a:gd name="connsiteX512" fmla="*/ 191043 w 264461"/>
              <a:gd name="connsiteY512" fmla="*/ 478955 h 512159"/>
              <a:gd name="connsiteX513" fmla="*/ 187500 w 264461"/>
              <a:gd name="connsiteY513" fmla="*/ 477736 h 512159"/>
              <a:gd name="connsiteX514" fmla="*/ 183432 w 264461"/>
              <a:gd name="connsiteY514" fmla="*/ 477203 h 512159"/>
              <a:gd name="connsiteX515" fmla="*/ 179918 w 264461"/>
              <a:gd name="connsiteY515" fmla="*/ 475526 h 512159"/>
              <a:gd name="connsiteX516" fmla="*/ 182108 w 264461"/>
              <a:gd name="connsiteY516" fmla="*/ 478736 h 512159"/>
              <a:gd name="connsiteX517" fmla="*/ 177241 w 264461"/>
              <a:gd name="connsiteY517" fmla="*/ 481832 h 512159"/>
              <a:gd name="connsiteX518" fmla="*/ 174993 w 264461"/>
              <a:gd name="connsiteY518" fmla="*/ 482441 h 512159"/>
              <a:gd name="connsiteX519" fmla="*/ 172660 w 264461"/>
              <a:gd name="connsiteY519" fmla="*/ 482346 h 512159"/>
              <a:gd name="connsiteX520" fmla="*/ 167897 w 264461"/>
              <a:gd name="connsiteY520" fmla="*/ 483184 h 512159"/>
              <a:gd name="connsiteX521" fmla="*/ 163468 w 264461"/>
              <a:gd name="connsiteY521" fmla="*/ 482727 h 512159"/>
              <a:gd name="connsiteX522" fmla="*/ 164135 w 264461"/>
              <a:gd name="connsiteY522" fmla="*/ 484918 h 512159"/>
              <a:gd name="connsiteX523" fmla="*/ 165316 w 264461"/>
              <a:gd name="connsiteY523" fmla="*/ 486832 h 512159"/>
              <a:gd name="connsiteX524" fmla="*/ 164354 w 264461"/>
              <a:gd name="connsiteY524" fmla="*/ 487661 h 512159"/>
              <a:gd name="connsiteX525" fmla="*/ 163344 w 264461"/>
              <a:gd name="connsiteY525" fmla="*/ 487871 h 512159"/>
              <a:gd name="connsiteX526" fmla="*/ 154943 w 264461"/>
              <a:gd name="connsiteY526" fmla="*/ 486432 h 512159"/>
              <a:gd name="connsiteX527" fmla="*/ 153753 w 264461"/>
              <a:gd name="connsiteY527" fmla="*/ 486699 h 512159"/>
              <a:gd name="connsiteX528" fmla="*/ 152714 w 264461"/>
              <a:gd name="connsiteY528" fmla="*/ 488032 h 512159"/>
              <a:gd name="connsiteX529" fmla="*/ 149657 w 264461"/>
              <a:gd name="connsiteY529" fmla="*/ 487318 h 512159"/>
              <a:gd name="connsiteX530" fmla="*/ 146685 w 264461"/>
              <a:gd name="connsiteY530" fmla="*/ 485080 h 512159"/>
              <a:gd name="connsiteX531" fmla="*/ 143532 w 264461"/>
              <a:gd name="connsiteY531" fmla="*/ 483565 h 512159"/>
              <a:gd name="connsiteX532" fmla="*/ 140217 w 264461"/>
              <a:gd name="connsiteY532" fmla="*/ 482851 h 512159"/>
              <a:gd name="connsiteX533" fmla="*/ 137588 w 264461"/>
              <a:gd name="connsiteY533" fmla="*/ 483098 h 512159"/>
              <a:gd name="connsiteX534" fmla="*/ 126759 w 264461"/>
              <a:gd name="connsiteY534" fmla="*/ 486642 h 512159"/>
              <a:gd name="connsiteX535" fmla="*/ 124596 w 264461"/>
              <a:gd name="connsiteY535" fmla="*/ 490185 h 512159"/>
              <a:gd name="connsiteX536" fmla="*/ 123510 w 264461"/>
              <a:gd name="connsiteY536" fmla="*/ 495205 h 512159"/>
              <a:gd name="connsiteX537" fmla="*/ 121948 w 264461"/>
              <a:gd name="connsiteY537" fmla="*/ 499653 h 512159"/>
              <a:gd name="connsiteX538" fmla="*/ 119396 w 264461"/>
              <a:gd name="connsiteY538" fmla="*/ 503073 h 512159"/>
              <a:gd name="connsiteX539" fmla="*/ 116357 w 264461"/>
              <a:gd name="connsiteY539" fmla="*/ 503520 h 512159"/>
              <a:gd name="connsiteX540" fmla="*/ 113500 w 264461"/>
              <a:gd name="connsiteY540" fmla="*/ 501148 h 512159"/>
              <a:gd name="connsiteX541" fmla="*/ 108070 w 264461"/>
              <a:gd name="connsiteY541" fmla="*/ 498538 h 512159"/>
              <a:gd name="connsiteX542" fmla="*/ 106223 w 264461"/>
              <a:gd name="connsiteY542" fmla="*/ 496767 h 512159"/>
              <a:gd name="connsiteX543" fmla="*/ 105632 w 264461"/>
              <a:gd name="connsiteY543" fmla="*/ 496662 h 512159"/>
              <a:gd name="connsiteX544" fmla="*/ 105023 w 264461"/>
              <a:gd name="connsiteY544" fmla="*/ 497291 h 512159"/>
              <a:gd name="connsiteX545" fmla="*/ 102889 w 264461"/>
              <a:gd name="connsiteY545" fmla="*/ 498091 h 512159"/>
              <a:gd name="connsiteX546" fmla="*/ 100689 w 264461"/>
              <a:gd name="connsiteY546" fmla="*/ 498129 h 512159"/>
              <a:gd name="connsiteX547" fmla="*/ 97288 w 264461"/>
              <a:gd name="connsiteY547" fmla="*/ 498834 h 512159"/>
              <a:gd name="connsiteX548" fmla="*/ 91373 w 264461"/>
              <a:gd name="connsiteY548" fmla="*/ 500958 h 512159"/>
              <a:gd name="connsiteX549" fmla="*/ 88982 w 264461"/>
              <a:gd name="connsiteY549" fmla="*/ 502396 h 512159"/>
              <a:gd name="connsiteX550" fmla="*/ 83848 w 264461"/>
              <a:gd name="connsiteY550" fmla="*/ 506368 h 512159"/>
              <a:gd name="connsiteX551" fmla="*/ 82801 w 264461"/>
              <a:gd name="connsiteY551" fmla="*/ 507464 h 512159"/>
              <a:gd name="connsiteX552" fmla="*/ 80934 w 264461"/>
              <a:gd name="connsiteY552" fmla="*/ 511455 h 512159"/>
              <a:gd name="connsiteX553" fmla="*/ 78086 w 264461"/>
              <a:gd name="connsiteY553" fmla="*/ 512159 h 512159"/>
              <a:gd name="connsiteX554" fmla="*/ 75476 w 264461"/>
              <a:gd name="connsiteY554" fmla="*/ 509607 h 512159"/>
              <a:gd name="connsiteX555" fmla="*/ 72504 w 264461"/>
              <a:gd name="connsiteY555" fmla="*/ 508711 h 512159"/>
              <a:gd name="connsiteX556" fmla="*/ 69370 w 264461"/>
              <a:gd name="connsiteY556" fmla="*/ 509578 h 512159"/>
              <a:gd name="connsiteX557" fmla="*/ 67475 w 264461"/>
              <a:gd name="connsiteY557" fmla="*/ 510940 h 512159"/>
              <a:gd name="connsiteX558" fmla="*/ 66589 w 264461"/>
              <a:gd name="connsiteY558" fmla="*/ 509835 h 512159"/>
              <a:gd name="connsiteX559" fmla="*/ 66560 w 264461"/>
              <a:gd name="connsiteY559" fmla="*/ 507568 h 512159"/>
              <a:gd name="connsiteX560" fmla="*/ 68847 w 264461"/>
              <a:gd name="connsiteY560" fmla="*/ 504863 h 512159"/>
              <a:gd name="connsiteX561" fmla="*/ 74952 w 264461"/>
              <a:gd name="connsiteY561" fmla="*/ 502815 h 512159"/>
              <a:gd name="connsiteX562" fmla="*/ 80315 w 264461"/>
              <a:gd name="connsiteY562" fmla="*/ 497491 h 512159"/>
              <a:gd name="connsiteX563" fmla="*/ 82943 w 264461"/>
              <a:gd name="connsiteY563" fmla="*/ 494243 h 512159"/>
              <a:gd name="connsiteX564" fmla="*/ 83991 w 264461"/>
              <a:gd name="connsiteY564" fmla="*/ 492405 h 512159"/>
              <a:gd name="connsiteX565" fmla="*/ 85277 w 264461"/>
              <a:gd name="connsiteY565" fmla="*/ 491233 h 512159"/>
              <a:gd name="connsiteX566" fmla="*/ 86954 w 264461"/>
              <a:gd name="connsiteY566" fmla="*/ 490795 h 512159"/>
              <a:gd name="connsiteX567" fmla="*/ 87821 w 264461"/>
              <a:gd name="connsiteY567" fmla="*/ 488766 h 512159"/>
              <a:gd name="connsiteX568" fmla="*/ 95259 w 264461"/>
              <a:gd name="connsiteY568" fmla="*/ 480593 h 512159"/>
              <a:gd name="connsiteX569" fmla="*/ 95869 w 264461"/>
              <a:gd name="connsiteY569" fmla="*/ 478717 h 512159"/>
              <a:gd name="connsiteX570" fmla="*/ 96240 w 264461"/>
              <a:gd name="connsiteY570" fmla="*/ 475345 h 512159"/>
              <a:gd name="connsiteX571" fmla="*/ 96850 w 264461"/>
              <a:gd name="connsiteY571" fmla="*/ 472097 h 512159"/>
              <a:gd name="connsiteX572" fmla="*/ 102908 w 264461"/>
              <a:gd name="connsiteY572" fmla="*/ 469992 h 512159"/>
              <a:gd name="connsiteX573" fmla="*/ 105804 w 264461"/>
              <a:gd name="connsiteY573" fmla="*/ 463144 h 512159"/>
              <a:gd name="connsiteX574" fmla="*/ 106604 w 264461"/>
              <a:gd name="connsiteY574" fmla="*/ 462601 h 512159"/>
              <a:gd name="connsiteX575" fmla="*/ 115052 w 264461"/>
              <a:gd name="connsiteY575" fmla="*/ 461343 h 512159"/>
              <a:gd name="connsiteX576" fmla="*/ 121320 w 264461"/>
              <a:gd name="connsiteY576" fmla="*/ 461448 h 512159"/>
              <a:gd name="connsiteX577" fmla="*/ 127549 w 264461"/>
              <a:gd name="connsiteY577" fmla="*/ 462791 h 512159"/>
              <a:gd name="connsiteX578" fmla="*/ 130740 w 264461"/>
              <a:gd name="connsiteY578" fmla="*/ 462915 h 512159"/>
              <a:gd name="connsiteX579" fmla="*/ 133940 w 264461"/>
              <a:gd name="connsiteY579" fmla="*/ 462448 h 512159"/>
              <a:gd name="connsiteX580" fmla="*/ 136455 w 264461"/>
              <a:gd name="connsiteY580" fmla="*/ 460591 h 512159"/>
              <a:gd name="connsiteX581" fmla="*/ 140751 w 264461"/>
              <a:gd name="connsiteY581" fmla="*/ 453885 h 512159"/>
              <a:gd name="connsiteX582" fmla="*/ 143170 w 264461"/>
              <a:gd name="connsiteY582" fmla="*/ 450923 h 512159"/>
              <a:gd name="connsiteX583" fmla="*/ 145942 w 264461"/>
              <a:gd name="connsiteY583" fmla="*/ 448246 h 512159"/>
              <a:gd name="connsiteX584" fmla="*/ 148533 w 264461"/>
              <a:gd name="connsiteY584" fmla="*/ 445189 h 512159"/>
              <a:gd name="connsiteX585" fmla="*/ 152733 w 264461"/>
              <a:gd name="connsiteY585" fmla="*/ 439512 h 512159"/>
              <a:gd name="connsiteX586" fmla="*/ 149895 w 264461"/>
              <a:gd name="connsiteY586" fmla="*/ 441474 h 512159"/>
              <a:gd name="connsiteX587" fmla="*/ 146466 w 264461"/>
              <a:gd name="connsiteY587" fmla="*/ 444579 h 512159"/>
              <a:gd name="connsiteX588" fmla="*/ 144475 w 264461"/>
              <a:gd name="connsiteY588" fmla="*/ 446380 h 512159"/>
              <a:gd name="connsiteX589" fmla="*/ 138151 w 264461"/>
              <a:gd name="connsiteY589" fmla="*/ 448190 h 512159"/>
              <a:gd name="connsiteX590" fmla="*/ 135426 w 264461"/>
              <a:gd name="connsiteY590" fmla="*/ 450037 h 512159"/>
              <a:gd name="connsiteX591" fmla="*/ 130654 w 264461"/>
              <a:gd name="connsiteY591" fmla="*/ 454200 h 512159"/>
              <a:gd name="connsiteX592" fmla="*/ 129740 w 264461"/>
              <a:gd name="connsiteY592" fmla="*/ 454543 h 512159"/>
              <a:gd name="connsiteX593" fmla="*/ 122539 w 264461"/>
              <a:gd name="connsiteY593" fmla="*/ 453542 h 512159"/>
              <a:gd name="connsiteX594" fmla="*/ 117186 w 264461"/>
              <a:gd name="connsiteY594" fmla="*/ 448142 h 512159"/>
              <a:gd name="connsiteX595" fmla="*/ 113767 w 264461"/>
              <a:gd name="connsiteY595" fmla="*/ 445932 h 512159"/>
              <a:gd name="connsiteX596" fmla="*/ 112357 w 264461"/>
              <a:gd name="connsiteY596" fmla="*/ 445675 h 512159"/>
              <a:gd name="connsiteX597" fmla="*/ 110890 w 264461"/>
              <a:gd name="connsiteY597" fmla="*/ 446332 h 512159"/>
              <a:gd name="connsiteX598" fmla="*/ 107766 w 264461"/>
              <a:gd name="connsiteY598" fmla="*/ 447008 h 512159"/>
              <a:gd name="connsiteX599" fmla="*/ 104584 w 264461"/>
              <a:gd name="connsiteY599" fmla="*/ 446894 h 512159"/>
              <a:gd name="connsiteX600" fmla="*/ 106213 w 264461"/>
              <a:gd name="connsiteY600" fmla="*/ 444389 h 512159"/>
              <a:gd name="connsiteX601" fmla="*/ 108423 w 264461"/>
              <a:gd name="connsiteY601" fmla="*/ 442989 h 512159"/>
              <a:gd name="connsiteX602" fmla="*/ 103470 w 264461"/>
              <a:gd name="connsiteY602" fmla="*/ 442017 h 512159"/>
              <a:gd name="connsiteX603" fmla="*/ 102089 w 264461"/>
              <a:gd name="connsiteY603" fmla="*/ 441255 h 512159"/>
              <a:gd name="connsiteX604" fmla="*/ 100517 w 264461"/>
              <a:gd name="connsiteY604" fmla="*/ 439493 h 512159"/>
              <a:gd name="connsiteX605" fmla="*/ 96631 w 264461"/>
              <a:gd name="connsiteY605" fmla="*/ 439198 h 512159"/>
              <a:gd name="connsiteX606" fmla="*/ 94783 w 264461"/>
              <a:gd name="connsiteY606" fmla="*/ 439646 h 512159"/>
              <a:gd name="connsiteX607" fmla="*/ 91659 w 264461"/>
              <a:gd name="connsiteY607" fmla="*/ 441970 h 512159"/>
              <a:gd name="connsiteX608" fmla="*/ 86725 w 264461"/>
              <a:gd name="connsiteY608" fmla="*/ 444437 h 512159"/>
              <a:gd name="connsiteX609" fmla="*/ 80772 w 264461"/>
              <a:gd name="connsiteY609" fmla="*/ 441017 h 512159"/>
              <a:gd name="connsiteX610" fmla="*/ 79610 w 264461"/>
              <a:gd name="connsiteY610" fmla="*/ 439522 h 512159"/>
              <a:gd name="connsiteX611" fmla="*/ 79638 w 264461"/>
              <a:gd name="connsiteY611" fmla="*/ 436616 h 512159"/>
              <a:gd name="connsiteX612" fmla="*/ 78743 w 264461"/>
              <a:gd name="connsiteY612" fmla="*/ 434312 h 512159"/>
              <a:gd name="connsiteX613" fmla="*/ 77095 w 264461"/>
              <a:gd name="connsiteY613" fmla="*/ 433502 h 512159"/>
              <a:gd name="connsiteX614" fmla="*/ 79200 w 264461"/>
              <a:gd name="connsiteY614" fmla="*/ 430501 h 512159"/>
              <a:gd name="connsiteX615" fmla="*/ 81753 w 264461"/>
              <a:gd name="connsiteY615" fmla="*/ 428501 h 512159"/>
              <a:gd name="connsiteX616" fmla="*/ 87354 w 264461"/>
              <a:gd name="connsiteY616" fmla="*/ 426511 h 512159"/>
              <a:gd name="connsiteX617" fmla="*/ 95840 w 264461"/>
              <a:gd name="connsiteY617" fmla="*/ 421777 h 512159"/>
              <a:gd name="connsiteX618" fmla="*/ 100603 w 264461"/>
              <a:gd name="connsiteY618" fmla="*/ 419757 h 512159"/>
              <a:gd name="connsiteX619" fmla="*/ 105023 w 264461"/>
              <a:gd name="connsiteY619" fmla="*/ 416271 h 512159"/>
              <a:gd name="connsiteX620" fmla="*/ 106851 w 264461"/>
              <a:gd name="connsiteY620" fmla="*/ 414138 h 512159"/>
              <a:gd name="connsiteX621" fmla="*/ 108175 w 264461"/>
              <a:gd name="connsiteY621" fmla="*/ 411213 h 512159"/>
              <a:gd name="connsiteX622" fmla="*/ 109490 w 264461"/>
              <a:gd name="connsiteY622" fmla="*/ 407632 h 512159"/>
              <a:gd name="connsiteX623" fmla="*/ 111366 w 264461"/>
              <a:gd name="connsiteY623" fmla="*/ 404708 h 512159"/>
              <a:gd name="connsiteX624" fmla="*/ 109547 w 264461"/>
              <a:gd name="connsiteY624" fmla="*/ 404013 h 512159"/>
              <a:gd name="connsiteX625" fmla="*/ 108728 w 264461"/>
              <a:gd name="connsiteY625" fmla="*/ 401812 h 512159"/>
              <a:gd name="connsiteX626" fmla="*/ 108947 w 264461"/>
              <a:gd name="connsiteY626" fmla="*/ 399574 h 512159"/>
              <a:gd name="connsiteX627" fmla="*/ 109785 w 264461"/>
              <a:gd name="connsiteY627" fmla="*/ 397583 h 512159"/>
              <a:gd name="connsiteX628" fmla="*/ 109033 w 264461"/>
              <a:gd name="connsiteY628" fmla="*/ 395088 h 512159"/>
              <a:gd name="connsiteX629" fmla="*/ 107690 w 264461"/>
              <a:gd name="connsiteY629" fmla="*/ 392478 h 512159"/>
              <a:gd name="connsiteX630" fmla="*/ 107766 w 264461"/>
              <a:gd name="connsiteY630" fmla="*/ 390439 h 512159"/>
              <a:gd name="connsiteX631" fmla="*/ 108128 w 264461"/>
              <a:gd name="connsiteY631" fmla="*/ 388258 h 512159"/>
              <a:gd name="connsiteX632" fmla="*/ 104718 w 264461"/>
              <a:gd name="connsiteY632" fmla="*/ 388373 h 512159"/>
              <a:gd name="connsiteX633" fmla="*/ 101317 w 264461"/>
              <a:gd name="connsiteY633" fmla="*/ 389058 h 512159"/>
              <a:gd name="connsiteX634" fmla="*/ 98231 w 264461"/>
              <a:gd name="connsiteY634" fmla="*/ 390601 h 512159"/>
              <a:gd name="connsiteX635" fmla="*/ 95240 w 264461"/>
              <a:gd name="connsiteY635" fmla="*/ 392697 h 512159"/>
              <a:gd name="connsiteX636" fmla="*/ 92583 w 264461"/>
              <a:gd name="connsiteY636" fmla="*/ 393087 h 512159"/>
              <a:gd name="connsiteX637" fmla="*/ 92621 w 264461"/>
              <a:gd name="connsiteY637" fmla="*/ 391411 h 512159"/>
              <a:gd name="connsiteX638" fmla="*/ 93774 w 264461"/>
              <a:gd name="connsiteY638" fmla="*/ 389334 h 512159"/>
              <a:gd name="connsiteX639" fmla="*/ 96783 w 264461"/>
              <a:gd name="connsiteY639" fmla="*/ 386362 h 512159"/>
              <a:gd name="connsiteX640" fmla="*/ 100003 w 264461"/>
              <a:gd name="connsiteY640" fmla="*/ 383896 h 512159"/>
              <a:gd name="connsiteX641" fmla="*/ 101146 w 264461"/>
              <a:gd name="connsiteY641" fmla="*/ 382019 h 512159"/>
              <a:gd name="connsiteX642" fmla="*/ 102051 w 264461"/>
              <a:gd name="connsiteY642" fmla="*/ 379838 h 512159"/>
              <a:gd name="connsiteX643" fmla="*/ 103651 w 264461"/>
              <a:gd name="connsiteY643" fmla="*/ 378085 h 512159"/>
              <a:gd name="connsiteX644" fmla="*/ 107861 w 264461"/>
              <a:gd name="connsiteY644" fmla="*/ 374771 h 512159"/>
              <a:gd name="connsiteX645" fmla="*/ 115929 w 264461"/>
              <a:gd name="connsiteY645" fmla="*/ 371037 h 512159"/>
              <a:gd name="connsiteX646" fmla="*/ 117129 w 264461"/>
              <a:gd name="connsiteY646" fmla="*/ 370818 h 512159"/>
              <a:gd name="connsiteX647" fmla="*/ 120291 w 264461"/>
              <a:gd name="connsiteY647" fmla="*/ 371256 h 512159"/>
              <a:gd name="connsiteX648" fmla="*/ 123406 w 264461"/>
              <a:gd name="connsiteY648" fmla="*/ 370684 h 512159"/>
              <a:gd name="connsiteX649" fmla="*/ 126130 w 264461"/>
              <a:gd name="connsiteY649" fmla="*/ 369341 h 512159"/>
              <a:gd name="connsiteX650" fmla="*/ 128844 w 264461"/>
              <a:gd name="connsiteY650" fmla="*/ 369056 h 512159"/>
              <a:gd name="connsiteX651" fmla="*/ 134960 w 264461"/>
              <a:gd name="connsiteY651" fmla="*/ 372932 h 512159"/>
              <a:gd name="connsiteX652" fmla="*/ 133140 w 264461"/>
              <a:gd name="connsiteY652" fmla="*/ 366932 h 512159"/>
              <a:gd name="connsiteX653" fmla="*/ 135836 w 264461"/>
              <a:gd name="connsiteY653" fmla="*/ 365493 h 512159"/>
              <a:gd name="connsiteX654" fmla="*/ 139741 w 264461"/>
              <a:gd name="connsiteY654" fmla="*/ 370923 h 512159"/>
              <a:gd name="connsiteX655" fmla="*/ 141189 w 264461"/>
              <a:gd name="connsiteY655" fmla="*/ 371494 h 512159"/>
              <a:gd name="connsiteX656" fmla="*/ 144256 w 264461"/>
              <a:gd name="connsiteY656" fmla="*/ 370704 h 512159"/>
              <a:gd name="connsiteX657" fmla="*/ 143075 w 264461"/>
              <a:gd name="connsiteY657" fmla="*/ 369789 h 512159"/>
              <a:gd name="connsiteX658" fmla="*/ 141694 w 264461"/>
              <a:gd name="connsiteY658" fmla="*/ 369732 h 512159"/>
              <a:gd name="connsiteX659" fmla="*/ 139884 w 264461"/>
              <a:gd name="connsiteY659" fmla="*/ 368913 h 512159"/>
              <a:gd name="connsiteX660" fmla="*/ 138360 w 264461"/>
              <a:gd name="connsiteY660" fmla="*/ 367170 h 512159"/>
              <a:gd name="connsiteX661" fmla="*/ 135826 w 264461"/>
              <a:gd name="connsiteY661" fmla="*/ 361626 h 512159"/>
              <a:gd name="connsiteX662" fmla="*/ 135969 w 264461"/>
              <a:gd name="connsiteY662" fmla="*/ 358330 h 512159"/>
              <a:gd name="connsiteX663" fmla="*/ 137674 w 264461"/>
              <a:gd name="connsiteY663" fmla="*/ 354902 h 512159"/>
              <a:gd name="connsiteX664" fmla="*/ 139560 w 264461"/>
              <a:gd name="connsiteY664" fmla="*/ 351739 h 512159"/>
              <a:gd name="connsiteX665" fmla="*/ 137979 w 264461"/>
              <a:gd name="connsiteY665" fmla="*/ 351111 h 512159"/>
              <a:gd name="connsiteX666" fmla="*/ 136712 w 264461"/>
              <a:gd name="connsiteY666" fmla="*/ 349901 h 512159"/>
              <a:gd name="connsiteX667" fmla="*/ 136350 w 264461"/>
              <a:gd name="connsiteY667" fmla="*/ 346729 h 512159"/>
              <a:gd name="connsiteX668" fmla="*/ 136845 w 264461"/>
              <a:gd name="connsiteY668" fmla="*/ 343919 h 512159"/>
              <a:gd name="connsiteX669" fmla="*/ 140237 w 264461"/>
              <a:gd name="connsiteY669" fmla="*/ 341443 h 512159"/>
              <a:gd name="connsiteX670" fmla="*/ 141236 w 264461"/>
              <a:gd name="connsiteY670" fmla="*/ 337671 h 512159"/>
              <a:gd name="connsiteX671" fmla="*/ 141656 w 264461"/>
              <a:gd name="connsiteY671" fmla="*/ 333508 h 512159"/>
              <a:gd name="connsiteX672" fmla="*/ 141094 w 264461"/>
              <a:gd name="connsiteY672" fmla="*/ 331594 h 512159"/>
              <a:gd name="connsiteX673" fmla="*/ 137722 w 264461"/>
              <a:gd name="connsiteY673" fmla="*/ 331899 h 512159"/>
              <a:gd name="connsiteX674" fmla="*/ 136084 w 264461"/>
              <a:gd name="connsiteY674" fmla="*/ 332680 h 512159"/>
              <a:gd name="connsiteX675" fmla="*/ 134617 w 264461"/>
              <a:gd name="connsiteY675" fmla="*/ 333908 h 512159"/>
              <a:gd name="connsiteX676" fmla="*/ 133112 w 264461"/>
              <a:gd name="connsiteY676" fmla="*/ 333832 h 512159"/>
              <a:gd name="connsiteX677" fmla="*/ 128949 w 264461"/>
              <a:gd name="connsiteY677" fmla="*/ 329222 h 512159"/>
              <a:gd name="connsiteX678" fmla="*/ 126578 w 264461"/>
              <a:gd name="connsiteY678" fmla="*/ 325726 h 512159"/>
              <a:gd name="connsiteX679" fmla="*/ 122320 w 264461"/>
              <a:gd name="connsiteY679" fmla="*/ 318316 h 512159"/>
              <a:gd name="connsiteX680" fmla="*/ 121720 w 264461"/>
              <a:gd name="connsiteY680" fmla="*/ 313868 h 512159"/>
              <a:gd name="connsiteX681" fmla="*/ 125120 w 264461"/>
              <a:gd name="connsiteY681" fmla="*/ 304248 h 512159"/>
              <a:gd name="connsiteX682" fmla="*/ 130378 w 264461"/>
              <a:gd name="connsiteY682" fmla="*/ 298066 h 512159"/>
              <a:gd name="connsiteX683" fmla="*/ 136569 w 264461"/>
              <a:gd name="connsiteY683" fmla="*/ 295904 h 512159"/>
              <a:gd name="connsiteX684" fmla="*/ 135369 w 264461"/>
              <a:gd name="connsiteY684" fmla="*/ 295494 h 512159"/>
              <a:gd name="connsiteX685" fmla="*/ 125930 w 264461"/>
              <a:gd name="connsiteY685" fmla="*/ 295408 h 512159"/>
              <a:gd name="connsiteX686" fmla="*/ 122815 w 264461"/>
              <a:gd name="connsiteY686" fmla="*/ 296170 h 512159"/>
              <a:gd name="connsiteX687" fmla="*/ 119929 w 264461"/>
              <a:gd name="connsiteY687" fmla="*/ 298704 h 512159"/>
              <a:gd name="connsiteX688" fmla="*/ 118300 w 264461"/>
              <a:gd name="connsiteY688" fmla="*/ 299485 h 512159"/>
              <a:gd name="connsiteX689" fmla="*/ 116586 w 264461"/>
              <a:gd name="connsiteY689" fmla="*/ 299771 h 512159"/>
              <a:gd name="connsiteX690" fmla="*/ 115024 w 264461"/>
              <a:gd name="connsiteY690" fmla="*/ 301028 h 512159"/>
              <a:gd name="connsiteX691" fmla="*/ 113500 w 264461"/>
              <a:gd name="connsiteY691" fmla="*/ 302771 h 512159"/>
              <a:gd name="connsiteX692" fmla="*/ 111909 w 264461"/>
              <a:gd name="connsiteY692" fmla="*/ 303895 h 512159"/>
              <a:gd name="connsiteX693" fmla="*/ 108756 w 264461"/>
              <a:gd name="connsiteY693" fmla="*/ 303600 h 512159"/>
              <a:gd name="connsiteX694" fmla="*/ 107232 w 264461"/>
              <a:gd name="connsiteY694" fmla="*/ 303971 h 512159"/>
              <a:gd name="connsiteX695" fmla="*/ 106137 w 264461"/>
              <a:gd name="connsiteY695" fmla="*/ 302962 h 512159"/>
              <a:gd name="connsiteX696" fmla="*/ 105213 w 264461"/>
              <a:gd name="connsiteY696" fmla="*/ 301295 h 512159"/>
              <a:gd name="connsiteX697" fmla="*/ 104013 w 264461"/>
              <a:gd name="connsiteY697" fmla="*/ 300847 h 512159"/>
              <a:gd name="connsiteX698" fmla="*/ 102670 w 264461"/>
              <a:gd name="connsiteY698" fmla="*/ 301362 h 512159"/>
              <a:gd name="connsiteX699" fmla="*/ 99831 w 264461"/>
              <a:gd name="connsiteY699" fmla="*/ 303609 h 512159"/>
              <a:gd name="connsiteX700" fmla="*/ 96955 w 264461"/>
              <a:gd name="connsiteY700" fmla="*/ 304933 h 512159"/>
              <a:gd name="connsiteX701" fmla="*/ 93478 w 264461"/>
              <a:gd name="connsiteY701" fmla="*/ 303514 h 512159"/>
              <a:gd name="connsiteX702" fmla="*/ 88916 w 264461"/>
              <a:gd name="connsiteY702" fmla="*/ 300866 h 512159"/>
              <a:gd name="connsiteX703" fmla="*/ 88021 w 264461"/>
              <a:gd name="connsiteY703" fmla="*/ 301838 h 512159"/>
              <a:gd name="connsiteX704" fmla="*/ 87011 w 264461"/>
              <a:gd name="connsiteY704" fmla="*/ 304295 h 512159"/>
              <a:gd name="connsiteX705" fmla="*/ 86430 w 264461"/>
              <a:gd name="connsiteY705" fmla="*/ 308115 h 512159"/>
              <a:gd name="connsiteX706" fmla="*/ 83191 w 264461"/>
              <a:gd name="connsiteY706" fmla="*/ 304790 h 512159"/>
              <a:gd name="connsiteX707" fmla="*/ 80438 w 264461"/>
              <a:gd name="connsiteY707" fmla="*/ 300342 h 512159"/>
              <a:gd name="connsiteX708" fmla="*/ 79505 w 264461"/>
              <a:gd name="connsiteY708" fmla="*/ 297542 h 512159"/>
              <a:gd name="connsiteX709" fmla="*/ 79438 w 264461"/>
              <a:gd name="connsiteY709" fmla="*/ 294380 h 512159"/>
              <a:gd name="connsiteX710" fmla="*/ 80934 w 264461"/>
              <a:gd name="connsiteY710" fmla="*/ 293151 h 512159"/>
              <a:gd name="connsiteX711" fmla="*/ 82563 w 264461"/>
              <a:gd name="connsiteY711" fmla="*/ 294275 h 512159"/>
              <a:gd name="connsiteX712" fmla="*/ 84982 w 264461"/>
              <a:gd name="connsiteY712" fmla="*/ 286760 h 512159"/>
              <a:gd name="connsiteX713" fmla="*/ 89801 w 264461"/>
              <a:gd name="connsiteY713" fmla="*/ 276930 h 512159"/>
              <a:gd name="connsiteX714" fmla="*/ 91507 w 264461"/>
              <a:gd name="connsiteY714" fmla="*/ 274044 h 512159"/>
              <a:gd name="connsiteX715" fmla="*/ 92697 w 264461"/>
              <a:gd name="connsiteY715" fmla="*/ 270262 h 512159"/>
              <a:gd name="connsiteX716" fmla="*/ 92497 w 264461"/>
              <a:gd name="connsiteY716" fmla="*/ 267786 h 512159"/>
              <a:gd name="connsiteX717" fmla="*/ 91440 w 264461"/>
              <a:gd name="connsiteY717" fmla="*/ 265690 h 512159"/>
              <a:gd name="connsiteX718" fmla="*/ 86954 w 264461"/>
              <a:gd name="connsiteY718" fmla="*/ 260928 h 512159"/>
              <a:gd name="connsiteX719" fmla="*/ 87011 w 264461"/>
              <a:gd name="connsiteY719" fmla="*/ 257032 h 512159"/>
              <a:gd name="connsiteX720" fmla="*/ 87487 w 264461"/>
              <a:gd name="connsiteY720" fmla="*/ 252632 h 512159"/>
              <a:gd name="connsiteX721" fmla="*/ 88706 w 264461"/>
              <a:gd name="connsiteY721" fmla="*/ 249984 h 512159"/>
              <a:gd name="connsiteX722" fmla="*/ 89220 w 264461"/>
              <a:gd name="connsiteY722" fmla="*/ 249479 h 512159"/>
              <a:gd name="connsiteX723" fmla="*/ 95174 w 264461"/>
              <a:gd name="connsiteY723" fmla="*/ 249546 h 512159"/>
              <a:gd name="connsiteX724" fmla="*/ 92850 w 264461"/>
              <a:gd name="connsiteY724" fmla="*/ 248174 h 512159"/>
              <a:gd name="connsiteX725" fmla="*/ 88220 w 264461"/>
              <a:gd name="connsiteY725" fmla="*/ 244183 h 512159"/>
              <a:gd name="connsiteX726" fmla="*/ 88306 w 264461"/>
              <a:gd name="connsiteY726" fmla="*/ 242764 h 512159"/>
              <a:gd name="connsiteX727" fmla="*/ 89392 w 264461"/>
              <a:gd name="connsiteY727" fmla="*/ 239058 h 512159"/>
              <a:gd name="connsiteX728" fmla="*/ 88887 w 264461"/>
              <a:gd name="connsiteY728" fmla="*/ 239430 h 512159"/>
              <a:gd name="connsiteX729" fmla="*/ 87897 w 264461"/>
              <a:gd name="connsiteY729" fmla="*/ 241145 h 512159"/>
              <a:gd name="connsiteX730" fmla="*/ 86001 w 264461"/>
              <a:gd name="connsiteY730" fmla="*/ 245288 h 512159"/>
              <a:gd name="connsiteX731" fmla="*/ 84849 w 264461"/>
              <a:gd name="connsiteY731" fmla="*/ 246250 h 512159"/>
              <a:gd name="connsiteX732" fmla="*/ 81572 w 264461"/>
              <a:gd name="connsiteY732" fmla="*/ 247231 h 512159"/>
              <a:gd name="connsiteX733" fmla="*/ 80972 w 264461"/>
              <a:gd name="connsiteY733" fmla="*/ 249260 h 512159"/>
              <a:gd name="connsiteX734" fmla="*/ 80448 w 264461"/>
              <a:gd name="connsiteY734" fmla="*/ 249793 h 512159"/>
              <a:gd name="connsiteX735" fmla="*/ 78819 w 264461"/>
              <a:gd name="connsiteY735" fmla="*/ 250022 h 512159"/>
              <a:gd name="connsiteX736" fmla="*/ 78314 w 264461"/>
              <a:gd name="connsiteY736" fmla="*/ 251917 h 512159"/>
              <a:gd name="connsiteX737" fmla="*/ 77953 w 264461"/>
              <a:gd name="connsiteY737" fmla="*/ 252041 h 512159"/>
              <a:gd name="connsiteX738" fmla="*/ 77486 w 264461"/>
              <a:gd name="connsiteY738" fmla="*/ 250003 h 512159"/>
              <a:gd name="connsiteX739" fmla="*/ 77438 w 264461"/>
              <a:gd name="connsiteY739" fmla="*/ 246612 h 512159"/>
              <a:gd name="connsiteX740" fmla="*/ 78086 w 264461"/>
              <a:gd name="connsiteY740" fmla="*/ 243487 h 512159"/>
              <a:gd name="connsiteX741" fmla="*/ 79324 w 264461"/>
              <a:gd name="connsiteY741" fmla="*/ 241040 h 512159"/>
              <a:gd name="connsiteX742" fmla="*/ 84125 w 264461"/>
              <a:gd name="connsiteY742" fmla="*/ 235468 h 512159"/>
              <a:gd name="connsiteX743" fmla="*/ 81791 w 264461"/>
              <a:gd name="connsiteY743" fmla="*/ 237192 h 512159"/>
              <a:gd name="connsiteX744" fmla="*/ 76495 w 264461"/>
              <a:gd name="connsiteY744" fmla="*/ 242345 h 512159"/>
              <a:gd name="connsiteX745" fmla="*/ 73790 w 264461"/>
              <a:gd name="connsiteY745" fmla="*/ 245726 h 512159"/>
              <a:gd name="connsiteX746" fmla="*/ 73066 w 264461"/>
              <a:gd name="connsiteY746" fmla="*/ 246869 h 512159"/>
              <a:gd name="connsiteX747" fmla="*/ 72847 w 264461"/>
              <a:gd name="connsiteY747" fmla="*/ 247831 h 512159"/>
              <a:gd name="connsiteX748" fmla="*/ 72857 w 264461"/>
              <a:gd name="connsiteY748" fmla="*/ 248936 h 512159"/>
              <a:gd name="connsiteX749" fmla="*/ 74066 w 264461"/>
              <a:gd name="connsiteY749" fmla="*/ 254851 h 512159"/>
              <a:gd name="connsiteX750" fmla="*/ 73714 w 264461"/>
              <a:gd name="connsiteY750" fmla="*/ 257585 h 512159"/>
              <a:gd name="connsiteX751" fmla="*/ 69151 w 264461"/>
              <a:gd name="connsiteY751" fmla="*/ 275539 h 512159"/>
              <a:gd name="connsiteX752" fmla="*/ 68284 w 264461"/>
              <a:gd name="connsiteY752" fmla="*/ 277330 h 512159"/>
              <a:gd name="connsiteX753" fmla="*/ 67494 w 264461"/>
              <a:gd name="connsiteY753" fmla="*/ 278263 h 512159"/>
              <a:gd name="connsiteX754" fmla="*/ 66742 w 264461"/>
              <a:gd name="connsiteY754" fmla="*/ 278482 h 512159"/>
              <a:gd name="connsiteX755" fmla="*/ 64494 w 264461"/>
              <a:gd name="connsiteY755" fmla="*/ 278139 h 512159"/>
              <a:gd name="connsiteX756" fmla="*/ 63494 w 264461"/>
              <a:gd name="connsiteY756" fmla="*/ 276796 h 512159"/>
              <a:gd name="connsiteX757" fmla="*/ 63503 w 264461"/>
              <a:gd name="connsiteY757" fmla="*/ 275282 h 512159"/>
              <a:gd name="connsiteX758" fmla="*/ 63922 w 264461"/>
              <a:gd name="connsiteY758" fmla="*/ 273006 h 512159"/>
              <a:gd name="connsiteX759" fmla="*/ 65817 w 264461"/>
              <a:gd name="connsiteY759" fmla="*/ 264500 h 512159"/>
              <a:gd name="connsiteX760" fmla="*/ 66637 w 264461"/>
              <a:gd name="connsiteY760" fmla="*/ 262128 h 512159"/>
              <a:gd name="connsiteX761" fmla="*/ 67856 w 264461"/>
              <a:gd name="connsiteY761" fmla="*/ 259918 h 512159"/>
              <a:gd name="connsiteX762" fmla="*/ 70542 w 264461"/>
              <a:gd name="connsiteY762" fmla="*/ 256051 h 512159"/>
              <a:gd name="connsiteX763" fmla="*/ 70475 w 264461"/>
              <a:gd name="connsiteY763" fmla="*/ 255794 h 512159"/>
              <a:gd name="connsiteX764" fmla="*/ 68685 w 264461"/>
              <a:gd name="connsiteY764" fmla="*/ 256556 h 512159"/>
              <a:gd name="connsiteX765" fmla="*/ 67923 w 264461"/>
              <a:gd name="connsiteY765" fmla="*/ 256308 h 512159"/>
              <a:gd name="connsiteX766" fmla="*/ 67370 w 264461"/>
              <a:gd name="connsiteY766" fmla="*/ 255537 h 512159"/>
              <a:gd name="connsiteX767" fmla="*/ 67723 w 264461"/>
              <a:gd name="connsiteY767" fmla="*/ 244002 h 512159"/>
              <a:gd name="connsiteX768" fmla="*/ 69180 w 264461"/>
              <a:gd name="connsiteY768" fmla="*/ 240192 h 512159"/>
              <a:gd name="connsiteX769" fmla="*/ 69723 w 264461"/>
              <a:gd name="connsiteY769" fmla="*/ 234639 h 512159"/>
              <a:gd name="connsiteX770" fmla="*/ 70980 w 264461"/>
              <a:gd name="connsiteY770" fmla="*/ 229867 h 512159"/>
              <a:gd name="connsiteX771" fmla="*/ 72437 w 264461"/>
              <a:gd name="connsiteY771" fmla="*/ 226381 h 512159"/>
              <a:gd name="connsiteX772" fmla="*/ 73552 w 264461"/>
              <a:gd name="connsiteY772" fmla="*/ 221913 h 512159"/>
              <a:gd name="connsiteX773" fmla="*/ 75219 w 264461"/>
              <a:gd name="connsiteY773" fmla="*/ 219923 h 512159"/>
              <a:gd name="connsiteX774" fmla="*/ 75667 w 264461"/>
              <a:gd name="connsiteY774" fmla="*/ 216875 h 512159"/>
              <a:gd name="connsiteX775" fmla="*/ 77543 w 264461"/>
              <a:gd name="connsiteY775" fmla="*/ 213570 h 512159"/>
              <a:gd name="connsiteX776" fmla="*/ 78991 w 264461"/>
              <a:gd name="connsiteY776" fmla="*/ 210112 h 512159"/>
              <a:gd name="connsiteX777" fmla="*/ 78210 w 264461"/>
              <a:gd name="connsiteY777" fmla="*/ 210455 h 512159"/>
              <a:gd name="connsiteX778" fmla="*/ 68942 w 264461"/>
              <a:gd name="connsiteY778" fmla="*/ 219446 h 512159"/>
              <a:gd name="connsiteX779" fmla="*/ 66580 w 264461"/>
              <a:gd name="connsiteY779" fmla="*/ 221075 h 512159"/>
              <a:gd name="connsiteX780" fmla="*/ 63360 w 264461"/>
              <a:gd name="connsiteY780" fmla="*/ 220637 h 512159"/>
              <a:gd name="connsiteX781" fmla="*/ 60903 w 264461"/>
              <a:gd name="connsiteY781" fmla="*/ 219628 h 512159"/>
              <a:gd name="connsiteX782" fmla="*/ 58979 w 264461"/>
              <a:gd name="connsiteY782" fmla="*/ 217503 h 512159"/>
              <a:gd name="connsiteX783" fmla="*/ 58121 w 264461"/>
              <a:gd name="connsiteY783" fmla="*/ 213417 h 512159"/>
              <a:gd name="connsiteX784" fmla="*/ 55750 w 264461"/>
              <a:gd name="connsiteY784" fmla="*/ 213312 h 512159"/>
              <a:gd name="connsiteX785" fmla="*/ 53721 w 264461"/>
              <a:gd name="connsiteY785" fmla="*/ 212608 h 512159"/>
              <a:gd name="connsiteX786" fmla="*/ 53740 w 264461"/>
              <a:gd name="connsiteY786" fmla="*/ 212055 h 512159"/>
              <a:gd name="connsiteX787" fmla="*/ 56359 w 264461"/>
              <a:gd name="connsiteY787" fmla="*/ 209826 h 512159"/>
              <a:gd name="connsiteX788" fmla="*/ 60560 w 264461"/>
              <a:gd name="connsiteY788" fmla="*/ 209064 h 512159"/>
              <a:gd name="connsiteX789" fmla="*/ 64494 w 264461"/>
              <a:gd name="connsiteY789" fmla="*/ 205483 h 512159"/>
              <a:gd name="connsiteX790" fmla="*/ 60998 w 264461"/>
              <a:gd name="connsiteY790" fmla="*/ 203063 h 512159"/>
              <a:gd name="connsiteX791" fmla="*/ 61293 w 264461"/>
              <a:gd name="connsiteY791" fmla="*/ 202292 h 512159"/>
              <a:gd name="connsiteX792" fmla="*/ 64341 w 264461"/>
              <a:gd name="connsiteY792" fmla="*/ 200225 h 512159"/>
              <a:gd name="connsiteX793" fmla="*/ 68218 w 264461"/>
              <a:gd name="connsiteY793" fmla="*/ 193281 h 512159"/>
              <a:gd name="connsiteX794" fmla="*/ 68999 w 264461"/>
              <a:gd name="connsiteY794" fmla="*/ 186871 h 512159"/>
              <a:gd name="connsiteX795" fmla="*/ 67151 w 264461"/>
              <a:gd name="connsiteY795" fmla="*/ 183852 h 512159"/>
              <a:gd name="connsiteX796" fmla="*/ 66484 w 264461"/>
              <a:gd name="connsiteY796" fmla="*/ 181870 h 512159"/>
              <a:gd name="connsiteX797" fmla="*/ 62779 w 264461"/>
              <a:gd name="connsiteY797" fmla="*/ 179661 h 512159"/>
              <a:gd name="connsiteX798" fmla="*/ 62160 w 264461"/>
              <a:gd name="connsiteY798" fmla="*/ 176832 h 512159"/>
              <a:gd name="connsiteX799" fmla="*/ 62589 w 264461"/>
              <a:gd name="connsiteY799" fmla="*/ 175241 h 512159"/>
              <a:gd name="connsiteX800" fmla="*/ 63798 w 264461"/>
              <a:gd name="connsiteY800" fmla="*/ 173689 h 512159"/>
              <a:gd name="connsiteX801" fmla="*/ 65618 w 264461"/>
              <a:gd name="connsiteY801" fmla="*/ 172488 h 512159"/>
              <a:gd name="connsiteX802" fmla="*/ 68475 w 264461"/>
              <a:gd name="connsiteY802" fmla="*/ 171326 h 512159"/>
              <a:gd name="connsiteX803" fmla="*/ 65884 w 264461"/>
              <a:gd name="connsiteY803" fmla="*/ 170088 h 512159"/>
              <a:gd name="connsiteX804" fmla="*/ 64913 w 264461"/>
              <a:gd name="connsiteY804" fmla="*/ 168621 h 512159"/>
              <a:gd name="connsiteX805" fmla="*/ 64179 w 264461"/>
              <a:gd name="connsiteY805" fmla="*/ 166497 h 512159"/>
              <a:gd name="connsiteX806" fmla="*/ 64113 w 264461"/>
              <a:gd name="connsiteY806" fmla="*/ 165268 h 512159"/>
              <a:gd name="connsiteX807" fmla="*/ 65456 w 264461"/>
              <a:gd name="connsiteY807" fmla="*/ 159782 h 512159"/>
              <a:gd name="connsiteX808" fmla="*/ 66237 w 264461"/>
              <a:gd name="connsiteY808" fmla="*/ 157515 h 512159"/>
              <a:gd name="connsiteX809" fmla="*/ 67770 w 264461"/>
              <a:gd name="connsiteY809" fmla="*/ 154619 h 512159"/>
              <a:gd name="connsiteX810" fmla="*/ 74704 w 264461"/>
              <a:gd name="connsiteY810" fmla="*/ 154781 h 512159"/>
              <a:gd name="connsiteX811" fmla="*/ 75505 w 264461"/>
              <a:gd name="connsiteY811" fmla="*/ 153505 h 512159"/>
              <a:gd name="connsiteX812" fmla="*/ 76295 w 264461"/>
              <a:gd name="connsiteY812" fmla="*/ 153457 h 512159"/>
              <a:gd name="connsiteX813" fmla="*/ 79838 w 264461"/>
              <a:gd name="connsiteY813" fmla="*/ 154629 h 512159"/>
              <a:gd name="connsiteX814" fmla="*/ 79315 w 264461"/>
              <a:gd name="connsiteY814" fmla="*/ 153371 h 512159"/>
              <a:gd name="connsiteX815" fmla="*/ 73514 w 264461"/>
              <a:gd name="connsiteY815" fmla="*/ 146466 h 512159"/>
              <a:gd name="connsiteX816" fmla="*/ 72990 w 264461"/>
              <a:gd name="connsiteY816" fmla="*/ 145152 h 512159"/>
              <a:gd name="connsiteX817" fmla="*/ 74647 w 264461"/>
              <a:gd name="connsiteY817" fmla="*/ 141418 h 512159"/>
              <a:gd name="connsiteX818" fmla="*/ 74762 w 264461"/>
              <a:gd name="connsiteY818" fmla="*/ 139751 h 512159"/>
              <a:gd name="connsiteX819" fmla="*/ 74523 w 264461"/>
              <a:gd name="connsiteY819" fmla="*/ 137970 h 512159"/>
              <a:gd name="connsiteX820" fmla="*/ 75000 w 264461"/>
              <a:gd name="connsiteY820" fmla="*/ 136608 h 512159"/>
              <a:gd name="connsiteX821" fmla="*/ 76838 w 264461"/>
              <a:gd name="connsiteY821" fmla="*/ 135969 h 512159"/>
              <a:gd name="connsiteX822" fmla="*/ 82439 w 264461"/>
              <a:gd name="connsiteY822" fmla="*/ 136027 h 512159"/>
              <a:gd name="connsiteX823" fmla="*/ 83820 w 264461"/>
              <a:gd name="connsiteY823" fmla="*/ 135398 h 512159"/>
              <a:gd name="connsiteX824" fmla="*/ 83191 w 264461"/>
              <a:gd name="connsiteY824" fmla="*/ 133588 h 512159"/>
              <a:gd name="connsiteX825" fmla="*/ 81886 w 264461"/>
              <a:gd name="connsiteY825" fmla="*/ 131207 h 512159"/>
              <a:gd name="connsiteX826" fmla="*/ 81629 w 264461"/>
              <a:gd name="connsiteY826" fmla="*/ 129207 h 512159"/>
              <a:gd name="connsiteX827" fmla="*/ 81934 w 264461"/>
              <a:gd name="connsiteY827" fmla="*/ 127435 h 512159"/>
              <a:gd name="connsiteX828" fmla="*/ 82001 w 264461"/>
              <a:gd name="connsiteY828" fmla="*/ 123863 h 512159"/>
              <a:gd name="connsiteX829" fmla="*/ 82258 w 264461"/>
              <a:gd name="connsiteY829" fmla="*/ 122282 h 512159"/>
              <a:gd name="connsiteX830" fmla="*/ 83591 w 264461"/>
              <a:gd name="connsiteY830" fmla="*/ 119910 h 512159"/>
              <a:gd name="connsiteX831" fmla="*/ 84687 w 264461"/>
              <a:gd name="connsiteY831" fmla="*/ 119206 h 512159"/>
              <a:gd name="connsiteX832" fmla="*/ 86049 w 264461"/>
              <a:gd name="connsiteY832" fmla="*/ 118796 h 512159"/>
              <a:gd name="connsiteX833" fmla="*/ 89125 w 264461"/>
              <a:gd name="connsiteY833" fmla="*/ 119586 h 512159"/>
              <a:gd name="connsiteX834" fmla="*/ 90297 w 264461"/>
              <a:gd name="connsiteY834" fmla="*/ 120539 h 512159"/>
              <a:gd name="connsiteX835" fmla="*/ 91649 w 264461"/>
              <a:gd name="connsiteY835" fmla="*/ 122796 h 512159"/>
              <a:gd name="connsiteX836" fmla="*/ 92640 w 264461"/>
              <a:gd name="connsiteY836" fmla="*/ 122615 h 512159"/>
              <a:gd name="connsiteX837" fmla="*/ 96469 w 264461"/>
              <a:gd name="connsiteY837" fmla="*/ 120158 h 512159"/>
              <a:gd name="connsiteX838" fmla="*/ 97622 w 264461"/>
              <a:gd name="connsiteY838" fmla="*/ 119805 h 512159"/>
              <a:gd name="connsiteX839" fmla="*/ 99193 w 264461"/>
              <a:gd name="connsiteY839" fmla="*/ 122654 h 512159"/>
              <a:gd name="connsiteX840" fmla="*/ 105737 w 264461"/>
              <a:gd name="connsiteY840" fmla="*/ 120387 h 512159"/>
              <a:gd name="connsiteX841" fmla="*/ 114528 w 264461"/>
              <a:gd name="connsiteY841" fmla="*/ 119377 h 512159"/>
              <a:gd name="connsiteX842" fmla="*/ 119815 w 264461"/>
              <a:gd name="connsiteY842" fmla="*/ 117881 h 512159"/>
              <a:gd name="connsiteX843" fmla="*/ 125378 w 264461"/>
              <a:gd name="connsiteY843" fmla="*/ 117338 h 512159"/>
              <a:gd name="connsiteX844" fmla="*/ 130568 w 264461"/>
              <a:gd name="connsiteY844" fmla="*/ 115634 h 512159"/>
              <a:gd name="connsiteX845" fmla="*/ 136074 w 264461"/>
              <a:gd name="connsiteY845" fmla="*/ 116415 h 512159"/>
              <a:gd name="connsiteX846" fmla="*/ 136265 w 264461"/>
              <a:gd name="connsiteY846" fmla="*/ 117405 h 512159"/>
              <a:gd name="connsiteX847" fmla="*/ 135979 w 264461"/>
              <a:gd name="connsiteY847" fmla="*/ 118777 h 512159"/>
              <a:gd name="connsiteX848" fmla="*/ 134626 w 264461"/>
              <a:gd name="connsiteY848" fmla="*/ 122482 h 512159"/>
              <a:gd name="connsiteX849" fmla="*/ 139455 w 264461"/>
              <a:gd name="connsiteY849" fmla="*/ 110890 h 512159"/>
              <a:gd name="connsiteX850" fmla="*/ 139198 w 264461"/>
              <a:gd name="connsiteY850" fmla="*/ 111042 h 512159"/>
              <a:gd name="connsiteX851" fmla="*/ 138217 w 264461"/>
              <a:gd name="connsiteY851" fmla="*/ 110099 h 512159"/>
              <a:gd name="connsiteX852" fmla="*/ 136617 w 264461"/>
              <a:gd name="connsiteY852" fmla="*/ 106718 h 512159"/>
              <a:gd name="connsiteX853" fmla="*/ 139141 w 264461"/>
              <a:gd name="connsiteY853" fmla="*/ 106042 h 512159"/>
              <a:gd name="connsiteX854" fmla="*/ 140332 w 264461"/>
              <a:gd name="connsiteY854" fmla="*/ 106461 h 512159"/>
              <a:gd name="connsiteX855" fmla="*/ 139884 w 264461"/>
              <a:gd name="connsiteY855" fmla="*/ 107899 h 512159"/>
              <a:gd name="connsiteX856" fmla="*/ 139455 w 264461"/>
              <a:gd name="connsiteY856" fmla="*/ 110890 h 512159"/>
              <a:gd name="connsiteX857" fmla="*/ 133150 w 264461"/>
              <a:gd name="connsiteY857" fmla="*/ 108185 h 512159"/>
              <a:gd name="connsiteX858" fmla="*/ 131616 w 264461"/>
              <a:gd name="connsiteY858" fmla="*/ 108871 h 512159"/>
              <a:gd name="connsiteX859" fmla="*/ 130102 w 264461"/>
              <a:gd name="connsiteY859" fmla="*/ 108823 h 512159"/>
              <a:gd name="connsiteX860" fmla="*/ 127740 w 264461"/>
              <a:gd name="connsiteY860" fmla="*/ 105842 h 512159"/>
              <a:gd name="connsiteX861" fmla="*/ 126844 w 264461"/>
              <a:gd name="connsiteY861" fmla="*/ 103670 h 512159"/>
              <a:gd name="connsiteX862" fmla="*/ 127006 w 264461"/>
              <a:gd name="connsiteY862" fmla="*/ 102232 h 512159"/>
              <a:gd name="connsiteX863" fmla="*/ 127997 w 264461"/>
              <a:gd name="connsiteY863" fmla="*/ 101746 h 512159"/>
              <a:gd name="connsiteX864" fmla="*/ 130283 w 264461"/>
              <a:gd name="connsiteY864" fmla="*/ 102451 h 512159"/>
              <a:gd name="connsiteX865" fmla="*/ 131464 w 264461"/>
              <a:gd name="connsiteY865" fmla="*/ 104937 h 512159"/>
              <a:gd name="connsiteX866" fmla="*/ 131616 w 264461"/>
              <a:gd name="connsiteY866" fmla="*/ 106547 h 512159"/>
              <a:gd name="connsiteX867" fmla="*/ 131893 w 264461"/>
              <a:gd name="connsiteY867" fmla="*/ 107175 h 512159"/>
              <a:gd name="connsiteX868" fmla="*/ 133312 w 264461"/>
              <a:gd name="connsiteY868" fmla="*/ 107813 h 512159"/>
              <a:gd name="connsiteX869" fmla="*/ 133150 w 264461"/>
              <a:gd name="connsiteY869" fmla="*/ 108185 h 512159"/>
              <a:gd name="connsiteX870" fmla="*/ 136026 w 264461"/>
              <a:gd name="connsiteY870" fmla="*/ 96021 h 512159"/>
              <a:gd name="connsiteX871" fmla="*/ 135664 w 264461"/>
              <a:gd name="connsiteY871" fmla="*/ 97298 h 512159"/>
              <a:gd name="connsiteX872" fmla="*/ 137693 w 264461"/>
              <a:gd name="connsiteY872" fmla="*/ 97269 h 512159"/>
              <a:gd name="connsiteX873" fmla="*/ 140636 w 264461"/>
              <a:gd name="connsiteY873" fmla="*/ 98355 h 512159"/>
              <a:gd name="connsiteX874" fmla="*/ 142418 w 264461"/>
              <a:gd name="connsiteY874" fmla="*/ 98488 h 512159"/>
              <a:gd name="connsiteX875" fmla="*/ 143904 w 264461"/>
              <a:gd name="connsiteY875" fmla="*/ 99841 h 512159"/>
              <a:gd name="connsiteX876" fmla="*/ 143084 w 264461"/>
              <a:gd name="connsiteY876" fmla="*/ 102365 h 512159"/>
              <a:gd name="connsiteX877" fmla="*/ 142199 w 264461"/>
              <a:gd name="connsiteY877" fmla="*/ 103079 h 512159"/>
              <a:gd name="connsiteX878" fmla="*/ 141198 w 264461"/>
              <a:gd name="connsiteY878" fmla="*/ 103222 h 512159"/>
              <a:gd name="connsiteX879" fmla="*/ 137693 w 264461"/>
              <a:gd name="connsiteY879" fmla="*/ 100698 h 512159"/>
              <a:gd name="connsiteX880" fmla="*/ 133102 w 264461"/>
              <a:gd name="connsiteY880" fmla="*/ 101746 h 512159"/>
              <a:gd name="connsiteX881" fmla="*/ 132188 w 264461"/>
              <a:gd name="connsiteY881" fmla="*/ 101422 h 512159"/>
              <a:gd name="connsiteX882" fmla="*/ 131588 w 264461"/>
              <a:gd name="connsiteY882" fmla="*/ 100727 h 512159"/>
              <a:gd name="connsiteX883" fmla="*/ 131340 w 264461"/>
              <a:gd name="connsiteY883" fmla="*/ 99860 h 512159"/>
              <a:gd name="connsiteX884" fmla="*/ 131340 w 264461"/>
              <a:gd name="connsiteY884" fmla="*/ 98088 h 512159"/>
              <a:gd name="connsiteX885" fmla="*/ 131093 w 264461"/>
              <a:gd name="connsiteY885" fmla="*/ 97565 h 512159"/>
              <a:gd name="connsiteX886" fmla="*/ 129426 w 264461"/>
              <a:gd name="connsiteY886" fmla="*/ 99241 h 512159"/>
              <a:gd name="connsiteX887" fmla="*/ 128702 w 264461"/>
              <a:gd name="connsiteY887" fmla="*/ 99041 h 512159"/>
              <a:gd name="connsiteX888" fmla="*/ 128292 w 264461"/>
              <a:gd name="connsiteY888" fmla="*/ 98241 h 512159"/>
              <a:gd name="connsiteX889" fmla="*/ 128111 w 264461"/>
              <a:gd name="connsiteY889" fmla="*/ 96584 h 512159"/>
              <a:gd name="connsiteX890" fmla="*/ 128292 w 264461"/>
              <a:gd name="connsiteY890" fmla="*/ 94193 h 512159"/>
              <a:gd name="connsiteX891" fmla="*/ 129273 w 264461"/>
              <a:gd name="connsiteY891" fmla="*/ 90773 h 512159"/>
              <a:gd name="connsiteX892" fmla="*/ 130921 w 264461"/>
              <a:gd name="connsiteY892" fmla="*/ 90088 h 512159"/>
              <a:gd name="connsiteX893" fmla="*/ 133378 w 264461"/>
              <a:gd name="connsiteY893" fmla="*/ 90488 h 512159"/>
              <a:gd name="connsiteX894" fmla="*/ 136198 w 264461"/>
              <a:gd name="connsiteY894" fmla="*/ 92421 h 512159"/>
              <a:gd name="connsiteX895" fmla="*/ 137046 w 264461"/>
              <a:gd name="connsiteY895" fmla="*/ 93612 h 512159"/>
              <a:gd name="connsiteX896" fmla="*/ 137027 w 264461"/>
              <a:gd name="connsiteY896" fmla="*/ 94564 h 512159"/>
              <a:gd name="connsiteX897" fmla="*/ 136026 w 264461"/>
              <a:gd name="connsiteY897" fmla="*/ 96021 h 512159"/>
              <a:gd name="connsiteX898" fmla="*/ 149618 w 264461"/>
              <a:gd name="connsiteY898" fmla="*/ 85525 h 512159"/>
              <a:gd name="connsiteX899" fmla="*/ 146599 w 264461"/>
              <a:gd name="connsiteY899" fmla="*/ 85582 h 512159"/>
              <a:gd name="connsiteX900" fmla="*/ 148161 w 264461"/>
              <a:gd name="connsiteY900" fmla="*/ 82496 h 512159"/>
              <a:gd name="connsiteX901" fmla="*/ 149981 w 264461"/>
              <a:gd name="connsiteY901" fmla="*/ 81715 h 512159"/>
              <a:gd name="connsiteX902" fmla="*/ 153419 w 264461"/>
              <a:gd name="connsiteY902" fmla="*/ 82058 h 512159"/>
              <a:gd name="connsiteX903" fmla="*/ 152810 w 264461"/>
              <a:gd name="connsiteY903" fmla="*/ 83449 h 512159"/>
              <a:gd name="connsiteX904" fmla="*/ 149618 w 264461"/>
              <a:gd name="connsiteY904" fmla="*/ 85525 h 512159"/>
              <a:gd name="connsiteX905" fmla="*/ 144799 w 264461"/>
              <a:gd name="connsiteY905" fmla="*/ 87849 h 512159"/>
              <a:gd name="connsiteX906" fmla="*/ 142504 w 264461"/>
              <a:gd name="connsiteY906" fmla="*/ 89145 h 512159"/>
              <a:gd name="connsiteX907" fmla="*/ 141522 w 264461"/>
              <a:gd name="connsiteY907" fmla="*/ 88078 h 512159"/>
              <a:gd name="connsiteX908" fmla="*/ 141265 w 264461"/>
              <a:gd name="connsiteY908" fmla="*/ 84725 h 512159"/>
              <a:gd name="connsiteX909" fmla="*/ 138531 w 264461"/>
              <a:gd name="connsiteY909" fmla="*/ 83287 h 512159"/>
              <a:gd name="connsiteX910" fmla="*/ 137198 w 264461"/>
              <a:gd name="connsiteY910" fmla="*/ 82391 h 512159"/>
              <a:gd name="connsiteX911" fmla="*/ 136169 w 264461"/>
              <a:gd name="connsiteY911" fmla="*/ 80696 h 512159"/>
              <a:gd name="connsiteX912" fmla="*/ 136427 w 264461"/>
              <a:gd name="connsiteY912" fmla="*/ 80172 h 512159"/>
              <a:gd name="connsiteX913" fmla="*/ 138208 w 264461"/>
              <a:gd name="connsiteY913" fmla="*/ 79477 h 512159"/>
              <a:gd name="connsiteX914" fmla="*/ 141256 w 264461"/>
              <a:gd name="connsiteY914" fmla="*/ 82553 h 512159"/>
              <a:gd name="connsiteX915" fmla="*/ 142504 w 264461"/>
              <a:gd name="connsiteY915" fmla="*/ 85030 h 512159"/>
              <a:gd name="connsiteX916" fmla="*/ 144761 w 264461"/>
              <a:gd name="connsiteY916" fmla="*/ 85763 h 512159"/>
              <a:gd name="connsiteX917" fmla="*/ 145047 w 264461"/>
              <a:gd name="connsiteY917" fmla="*/ 86144 h 512159"/>
              <a:gd name="connsiteX918" fmla="*/ 144799 w 264461"/>
              <a:gd name="connsiteY918" fmla="*/ 87849 h 512159"/>
              <a:gd name="connsiteX919" fmla="*/ 182785 w 264461"/>
              <a:gd name="connsiteY919" fmla="*/ 16050 h 512159"/>
              <a:gd name="connsiteX920" fmla="*/ 183337 w 264461"/>
              <a:gd name="connsiteY920" fmla="*/ 19869 h 512159"/>
              <a:gd name="connsiteX921" fmla="*/ 184718 w 264461"/>
              <a:gd name="connsiteY921" fmla="*/ 18879 h 512159"/>
              <a:gd name="connsiteX922" fmla="*/ 186804 w 264461"/>
              <a:gd name="connsiteY922" fmla="*/ 22536 h 512159"/>
              <a:gd name="connsiteX923" fmla="*/ 187871 w 264461"/>
              <a:gd name="connsiteY923" fmla="*/ 22536 h 512159"/>
              <a:gd name="connsiteX924" fmla="*/ 189624 w 264461"/>
              <a:gd name="connsiteY924" fmla="*/ 21088 h 512159"/>
              <a:gd name="connsiteX925" fmla="*/ 189271 w 264461"/>
              <a:gd name="connsiteY925" fmla="*/ 24489 h 512159"/>
              <a:gd name="connsiteX926" fmla="*/ 187452 w 264461"/>
              <a:gd name="connsiteY926" fmla="*/ 33890 h 512159"/>
              <a:gd name="connsiteX927" fmla="*/ 186937 w 264461"/>
              <a:gd name="connsiteY927" fmla="*/ 35481 h 512159"/>
              <a:gd name="connsiteX928" fmla="*/ 186595 w 264461"/>
              <a:gd name="connsiteY928" fmla="*/ 38329 h 512159"/>
              <a:gd name="connsiteX929" fmla="*/ 186233 w 264461"/>
              <a:gd name="connsiteY929" fmla="*/ 38891 h 512159"/>
              <a:gd name="connsiteX930" fmla="*/ 185699 w 264461"/>
              <a:gd name="connsiteY930" fmla="*/ 44634 h 512159"/>
              <a:gd name="connsiteX931" fmla="*/ 184470 w 264461"/>
              <a:gd name="connsiteY931" fmla="*/ 46520 h 512159"/>
              <a:gd name="connsiteX932" fmla="*/ 183442 w 264461"/>
              <a:gd name="connsiteY932" fmla="*/ 51016 h 512159"/>
              <a:gd name="connsiteX933" fmla="*/ 183023 w 264461"/>
              <a:gd name="connsiteY933" fmla="*/ 51454 h 512159"/>
              <a:gd name="connsiteX934" fmla="*/ 181518 w 264461"/>
              <a:gd name="connsiteY934" fmla="*/ 49730 h 512159"/>
              <a:gd name="connsiteX935" fmla="*/ 183023 w 264461"/>
              <a:gd name="connsiteY935" fmla="*/ 42863 h 512159"/>
              <a:gd name="connsiteX936" fmla="*/ 183642 w 264461"/>
              <a:gd name="connsiteY936" fmla="*/ 38862 h 512159"/>
              <a:gd name="connsiteX937" fmla="*/ 183242 w 264461"/>
              <a:gd name="connsiteY937" fmla="*/ 36786 h 512159"/>
              <a:gd name="connsiteX938" fmla="*/ 182394 w 264461"/>
              <a:gd name="connsiteY938" fmla="*/ 34909 h 512159"/>
              <a:gd name="connsiteX939" fmla="*/ 180089 w 264461"/>
              <a:gd name="connsiteY939" fmla="*/ 34852 h 512159"/>
              <a:gd name="connsiteX940" fmla="*/ 178146 w 264461"/>
              <a:gd name="connsiteY940" fmla="*/ 35719 h 512159"/>
              <a:gd name="connsiteX941" fmla="*/ 177736 w 264461"/>
              <a:gd name="connsiteY941" fmla="*/ 34614 h 512159"/>
              <a:gd name="connsiteX942" fmla="*/ 177679 w 264461"/>
              <a:gd name="connsiteY942" fmla="*/ 33128 h 512159"/>
              <a:gd name="connsiteX943" fmla="*/ 177212 w 264461"/>
              <a:gd name="connsiteY943" fmla="*/ 32633 h 512159"/>
              <a:gd name="connsiteX944" fmla="*/ 174631 w 264461"/>
              <a:gd name="connsiteY944" fmla="*/ 32737 h 512159"/>
              <a:gd name="connsiteX945" fmla="*/ 173869 w 264461"/>
              <a:gd name="connsiteY945" fmla="*/ 32328 h 512159"/>
              <a:gd name="connsiteX946" fmla="*/ 173364 w 264461"/>
              <a:gd name="connsiteY946" fmla="*/ 30956 h 512159"/>
              <a:gd name="connsiteX947" fmla="*/ 173269 w 264461"/>
              <a:gd name="connsiteY947" fmla="*/ 29861 h 512159"/>
              <a:gd name="connsiteX948" fmla="*/ 175603 w 264461"/>
              <a:gd name="connsiteY948" fmla="*/ 29004 h 512159"/>
              <a:gd name="connsiteX949" fmla="*/ 177794 w 264461"/>
              <a:gd name="connsiteY949" fmla="*/ 29328 h 512159"/>
              <a:gd name="connsiteX950" fmla="*/ 180994 w 264461"/>
              <a:gd name="connsiteY950" fmla="*/ 27146 h 512159"/>
              <a:gd name="connsiteX951" fmla="*/ 178994 w 264461"/>
              <a:gd name="connsiteY951" fmla="*/ 19822 h 512159"/>
              <a:gd name="connsiteX952" fmla="*/ 176336 w 264461"/>
              <a:gd name="connsiteY952" fmla="*/ 19126 h 512159"/>
              <a:gd name="connsiteX953" fmla="*/ 175726 w 264461"/>
              <a:gd name="connsiteY953" fmla="*/ 18412 h 512159"/>
              <a:gd name="connsiteX954" fmla="*/ 176241 w 264461"/>
              <a:gd name="connsiteY954" fmla="*/ 17164 h 512159"/>
              <a:gd name="connsiteX955" fmla="*/ 177698 w 264461"/>
              <a:gd name="connsiteY955" fmla="*/ 16488 h 512159"/>
              <a:gd name="connsiteX956" fmla="*/ 179937 w 264461"/>
              <a:gd name="connsiteY956" fmla="*/ 12744 h 512159"/>
              <a:gd name="connsiteX957" fmla="*/ 181280 w 264461"/>
              <a:gd name="connsiteY957" fmla="*/ 12154 h 512159"/>
              <a:gd name="connsiteX958" fmla="*/ 182947 w 264461"/>
              <a:gd name="connsiteY958" fmla="*/ 12259 h 512159"/>
              <a:gd name="connsiteX959" fmla="*/ 182785 w 264461"/>
              <a:gd name="connsiteY959" fmla="*/ 16050 h 512159"/>
              <a:gd name="connsiteX960" fmla="*/ 189890 w 264461"/>
              <a:gd name="connsiteY960" fmla="*/ 17336 h 512159"/>
              <a:gd name="connsiteX961" fmla="*/ 189214 w 264461"/>
              <a:gd name="connsiteY961" fmla="*/ 17955 h 512159"/>
              <a:gd name="connsiteX962" fmla="*/ 186604 w 264461"/>
              <a:gd name="connsiteY962" fmla="*/ 12440 h 512159"/>
              <a:gd name="connsiteX963" fmla="*/ 188538 w 264461"/>
              <a:gd name="connsiteY963" fmla="*/ 6106 h 512159"/>
              <a:gd name="connsiteX964" fmla="*/ 190881 w 264461"/>
              <a:gd name="connsiteY964" fmla="*/ 6306 h 512159"/>
              <a:gd name="connsiteX965" fmla="*/ 191252 w 264461"/>
              <a:gd name="connsiteY965" fmla="*/ 7963 h 512159"/>
              <a:gd name="connsiteX966" fmla="*/ 191024 w 264461"/>
              <a:gd name="connsiteY966" fmla="*/ 9497 h 512159"/>
              <a:gd name="connsiteX967" fmla="*/ 189833 w 264461"/>
              <a:gd name="connsiteY967" fmla="*/ 9630 h 512159"/>
              <a:gd name="connsiteX968" fmla="*/ 189728 w 264461"/>
              <a:gd name="connsiteY968" fmla="*/ 10096 h 512159"/>
              <a:gd name="connsiteX969" fmla="*/ 190100 w 264461"/>
              <a:gd name="connsiteY969" fmla="*/ 13040 h 512159"/>
              <a:gd name="connsiteX970" fmla="*/ 190119 w 264461"/>
              <a:gd name="connsiteY970" fmla="*/ 16450 h 512159"/>
              <a:gd name="connsiteX971" fmla="*/ 189890 w 264461"/>
              <a:gd name="connsiteY971" fmla="*/ 17336 h 512159"/>
              <a:gd name="connsiteX972" fmla="*/ 197053 w 264461"/>
              <a:gd name="connsiteY972" fmla="*/ 1086 h 512159"/>
              <a:gd name="connsiteX973" fmla="*/ 197053 w 264461"/>
              <a:gd name="connsiteY973" fmla="*/ 1715 h 512159"/>
              <a:gd name="connsiteX974" fmla="*/ 195662 w 264461"/>
              <a:gd name="connsiteY974" fmla="*/ 6325 h 512159"/>
              <a:gd name="connsiteX975" fmla="*/ 195681 w 264461"/>
              <a:gd name="connsiteY975" fmla="*/ 8087 h 512159"/>
              <a:gd name="connsiteX976" fmla="*/ 193443 w 264461"/>
              <a:gd name="connsiteY976" fmla="*/ 7915 h 512159"/>
              <a:gd name="connsiteX977" fmla="*/ 193091 w 264461"/>
              <a:gd name="connsiteY977" fmla="*/ 7353 h 512159"/>
              <a:gd name="connsiteX978" fmla="*/ 192672 w 264461"/>
              <a:gd name="connsiteY978" fmla="*/ 4715 h 512159"/>
              <a:gd name="connsiteX979" fmla="*/ 192957 w 264461"/>
              <a:gd name="connsiteY979" fmla="*/ 1905 h 512159"/>
              <a:gd name="connsiteX980" fmla="*/ 193272 w 264461"/>
              <a:gd name="connsiteY980" fmla="*/ 1172 h 512159"/>
              <a:gd name="connsiteX981" fmla="*/ 193919 w 264461"/>
              <a:gd name="connsiteY981" fmla="*/ 876 h 512159"/>
              <a:gd name="connsiteX982" fmla="*/ 194624 w 264461"/>
              <a:gd name="connsiteY982" fmla="*/ 1429 h 512159"/>
              <a:gd name="connsiteX983" fmla="*/ 195739 w 264461"/>
              <a:gd name="connsiteY983" fmla="*/ 0 h 512159"/>
              <a:gd name="connsiteX984" fmla="*/ 196320 w 264461"/>
              <a:gd name="connsiteY984" fmla="*/ 29 h 512159"/>
              <a:gd name="connsiteX985" fmla="*/ 197053 w 264461"/>
              <a:gd name="connsiteY985" fmla="*/ 1086 h 512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</a:cxnLst>
            <a:rect l="l" t="t" r="r" b="b"/>
            <a:pathLst>
              <a:path w="264461" h="512159">
                <a:moveTo>
                  <a:pt x="189271" y="484203"/>
                </a:moveTo>
                <a:lnTo>
                  <a:pt x="187033" y="485651"/>
                </a:lnTo>
                <a:lnTo>
                  <a:pt x="186328" y="487356"/>
                </a:lnTo>
                <a:lnTo>
                  <a:pt x="185785" y="488023"/>
                </a:lnTo>
                <a:lnTo>
                  <a:pt x="184309" y="488461"/>
                </a:lnTo>
                <a:lnTo>
                  <a:pt x="182842" y="488470"/>
                </a:lnTo>
                <a:lnTo>
                  <a:pt x="177260" y="485061"/>
                </a:lnTo>
                <a:lnTo>
                  <a:pt x="175974" y="485213"/>
                </a:lnTo>
                <a:lnTo>
                  <a:pt x="177251" y="483651"/>
                </a:lnTo>
                <a:lnTo>
                  <a:pt x="180718" y="482375"/>
                </a:lnTo>
                <a:lnTo>
                  <a:pt x="182670" y="480689"/>
                </a:lnTo>
                <a:lnTo>
                  <a:pt x="187176" y="482317"/>
                </a:lnTo>
                <a:lnTo>
                  <a:pt x="189271" y="484203"/>
                </a:lnTo>
                <a:close/>
                <a:moveTo>
                  <a:pt x="105565" y="370189"/>
                </a:moveTo>
                <a:lnTo>
                  <a:pt x="106689" y="371018"/>
                </a:lnTo>
                <a:lnTo>
                  <a:pt x="109509" y="370884"/>
                </a:lnTo>
                <a:lnTo>
                  <a:pt x="108575" y="372732"/>
                </a:lnTo>
                <a:lnTo>
                  <a:pt x="105470" y="374790"/>
                </a:lnTo>
                <a:lnTo>
                  <a:pt x="103384" y="376819"/>
                </a:lnTo>
                <a:lnTo>
                  <a:pt x="100860" y="378514"/>
                </a:lnTo>
                <a:lnTo>
                  <a:pt x="99641" y="376561"/>
                </a:lnTo>
                <a:lnTo>
                  <a:pt x="98222" y="376637"/>
                </a:lnTo>
                <a:lnTo>
                  <a:pt x="96050" y="372885"/>
                </a:lnTo>
                <a:lnTo>
                  <a:pt x="95660" y="367265"/>
                </a:lnTo>
                <a:lnTo>
                  <a:pt x="98498" y="365798"/>
                </a:lnTo>
                <a:lnTo>
                  <a:pt x="102422" y="365884"/>
                </a:lnTo>
                <a:lnTo>
                  <a:pt x="105565" y="370189"/>
                </a:lnTo>
                <a:close/>
                <a:moveTo>
                  <a:pt x="47339" y="282445"/>
                </a:moveTo>
                <a:lnTo>
                  <a:pt x="51111" y="283616"/>
                </a:lnTo>
                <a:lnTo>
                  <a:pt x="53921" y="283598"/>
                </a:lnTo>
                <a:lnTo>
                  <a:pt x="56416" y="286998"/>
                </a:lnTo>
                <a:lnTo>
                  <a:pt x="57750" y="292351"/>
                </a:lnTo>
                <a:lnTo>
                  <a:pt x="60865" y="297628"/>
                </a:lnTo>
                <a:lnTo>
                  <a:pt x="64941" y="302200"/>
                </a:lnTo>
                <a:lnTo>
                  <a:pt x="65103" y="304990"/>
                </a:lnTo>
                <a:lnTo>
                  <a:pt x="63646" y="306486"/>
                </a:lnTo>
                <a:lnTo>
                  <a:pt x="60607" y="308343"/>
                </a:lnTo>
                <a:lnTo>
                  <a:pt x="60617" y="310334"/>
                </a:lnTo>
                <a:lnTo>
                  <a:pt x="62627" y="309334"/>
                </a:lnTo>
                <a:lnTo>
                  <a:pt x="64360" y="308877"/>
                </a:lnTo>
                <a:lnTo>
                  <a:pt x="68532" y="309315"/>
                </a:lnTo>
                <a:lnTo>
                  <a:pt x="69990" y="311334"/>
                </a:lnTo>
                <a:lnTo>
                  <a:pt x="70999" y="314354"/>
                </a:lnTo>
                <a:lnTo>
                  <a:pt x="71533" y="316830"/>
                </a:lnTo>
                <a:lnTo>
                  <a:pt x="71171" y="319516"/>
                </a:lnTo>
                <a:lnTo>
                  <a:pt x="70047" y="318659"/>
                </a:lnTo>
                <a:lnTo>
                  <a:pt x="68904" y="316259"/>
                </a:lnTo>
                <a:lnTo>
                  <a:pt x="67637" y="315154"/>
                </a:lnTo>
                <a:lnTo>
                  <a:pt x="66161" y="314554"/>
                </a:lnTo>
                <a:lnTo>
                  <a:pt x="66827" y="317859"/>
                </a:lnTo>
                <a:lnTo>
                  <a:pt x="66560" y="322269"/>
                </a:lnTo>
                <a:lnTo>
                  <a:pt x="67199" y="322679"/>
                </a:lnTo>
                <a:lnTo>
                  <a:pt x="69180" y="322755"/>
                </a:lnTo>
                <a:lnTo>
                  <a:pt x="67875" y="327250"/>
                </a:lnTo>
                <a:lnTo>
                  <a:pt x="65160" y="328470"/>
                </a:lnTo>
                <a:lnTo>
                  <a:pt x="62008" y="328927"/>
                </a:lnTo>
                <a:lnTo>
                  <a:pt x="61246" y="330518"/>
                </a:lnTo>
                <a:lnTo>
                  <a:pt x="60674" y="332565"/>
                </a:lnTo>
                <a:lnTo>
                  <a:pt x="59026" y="335614"/>
                </a:lnTo>
                <a:lnTo>
                  <a:pt x="56855" y="337338"/>
                </a:lnTo>
                <a:lnTo>
                  <a:pt x="54168" y="336985"/>
                </a:lnTo>
                <a:lnTo>
                  <a:pt x="51540" y="335623"/>
                </a:lnTo>
                <a:lnTo>
                  <a:pt x="49244" y="335347"/>
                </a:lnTo>
                <a:lnTo>
                  <a:pt x="47644" y="336156"/>
                </a:lnTo>
                <a:lnTo>
                  <a:pt x="46606" y="336909"/>
                </a:lnTo>
                <a:lnTo>
                  <a:pt x="45596" y="336775"/>
                </a:lnTo>
                <a:lnTo>
                  <a:pt x="42710" y="337061"/>
                </a:lnTo>
                <a:lnTo>
                  <a:pt x="39995" y="337004"/>
                </a:lnTo>
                <a:lnTo>
                  <a:pt x="39605" y="335814"/>
                </a:lnTo>
                <a:lnTo>
                  <a:pt x="40072" y="332232"/>
                </a:lnTo>
                <a:lnTo>
                  <a:pt x="39462" y="331261"/>
                </a:lnTo>
                <a:lnTo>
                  <a:pt x="36871" y="330765"/>
                </a:lnTo>
                <a:lnTo>
                  <a:pt x="35909" y="329908"/>
                </a:lnTo>
                <a:lnTo>
                  <a:pt x="34414" y="327431"/>
                </a:lnTo>
                <a:lnTo>
                  <a:pt x="34119" y="326269"/>
                </a:lnTo>
                <a:lnTo>
                  <a:pt x="33909" y="324669"/>
                </a:lnTo>
                <a:lnTo>
                  <a:pt x="32328" y="322602"/>
                </a:lnTo>
                <a:lnTo>
                  <a:pt x="30413" y="321116"/>
                </a:lnTo>
                <a:lnTo>
                  <a:pt x="29289" y="321040"/>
                </a:lnTo>
                <a:lnTo>
                  <a:pt x="27051" y="323460"/>
                </a:lnTo>
                <a:lnTo>
                  <a:pt x="25203" y="325907"/>
                </a:lnTo>
                <a:lnTo>
                  <a:pt x="25851" y="327136"/>
                </a:lnTo>
                <a:lnTo>
                  <a:pt x="26451" y="328746"/>
                </a:lnTo>
                <a:lnTo>
                  <a:pt x="25451" y="329908"/>
                </a:lnTo>
                <a:lnTo>
                  <a:pt x="22412" y="332556"/>
                </a:lnTo>
                <a:lnTo>
                  <a:pt x="21936" y="333585"/>
                </a:lnTo>
                <a:lnTo>
                  <a:pt x="21117" y="334146"/>
                </a:lnTo>
                <a:lnTo>
                  <a:pt x="19669" y="333413"/>
                </a:lnTo>
                <a:lnTo>
                  <a:pt x="16059" y="333585"/>
                </a:lnTo>
                <a:lnTo>
                  <a:pt x="14402" y="333118"/>
                </a:lnTo>
                <a:lnTo>
                  <a:pt x="12468" y="331165"/>
                </a:lnTo>
                <a:lnTo>
                  <a:pt x="7753" y="329860"/>
                </a:lnTo>
                <a:lnTo>
                  <a:pt x="6963" y="326727"/>
                </a:lnTo>
                <a:lnTo>
                  <a:pt x="6058" y="326136"/>
                </a:lnTo>
                <a:lnTo>
                  <a:pt x="714" y="320754"/>
                </a:lnTo>
                <a:lnTo>
                  <a:pt x="0" y="318954"/>
                </a:lnTo>
                <a:lnTo>
                  <a:pt x="695" y="317878"/>
                </a:lnTo>
                <a:lnTo>
                  <a:pt x="2686" y="316249"/>
                </a:lnTo>
                <a:lnTo>
                  <a:pt x="9382" y="313544"/>
                </a:lnTo>
                <a:lnTo>
                  <a:pt x="10439" y="312458"/>
                </a:lnTo>
                <a:lnTo>
                  <a:pt x="10658" y="311496"/>
                </a:lnTo>
                <a:lnTo>
                  <a:pt x="8687" y="310401"/>
                </a:lnTo>
                <a:lnTo>
                  <a:pt x="6915" y="309181"/>
                </a:lnTo>
                <a:lnTo>
                  <a:pt x="6315" y="308391"/>
                </a:lnTo>
                <a:lnTo>
                  <a:pt x="6267" y="307696"/>
                </a:lnTo>
                <a:lnTo>
                  <a:pt x="7277" y="306791"/>
                </a:lnTo>
                <a:lnTo>
                  <a:pt x="9296" y="306724"/>
                </a:lnTo>
                <a:lnTo>
                  <a:pt x="10896" y="307134"/>
                </a:lnTo>
                <a:lnTo>
                  <a:pt x="12163" y="306324"/>
                </a:lnTo>
                <a:lnTo>
                  <a:pt x="14392" y="305505"/>
                </a:lnTo>
                <a:lnTo>
                  <a:pt x="15888" y="304476"/>
                </a:lnTo>
                <a:lnTo>
                  <a:pt x="17173" y="301819"/>
                </a:lnTo>
                <a:lnTo>
                  <a:pt x="18535" y="299428"/>
                </a:lnTo>
                <a:lnTo>
                  <a:pt x="18679" y="298132"/>
                </a:lnTo>
                <a:lnTo>
                  <a:pt x="19869" y="293570"/>
                </a:lnTo>
                <a:lnTo>
                  <a:pt x="20526" y="292437"/>
                </a:lnTo>
                <a:lnTo>
                  <a:pt x="24755" y="289446"/>
                </a:lnTo>
                <a:lnTo>
                  <a:pt x="25822" y="291084"/>
                </a:lnTo>
                <a:lnTo>
                  <a:pt x="27908" y="291484"/>
                </a:lnTo>
                <a:lnTo>
                  <a:pt x="29775" y="289979"/>
                </a:lnTo>
                <a:lnTo>
                  <a:pt x="32013" y="285226"/>
                </a:lnTo>
                <a:lnTo>
                  <a:pt x="33566" y="284931"/>
                </a:lnTo>
                <a:lnTo>
                  <a:pt x="35280" y="285322"/>
                </a:lnTo>
                <a:lnTo>
                  <a:pt x="38652" y="284721"/>
                </a:lnTo>
                <a:lnTo>
                  <a:pt x="44634" y="282502"/>
                </a:lnTo>
                <a:lnTo>
                  <a:pt x="47339" y="282445"/>
                </a:lnTo>
                <a:close/>
                <a:moveTo>
                  <a:pt x="81277" y="272729"/>
                </a:moveTo>
                <a:lnTo>
                  <a:pt x="77905" y="272767"/>
                </a:lnTo>
                <a:lnTo>
                  <a:pt x="76686" y="272358"/>
                </a:lnTo>
                <a:lnTo>
                  <a:pt x="75228" y="271215"/>
                </a:lnTo>
                <a:lnTo>
                  <a:pt x="73590" y="264738"/>
                </a:lnTo>
                <a:lnTo>
                  <a:pt x="74181" y="262442"/>
                </a:lnTo>
                <a:lnTo>
                  <a:pt x="74847" y="261318"/>
                </a:lnTo>
                <a:lnTo>
                  <a:pt x="75590" y="260442"/>
                </a:lnTo>
                <a:lnTo>
                  <a:pt x="77371" y="260080"/>
                </a:lnTo>
                <a:lnTo>
                  <a:pt x="79143" y="261309"/>
                </a:lnTo>
                <a:lnTo>
                  <a:pt x="79810" y="262452"/>
                </a:lnTo>
                <a:lnTo>
                  <a:pt x="81296" y="266833"/>
                </a:lnTo>
                <a:lnTo>
                  <a:pt x="81572" y="270586"/>
                </a:lnTo>
                <a:lnTo>
                  <a:pt x="81277" y="272729"/>
                </a:lnTo>
                <a:close/>
                <a:moveTo>
                  <a:pt x="53921" y="249927"/>
                </a:moveTo>
                <a:lnTo>
                  <a:pt x="54883" y="256032"/>
                </a:lnTo>
                <a:lnTo>
                  <a:pt x="55826" y="259804"/>
                </a:lnTo>
                <a:lnTo>
                  <a:pt x="55893" y="261090"/>
                </a:lnTo>
                <a:lnTo>
                  <a:pt x="55007" y="262880"/>
                </a:lnTo>
                <a:lnTo>
                  <a:pt x="50597" y="265262"/>
                </a:lnTo>
                <a:lnTo>
                  <a:pt x="49206" y="265271"/>
                </a:lnTo>
                <a:lnTo>
                  <a:pt x="49149" y="264690"/>
                </a:lnTo>
                <a:lnTo>
                  <a:pt x="50139" y="262271"/>
                </a:lnTo>
                <a:lnTo>
                  <a:pt x="49282" y="259518"/>
                </a:lnTo>
                <a:lnTo>
                  <a:pt x="49701" y="257423"/>
                </a:lnTo>
                <a:lnTo>
                  <a:pt x="49292" y="257042"/>
                </a:lnTo>
                <a:lnTo>
                  <a:pt x="48435" y="257337"/>
                </a:lnTo>
                <a:lnTo>
                  <a:pt x="45272" y="260661"/>
                </a:lnTo>
                <a:lnTo>
                  <a:pt x="44215" y="260985"/>
                </a:lnTo>
                <a:lnTo>
                  <a:pt x="44101" y="260309"/>
                </a:lnTo>
                <a:lnTo>
                  <a:pt x="44882" y="257585"/>
                </a:lnTo>
                <a:lnTo>
                  <a:pt x="44977" y="255718"/>
                </a:lnTo>
                <a:lnTo>
                  <a:pt x="45444" y="254575"/>
                </a:lnTo>
                <a:lnTo>
                  <a:pt x="46301" y="253517"/>
                </a:lnTo>
                <a:lnTo>
                  <a:pt x="47320" y="252727"/>
                </a:lnTo>
                <a:lnTo>
                  <a:pt x="48149" y="252612"/>
                </a:lnTo>
                <a:lnTo>
                  <a:pt x="49025" y="253432"/>
                </a:lnTo>
                <a:lnTo>
                  <a:pt x="51578" y="251146"/>
                </a:lnTo>
                <a:lnTo>
                  <a:pt x="53921" y="249927"/>
                </a:lnTo>
                <a:close/>
                <a:moveTo>
                  <a:pt x="58169" y="255451"/>
                </a:moveTo>
                <a:lnTo>
                  <a:pt x="57607" y="255956"/>
                </a:lnTo>
                <a:lnTo>
                  <a:pt x="56254" y="255813"/>
                </a:lnTo>
                <a:lnTo>
                  <a:pt x="55750" y="255041"/>
                </a:lnTo>
                <a:lnTo>
                  <a:pt x="55473" y="253860"/>
                </a:lnTo>
                <a:lnTo>
                  <a:pt x="55445" y="251698"/>
                </a:lnTo>
                <a:lnTo>
                  <a:pt x="56264" y="250145"/>
                </a:lnTo>
                <a:lnTo>
                  <a:pt x="59731" y="247802"/>
                </a:lnTo>
                <a:lnTo>
                  <a:pt x="58160" y="246974"/>
                </a:lnTo>
                <a:lnTo>
                  <a:pt x="58102" y="246383"/>
                </a:lnTo>
                <a:lnTo>
                  <a:pt x="58998" y="244431"/>
                </a:lnTo>
                <a:lnTo>
                  <a:pt x="62722" y="241392"/>
                </a:lnTo>
                <a:lnTo>
                  <a:pt x="63722" y="240840"/>
                </a:lnTo>
                <a:lnTo>
                  <a:pt x="64713" y="240925"/>
                </a:lnTo>
                <a:lnTo>
                  <a:pt x="62789" y="246317"/>
                </a:lnTo>
                <a:lnTo>
                  <a:pt x="58169" y="255451"/>
                </a:lnTo>
                <a:close/>
                <a:moveTo>
                  <a:pt x="63303" y="230124"/>
                </a:moveTo>
                <a:lnTo>
                  <a:pt x="52654" y="232801"/>
                </a:lnTo>
                <a:lnTo>
                  <a:pt x="48987" y="232563"/>
                </a:lnTo>
                <a:lnTo>
                  <a:pt x="48654" y="231248"/>
                </a:lnTo>
                <a:lnTo>
                  <a:pt x="49387" y="230372"/>
                </a:lnTo>
                <a:lnTo>
                  <a:pt x="52426" y="229524"/>
                </a:lnTo>
                <a:lnTo>
                  <a:pt x="53654" y="223076"/>
                </a:lnTo>
                <a:lnTo>
                  <a:pt x="49063" y="220094"/>
                </a:lnTo>
                <a:lnTo>
                  <a:pt x="48825" y="219265"/>
                </a:lnTo>
                <a:lnTo>
                  <a:pt x="49187" y="217846"/>
                </a:lnTo>
                <a:lnTo>
                  <a:pt x="49721" y="217208"/>
                </a:lnTo>
                <a:lnTo>
                  <a:pt x="52502" y="215703"/>
                </a:lnTo>
                <a:lnTo>
                  <a:pt x="53673" y="215370"/>
                </a:lnTo>
                <a:lnTo>
                  <a:pt x="54626" y="215570"/>
                </a:lnTo>
                <a:lnTo>
                  <a:pt x="56588" y="217313"/>
                </a:lnTo>
                <a:lnTo>
                  <a:pt x="58798" y="220961"/>
                </a:lnTo>
                <a:lnTo>
                  <a:pt x="61760" y="221542"/>
                </a:lnTo>
                <a:lnTo>
                  <a:pt x="63770" y="223085"/>
                </a:lnTo>
                <a:lnTo>
                  <a:pt x="63303" y="230124"/>
                </a:lnTo>
                <a:close/>
                <a:moveTo>
                  <a:pt x="41119" y="218504"/>
                </a:moveTo>
                <a:lnTo>
                  <a:pt x="39605" y="218770"/>
                </a:lnTo>
                <a:lnTo>
                  <a:pt x="39491" y="218084"/>
                </a:lnTo>
                <a:lnTo>
                  <a:pt x="42129" y="214808"/>
                </a:lnTo>
                <a:lnTo>
                  <a:pt x="43834" y="214265"/>
                </a:lnTo>
                <a:lnTo>
                  <a:pt x="44434" y="214589"/>
                </a:lnTo>
                <a:lnTo>
                  <a:pt x="43196" y="216494"/>
                </a:lnTo>
                <a:lnTo>
                  <a:pt x="41119" y="218504"/>
                </a:lnTo>
                <a:close/>
                <a:moveTo>
                  <a:pt x="19488" y="199977"/>
                </a:moveTo>
                <a:lnTo>
                  <a:pt x="17135" y="200644"/>
                </a:lnTo>
                <a:lnTo>
                  <a:pt x="16268" y="200254"/>
                </a:lnTo>
                <a:lnTo>
                  <a:pt x="16116" y="199635"/>
                </a:lnTo>
                <a:lnTo>
                  <a:pt x="16650" y="197949"/>
                </a:lnTo>
                <a:lnTo>
                  <a:pt x="18450" y="197348"/>
                </a:lnTo>
                <a:lnTo>
                  <a:pt x="19755" y="198263"/>
                </a:lnTo>
                <a:lnTo>
                  <a:pt x="19964" y="199092"/>
                </a:lnTo>
                <a:lnTo>
                  <a:pt x="19488" y="199977"/>
                </a:lnTo>
                <a:close/>
                <a:moveTo>
                  <a:pt x="49911" y="200015"/>
                </a:moveTo>
                <a:lnTo>
                  <a:pt x="49120" y="200644"/>
                </a:lnTo>
                <a:lnTo>
                  <a:pt x="48120" y="200520"/>
                </a:lnTo>
                <a:lnTo>
                  <a:pt x="47130" y="199711"/>
                </a:lnTo>
                <a:lnTo>
                  <a:pt x="45815" y="197406"/>
                </a:lnTo>
                <a:lnTo>
                  <a:pt x="48768" y="195805"/>
                </a:lnTo>
                <a:lnTo>
                  <a:pt x="49949" y="196748"/>
                </a:lnTo>
                <a:lnTo>
                  <a:pt x="50397" y="197825"/>
                </a:lnTo>
                <a:lnTo>
                  <a:pt x="50416" y="199015"/>
                </a:lnTo>
                <a:lnTo>
                  <a:pt x="49911" y="200015"/>
                </a:lnTo>
                <a:close/>
                <a:moveTo>
                  <a:pt x="23955" y="192624"/>
                </a:moveTo>
                <a:lnTo>
                  <a:pt x="22822" y="192900"/>
                </a:lnTo>
                <a:lnTo>
                  <a:pt x="21346" y="192634"/>
                </a:lnTo>
                <a:lnTo>
                  <a:pt x="20431" y="191872"/>
                </a:lnTo>
                <a:lnTo>
                  <a:pt x="19507" y="188852"/>
                </a:lnTo>
                <a:lnTo>
                  <a:pt x="19336" y="187023"/>
                </a:lnTo>
                <a:lnTo>
                  <a:pt x="19745" y="183614"/>
                </a:lnTo>
                <a:lnTo>
                  <a:pt x="19650" y="179527"/>
                </a:lnTo>
                <a:lnTo>
                  <a:pt x="22698" y="179403"/>
                </a:lnTo>
                <a:lnTo>
                  <a:pt x="23488" y="179994"/>
                </a:lnTo>
                <a:lnTo>
                  <a:pt x="24012" y="192100"/>
                </a:lnTo>
                <a:lnTo>
                  <a:pt x="23955" y="192624"/>
                </a:lnTo>
                <a:close/>
                <a:moveTo>
                  <a:pt x="53502" y="173384"/>
                </a:moveTo>
                <a:lnTo>
                  <a:pt x="53464" y="175574"/>
                </a:lnTo>
                <a:lnTo>
                  <a:pt x="52987" y="178156"/>
                </a:lnTo>
                <a:lnTo>
                  <a:pt x="53597" y="180889"/>
                </a:lnTo>
                <a:lnTo>
                  <a:pt x="53740" y="182842"/>
                </a:lnTo>
                <a:lnTo>
                  <a:pt x="54864" y="183461"/>
                </a:lnTo>
                <a:lnTo>
                  <a:pt x="55550" y="184356"/>
                </a:lnTo>
                <a:lnTo>
                  <a:pt x="60560" y="185356"/>
                </a:lnTo>
                <a:lnTo>
                  <a:pt x="65218" y="185071"/>
                </a:lnTo>
                <a:lnTo>
                  <a:pt x="66113" y="185871"/>
                </a:lnTo>
                <a:lnTo>
                  <a:pt x="66218" y="187147"/>
                </a:lnTo>
                <a:lnTo>
                  <a:pt x="65484" y="188548"/>
                </a:lnTo>
                <a:lnTo>
                  <a:pt x="62827" y="191100"/>
                </a:lnTo>
                <a:lnTo>
                  <a:pt x="59664" y="195224"/>
                </a:lnTo>
                <a:lnTo>
                  <a:pt x="58721" y="196082"/>
                </a:lnTo>
                <a:lnTo>
                  <a:pt x="57702" y="196120"/>
                </a:lnTo>
                <a:lnTo>
                  <a:pt x="56969" y="195748"/>
                </a:lnTo>
                <a:lnTo>
                  <a:pt x="56445" y="188414"/>
                </a:lnTo>
                <a:lnTo>
                  <a:pt x="53016" y="189357"/>
                </a:lnTo>
                <a:lnTo>
                  <a:pt x="50254" y="189252"/>
                </a:lnTo>
                <a:lnTo>
                  <a:pt x="48739" y="188357"/>
                </a:lnTo>
                <a:lnTo>
                  <a:pt x="47682" y="186633"/>
                </a:lnTo>
                <a:lnTo>
                  <a:pt x="45539" y="182194"/>
                </a:lnTo>
                <a:lnTo>
                  <a:pt x="39310" y="180442"/>
                </a:lnTo>
                <a:lnTo>
                  <a:pt x="37547" y="177984"/>
                </a:lnTo>
                <a:lnTo>
                  <a:pt x="37014" y="176498"/>
                </a:lnTo>
                <a:lnTo>
                  <a:pt x="37233" y="175679"/>
                </a:lnTo>
                <a:lnTo>
                  <a:pt x="38528" y="173850"/>
                </a:lnTo>
                <a:lnTo>
                  <a:pt x="40148" y="174498"/>
                </a:lnTo>
                <a:lnTo>
                  <a:pt x="41148" y="174098"/>
                </a:lnTo>
                <a:lnTo>
                  <a:pt x="41757" y="173279"/>
                </a:lnTo>
                <a:lnTo>
                  <a:pt x="41748" y="172603"/>
                </a:lnTo>
                <a:lnTo>
                  <a:pt x="40900" y="171012"/>
                </a:lnTo>
                <a:lnTo>
                  <a:pt x="40862" y="170517"/>
                </a:lnTo>
                <a:lnTo>
                  <a:pt x="47234" y="168497"/>
                </a:lnTo>
                <a:lnTo>
                  <a:pt x="47796" y="165335"/>
                </a:lnTo>
                <a:lnTo>
                  <a:pt x="49178" y="165078"/>
                </a:lnTo>
                <a:lnTo>
                  <a:pt x="50759" y="166116"/>
                </a:lnTo>
                <a:lnTo>
                  <a:pt x="52921" y="169402"/>
                </a:lnTo>
                <a:lnTo>
                  <a:pt x="53502" y="173384"/>
                </a:lnTo>
                <a:close/>
                <a:moveTo>
                  <a:pt x="25136" y="164525"/>
                </a:moveTo>
                <a:lnTo>
                  <a:pt x="28156" y="167326"/>
                </a:lnTo>
                <a:lnTo>
                  <a:pt x="25755" y="171974"/>
                </a:lnTo>
                <a:lnTo>
                  <a:pt x="22069" y="171955"/>
                </a:lnTo>
                <a:lnTo>
                  <a:pt x="16878" y="168564"/>
                </a:lnTo>
                <a:lnTo>
                  <a:pt x="16859" y="167869"/>
                </a:lnTo>
                <a:lnTo>
                  <a:pt x="17288" y="166849"/>
                </a:lnTo>
                <a:lnTo>
                  <a:pt x="18069" y="166040"/>
                </a:lnTo>
                <a:lnTo>
                  <a:pt x="18878" y="165849"/>
                </a:lnTo>
                <a:lnTo>
                  <a:pt x="20164" y="166402"/>
                </a:lnTo>
                <a:lnTo>
                  <a:pt x="21955" y="165506"/>
                </a:lnTo>
                <a:lnTo>
                  <a:pt x="23384" y="165792"/>
                </a:lnTo>
                <a:lnTo>
                  <a:pt x="25136" y="164525"/>
                </a:lnTo>
                <a:close/>
                <a:moveTo>
                  <a:pt x="52054" y="130245"/>
                </a:moveTo>
                <a:lnTo>
                  <a:pt x="48654" y="139094"/>
                </a:lnTo>
                <a:lnTo>
                  <a:pt x="47320" y="139313"/>
                </a:lnTo>
                <a:lnTo>
                  <a:pt x="46149" y="141522"/>
                </a:lnTo>
                <a:lnTo>
                  <a:pt x="42529" y="143951"/>
                </a:lnTo>
                <a:lnTo>
                  <a:pt x="45691" y="143999"/>
                </a:lnTo>
                <a:lnTo>
                  <a:pt x="46577" y="144809"/>
                </a:lnTo>
                <a:lnTo>
                  <a:pt x="46596" y="146552"/>
                </a:lnTo>
                <a:lnTo>
                  <a:pt x="45996" y="147561"/>
                </a:lnTo>
                <a:lnTo>
                  <a:pt x="41910" y="151581"/>
                </a:lnTo>
                <a:lnTo>
                  <a:pt x="39100" y="153105"/>
                </a:lnTo>
                <a:lnTo>
                  <a:pt x="36071" y="157296"/>
                </a:lnTo>
                <a:lnTo>
                  <a:pt x="34537" y="157344"/>
                </a:lnTo>
                <a:lnTo>
                  <a:pt x="33023" y="160001"/>
                </a:lnTo>
                <a:lnTo>
                  <a:pt x="31785" y="161172"/>
                </a:lnTo>
                <a:lnTo>
                  <a:pt x="31080" y="161172"/>
                </a:lnTo>
                <a:lnTo>
                  <a:pt x="30280" y="160582"/>
                </a:lnTo>
                <a:lnTo>
                  <a:pt x="28403" y="157982"/>
                </a:lnTo>
                <a:lnTo>
                  <a:pt x="31813" y="155420"/>
                </a:lnTo>
                <a:lnTo>
                  <a:pt x="32128" y="153981"/>
                </a:lnTo>
                <a:lnTo>
                  <a:pt x="34461" y="152476"/>
                </a:lnTo>
                <a:lnTo>
                  <a:pt x="34261" y="152010"/>
                </a:lnTo>
                <a:lnTo>
                  <a:pt x="30556" y="149895"/>
                </a:lnTo>
                <a:lnTo>
                  <a:pt x="29099" y="148476"/>
                </a:lnTo>
                <a:lnTo>
                  <a:pt x="29232" y="147733"/>
                </a:lnTo>
                <a:lnTo>
                  <a:pt x="31013" y="146095"/>
                </a:lnTo>
                <a:lnTo>
                  <a:pt x="30175" y="145885"/>
                </a:lnTo>
                <a:lnTo>
                  <a:pt x="29604" y="144999"/>
                </a:lnTo>
                <a:lnTo>
                  <a:pt x="28575" y="144656"/>
                </a:lnTo>
                <a:lnTo>
                  <a:pt x="28260" y="143837"/>
                </a:lnTo>
                <a:lnTo>
                  <a:pt x="28070" y="141665"/>
                </a:lnTo>
                <a:lnTo>
                  <a:pt x="28346" y="139446"/>
                </a:lnTo>
                <a:lnTo>
                  <a:pt x="29423" y="138465"/>
                </a:lnTo>
                <a:lnTo>
                  <a:pt x="29861" y="137417"/>
                </a:lnTo>
                <a:lnTo>
                  <a:pt x="30299" y="137093"/>
                </a:lnTo>
                <a:lnTo>
                  <a:pt x="31966" y="137655"/>
                </a:lnTo>
                <a:lnTo>
                  <a:pt x="33661" y="139437"/>
                </a:lnTo>
                <a:lnTo>
                  <a:pt x="35642" y="138751"/>
                </a:lnTo>
                <a:lnTo>
                  <a:pt x="37938" y="139084"/>
                </a:lnTo>
                <a:lnTo>
                  <a:pt x="37985" y="138674"/>
                </a:lnTo>
                <a:lnTo>
                  <a:pt x="36300" y="134303"/>
                </a:lnTo>
                <a:lnTo>
                  <a:pt x="36604" y="133407"/>
                </a:lnTo>
                <a:lnTo>
                  <a:pt x="37519" y="132388"/>
                </a:lnTo>
                <a:lnTo>
                  <a:pt x="42815" y="129254"/>
                </a:lnTo>
                <a:lnTo>
                  <a:pt x="49416" y="123977"/>
                </a:lnTo>
                <a:lnTo>
                  <a:pt x="51016" y="123149"/>
                </a:lnTo>
                <a:lnTo>
                  <a:pt x="51502" y="123873"/>
                </a:lnTo>
                <a:lnTo>
                  <a:pt x="52168" y="126606"/>
                </a:lnTo>
                <a:lnTo>
                  <a:pt x="52054" y="130245"/>
                </a:lnTo>
                <a:close/>
                <a:moveTo>
                  <a:pt x="134626" y="122482"/>
                </a:moveTo>
                <a:lnTo>
                  <a:pt x="134855" y="126654"/>
                </a:lnTo>
                <a:lnTo>
                  <a:pt x="134541" y="127921"/>
                </a:lnTo>
                <a:lnTo>
                  <a:pt x="133902" y="129483"/>
                </a:lnTo>
                <a:lnTo>
                  <a:pt x="131883" y="132388"/>
                </a:lnTo>
                <a:lnTo>
                  <a:pt x="126568" y="136531"/>
                </a:lnTo>
                <a:lnTo>
                  <a:pt x="116843" y="146018"/>
                </a:lnTo>
                <a:lnTo>
                  <a:pt x="111090" y="150704"/>
                </a:lnTo>
                <a:lnTo>
                  <a:pt x="110299" y="152953"/>
                </a:lnTo>
                <a:lnTo>
                  <a:pt x="109871" y="156077"/>
                </a:lnTo>
                <a:lnTo>
                  <a:pt x="113309" y="156696"/>
                </a:lnTo>
                <a:lnTo>
                  <a:pt x="114643" y="157753"/>
                </a:lnTo>
                <a:lnTo>
                  <a:pt x="113824" y="159334"/>
                </a:lnTo>
                <a:lnTo>
                  <a:pt x="108728" y="164830"/>
                </a:lnTo>
                <a:lnTo>
                  <a:pt x="107232" y="169783"/>
                </a:lnTo>
                <a:lnTo>
                  <a:pt x="111138" y="169602"/>
                </a:lnTo>
                <a:lnTo>
                  <a:pt x="114357" y="168650"/>
                </a:lnTo>
                <a:lnTo>
                  <a:pt x="120767" y="165563"/>
                </a:lnTo>
                <a:lnTo>
                  <a:pt x="126797" y="163268"/>
                </a:lnTo>
                <a:lnTo>
                  <a:pt x="129692" y="163173"/>
                </a:lnTo>
                <a:lnTo>
                  <a:pt x="135322" y="165002"/>
                </a:lnTo>
                <a:lnTo>
                  <a:pt x="136598" y="165059"/>
                </a:lnTo>
                <a:lnTo>
                  <a:pt x="138989" y="164211"/>
                </a:lnTo>
                <a:lnTo>
                  <a:pt x="141408" y="164059"/>
                </a:lnTo>
                <a:lnTo>
                  <a:pt x="157772" y="164630"/>
                </a:lnTo>
                <a:lnTo>
                  <a:pt x="162325" y="163554"/>
                </a:lnTo>
                <a:lnTo>
                  <a:pt x="165335" y="164840"/>
                </a:lnTo>
                <a:lnTo>
                  <a:pt x="167849" y="168040"/>
                </a:lnTo>
                <a:lnTo>
                  <a:pt x="170240" y="173936"/>
                </a:lnTo>
                <a:lnTo>
                  <a:pt x="170164" y="174917"/>
                </a:lnTo>
                <a:lnTo>
                  <a:pt x="168716" y="177594"/>
                </a:lnTo>
                <a:lnTo>
                  <a:pt x="166049" y="180947"/>
                </a:lnTo>
                <a:lnTo>
                  <a:pt x="163754" y="185556"/>
                </a:lnTo>
                <a:lnTo>
                  <a:pt x="163087" y="188033"/>
                </a:lnTo>
                <a:lnTo>
                  <a:pt x="162639" y="190748"/>
                </a:lnTo>
                <a:lnTo>
                  <a:pt x="161915" y="193253"/>
                </a:lnTo>
                <a:lnTo>
                  <a:pt x="157353" y="204969"/>
                </a:lnTo>
                <a:lnTo>
                  <a:pt x="152905" y="211426"/>
                </a:lnTo>
                <a:lnTo>
                  <a:pt x="150924" y="215998"/>
                </a:lnTo>
                <a:lnTo>
                  <a:pt x="148476" y="219628"/>
                </a:lnTo>
                <a:lnTo>
                  <a:pt x="146113" y="221913"/>
                </a:lnTo>
                <a:lnTo>
                  <a:pt x="143599" y="223438"/>
                </a:lnTo>
                <a:lnTo>
                  <a:pt x="136322" y="225057"/>
                </a:lnTo>
                <a:lnTo>
                  <a:pt x="134283" y="226219"/>
                </a:lnTo>
                <a:lnTo>
                  <a:pt x="131854" y="228210"/>
                </a:lnTo>
                <a:lnTo>
                  <a:pt x="129302" y="229200"/>
                </a:lnTo>
                <a:lnTo>
                  <a:pt x="132293" y="229076"/>
                </a:lnTo>
                <a:lnTo>
                  <a:pt x="135255" y="227971"/>
                </a:lnTo>
                <a:lnTo>
                  <a:pt x="140656" y="227571"/>
                </a:lnTo>
                <a:lnTo>
                  <a:pt x="146866" y="231381"/>
                </a:lnTo>
                <a:lnTo>
                  <a:pt x="146285" y="234496"/>
                </a:lnTo>
                <a:lnTo>
                  <a:pt x="143789" y="236954"/>
                </a:lnTo>
                <a:lnTo>
                  <a:pt x="138113" y="237344"/>
                </a:lnTo>
                <a:lnTo>
                  <a:pt x="132807" y="242802"/>
                </a:lnTo>
                <a:lnTo>
                  <a:pt x="130416" y="244478"/>
                </a:lnTo>
                <a:lnTo>
                  <a:pt x="127883" y="245307"/>
                </a:lnTo>
                <a:lnTo>
                  <a:pt x="124720" y="245059"/>
                </a:lnTo>
                <a:lnTo>
                  <a:pt x="118977" y="243602"/>
                </a:lnTo>
                <a:lnTo>
                  <a:pt x="116462" y="242078"/>
                </a:lnTo>
                <a:lnTo>
                  <a:pt x="118729" y="244564"/>
                </a:lnTo>
                <a:lnTo>
                  <a:pt x="121310" y="245859"/>
                </a:lnTo>
                <a:lnTo>
                  <a:pt x="136255" y="248917"/>
                </a:lnTo>
                <a:lnTo>
                  <a:pt x="137160" y="248593"/>
                </a:lnTo>
                <a:lnTo>
                  <a:pt x="141922" y="245374"/>
                </a:lnTo>
                <a:lnTo>
                  <a:pt x="148276" y="245326"/>
                </a:lnTo>
                <a:lnTo>
                  <a:pt x="160363" y="251250"/>
                </a:lnTo>
                <a:lnTo>
                  <a:pt x="163839" y="255775"/>
                </a:lnTo>
                <a:lnTo>
                  <a:pt x="168830" y="262223"/>
                </a:lnTo>
                <a:lnTo>
                  <a:pt x="171545" y="264738"/>
                </a:lnTo>
                <a:lnTo>
                  <a:pt x="173507" y="267014"/>
                </a:lnTo>
                <a:lnTo>
                  <a:pt x="174717" y="270415"/>
                </a:lnTo>
                <a:lnTo>
                  <a:pt x="177060" y="281616"/>
                </a:lnTo>
                <a:lnTo>
                  <a:pt x="179737" y="292494"/>
                </a:lnTo>
                <a:lnTo>
                  <a:pt x="183232" y="304209"/>
                </a:lnTo>
                <a:lnTo>
                  <a:pt x="184823" y="307448"/>
                </a:lnTo>
                <a:lnTo>
                  <a:pt x="186909" y="309715"/>
                </a:lnTo>
                <a:lnTo>
                  <a:pt x="197463" y="314916"/>
                </a:lnTo>
                <a:lnTo>
                  <a:pt x="199815" y="316640"/>
                </a:lnTo>
                <a:lnTo>
                  <a:pt x="203911" y="321631"/>
                </a:lnTo>
                <a:lnTo>
                  <a:pt x="207864" y="326936"/>
                </a:lnTo>
                <a:lnTo>
                  <a:pt x="211541" y="331003"/>
                </a:lnTo>
                <a:lnTo>
                  <a:pt x="215512" y="334289"/>
                </a:lnTo>
                <a:lnTo>
                  <a:pt x="213588" y="335994"/>
                </a:lnTo>
                <a:lnTo>
                  <a:pt x="212274" y="338671"/>
                </a:lnTo>
                <a:lnTo>
                  <a:pt x="213265" y="342300"/>
                </a:lnTo>
                <a:lnTo>
                  <a:pt x="214874" y="345757"/>
                </a:lnTo>
                <a:lnTo>
                  <a:pt x="218046" y="351282"/>
                </a:lnTo>
                <a:lnTo>
                  <a:pt x="220846" y="357292"/>
                </a:lnTo>
                <a:lnTo>
                  <a:pt x="219818" y="356388"/>
                </a:lnTo>
                <a:lnTo>
                  <a:pt x="218732" y="355892"/>
                </a:lnTo>
                <a:lnTo>
                  <a:pt x="217246" y="356045"/>
                </a:lnTo>
                <a:lnTo>
                  <a:pt x="215798" y="355759"/>
                </a:lnTo>
                <a:lnTo>
                  <a:pt x="213122" y="353873"/>
                </a:lnTo>
                <a:lnTo>
                  <a:pt x="210550" y="351558"/>
                </a:lnTo>
                <a:lnTo>
                  <a:pt x="205435" y="352492"/>
                </a:lnTo>
                <a:lnTo>
                  <a:pt x="202597" y="352073"/>
                </a:lnTo>
                <a:lnTo>
                  <a:pt x="200130" y="352139"/>
                </a:lnTo>
                <a:lnTo>
                  <a:pt x="204806" y="353473"/>
                </a:lnTo>
                <a:lnTo>
                  <a:pt x="209921" y="353568"/>
                </a:lnTo>
                <a:lnTo>
                  <a:pt x="221199" y="363636"/>
                </a:lnTo>
                <a:lnTo>
                  <a:pt x="225009" y="369579"/>
                </a:lnTo>
                <a:lnTo>
                  <a:pt x="227276" y="377400"/>
                </a:lnTo>
                <a:lnTo>
                  <a:pt x="225733" y="380905"/>
                </a:lnTo>
                <a:lnTo>
                  <a:pt x="223333" y="383172"/>
                </a:lnTo>
                <a:lnTo>
                  <a:pt x="221094" y="385753"/>
                </a:lnTo>
                <a:lnTo>
                  <a:pt x="218989" y="388677"/>
                </a:lnTo>
                <a:lnTo>
                  <a:pt x="225247" y="392954"/>
                </a:lnTo>
                <a:lnTo>
                  <a:pt x="226600" y="392830"/>
                </a:lnTo>
                <a:lnTo>
                  <a:pt x="227981" y="392230"/>
                </a:lnTo>
                <a:lnTo>
                  <a:pt x="229314" y="390773"/>
                </a:lnTo>
                <a:lnTo>
                  <a:pt x="231553" y="387220"/>
                </a:lnTo>
                <a:lnTo>
                  <a:pt x="232705" y="385963"/>
                </a:lnTo>
                <a:lnTo>
                  <a:pt x="236601" y="385505"/>
                </a:lnTo>
                <a:lnTo>
                  <a:pt x="239868" y="385782"/>
                </a:lnTo>
                <a:lnTo>
                  <a:pt x="243116" y="386572"/>
                </a:lnTo>
                <a:lnTo>
                  <a:pt x="245983" y="386324"/>
                </a:lnTo>
                <a:lnTo>
                  <a:pt x="251746" y="387848"/>
                </a:lnTo>
                <a:lnTo>
                  <a:pt x="254708" y="389220"/>
                </a:lnTo>
                <a:lnTo>
                  <a:pt x="262052" y="395383"/>
                </a:lnTo>
                <a:lnTo>
                  <a:pt x="263642" y="398755"/>
                </a:lnTo>
                <a:lnTo>
                  <a:pt x="264376" y="403098"/>
                </a:lnTo>
                <a:lnTo>
                  <a:pt x="264461" y="407899"/>
                </a:lnTo>
                <a:lnTo>
                  <a:pt x="263223" y="412270"/>
                </a:lnTo>
                <a:lnTo>
                  <a:pt x="261804" y="416214"/>
                </a:lnTo>
                <a:lnTo>
                  <a:pt x="260928" y="421291"/>
                </a:lnTo>
                <a:lnTo>
                  <a:pt x="260309" y="423120"/>
                </a:lnTo>
                <a:lnTo>
                  <a:pt x="259442" y="424548"/>
                </a:lnTo>
                <a:lnTo>
                  <a:pt x="255556" y="428539"/>
                </a:lnTo>
                <a:lnTo>
                  <a:pt x="252974" y="430178"/>
                </a:lnTo>
                <a:lnTo>
                  <a:pt x="251888" y="429463"/>
                </a:lnTo>
                <a:lnTo>
                  <a:pt x="250717" y="429558"/>
                </a:lnTo>
                <a:lnTo>
                  <a:pt x="250593" y="430521"/>
                </a:lnTo>
                <a:lnTo>
                  <a:pt x="251822" y="432549"/>
                </a:lnTo>
                <a:lnTo>
                  <a:pt x="251831" y="434997"/>
                </a:lnTo>
                <a:lnTo>
                  <a:pt x="249536" y="436807"/>
                </a:lnTo>
                <a:lnTo>
                  <a:pt x="247202" y="437579"/>
                </a:lnTo>
                <a:lnTo>
                  <a:pt x="243297" y="436616"/>
                </a:lnTo>
                <a:lnTo>
                  <a:pt x="237877" y="439988"/>
                </a:lnTo>
                <a:lnTo>
                  <a:pt x="241773" y="441722"/>
                </a:lnTo>
                <a:lnTo>
                  <a:pt x="242563" y="443560"/>
                </a:lnTo>
                <a:lnTo>
                  <a:pt x="241592" y="446789"/>
                </a:lnTo>
                <a:lnTo>
                  <a:pt x="239144" y="448228"/>
                </a:lnTo>
                <a:lnTo>
                  <a:pt x="236420" y="448866"/>
                </a:lnTo>
                <a:lnTo>
                  <a:pt x="233639" y="449018"/>
                </a:lnTo>
                <a:lnTo>
                  <a:pt x="231334" y="449809"/>
                </a:lnTo>
                <a:lnTo>
                  <a:pt x="229124" y="451333"/>
                </a:lnTo>
                <a:lnTo>
                  <a:pt x="231895" y="450532"/>
                </a:lnTo>
                <a:lnTo>
                  <a:pt x="233819" y="451237"/>
                </a:lnTo>
                <a:lnTo>
                  <a:pt x="235029" y="453942"/>
                </a:lnTo>
                <a:lnTo>
                  <a:pt x="236125" y="454723"/>
                </a:lnTo>
                <a:lnTo>
                  <a:pt x="241554" y="455876"/>
                </a:lnTo>
                <a:lnTo>
                  <a:pt x="244907" y="455867"/>
                </a:lnTo>
                <a:lnTo>
                  <a:pt x="251384" y="455209"/>
                </a:lnTo>
                <a:lnTo>
                  <a:pt x="254498" y="455219"/>
                </a:lnTo>
                <a:lnTo>
                  <a:pt x="255603" y="455714"/>
                </a:lnTo>
                <a:lnTo>
                  <a:pt x="255622" y="457953"/>
                </a:lnTo>
                <a:lnTo>
                  <a:pt x="255146" y="463439"/>
                </a:lnTo>
                <a:lnTo>
                  <a:pt x="254289" y="464573"/>
                </a:lnTo>
                <a:lnTo>
                  <a:pt x="245707" y="469164"/>
                </a:lnTo>
                <a:lnTo>
                  <a:pt x="243945" y="472364"/>
                </a:lnTo>
                <a:lnTo>
                  <a:pt x="243459" y="474298"/>
                </a:lnTo>
                <a:lnTo>
                  <a:pt x="238439" y="473955"/>
                </a:lnTo>
                <a:lnTo>
                  <a:pt x="236086" y="476002"/>
                </a:lnTo>
                <a:lnTo>
                  <a:pt x="232019" y="477364"/>
                </a:lnTo>
                <a:lnTo>
                  <a:pt x="228876" y="478803"/>
                </a:lnTo>
                <a:lnTo>
                  <a:pt x="225800" y="480622"/>
                </a:lnTo>
                <a:lnTo>
                  <a:pt x="223266" y="481165"/>
                </a:lnTo>
                <a:lnTo>
                  <a:pt x="212341" y="479003"/>
                </a:lnTo>
                <a:lnTo>
                  <a:pt x="205740" y="479184"/>
                </a:lnTo>
                <a:lnTo>
                  <a:pt x="196796" y="481070"/>
                </a:lnTo>
                <a:lnTo>
                  <a:pt x="194491" y="480755"/>
                </a:lnTo>
                <a:lnTo>
                  <a:pt x="191043" y="478955"/>
                </a:lnTo>
                <a:lnTo>
                  <a:pt x="187500" y="477736"/>
                </a:lnTo>
                <a:lnTo>
                  <a:pt x="183432" y="477203"/>
                </a:lnTo>
                <a:lnTo>
                  <a:pt x="179918" y="475526"/>
                </a:lnTo>
                <a:lnTo>
                  <a:pt x="182108" y="478736"/>
                </a:lnTo>
                <a:lnTo>
                  <a:pt x="177241" y="481832"/>
                </a:lnTo>
                <a:lnTo>
                  <a:pt x="174993" y="482441"/>
                </a:lnTo>
                <a:lnTo>
                  <a:pt x="172660" y="482346"/>
                </a:lnTo>
                <a:lnTo>
                  <a:pt x="167897" y="483184"/>
                </a:lnTo>
                <a:lnTo>
                  <a:pt x="163468" y="482727"/>
                </a:lnTo>
                <a:lnTo>
                  <a:pt x="164135" y="484918"/>
                </a:lnTo>
                <a:lnTo>
                  <a:pt x="165316" y="486832"/>
                </a:lnTo>
                <a:lnTo>
                  <a:pt x="164354" y="487661"/>
                </a:lnTo>
                <a:lnTo>
                  <a:pt x="163344" y="487871"/>
                </a:lnTo>
                <a:lnTo>
                  <a:pt x="154943" y="486432"/>
                </a:lnTo>
                <a:lnTo>
                  <a:pt x="153753" y="486699"/>
                </a:lnTo>
                <a:lnTo>
                  <a:pt x="152714" y="488032"/>
                </a:lnTo>
                <a:lnTo>
                  <a:pt x="149657" y="487318"/>
                </a:lnTo>
                <a:lnTo>
                  <a:pt x="146685" y="485080"/>
                </a:lnTo>
                <a:lnTo>
                  <a:pt x="143532" y="483565"/>
                </a:lnTo>
                <a:lnTo>
                  <a:pt x="140217" y="482851"/>
                </a:lnTo>
                <a:lnTo>
                  <a:pt x="137588" y="483098"/>
                </a:lnTo>
                <a:lnTo>
                  <a:pt x="126759" y="486642"/>
                </a:lnTo>
                <a:lnTo>
                  <a:pt x="124596" y="490185"/>
                </a:lnTo>
                <a:lnTo>
                  <a:pt x="123510" y="495205"/>
                </a:lnTo>
                <a:lnTo>
                  <a:pt x="121948" y="499653"/>
                </a:lnTo>
                <a:lnTo>
                  <a:pt x="119396" y="503073"/>
                </a:lnTo>
                <a:lnTo>
                  <a:pt x="116357" y="503520"/>
                </a:lnTo>
                <a:lnTo>
                  <a:pt x="113500" y="501148"/>
                </a:lnTo>
                <a:lnTo>
                  <a:pt x="108070" y="498538"/>
                </a:lnTo>
                <a:lnTo>
                  <a:pt x="106223" y="496767"/>
                </a:lnTo>
                <a:lnTo>
                  <a:pt x="105632" y="496662"/>
                </a:lnTo>
                <a:lnTo>
                  <a:pt x="105023" y="497291"/>
                </a:lnTo>
                <a:lnTo>
                  <a:pt x="102889" y="498091"/>
                </a:lnTo>
                <a:lnTo>
                  <a:pt x="100689" y="498129"/>
                </a:lnTo>
                <a:lnTo>
                  <a:pt x="97288" y="498834"/>
                </a:lnTo>
                <a:lnTo>
                  <a:pt x="91373" y="500958"/>
                </a:lnTo>
                <a:lnTo>
                  <a:pt x="88982" y="502396"/>
                </a:lnTo>
                <a:lnTo>
                  <a:pt x="83848" y="506368"/>
                </a:lnTo>
                <a:lnTo>
                  <a:pt x="82801" y="507464"/>
                </a:lnTo>
                <a:lnTo>
                  <a:pt x="80934" y="511455"/>
                </a:lnTo>
                <a:lnTo>
                  <a:pt x="78086" y="512159"/>
                </a:lnTo>
                <a:lnTo>
                  <a:pt x="75476" y="509607"/>
                </a:lnTo>
                <a:lnTo>
                  <a:pt x="72504" y="508711"/>
                </a:lnTo>
                <a:lnTo>
                  <a:pt x="69370" y="509578"/>
                </a:lnTo>
                <a:lnTo>
                  <a:pt x="67475" y="510940"/>
                </a:lnTo>
                <a:lnTo>
                  <a:pt x="66589" y="509835"/>
                </a:lnTo>
                <a:lnTo>
                  <a:pt x="66560" y="507568"/>
                </a:lnTo>
                <a:lnTo>
                  <a:pt x="68847" y="504863"/>
                </a:lnTo>
                <a:lnTo>
                  <a:pt x="74952" y="502815"/>
                </a:lnTo>
                <a:lnTo>
                  <a:pt x="80315" y="497491"/>
                </a:lnTo>
                <a:lnTo>
                  <a:pt x="82943" y="494243"/>
                </a:lnTo>
                <a:lnTo>
                  <a:pt x="83991" y="492405"/>
                </a:lnTo>
                <a:lnTo>
                  <a:pt x="85277" y="491233"/>
                </a:lnTo>
                <a:lnTo>
                  <a:pt x="86954" y="490795"/>
                </a:lnTo>
                <a:lnTo>
                  <a:pt x="87821" y="488766"/>
                </a:lnTo>
                <a:lnTo>
                  <a:pt x="95259" y="480593"/>
                </a:lnTo>
                <a:lnTo>
                  <a:pt x="95869" y="478717"/>
                </a:lnTo>
                <a:lnTo>
                  <a:pt x="96240" y="475345"/>
                </a:lnTo>
                <a:lnTo>
                  <a:pt x="96850" y="472097"/>
                </a:lnTo>
                <a:lnTo>
                  <a:pt x="102908" y="469992"/>
                </a:lnTo>
                <a:lnTo>
                  <a:pt x="105804" y="463144"/>
                </a:lnTo>
                <a:lnTo>
                  <a:pt x="106604" y="462601"/>
                </a:lnTo>
                <a:lnTo>
                  <a:pt x="115052" y="461343"/>
                </a:lnTo>
                <a:lnTo>
                  <a:pt x="121320" y="461448"/>
                </a:lnTo>
                <a:lnTo>
                  <a:pt x="127549" y="462791"/>
                </a:lnTo>
                <a:lnTo>
                  <a:pt x="130740" y="462915"/>
                </a:lnTo>
                <a:lnTo>
                  <a:pt x="133940" y="462448"/>
                </a:lnTo>
                <a:lnTo>
                  <a:pt x="136455" y="460591"/>
                </a:lnTo>
                <a:lnTo>
                  <a:pt x="140751" y="453885"/>
                </a:lnTo>
                <a:lnTo>
                  <a:pt x="143170" y="450923"/>
                </a:lnTo>
                <a:lnTo>
                  <a:pt x="145942" y="448246"/>
                </a:lnTo>
                <a:lnTo>
                  <a:pt x="148533" y="445189"/>
                </a:lnTo>
                <a:lnTo>
                  <a:pt x="152733" y="439512"/>
                </a:lnTo>
                <a:lnTo>
                  <a:pt x="149895" y="441474"/>
                </a:lnTo>
                <a:lnTo>
                  <a:pt x="146466" y="444579"/>
                </a:lnTo>
                <a:lnTo>
                  <a:pt x="144475" y="446380"/>
                </a:lnTo>
                <a:lnTo>
                  <a:pt x="138151" y="448190"/>
                </a:lnTo>
                <a:lnTo>
                  <a:pt x="135426" y="450037"/>
                </a:lnTo>
                <a:lnTo>
                  <a:pt x="130654" y="454200"/>
                </a:lnTo>
                <a:lnTo>
                  <a:pt x="129740" y="454543"/>
                </a:lnTo>
                <a:lnTo>
                  <a:pt x="122539" y="453542"/>
                </a:lnTo>
                <a:lnTo>
                  <a:pt x="117186" y="448142"/>
                </a:lnTo>
                <a:lnTo>
                  <a:pt x="113767" y="445932"/>
                </a:lnTo>
                <a:lnTo>
                  <a:pt x="112357" y="445675"/>
                </a:lnTo>
                <a:lnTo>
                  <a:pt x="110890" y="446332"/>
                </a:lnTo>
                <a:lnTo>
                  <a:pt x="107766" y="447008"/>
                </a:lnTo>
                <a:lnTo>
                  <a:pt x="104584" y="446894"/>
                </a:lnTo>
                <a:lnTo>
                  <a:pt x="106213" y="444389"/>
                </a:lnTo>
                <a:lnTo>
                  <a:pt x="108423" y="442989"/>
                </a:lnTo>
                <a:lnTo>
                  <a:pt x="103470" y="442017"/>
                </a:lnTo>
                <a:lnTo>
                  <a:pt x="102089" y="441255"/>
                </a:lnTo>
                <a:lnTo>
                  <a:pt x="100517" y="439493"/>
                </a:lnTo>
                <a:lnTo>
                  <a:pt x="96631" y="439198"/>
                </a:lnTo>
                <a:lnTo>
                  <a:pt x="94783" y="439646"/>
                </a:lnTo>
                <a:lnTo>
                  <a:pt x="91659" y="441970"/>
                </a:lnTo>
                <a:lnTo>
                  <a:pt x="86725" y="444437"/>
                </a:lnTo>
                <a:lnTo>
                  <a:pt x="80772" y="441017"/>
                </a:lnTo>
                <a:lnTo>
                  <a:pt x="79610" y="439522"/>
                </a:lnTo>
                <a:lnTo>
                  <a:pt x="79638" y="436616"/>
                </a:lnTo>
                <a:lnTo>
                  <a:pt x="78743" y="434312"/>
                </a:lnTo>
                <a:lnTo>
                  <a:pt x="77095" y="433502"/>
                </a:lnTo>
                <a:lnTo>
                  <a:pt x="79200" y="430501"/>
                </a:lnTo>
                <a:lnTo>
                  <a:pt x="81753" y="428501"/>
                </a:lnTo>
                <a:lnTo>
                  <a:pt x="87354" y="426511"/>
                </a:lnTo>
                <a:lnTo>
                  <a:pt x="95840" y="421777"/>
                </a:lnTo>
                <a:lnTo>
                  <a:pt x="100603" y="419757"/>
                </a:lnTo>
                <a:lnTo>
                  <a:pt x="105023" y="416271"/>
                </a:lnTo>
                <a:lnTo>
                  <a:pt x="106851" y="414138"/>
                </a:lnTo>
                <a:lnTo>
                  <a:pt x="108175" y="411213"/>
                </a:lnTo>
                <a:lnTo>
                  <a:pt x="109490" y="407632"/>
                </a:lnTo>
                <a:lnTo>
                  <a:pt x="111366" y="404708"/>
                </a:lnTo>
                <a:lnTo>
                  <a:pt x="109547" y="404013"/>
                </a:lnTo>
                <a:lnTo>
                  <a:pt x="108728" y="401812"/>
                </a:lnTo>
                <a:lnTo>
                  <a:pt x="108947" y="399574"/>
                </a:lnTo>
                <a:lnTo>
                  <a:pt x="109785" y="397583"/>
                </a:lnTo>
                <a:lnTo>
                  <a:pt x="109033" y="395088"/>
                </a:lnTo>
                <a:lnTo>
                  <a:pt x="107690" y="392478"/>
                </a:lnTo>
                <a:lnTo>
                  <a:pt x="107766" y="390439"/>
                </a:lnTo>
                <a:lnTo>
                  <a:pt x="108128" y="388258"/>
                </a:lnTo>
                <a:lnTo>
                  <a:pt x="104718" y="388373"/>
                </a:lnTo>
                <a:lnTo>
                  <a:pt x="101317" y="389058"/>
                </a:lnTo>
                <a:lnTo>
                  <a:pt x="98231" y="390601"/>
                </a:lnTo>
                <a:lnTo>
                  <a:pt x="95240" y="392697"/>
                </a:lnTo>
                <a:lnTo>
                  <a:pt x="92583" y="393087"/>
                </a:lnTo>
                <a:lnTo>
                  <a:pt x="92621" y="391411"/>
                </a:lnTo>
                <a:lnTo>
                  <a:pt x="93774" y="389334"/>
                </a:lnTo>
                <a:lnTo>
                  <a:pt x="96783" y="386362"/>
                </a:lnTo>
                <a:lnTo>
                  <a:pt x="100003" y="383896"/>
                </a:lnTo>
                <a:lnTo>
                  <a:pt x="101146" y="382019"/>
                </a:lnTo>
                <a:lnTo>
                  <a:pt x="102051" y="379838"/>
                </a:lnTo>
                <a:lnTo>
                  <a:pt x="103651" y="378085"/>
                </a:lnTo>
                <a:lnTo>
                  <a:pt x="107861" y="374771"/>
                </a:lnTo>
                <a:lnTo>
                  <a:pt x="115929" y="371037"/>
                </a:lnTo>
                <a:lnTo>
                  <a:pt x="117129" y="370818"/>
                </a:lnTo>
                <a:lnTo>
                  <a:pt x="120291" y="371256"/>
                </a:lnTo>
                <a:lnTo>
                  <a:pt x="123406" y="370684"/>
                </a:lnTo>
                <a:lnTo>
                  <a:pt x="126130" y="369341"/>
                </a:lnTo>
                <a:lnTo>
                  <a:pt x="128844" y="369056"/>
                </a:lnTo>
                <a:lnTo>
                  <a:pt x="134960" y="372932"/>
                </a:lnTo>
                <a:lnTo>
                  <a:pt x="133140" y="366932"/>
                </a:lnTo>
                <a:lnTo>
                  <a:pt x="135836" y="365493"/>
                </a:lnTo>
                <a:lnTo>
                  <a:pt x="139741" y="370923"/>
                </a:lnTo>
                <a:lnTo>
                  <a:pt x="141189" y="371494"/>
                </a:lnTo>
                <a:lnTo>
                  <a:pt x="144256" y="370704"/>
                </a:lnTo>
                <a:lnTo>
                  <a:pt x="143075" y="369789"/>
                </a:lnTo>
                <a:lnTo>
                  <a:pt x="141694" y="369732"/>
                </a:lnTo>
                <a:lnTo>
                  <a:pt x="139884" y="368913"/>
                </a:lnTo>
                <a:lnTo>
                  <a:pt x="138360" y="367170"/>
                </a:lnTo>
                <a:lnTo>
                  <a:pt x="135826" y="361626"/>
                </a:lnTo>
                <a:lnTo>
                  <a:pt x="135969" y="358330"/>
                </a:lnTo>
                <a:lnTo>
                  <a:pt x="137674" y="354902"/>
                </a:lnTo>
                <a:lnTo>
                  <a:pt x="139560" y="351739"/>
                </a:lnTo>
                <a:lnTo>
                  <a:pt x="137979" y="351111"/>
                </a:lnTo>
                <a:lnTo>
                  <a:pt x="136712" y="349901"/>
                </a:lnTo>
                <a:lnTo>
                  <a:pt x="136350" y="346729"/>
                </a:lnTo>
                <a:lnTo>
                  <a:pt x="136845" y="343919"/>
                </a:lnTo>
                <a:lnTo>
                  <a:pt x="140237" y="341443"/>
                </a:lnTo>
                <a:lnTo>
                  <a:pt x="141236" y="337671"/>
                </a:lnTo>
                <a:lnTo>
                  <a:pt x="141656" y="333508"/>
                </a:lnTo>
                <a:lnTo>
                  <a:pt x="141094" y="331594"/>
                </a:lnTo>
                <a:lnTo>
                  <a:pt x="137722" y="331899"/>
                </a:lnTo>
                <a:lnTo>
                  <a:pt x="136084" y="332680"/>
                </a:lnTo>
                <a:lnTo>
                  <a:pt x="134617" y="333908"/>
                </a:lnTo>
                <a:lnTo>
                  <a:pt x="133112" y="333832"/>
                </a:lnTo>
                <a:lnTo>
                  <a:pt x="128949" y="329222"/>
                </a:lnTo>
                <a:lnTo>
                  <a:pt x="126578" y="325726"/>
                </a:lnTo>
                <a:lnTo>
                  <a:pt x="122320" y="318316"/>
                </a:lnTo>
                <a:lnTo>
                  <a:pt x="121720" y="313868"/>
                </a:lnTo>
                <a:lnTo>
                  <a:pt x="125120" y="304248"/>
                </a:lnTo>
                <a:lnTo>
                  <a:pt x="130378" y="298066"/>
                </a:lnTo>
                <a:lnTo>
                  <a:pt x="136569" y="295904"/>
                </a:lnTo>
                <a:lnTo>
                  <a:pt x="135369" y="295494"/>
                </a:lnTo>
                <a:lnTo>
                  <a:pt x="125930" y="295408"/>
                </a:lnTo>
                <a:lnTo>
                  <a:pt x="122815" y="296170"/>
                </a:lnTo>
                <a:lnTo>
                  <a:pt x="119929" y="298704"/>
                </a:lnTo>
                <a:lnTo>
                  <a:pt x="118300" y="299485"/>
                </a:lnTo>
                <a:lnTo>
                  <a:pt x="116586" y="299771"/>
                </a:lnTo>
                <a:lnTo>
                  <a:pt x="115024" y="301028"/>
                </a:lnTo>
                <a:lnTo>
                  <a:pt x="113500" y="302771"/>
                </a:lnTo>
                <a:lnTo>
                  <a:pt x="111909" y="303895"/>
                </a:lnTo>
                <a:lnTo>
                  <a:pt x="108756" y="303600"/>
                </a:lnTo>
                <a:lnTo>
                  <a:pt x="107232" y="303971"/>
                </a:lnTo>
                <a:lnTo>
                  <a:pt x="106137" y="302962"/>
                </a:lnTo>
                <a:lnTo>
                  <a:pt x="105213" y="301295"/>
                </a:lnTo>
                <a:lnTo>
                  <a:pt x="104013" y="300847"/>
                </a:lnTo>
                <a:lnTo>
                  <a:pt x="102670" y="301362"/>
                </a:lnTo>
                <a:lnTo>
                  <a:pt x="99831" y="303609"/>
                </a:lnTo>
                <a:lnTo>
                  <a:pt x="96955" y="304933"/>
                </a:lnTo>
                <a:lnTo>
                  <a:pt x="93478" y="303514"/>
                </a:lnTo>
                <a:lnTo>
                  <a:pt x="88916" y="300866"/>
                </a:lnTo>
                <a:lnTo>
                  <a:pt x="88021" y="301838"/>
                </a:lnTo>
                <a:lnTo>
                  <a:pt x="87011" y="304295"/>
                </a:lnTo>
                <a:lnTo>
                  <a:pt x="86430" y="308115"/>
                </a:lnTo>
                <a:lnTo>
                  <a:pt x="83191" y="304790"/>
                </a:lnTo>
                <a:lnTo>
                  <a:pt x="80438" y="300342"/>
                </a:lnTo>
                <a:lnTo>
                  <a:pt x="79505" y="297542"/>
                </a:lnTo>
                <a:lnTo>
                  <a:pt x="79438" y="294380"/>
                </a:lnTo>
                <a:lnTo>
                  <a:pt x="80934" y="293151"/>
                </a:lnTo>
                <a:lnTo>
                  <a:pt x="82563" y="294275"/>
                </a:lnTo>
                <a:lnTo>
                  <a:pt x="84982" y="286760"/>
                </a:lnTo>
                <a:lnTo>
                  <a:pt x="89801" y="276930"/>
                </a:lnTo>
                <a:lnTo>
                  <a:pt x="91507" y="274044"/>
                </a:lnTo>
                <a:lnTo>
                  <a:pt x="92697" y="270262"/>
                </a:lnTo>
                <a:lnTo>
                  <a:pt x="92497" y="267786"/>
                </a:lnTo>
                <a:lnTo>
                  <a:pt x="91440" y="265690"/>
                </a:lnTo>
                <a:lnTo>
                  <a:pt x="86954" y="260928"/>
                </a:lnTo>
                <a:lnTo>
                  <a:pt x="87011" y="257032"/>
                </a:lnTo>
                <a:lnTo>
                  <a:pt x="87487" y="252632"/>
                </a:lnTo>
                <a:lnTo>
                  <a:pt x="88706" y="249984"/>
                </a:lnTo>
                <a:lnTo>
                  <a:pt x="89220" y="249479"/>
                </a:lnTo>
                <a:lnTo>
                  <a:pt x="95174" y="249546"/>
                </a:lnTo>
                <a:lnTo>
                  <a:pt x="92850" y="248174"/>
                </a:lnTo>
                <a:lnTo>
                  <a:pt x="88220" y="244183"/>
                </a:lnTo>
                <a:lnTo>
                  <a:pt x="88306" y="242764"/>
                </a:lnTo>
                <a:lnTo>
                  <a:pt x="89392" y="239058"/>
                </a:lnTo>
                <a:lnTo>
                  <a:pt x="88887" y="239430"/>
                </a:lnTo>
                <a:lnTo>
                  <a:pt x="87897" y="241145"/>
                </a:lnTo>
                <a:lnTo>
                  <a:pt x="86001" y="245288"/>
                </a:lnTo>
                <a:lnTo>
                  <a:pt x="84849" y="246250"/>
                </a:lnTo>
                <a:lnTo>
                  <a:pt x="81572" y="247231"/>
                </a:lnTo>
                <a:lnTo>
                  <a:pt x="80972" y="249260"/>
                </a:lnTo>
                <a:lnTo>
                  <a:pt x="80448" y="249793"/>
                </a:lnTo>
                <a:lnTo>
                  <a:pt x="78819" y="250022"/>
                </a:lnTo>
                <a:lnTo>
                  <a:pt x="78314" y="251917"/>
                </a:lnTo>
                <a:lnTo>
                  <a:pt x="77953" y="252041"/>
                </a:lnTo>
                <a:lnTo>
                  <a:pt x="77486" y="250003"/>
                </a:lnTo>
                <a:lnTo>
                  <a:pt x="77438" y="246612"/>
                </a:lnTo>
                <a:lnTo>
                  <a:pt x="78086" y="243487"/>
                </a:lnTo>
                <a:lnTo>
                  <a:pt x="79324" y="241040"/>
                </a:lnTo>
                <a:lnTo>
                  <a:pt x="84125" y="235468"/>
                </a:lnTo>
                <a:lnTo>
                  <a:pt x="81791" y="237192"/>
                </a:lnTo>
                <a:lnTo>
                  <a:pt x="76495" y="242345"/>
                </a:lnTo>
                <a:lnTo>
                  <a:pt x="73790" y="245726"/>
                </a:lnTo>
                <a:lnTo>
                  <a:pt x="73066" y="246869"/>
                </a:lnTo>
                <a:lnTo>
                  <a:pt x="72847" y="247831"/>
                </a:lnTo>
                <a:lnTo>
                  <a:pt x="72857" y="248936"/>
                </a:lnTo>
                <a:lnTo>
                  <a:pt x="74066" y="254851"/>
                </a:lnTo>
                <a:lnTo>
                  <a:pt x="73714" y="257585"/>
                </a:lnTo>
                <a:lnTo>
                  <a:pt x="69151" y="275539"/>
                </a:lnTo>
                <a:lnTo>
                  <a:pt x="68284" y="277330"/>
                </a:lnTo>
                <a:lnTo>
                  <a:pt x="67494" y="278263"/>
                </a:lnTo>
                <a:lnTo>
                  <a:pt x="66742" y="278482"/>
                </a:lnTo>
                <a:lnTo>
                  <a:pt x="64494" y="278139"/>
                </a:lnTo>
                <a:lnTo>
                  <a:pt x="63494" y="276796"/>
                </a:lnTo>
                <a:lnTo>
                  <a:pt x="63503" y="275282"/>
                </a:lnTo>
                <a:lnTo>
                  <a:pt x="63922" y="273006"/>
                </a:lnTo>
                <a:lnTo>
                  <a:pt x="65817" y="264500"/>
                </a:lnTo>
                <a:lnTo>
                  <a:pt x="66637" y="262128"/>
                </a:lnTo>
                <a:lnTo>
                  <a:pt x="67856" y="259918"/>
                </a:lnTo>
                <a:lnTo>
                  <a:pt x="70542" y="256051"/>
                </a:lnTo>
                <a:lnTo>
                  <a:pt x="70475" y="255794"/>
                </a:lnTo>
                <a:lnTo>
                  <a:pt x="68685" y="256556"/>
                </a:lnTo>
                <a:lnTo>
                  <a:pt x="67923" y="256308"/>
                </a:lnTo>
                <a:lnTo>
                  <a:pt x="67370" y="255537"/>
                </a:lnTo>
                <a:lnTo>
                  <a:pt x="67723" y="244002"/>
                </a:lnTo>
                <a:lnTo>
                  <a:pt x="69180" y="240192"/>
                </a:lnTo>
                <a:lnTo>
                  <a:pt x="69723" y="234639"/>
                </a:lnTo>
                <a:lnTo>
                  <a:pt x="70980" y="229867"/>
                </a:lnTo>
                <a:lnTo>
                  <a:pt x="72437" y="226381"/>
                </a:lnTo>
                <a:lnTo>
                  <a:pt x="73552" y="221913"/>
                </a:lnTo>
                <a:lnTo>
                  <a:pt x="75219" y="219923"/>
                </a:lnTo>
                <a:lnTo>
                  <a:pt x="75667" y="216875"/>
                </a:lnTo>
                <a:lnTo>
                  <a:pt x="77543" y="213570"/>
                </a:lnTo>
                <a:lnTo>
                  <a:pt x="78991" y="210112"/>
                </a:lnTo>
                <a:lnTo>
                  <a:pt x="78210" y="210455"/>
                </a:lnTo>
                <a:lnTo>
                  <a:pt x="68942" y="219446"/>
                </a:lnTo>
                <a:lnTo>
                  <a:pt x="66580" y="221075"/>
                </a:lnTo>
                <a:lnTo>
                  <a:pt x="63360" y="220637"/>
                </a:lnTo>
                <a:lnTo>
                  <a:pt x="60903" y="219628"/>
                </a:lnTo>
                <a:lnTo>
                  <a:pt x="58979" y="217503"/>
                </a:lnTo>
                <a:lnTo>
                  <a:pt x="58121" y="213417"/>
                </a:lnTo>
                <a:lnTo>
                  <a:pt x="55750" y="213312"/>
                </a:lnTo>
                <a:lnTo>
                  <a:pt x="53721" y="212608"/>
                </a:lnTo>
                <a:lnTo>
                  <a:pt x="53740" y="212055"/>
                </a:lnTo>
                <a:lnTo>
                  <a:pt x="56359" y="209826"/>
                </a:lnTo>
                <a:lnTo>
                  <a:pt x="60560" y="209064"/>
                </a:lnTo>
                <a:lnTo>
                  <a:pt x="64494" y="205483"/>
                </a:lnTo>
                <a:lnTo>
                  <a:pt x="60998" y="203063"/>
                </a:lnTo>
                <a:lnTo>
                  <a:pt x="61293" y="202292"/>
                </a:lnTo>
                <a:lnTo>
                  <a:pt x="64341" y="200225"/>
                </a:lnTo>
                <a:lnTo>
                  <a:pt x="68218" y="193281"/>
                </a:lnTo>
                <a:lnTo>
                  <a:pt x="68999" y="186871"/>
                </a:lnTo>
                <a:lnTo>
                  <a:pt x="67151" y="183852"/>
                </a:lnTo>
                <a:lnTo>
                  <a:pt x="66484" y="181870"/>
                </a:lnTo>
                <a:lnTo>
                  <a:pt x="62779" y="179661"/>
                </a:lnTo>
                <a:lnTo>
                  <a:pt x="62160" y="176832"/>
                </a:lnTo>
                <a:lnTo>
                  <a:pt x="62589" y="175241"/>
                </a:lnTo>
                <a:lnTo>
                  <a:pt x="63798" y="173689"/>
                </a:lnTo>
                <a:lnTo>
                  <a:pt x="65618" y="172488"/>
                </a:lnTo>
                <a:lnTo>
                  <a:pt x="68475" y="171326"/>
                </a:lnTo>
                <a:lnTo>
                  <a:pt x="65884" y="170088"/>
                </a:lnTo>
                <a:lnTo>
                  <a:pt x="64913" y="168621"/>
                </a:lnTo>
                <a:lnTo>
                  <a:pt x="64179" y="166497"/>
                </a:lnTo>
                <a:lnTo>
                  <a:pt x="64113" y="165268"/>
                </a:lnTo>
                <a:lnTo>
                  <a:pt x="65456" y="159782"/>
                </a:lnTo>
                <a:lnTo>
                  <a:pt x="66237" y="157515"/>
                </a:lnTo>
                <a:lnTo>
                  <a:pt x="67770" y="154619"/>
                </a:lnTo>
                <a:lnTo>
                  <a:pt x="74704" y="154781"/>
                </a:lnTo>
                <a:lnTo>
                  <a:pt x="75505" y="153505"/>
                </a:lnTo>
                <a:lnTo>
                  <a:pt x="76295" y="153457"/>
                </a:lnTo>
                <a:lnTo>
                  <a:pt x="79838" y="154629"/>
                </a:lnTo>
                <a:lnTo>
                  <a:pt x="79315" y="153371"/>
                </a:lnTo>
                <a:lnTo>
                  <a:pt x="73514" y="146466"/>
                </a:lnTo>
                <a:lnTo>
                  <a:pt x="72990" y="145152"/>
                </a:lnTo>
                <a:lnTo>
                  <a:pt x="74647" y="141418"/>
                </a:lnTo>
                <a:lnTo>
                  <a:pt x="74762" y="139751"/>
                </a:lnTo>
                <a:lnTo>
                  <a:pt x="74523" y="137970"/>
                </a:lnTo>
                <a:lnTo>
                  <a:pt x="75000" y="136608"/>
                </a:lnTo>
                <a:lnTo>
                  <a:pt x="76838" y="135969"/>
                </a:lnTo>
                <a:lnTo>
                  <a:pt x="82439" y="136027"/>
                </a:lnTo>
                <a:lnTo>
                  <a:pt x="83820" y="135398"/>
                </a:lnTo>
                <a:lnTo>
                  <a:pt x="83191" y="133588"/>
                </a:lnTo>
                <a:lnTo>
                  <a:pt x="81886" y="131207"/>
                </a:lnTo>
                <a:lnTo>
                  <a:pt x="81629" y="129207"/>
                </a:lnTo>
                <a:lnTo>
                  <a:pt x="81934" y="127435"/>
                </a:lnTo>
                <a:lnTo>
                  <a:pt x="82001" y="123863"/>
                </a:lnTo>
                <a:lnTo>
                  <a:pt x="82258" y="122282"/>
                </a:lnTo>
                <a:lnTo>
                  <a:pt x="83591" y="119910"/>
                </a:lnTo>
                <a:lnTo>
                  <a:pt x="84687" y="119206"/>
                </a:lnTo>
                <a:lnTo>
                  <a:pt x="86049" y="118796"/>
                </a:lnTo>
                <a:lnTo>
                  <a:pt x="89125" y="119586"/>
                </a:lnTo>
                <a:lnTo>
                  <a:pt x="90297" y="120539"/>
                </a:lnTo>
                <a:lnTo>
                  <a:pt x="91649" y="122796"/>
                </a:lnTo>
                <a:lnTo>
                  <a:pt x="92640" y="122615"/>
                </a:lnTo>
                <a:lnTo>
                  <a:pt x="96469" y="120158"/>
                </a:lnTo>
                <a:lnTo>
                  <a:pt x="97622" y="119805"/>
                </a:lnTo>
                <a:lnTo>
                  <a:pt x="99193" y="122654"/>
                </a:lnTo>
                <a:lnTo>
                  <a:pt x="105737" y="120387"/>
                </a:lnTo>
                <a:lnTo>
                  <a:pt x="114528" y="119377"/>
                </a:lnTo>
                <a:lnTo>
                  <a:pt x="119815" y="117881"/>
                </a:lnTo>
                <a:lnTo>
                  <a:pt x="125378" y="117338"/>
                </a:lnTo>
                <a:lnTo>
                  <a:pt x="130568" y="115634"/>
                </a:lnTo>
                <a:lnTo>
                  <a:pt x="136074" y="116415"/>
                </a:lnTo>
                <a:lnTo>
                  <a:pt x="136265" y="117405"/>
                </a:lnTo>
                <a:lnTo>
                  <a:pt x="135979" y="118777"/>
                </a:lnTo>
                <a:lnTo>
                  <a:pt x="134626" y="122482"/>
                </a:lnTo>
                <a:close/>
                <a:moveTo>
                  <a:pt x="139455" y="110890"/>
                </a:moveTo>
                <a:lnTo>
                  <a:pt x="139198" y="111042"/>
                </a:lnTo>
                <a:lnTo>
                  <a:pt x="138217" y="110099"/>
                </a:lnTo>
                <a:lnTo>
                  <a:pt x="136617" y="106718"/>
                </a:lnTo>
                <a:lnTo>
                  <a:pt x="139141" y="106042"/>
                </a:lnTo>
                <a:lnTo>
                  <a:pt x="140332" y="106461"/>
                </a:lnTo>
                <a:lnTo>
                  <a:pt x="139884" y="107899"/>
                </a:lnTo>
                <a:lnTo>
                  <a:pt x="139455" y="110890"/>
                </a:lnTo>
                <a:close/>
                <a:moveTo>
                  <a:pt x="133150" y="108185"/>
                </a:moveTo>
                <a:lnTo>
                  <a:pt x="131616" y="108871"/>
                </a:lnTo>
                <a:lnTo>
                  <a:pt x="130102" y="108823"/>
                </a:lnTo>
                <a:lnTo>
                  <a:pt x="127740" y="105842"/>
                </a:lnTo>
                <a:lnTo>
                  <a:pt x="126844" y="103670"/>
                </a:lnTo>
                <a:lnTo>
                  <a:pt x="127006" y="102232"/>
                </a:lnTo>
                <a:lnTo>
                  <a:pt x="127997" y="101746"/>
                </a:lnTo>
                <a:lnTo>
                  <a:pt x="130283" y="102451"/>
                </a:lnTo>
                <a:lnTo>
                  <a:pt x="131464" y="104937"/>
                </a:lnTo>
                <a:lnTo>
                  <a:pt x="131616" y="106547"/>
                </a:lnTo>
                <a:lnTo>
                  <a:pt x="131893" y="107175"/>
                </a:lnTo>
                <a:lnTo>
                  <a:pt x="133312" y="107813"/>
                </a:lnTo>
                <a:lnTo>
                  <a:pt x="133150" y="108185"/>
                </a:lnTo>
                <a:close/>
                <a:moveTo>
                  <a:pt x="136026" y="96021"/>
                </a:moveTo>
                <a:lnTo>
                  <a:pt x="135664" y="97298"/>
                </a:lnTo>
                <a:lnTo>
                  <a:pt x="137693" y="97269"/>
                </a:lnTo>
                <a:lnTo>
                  <a:pt x="140636" y="98355"/>
                </a:lnTo>
                <a:lnTo>
                  <a:pt x="142418" y="98488"/>
                </a:lnTo>
                <a:lnTo>
                  <a:pt x="143904" y="99841"/>
                </a:lnTo>
                <a:lnTo>
                  <a:pt x="143084" y="102365"/>
                </a:lnTo>
                <a:lnTo>
                  <a:pt x="142199" y="103079"/>
                </a:lnTo>
                <a:lnTo>
                  <a:pt x="141198" y="103222"/>
                </a:lnTo>
                <a:lnTo>
                  <a:pt x="137693" y="100698"/>
                </a:lnTo>
                <a:lnTo>
                  <a:pt x="133102" y="101746"/>
                </a:lnTo>
                <a:lnTo>
                  <a:pt x="132188" y="101422"/>
                </a:lnTo>
                <a:lnTo>
                  <a:pt x="131588" y="100727"/>
                </a:lnTo>
                <a:lnTo>
                  <a:pt x="131340" y="99860"/>
                </a:lnTo>
                <a:lnTo>
                  <a:pt x="131340" y="98088"/>
                </a:lnTo>
                <a:lnTo>
                  <a:pt x="131093" y="97565"/>
                </a:lnTo>
                <a:lnTo>
                  <a:pt x="129426" y="99241"/>
                </a:lnTo>
                <a:lnTo>
                  <a:pt x="128702" y="99041"/>
                </a:lnTo>
                <a:lnTo>
                  <a:pt x="128292" y="98241"/>
                </a:lnTo>
                <a:lnTo>
                  <a:pt x="128111" y="96584"/>
                </a:lnTo>
                <a:lnTo>
                  <a:pt x="128292" y="94193"/>
                </a:lnTo>
                <a:lnTo>
                  <a:pt x="129273" y="90773"/>
                </a:lnTo>
                <a:lnTo>
                  <a:pt x="130921" y="90088"/>
                </a:lnTo>
                <a:lnTo>
                  <a:pt x="133378" y="90488"/>
                </a:lnTo>
                <a:lnTo>
                  <a:pt x="136198" y="92421"/>
                </a:lnTo>
                <a:lnTo>
                  <a:pt x="137046" y="93612"/>
                </a:lnTo>
                <a:lnTo>
                  <a:pt x="137027" y="94564"/>
                </a:lnTo>
                <a:lnTo>
                  <a:pt x="136026" y="96021"/>
                </a:lnTo>
                <a:close/>
                <a:moveTo>
                  <a:pt x="149618" y="85525"/>
                </a:moveTo>
                <a:lnTo>
                  <a:pt x="146599" y="85582"/>
                </a:lnTo>
                <a:lnTo>
                  <a:pt x="148161" y="82496"/>
                </a:lnTo>
                <a:lnTo>
                  <a:pt x="149981" y="81715"/>
                </a:lnTo>
                <a:lnTo>
                  <a:pt x="153419" y="82058"/>
                </a:lnTo>
                <a:lnTo>
                  <a:pt x="152810" y="83449"/>
                </a:lnTo>
                <a:lnTo>
                  <a:pt x="149618" y="85525"/>
                </a:lnTo>
                <a:close/>
                <a:moveTo>
                  <a:pt x="144799" y="87849"/>
                </a:moveTo>
                <a:lnTo>
                  <a:pt x="142504" y="89145"/>
                </a:lnTo>
                <a:lnTo>
                  <a:pt x="141522" y="88078"/>
                </a:lnTo>
                <a:lnTo>
                  <a:pt x="141265" y="84725"/>
                </a:lnTo>
                <a:lnTo>
                  <a:pt x="138531" y="83287"/>
                </a:lnTo>
                <a:lnTo>
                  <a:pt x="137198" y="82391"/>
                </a:lnTo>
                <a:lnTo>
                  <a:pt x="136169" y="80696"/>
                </a:lnTo>
                <a:lnTo>
                  <a:pt x="136427" y="80172"/>
                </a:lnTo>
                <a:lnTo>
                  <a:pt x="138208" y="79477"/>
                </a:lnTo>
                <a:lnTo>
                  <a:pt x="141256" y="82553"/>
                </a:lnTo>
                <a:lnTo>
                  <a:pt x="142504" y="85030"/>
                </a:lnTo>
                <a:lnTo>
                  <a:pt x="144761" y="85763"/>
                </a:lnTo>
                <a:lnTo>
                  <a:pt x="145047" y="86144"/>
                </a:lnTo>
                <a:lnTo>
                  <a:pt x="144799" y="87849"/>
                </a:lnTo>
                <a:close/>
                <a:moveTo>
                  <a:pt x="182785" y="16050"/>
                </a:moveTo>
                <a:lnTo>
                  <a:pt x="183337" y="19869"/>
                </a:lnTo>
                <a:lnTo>
                  <a:pt x="184718" y="18879"/>
                </a:lnTo>
                <a:lnTo>
                  <a:pt x="186804" y="22536"/>
                </a:lnTo>
                <a:lnTo>
                  <a:pt x="187871" y="22536"/>
                </a:lnTo>
                <a:lnTo>
                  <a:pt x="189624" y="21088"/>
                </a:lnTo>
                <a:lnTo>
                  <a:pt x="189271" y="24489"/>
                </a:lnTo>
                <a:lnTo>
                  <a:pt x="187452" y="33890"/>
                </a:lnTo>
                <a:lnTo>
                  <a:pt x="186937" y="35481"/>
                </a:lnTo>
                <a:lnTo>
                  <a:pt x="186595" y="38329"/>
                </a:lnTo>
                <a:lnTo>
                  <a:pt x="186233" y="38891"/>
                </a:lnTo>
                <a:lnTo>
                  <a:pt x="185699" y="44634"/>
                </a:lnTo>
                <a:lnTo>
                  <a:pt x="184470" y="46520"/>
                </a:lnTo>
                <a:lnTo>
                  <a:pt x="183442" y="51016"/>
                </a:lnTo>
                <a:lnTo>
                  <a:pt x="183023" y="51454"/>
                </a:lnTo>
                <a:lnTo>
                  <a:pt x="181518" y="49730"/>
                </a:lnTo>
                <a:lnTo>
                  <a:pt x="183023" y="42863"/>
                </a:lnTo>
                <a:lnTo>
                  <a:pt x="183642" y="38862"/>
                </a:lnTo>
                <a:lnTo>
                  <a:pt x="183242" y="36786"/>
                </a:lnTo>
                <a:lnTo>
                  <a:pt x="182394" y="34909"/>
                </a:lnTo>
                <a:lnTo>
                  <a:pt x="180089" y="34852"/>
                </a:lnTo>
                <a:lnTo>
                  <a:pt x="178146" y="35719"/>
                </a:lnTo>
                <a:lnTo>
                  <a:pt x="177736" y="34614"/>
                </a:lnTo>
                <a:lnTo>
                  <a:pt x="177679" y="33128"/>
                </a:lnTo>
                <a:lnTo>
                  <a:pt x="177212" y="32633"/>
                </a:lnTo>
                <a:lnTo>
                  <a:pt x="174631" y="32737"/>
                </a:lnTo>
                <a:lnTo>
                  <a:pt x="173869" y="32328"/>
                </a:lnTo>
                <a:lnTo>
                  <a:pt x="173364" y="30956"/>
                </a:lnTo>
                <a:lnTo>
                  <a:pt x="173269" y="29861"/>
                </a:lnTo>
                <a:lnTo>
                  <a:pt x="175603" y="29004"/>
                </a:lnTo>
                <a:lnTo>
                  <a:pt x="177794" y="29328"/>
                </a:lnTo>
                <a:lnTo>
                  <a:pt x="180994" y="27146"/>
                </a:lnTo>
                <a:lnTo>
                  <a:pt x="178994" y="19822"/>
                </a:lnTo>
                <a:lnTo>
                  <a:pt x="176336" y="19126"/>
                </a:lnTo>
                <a:lnTo>
                  <a:pt x="175726" y="18412"/>
                </a:lnTo>
                <a:lnTo>
                  <a:pt x="176241" y="17164"/>
                </a:lnTo>
                <a:lnTo>
                  <a:pt x="177698" y="16488"/>
                </a:lnTo>
                <a:lnTo>
                  <a:pt x="179937" y="12744"/>
                </a:lnTo>
                <a:lnTo>
                  <a:pt x="181280" y="12154"/>
                </a:lnTo>
                <a:lnTo>
                  <a:pt x="182947" y="12259"/>
                </a:lnTo>
                <a:lnTo>
                  <a:pt x="182785" y="16050"/>
                </a:lnTo>
                <a:close/>
                <a:moveTo>
                  <a:pt x="189890" y="17336"/>
                </a:moveTo>
                <a:lnTo>
                  <a:pt x="189214" y="17955"/>
                </a:lnTo>
                <a:lnTo>
                  <a:pt x="186604" y="12440"/>
                </a:lnTo>
                <a:lnTo>
                  <a:pt x="188538" y="6106"/>
                </a:lnTo>
                <a:lnTo>
                  <a:pt x="190881" y="6306"/>
                </a:lnTo>
                <a:lnTo>
                  <a:pt x="191252" y="7963"/>
                </a:lnTo>
                <a:lnTo>
                  <a:pt x="191024" y="9497"/>
                </a:lnTo>
                <a:lnTo>
                  <a:pt x="189833" y="9630"/>
                </a:lnTo>
                <a:lnTo>
                  <a:pt x="189728" y="10096"/>
                </a:lnTo>
                <a:lnTo>
                  <a:pt x="190100" y="13040"/>
                </a:lnTo>
                <a:lnTo>
                  <a:pt x="190119" y="16450"/>
                </a:lnTo>
                <a:lnTo>
                  <a:pt x="189890" y="17336"/>
                </a:lnTo>
                <a:close/>
                <a:moveTo>
                  <a:pt x="197053" y="1086"/>
                </a:moveTo>
                <a:lnTo>
                  <a:pt x="197053" y="1715"/>
                </a:lnTo>
                <a:lnTo>
                  <a:pt x="195662" y="6325"/>
                </a:lnTo>
                <a:lnTo>
                  <a:pt x="195681" y="8087"/>
                </a:lnTo>
                <a:lnTo>
                  <a:pt x="193443" y="7915"/>
                </a:lnTo>
                <a:lnTo>
                  <a:pt x="193091" y="7353"/>
                </a:lnTo>
                <a:lnTo>
                  <a:pt x="192672" y="4715"/>
                </a:lnTo>
                <a:lnTo>
                  <a:pt x="192957" y="1905"/>
                </a:lnTo>
                <a:lnTo>
                  <a:pt x="193272" y="1172"/>
                </a:lnTo>
                <a:lnTo>
                  <a:pt x="193919" y="876"/>
                </a:lnTo>
                <a:lnTo>
                  <a:pt x="194624" y="1429"/>
                </a:lnTo>
                <a:lnTo>
                  <a:pt x="195739" y="0"/>
                </a:lnTo>
                <a:lnTo>
                  <a:pt x="196320" y="29"/>
                </a:lnTo>
                <a:lnTo>
                  <a:pt x="197053" y="1086"/>
                </a:ln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9" name="Forme libre : forme 17">
            <a:extLst>
              <a:ext uri="{FF2B5EF4-FFF2-40B4-BE49-F238E27FC236}">
                <a16:creationId xmlns:a16="http://schemas.microsoft.com/office/drawing/2014/main" id="{0CE5EEFC-9A73-14D3-F2EE-FCFBB1F7E9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87910" y="5065008"/>
            <a:ext cx="944602" cy="674846"/>
          </a:xfrm>
          <a:custGeom>
            <a:avLst/>
            <a:gdLst>
              <a:gd name="connsiteX0" fmla="*/ 987712 w 1254861"/>
              <a:gd name="connsiteY0" fmla="*/ 613164 h 931541"/>
              <a:gd name="connsiteX1" fmla="*/ 993322 w 1254861"/>
              <a:gd name="connsiteY1" fmla="*/ 619827 h 931541"/>
              <a:gd name="connsiteX2" fmla="*/ 1002195 w 1254861"/>
              <a:gd name="connsiteY2" fmla="*/ 621081 h 931541"/>
              <a:gd name="connsiteX3" fmla="*/ 1002295 w 1254861"/>
              <a:gd name="connsiteY3" fmla="*/ 624544 h 931541"/>
              <a:gd name="connsiteX4" fmla="*/ 1000214 w 1254861"/>
              <a:gd name="connsiteY4" fmla="*/ 626095 h 931541"/>
              <a:gd name="connsiteX5" fmla="*/ 994081 w 1254861"/>
              <a:gd name="connsiteY5" fmla="*/ 624675 h 931541"/>
              <a:gd name="connsiteX6" fmla="*/ 984876 w 1254861"/>
              <a:gd name="connsiteY6" fmla="*/ 624675 h 931541"/>
              <a:gd name="connsiteX7" fmla="*/ 984516 w 1254861"/>
              <a:gd name="connsiteY7" fmla="*/ 619893 h 931541"/>
              <a:gd name="connsiteX8" fmla="*/ 985932 w 1254861"/>
              <a:gd name="connsiteY8" fmla="*/ 616562 h 931541"/>
              <a:gd name="connsiteX9" fmla="*/ 999556 w 1254861"/>
              <a:gd name="connsiteY9" fmla="*/ 571338 h 931541"/>
              <a:gd name="connsiteX10" fmla="*/ 1004075 w 1254861"/>
              <a:gd name="connsiteY10" fmla="*/ 575365 h 931541"/>
              <a:gd name="connsiteX11" fmla="*/ 1005031 w 1254861"/>
              <a:gd name="connsiteY11" fmla="*/ 581135 h 931541"/>
              <a:gd name="connsiteX12" fmla="*/ 993090 w 1254861"/>
              <a:gd name="connsiteY12" fmla="*/ 593737 h 931541"/>
              <a:gd name="connsiteX13" fmla="*/ 988505 w 1254861"/>
              <a:gd name="connsiteY13" fmla="*/ 595354 h 931541"/>
              <a:gd name="connsiteX14" fmla="*/ 985143 w 1254861"/>
              <a:gd name="connsiteY14" fmla="*/ 602644 h 931541"/>
              <a:gd name="connsiteX15" fmla="*/ 971059 w 1254861"/>
              <a:gd name="connsiteY15" fmla="*/ 600071 h 931541"/>
              <a:gd name="connsiteX16" fmla="*/ 967956 w 1254861"/>
              <a:gd name="connsiteY16" fmla="*/ 597134 h 931541"/>
              <a:gd name="connsiteX17" fmla="*/ 970989 w 1254861"/>
              <a:gd name="connsiteY17" fmla="*/ 588888 h 931541"/>
              <a:gd name="connsiteX18" fmla="*/ 975048 w 1254861"/>
              <a:gd name="connsiteY18" fmla="*/ 587898 h 931541"/>
              <a:gd name="connsiteX19" fmla="*/ 975311 w 1254861"/>
              <a:gd name="connsiteY19" fmla="*/ 582028 h 931541"/>
              <a:gd name="connsiteX20" fmla="*/ 979567 w 1254861"/>
              <a:gd name="connsiteY20" fmla="*/ 576124 h 931541"/>
              <a:gd name="connsiteX21" fmla="*/ 1147199 w 1254861"/>
              <a:gd name="connsiteY21" fmla="*/ 469746 h 931541"/>
              <a:gd name="connsiteX22" fmla="*/ 1150793 w 1254861"/>
              <a:gd name="connsiteY22" fmla="*/ 470865 h 931541"/>
              <a:gd name="connsiteX23" fmla="*/ 1147725 w 1254861"/>
              <a:gd name="connsiteY23" fmla="*/ 475287 h 931541"/>
              <a:gd name="connsiteX24" fmla="*/ 1147957 w 1254861"/>
              <a:gd name="connsiteY24" fmla="*/ 477299 h 931541"/>
              <a:gd name="connsiteX25" fmla="*/ 1150894 w 1254861"/>
              <a:gd name="connsiteY25" fmla="*/ 479443 h 931541"/>
              <a:gd name="connsiteX26" fmla="*/ 1150201 w 1254861"/>
              <a:gd name="connsiteY26" fmla="*/ 482871 h 931541"/>
              <a:gd name="connsiteX27" fmla="*/ 1147230 w 1254861"/>
              <a:gd name="connsiteY27" fmla="*/ 485843 h 931541"/>
              <a:gd name="connsiteX28" fmla="*/ 1145914 w 1254861"/>
              <a:gd name="connsiteY28" fmla="*/ 491449 h 931541"/>
              <a:gd name="connsiteX29" fmla="*/ 1154786 w 1254861"/>
              <a:gd name="connsiteY29" fmla="*/ 495439 h 931541"/>
              <a:gd name="connsiteX30" fmla="*/ 1164154 w 1254861"/>
              <a:gd name="connsiteY30" fmla="*/ 491844 h 931541"/>
              <a:gd name="connsiteX31" fmla="*/ 1169134 w 1254861"/>
              <a:gd name="connsiteY31" fmla="*/ 492966 h 931541"/>
              <a:gd name="connsiteX32" fmla="*/ 1174048 w 1254861"/>
              <a:gd name="connsiteY32" fmla="*/ 494912 h 931541"/>
              <a:gd name="connsiteX33" fmla="*/ 1175235 w 1254861"/>
              <a:gd name="connsiteY33" fmla="*/ 502500 h 931541"/>
              <a:gd name="connsiteX34" fmla="*/ 1170882 w 1254861"/>
              <a:gd name="connsiteY34" fmla="*/ 510943 h 931541"/>
              <a:gd name="connsiteX35" fmla="*/ 1164781 w 1254861"/>
              <a:gd name="connsiteY35" fmla="*/ 519521 h 931541"/>
              <a:gd name="connsiteX36" fmla="*/ 1159635 w 1254861"/>
              <a:gd name="connsiteY36" fmla="*/ 528919 h 931541"/>
              <a:gd name="connsiteX37" fmla="*/ 1155150 w 1254861"/>
              <a:gd name="connsiteY37" fmla="*/ 539707 h 931541"/>
              <a:gd name="connsiteX38" fmla="*/ 1146801 w 1254861"/>
              <a:gd name="connsiteY38" fmla="*/ 546072 h 931541"/>
              <a:gd name="connsiteX39" fmla="*/ 1139251 w 1254861"/>
              <a:gd name="connsiteY39" fmla="*/ 549898 h 931541"/>
              <a:gd name="connsiteX40" fmla="*/ 1123283 w 1254861"/>
              <a:gd name="connsiteY40" fmla="*/ 541885 h 931541"/>
              <a:gd name="connsiteX41" fmla="*/ 1113981 w 1254861"/>
              <a:gd name="connsiteY41" fmla="*/ 539873 h 931541"/>
              <a:gd name="connsiteX42" fmla="*/ 1111211 w 1254861"/>
              <a:gd name="connsiteY42" fmla="*/ 536870 h 931541"/>
              <a:gd name="connsiteX43" fmla="*/ 1109001 w 1254861"/>
              <a:gd name="connsiteY43" fmla="*/ 524930 h 931541"/>
              <a:gd name="connsiteX44" fmla="*/ 1104811 w 1254861"/>
              <a:gd name="connsiteY44" fmla="*/ 521134 h 931541"/>
              <a:gd name="connsiteX45" fmla="*/ 1098643 w 1254861"/>
              <a:gd name="connsiteY45" fmla="*/ 519455 h 931541"/>
              <a:gd name="connsiteX46" fmla="*/ 1093234 w 1254861"/>
              <a:gd name="connsiteY46" fmla="*/ 522523 h 931541"/>
              <a:gd name="connsiteX47" fmla="*/ 1086177 w 1254861"/>
              <a:gd name="connsiteY47" fmla="*/ 528822 h 931541"/>
              <a:gd name="connsiteX48" fmla="*/ 1082416 w 1254861"/>
              <a:gd name="connsiteY48" fmla="*/ 522523 h 931541"/>
              <a:gd name="connsiteX49" fmla="*/ 1076445 w 1254861"/>
              <a:gd name="connsiteY49" fmla="*/ 521335 h 931541"/>
              <a:gd name="connsiteX50" fmla="*/ 1074201 w 1254861"/>
              <a:gd name="connsiteY50" fmla="*/ 517540 h 931541"/>
              <a:gd name="connsiteX51" fmla="*/ 1074302 w 1254861"/>
              <a:gd name="connsiteY51" fmla="*/ 512657 h 931541"/>
              <a:gd name="connsiteX52" fmla="*/ 1112596 w 1254861"/>
              <a:gd name="connsiteY52" fmla="*/ 483664 h 931541"/>
              <a:gd name="connsiteX53" fmla="*/ 1123681 w 1254861"/>
              <a:gd name="connsiteY53" fmla="*/ 477233 h 931541"/>
              <a:gd name="connsiteX54" fmla="*/ 1230551 w 1254861"/>
              <a:gd name="connsiteY54" fmla="*/ 457210 h 931541"/>
              <a:gd name="connsiteX55" fmla="*/ 1245957 w 1254861"/>
              <a:gd name="connsiteY55" fmla="*/ 462356 h 931541"/>
              <a:gd name="connsiteX56" fmla="*/ 1254238 w 1254861"/>
              <a:gd name="connsiteY56" fmla="*/ 476208 h 931541"/>
              <a:gd name="connsiteX57" fmla="*/ 1254861 w 1254861"/>
              <a:gd name="connsiteY57" fmla="*/ 478584 h 931541"/>
              <a:gd name="connsiteX58" fmla="*/ 1252226 w 1254861"/>
              <a:gd name="connsiteY58" fmla="*/ 485247 h 931541"/>
              <a:gd name="connsiteX59" fmla="*/ 1250543 w 1254861"/>
              <a:gd name="connsiteY59" fmla="*/ 486632 h 931541"/>
              <a:gd name="connsiteX60" fmla="*/ 1222077 w 1254861"/>
              <a:gd name="connsiteY60" fmla="*/ 472745 h 931541"/>
              <a:gd name="connsiteX61" fmla="*/ 1212771 w 1254861"/>
              <a:gd name="connsiteY61" fmla="*/ 471197 h 931541"/>
              <a:gd name="connsiteX62" fmla="*/ 1210496 w 1254861"/>
              <a:gd name="connsiteY62" fmla="*/ 469085 h 931541"/>
              <a:gd name="connsiteX63" fmla="*/ 1210763 w 1254861"/>
              <a:gd name="connsiteY63" fmla="*/ 461861 h 931541"/>
              <a:gd name="connsiteX64" fmla="*/ 1211487 w 1254861"/>
              <a:gd name="connsiteY64" fmla="*/ 458661 h 931541"/>
              <a:gd name="connsiteX65" fmla="*/ 142299 w 1254861"/>
              <a:gd name="connsiteY65" fmla="*/ 0 h 931541"/>
              <a:gd name="connsiteX66" fmla="*/ 151899 w 1254861"/>
              <a:gd name="connsiteY66" fmla="*/ 4748 h 931541"/>
              <a:gd name="connsiteX67" fmla="*/ 160307 w 1254861"/>
              <a:gd name="connsiteY67" fmla="*/ 3134 h 931541"/>
              <a:gd name="connsiteX68" fmla="*/ 169972 w 1254861"/>
              <a:gd name="connsiteY68" fmla="*/ 8776 h 931541"/>
              <a:gd name="connsiteX69" fmla="*/ 182675 w 1254861"/>
              <a:gd name="connsiteY69" fmla="*/ 21672 h 931541"/>
              <a:gd name="connsiteX70" fmla="*/ 201278 w 1254861"/>
              <a:gd name="connsiteY70" fmla="*/ 26849 h 931541"/>
              <a:gd name="connsiteX71" fmla="*/ 216121 w 1254861"/>
              <a:gd name="connsiteY71" fmla="*/ 22794 h 931541"/>
              <a:gd name="connsiteX72" fmla="*/ 242343 w 1254861"/>
              <a:gd name="connsiteY72" fmla="*/ 21935 h 931541"/>
              <a:gd name="connsiteX73" fmla="*/ 255440 w 1254861"/>
              <a:gd name="connsiteY73" fmla="*/ 23649 h 931541"/>
              <a:gd name="connsiteX74" fmla="*/ 278725 w 1254861"/>
              <a:gd name="connsiteY74" fmla="*/ 20449 h 931541"/>
              <a:gd name="connsiteX75" fmla="*/ 292051 w 1254861"/>
              <a:gd name="connsiteY75" fmla="*/ 21606 h 931541"/>
              <a:gd name="connsiteX76" fmla="*/ 313657 w 1254861"/>
              <a:gd name="connsiteY76" fmla="*/ 15206 h 931541"/>
              <a:gd name="connsiteX77" fmla="*/ 330380 w 1254861"/>
              <a:gd name="connsiteY77" fmla="*/ 23189 h 931541"/>
              <a:gd name="connsiteX78" fmla="*/ 362808 w 1254861"/>
              <a:gd name="connsiteY78" fmla="*/ 26915 h 931541"/>
              <a:gd name="connsiteX79" fmla="*/ 382267 w 1254861"/>
              <a:gd name="connsiteY79" fmla="*/ 33446 h 931541"/>
              <a:gd name="connsiteX80" fmla="*/ 436165 w 1254861"/>
              <a:gd name="connsiteY80" fmla="*/ 44396 h 931541"/>
              <a:gd name="connsiteX81" fmla="*/ 455627 w 1254861"/>
              <a:gd name="connsiteY81" fmla="*/ 44531 h 931541"/>
              <a:gd name="connsiteX82" fmla="*/ 483169 w 1254861"/>
              <a:gd name="connsiteY82" fmla="*/ 38364 h 931541"/>
              <a:gd name="connsiteX83" fmla="*/ 494846 w 1254861"/>
              <a:gd name="connsiteY83" fmla="*/ 33744 h 931541"/>
              <a:gd name="connsiteX84" fmla="*/ 505533 w 1254861"/>
              <a:gd name="connsiteY84" fmla="*/ 36483 h 931541"/>
              <a:gd name="connsiteX85" fmla="*/ 521203 w 1254861"/>
              <a:gd name="connsiteY85" fmla="*/ 31171 h 931541"/>
              <a:gd name="connsiteX86" fmla="*/ 528722 w 1254861"/>
              <a:gd name="connsiteY86" fmla="*/ 32258 h 931541"/>
              <a:gd name="connsiteX87" fmla="*/ 538519 w 1254861"/>
              <a:gd name="connsiteY87" fmla="*/ 39815 h 931541"/>
              <a:gd name="connsiteX88" fmla="*/ 572990 w 1254861"/>
              <a:gd name="connsiteY88" fmla="*/ 50006 h 931541"/>
              <a:gd name="connsiteX89" fmla="*/ 582028 w 1254861"/>
              <a:gd name="connsiteY89" fmla="*/ 41363 h 931541"/>
              <a:gd name="connsiteX90" fmla="*/ 588757 w 1254861"/>
              <a:gd name="connsiteY90" fmla="*/ 39482 h 931541"/>
              <a:gd name="connsiteX91" fmla="*/ 613559 w 1254861"/>
              <a:gd name="connsiteY91" fmla="*/ 44760 h 931541"/>
              <a:gd name="connsiteX92" fmla="*/ 638562 w 1254861"/>
              <a:gd name="connsiteY92" fmla="*/ 55513 h 931541"/>
              <a:gd name="connsiteX93" fmla="*/ 651559 w 1254861"/>
              <a:gd name="connsiteY93" fmla="*/ 56274 h 931541"/>
              <a:gd name="connsiteX94" fmla="*/ 670561 w 1254861"/>
              <a:gd name="connsiteY94" fmla="*/ 53338 h 931541"/>
              <a:gd name="connsiteX95" fmla="*/ 685635 w 1254861"/>
              <a:gd name="connsiteY95" fmla="*/ 46277 h 931541"/>
              <a:gd name="connsiteX96" fmla="*/ 688669 w 1254861"/>
              <a:gd name="connsiteY96" fmla="*/ 45158 h 931541"/>
              <a:gd name="connsiteX97" fmla="*/ 688800 w 1254861"/>
              <a:gd name="connsiteY97" fmla="*/ 49577 h 931541"/>
              <a:gd name="connsiteX98" fmla="*/ 692430 w 1254861"/>
              <a:gd name="connsiteY98" fmla="*/ 55644 h 931541"/>
              <a:gd name="connsiteX99" fmla="*/ 696191 w 1254861"/>
              <a:gd name="connsiteY99" fmla="*/ 57888 h 931541"/>
              <a:gd name="connsiteX100" fmla="*/ 704107 w 1254861"/>
              <a:gd name="connsiteY100" fmla="*/ 60991 h 931541"/>
              <a:gd name="connsiteX101" fmla="*/ 710209 w 1254861"/>
              <a:gd name="connsiteY101" fmla="*/ 61421 h 931541"/>
              <a:gd name="connsiteX102" fmla="*/ 718520 w 1254861"/>
              <a:gd name="connsiteY102" fmla="*/ 62872 h 931541"/>
              <a:gd name="connsiteX103" fmla="*/ 724161 w 1254861"/>
              <a:gd name="connsiteY103" fmla="*/ 66366 h 931541"/>
              <a:gd name="connsiteX104" fmla="*/ 724491 w 1254861"/>
              <a:gd name="connsiteY104" fmla="*/ 71810 h 931541"/>
              <a:gd name="connsiteX105" fmla="*/ 723074 w 1254861"/>
              <a:gd name="connsiteY105" fmla="*/ 77877 h 931541"/>
              <a:gd name="connsiteX106" fmla="*/ 719642 w 1254861"/>
              <a:gd name="connsiteY106" fmla="*/ 83452 h 931541"/>
              <a:gd name="connsiteX107" fmla="*/ 717696 w 1254861"/>
              <a:gd name="connsiteY107" fmla="*/ 87708 h 931541"/>
              <a:gd name="connsiteX108" fmla="*/ 719511 w 1254861"/>
              <a:gd name="connsiteY108" fmla="*/ 90150 h 931541"/>
              <a:gd name="connsiteX109" fmla="*/ 722478 w 1254861"/>
              <a:gd name="connsiteY109" fmla="*/ 92061 h 931541"/>
              <a:gd name="connsiteX110" fmla="*/ 725678 w 1254861"/>
              <a:gd name="connsiteY110" fmla="*/ 92588 h 931541"/>
              <a:gd name="connsiteX111" fmla="*/ 727857 w 1254861"/>
              <a:gd name="connsiteY111" fmla="*/ 91964 h 931541"/>
              <a:gd name="connsiteX112" fmla="*/ 729505 w 1254861"/>
              <a:gd name="connsiteY112" fmla="*/ 88598 h 931541"/>
              <a:gd name="connsiteX113" fmla="*/ 732639 w 1254861"/>
              <a:gd name="connsiteY113" fmla="*/ 84477 h 931541"/>
              <a:gd name="connsiteX114" fmla="*/ 734384 w 1254861"/>
              <a:gd name="connsiteY114" fmla="*/ 83948 h 931541"/>
              <a:gd name="connsiteX115" fmla="*/ 734253 w 1254861"/>
              <a:gd name="connsiteY115" fmla="*/ 86289 h 931541"/>
              <a:gd name="connsiteX116" fmla="*/ 735738 w 1254861"/>
              <a:gd name="connsiteY116" fmla="*/ 89191 h 931541"/>
              <a:gd name="connsiteX117" fmla="*/ 745930 w 1254861"/>
              <a:gd name="connsiteY117" fmla="*/ 94042 h 931541"/>
              <a:gd name="connsiteX118" fmla="*/ 768294 w 1254861"/>
              <a:gd name="connsiteY118" fmla="*/ 103081 h 931541"/>
              <a:gd name="connsiteX119" fmla="*/ 777070 w 1254861"/>
              <a:gd name="connsiteY119" fmla="*/ 103244 h 931541"/>
              <a:gd name="connsiteX120" fmla="*/ 784162 w 1254861"/>
              <a:gd name="connsiteY120" fmla="*/ 104300 h 931541"/>
              <a:gd name="connsiteX121" fmla="*/ 786240 w 1254861"/>
              <a:gd name="connsiteY121" fmla="*/ 108092 h 931541"/>
              <a:gd name="connsiteX122" fmla="*/ 800490 w 1254861"/>
              <a:gd name="connsiteY122" fmla="*/ 122013 h 931541"/>
              <a:gd name="connsiteX123" fmla="*/ 803887 w 1254861"/>
              <a:gd name="connsiteY123" fmla="*/ 121650 h 931541"/>
              <a:gd name="connsiteX124" fmla="*/ 810221 w 1254861"/>
              <a:gd name="connsiteY124" fmla="*/ 121979 h 931541"/>
              <a:gd name="connsiteX125" fmla="*/ 817871 w 1254861"/>
              <a:gd name="connsiteY125" fmla="*/ 120860 h 931541"/>
              <a:gd name="connsiteX126" fmla="*/ 823415 w 1254861"/>
              <a:gd name="connsiteY126" fmla="*/ 118252 h 931541"/>
              <a:gd name="connsiteX127" fmla="*/ 827041 w 1254861"/>
              <a:gd name="connsiteY127" fmla="*/ 118682 h 931541"/>
              <a:gd name="connsiteX128" fmla="*/ 831065 w 1254861"/>
              <a:gd name="connsiteY128" fmla="*/ 121386 h 931541"/>
              <a:gd name="connsiteX129" fmla="*/ 835751 w 1254861"/>
              <a:gd name="connsiteY129" fmla="*/ 123727 h 931541"/>
              <a:gd name="connsiteX130" fmla="*/ 841821 w 1254861"/>
              <a:gd name="connsiteY130" fmla="*/ 128312 h 931541"/>
              <a:gd name="connsiteX131" fmla="*/ 847227 w 1254861"/>
              <a:gd name="connsiteY131" fmla="*/ 133954 h 931541"/>
              <a:gd name="connsiteX132" fmla="*/ 850957 w 1254861"/>
              <a:gd name="connsiteY132" fmla="*/ 135800 h 931541"/>
              <a:gd name="connsiteX133" fmla="*/ 873418 w 1254861"/>
              <a:gd name="connsiteY133" fmla="*/ 132007 h 931541"/>
              <a:gd name="connsiteX134" fmla="*/ 878433 w 1254861"/>
              <a:gd name="connsiteY134" fmla="*/ 135339 h 931541"/>
              <a:gd name="connsiteX135" fmla="*/ 883745 w 1254861"/>
              <a:gd name="connsiteY135" fmla="*/ 135304 h 931541"/>
              <a:gd name="connsiteX136" fmla="*/ 889715 w 1254861"/>
              <a:gd name="connsiteY136" fmla="*/ 134449 h 931541"/>
              <a:gd name="connsiteX137" fmla="*/ 902712 w 1254861"/>
              <a:gd name="connsiteY137" fmla="*/ 136198 h 931541"/>
              <a:gd name="connsiteX138" fmla="*/ 913267 w 1254861"/>
              <a:gd name="connsiteY138" fmla="*/ 135768 h 931541"/>
              <a:gd name="connsiteX139" fmla="*/ 914223 w 1254861"/>
              <a:gd name="connsiteY139" fmla="*/ 134383 h 931541"/>
              <a:gd name="connsiteX140" fmla="*/ 915113 w 1254861"/>
              <a:gd name="connsiteY140" fmla="*/ 121847 h 931541"/>
              <a:gd name="connsiteX141" fmla="*/ 916796 w 1254861"/>
              <a:gd name="connsiteY141" fmla="*/ 117394 h 931541"/>
              <a:gd name="connsiteX142" fmla="*/ 919303 w 1254861"/>
              <a:gd name="connsiteY142" fmla="*/ 116206 h 931541"/>
              <a:gd name="connsiteX143" fmla="*/ 925537 w 1254861"/>
              <a:gd name="connsiteY143" fmla="*/ 117099 h 931541"/>
              <a:gd name="connsiteX144" fmla="*/ 948265 w 1254861"/>
              <a:gd name="connsiteY144" fmla="*/ 124520 h 931541"/>
              <a:gd name="connsiteX145" fmla="*/ 957632 w 1254861"/>
              <a:gd name="connsiteY145" fmla="*/ 129171 h 931541"/>
              <a:gd name="connsiteX146" fmla="*/ 966636 w 1254861"/>
              <a:gd name="connsiteY146" fmla="*/ 132801 h 931541"/>
              <a:gd name="connsiteX147" fmla="*/ 974487 w 1254861"/>
              <a:gd name="connsiteY147" fmla="*/ 133195 h 931541"/>
              <a:gd name="connsiteX148" fmla="*/ 979699 w 1254861"/>
              <a:gd name="connsiteY148" fmla="*/ 135637 h 931541"/>
              <a:gd name="connsiteX149" fmla="*/ 986988 w 1254861"/>
              <a:gd name="connsiteY149" fmla="*/ 147511 h 931541"/>
              <a:gd name="connsiteX150" fmla="*/ 985735 w 1254861"/>
              <a:gd name="connsiteY150" fmla="*/ 153482 h 931541"/>
              <a:gd name="connsiteX151" fmla="*/ 986396 w 1254861"/>
              <a:gd name="connsiteY151" fmla="*/ 155691 h 931541"/>
              <a:gd name="connsiteX152" fmla="*/ 987155 w 1254861"/>
              <a:gd name="connsiteY152" fmla="*/ 159816 h 931541"/>
              <a:gd name="connsiteX153" fmla="*/ 986957 w 1254861"/>
              <a:gd name="connsiteY153" fmla="*/ 164397 h 931541"/>
              <a:gd name="connsiteX154" fmla="*/ 988869 w 1254861"/>
              <a:gd name="connsiteY154" fmla="*/ 167400 h 931541"/>
              <a:gd name="connsiteX155" fmla="*/ 992332 w 1254861"/>
              <a:gd name="connsiteY155" fmla="*/ 167763 h 931541"/>
              <a:gd name="connsiteX156" fmla="*/ 996751 w 1254861"/>
              <a:gd name="connsiteY156" fmla="*/ 166873 h 931541"/>
              <a:gd name="connsiteX157" fmla="*/ 1001602 w 1254861"/>
              <a:gd name="connsiteY157" fmla="*/ 165093 h 931541"/>
              <a:gd name="connsiteX158" fmla="*/ 1010111 w 1254861"/>
              <a:gd name="connsiteY158" fmla="*/ 160013 h 931541"/>
              <a:gd name="connsiteX159" fmla="*/ 1012649 w 1254861"/>
              <a:gd name="connsiteY159" fmla="*/ 159189 h 931541"/>
              <a:gd name="connsiteX160" fmla="*/ 1026900 w 1254861"/>
              <a:gd name="connsiteY160" fmla="*/ 164958 h 931541"/>
              <a:gd name="connsiteX161" fmla="*/ 1033199 w 1254861"/>
              <a:gd name="connsiteY161" fmla="*/ 168819 h 931541"/>
              <a:gd name="connsiteX162" fmla="*/ 1035377 w 1254861"/>
              <a:gd name="connsiteY162" fmla="*/ 173010 h 931541"/>
              <a:gd name="connsiteX163" fmla="*/ 1038643 w 1254861"/>
              <a:gd name="connsiteY163" fmla="*/ 177297 h 931541"/>
              <a:gd name="connsiteX164" fmla="*/ 1042899 w 1254861"/>
              <a:gd name="connsiteY164" fmla="*/ 177924 h 931541"/>
              <a:gd name="connsiteX165" fmla="*/ 1048970 w 1254861"/>
              <a:gd name="connsiteY165" fmla="*/ 173865 h 931541"/>
              <a:gd name="connsiteX166" fmla="*/ 1058434 w 1254861"/>
              <a:gd name="connsiteY166" fmla="*/ 169512 h 931541"/>
              <a:gd name="connsiteX167" fmla="*/ 1074531 w 1254861"/>
              <a:gd name="connsiteY167" fmla="*/ 173339 h 931541"/>
              <a:gd name="connsiteX168" fmla="*/ 1092441 w 1254861"/>
              <a:gd name="connsiteY168" fmla="*/ 178880 h 931541"/>
              <a:gd name="connsiteX169" fmla="*/ 1100195 w 1254861"/>
              <a:gd name="connsiteY169" fmla="*/ 179541 h 931541"/>
              <a:gd name="connsiteX170" fmla="*/ 1100458 w 1254861"/>
              <a:gd name="connsiteY170" fmla="*/ 176833 h 931541"/>
              <a:gd name="connsiteX171" fmla="*/ 1101875 w 1254861"/>
              <a:gd name="connsiteY171" fmla="*/ 172975 h 931541"/>
              <a:gd name="connsiteX172" fmla="*/ 1104811 w 1254861"/>
              <a:gd name="connsiteY172" fmla="*/ 171029 h 931541"/>
              <a:gd name="connsiteX173" fmla="*/ 1109233 w 1254861"/>
              <a:gd name="connsiteY173" fmla="*/ 170468 h 931541"/>
              <a:gd name="connsiteX174" fmla="*/ 1115367 w 1254861"/>
              <a:gd name="connsiteY174" fmla="*/ 168425 h 931541"/>
              <a:gd name="connsiteX175" fmla="*/ 1122358 w 1254861"/>
              <a:gd name="connsiteY175" fmla="*/ 165059 h 931541"/>
              <a:gd name="connsiteX176" fmla="*/ 1129651 w 1254861"/>
              <a:gd name="connsiteY176" fmla="*/ 163673 h 931541"/>
              <a:gd name="connsiteX177" fmla="*/ 1137270 w 1254861"/>
              <a:gd name="connsiteY177" fmla="*/ 166181 h 931541"/>
              <a:gd name="connsiteX178" fmla="*/ 1146471 w 1254861"/>
              <a:gd name="connsiteY178" fmla="*/ 168227 h 931541"/>
              <a:gd name="connsiteX179" fmla="*/ 1151981 w 1254861"/>
              <a:gd name="connsiteY179" fmla="*/ 168193 h 931541"/>
              <a:gd name="connsiteX180" fmla="*/ 1154620 w 1254861"/>
              <a:gd name="connsiteY180" fmla="*/ 176109 h 931541"/>
              <a:gd name="connsiteX181" fmla="*/ 1159073 w 1254861"/>
              <a:gd name="connsiteY181" fmla="*/ 179112 h 931541"/>
              <a:gd name="connsiteX182" fmla="*/ 1160822 w 1254861"/>
              <a:gd name="connsiteY182" fmla="*/ 185972 h 931541"/>
              <a:gd name="connsiteX183" fmla="*/ 1152639 w 1254861"/>
              <a:gd name="connsiteY183" fmla="*/ 189535 h 931541"/>
              <a:gd name="connsiteX184" fmla="*/ 1147825 w 1254861"/>
              <a:gd name="connsiteY184" fmla="*/ 190027 h 931541"/>
              <a:gd name="connsiteX185" fmla="*/ 1146340 w 1254861"/>
              <a:gd name="connsiteY185" fmla="*/ 201739 h 931541"/>
              <a:gd name="connsiteX186" fmla="*/ 1148650 w 1254861"/>
              <a:gd name="connsiteY186" fmla="*/ 205036 h 931541"/>
              <a:gd name="connsiteX187" fmla="*/ 1153235 w 1254861"/>
              <a:gd name="connsiteY187" fmla="*/ 208139 h 931541"/>
              <a:gd name="connsiteX188" fmla="*/ 1154488 w 1254861"/>
              <a:gd name="connsiteY188" fmla="*/ 211733 h 931541"/>
              <a:gd name="connsiteX189" fmla="*/ 1155413 w 1254861"/>
              <a:gd name="connsiteY189" fmla="*/ 228886 h 931541"/>
              <a:gd name="connsiteX190" fmla="*/ 1146045 w 1254861"/>
              <a:gd name="connsiteY190" fmla="*/ 239209 h 931541"/>
              <a:gd name="connsiteX191" fmla="*/ 1132917 w 1254861"/>
              <a:gd name="connsiteY191" fmla="*/ 250789 h 931541"/>
              <a:gd name="connsiteX192" fmla="*/ 1068661 w 1254861"/>
              <a:gd name="connsiteY192" fmla="*/ 287896 h 931541"/>
              <a:gd name="connsiteX193" fmla="*/ 1053354 w 1254861"/>
              <a:gd name="connsiteY193" fmla="*/ 305807 h 931541"/>
              <a:gd name="connsiteX194" fmla="*/ 1047515 w 1254861"/>
              <a:gd name="connsiteY194" fmla="*/ 309931 h 931541"/>
              <a:gd name="connsiteX195" fmla="*/ 999753 w 1254861"/>
              <a:gd name="connsiteY195" fmla="*/ 321179 h 931541"/>
              <a:gd name="connsiteX196" fmla="*/ 966373 w 1254861"/>
              <a:gd name="connsiteY196" fmla="*/ 333185 h 931541"/>
              <a:gd name="connsiteX197" fmla="*/ 950374 w 1254861"/>
              <a:gd name="connsiteY197" fmla="*/ 337538 h 931541"/>
              <a:gd name="connsiteX198" fmla="*/ 930385 w 1254861"/>
              <a:gd name="connsiteY198" fmla="*/ 358351 h 931541"/>
              <a:gd name="connsiteX199" fmla="*/ 920917 w 1254861"/>
              <a:gd name="connsiteY199" fmla="*/ 366732 h 931541"/>
              <a:gd name="connsiteX200" fmla="*/ 928473 w 1254861"/>
              <a:gd name="connsiteY200" fmla="*/ 369042 h 931541"/>
              <a:gd name="connsiteX201" fmla="*/ 937280 w 1254861"/>
              <a:gd name="connsiteY201" fmla="*/ 378970 h 931541"/>
              <a:gd name="connsiteX202" fmla="*/ 934312 w 1254861"/>
              <a:gd name="connsiteY202" fmla="*/ 383354 h 931541"/>
              <a:gd name="connsiteX203" fmla="*/ 921478 w 1254861"/>
              <a:gd name="connsiteY203" fmla="*/ 390152 h 931541"/>
              <a:gd name="connsiteX204" fmla="*/ 915871 w 1254861"/>
              <a:gd name="connsiteY204" fmla="*/ 392230 h 931541"/>
              <a:gd name="connsiteX205" fmla="*/ 912838 w 1254861"/>
              <a:gd name="connsiteY205" fmla="*/ 391139 h 931541"/>
              <a:gd name="connsiteX206" fmla="*/ 909967 w 1254861"/>
              <a:gd name="connsiteY206" fmla="*/ 392064 h 931541"/>
              <a:gd name="connsiteX207" fmla="*/ 888462 w 1254861"/>
              <a:gd name="connsiteY207" fmla="*/ 427854 h 931541"/>
              <a:gd name="connsiteX208" fmla="*/ 869460 w 1254861"/>
              <a:gd name="connsiteY208" fmla="*/ 453515 h 931541"/>
              <a:gd name="connsiteX209" fmla="*/ 858773 w 1254861"/>
              <a:gd name="connsiteY209" fmla="*/ 464666 h 931541"/>
              <a:gd name="connsiteX210" fmla="*/ 847823 w 1254861"/>
              <a:gd name="connsiteY210" fmla="*/ 481258 h 931541"/>
              <a:gd name="connsiteX211" fmla="*/ 824503 w 1254861"/>
              <a:gd name="connsiteY211" fmla="*/ 523908 h 931541"/>
              <a:gd name="connsiteX212" fmla="*/ 824337 w 1254861"/>
              <a:gd name="connsiteY212" fmla="*/ 536178 h 931541"/>
              <a:gd name="connsiteX213" fmla="*/ 835817 w 1254861"/>
              <a:gd name="connsiteY213" fmla="*/ 578364 h 931541"/>
              <a:gd name="connsiteX214" fmla="*/ 842414 w 1254861"/>
              <a:gd name="connsiteY214" fmla="*/ 589415 h 931541"/>
              <a:gd name="connsiteX215" fmla="*/ 851650 w 1254861"/>
              <a:gd name="connsiteY215" fmla="*/ 598685 h 931541"/>
              <a:gd name="connsiteX216" fmla="*/ 869131 w 1254861"/>
              <a:gd name="connsiteY216" fmla="*/ 606567 h 931541"/>
              <a:gd name="connsiteX217" fmla="*/ 873453 w 1254861"/>
              <a:gd name="connsiteY217" fmla="*/ 614321 h 931541"/>
              <a:gd name="connsiteX218" fmla="*/ 867417 w 1254861"/>
              <a:gd name="connsiteY218" fmla="*/ 621708 h 931541"/>
              <a:gd name="connsiteX219" fmla="*/ 849932 w 1254861"/>
              <a:gd name="connsiteY219" fmla="*/ 634805 h 931541"/>
              <a:gd name="connsiteX220" fmla="*/ 819519 w 1254861"/>
              <a:gd name="connsiteY220" fmla="*/ 652484 h 931541"/>
              <a:gd name="connsiteX221" fmla="*/ 806592 w 1254861"/>
              <a:gd name="connsiteY221" fmla="*/ 666405 h 931541"/>
              <a:gd name="connsiteX222" fmla="*/ 803853 w 1254861"/>
              <a:gd name="connsiteY222" fmla="*/ 679796 h 931541"/>
              <a:gd name="connsiteX223" fmla="*/ 794946 w 1254861"/>
              <a:gd name="connsiteY223" fmla="*/ 685833 h 931541"/>
              <a:gd name="connsiteX224" fmla="*/ 791583 w 1254861"/>
              <a:gd name="connsiteY224" fmla="*/ 704533 h 931541"/>
              <a:gd name="connsiteX225" fmla="*/ 786174 w 1254861"/>
              <a:gd name="connsiteY225" fmla="*/ 716903 h 931541"/>
              <a:gd name="connsiteX226" fmla="*/ 785149 w 1254861"/>
              <a:gd name="connsiteY226" fmla="*/ 721093 h 931541"/>
              <a:gd name="connsiteX227" fmla="*/ 779411 w 1254861"/>
              <a:gd name="connsiteY227" fmla="*/ 730461 h 931541"/>
              <a:gd name="connsiteX228" fmla="*/ 778652 w 1254861"/>
              <a:gd name="connsiteY228" fmla="*/ 737290 h 931541"/>
              <a:gd name="connsiteX229" fmla="*/ 788054 w 1254861"/>
              <a:gd name="connsiteY229" fmla="*/ 746657 h 931541"/>
              <a:gd name="connsiteX230" fmla="*/ 783404 w 1254861"/>
              <a:gd name="connsiteY230" fmla="*/ 750716 h 931541"/>
              <a:gd name="connsiteX231" fmla="*/ 778753 w 1254861"/>
              <a:gd name="connsiteY231" fmla="*/ 752496 h 931541"/>
              <a:gd name="connsiteX232" fmla="*/ 768031 w 1254861"/>
              <a:gd name="connsiteY232" fmla="*/ 753583 h 931541"/>
              <a:gd name="connsiteX233" fmla="*/ 731977 w 1254861"/>
              <a:gd name="connsiteY233" fmla="*/ 754771 h 931541"/>
              <a:gd name="connsiteX234" fmla="*/ 702985 w 1254861"/>
              <a:gd name="connsiteY234" fmla="*/ 774992 h 931541"/>
              <a:gd name="connsiteX235" fmla="*/ 688503 w 1254861"/>
              <a:gd name="connsiteY235" fmla="*/ 792868 h 931541"/>
              <a:gd name="connsiteX236" fmla="*/ 675374 w 1254861"/>
              <a:gd name="connsiteY236" fmla="*/ 826019 h 931541"/>
              <a:gd name="connsiteX237" fmla="*/ 659444 w 1254861"/>
              <a:gd name="connsiteY237" fmla="*/ 845513 h 931541"/>
              <a:gd name="connsiteX238" fmla="*/ 652418 w 1254861"/>
              <a:gd name="connsiteY238" fmla="*/ 849111 h 931541"/>
              <a:gd name="connsiteX239" fmla="*/ 641499 w 1254861"/>
              <a:gd name="connsiteY239" fmla="*/ 840568 h 931541"/>
              <a:gd name="connsiteX240" fmla="*/ 627844 w 1254861"/>
              <a:gd name="connsiteY240" fmla="*/ 839248 h 931541"/>
              <a:gd name="connsiteX241" fmla="*/ 614615 w 1254861"/>
              <a:gd name="connsiteY241" fmla="*/ 842084 h 931541"/>
              <a:gd name="connsiteX242" fmla="*/ 607689 w 1254861"/>
              <a:gd name="connsiteY242" fmla="*/ 848879 h 931541"/>
              <a:gd name="connsiteX243" fmla="*/ 596871 w 1254861"/>
              <a:gd name="connsiteY243" fmla="*/ 852671 h 931541"/>
              <a:gd name="connsiteX244" fmla="*/ 586281 w 1254861"/>
              <a:gd name="connsiteY244" fmla="*/ 849405 h 931541"/>
              <a:gd name="connsiteX245" fmla="*/ 563390 w 1254861"/>
              <a:gd name="connsiteY245" fmla="*/ 847625 h 931541"/>
              <a:gd name="connsiteX246" fmla="*/ 553198 w 1254861"/>
              <a:gd name="connsiteY246" fmla="*/ 847954 h 931541"/>
              <a:gd name="connsiteX247" fmla="*/ 537265 w 1254861"/>
              <a:gd name="connsiteY247" fmla="*/ 853464 h 931541"/>
              <a:gd name="connsiteX248" fmla="*/ 523610 w 1254861"/>
              <a:gd name="connsiteY248" fmla="*/ 849804 h 931541"/>
              <a:gd name="connsiteX249" fmla="*/ 500553 w 1254861"/>
              <a:gd name="connsiteY249" fmla="*/ 847923 h 931541"/>
              <a:gd name="connsiteX250" fmla="*/ 450648 w 1254861"/>
              <a:gd name="connsiteY250" fmla="*/ 852307 h 931541"/>
              <a:gd name="connsiteX251" fmla="*/ 444345 w 1254861"/>
              <a:gd name="connsiteY251" fmla="*/ 854354 h 931541"/>
              <a:gd name="connsiteX252" fmla="*/ 438111 w 1254861"/>
              <a:gd name="connsiteY252" fmla="*/ 862534 h 931541"/>
              <a:gd name="connsiteX253" fmla="*/ 422213 w 1254861"/>
              <a:gd name="connsiteY253" fmla="*/ 876618 h 931541"/>
              <a:gd name="connsiteX254" fmla="*/ 398034 w 1254861"/>
              <a:gd name="connsiteY254" fmla="*/ 877113 h 931541"/>
              <a:gd name="connsiteX255" fmla="*/ 376165 w 1254861"/>
              <a:gd name="connsiteY255" fmla="*/ 886086 h 931541"/>
              <a:gd name="connsiteX256" fmla="*/ 370690 w 1254861"/>
              <a:gd name="connsiteY256" fmla="*/ 891824 h 931541"/>
              <a:gd name="connsiteX257" fmla="*/ 361519 w 1254861"/>
              <a:gd name="connsiteY257" fmla="*/ 907626 h 931541"/>
              <a:gd name="connsiteX258" fmla="*/ 358649 w 1254861"/>
              <a:gd name="connsiteY258" fmla="*/ 919137 h 931541"/>
              <a:gd name="connsiteX259" fmla="*/ 356737 w 1254861"/>
              <a:gd name="connsiteY259" fmla="*/ 919237 h 931541"/>
              <a:gd name="connsiteX260" fmla="*/ 354361 w 1254861"/>
              <a:gd name="connsiteY260" fmla="*/ 916398 h 931541"/>
              <a:gd name="connsiteX261" fmla="*/ 350999 w 1254861"/>
              <a:gd name="connsiteY261" fmla="*/ 917322 h 931541"/>
              <a:gd name="connsiteX262" fmla="*/ 349250 w 1254861"/>
              <a:gd name="connsiteY262" fmla="*/ 926098 h 931541"/>
              <a:gd name="connsiteX263" fmla="*/ 341036 w 1254861"/>
              <a:gd name="connsiteY263" fmla="*/ 930087 h 931541"/>
              <a:gd name="connsiteX264" fmla="*/ 334175 w 1254861"/>
              <a:gd name="connsiteY264" fmla="*/ 931541 h 931541"/>
              <a:gd name="connsiteX265" fmla="*/ 317251 w 1254861"/>
              <a:gd name="connsiteY265" fmla="*/ 924449 h 931541"/>
              <a:gd name="connsiteX266" fmla="*/ 303136 w 1254861"/>
              <a:gd name="connsiteY266" fmla="*/ 913793 h 931541"/>
              <a:gd name="connsiteX267" fmla="*/ 295746 w 1254861"/>
              <a:gd name="connsiteY267" fmla="*/ 913035 h 931541"/>
              <a:gd name="connsiteX268" fmla="*/ 283740 w 1254861"/>
              <a:gd name="connsiteY268" fmla="*/ 896409 h 931541"/>
              <a:gd name="connsiteX269" fmla="*/ 278563 w 1254861"/>
              <a:gd name="connsiteY269" fmla="*/ 885823 h 931541"/>
              <a:gd name="connsiteX270" fmla="*/ 274899 w 1254861"/>
              <a:gd name="connsiteY270" fmla="*/ 874343 h 931541"/>
              <a:gd name="connsiteX271" fmla="*/ 275657 w 1254861"/>
              <a:gd name="connsiteY271" fmla="*/ 869955 h 931541"/>
              <a:gd name="connsiteX272" fmla="*/ 274635 w 1254861"/>
              <a:gd name="connsiteY272" fmla="*/ 866295 h 931541"/>
              <a:gd name="connsiteX273" fmla="*/ 263983 w 1254861"/>
              <a:gd name="connsiteY273" fmla="*/ 861644 h 931541"/>
              <a:gd name="connsiteX274" fmla="*/ 261375 w 1254861"/>
              <a:gd name="connsiteY274" fmla="*/ 851088 h 931541"/>
              <a:gd name="connsiteX275" fmla="*/ 269160 w 1254861"/>
              <a:gd name="connsiteY275" fmla="*/ 837333 h 931541"/>
              <a:gd name="connsiteX276" fmla="*/ 275525 w 1254861"/>
              <a:gd name="connsiteY276" fmla="*/ 831495 h 931541"/>
              <a:gd name="connsiteX277" fmla="*/ 279484 w 1254861"/>
              <a:gd name="connsiteY277" fmla="*/ 829812 h 931541"/>
              <a:gd name="connsiteX278" fmla="*/ 269853 w 1254861"/>
              <a:gd name="connsiteY278" fmla="*/ 830407 h 931541"/>
              <a:gd name="connsiteX279" fmla="*/ 262892 w 1254861"/>
              <a:gd name="connsiteY279" fmla="*/ 839248 h 931541"/>
              <a:gd name="connsiteX280" fmla="*/ 253986 w 1254861"/>
              <a:gd name="connsiteY280" fmla="*/ 825064 h 931541"/>
              <a:gd name="connsiteX281" fmla="*/ 217669 w 1254861"/>
              <a:gd name="connsiteY281" fmla="*/ 797387 h 931541"/>
              <a:gd name="connsiteX282" fmla="*/ 220013 w 1254861"/>
              <a:gd name="connsiteY282" fmla="*/ 791022 h 931541"/>
              <a:gd name="connsiteX283" fmla="*/ 219615 w 1254861"/>
              <a:gd name="connsiteY283" fmla="*/ 787590 h 931541"/>
              <a:gd name="connsiteX284" fmla="*/ 213513 w 1254861"/>
              <a:gd name="connsiteY284" fmla="*/ 795012 h 931541"/>
              <a:gd name="connsiteX285" fmla="*/ 209357 w 1254861"/>
              <a:gd name="connsiteY285" fmla="*/ 796927 h 931541"/>
              <a:gd name="connsiteX286" fmla="*/ 190789 w 1254861"/>
              <a:gd name="connsiteY286" fmla="*/ 795739 h 931541"/>
              <a:gd name="connsiteX287" fmla="*/ 169411 w 1254861"/>
              <a:gd name="connsiteY287" fmla="*/ 799136 h 931541"/>
              <a:gd name="connsiteX288" fmla="*/ 163774 w 1254861"/>
              <a:gd name="connsiteY288" fmla="*/ 770306 h 931541"/>
              <a:gd name="connsiteX289" fmla="*/ 161100 w 1254861"/>
              <a:gd name="connsiteY289" fmla="*/ 759225 h 931541"/>
              <a:gd name="connsiteX290" fmla="*/ 160407 w 1254861"/>
              <a:gd name="connsiteY290" fmla="*/ 752032 h 931541"/>
              <a:gd name="connsiteX291" fmla="*/ 165917 w 1254861"/>
              <a:gd name="connsiteY291" fmla="*/ 735409 h 931541"/>
              <a:gd name="connsiteX292" fmla="*/ 171953 w 1254861"/>
              <a:gd name="connsiteY292" fmla="*/ 728615 h 931541"/>
              <a:gd name="connsiteX293" fmla="*/ 179967 w 1254861"/>
              <a:gd name="connsiteY293" fmla="*/ 714596 h 931541"/>
              <a:gd name="connsiteX294" fmla="*/ 189864 w 1254861"/>
              <a:gd name="connsiteY294" fmla="*/ 702919 h 931541"/>
              <a:gd name="connsiteX295" fmla="*/ 200319 w 1254861"/>
              <a:gd name="connsiteY295" fmla="*/ 700145 h 931541"/>
              <a:gd name="connsiteX296" fmla="*/ 204939 w 1254861"/>
              <a:gd name="connsiteY296" fmla="*/ 698431 h 931541"/>
              <a:gd name="connsiteX297" fmla="*/ 208796 w 1254861"/>
              <a:gd name="connsiteY297" fmla="*/ 689393 h 931541"/>
              <a:gd name="connsiteX298" fmla="*/ 210975 w 1254861"/>
              <a:gd name="connsiteY298" fmla="*/ 681677 h 931541"/>
              <a:gd name="connsiteX299" fmla="*/ 209392 w 1254861"/>
              <a:gd name="connsiteY299" fmla="*/ 680919 h 931541"/>
              <a:gd name="connsiteX300" fmla="*/ 197188 w 1254861"/>
              <a:gd name="connsiteY300" fmla="*/ 682501 h 931541"/>
              <a:gd name="connsiteX301" fmla="*/ 175285 w 1254861"/>
              <a:gd name="connsiteY301" fmla="*/ 650011 h 931541"/>
              <a:gd name="connsiteX302" fmla="*/ 175977 w 1254861"/>
              <a:gd name="connsiteY302" fmla="*/ 644830 h 931541"/>
              <a:gd name="connsiteX303" fmla="*/ 178713 w 1254861"/>
              <a:gd name="connsiteY303" fmla="*/ 637146 h 931541"/>
              <a:gd name="connsiteX304" fmla="*/ 180528 w 1254861"/>
              <a:gd name="connsiteY304" fmla="*/ 627415 h 931541"/>
              <a:gd name="connsiteX305" fmla="*/ 180988 w 1254861"/>
              <a:gd name="connsiteY305" fmla="*/ 619730 h 931541"/>
              <a:gd name="connsiteX306" fmla="*/ 186695 w 1254861"/>
              <a:gd name="connsiteY306" fmla="*/ 613099 h 931541"/>
              <a:gd name="connsiteX307" fmla="*/ 195440 w 1254861"/>
              <a:gd name="connsiteY307" fmla="*/ 606436 h 931541"/>
              <a:gd name="connsiteX308" fmla="*/ 202795 w 1254861"/>
              <a:gd name="connsiteY308" fmla="*/ 596937 h 931541"/>
              <a:gd name="connsiteX309" fmla="*/ 206487 w 1254861"/>
              <a:gd name="connsiteY309" fmla="*/ 587666 h 931541"/>
              <a:gd name="connsiteX310" fmla="*/ 207248 w 1254861"/>
              <a:gd name="connsiteY310" fmla="*/ 579223 h 931541"/>
              <a:gd name="connsiteX311" fmla="*/ 203089 w 1254861"/>
              <a:gd name="connsiteY311" fmla="*/ 573187 h 931541"/>
              <a:gd name="connsiteX312" fmla="*/ 191118 w 1254861"/>
              <a:gd name="connsiteY312" fmla="*/ 569856 h 931541"/>
              <a:gd name="connsiteX313" fmla="*/ 178748 w 1254861"/>
              <a:gd name="connsiteY313" fmla="*/ 545708 h 931541"/>
              <a:gd name="connsiteX314" fmla="*/ 176008 w 1254861"/>
              <a:gd name="connsiteY314" fmla="*/ 530571 h 931541"/>
              <a:gd name="connsiteX315" fmla="*/ 173470 w 1254861"/>
              <a:gd name="connsiteY315" fmla="*/ 528985 h 931541"/>
              <a:gd name="connsiteX316" fmla="*/ 165851 w 1254861"/>
              <a:gd name="connsiteY316" fmla="*/ 522094 h 931541"/>
              <a:gd name="connsiteX317" fmla="*/ 158527 w 1254861"/>
              <a:gd name="connsiteY317" fmla="*/ 509097 h 931541"/>
              <a:gd name="connsiteX318" fmla="*/ 157471 w 1254861"/>
              <a:gd name="connsiteY318" fmla="*/ 507050 h 931541"/>
              <a:gd name="connsiteX319" fmla="*/ 165027 w 1254861"/>
              <a:gd name="connsiteY319" fmla="*/ 504775 h 931541"/>
              <a:gd name="connsiteX320" fmla="*/ 196163 w 1254861"/>
              <a:gd name="connsiteY320" fmla="*/ 504675 h 931541"/>
              <a:gd name="connsiteX321" fmla="*/ 202663 w 1254861"/>
              <a:gd name="connsiteY321" fmla="*/ 501807 h 931541"/>
              <a:gd name="connsiteX322" fmla="*/ 203650 w 1254861"/>
              <a:gd name="connsiteY322" fmla="*/ 500817 h 931541"/>
              <a:gd name="connsiteX323" fmla="*/ 209326 w 1254861"/>
              <a:gd name="connsiteY323" fmla="*/ 490691 h 931541"/>
              <a:gd name="connsiteX324" fmla="*/ 215262 w 1254861"/>
              <a:gd name="connsiteY324" fmla="*/ 474034 h 931541"/>
              <a:gd name="connsiteX325" fmla="*/ 216647 w 1254861"/>
              <a:gd name="connsiteY325" fmla="*/ 463838 h 931541"/>
              <a:gd name="connsiteX326" fmla="*/ 214767 w 1254861"/>
              <a:gd name="connsiteY326" fmla="*/ 459617 h 931541"/>
              <a:gd name="connsiteX327" fmla="*/ 204443 w 1254861"/>
              <a:gd name="connsiteY327" fmla="*/ 449294 h 931541"/>
              <a:gd name="connsiteX328" fmla="*/ 203983 w 1254861"/>
              <a:gd name="connsiteY328" fmla="*/ 446260 h 931541"/>
              <a:gd name="connsiteX329" fmla="*/ 205631 w 1254861"/>
              <a:gd name="connsiteY329" fmla="*/ 441377 h 931541"/>
              <a:gd name="connsiteX330" fmla="*/ 211764 w 1254861"/>
              <a:gd name="connsiteY330" fmla="*/ 436165 h 931541"/>
              <a:gd name="connsiteX331" fmla="*/ 220044 w 1254861"/>
              <a:gd name="connsiteY331" fmla="*/ 430230 h 931541"/>
              <a:gd name="connsiteX332" fmla="*/ 224564 w 1254861"/>
              <a:gd name="connsiteY332" fmla="*/ 425115 h 931541"/>
              <a:gd name="connsiteX333" fmla="*/ 223476 w 1254861"/>
              <a:gd name="connsiteY333" fmla="*/ 421091 h 931541"/>
              <a:gd name="connsiteX334" fmla="*/ 221069 w 1254861"/>
              <a:gd name="connsiteY334" fmla="*/ 416901 h 931541"/>
              <a:gd name="connsiteX335" fmla="*/ 220671 w 1254861"/>
              <a:gd name="connsiteY335" fmla="*/ 412977 h 931541"/>
              <a:gd name="connsiteX336" fmla="*/ 222188 w 1254861"/>
              <a:gd name="connsiteY336" fmla="*/ 408160 h 931541"/>
              <a:gd name="connsiteX337" fmla="*/ 222749 w 1254861"/>
              <a:gd name="connsiteY337" fmla="*/ 391669 h 931541"/>
              <a:gd name="connsiteX338" fmla="*/ 223805 w 1254861"/>
              <a:gd name="connsiteY338" fmla="*/ 387448 h 931541"/>
              <a:gd name="connsiteX339" fmla="*/ 222188 w 1254861"/>
              <a:gd name="connsiteY339" fmla="*/ 372404 h 931541"/>
              <a:gd name="connsiteX340" fmla="*/ 220176 w 1254861"/>
              <a:gd name="connsiteY340" fmla="*/ 360100 h 931541"/>
              <a:gd name="connsiteX341" fmla="*/ 213614 w 1254861"/>
              <a:gd name="connsiteY341" fmla="*/ 344135 h 931541"/>
              <a:gd name="connsiteX342" fmla="*/ 214801 w 1254861"/>
              <a:gd name="connsiteY342" fmla="*/ 340607 h 931541"/>
              <a:gd name="connsiteX343" fmla="*/ 217835 w 1254861"/>
              <a:gd name="connsiteY343" fmla="*/ 337639 h 931541"/>
              <a:gd name="connsiteX344" fmla="*/ 227763 w 1254861"/>
              <a:gd name="connsiteY344" fmla="*/ 332098 h 931541"/>
              <a:gd name="connsiteX345" fmla="*/ 235680 w 1254861"/>
              <a:gd name="connsiteY345" fmla="*/ 319035 h 931541"/>
              <a:gd name="connsiteX346" fmla="*/ 247191 w 1254861"/>
              <a:gd name="connsiteY346" fmla="*/ 308082 h 931541"/>
              <a:gd name="connsiteX347" fmla="*/ 262265 w 1254861"/>
              <a:gd name="connsiteY347" fmla="*/ 299275 h 931541"/>
              <a:gd name="connsiteX348" fmla="*/ 272821 w 1254861"/>
              <a:gd name="connsiteY348" fmla="*/ 289478 h 931541"/>
              <a:gd name="connsiteX349" fmla="*/ 276977 w 1254861"/>
              <a:gd name="connsiteY349" fmla="*/ 281960 h 931541"/>
              <a:gd name="connsiteX350" fmla="*/ 279913 w 1254861"/>
              <a:gd name="connsiteY350" fmla="*/ 279979 h 931541"/>
              <a:gd name="connsiteX351" fmla="*/ 279058 w 1254861"/>
              <a:gd name="connsiteY351" fmla="*/ 276482 h 931541"/>
              <a:gd name="connsiteX352" fmla="*/ 277077 w 1254861"/>
              <a:gd name="connsiteY352" fmla="*/ 271405 h 931541"/>
              <a:gd name="connsiteX353" fmla="*/ 271072 w 1254861"/>
              <a:gd name="connsiteY353" fmla="*/ 266422 h 931541"/>
              <a:gd name="connsiteX354" fmla="*/ 263322 w 1254861"/>
              <a:gd name="connsiteY354" fmla="*/ 263585 h 931541"/>
              <a:gd name="connsiteX355" fmla="*/ 254713 w 1254861"/>
              <a:gd name="connsiteY355" fmla="*/ 263717 h 931541"/>
              <a:gd name="connsiteX356" fmla="*/ 249369 w 1254861"/>
              <a:gd name="connsiteY356" fmla="*/ 262695 h 931541"/>
              <a:gd name="connsiteX357" fmla="*/ 247818 w 1254861"/>
              <a:gd name="connsiteY357" fmla="*/ 258803 h 931541"/>
              <a:gd name="connsiteX358" fmla="*/ 248414 w 1254861"/>
              <a:gd name="connsiteY358" fmla="*/ 248248 h 931541"/>
              <a:gd name="connsiteX359" fmla="*/ 247949 w 1254861"/>
              <a:gd name="connsiteY359" fmla="*/ 237793 h 931541"/>
              <a:gd name="connsiteX360" fmla="*/ 246301 w 1254861"/>
              <a:gd name="connsiteY360" fmla="*/ 232976 h 931541"/>
              <a:gd name="connsiteX361" fmla="*/ 242312 w 1254861"/>
              <a:gd name="connsiteY361" fmla="*/ 229346 h 931541"/>
              <a:gd name="connsiteX362" fmla="*/ 234426 w 1254861"/>
              <a:gd name="connsiteY362" fmla="*/ 230306 h 931541"/>
              <a:gd name="connsiteX363" fmla="*/ 227601 w 1254861"/>
              <a:gd name="connsiteY363" fmla="*/ 227334 h 931541"/>
              <a:gd name="connsiteX364" fmla="*/ 222420 w 1254861"/>
              <a:gd name="connsiteY364" fmla="*/ 226642 h 931541"/>
              <a:gd name="connsiteX365" fmla="*/ 219418 w 1254861"/>
              <a:gd name="connsiteY365" fmla="*/ 228983 h 931541"/>
              <a:gd name="connsiteX366" fmla="*/ 204146 w 1254861"/>
              <a:gd name="connsiteY366" fmla="*/ 228290 h 931541"/>
              <a:gd name="connsiteX367" fmla="*/ 197781 w 1254861"/>
              <a:gd name="connsiteY367" fmla="*/ 226611 h 931541"/>
              <a:gd name="connsiteX368" fmla="*/ 193327 w 1254861"/>
              <a:gd name="connsiteY368" fmla="*/ 224529 h 931541"/>
              <a:gd name="connsiteX369" fmla="*/ 190491 w 1254861"/>
              <a:gd name="connsiteY369" fmla="*/ 225686 h 931541"/>
              <a:gd name="connsiteX370" fmla="*/ 188874 w 1254861"/>
              <a:gd name="connsiteY370" fmla="*/ 227733 h 931541"/>
              <a:gd name="connsiteX371" fmla="*/ 188610 w 1254861"/>
              <a:gd name="connsiteY371" fmla="*/ 230929 h 931541"/>
              <a:gd name="connsiteX372" fmla="*/ 187554 w 1254861"/>
              <a:gd name="connsiteY372" fmla="*/ 235154 h 931541"/>
              <a:gd name="connsiteX373" fmla="*/ 182079 w 1254861"/>
              <a:gd name="connsiteY373" fmla="*/ 238980 h 931541"/>
              <a:gd name="connsiteX374" fmla="*/ 169578 w 1254861"/>
              <a:gd name="connsiteY374" fmla="*/ 242773 h 931541"/>
              <a:gd name="connsiteX375" fmla="*/ 159483 w 1254861"/>
              <a:gd name="connsiteY375" fmla="*/ 242475 h 931541"/>
              <a:gd name="connsiteX376" fmla="*/ 150216 w 1254861"/>
              <a:gd name="connsiteY376" fmla="*/ 239770 h 931541"/>
              <a:gd name="connsiteX377" fmla="*/ 147248 w 1254861"/>
              <a:gd name="connsiteY377" fmla="*/ 237758 h 931541"/>
              <a:gd name="connsiteX378" fmla="*/ 142794 w 1254861"/>
              <a:gd name="connsiteY378" fmla="*/ 235978 h 931541"/>
              <a:gd name="connsiteX379" fmla="*/ 123959 w 1254861"/>
              <a:gd name="connsiteY379" fmla="*/ 238187 h 931541"/>
              <a:gd name="connsiteX380" fmla="*/ 121684 w 1254861"/>
              <a:gd name="connsiteY380" fmla="*/ 236570 h 931541"/>
              <a:gd name="connsiteX381" fmla="*/ 115184 w 1254861"/>
              <a:gd name="connsiteY381" fmla="*/ 240497 h 931541"/>
              <a:gd name="connsiteX382" fmla="*/ 105619 w 1254861"/>
              <a:gd name="connsiteY382" fmla="*/ 245179 h 931541"/>
              <a:gd name="connsiteX383" fmla="*/ 100241 w 1254861"/>
              <a:gd name="connsiteY383" fmla="*/ 245443 h 931541"/>
              <a:gd name="connsiteX384" fmla="*/ 98295 w 1254861"/>
              <a:gd name="connsiteY384" fmla="*/ 244456 h 931541"/>
              <a:gd name="connsiteX385" fmla="*/ 97602 w 1254861"/>
              <a:gd name="connsiteY385" fmla="*/ 242378 h 931541"/>
              <a:gd name="connsiteX386" fmla="*/ 93578 w 1254861"/>
              <a:gd name="connsiteY386" fmla="*/ 235088 h 931541"/>
              <a:gd name="connsiteX387" fmla="*/ 94634 w 1254861"/>
              <a:gd name="connsiteY387" fmla="*/ 231227 h 931541"/>
              <a:gd name="connsiteX388" fmla="*/ 102353 w 1254861"/>
              <a:gd name="connsiteY388" fmla="*/ 219913 h 931541"/>
              <a:gd name="connsiteX389" fmla="*/ 101494 w 1254861"/>
              <a:gd name="connsiteY389" fmla="*/ 217208 h 931541"/>
              <a:gd name="connsiteX390" fmla="*/ 98329 w 1254861"/>
              <a:gd name="connsiteY390" fmla="*/ 213548 h 931541"/>
              <a:gd name="connsiteX391" fmla="*/ 95493 w 1254861"/>
              <a:gd name="connsiteY391" fmla="*/ 208270 h 931541"/>
              <a:gd name="connsiteX392" fmla="*/ 94669 w 1254861"/>
              <a:gd name="connsiteY392" fmla="*/ 205531 h 931541"/>
              <a:gd name="connsiteX393" fmla="*/ 89751 w 1254861"/>
              <a:gd name="connsiteY393" fmla="*/ 205070 h 931541"/>
              <a:gd name="connsiteX394" fmla="*/ 84508 w 1254861"/>
              <a:gd name="connsiteY394" fmla="*/ 207841 h 931541"/>
              <a:gd name="connsiteX395" fmla="*/ 64551 w 1254861"/>
              <a:gd name="connsiteY395" fmla="*/ 213548 h 931541"/>
              <a:gd name="connsiteX396" fmla="*/ 59768 w 1254861"/>
              <a:gd name="connsiteY396" fmla="*/ 215626 h 931541"/>
              <a:gd name="connsiteX397" fmla="*/ 51128 w 1254861"/>
              <a:gd name="connsiteY397" fmla="*/ 221101 h 931541"/>
              <a:gd name="connsiteX398" fmla="*/ 42384 w 1254861"/>
              <a:gd name="connsiteY398" fmla="*/ 229478 h 931541"/>
              <a:gd name="connsiteX399" fmla="*/ 35427 w 1254861"/>
              <a:gd name="connsiteY399" fmla="*/ 231227 h 931541"/>
              <a:gd name="connsiteX400" fmla="*/ 33016 w 1254861"/>
              <a:gd name="connsiteY400" fmla="*/ 228754 h 931541"/>
              <a:gd name="connsiteX401" fmla="*/ 32192 w 1254861"/>
              <a:gd name="connsiteY401" fmla="*/ 209095 h 931541"/>
              <a:gd name="connsiteX402" fmla="*/ 42813 w 1254861"/>
              <a:gd name="connsiteY402" fmla="*/ 195997 h 931541"/>
              <a:gd name="connsiteX403" fmla="*/ 50370 w 1254861"/>
              <a:gd name="connsiteY403" fmla="*/ 188084 h 931541"/>
              <a:gd name="connsiteX404" fmla="*/ 46837 w 1254861"/>
              <a:gd name="connsiteY404" fmla="*/ 186467 h 931541"/>
              <a:gd name="connsiteX405" fmla="*/ 38824 w 1254861"/>
              <a:gd name="connsiteY405" fmla="*/ 186699 h 931541"/>
              <a:gd name="connsiteX406" fmla="*/ 39385 w 1254861"/>
              <a:gd name="connsiteY406" fmla="*/ 180563 h 931541"/>
              <a:gd name="connsiteX407" fmla="*/ 43146 w 1254861"/>
              <a:gd name="connsiteY407" fmla="*/ 177595 h 931541"/>
              <a:gd name="connsiteX408" fmla="*/ 46771 w 1254861"/>
              <a:gd name="connsiteY408" fmla="*/ 170897 h 931541"/>
              <a:gd name="connsiteX409" fmla="*/ 42519 w 1254861"/>
              <a:gd name="connsiteY409" fmla="*/ 168026 h 931541"/>
              <a:gd name="connsiteX410" fmla="*/ 39187 w 1254861"/>
              <a:gd name="connsiteY410" fmla="*/ 163608 h 931541"/>
              <a:gd name="connsiteX411" fmla="*/ 39385 w 1254861"/>
              <a:gd name="connsiteY411" fmla="*/ 152062 h 931541"/>
              <a:gd name="connsiteX412" fmla="*/ 40309 w 1254861"/>
              <a:gd name="connsiteY412" fmla="*/ 147380 h 931541"/>
              <a:gd name="connsiteX413" fmla="*/ 39219 w 1254861"/>
              <a:gd name="connsiteY413" fmla="*/ 142300 h 931541"/>
              <a:gd name="connsiteX414" fmla="*/ 22890 w 1254861"/>
              <a:gd name="connsiteY414" fmla="*/ 149160 h 931541"/>
              <a:gd name="connsiteX415" fmla="*/ 18704 w 1254861"/>
              <a:gd name="connsiteY415" fmla="*/ 148138 h 931541"/>
              <a:gd name="connsiteX416" fmla="*/ 18537 w 1254861"/>
              <a:gd name="connsiteY416" fmla="*/ 139560 h 931541"/>
              <a:gd name="connsiteX417" fmla="*/ 27576 w 1254861"/>
              <a:gd name="connsiteY417" fmla="*/ 126467 h 931541"/>
              <a:gd name="connsiteX418" fmla="*/ 28501 w 1254861"/>
              <a:gd name="connsiteY418" fmla="*/ 122443 h 931541"/>
              <a:gd name="connsiteX419" fmla="*/ 17911 w 1254861"/>
              <a:gd name="connsiteY419" fmla="*/ 120496 h 931541"/>
              <a:gd name="connsiteX420" fmla="*/ 9994 w 1254861"/>
              <a:gd name="connsiteY420" fmla="*/ 114062 h 931541"/>
              <a:gd name="connsiteX421" fmla="*/ 5177 w 1254861"/>
              <a:gd name="connsiteY421" fmla="*/ 108289 h 931541"/>
              <a:gd name="connsiteX422" fmla="*/ 31 w 1254861"/>
              <a:gd name="connsiteY422" fmla="*/ 100013 h 931541"/>
              <a:gd name="connsiteX423" fmla="*/ 0 w 1254861"/>
              <a:gd name="connsiteY423" fmla="*/ 92557 h 931541"/>
              <a:gd name="connsiteX424" fmla="*/ 5343 w 1254861"/>
              <a:gd name="connsiteY424" fmla="*/ 75106 h 931541"/>
              <a:gd name="connsiteX425" fmla="*/ 12962 w 1254861"/>
              <a:gd name="connsiteY425" fmla="*/ 70026 h 931541"/>
              <a:gd name="connsiteX426" fmla="*/ 19559 w 1254861"/>
              <a:gd name="connsiteY426" fmla="*/ 66896 h 931541"/>
              <a:gd name="connsiteX427" fmla="*/ 33512 w 1254861"/>
              <a:gd name="connsiteY427" fmla="*/ 54789 h 931541"/>
              <a:gd name="connsiteX428" fmla="*/ 52742 w 1254861"/>
              <a:gd name="connsiteY428" fmla="*/ 57033 h 931541"/>
              <a:gd name="connsiteX429" fmla="*/ 64651 w 1254861"/>
              <a:gd name="connsiteY429" fmla="*/ 54425 h 931541"/>
              <a:gd name="connsiteX430" fmla="*/ 75338 w 1254861"/>
              <a:gd name="connsiteY430" fmla="*/ 48226 h 931541"/>
              <a:gd name="connsiteX431" fmla="*/ 81475 w 1254861"/>
              <a:gd name="connsiteY431" fmla="*/ 46838 h 931541"/>
              <a:gd name="connsiteX432" fmla="*/ 91337 w 1254861"/>
              <a:gd name="connsiteY432" fmla="*/ 41428 h 931541"/>
              <a:gd name="connsiteX433" fmla="*/ 91005 w 1254861"/>
              <a:gd name="connsiteY433" fmla="*/ 34108 h 931541"/>
              <a:gd name="connsiteX434" fmla="*/ 87608 w 1254861"/>
              <a:gd name="connsiteY434" fmla="*/ 28664 h 931541"/>
              <a:gd name="connsiteX435" fmla="*/ 90575 w 1254861"/>
              <a:gd name="connsiteY435" fmla="*/ 23552 h 931541"/>
              <a:gd name="connsiteX436" fmla="*/ 101629 w 1254861"/>
              <a:gd name="connsiteY436" fmla="*/ 17284 h 931541"/>
              <a:gd name="connsiteX437" fmla="*/ 113899 w 1254861"/>
              <a:gd name="connsiteY437" fmla="*/ 8973 h 931541"/>
              <a:gd name="connsiteX438" fmla="*/ 127983 w 1254861"/>
              <a:gd name="connsiteY438" fmla="*/ 7356 h 931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</a:cxnLst>
            <a:rect l="l" t="t" r="r" b="b"/>
            <a:pathLst>
              <a:path w="1254861" h="931541">
                <a:moveTo>
                  <a:pt x="987712" y="613164"/>
                </a:moveTo>
                <a:lnTo>
                  <a:pt x="993322" y="619827"/>
                </a:lnTo>
                <a:lnTo>
                  <a:pt x="1002195" y="621081"/>
                </a:lnTo>
                <a:lnTo>
                  <a:pt x="1002295" y="624544"/>
                </a:lnTo>
                <a:lnTo>
                  <a:pt x="1000214" y="626095"/>
                </a:lnTo>
                <a:lnTo>
                  <a:pt x="994081" y="624675"/>
                </a:lnTo>
                <a:lnTo>
                  <a:pt x="984876" y="624675"/>
                </a:lnTo>
                <a:lnTo>
                  <a:pt x="984516" y="619893"/>
                </a:lnTo>
                <a:lnTo>
                  <a:pt x="985932" y="616562"/>
                </a:lnTo>
                <a:close/>
                <a:moveTo>
                  <a:pt x="999556" y="571338"/>
                </a:moveTo>
                <a:lnTo>
                  <a:pt x="1004075" y="575365"/>
                </a:lnTo>
                <a:lnTo>
                  <a:pt x="1005031" y="581135"/>
                </a:lnTo>
                <a:lnTo>
                  <a:pt x="993090" y="593737"/>
                </a:lnTo>
                <a:lnTo>
                  <a:pt x="988505" y="595354"/>
                </a:lnTo>
                <a:lnTo>
                  <a:pt x="985143" y="602644"/>
                </a:lnTo>
                <a:lnTo>
                  <a:pt x="971059" y="600071"/>
                </a:lnTo>
                <a:lnTo>
                  <a:pt x="967956" y="597134"/>
                </a:lnTo>
                <a:lnTo>
                  <a:pt x="970989" y="588888"/>
                </a:lnTo>
                <a:lnTo>
                  <a:pt x="975048" y="587898"/>
                </a:lnTo>
                <a:lnTo>
                  <a:pt x="975311" y="582028"/>
                </a:lnTo>
                <a:lnTo>
                  <a:pt x="979567" y="576124"/>
                </a:lnTo>
                <a:close/>
                <a:moveTo>
                  <a:pt x="1147199" y="469746"/>
                </a:moveTo>
                <a:lnTo>
                  <a:pt x="1150793" y="470865"/>
                </a:lnTo>
                <a:lnTo>
                  <a:pt x="1147725" y="475287"/>
                </a:lnTo>
                <a:lnTo>
                  <a:pt x="1147957" y="477299"/>
                </a:lnTo>
                <a:lnTo>
                  <a:pt x="1150894" y="479443"/>
                </a:lnTo>
                <a:lnTo>
                  <a:pt x="1150201" y="482871"/>
                </a:lnTo>
                <a:lnTo>
                  <a:pt x="1147230" y="485843"/>
                </a:lnTo>
                <a:lnTo>
                  <a:pt x="1145914" y="491449"/>
                </a:lnTo>
                <a:lnTo>
                  <a:pt x="1154786" y="495439"/>
                </a:lnTo>
                <a:lnTo>
                  <a:pt x="1164154" y="491844"/>
                </a:lnTo>
                <a:lnTo>
                  <a:pt x="1169134" y="492966"/>
                </a:lnTo>
                <a:lnTo>
                  <a:pt x="1174048" y="494912"/>
                </a:lnTo>
                <a:lnTo>
                  <a:pt x="1175235" y="502500"/>
                </a:lnTo>
                <a:lnTo>
                  <a:pt x="1170882" y="510943"/>
                </a:lnTo>
                <a:lnTo>
                  <a:pt x="1164781" y="519521"/>
                </a:lnTo>
                <a:lnTo>
                  <a:pt x="1159635" y="528919"/>
                </a:lnTo>
                <a:lnTo>
                  <a:pt x="1155150" y="539707"/>
                </a:lnTo>
                <a:lnTo>
                  <a:pt x="1146801" y="546072"/>
                </a:lnTo>
                <a:lnTo>
                  <a:pt x="1139251" y="549898"/>
                </a:lnTo>
                <a:lnTo>
                  <a:pt x="1123283" y="541885"/>
                </a:lnTo>
                <a:lnTo>
                  <a:pt x="1113981" y="539873"/>
                </a:lnTo>
                <a:lnTo>
                  <a:pt x="1111211" y="536870"/>
                </a:lnTo>
                <a:lnTo>
                  <a:pt x="1109001" y="524930"/>
                </a:lnTo>
                <a:lnTo>
                  <a:pt x="1104811" y="521134"/>
                </a:lnTo>
                <a:lnTo>
                  <a:pt x="1098643" y="519455"/>
                </a:lnTo>
                <a:lnTo>
                  <a:pt x="1093234" y="522523"/>
                </a:lnTo>
                <a:lnTo>
                  <a:pt x="1086177" y="528822"/>
                </a:lnTo>
                <a:lnTo>
                  <a:pt x="1082416" y="522523"/>
                </a:lnTo>
                <a:lnTo>
                  <a:pt x="1076445" y="521335"/>
                </a:lnTo>
                <a:lnTo>
                  <a:pt x="1074201" y="517540"/>
                </a:lnTo>
                <a:lnTo>
                  <a:pt x="1074302" y="512657"/>
                </a:lnTo>
                <a:lnTo>
                  <a:pt x="1112596" y="483664"/>
                </a:lnTo>
                <a:lnTo>
                  <a:pt x="1123681" y="477233"/>
                </a:lnTo>
                <a:close/>
                <a:moveTo>
                  <a:pt x="1230551" y="457210"/>
                </a:moveTo>
                <a:lnTo>
                  <a:pt x="1245957" y="462356"/>
                </a:lnTo>
                <a:lnTo>
                  <a:pt x="1254238" y="476208"/>
                </a:lnTo>
                <a:lnTo>
                  <a:pt x="1254861" y="478584"/>
                </a:lnTo>
                <a:lnTo>
                  <a:pt x="1252226" y="485247"/>
                </a:lnTo>
                <a:lnTo>
                  <a:pt x="1250543" y="486632"/>
                </a:lnTo>
                <a:lnTo>
                  <a:pt x="1222077" y="472745"/>
                </a:lnTo>
                <a:lnTo>
                  <a:pt x="1212771" y="471197"/>
                </a:lnTo>
                <a:lnTo>
                  <a:pt x="1210496" y="469085"/>
                </a:lnTo>
                <a:lnTo>
                  <a:pt x="1210763" y="461861"/>
                </a:lnTo>
                <a:lnTo>
                  <a:pt x="1211487" y="458661"/>
                </a:lnTo>
                <a:close/>
                <a:moveTo>
                  <a:pt x="142299" y="0"/>
                </a:moveTo>
                <a:lnTo>
                  <a:pt x="151899" y="4748"/>
                </a:lnTo>
                <a:lnTo>
                  <a:pt x="160307" y="3134"/>
                </a:lnTo>
                <a:lnTo>
                  <a:pt x="169972" y="8776"/>
                </a:lnTo>
                <a:lnTo>
                  <a:pt x="182675" y="21672"/>
                </a:lnTo>
                <a:lnTo>
                  <a:pt x="201278" y="26849"/>
                </a:lnTo>
                <a:lnTo>
                  <a:pt x="216121" y="22794"/>
                </a:lnTo>
                <a:lnTo>
                  <a:pt x="242343" y="21935"/>
                </a:lnTo>
                <a:lnTo>
                  <a:pt x="255440" y="23649"/>
                </a:lnTo>
                <a:lnTo>
                  <a:pt x="278725" y="20449"/>
                </a:lnTo>
                <a:lnTo>
                  <a:pt x="292051" y="21606"/>
                </a:lnTo>
                <a:lnTo>
                  <a:pt x="313657" y="15206"/>
                </a:lnTo>
                <a:lnTo>
                  <a:pt x="330380" y="23189"/>
                </a:lnTo>
                <a:lnTo>
                  <a:pt x="362808" y="26915"/>
                </a:lnTo>
                <a:lnTo>
                  <a:pt x="382267" y="33446"/>
                </a:lnTo>
                <a:lnTo>
                  <a:pt x="436165" y="44396"/>
                </a:lnTo>
                <a:lnTo>
                  <a:pt x="455627" y="44531"/>
                </a:lnTo>
                <a:lnTo>
                  <a:pt x="483169" y="38364"/>
                </a:lnTo>
                <a:lnTo>
                  <a:pt x="494846" y="33744"/>
                </a:lnTo>
                <a:lnTo>
                  <a:pt x="505533" y="36483"/>
                </a:lnTo>
                <a:lnTo>
                  <a:pt x="521203" y="31171"/>
                </a:lnTo>
                <a:lnTo>
                  <a:pt x="528722" y="32258"/>
                </a:lnTo>
                <a:lnTo>
                  <a:pt x="538519" y="39815"/>
                </a:lnTo>
                <a:lnTo>
                  <a:pt x="572990" y="50006"/>
                </a:lnTo>
                <a:lnTo>
                  <a:pt x="582028" y="41363"/>
                </a:lnTo>
                <a:lnTo>
                  <a:pt x="588757" y="39482"/>
                </a:lnTo>
                <a:lnTo>
                  <a:pt x="613559" y="44760"/>
                </a:lnTo>
                <a:lnTo>
                  <a:pt x="638562" y="55513"/>
                </a:lnTo>
                <a:lnTo>
                  <a:pt x="651559" y="56274"/>
                </a:lnTo>
                <a:lnTo>
                  <a:pt x="670561" y="53338"/>
                </a:lnTo>
                <a:lnTo>
                  <a:pt x="685635" y="46277"/>
                </a:lnTo>
                <a:lnTo>
                  <a:pt x="688669" y="45158"/>
                </a:lnTo>
                <a:lnTo>
                  <a:pt x="688800" y="49577"/>
                </a:lnTo>
                <a:lnTo>
                  <a:pt x="692430" y="55644"/>
                </a:lnTo>
                <a:lnTo>
                  <a:pt x="696191" y="57888"/>
                </a:lnTo>
                <a:lnTo>
                  <a:pt x="704107" y="60991"/>
                </a:lnTo>
                <a:lnTo>
                  <a:pt x="710209" y="61421"/>
                </a:lnTo>
                <a:lnTo>
                  <a:pt x="718520" y="62872"/>
                </a:lnTo>
                <a:lnTo>
                  <a:pt x="724161" y="66366"/>
                </a:lnTo>
                <a:lnTo>
                  <a:pt x="724491" y="71810"/>
                </a:lnTo>
                <a:lnTo>
                  <a:pt x="723074" y="77877"/>
                </a:lnTo>
                <a:lnTo>
                  <a:pt x="719642" y="83452"/>
                </a:lnTo>
                <a:lnTo>
                  <a:pt x="717696" y="87708"/>
                </a:lnTo>
                <a:lnTo>
                  <a:pt x="719511" y="90150"/>
                </a:lnTo>
                <a:lnTo>
                  <a:pt x="722478" y="92061"/>
                </a:lnTo>
                <a:lnTo>
                  <a:pt x="725678" y="92588"/>
                </a:lnTo>
                <a:lnTo>
                  <a:pt x="727857" y="91964"/>
                </a:lnTo>
                <a:lnTo>
                  <a:pt x="729505" y="88598"/>
                </a:lnTo>
                <a:lnTo>
                  <a:pt x="732639" y="84477"/>
                </a:lnTo>
                <a:lnTo>
                  <a:pt x="734384" y="83948"/>
                </a:lnTo>
                <a:lnTo>
                  <a:pt x="734253" y="86289"/>
                </a:lnTo>
                <a:lnTo>
                  <a:pt x="735738" y="89191"/>
                </a:lnTo>
                <a:lnTo>
                  <a:pt x="745930" y="94042"/>
                </a:lnTo>
                <a:lnTo>
                  <a:pt x="768294" y="103081"/>
                </a:lnTo>
                <a:lnTo>
                  <a:pt x="777070" y="103244"/>
                </a:lnTo>
                <a:lnTo>
                  <a:pt x="784162" y="104300"/>
                </a:lnTo>
                <a:lnTo>
                  <a:pt x="786240" y="108092"/>
                </a:lnTo>
                <a:lnTo>
                  <a:pt x="800490" y="122013"/>
                </a:lnTo>
                <a:lnTo>
                  <a:pt x="803887" y="121650"/>
                </a:lnTo>
                <a:lnTo>
                  <a:pt x="810221" y="121979"/>
                </a:lnTo>
                <a:lnTo>
                  <a:pt x="817871" y="120860"/>
                </a:lnTo>
                <a:lnTo>
                  <a:pt x="823415" y="118252"/>
                </a:lnTo>
                <a:lnTo>
                  <a:pt x="827041" y="118682"/>
                </a:lnTo>
                <a:lnTo>
                  <a:pt x="831065" y="121386"/>
                </a:lnTo>
                <a:lnTo>
                  <a:pt x="835751" y="123727"/>
                </a:lnTo>
                <a:lnTo>
                  <a:pt x="841821" y="128312"/>
                </a:lnTo>
                <a:lnTo>
                  <a:pt x="847227" y="133954"/>
                </a:lnTo>
                <a:lnTo>
                  <a:pt x="850957" y="135800"/>
                </a:lnTo>
                <a:lnTo>
                  <a:pt x="873418" y="132007"/>
                </a:lnTo>
                <a:lnTo>
                  <a:pt x="878433" y="135339"/>
                </a:lnTo>
                <a:lnTo>
                  <a:pt x="883745" y="135304"/>
                </a:lnTo>
                <a:lnTo>
                  <a:pt x="889715" y="134449"/>
                </a:lnTo>
                <a:lnTo>
                  <a:pt x="902712" y="136198"/>
                </a:lnTo>
                <a:lnTo>
                  <a:pt x="913267" y="135768"/>
                </a:lnTo>
                <a:lnTo>
                  <a:pt x="914223" y="134383"/>
                </a:lnTo>
                <a:lnTo>
                  <a:pt x="915113" y="121847"/>
                </a:lnTo>
                <a:lnTo>
                  <a:pt x="916796" y="117394"/>
                </a:lnTo>
                <a:lnTo>
                  <a:pt x="919303" y="116206"/>
                </a:lnTo>
                <a:lnTo>
                  <a:pt x="925537" y="117099"/>
                </a:lnTo>
                <a:lnTo>
                  <a:pt x="948265" y="124520"/>
                </a:lnTo>
                <a:lnTo>
                  <a:pt x="957632" y="129171"/>
                </a:lnTo>
                <a:lnTo>
                  <a:pt x="966636" y="132801"/>
                </a:lnTo>
                <a:lnTo>
                  <a:pt x="974487" y="133195"/>
                </a:lnTo>
                <a:lnTo>
                  <a:pt x="979699" y="135637"/>
                </a:lnTo>
                <a:lnTo>
                  <a:pt x="986988" y="147511"/>
                </a:lnTo>
                <a:lnTo>
                  <a:pt x="985735" y="153482"/>
                </a:lnTo>
                <a:lnTo>
                  <a:pt x="986396" y="155691"/>
                </a:lnTo>
                <a:lnTo>
                  <a:pt x="987155" y="159816"/>
                </a:lnTo>
                <a:lnTo>
                  <a:pt x="986957" y="164397"/>
                </a:lnTo>
                <a:lnTo>
                  <a:pt x="988869" y="167400"/>
                </a:lnTo>
                <a:lnTo>
                  <a:pt x="992332" y="167763"/>
                </a:lnTo>
                <a:lnTo>
                  <a:pt x="996751" y="166873"/>
                </a:lnTo>
                <a:lnTo>
                  <a:pt x="1001602" y="165093"/>
                </a:lnTo>
                <a:lnTo>
                  <a:pt x="1010111" y="160013"/>
                </a:lnTo>
                <a:lnTo>
                  <a:pt x="1012649" y="159189"/>
                </a:lnTo>
                <a:lnTo>
                  <a:pt x="1026900" y="164958"/>
                </a:lnTo>
                <a:lnTo>
                  <a:pt x="1033199" y="168819"/>
                </a:lnTo>
                <a:lnTo>
                  <a:pt x="1035377" y="173010"/>
                </a:lnTo>
                <a:lnTo>
                  <a:pt x="1038643" y="177297"/>
                </a:lnTo>
                <a:lnTo>
                  <a:pt x="1042899" y="177924"/>
                </a:lnTo>
                <a:lnTo>
                  <a:pt x="1048970" y="173865"/>
                </a:lnTo>
                <a:lnTo>
                  <a:pt x="1058434" y="169512"/>
                </a:lnTo>
                <a:lnTo>
                  <a:pt x="1074531" y="173339"/>
                </a:lnTo>
                <a:lnTo>
                  <a:pt x="1092441" y="178880"/>
                </a:lnTo>
                <a:lnTo>
                  <a:pt x="1100195" y="179541"/>
                </a:lnTo>
                <a:lnTo>
                  <a:pt x="1100458" y="176833"/>
                </a:lnTo>
                <a:lnTo>
                  <a:pt x="1101875" y="172975"/>
                </a:lnTo>
                <a:lnTo>
                  <a:pt x="1104811" y="171029"/>
                </a:lnTo>
                <a:lnTo>
                  <a:pt x="1109233" y="170468"/>
                </a:lnTo>
                <a:lnTo>
                  <a:pt x="1115367" y="168425"/>
                </a:lnTo>
                <a:lnTo>
                  <a:pt x="1122358" y="165059"/>
                </a:lnTo>
                <a:lnTo>
                  <a:pt x="1129651" y="163673"/>
                </a:lnTo>
                <a:lnTo>
                  <a:pt x="1137270" y="166181"/>
                </a:lnTo>
                <a:lnTo>
                  <a:pt x="1146471" y="168227"/>
                </a:lnTo>
                <a:lnTo>
                  <a:pt x="1151981" y="168193"/>
                </a:lnTo>
                <a:lnTo>
                  <a:pt x="1154620" y="176109"/>
                </a:lnTo>
                <a:lnTo>
                  <a:pt x="1159073" y="179112"/>
                </a:lnTo>
                <a:lnTo>
                  <a:pt x="1160822" y="185972"/>
                </a:lnTo>
                <a:lnTo>
                  <a:pt x="1152639" y="189535"/>
                </a:lnTo>
                <a:lnTo>
                  <a:pt x="1147825" y="190027"/>
                </a:lnTo>
                <a:lnTo>
                  <a:pt x="1146340" y="201739"/>
                </a:lnTo>
                <a:lnTo>
                  <a:pt x="1148650" y="205036"/>
                </a:lnTo>
                <a:lnTo>
                  <a:pt x="1153235" y="208139"/>
                </a:lnTo>
                <a:lnTo>
                  <a:pt x="1154488" y="211733"/>
                </a:lnTo>
                <a:lnTo>
                  <a:pt x="1155413" y="228886"/>
                </a:lnTo>
                <a:lnTo>
                  <a:pt x="1146045" y="239209"/>
                </a:lnTo>
                <a:lnTo>
                  <a:pt x="1132917" y="250789"/>
                </a:lnTo>
                <a:lnTo>
                  <a:pt x="1068661" y="287896"/>
                </a:lnTo>
                <a:lnTo>
                  <a:pt x="1053354" y="305807"/>
                </a:lnTo>
                <a:lnTo>
                  <a:pt x="1047515" y="309931"/>
                </a:lnTo>
                <a:lnTo>
                  <a:pt x="999753" y="321179"/>
                </a:lnTo>
                <a:lnTo>
                  <a:pt x="966373" y="333185"/>
                </a:lnTo>
                <a:lnTo>
                  <a:pt x="950374" y="337538"/>
                </a:lnTo>
                <a:lnTo>
                  <a:pt x="930385" y="358351"/>
                </a:lnTo>
                <a:lnTo>
                  <a:pt x="920917" y="366732"/>
                </a:lnTo>
                <a:lnTo>
                  <a:pt x="928473" y="369042"/>
                </a:lnTo>
                <a:lnTo>
                  <a:pt x="937280" y="378970"/>
                </a:lnTo>
                <a:lnTo>
                  <a:pt x="934312" y="383354"/>
                </a:lnTo>
                <a:lnTo>
                  <a:pt x="921478" y="390152"/>
                </a:lnTo>
                <a:lnTo>
                  <a:pt x="915871" y="392230"/>
                </a:lnTo>
                <a:lnTo>
                  <a:pt x="912838" y="391139"/>
                </a:lnTo>
                <a:lnTo>
                  <a:pt x="909967" y="392064"/>
                </a:lnTo>
                <a:lnTo>
                  <a:pt x="888462" y="427854"/>
                </a:lnTo>
                <a:lnTo>
                  <a:pt x="869460" y="453515"/>
                </a:lnTo>
                <a:lnTo>
                  <a:pt x="858773" y="464666"/>
                </a:lnTo>
                <a:lnTo>
                  <a:pt x="847823" y="481258"/>
                </a:lnTo>
                <a:lnTo>
                  <a:pt x="824503" y="523908"/>
                </a:lnTo>
                <a:lnTo>
                  <a:pt x="824337" y="536178"/>
                </a:lnTo>
                <a:lnTo>
                  <a:pt x="835817" y="578364"/>
                </a:lnTo>
                <a:lnTo>
                  <a:pt x="842414" y="589415"/>
                </a:lnTo>
                <a:lnTo>
                  <a:pt x="851650" y="598685"/>
                </a:lnTo>
                <a:lnTo>
                  <a:pt x="869131" y="606567"/>
                </a:lnTo>
                <a:lnTo>
                  <a:pt x="873453" y="614321"/>
                </a:lnTo>
                <a:lnTo>
                  <a:pt x="867417" y="621708"/>
                </a:lnTo>
                <a:lnTo>
                  <a:pt x="849932" y="634805"/>
                </a:lnTo>
                <a:lnTo>
                  <a:pt x="819519" y="652484"/>
                </a:lnTo>
                <a:lnTo>
                  <a:pt x="806592" y="666405"/>
                </a:lnTo>
                <a:lnTo>
                  <a:pt x="803853" y="679796"/>
                </a:lnTo>
                <a:lnTo>
                  <a:pt x="794946" y="685833"/>
                </a:lnTo>
                <a:lnTo>
                  <a:pt x="791583" y="704533"/>
                </a:lnTo>
                <a:lnTo>
                  <a:pt x="786174" y="716903"/>
                </a:lnTo>
                <a:lnTo>
                  <a:pt x="785149" y="721093"/>
                </a:lnTo>
                <a:lnTo>
                  <a:pt x="779411" y="730461"/>
                </a:lnTo>
                <a:lnTo>
                  <a:pt x="778652" y="737290"/>
                </a:lnTo>
                <a:lnTo>
                  <a:pt x="788054" y="746657"/>
                </a:lnTo>
                <a:lnTo>
                  <a:pt x="783404" y="750716"/>
                </a:lnTo>
                <a:lnTo>
                  <a:pt x="778753" y="752496"/>
                </a:lnTo>
                <a:lnTo>
                  <a:pt x="768031" y="753583"/>
                </a:lnTo>
                <a:lnTo>
                  <a:pt x="731977" y="754771"/>
                </a:lnTo>
                <a:lnTo>
                  <a:pt x="702985" y="774992"/>
                </a:lnTo>
                <a:lnTo>
                  <a:pt x="688503" y="792868"/>
                </a:lnTo>
                <a:lnTo>
                  <a:pt x="675374" y="826019"/>
                </a:lnTo>
                <a:lnTo>
                  <a:pt x="659444" y="845513"/>
                </a:lnTo>
                <a:lnTo>
                  <a:pt x="652418" y="849111"/>
                </a:lnTo>
                <a:lnTo>
                  <a:pt x="641499" y="840568"/>
                </a:lnTo>
                <a:lnTo>
                  <a:pt x="627844" y="839248"/>
                </a:lnTo>
                <a:lnTo>
                  <a:pt x="614615" y="842084"/>
                </a:lnTo>
                <a:lnTo>
                  <a:pt x="607689" y="848879"/>
                </a:lnTo>
                <a:lnTo>
                  <a:pt x="596871" y="852671"/>
                </a:lnTo>
                <a:lnTo>
                  <a:pt x="586281" y="849405"/>
                </a:lnTo>
                <a:lnTo>
                  <a:pt x="563390" y="847625"/>
                </a:lnTo>
                <a:lnTo>
                  <a:pt x="553198" y="847954"/>
                </a:lnTo>
                <a:lnTo>
                  <a:pt x="537265" y="853464"/>
                </a:lnTo>
                <a:lnTo>
                  <a:pt x="523610" y="849804"/>
                </a:lnTo>
                <a:lnTo>
                  <a:pt x="500553" y="847923"/>
                </a:lnTo>
                <a:lnTo>
                  <a:pt x="450648" y="852307"/>
                </a:lnTo>
                <a:lnTo>
                  <a:pt x="444345" y="854354"/>
                </a:lnTo>
                <a:lnTo>
                  <a:pt x="438111" y="862534"/>
                </a:lnTo>
                <a:lnTo>
                  <a:pt x="422213" y="876618"/>
                </a:lnTo>
                <a:lnTo>
                  <a:pt x="398034" y="877113"/>
                </a:lnTo>
                <a:lnTo>
                  <a:pt x="376165" y="886086"/>
                </a:lnTo>
                <a:lnTo>
                  <a:pt x="370690" y="891824"/>
                </a:lnTo>
                <a:lnTo>
                  <a:pt x="361519" y="907626"/>
                </a:lnTo>
                <a:lnTo>
                  <a:pt x="358649" y="919137"/>
                </a:lnTo>
                <a:lnTo>
                  <a:pt x="356737" y="919237"/>
                </a:lnTo>
                <a:lnTo>
                  <a:pt x="354361" y="916398"/>
                </a:lnTo>
                <a:lnTo>
                  <a:pt x="350999" y="917322"/>
                </a:lnTo>
                <a:lnTo>
                  <a:pt x="349250" y="926098"/>
                </a:lnTo>
                <a:lnTo>
                  <a:pt x="341036" y="930087"/>
                </a:lnTo>
                <a:lnTo>
                  <a:pt x="334175" y="931541"/>
                </a:lnTo>
                <a:lnTo>
                  <a:pt x="317251" y="924449"/>
                </a:lnTo>
                <a:lnTo>
                  <a:pt x="303136" y="913793"/>
                </a:lnTo>
                <a:lnTo>
                  <a:pt x="295746" y="913035"/>
                </a:lnTo>
                <a:lnTo>
                  <a:pt x="283740" y="896409"/>
                </a:lnTo>
                <a:lnTo>
                  <a:pt x="278563" y="885823"/>
                </a:lnTo>
                <a:lnTo>
                  <a:pt x="274899" y="874343"/>
                </a:lnTo>
                <a:lnTo>
                  <a:pt x="275657" y="869955"/>
                </a:lnTo>
                <a:lnTo>
                  <a:pt x="274635" y="866295"/>
                </a:lnTo>
                <a:lnTo>
                  <a:pt x="263983" y="861644"/>
                </a:lnTo>
                <a:lnTo>
                  <a:pt x="261375" y="851088"/>
                </a:lnTo>
                <a:lnTo>
                  <a:pt x="269160" y="837333"/>
                </a:lnTo>
                <a:lnTo>
                  <a:pt x="275525" y="831495"/>
                </a:lnTo>
                <a:lnTo>
                  <a:pt x="279484" y="829812"/>
                </a:lnTo>
                <a:lnTo>
                  <a:pt x="269853" y="830407"/>
                </a:lnTo>
                <a:lnTo>
                  <a:pt x="262892" y="839248"/>
                </a:lnTo>
                <a:lnTo>
                  <a:pt x="253986" y="825064"/>
                </a:lnTo>
                <a:lnTo>
                  <a:pt x="217669" y="797387"/>
                </a:lnTo>
                <a:lnTo>
                  <a:pt x="220013" y="791022"/>
                </a:lnTo>
                <a:lnTo>
                  <a:pt x="219615" y="787590"/>
                </a:lnTo>
                <a:lnTo>
                  <a:pt x="213513" y="795012"/>
                </a:lnTo>
                <a:lnTo>
                  <a:pt x="209357" y="796927"/>
                </a:lnTo>
                <a:lnTo>
                  <a:pt x="190789" y="795739"/>
                </a:lnTo>
                <a:lnTo>
                  <a:pt x="169411" y="799136"/>
                </a:lnTo>
                <a:lnTo>
                  <a:pt x="163774" y="770306"/>
                </a:lnTo>
                <a:lnTo>
                  <a:pt x="161100" y="759225"/>
                </a:lnTo>
                <a:lnTo>
                  <a:pt x="160407" y="752032"/>
                </a:lnTo>
                <a:lnTo>
                  <a:pt x="165917" y="735409"/>
                </a:lnTo>
                <a:lnTo>
                  <a:pt x="171953" y="728615"/>
                </a:lnTo>
                <a:lnTo>
                  <a:pt x="179967" y="714596"/>
                </a:lnTo>
                <a:lnTo>
                  <a:pt x="189864" y="702919"/>
                </a:lnTo>
                <a:lnTo>
                  <a:pt x="200319" y="700145"/>
                </a:lnTo>
                <a:lnTo>
                  <a:pt x="204939" y="698431"/>
                </a:lnTo>
                <a:lnTo>
                  <a:pt x="208796" y="689393"/>
                </a:lnTo>
                <a:lnTo>
                  <a:pt x="210975" y="681677"/>
                </a:lnTo>
                <a:lnTo>
                  <a:pt x="209392" y="680919"/>
                </a:lnTo>
                <a:lnTo>
                  <a:pt x="197188" y="682501"/>
                </a:lnTo>
                <a:lnTo>
                  <a:pt x="175285" y="650011"/>
                </a:lnTo>
                <a:lnTo>
                  <a:pt x="175977" y="644830"/>
                </a:lnTo>
                <a:lnTo>
                  <a:pt x="178713" y="637146"/>
                </a:lnTo>
                <a:lnTo>
                  <a:pt x="180528" y="627415"/>
                </a:lnTo>
                <a:lnTo>
                  <a:pt x="180988" y="619730"/>
                </a:lnTo>
                <a:lnTo>
                  <a:pt x="186695" y="613099"/>
                </a:lnTo>
                <a:lnTo>
                  <a:pt x="195440" y="606436"/>
                </a:lnTo>
                <a:lnTo>
                  <a:pt x="202795" y="596937"/>
                </a:lnTo>
                <a:lnTo>
                  <a:pt x="206487" y="587666"/>
                </a:lnTo>
                <a:lnTo>
                  <a:pt x="207248" y="579223"/>
                </a:lnTo>
                <a:lnTo>
                  <a:pt x="203089" y="573187"/>
                </a:lnTo>
                <a:lnTo>
                  <a:pt x="191118" y="569856"/>
                </a:lnTo>
                <a:lnTo>
                  <a:pt x="178748" y="545708"/>
                </a:lnTo>
                <a:lnTo>
                  <a:pt x="176008" y="530571"/>
                </a:lnTo>
                <a:lnTo>
                  <a:pt x="173470" y="528985"/>
                </a:lnTo>
                <a:lnTo>
                  <a:pt x="165851" y="522094"/>
                </a:lnTo>
                <a:lnTo>
                  <a:pt x="158527" y="509097"/>
                </a:lnTo>
                <a:lnTo>
                  <a:pt x="157471" y="507050"/>
                </a:lnTo>
                <a:lnTo>
                  <a:pt x="165027" y="504775"/>
                </a:lnTo>
                <a:lnTo>
                  <a:pt x="196163" y="504675"/>
                </a:lnTo>
                <a:lnTo>
                  <a:pt x="202663" y="501807"/>
                </a:lnTo>
                <a:lnTo>
                  <a:pt x="203650" y="500817"/>
                </a:lnTo>
                <a:lnTo>
                  <a:pt x="209326" y="490691"/>
                </a:lnTo>
                <a:lnTo>
                  <a:pt x="215262" y="474034"/>
                </a:lnTo>
                <a:lnTo>
                  <a:pt x="216647" y="463838"/>
                </a:lnTo>
                <a:lnTo>
                  <a:pt x="214767" y="459617"/>
                </a:lnTo>
                <a:lnTo>
                  <a:pt x="204443" y="449294"/>
                </a:lnTo>
                <a:lnTo>
                  <a:pt x="203983" y="446260"/>
                </a:lnTo>
                <a:lnTo>
                  <a:pt x="205631" y="441377"/>
                </a:lnTo>
                <a:lnTo>
                  <a:pt x="211764" y="436165"/>
                </a:lnTo>
                <a:lnTo>
                  <a:pt x="220044" y="430230"/>
                </a:lnTo>
                <a:lnTo>
                  <a:pt x="224564" y="425115"/>
                </a:lnTo>
                <a:lnTo>
                  <a:pt x="223476" y="421091"/>
                </a:lnTo>
                <a:lnTo>
                  <a:pt x="221069" y="416901"/>
                </a:lnTo>
                <a:lnTo>
                  <a:pt x="220671" y="412977"/>
                </a:lnTo>
                <a:lnTo>
                  <a:pt x="222188" y="408160"/>
                </a:lnTo>
                <a:lnTo>
                  <a:pt x="222749" y="391669"/>
                </a:lnTo>
                <a:lnTo>
                  <a:pt x="223805" y="387448"/>
                </a:lnTo>
                <a:lnTo>
                  <a:pt x="222188" y="372404"/>
                </a:lnTo>
                <a:lnTo>
                  <a:pt x="220176" y="360100"/>
                </a:lnTo>
                <a:lnTo>
                  <a:pt x="213614" y="344135"/>
                </a:lnTo>
                <a:lnTo>
                  <a:pt x="214801" y="340607"/>
                </a:lnTo>
                <a:lnTo>
                  <a:pt x="217835" y="337639"/>
                </a:lnTo>
                <a:lnTo>
                  <a:pt x="227763" y="332098"/>
                </a:lnTo>
                <a:lnTo>
                  <a:pt x="235680" y="319035"/>
                </a:lnTo>
                <a:lnTo>
                  <a:pt x="247191" y="308082"/>
                </a:lnTo>
                <a:lnTo>
                  <a:pt x="262265" y="299275"/>
                </a:lnTo>
                <a:lnTo>
                  <a:pt x="272821" y="289478"/>
                </a:lnTo>
                <a:lnTo>
                  <a:pt x="276977" y="281960"/>
                </a:lnTo>
                <a:lnTo>
                  <a:pt x="279913" y="279979"/>
                </a:lnTo>
                <a:lnTo>
                  <a:pt x="279058" y="276482"/>
                </a:lnTo>
                <a:lnTo>
                  <a:pt x="277077" y="271405"/>
                </a:lnTo>
                <a:lnTo>
                  <a:pt x="271072" y="266422"/>
                </a:lnTo>
                <a:lnTo>
                  <a:pt x="263322" y="263585"/>
                </a:lnTo>
                <a:lnTo>
                  <a:pt x="254713" y="263717"/>
                </a:lnTo>
                <a:lnTo>
                  <a:pt x="249369" y="262695"/>
                </a:lnTo>
                <a:lnTo>
                  <a:pt x="247818" y="258803"/>
                </a:lnTo>
                <a:lnTo>
                  <a:pt x="248414" y="248248"/>
                </a:lnTo>
                <a:lnTo>
                  <a:pt x="247949" y="237793"/>
                </a:lnTo>
                <a:lnTo>
                  <a:pt x="246301" y="232976"/>
                </a:lnTo>
                <a:lnTo>
                  <a:pt x="242312" y="229346"/>
                </a:lnTo>
                <a:lnTo>
                  <a:pt x="234426" y="230306"/>
                </a:lnTo>
                <a:lnTo>
                  <a:pt x="227601" y="227334"/>
                </a:lnTo>
                <a:lnTo>
                  <a:pt x="222420" y="226642"/>
                </a:lnTo>
                <a:lnTo>
                  <a:pt x="219418" y="228983"/>
                </a:lnTo>
                <a:lnTo>
                  <a:pt x="204146" y="228290"/>
                </a:lnTo>
                <a:lnTo>
                  <a:pt x="197781" y="226611"/>
                </a:lnTo>
                <a:lnTo>
                  <a:pt x="193327" y="224529"/>
                </a:lnTo>
                <a:lnTo>
                  <a:pt x="190491" y="225686"/>
                </a:lnTo>
                <a:lnTo>
                  <a:pt x="188874" y="227733"/>
                </a:lnTo>
                <a:lnTo>
                  <a:pt x="188610" y="230929"/>
                </a:lnTo>
                <a:lnTo>
                  <a:pt x="187554" y="235154"/>
                </a:lnTo>
                <a:lnTo>
                  <a:pt x="182079" y="238980"/>
                </a:lnTo>
                <a:lnTo>
                  <a:pt x="169578" y="242773"/>
                </a:lnTo>
                <a:lnTo>
                  <a:pt x="159483" y="242475"/>
                </a:lnTo>
                <a:lnTo>
                  <a:pt x="150216" y="239770"/>
                </a:lnTo>
                <a:lnTo>
                  <a:pt x="147248" y="237758"/>
                </a:lnTo>
                <a:lnTo>
                  <a:pt x="142794" y="235978"/>
                </a:lnTo>
                <a:lnTo>
                  <a:pt x="123959" y="238187"/>
                </a:lnTo>
                <a:lnTo>
                  <a:pt x="121684" y="236570"/>
                </a:lnTo>
                <a:lnTo>
                  <a:pt x="115184" y="240497"/>
                </a:lnTo>
                <a:lnTo>
                  <a:pt x="105619" y="245179"/>
                </a:lnTo>
                <a:lnTo>
                  <a:pt x="100241" y="245443"/>
                </a:lnTo>
                <a:lnTo>
                  <a:pt x="98295" y="244456"/>
                </a:lnTo>
                <a:lnTo>
                  <a:pt x="97602" y="242378"/>
                </a:lnTo>
                <a:lnTo>
                  <a:pt x="93578" y="235088"/>
                </a:lnTo>
                <a:lnTo>
                  <a:pt x="94634" y="231227"/>
                </a:lnTo>
                <a:lnTo>
                  <a:pt x="102353" y="219913"/>
                </a:lnTo>
                <a:lnTo>
                  <a:pt x="101494" y="217208"/>
                </a:lnTo>
                <a:lnTo>
                  <a:pt x="98329" y="213548"/>
                </a:lnTo>
                <a:lnTo>
                  <a:pt x="95493" y="208270"/>
                </a:lnTo>
                <a:lnTo>
                  <a:pt x="94669" y="205531"/>
                </a:lnTo>
                <a:lnTo>
                  <a:pt x="89751" y="205070"/>
                </a:lnTo>
                <a:lnTo>
                  <a:pt x="84508" y="207841"/>
                </a:lnTo>
                <a:lnTo>
                  <a:pt x="64551" y="213548"/>
                </a:lnTo>
                <a:lnTo>
                  <a:pt x="59768" y="215626"/>
                </a:lnTo>
                <a:lnTo>
                  <a:pt x="51128" y="221101"/>
                </a:lnTo>
                <a:lnTo>
                  <a:pt x="42384" y="229478"/>
                </a:lnTo>
                <a:lnTo>
                  <a:pt x="35427" y="231227"/>
                </a:lnTo>
                <a:lnTo>
                  <a:pt x="33016" y="228754"/>
                </a:lnTo>
                <a:lnTo>
                  <a:pt x="32192" y="209095"/>
                </a:lnTo>
                <a:lnTo>
                  <a:pt x="42813" y="195997"/>
                </a:lnTo>
                <a:lnTo>
                  <a:pt x="50370" y="188084"/>
                </a:lnTo>
                <a:lnTo>
                  <a:pt x="46837" y="186467"/>
                </a:lnTo>
                <a:lnTo>
                  <a:pt x="38824" y="186699"/>
                </a:lnTo>
                <a:lnTo>
                  <a:pt x="39385" y="180563"/>
                </a:lnTo>
                <a:lnTo>
                  <a:pt x="43146" y="177595"/>
                </a:lnTo>
                <a:lnTo>
                  <a:pt x="46771" y="170897"/>
                </a:lnTo>
                <a:lnTo>
                  <a:pt x="42519" y="168026"/>
                </a:lnTo>
                <a:lnTo>
                  <a:pt x="39187" y="163608"/>
                </a:lnTo>
                <a:lnTo>
                  <a:pt x="39385" y="152062"/>
                </a:lnTo>
                <a:lnTo>
                  <a:pt x="40309" y="147380"/>
                </a:lnTo>
                <a:lnTo>
                  <a:pt x="39219" y="142300"/>
                </a:lnTo>
                <a:lnTo>
                  <a:pt x="22890" y="149160"/>
                </a:lnTo>
                <a:lnTo>
                  <a:pt x="18704" y="148138"/>
                </a:lnTo>
                <a:lnTo>
                  <a:pt x="18537" y="139560"/>
                </a:lnTo>
                <a:lnTo>
                  <a:pt x="27576" y="126467"/>
                </a:lnTo>
                <a:lnTo>
                  <a:pt x="28501" y="122443"/>
                </a:lnTo>
                <a:lnTo>
                  <a:pt x="17911" y="120496"/>
                </a:lnTo>
                <a:lnTo>
                  <a:pt x="9994" y="114062"/>
                </a:lnTo>
                <a:lnTo>
                  <a:pt x="5177" y="108289"/>
                </a:lnTo>
                <a:lnTo>
                  <a:pt x="31" y="100013"/>
                </a:lnTo>
                <a:lnTo>
                  <a:pt x="0" y="92557"/>
                </a:lnTo>
                <a:lnTo>
                  <a:pt x="5343" y="75106"/>
                </a:lnTo>
                <a:lnTo>
                  <a:pt x="12962" y="70026"/>
                </a:lnTo>
                <a:lnTo>
                  <a:pt x="19559" y="66896"/>
                </a:lnTo>
                <a:lnTo>
                  <a:pt x="33512" y="54789"/>
                </a:lnTo>
                <a:lnTo>
                  <a:pt x="52742" y="57033"/>
                </a:lnTo>
                <a:lnTo>
                  <a:pt x="64651" y="54425"/>
                </a:lnTo>
                <a:lnTo>
                  <a:pt x="75338" y="48226"/>
                </a:lnTo>
                <a:lnTo>
                  <a:pt x="81475" y="46838"/>
                </a:lnTo>
                <a:lnTo>
                  <a:pt x="91337" y="41428"/>
                </a:lnTo>
                <a:lnTo>
                  <a:pt x="91005" y="34108"/>
                </a:lnTo>
                <a:lnTo>
                  <a:pt x="87608" y="28664"/>
                </a:lnTo>
                <a:lnTo>
                  <a:pt x="90575" y="23552"/>
                </a:lnTo>
                <a:lnTo>
                  <a:pt x="101629" y="17284"/>
                </a:lnTo>
                <a:lnTo>
                  <a:pt x="113899" y="8973"/>
                </a:lnTo>
                <a:lnTo>
                  <a:pt x="127983" y="7356"/>
                </a:ln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0" name="Forme libre : forme 14">
            <a:extLst>
              <a:ext uri="{FF2B5EF4-FFF2-40B4-BE49-F238E27FC236}">
                <a16:creationId xmlns:a16="http://schemas.microsoft.com/office/drawing/2014/main" id="{7117D52B-96DF-5B5D-DEB9-D9BE71C72C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621782" y="3912012"/>
            <a:ext cx="638352" cy="832463"/>
          </a:xfrm>
          <a:custGeom>
            <a:avLst/>
            <a:gdLst>
              <a:gd name="connsiteX0" fmla="*/ 65494 w 244878"/>
              <a:gd name="connsiteY0" fmla="*/ 12620 h 331822"/>
              <a:gd name="connsiteX1" fmla="*/ 64875 w 244878"/>
              <a:gd name="connsiteY1" fmla="*/ 13535 h 331822"/>
              <a:gd name="connsiteX2" fmla="*/ 65170 w 244878"/>
              <a:gd name="connsiteY2" fmla="*/ 6991 h 331822"/>
              <a:gd name="connsiteX3" fmla="*/ 68094 w 244878"/>
              <a:gd name="connsiteY3" fmla="*/ 0 h 331822"/>
              <a:gd name="connsiteX4" fmla="*/ 69332 w 244878"/>
              <a:gd name="connsiteY4" fmla="*/ 162 h 331822"/>
              <a:gd name="connsiteX5" fmla="*/ 68066 w 244878"/>
              <a:gd name="connsiteY5" fmla="*/ 2057 h 331822"/>
              <a:gd name="connsiteX6" fmla="*/ 67694 w 244878"/>
              <a:gd name="connsiteY6" fmla="*/ 3381 h 331822"/>
              <a:gd name="connsiteX7" fmla="*/ 67180 w 244878"/>
              <a:gd name="connsiteY7" fmla="*/ 6020 h 331822"/>
              <a:gd name="connsiteX8" fmla="*/ 67408 w 244878"/>
              <a:gd name="connsiteY8" fmla="*/ 7391 h 331822"/>
              <a:gd name="connsiteX9" fmla="*/ 74085 w 244878"/>
              <a:gd name="connsiteY9" fmla="*/ 7772 h 331822"/>
              <a:gd name="connsiteX10" fmla="*/ 73304 w 244878"/>
              <a:gd name="connsiteY10" fmla="*/ 8992 h 331822"/>
              <a:gd name="connsiteX11" fmla="*/ 66532 w 244878"/>
              <a:gd name="connsiteY11" fmla="*/ 9811 h 331822"/>
              <a:gd name="connsiteX12" fmla="*/ 65494 w 244878"/>
              <a:gd name="connsiteY12" fmla="*/ 12620 h 331822"/>
              <a:gd name="connsiteX13" fmla="*/ 103775 w 244878"/>
              <a:gd name="connsiteY13" fmla="*/ 10839 h 331822"/>
              <a:gd name="connsiteX14" fmla="*/ 103937 w 244878"/>
              <a:gd name="connsiteY14" fmla="*/ 11687 h 331822"/>
              <a:gd name="connsiteX15" fmla="*/ 107852 w 244878"/>
              <a:gd name="connsiteY15" fmla="*/ 12916 h 331822"/>
              <a:gd name="connsiteX16" fmla="*/ 109499 w 244878"/>
              <a:gd name="connsiteY16" fmla="*/ 14878 h 331822"/>
              <a:gd name="connsiteX17" fmla="*/ 111328 w 244878"/>
              <a:gd name="connsiteY17" fmla="*/ 17850 h 331822"/>
              <a:gd name="connsiteX18" fmla="*/ 111509 w 244878"/>
              <a:gd name="connsiteY18" fmla="*/ 22117 h 331822"/>
              <a:gd name="connsiteX19" fmla="*/ 109166 w 244878"/>
              <a:gd name="connsiteY19" fmla="*/ 25184 h 331822"/>
              <a:gd name="connsiteX20" fmla="*/ 107223 w 244878"/>
              <a:gd name="connsiteY20" fmla="*/ 27127 h 331822"/>
              <a:gd name="connsiteX21" fmla="*/ 114567 w 244878"/>
              <a:gd name="connsiteY21" fmla="*/ 26394 h 331822"/>
              <a:gd name="connsiteX22" fmla="*/ 115300 w 244878"/>
              <a:gd name="connsiteY22" fmla="*/ 28146 h 331822"/>
              <a:gd name="connsiteX23" fmla="*/ 116414 w 244878"/>
              <a:gd name="connsiteY23" fmla="*/ 30042 h 331822"/>
              <a:gd name="connsiteX24" fmla="*/ 120367 w 244878"/>
              <a:gd name="connsiteY24" fmla="*/ 28689 h 331822"/>
              <a:gd name="connsiteX25" fmla="*/ 130292 w 244878"/>
              <a:gd name="connsiteY25" fmla="*/ 34280 h 331822"/>
              <a:gd name="connsiteX26" fmla="*/ 136293 w 244878"/>
              <a:gd name="connsiteY26" fmla="*/ 31556 h 331822"/>
              <a:gd name="connsiteX27" fmla="*/ 137827 w 244878"/>
              <a:gd name="connsiteY27" fmla="*/ 31394 h 331822"/>
              <a:gd name="connsiteX28" fmla="*/ 139189 w 244878"/>
              <a:gd name="connsiteY28" fmla="*/ 35909 h 331822"/>
              <a:gd name="connsiteX29" fmla="*/ 137693 w 244878"/>
              <a:gd name="connsiteY29" fmla="*/ 40443 h 331822"/>
              <a:gd name="connsiteX30" fmla="*/ 132407 w 244878"/>
              <a:gd name="connsiteY30" fmla="*/ 45263 h 331822"/>
              <a:gd name="connsiteX31" fmla="*/ 133578 w 244878"/>
              <a:gd name="connsiteY31" fmla="*/ 48235 h 331822"/>
              <a:gd name="connsiteX32" fmla="*/ 135274 w 244878"/>
              <a:gd name="connsiteY32" fmla="*/ 48892 h 331822"/>
              <a:gd name="connsiteX33" fmla="*/ 140256 w 244878"/>
              <a:gd name="connsiteY33" fmla="*/ 48263 h 331822"/>
              <a:gd name="connsiteX34" fmla="*/ 148152 w 244878"/>
              <a:gd name="connsiteY34" fmla="*/ 51187 h 331822"/>
              <a:gd name="connsiteX35" fmla="*/ 149800 w 244878"/>
              <a:gd name="connsiteY35" fmla="*/ 50273 h 331822"/>
              <a:gd name="connsiteX36" fmla="*/ 156200 w 244878"/>
              <a:gd name="connsiteY36" fmla="*/ 43520 h 331822"/>
              <a:gd name="connsiteX37" fmla="*/ 158763 w 244878"/>
              <a:gd name="connsiteY37" fmla="*/ 42062 h 331822"/>
              <a:gd name="connsiteX38" fmla="*/ 167183 w 244878"/>
              <a:gd name="connsiteY38" fmla="*/ 41024 h 331822"/>
              <a:gd name="connsiteX39" fmla="*/ 168716 w 244878"/>
              <a:gd name="connsiteY39" fmla="*/ 38395 h 331822"/>
              <a:gd name="connsiteX40" fmla="*/ 172126 w 244878"/>
              <a:gd name="connsiteY40" fmla="*/ 35757 h 331822"/>
              <a:gd name="connsiteX41" fmla="*/ 174317 w 244878"/>
              <a:gd name="connsiteY41" fmla="*/ 32871 h 331822"/>
              <a:gd name="connsiteX42" fmla="*/ 179584 w 244878"/>
              <a:gd name="connsiteY42" fmla="*/ 27356 h 331822"/>
              <a:gd name="connsiteX43" fmla="*/ 185033 w 244878"/>
              <a:gd name="connsiteY43" fmla="*/ 28346 h 331822"/>
              <a:gd name="connsiteX44" fmla="*/ 188214 w 244878"/>
              <a:gd name="connsiteY44" fmla="*/ 29404 h 331822"/>
              <a:gd name="connsiteX45" fmla="*/ 191700 w 244878"/>
              <a:gd name="connsiteY45" fmla="*/ 29937 h 331822"/>
              <a:gd name="connsiteX46" fmla="*/ 194872 w 244878"/>
              <a:gd name="connsiteY46" fmla="*/ 35814 h 331822"/>
              <a:gd name="connsiteX47" fmla="*/ 202911 w 244878"/>
              <a:gd name="connsiteY47" fmla="*/ 42281 h 331822"/>
              <a:gd name="connsiteX48" fmla="*/ 210293 w 244878"/>
              <a:gd name="connsiteY48" fmla="*/ 41720 h 331822"/>
              <a:gd name="connsiteX49" fmla="*/ 212912 w 244878"/>
              <a:gd name="connsiteY49" fmla="*/ 47825 h 331822"/>
              <a:gd name="connsiteX50" fmla="*/ 214074 w 244878"/>
              <a:gd name="connsiteY50" fmla="*/ 55331 h 331822"/>
              <a:gd name="connsiteX51" fmla="*/ 216341 w 244878"/>
              <a:gd name="connsiteY51" fmla="*/ 57683 h 331822"/>
              <a:gd name="connsiteX52" fmla="*/ 218332 w 244878"/>
              <a:gd name="connsiteY52" fmla="*/ 59217 h 331822"/>
              <a:gd name="connsiteX53" fmla="*/ 224342 w 244878"/>
              <a:gd name="connsiteY53" fmla="*/ 60817 h 331822"/>
              <a:gd name="connsiteX54" fmla="*/ 224580 w 244878"/>
              <a:gd name="connsiteY54" fmla="*/ 60912 h 331822"/>
              <a:gd name="connsiteX55" fmla="*/ 224780 w 244878"/>
              <a:gd name="connsiteY55" fmla="*/ 61922 h 331822"/>
              <a:gd name="connsiteX56" fmla="*/ 225152 w 244878"/>
              <a:gd name="connsiteY56" fmla="*/ 65637 h 331822"/>
              <a:gd name="connsiteX57" fmla="*/ 225657 w 244878"/>
              <a:gd name="connsiteY57" fmla="*/ 68704 h 331822"/>
              <a:gd name="connsiteX58" fmla="*/ 228753 w 244878"/>
              <a:gd name="connsiteY58" fmla="*/ 80915 h 331822"/>
              <a:gd name="connsiteX59" fmla="*/ 228695 w 244878"/>
              <a:gd name="connsiteY59" fmla="*/ 83886 h 331822"/>
              <a:gd name="connsiteX60" fmla="*/ 228657 w 244878"/>
              <a:gd name="connsiteY60" fmla="*/ 84677 h 331822"/>
              <a:gd name="connsiteX61" fmla="*/ 227524 w 244878"/>
              <a:gd name="connsiteY61" fmla="*/ 88840 h 331822"/>
              <a:gd name="connsiteX62" fmla="*/ 225514 w 244878"/>
              <a:gd name="connsiteY62" fmla="*/ 92335 h 331822"/>
              <a:gd name="connsiteX63" fmla="*/ 222856 w 244878"/>
              <a:gd name="connsiteY63" fmla="*/ 94307 h 331822"/>
              <a:gd name="connsiteX64" fmla="*/ 221390 w 244878"/>
              <a:gd name="connsiteY64" fmla="*/ 96498 h 331822"/>
              <a:gd name="connsiteX65" fmla="*/ 221123 w 244878"/>
              <a:gd name="connsiteY65" fmla="*/ 98908 h 331822"/>
              <a:gd name="connsiteX66" fmla="*/ 224466 w 244878"/>
              <a:gd name="connsiteY66" fmla="*/ 103127 h 331822"/>
              <a:gd name="connsiteX67" fmla="*/ 231429 w 244878"/>
              <a:gd name="connsiteY67" fmla="*/ 109156 h 331822"/>
              <a:gd name="connsiteX68" fmla="*/ 234239 w 244878"/>
              <a:gd name="connsiteY68" fmla="*/ 114300 h 331822"/>
              <a:gd name="connsiteX69" fmla="*/ 232915 w 244878"/>
              <a:gd name="connsiteY69" fmla="*/ 118567 h 331822"/>
              <a:gd name="connsiteX70" fmla="*/ 232515 w 244878"/>
              <a:gd name="connsiteY70" fmla="*/ 121691 h 331822"/>
              <a:gd name="connsiteX71" fmla="*/ 233029 w 244878"/>
              <a:gd name="connsiteY71" fmla="*/ 123672 h 331822"/>
              <a:gd name="connsiteX72" fmla="*/ 234144 w 244878"/>
              <a:gd name="connsiteY72" fmla="*/ 125263 h 331822"/>
              <a:gd name="connsiteX73" fmla="*/ 235858 w 244878"/>
              <a:gd name="connsiteY73" fmla="*/ 126463 h 331822"/>
              <a:gd name="connsiteX74" fmla="*/ 236544 w 244878"/>
              <a:gd name="connsiteY74" fmla="*/ 128311 h 331822"/>
              <a:gd name="connsiteX75" fmla="*/ 236191 w 244878"/>
              <a:gd name="connsiteY75" fmla="*/ 130807 h 331822"/>
              <a:gd name="connsiteX76" fmla="*/ 236515 w 244878"/>
              <a:gd name="connsiteY76" fmla="*/ 132540 h 331822"/>
              <a:gd name="connsiteX77" fmla="*/ 237801 w 244878"/>
              <a:gd name="connsiteY77" fmla="*/ 133769 h 331822"/>
              <a:gd name="connsiteX78" fmla="*/ 237677 w 244878"/>
              <a:gd name="connsiteY78" fmla="*/ 134245 h 331822"/>
              <a:gd name="connsiteX79" fmla="*/ 237058 w 244878"/>
              <a:gd name="connsiteY79" fmla="*/ 135979 h 331822"/>
              <a:gd name="connsiteX80" fmla="*/ 236210 w 244878"/>
              <a:gd name="connsiteY80" fmla="*/ 139132 h 331822"/>
              <a:gd name="connsiteX81" fmla="*/ 235725 w 244878"/>
              <a:gd name="connsiteY81" fmla="*/ 141437 h 331822"/>
              <a:gd name="connsiteX82" fmla="*/ 233763 w 244878"/>
              <a:gd name="connsiteY82" fmla="*/ 144561 h 331822"/>
              <a:gd name="connsiteX83" fmla="*/ 234363 w 244878"/>
              <a:gd name="connsiteY83" fmla="*/ 147218 h 331822"/>
              <a:gd name="connsiteX84" fmla="*/ 235896 w 244878"/>
              <a:gd name="connsiteY84" fmla="*/ 150343 h 331822"/>
              <a:gd name="connsiteX85" fmla="*/ 237068 w 244878"/>
              <a:gd name="connsiteY85" fmla="*/ 151914 h 331822"/>
              <a:gd name="connsiteX86" fmla="*/ 237439 w 244878"/>
              <a:gd name="connsiteY86" fmla="*/ 153400 h 331822"/>
              <a:gd name="connsiteX87" fmla="*/ 236696 w 244878"/>
              <a:gd name="connsiteY87" fmla="*/ 156924 h 331822"/>
              <a:gd name="connsiteX88" fmla="*/ 237068 w 244878"/>
              <a:gd name="connsiteY88" fmla="*/ 157829 h 331822"/>
              <a:gd name="connsiteX89" fmla="*/ 241916 w 244878"/>
              <a:gd name="connsiteY89" fmla="*/ 160420 h 331822"/>
              <a:gd name="connsiteX90" fmla="*/ 242706 w 244878"/>
              <a:gd name="connsiteY90" fmla="*/ 161610 h 331822"/>
              <a:gd name="connsiteX91" fmla="*/ 243173 w 244878"/>
              <a:gd name="connsiteY91" fmla="*/ 164097 h 331822"/>
              <a:gd name="connsiteX92" fmla="*/ 244878 w 244878"/>
              <a:gd name="connsiteY92" fmla="*/ 169402 h 331822"/>
              <a:gd name="connsiteX93" fmla="*/ 243469 w 244878"/>
              <a:gd name="connsiteY93" fmla="*/ 176108 h 331822"/>
              <a:gd name="connsiteX94" fmla="*/ 242230 w 244878"/>
              <a:gd name="connsiteY94" fmla="*/ 179775 h 331822"/>
              <a:gd name="connsiteX95" fmla="*/ 239468 w 244878"/>
              <a:gd name="connsiteY95" fmla="*/ 185576 h 331822"/>
              <a:gd name="connsiteX96" fmla="*/ 239335 w 244878"/>
              <a:gd name="connsiteY96" fmla="*/ 186109 h 331822"/>
              <a:gd name="connsiteX97" fmla="*/ 239020 w 244878"/>
              <a:gd name="connsiteY97" fmla="*/ 186814 h 331822"/>
              <a:gd name="connsiteX98" fmla="*/ 238192 w 244878"/>
              <a:gd name="connsiteY98" fmla="*/ 187823 h 331822"/>
              <a:gd name="connsiteX99" fmla="*/ 237039 w 244878"/>
              <a:gd name="connsiteY99" fmla="*/ 187976 h 331822"/>
              <a:gd name="connsiteX100" fmla="*/ 235296 w 244878"/>
              <a:gd name="connsiteY100" fmla="*/ 187223 h 331822"/>
              <a:gd name="connsiteX101" fmla="*/ 234105 w 244878"/>
              <a:gd name="connsiteY101" fmla="*/ 186252 h 331822"/>
              <a:gd name="connsiteX102" fmla="*/ 234381 w 244878"/>
              <a:gd name="connsiteY102" fmla="*/ 183756 h 331822"/>
              <a:gd name="connsiteX103" fmla="*/ 233610 w 244878"/>
              <a:gd name="connsiteY103" fmla="*/ 183585 h 331822"/>
              <a:gd name="connsiteX104" fmla="*/ 232658 w 244878"/>
              <a:gd name="connsiteY104" fmla="*/ 182051 h 331822"/>
              <a:gd name="connsiteX105" fmla="*/ 232286 w 244878"/>
              <a:gd name="connsiteY105" fmla="*/ 180404 h 331822"/>
              <a:gd name="connsiteX106" fmla="*/ 231258 w 244878"/>
              <a:gd name="connsiteY106" fmla="*/ 179727 h 331822"/>
              <a:gd name="connsiteX107" fmla="*/ 227514 w 244878"/>
              <a:gd name="connsiteY107" fmla="*/ 179032 h 331822"/>
              <a:gd name="connsiteX108" fmla="*/ 226238 w 244878"/>
              <a:gd name="connsiteY108" fmla="*/ 178546 h 331822"/>
              <a:gd name="connsiteX109" fmla="*/ 225257 w 244878"/>
              <a:gd name="connsiteY109" fmla="*/ 178898 h 331822"/>
              <a:gd name="connsiteX110" fmla="*/ 224523 w 244878"/>
              <a:gd name="connsiteY110" fmla="*/ 180070 h 331822"/>
              <a:gd name="connsiteX111" fmla="*/ 224990 w 244878"/>
              <a:gd name="connsiteY111" fmla="*/ 181127 h 331822"/>
              <a:gd name="connsiteX112" fmla="*/ 225685 w 244878"/>
              <a:gd name="connsiteY112" fmla="*/ 182156 h 331822"/>
              <a:gd name="connsiteX113" fmla="*/ 227762 w 244878"/>
              <a:gd name="connsiteY113" fmla="*/ 183785 h 331822"/>
              <a:gd name="connsiteX114" fmla="*/ 227552 w 244878"/>
              <a:gd name="connsiteY114" fmla="*/ 184433 h 331822"/>
              <a:gd name="connsiteX115" fmla="*/ 223076 w 244878"/>
              <a:gd name="connsiteY115" fmla="*/ 186023 h 331822"/>
              <a:gd name="connsiteX116" fmla="*/ 220265 w 244878"/>
              <a:gd name="connsiteY116" fmla="*/ 187642 h 331822"/>
              <a:gd name="connsiteX117" fmla="*/ 217646 w 244878"/>
              <a:gd name="connsiteY117" fmla="*/ 188557 h 331822"/>
              <a:gd name="connsiteX118" fmla="*/ 214979 w 244878"/>
              <a:gd name="connsiteY118" fmla="*/ 190233 h 331822"/>
              <a:gd name="connsiteX119" fmla="*/ 209712 w 244878"/>
              <a:gd name="connsiteY119" fmla="*/ 192119 h 331822"/>
              <a:gd name="connsiteX120" fmla="*/ 205845 w 244878"/>
              <a:gd name="connsiteY120" fmla="*/ 192614 h 331822"/>
              <a:gd name="connsiteX121" fmla="*/ 205045 w 244878"/>
              <a:gd name="connsiteY121" fmla="*/ 193110 h 331822"/>
              <a:gd name="connsiteX122" fmla="*/ 203606 w 244878"/>
              <a:gd name="connsiteY122" fmla="*/ 196301 h 331822"/>
              <a:gd name="connsiteX123" fmla="*/ 202635 w 244878"/>
              <a:gd name="connsiteY123" fmla="*/ 196967 h 331822"/>
              <a:gd name="connsiteX124" fmla="*/ 201692 w 244878"/>
              <a:gd name="connsiteY124" fmla="*/ 196625 h 331822"/>
              <a:gd name="connsiteX125" fmla="*/ 200987 w 244878"/>
              <a:gd name="connsiteY125" fmla="*/ 196101 h 331822"/>
              <a:gd name="connsiteX126" fmla="*/ 200092 w 244878"/>
              <a:gd name="connsiteY126" fmla="*/ 196529 h 331822"/>
              <a:gd name="connsiteX127" fmla="*/ 199158 w 244878"/>
              <a:gd name="connsiteY127" fmla="*/ 197586 h 331822"/>
              <a:gd name="connsiteX128" fmla="*/ 198177 w 244878"/>
              <a:gd name="connsiteY128" fmla="*/ 197996 h 331822"/>
              <a:gd name="connsiteX129" fmla="*/ 197330 w 244878"/>
              <a:gd name="connsiteY129" fmla="*/ 197986 h 331822"/>
              <a:gd name="connsiteX130" fmla="*/ 195815 w 244878"/>
              <a:gd name="connsiteY130" fmla="*/ 200768 h 331822"/>
              <a:gd name="connsiteX131" fmla="*/ 191414 w 244878"/>
              <a:gd name="connsiteY131" fmla="*/ 201606 h 331822"/>
              <a:gd name="connsiteX132" fmla="*/ 190900 w 244878"/>
              <a:gd name="connsiteY132" fmla="*/ 203044 h 331822"/>
              <a:gd name="connsiteX133" fmla="*/ 190090 w 244878"/>
              <a:gd name="connsiteY133" fmla="*/ 204711 h 331822"/>
              <a:gd name="connsiteX134" fmla="*/ 189443 w 244878"/>
              <a:gd name="connsiteY134" fmla="*/ 205121 h 331822"/>
              <a:gd name="connsiteX135" fmla="*/ 187462 w 244878"/>
              <a:gd name="connsiteY135" fmla="*/ 204464 h 331822"/>
              <a:gd name="connsiteX136" fmla="*/ 184709 w 244878"/>
              <a:gd name="connsiteY136" fmla="*/ 204092 h 331822"/>
              <a:gd name="connsiteX137" fmla="*/ 183127 w 244878"/>
              <a:gd name="connsiteY137" fmla="*/ 205006 h 331822"/>
              <a:gd name="connsiteX138" fmla="*/ 181232 w 244878"/>
              <a:gd name="connsiteY138" fmla="*/ 205511 h 331822"/>
              <a:gd name="connsiteX139" fmla="*/ 178918 w 244878"/>
              <a:gd name="connsiteY139" fmla="*/ 205664 h 331822"/>
              <a:gd name="connsiteX140" fmla="*/ 176336 w 244878"/>
              <a:gd name="connsiteY140" fmla="*/ 207483 h 331822"/>
              <a:gd name="connsiteX141" fmla="*/ 173822 w 244878"/>
              <a:gd name="connsiteY141" fmla="*/ 210674 h 331822"/>
              <a:gd name="connsiteX142" fmla="*/ 172412 w 244878"/>
              <a:gd name="connsiteY142" fmla="*/ 213493 h 331822"/>
              <a:gd name="connsiteX143" fmla="*/ 171650 w 244878"/>
              <a:gd name="connsiteY143" fmla="*/ 214503 h 331822"/>
              <a:gd name="connsiteX144" fmla="*/ 170421 w 244878"/>
              <a:gd name="connsiteY144" fmla="*/ 211855 h 331822"/>
              <a:gd name="connsiteX145" fmla="*/ 168916 w 244878"/>
              <a:gd name="connsiteY145" fmla="*/ 210045 h 331822"/>
              <a:gd name="connsiteX146" fmla="*/ 167849 w 244878"/>
              <a:gd name="connsiteY146" fmla="*/ 209102 h 331822"/>
              <a:gd name="connsiteX147" fmla="*/ 166897 w 244878"/>
              <a:gd name="connsiteY147" fmla="*/ 209102 h 331822"/>
              <a:gd name="connsiteX148" fmla="*/ 166649 w 244878"/>
              <a:gd name="connsiteY148" fmla="*/ 209493 h 331822"/>
              <a:gd name="connsiteX149" fmla="*/ 166649 w 244878"/>
              <a:gd name="connsiteY149" fmla="*/ 210874 h 331822"/>
              <a:gd name="connsiteX150" fmla="*/ 167669 w 244878"/>
              <a:gd name="connsiteY150" fmla="*/ 213170 h 331822"/>
              <a:gd name="connsiteX151" fmla="*/ 168926 w 244878"/>
              <a:gd name="connsiteY151" fmla="*/ 214741 h 331822"/>
              <a:gd name="connsiteX152" fmla="*/ 169126 w 244878"/>
              <a:gd name="connsiteY152" fmla="*/ 215903 h 331822"/>
              <a:gd name="connsiteX153" fmla="*/ 169802 w 244878"/>
              <a:gd name="connsiteY153" fmla="*/ 217999 h 331822"/>
              <a:gd name="connsiteX154" fmla="*/ 171640 w 244878"/>
              <a:gd name="connsiteY154" fmla="*/ 220294 h 331822"/>
              <a:gd name="connsiteX155" fmla="*/ 174517 w 244878"/>
              <a:gd name="connsiteY155" fmla="*/ 222104 h 331822"/>
              <a:gd name="connsiteX156" fmla="*/ 176479 w 244878"/>
              <a:gd name="connsiteY156" fmla="*/ 223894 h 331822"/>
              <a:gd name="connsiteX157" fmla="*/ 177937 w 244878"/>
              <a:gd name="connsiteY157" fmla="*/ 226371 h 331822"/>
              <a:gd name="connsiteX158" fmla="*/ 177946 w 244878"/>
              <a:gd name="connsiteY158" fmla="*/ 227133 h 331822"/>
              <a:gd name="connsiteX159" fmla="*/ 177546 w 244878"/>
              <a:gd name="connsiteY159" fmla="*/ 228143 h 331822"/>
              <a:gd name="connsiteX160" fmla="*/ 176860 w 244878"/>
              <a:gd name="connsiteY160" fmla="*/ 229095 h 331822"/>
              <a:gd name="connsiteX161" fmla="*/ 176279 w 244878"/>
              <a:gd name="connsiteY161" fmla="*/ 230333 h 331822"/>
              <a:gd name="connsiteX162" fmla="*/ 174679 w 244878"/>
              <a:gd name="connsiteY162" fmla="*/ 232829 h 331822"/>
              <a:gd name="connsiteX163" fmla="*/ 175155 w 244878"/>
              <a:gd name="connsiteY163" fmla="*/ 233924 h 331822"/>
              <a:gd name="connsiteX164" fmla="*/ 176460 w 244878"/>
              <a:gd name="connsiteY164" fmla="*/ 235296 h 331822"/>
              <a:gd name="connsiteX165" fmla="*/ 177613 w 244878"/>
              <a:gd name="connsiteY165" fmla="*/ 236944 h 331822"/>
              <a:gd name="connsiteX166" fmla="*/ 179098 w 244878"/>
              <a:gd name="connsiteY166" fmla="*/ 239611 h 331822"/>
              <a:gd name="connsiteX167" fmla="*/ 181137 w 244878"/>
              <a:gd name="connsiteY167" fmla="*/ 244278 h 331822"/>
              <a:gd name="connsiteX168" fmla="*/ 182451 w 244878"/>
              <a:gd name="connsiteY168" fmla="*/ 246193 h 331822"/>
              <a:gd name="connsiteX169" fmla="*/ 184242 w 244878"/>
              <a:gd name="connsiteY169" fmla="*/ 248174 h 331822"/>
              <a:gd name="connsiteX170" fmla="*/ 185994 w 244878"/>
              <a:gd name="connsiteY170" fmla="*/ 249679 h 331822"/>
              <a:gd name="connsiteX171" fmla="*/ 188757 w 244878"/>
              <a:gd name="connsiteY171" fmla="*/ 249631 h 331822"/>
              <a:gd name="connsiteX172" fmla="*/ 191614 w 244878"/>
              <a:gd name="connsiteY172" fmla="*/ 252508 h 331822"/>
              <a:gd name="connsiteX173" fmla="*/ 194738 w 244878"/>
              <a:gd name="connsiteY173" fmla="*/ 256661 h 331822"/>
              <a:gd name="connsiteX174" fmla="*/ 197072 w 244878"/>
              <a:gd name="connsiteY174" fmla="*/ 258556 h 331822"/>
              <a:gd name="connsiteX175" fmla="*/ 198701 w 244878"/>
              <a:gd name="connsiteY175" fmla="*/ 259137 h 331822"/>
              <a:gd name="connsiteX176" fmla="*/ 200054 w 244878"/>
              <a:gd name="connsiteY176" fmla="*/ 260633 h 331822"/>
              <a:gd name="connsiteX177" fmla="*/ 201244 w 244878"/>
              <a:gd name="connsiteY177" fmla="*/ 262776 h 331822"/>
              <a:gd name="connsiteX178" fmla="*/ 201711 w 244878"/>
              <a:gd name="connsiteY178" fmla="*/ 264014 h 331822"/>
              <a:gd name="connsiteX179" fmla="*/ 202768 w 244878"/>
              <a:gd name="connsiteY179" fmla="*/ 264909 h 331822"/>
              <a:gd name="connsiteX180" fmla="*/ 205626 w 244878"/>
              <a:gd name="connsiteY180" fmla="*/ 264738 h 331822"/>
              <a:gd name="connsiteX181" fmla="*/ 209302 w 244878"/>
              <a:gd name="connsiteY181" fmla="*/ 268110 h 331822"/>
              <a:gd name="connsiteX182" fmla="*/ 211569 w 244878"/>
              <a:gd name="connsiteY182" fmla="*/ 270567 h 331822"/>
              <a:gd name="connsiteX183" fmla="*/ 212769 w 244878"/>
              <a:gd name="connsiteY183" fmla="*/ 272548 h 331822"/>
              <a:gd name="connsiteX184" fmla="*/ 212455 w 244878"/>
              <a:gd name="connsiteY184" fmla="*/ 273339 h 331822"/>
              <a:gd name="connsiteX185" fmla="*/ 212302 w 244878"/>
              <a:gd name="connsiteY185" fmla="*/ 275806 h 331822"/>
              <a:gd name="connsiteX186" fmla="*/ 212341 w 244878"/>
              <a:gd name="connsiteY186" fmla="*/ 278416 h 331822"/>
              <a:gd name="connsiteX187" fmla="*/ 211979 w 244878"/>
              <a:gd name="connsiteY187" fmla="*/ 279797 h 331822"/>
              <a:gd name="connsiteX188" fmla="*/ 210340 w 244878"/>
              <a:gd name="connsiteY188" fmla="*/ 281616 h 331822"/>
              <a:gd name="connsiteX189" fmla="*/ 209493 w 244878"/>
              <a:gd name="connsiteY189" fmla="*/ 282007 h 331822"/>
              <a:gd name="connsiteX190" fmla="*/ 209036 w 244878"/>
              <a:gd name="connsiteY190" fmla="*/ 282397 h 331822"/>
              <a:gd name="connsiteX191" fmla="*/ 203997 w 244878"/>
              <a:gd name="connsiteY191" fmla="*/ 280025 h 331822"/>
              <a:gd name="connsiteX192" fmla="*/ 203597 w 244878"/>
              <a:gd name="connsiteY192" fmla="*/ 280425 h 331822"/>
              <a:gd name="connsiteX193" fmla="*/ 203283 w 244878"/>
              <a:gd name="connsiteY193" fmla="*/ 280721 h 331822"/>
              <a:gd name="connsiteX194" fmla="*/ 201930 w 244878"/>
              <a:gd name="connsiteY194" fmla="*/ 287569 h 331822"/>
              <a:gd name="connsiteX195" fmla="*/ 201006 w 244878"/>
              <a:gd name="connsiteY195" fmla="*/ 288884 h 331822"/>
              <a:gd name="connsiteX196" fmla="*/ 199615 w 244878"/>
              <a:gd name="connsiteY196" fmla="*/ 290093 h 331822"/>
              <a:gd name="connsiteX197" fmla="*/ 196739 w 244878"/>
              <a:gd name="connsiteY197" fmla="*/ 291274 h 331822"/>
              <a:gd name="connsiteX198" fmla="*/ 194738 w 244878"/>
              <a:gd name="connsiteY198" fmla="*/ 291751 h 331822"/>
              <a:gd name="connsiteX199" fmla="*/ 193176 w 244878"/>
              <a:gd name="connsiteY199" fmla="*/ 292351 h 331822"/>
              <a:gd name="connsiteX200" fmla="*/ 188233 w 244878"/>
              <a:gd name="connsiteY200" fmla="*/ 295208 h 331822"/>
              <a:gd name="connsiteX201" fmla="*/ 186014 w 244878"/>
              <a:gd name="connsiteY201" fmla="*/ 296923 h 331822"/>
              <a:gd name="connsiteX202" fmla="*/ 184575 w 244878"/>
              <a:gd name="connsiteY202" fmla="*/ 299075 h 331822"/>
              <a:gd name="connsiteX203" fmla="*/ 184566 w 244878"/>
              <a:gd name="connsiteY203" fmla="*/ 300314 h 331822"/>
              <a:gd name="connsiteX204" fmla="*/ 186966 w 244878"/>
              <a:gd name="connsiteY204" fmla="*/ 303943 h 331822"/>
              <a:gd name="connsiteX205" fmla="*/ 189738 w 244878"/>
              <a:gd name="connsiteY205" fmla="*/ 307695 h 331822"/>
              <a:gd name="connsiteX206" fmla="*/ 189747 w 244878"/>
              <a:gd name="connsiteY206" fmla="*/ 310982 h 331822"/>
              <a:gd name="connsiteX207" fmla="*/ 188528 w 244878"/>
              <a:gd name="connsiteY207" fmla="*/ 313439 h 331822"/>
              <a:gd name="connsiteX208" fmla="*/ 188243 w 244878"/>
              <a:gd name="connsiteY208" fmla="*/ 314382 h 331822"/>
              <a:gd name="connsiteX209" fmla="*/ 189062 w 244878"/>
              <a:gd name="connsiteY209" fmla="*/ 314744 h 331822"/>
              <a:gd name="connsiteX210" fmla="*/ 190595 w 244878"/>
              <a:gd name="connsiteY210" fmla="*/ 314877 h 331822"/>
              <a:gd name="connsiteX211" fmla="*/ 191881 w 244878"/>
              <a:gd name="connsiteY211" fmla="*/ 315296 h 331822"/>
              <a:gd name="connsiteX212" fmla="*/ 192424 w 244878"/>
              <a:gd name="connsiteY212" fmla="*/ 317030 h 331822"/>
              <a:gd name="connsiteX213" fmla="*/ 192262 w 244878"/>
              <a:gd name="connsiteY213" fmla="*/ 320030 h 331822"/>
              <a:gd name="connsiteX214" fmla="*/ 191824 w 244878"/>
              <a:gd name="connsiteY214" fmla="*/ 322840 h 331822"/>
              <a:gd name="connsiteX215" fmla="*/ 191367 w 244878"/>
              <a:gd name="connsiteY215" fmla="*/ 324022 h 331822"/>
              <a:gd name="connsiteX216" fmla="*/ 190128 w 244878"/>
              <a:gd name="connsiteY216" fmla="*/ 324117 h 331822"/>
              <a:gd name="connsiteX217" fmla="*/ 187747 w 244878"/>
              <a:gd name="connsiteY217" fmla="*/ 322907 h 331822"/>
              <a:gd name="connsiteX218" fmla="*/ 185890 w 244878"/>
              <a:gd name="connsiteY218" fmla="*/ 321497 h 331822"/>
              <a:gd name="connsiteX219" fmla="*/ 185175 w 244878"/>
              <a:gd name="connsiteY219" fmla="*/ 320630 h 331822"/>
              <a:gd name="connsiteX220" fmla="*/ 185137 w 244878"/>
              <a:gd name="connsiteY220" fmla="*/ 319592 h 331822"/>
              <a:gd name="connsiteX221" fmla="*/ 185538 w 244878"/>
              <a:gd name="connsiteY221" fmla="*/ 318935 h 331822"/>
              <a:gd name="connsiteX222" fmla="*/ 184880 w 244878"/>
              <a:gd name="connsiteY222" fmla="*/ 317659 h 331822"/>
              <a:gd name="connsiteX223" fmla="*/ 182594 w 244878"/>
              <a:gd name="connsiteY223" fmla="*/ 316468 h 331822"/>
              <a:gd name="connsiteX224" fmla="*/ 180146 w 244878"/>
              <a:gd name="connsiteY224" fmla="*/ 316982 h 331822"/>
              <a:gd name="connsiteX225" fmla="*/ 178346 w 244878"/>
              <a:gd name="connsiteY225" fmla="*/ 317773 h 331822"/>
              <a:gd name="connsiteX226" fmla="*/ 177174 w 244878"/>
              <a:gd name="connsiteY226" fmla="*/ 317725 h 331822"/>
              <a:gd name="connsiteX227" fmla="*/ 175917 w 244878"/>
              <a:gd name="connsiteY227" fmla="*/ 316582 h 331822"/>
              <a:gd name="connsiteX228" fmla="*/ 173974 w 244878"/>
              <a:gd name="connsiteY228" fmla="*/ 315706 h 331822"/>
              <a:gd name="connsiteX229" fmla="*/ 171440 w 244878"/>
              <a:gd name="connsiteY229" fmla="*/ 315125 h 331822"/>
              <a:gd name="connsiteX230" fmla="*/ 169859 w 244878"/>
              <a:gd name="connsiteY230" fmla="*/ 314515 h 331822"/>
              <a:gd name="connsiteX231" fmla="*/ 169526 w 244878"/>
              <a:gd name="connsiteY231" fmla="*/ 314877 h 331822"/>
              <a:gd name="connsiteX232" fmla="*/ 169707 w 244878"/>
              <a:gd name="connsiteY232" fmla="*/ 317344 h 331822"/>
              <a:gd name="connsiteX233" fmla="*/ 169221 w 244878"/>
              <a:gd name="connsiteY233" fmla="*/ 318421 h 331822"/>
              <a:gd name="connsiteX234" fmla="*/ 156686 w 244878"/>
              <a:gd name="connsiteY234" fmla="*/ 319849 h 331822"/>
              <a:gd name="connsiteX235" fmla="*/ 152867 w 244878"/>
              <a:gd name="connsiteY235" fmla="*/ 321183 h 331822"/>
              <a:gd name="connsiteX236" fmla="*/ 150085 w 244878"/>
              <a:gd name="connsiteY236" fmla="*/ 322907 h 331822"/>
              <a:gd name="connsiteX237" fmla="*/ 148028 w 244878"/>
              <a:gd name="connsiteY237" fmla="*/ 323650 h 331822"/>
              <a:gd name="connsiteX238" fmla="*/ 147523 w 244878"/>
              <a:gd name="connsiteY238" fmla="*/ 324707 h 331822"/>
              <a:gd name="connsiteX239" fmla="*/ 145485 w 244878"/>
              <a:gd name="connsiteY239" fmla="*/ 326098 h 331822"/>
              <a:gd name="connsiteX240" fmla="*/ 143189 w 244878"/>
              <a:gd name="connsiteY240" fmla="*/ 326536 h 331822"/>
              <a:gd name="connsiteX241" fmla="*/ 142627 w 244878"/>
              <a:gd name="connsiteY241" fmla="*/ 326088 h 331822"/>
              <a:gd name="connsiteX242" fmla="*/ 141151 w 244878"/>
              <a:gd name="connsiteY242" fmla="*/ 326727 h 331822"/>
              <a:gd name="connsiteX243" fmla="*/ 138636 w 244878"/>
              <a:gd name="connsiteY243" fmla="*/ 327346 h 331822"/>
              <a:gd name="connsiteX244" fmla="*/ 137008 w 244878"/>
              <a:gd name="connsiteY244" fmla="*/ 327145 h 331822"/>
              <a:gd name="connsiteX245" fmla="*/ 136236 w 244878"/>
              <a:gd name="connsiteY245" fmla="*/ 326022 h 331822"/>
              <a:gd name="connsiteX246" fmla="*/ 134683 w 244878"/>
              <a:gd name="connsiteY246" fmla="*/ 324298 h 331822"/>
              <a:gd name="connsiteX247" fmla="*/ 134055 w 244878"/>
              <a:gd name="connsiteY247" fmla="*/ 323107 h 331822"/>
              <a:gd name="connsiteX248" fmla="*/ 134121 w 244878"/>
              <a:gd name="connsiteY248" fmla="*/ 322336 h 331822"/>
              <a:gd name="connsiteX249" fmla="*/ 130607 w 244878"/>
              <a:gd name="connsiteY249" fmla="*/ 322183 h 331822"/>
              <a:gd name="connsiteX250" fmla="*/ 128397 w 244878"/>
              <a:gd name="connsiteY250" fmla="*/ 321269 h 331822"/>
              <a:gd name="connsiteX251" fmla="*/ 123692 w 244878"/>
              <a:gd name="connsiteY251" fmla="*/ 321478 h 331822"/>
              <a:gd name="connsiteX252" fmla="*/ 122529 w 244878"/>
              <a:gd name="connsiteY252" fmla="*/ 321088 h 331822"/>
              <a:gd name="connsiteX253" fmla="*/ 122291 w 244878"/>
              <a:gd name="connsiteY253" fmla="*/ 321497 h 331822"/>
              <a:gd name="connsiteX254" fmla="*/ 121586 w 244878"/>
              <a:gd name="connsiteY254" fmla="*/ 326393 h 331822"/>
              <a:gd name="connsiteX255" fmla="*/ 120653 w 244878"/>
              <a:gd name="connsiteY255" fmla="*/ 328393 h 331822"/>
              <a:gd name="connsiteX256" fmla="*/ 119148 w 244878"/>
              <a:gd name="connsiteY256" fmla="*/ 330460 h 331822"/>
              <a:gd name="connsiteX257" fmla="*/ 117215 w 244878"/>
              <a:gd name="connsiteY257" fmla="*/ 331613 h 331822"/>
              <a:gd name="connsiteX258" fmla="*/ 115681 w 244878"/>
              <a:gd name="connsiteY258" fmla="*/ 331822 h 331822"/>
              <a:gd name="connsiteX259" fmla="*/ 115748 w 244878"/>
              <a:gd name="connsiteY259" fmla="*/ 330317 h 331822"/>
              <a:gd name="connsiteX260" fmla="*/ 116138 w 244878"/>
              <a:gd name="connsiteY260" fmla="*/ 328498 h 331822"/>
              <a:gd name="connsiteX261" fmla="*/ 115024 w 244878"/>
              <a:gd name="connsiteY261" fmla="*/ 328070 h 331822"/>
              <a:gd name="connsiteX262" fmla="*/ 113357 w 244878"/>
              <a:gd name="connsiteY262" fmla="*/ 327870 h 331822"/>
              <a:gd name="connsiteX263" fmla="*/ 112557 w 244878"/>
              <a:gd name="connsiteY263" fmla="*/ 327327 h 331822"/>
              <a:gd name="connsiteX264" fmla="*/ 112766 w 244878"/>
              <a:gd name="connsiteY264" fmla="*/ 325936 h 331822"/>
              <a:gd name="connsiteX265" fmla="*/ 112376 w 244878"/>
              <a:gd name="connsiteY265" fmla="*/ 325126 h 331822"/>
              <a:gd name="connsiteX266" fmla="*/ 111690 w 244878"/>
              <a:gd name="connsiteY266" fmla="*/ 324155 h 331822"/>
              <a:gd name="connsiteX267" fmla="*/ 110014 w 244878"/>
              <a:gd name="connsiteY267" fmla="*/ 322907 h 331822"/>
              <a:gd name="connsiteX268" fmla="*/ 106470 w 244878"/>
              <a:gd name="connsiteY268" fmla="*/ 321059 h 331822"/>
              <a:gd name="connsiteX269" fmla="*/ 104061 w 244878"/>
              <a:gd name="connsiteY269" fmla="*/ 320135 h 331822"/>
              <a:gd name="connsiteX270" fmla="*/ 103156 w 244878"/>
              <a:gd name="connsiteY270" fmla="*/ 321116 h 331822"/>
              <a:gd name="connsiteX271" fmla="*/ 101432 w 244878"/>
              <a:gd name="connsiteY271" fmla="*/ 322097 h 331822"/>
              <a:gd name="connsiteX272" fmla="*/ 98717 w 244878"/>
              <a:gd name="connsiteY272" fmla="*/ 321773 h 331822"/>
              <a:gd name="connsiteX273" fmla="*/ 98050 w 244878"/>
              <a:gd name="connsiteY273" fmla="*/ 322164 h 331822"/>
              <a:gd name="connsiteX274" fmla="*/ 93393 w 244878"/>
              <a:gd name="connsiteY274" fmla="*/ 319211 h 331822"/>
              <a:gd name="connsiteX275" fmla="*/ 88925 w 244878"/>
              <a:gd name="connsiteY275" fmla="*/ 316373 h 331822"/>
              <a:gd name="connsiteX276" fmla="*/ 87449 w 244878"/>
              <a:gd name="connsiteY276" fmla="*/ 316373 h 331822"/>
              <a:gd name="connsiteX277" fmla="*/ 80867 w 244878"/>
              <a:gd name="connsiteY277" fmla="*/ 316944 h 331822"/>
              <a:gd name="connsiteX278" fmla="*/ 80677 w 244878"/>
              <a:gd name="connsiteY278" fmla="*/ 316697 h 331822"/>
              <a:gd name="connsiteX279" fmla="*/ 79524 w 244878"/>
              <a:gd name="connsiteY279" fmla="*/ 315077 h 331822"/>
              <a:gd name="connsiteX280" fmla="*/ 78514 w 244878"/>
              <a:gd name="connsiteY280" fmla="*/ 314563 h 331822"/>
              <a:gd name="connsiteX281" fmla="*/ 77905 w 244878"/>
              <a:gd name="connsiteY281" fmla="*/ 314830 h 331822"/>
              <a:gd name="connsiteX282" fmla="*/ 77495 w 244878"/>
              <a:gd name="connsiteY282" fmla="*/ 315296 h 331822"/>
              <a:gd name="connsiteX283" fmla="*/ 76790 w 244878"/>
              <a:gd name="connsiteY283" fmla="*/ 315220 h 331822"/>
              <a:gd name="connsiteX284" fmla="*/ 73838 w 244878"/>
              <a:gd name="connsiteY284" fmla="*/ 312610 h 331822"/>
              <a:gd name="connsiteX285" fmla="*/ 72628 w 244878"/>
              <a:gd name="connsiteY285" fmla="*/ 312230 h 331822"/>
              <a:gd name="connsiteX286" fmla="*/ 70952 w 244878"/>
              <a:gd name="connsiteY286" fmla="*/ 312582 h 331822"/>
              <a:gd name="connsiteX287" fmla="*/ 68971 w 244878"/>
              <a:gd name="connsiteY287" fmla="*/ 313992 h 331822"/>
              <a:gd name="connsiteX288" fmla="*/ 68104 w 244878"/>
              <a:gd name="connsiteY288" fmla="*/ 315716 h 331822"/>
              <a:gd name="connsiteX289" fmla="*/ 68370 w 244878"/>
              <a:gd name="connsiteY289" fmla="*/ 316706 h 331822"/>
              <a:gd name="connsiteX290" fmla="*/ 69390 w 244878"/>
              <a:gd name="connsiteY290" fmla="*/ 317135 h 331822"/>
              <a:gd name="connsiteX291" fmla="*/ 72085 w 244878"/>
              <a:gd name="connsiteY291" fmla="*/ 316849 h 331822"/>
              <a:gd name="connsiteX292" fmla="*/ 72476 w 244878"/>
              <a:gd name="connsiteY292" fmla="*/ 317135 h 331822"/>
              <a:gd name="connsiteX293" fmla="*/ 72571 w 244878"/>
              <a:gd name="connsiteY293" fmla="*/ 317697 h 331822"/>
              <a:gd name="connsiteX294" fmla="*/ 72276 w 244878"/>
              <a:gd name="connsiteY294" fmla="*/ 318240 h 331822"/>
              <a:gd name="connsiteX295" fmla="*/ 70094 w 244878"/>
              <a:gd name="connsiteY295" fmla="*/ 318687 h 331822"/>
              <a:gd name="connsiteX296" fmla="*/ 69466 w 244878"/>
              <a:gd name="connsiteY296" fmla="*/ 319344 h 331822"/>
              <a:gd name="connsiteX297" fmla="*/ 68827 w 244878"/>
              <a:gd name="connsiteY297" fmla="*/ 319507 h 331822"/>
              <a:gd name="connsiteX298" fmla="*/ 68418 w 244878"/>
              <a:gd name="connsiteY298" fmla="*/ 319611 h 331822"/>
              <a:gd name="connsiteX299" fmla="*/ 66094 w 244878"/>
              <a:gd name="connsiteY299" fmla="*/ 318926 h 331822"/>
              <a:gd name="connsiteX300" fmla="*/ 62636 w 244878"/>
              <a:gd name="connsiteY300" fmla="*/ 318926 h 331822"/>
              <a:gd name="connsiteX301" fmla="*/ 59845 w 244878"/>
              <a:gd name="connsiteY301" fmla="*/ 320135 h 331822"/>
              <a:gd name="connsiteX302" fmla="*/ 55388 w 244878"/>
              <a:gd name="connsiteY302" fmla="*/ 320621 h 331822"/>
              <a:gd name="connsiteX303" fmla="*/ 49263 w 244878"/>
              <a:gd name="connsiteY303" fmla="*/ 320383 h 331822"/>
              <a:gd name="connsiteX304" fmla="*/ 47063 w 244878"/>
              <a:gd name="connsiteY304" fmla="*/ 319478 h 331822"/>
              <a:gd name="connsiteX305" fmla="*/ 45720 w 244878"/>
              <a:gd name="connsiteY305" fmla="*/ 318935 h 331822"/>
              <a:gd name="connsiteX306" fmla="*/ 44748 w 244878"/>
              <a:gd name="connsiteY306" fmla="*/ 316268 h 331822"/>
              <a:gd name="connsiteX307" fmla="*/ 44996 w 244878"/>
              <a:gd name="connsiteY307" fmla="*/ 312315 h 331822"/>
              <a:gd name="connsiteX308" fmla="*/ 46453 w 244878"/>
              <a:gd name="connsiteY308" fmla="*/ 307067 h 331822"/>
              <a:gd name="connsiteX309" fmla="*/ 46863 w 244878"/>
              <a:gd name="connsiteY309" fmla="*/ 303209 h 331822"/>
              <a:gd name="connsiteX310" fmla="*/ 46215 w 244878"/>
              <a:gd name="connsiteY310" fmla="*/ 300752 h 331822"/>
              <a:gd name="connsiteX311" fmla="*/ 47082 w 244878"/>
              <a:gd name="connsiteY311" fmla="*/ 297056 h 331822"/>
              <a:gd name="connsiteX312" fmla="*/ 49463 w 244878"/>
              <a:gd name="connsiteY312" fmla="*/ 292122 h 331822"/>
              <a:gd name="connsiteX313" fmla="*/ 51054 w 244878"/>
              <a:gd name="connsiteY313" fmla="*/ 286912 h 331822"/>
              <a:gd name="connsiteX314" fmla="*/ 51845 w 244878"/>
              <a:gd name="connsiteY314" fmla="*/ 281407 h 331822"/>
              <a:gd name="connsiteX315" fmla="*/ 52997 w 244878"/>
              <a:gd name="connsiteY315" fmla="*/ 277816 h 331822"/>
              <a:gd name="connsiteX316" fmla="*/ 55264 w 244878"/>
              <a:gd name="connsiteY316" fmla="*/ 275291 h 331822"/>
              <a:gd name="connsiteX317" fmla="*/ 60646 w 244878"/>
              <a:gd name="connsiteY317" fmla="*/ 268224 h 331822"/>
              <a:gd name="connsiteX318" fmla="*/ 61084 w 244878"/>
              <a:gd name="connsiteY318" fmla="*/ 267691 h 331822"/>
              <a:gd name="connsiteX319" fmla="*/ 60931 w 244878"/>
              <a:gd name="connsiteY319" fmla="*/ 264157 h 331822"/>
              <a:gd name="connsiteX320" fmla="*/ 59484 w 244878"/>
              <a:gd name="connsiteY320" fmla="*/ 263652 h 331822"/>
              <a:gd name="connsiteX321" fmla="*/ 57360 w 244878"/>
              <a:gd name="connsiteY321" fmla="*/ 262633 h 331822"/>
              <a:gd name="connsiteX322" fmla="*/ 51959 w 244878"/>
              <a:gd name="connsiteY322" fmla="*/ 261375 h 331822"/>
              <a:gd name="connsiteX323" fmla="*/ 46930 w 244878"/>
              <a:gd name="connsiteY323" fmla="*/ 260566 h 331822"/>
              <a:gd name="connsiteX324" fmla="*/ 44643 w 244878"/>
              <a:gd name="connsiteY324" fmla="*/ 259566 h 331822"/>
              <a:gd name="connsiteX325" fmla="*/ 42643 w 244878"/>
              <a:gd name="connsiteY325" fmla="*/ 256889 h 331822"/>
              <a:gd name="connsiteX326" fmla="*/ 41405 w 244878"/>
              <a:gd name="connsiteY326" fmla="*/ 256851 h 331822"/>
              <a:gd name="connsiteX327" fmla="*/ 38976 w 244878"/>
              <a:gd name="connsiteY327" fmla="*/ 257813 h 331822"/>
              <a:gd name="connsiteX328" fmla="*/ 35947 w 244878"/>
              <a:gd name="connsiteY328" fmla="*/ 258461 h 331822"/>
              <a:gd name="connsiteX329" fmla="*/ 33737 w 244878"/>
              <a:gd name="connsiteY329" fmla="*/ 257899 h 331822"/>
              <a:gd name="connsiteX330" fmla="*/ 32356 w 244878"/>
              <a:gd name="connsiteY330" fmla="*/ 258004 h 331822"/>
              <a:gd name="connsiteX331" fmla="*/ 31585 w 244878"/>
              <a:gd name="connsiteY331" fmla="*/ 258499 h 331822"/>
              <a:gd name="connsiteX332" fmla="*/ 31194 w 244878"/>
              <a:gd name="connsiteY332" fmla="*/ 258061 h 331822"/>
              <a:gd name="connsiteX333" fmla="*/ 30642 w 244878"/>
              <a:gd name="connsiteY333" fmla="*/ 255765 h 331822"/>
              <a:gd name="connsiteX334" fmla="*/ 29489 w 244878"/>
              <a:gd name="connsiteY334" fmla="*/ 255165 h 331822"/>
              <a:gd name="connsiteX335" fmla="*/ 27699 w 244878"/>
              <a:gd name="connsiteY335" fmla="*/ 254632 h 331822"/>
              <a:gd name="connsiteX336" fmla="*/ 26584 w 244878"/>
              <a:gd name="connsiteY336" fmla="*/ 254860 h 331822"/>
              <a:gd name="connsiteX337" fmla="*/ 25813 w 244878"/>
              <a:gd name="connsiteY337" fmla="*/ 256003 h 331822"/>
              <a:gd name="connsiteX338" fmla="*/ 24622 w 244878"/>
              <a:gd name="connsiteY338" fmla="*/ 256804 h 331822"/>
              <a:gd name="connsiteX339" fmla="*/ 23536 w 244878"/>
              <a:gd name="connsiteY339" fmla="*/ 256546 h 331822"/>
              <a:gd name="connsiteX340" fmla="*/ 20117 w 244878"/>
              <a:gd name="connsiteY340" fmla="*/ 251231 h 331822"/>
              <a:gd name="connsiteX341" fmla="*/ 19240 w 244878"/>
              <a:gd name="connsiteY341" fmla="*/ 250050 h 331822"/>
              <a:gd name="connsiteX342" fmla="*/ 19021 w 244878"/>
              <a:gd name="connsiteY342" fmla="*/ 248964 h 331822"/>
              <a:gd name="connsiteX343" fmla="*/ 18164 w 244878"/>
              <a:gd name="connsiteY343" fmla="*/ 246983 h 331822"/>
              <a:gd name="connsiteX344" fmla="*/ 16126 w 244878"/>
              <a:gd name="connsiteY344" fmla="*/ 245002 h 331822"/>
              <a:gd name="connsiteX345" fmla="*/ 14097 w 244878"/>
              <a:gd name="connsiteY345" fmla="*/ 244373 h 331822"/>
              <a:gd name="connsiteX346" fmla="*/ 13087 w 244878"/>
              <a:gd name="connsiteY346" fmla="*/ 244592 h 331822"/>
              <a:gd name="connsiteX347" fmla="*/ 13202 w 244878"/>
              <a:gd name="connsiteY347" fmla="*/ 242135 h 331822"/>
              <a:gd name="connsiteX348" fmla="*/ 13992 w 244878"/>
              <a:gd name="connsiteY348" fmla="*/ 238563 h 331822"/>
              <a:gd name="connsiteX349" fmla="*/ 14754 w 244878"/>
              <a:gd name="connsiteY349" fmla="*/ 236696 h 331822"/>
              <a:gd name="connsiteX350" fmla="*/ 15764 w 244878"/>
              <a:gd name="connsiteY350" fmla="*/ 235172 h 331822"/>
              <a:gd name="connsiteX351" fmla="*/ 16840 w 244878"/>
              <a:gd name="connsiteY351" fmla="*/ 234105 h 331822"/>
              <a:gd name="connsiteX352" fmla="*/ 17078 w 244878"/>
              <a:gd name="connsiteY352" fmla="*/ 232181 h 331822"/>
              <a:gd name="connsiteX353" fmla="*/ 16907 w 244878"/>
              <a:gd name="connsiteY353" fmla="*/ 230362 h 331822"/>
              <a:gd name="connsiteX354" fmla="*/ 15669 w 244878"/>
              <a:gd name="connsiteY354" fmla="*/ 230076 h 331822"/>
              <a:gd name="connsiteX355" fmla="*/ 12563 w 244878"/>
              <a:gd name="connsiteY355" fmla="*/ 228733 h 331822"/>
              <a:gd name="connsiteX356" fmla="*/ 10725 w 244878"/>
              <a:gd name="connsiteY356" fmla="*/ 227314 h 331822"/>
              <a:gd name="connsiteX357" fmla="*/ 9363 w 244878"/>
              <a:gd name="connsiteY357" fmla="*/ 225533 h 331822"/>
              <a:gd name="connsiteX358" fmla="*/ 7572 w 244878"/>
              <a:gd name="connsiteY358" fmla="*/ 223085 h 331822"/>
              <a:gd name="connsiteX359" fmla="*/ 6810 w 244878"/>
              <a:gd name="connsiteY359" fmla="*/ 220589 h 331822"/>
              <a:gd name="connsiteX360" fmla="*/ 6772 w 244878"/>
              <a:gd name="connsiteY360" fmla="*/ 218103 h 331822"/>
              <a:gd name="connsiteX361" fmla="*/ 6982 w 244878"/>
              <a:gd name="connsiteY361" fmla="*/ 216989 h 331822"/>
              <a:gd name="connsiteX362" fmla="*/ 7115 w 244878"/>
              <a:gd name="connsiteY362" fmla="*/ 216217 h 331822"/>
              <a:gd name="connsiteX363" fmla="*/ 8553 w 244878"/>
              <a:gd name="connsiteY363" fmla="*/ 212331 h 331822"/>
              <a:gd name="connsiteX364" fmla="*/ 13621 w 244878"/>
              <a:gd name="connsiteY364" fmla="*/ 208845 h 331822"/>
              <a:gd name="connsiteX365" fmla="*/ 13059 w 244878"/>
              <a:gd name="connsiteY365" fmla="*/ 205330 h 331822"/>
              <a:gd name="connsiteX366" fmla="*/ 12983 w 244878"/>
              <a:gd name="connsiteY366" fmla="*/ 203168 h 331822"/>
              <a:gd name="connsiteX367" fmla="*/ 11754 w 244878"/>
              <a:gd name="connsiteY367" fmla="*/ 201758 h 331822"/>
              <a:gd name="connsiteX368" fmla="*/ 9296 w 244878"/>
              <a:gd name="connsiteY368" fmla="*/ 201187 h 331822"/>
              <a:gd name="connsiteX369" fmla="*/ 8649 w 244878"/>
              <a:gd name="connsiteY369" fmla="*/ 200206 h 331822"/>
              <a:gd name="connsiteX370" fmla="*/ 8372 w 244878"/>
              <a:gd name="connsiteY370" fmla="*/ 199244 h 331822"/>
              <a:gd name="connsiteX371" fmla="*/ 10173 w 244878"/>
              <a:gd name="connsiteY371" fmla="*/ 197082 h 331822"/>
              <a:gd name="connsiteX372" fmla="*/ 7991 w 244878"/>
              <a:gd name="connsiteY372" fmla="*/ 195377 h 331822"/>
              <a:gd name="connsiteX373" fmla="*/ 7001 w 244878"/>
              <a:gd name="connsiteY373" fmla="*/ 193691 h 331822"/>
              <a:gd name="connsiteX374" fmla="*/ 3972 w 244878"/>
              <a:gd name="connsiteY374" fmla="*/ 191462 h 331822"/>
              <a:gd name="connsiteX375" fmla="*/ 3648 w 244878"/>
              <a:gd name="connsiteY375" fmla="*/ 190690 h 331822"/>
              <a:gd name="connsiteX376" fmla="*/ 5105 w 244878"/>
              <a:gd name="connsiteY376" fmla="*/ 184166 h 331822"/>
              <a:gd name="connsiteX377" fmla="*/ 3991 w 244878"/>
              <a:gd name="connsiteY377" fmla="*/ 182261 h 331822"/>
              <a:gd name="connsiteX378" fmla="*/ 2610 w 244878"/>
              <a:gd name="connsiteY378" fmla="*/ 181289 h 331822"/>
              <a:gd name="connsiteX379" fmla="*/ 1000 w 244878"/>
              <a:gd name="connsiteY379" fmla="*/ 180813 h 331822"/>
              <a:gd name="connsiteX380" fmla="*/ 257 w 244878"/>
              <a:gd name="connsiteY380" fmla="*/ 179908 h 331822"/>
              <a:gd name="connsiteX381" fmla="*/ 0 w 244878"/>
              <a:gd name="connsiteY381" fmla="*/ 178870 h 331822"/>
              <a:gd name="connsiteX382" fmla="*/ 286 w 244878"/>
              <a:gd name="connsiteY382" fmla="*/ 178232 h 331822"/>
              <a:gd name="connsiteX383" fmla="*/ 2181 w 244878"/>
              <a:gd name="connsiteY383" fmla="*/ 178422 h 331822"/>
              <a:gd name="connsiteX384" fmla="*/ 2772 w 244878"/>
              <a:gd name="connsiteY384" fmla="*/ 177746 h 331822"/>
              <a:gd name="connsiteX385" fmla="*/ 7286 w 244878"/>
              <a:gd name="connsiteY385" fmla="*/ 173898 h 331822"/>
              <a:gd name="connsiteX386" fmla="*/ 7477 w 244878"/>
              <a:gd name="connsiteY386" fmla="*/ 173155 h 331822"/>
              <a:gd name="connsiteX387" fmla="*/ 6848 w 244878"/>
              <a:gd name="connsiteY387" fmla="*/ 172736 h 331822"/>
              <a:gd name="connsiteX388" fmla="*/ 6029 w 244878"/>
              <a:gd name="connsiteY388" fmla="*/ 172517 h 331822"/>
              <a:gd name="connsiteX389" fmla="*/ 5820 w 244878"/>
              <a:gd name="connsiteY389" fmla="*/ 171707 h 331822"/>
              <a:gd name="connsiteX390" fmla="*/ 5848 w 244878"/>
              <a:gd name="connsiteY390" fmla="*/ 170640 h 331822"/>
              <a:gd name="connsiteX391" fmla="*/ 8258 w 244878"/>
              <a:gd name="connsiteY391" fmla="*/ 165068 h 331822"/>
              <a:gd name="connsiteX392" fmla="*/ 8972 w 244878"/>
              <a:gd name="connsiteY392" fmla="*/ 162687 h 331822"/>
              <a:gd name="connsiteX393" fmla="*/ 9134 w 244878"/>
              <a:gd name="connsiteY393" fmla="*/ 161001 h 331822"/>
              <a:gd name="connsiteX394" fmla="*/ 8982 w 244878"/>
              <a:gd name="connsiteY394" fmla="*/ 159334 h 331822"/>
              <a:gd name="connsiteX395" fmla="*/ 7591 w 244878"/>
              <a:gd name="connsiteY395" fmla="*/ 156715 h 331822"/>
              <a:gd name="connsiteX396" fmla="*/ 6248 w 244878"/>
              <a:gd name="connsiteY396" fmla="*/ 154619 h 331822"/>
              <a:gd name="connsiteX397" fmla="*/ 6201 w 244878"/>
              <a:gd name="connsiteY397" fmla="*/ 152952 h 331822"/>
              <a:gd name="connsiteX398" fmla="*/ 5220 w 244878"/>
              <a:gd name="connsiteY398" fmla="*/ 152076 h 331822"/>
              <a:gd name="connsiteX399" fmla="*/ 2438 w 244878"/>
              <a:gd name="connsiteY399" fmla="*/ 147590 h 331822"/>
              <a:gd name="connsiteX400" fmla="*/ 2438 w 244878"/>
              <a:gd name="connsiteY400" fmla="*/ 145856 h 331822"/>
              <a:gd name="connsiteX401" fmla="*/ 4010 w 244878"/>
              <a:gd name="connsiteY401" fmla="*/ 144504 h 331822"/>
              <a:gd name="connsiteX402" fmla="*/ 6210 w 244878"/>
              <a:gd name="connsiteY402" fmla="*/ 143646 h 331822"/>
              <a:gd name="connsiteX403" fmla="*/ 6944 w 244878"/>
              <a:gd name="connsiteY403" fmla="*/ 142932 h 331822"/>
              <a:gd name="connsiteX404" fmla="*/ 8258 w 244878"/>
              <a:gd name="connsiteY404" fmla="*/ 142484 h 331822"/>
              <a:gd name="connsiteX405" fmla="*/ 11754 w 244878"/>
              <a:gd name="connsiteY405" fmla="*/ 143780 h 331822"/>
              <a:gd name="connsiteX406" fmla="*/ 13316 w 244878"/>
              <a:gd name="connsiteY406" fmla="*/ 144904 h 331822"/>
              <a:gd name="connsiteX407" fmla="*/ 13754 w 244878"/>
              <a:gd name="connsiteY407" fmla="*/ 144675 h 331822"/>
              <a:gd name="connsiteX408" fmla="*/ 15164 w 244878"/>
              <a:gd name="connsiteY408" fmla="*/ 143456 h 331822"/>
              <a:gd name="connsiteX409" fmla="*/ 17640 w 244878"/>
              <a:gd name="connsiteY409" fmla="*/ 143646 h 331822"/>
              <a:gd name="connsiteX410" fmla="*/ 23631 w 244878"/>
              <a:gd name="connsiteY410" fmla="*/ 141189 h 331822"/>
              <a:gd name="connsiteX411" fmla="*/ 24527 w 244878"/>
              <a:gd name="connsiteY411" fmla="*/ 140008 h 331822"/>
              <a:gd name="connsiteX412" fmla="*/ 25194 w 244878"/>
              <a:gd name="connsiteY412" fmla="*/ 138751 h 331822"/>
              <a:gd name="connsiteX413" fmla="*/ 25251 w 244878"/>
              <a:gd name="connsiteY413" fmla="*/ 138198 h 331822"/>
              <a:gd name="connsiteX414" fmla="*/ 22927 w 244878"/>
              <a:gd name="connsiteY414" fmla="*/ 135769 h 331822"/>
              <a:gd name="connsiteX415" fmla="*/ 22860 w 244878"/>
              <a:gd name="connsiteY415" fmla="*/ 134874 h 331822"/>
              <a:gd name="connsiteX416" fmla="*/ 23165 w 244878"/>
              <a:gd name="connsiteY416" fmla="*/ 133864 h 331822"/>
              <a:gd name="connsiteX417" fmla="*/ 23822 w 244878"/>
              <a:gd name="connsiteY417" fmla="*/ 133064 h 331822"/>
              <a:gd name="connsiteX418" fmla="*/ 25194 w 244878"/>
              <a:gd name="connsiteY418" fmla="*/ 132521 h 331822"/>
              <a:gd name="connsiteX419" fmla="*/ 26651 w 244878"/>
              <a:gd name="connsiteY419" fmla="*/ 131454 h 331822"/>
              <a:gd name="connsiteX420" fmla="*/ 29918 w 244878"/>
              <a:gd name="connsiteY420" fmla="*/ 128426 h 331822"/>
              <a:gd name="connsiteX421" fmla="*/ 31051 w 244878"/>
              <a:gd name="connsiteY421" fmla="*/ 125797 h 331822"/>
              <a:gd name="connsiteX422" fmla="*/ 31404 w 244878"/>
              <a:gd name="connsiteY422" fmla="*/ 122939 h 331822"/>
              <a:gd name="connsiteX423" fmla="*/ 31470 w 244878"/>
              <a:gd name="connsiteY423" fmla="*/ 120805 h 331822"/>
              <a:gd name="connsiteX424" fmla="*/ 30575 w 244878"/>
              <a:gd name="connsiteY424" fmla="*/ 119110 h 331822"/>
              <a:gd name="connsiteX425" fmla="*/ 29670 w 244878"/>
              <a:gd name="connsiteY425" fmla="*/ 118015 h 331822"/>
              <a:gd name="connsiteX426" fmla="*/ 28442 w 244878"/>
              <a:gd name="connsiteY426" fmla="*/ 118186 h 331822"/>
              <a:gd name="connsiteX427" fmla="*/ 26051 w 244878"/>
              <a:gd name="connsiteY427" fmla="*/ 118100 h 331822"/>
              <a:gd name="connsiteX428" fmla="*/ 23813 w 244878"/>
              <a:gd name="connsiteY428" fmla="*/ 117148 h 331822"/>
              <a:gd name="connsiteX429" fmla="*/ 22584 w 244878"/>
              <a:gd name="connsiteY429" fmla="*/ 115605 h 331822"/>
              <a:gd name="connsiteX430" fmla="*/ 22279 w 244878"/>
              <a:gd name="connsiteY430" fmla="*/ 114252 h 331822"/>
              <a:gd name="connsiteX431" fmla="*/ 22841 w 244878"/>
              <a:gd name="connsiteY431" fmla="*/ 113395 h 331822"/>
              <a:gd name="connsiteX432" fmla="*/ 23012 w 244878"/>
              <a:gd name="connsiteY432" fmla="*/ 112347 h 331822"/>
              <a:gd name="connsiteX433" fmla="*/ 22650 w 244878"/>
              <a:gd name="connsiteY433" fmla="*/ 111290 h 331822"/>
              <a:gd name="connsiteX434" fmla="*/ 22793 w 244878"/>
              <a:gd name="connsiteY434" fmla="*/ 110404 h 331822"/>
              <a:gd name="connsiteX435" fmla="*/ 23803 w 244878"/>
              <a:gd name="connsiteY435" fmla="*/ 109690 h 331822"/>
              <a:gd name="connsiteX436" fmla="*/ 30880 w 244878"/>
              <a:gd name="connsiteY436" fmla="*/ 109709 h 331822"/>
              <a:gd name="connsiteX437" fmla="*/ 31413 w 244878"/>
              <a:gd name="connsiteY437" fmla="*/ 108928 h 331822"/>
              <a:gd name="connsiteX438" fmla="*/ 31890 w 244878"/>
              <a:gd name="connsiteY438" fmla="*/ 104813 h 331822"/>
              <a:gd name="connsiteX439" fmla="*/ 33661 w 244878"/>
              <a:gd name="connsiteY439" fmla="*/ 98536 h 331822"/>
              <a:gd name="connsiteX440" fmla="*/ 35328 w 244878"/>
              <a:gd name="connsiteY440" fmla="*/ 95031 h 331822"/>
              <a:gd name="connsiteX441" fmla="*/ 35605 w 244878"/>
              <a:gd name="connsiteY441" fmla="*/ 93554 h 331822"/>
              <a:gd name="connsiteX442" fmla="*/ 35576 w 244878"/>
              <a:gd name="connsiteY442" fmla="*/ 85220 h 331822"/>
              <a:gd name="connsiteX443" fmla="*/ 35805 w 244878"/>
              <a:gd name="connsiteY443" fmla="*/ 80981 h 331822"/>
              <a:gd name="connsiteX444" fmla="*/ 34595 w 244878"/>
              <a:gd name="connsiteY444" fmla="*/ 78991 h 331822"/>
              <a:gd name="connsiteX445" fmla="*/ 31956 w 244878"/>
              <a:gd name="connsiteY445" fmla="*/ 76810 h 331822"/>
              <a:gd name="connsiteX446" fmla="*/ 32518 w 244878"/>
              <a:gd name="connsiteY446" fmla="*/ 72257 h 331822"/>
              <a:gd name="connsiteX447" fmla="*/ 33394 w 244878"/>
              <a:gd name="connsiteY447" fmla="*/ 68694 h 331822"/>
              <a:gd name="connsiteX448" fmla="*/ 36052 w 244878"/>
              <a:gd name="connsiteY448" fmla="*/ 64313 h 331822"/>
              <a:gd name="connsiteX449" fmla="*/ 38157 w 244878"/>
              <a:gd name="connsiteY449" fmla="*/ 63112 h 331822"/>
              <a:gd name="connsiteX450" fmla="*/ 47349 w 244878"/>
              <a:gd name="connsiteY450" fmla="*/ 62398 h 331822"/>
              <a:gd name="connsiteX451" fmla="*/ 57502 w 244878"/>
              <a:gd name="connsiteY451" fmla="*/ 62694 h 331822"/>
              <a:gd name="connsiteX452" fmla="*/ 61722 w 244878"/>
              <a:gd name="connsiteY452" fmla="*/ 69313 h 331822"/>
              <a:gd name="connsiteX453" fmla="*/ 60160 w 244878"/>
              <a:gd name="connsiteY453" fmla="*/ 72704 h 331822"/>
              <a:gd name="connsiteX454" fmla="*/ 62627 w 244878"/>
              <a:gd name="connsiteY454" fmla="*/ 74285 h 331822"/>
              <a:gd name="connsiteX455" fmla="*/ 63817 w 244878"/>
              <a:gd name="connsiteY455" fmla="*/ 73705 h 331822"/>
              <a:gd name="connsiteX456" fmla="*/ 64722 w 244878"/>
              <a:gd name="connsiteY456" fmla="*/ 70751 h 331822"/>
              <a:gd name="connsiteX457" fmla="*/ 65322 w 244878"/>
              <a:gd name="connsiteY457" fmla="*/ 67475 h 331822"/>
              <a:gd name="connsiteX458" fmla="*/ 66189 w 244878"/>
              <a:gd name="connsiteY458" fmla="*/ 66484 h 331822"/>
              <a:gd name="connsiteX459" fmla="*/ 69332 w 244878"/>
              <a:gd name="connsiteY459" fmla="*/ 68932 h 331822"/>
              <a:gd name="connsiteX460" fmla="*/ 70437 w 244878"/>
              <a:gd name="connsiteY460" fmla="*/ 70609 h 331822"/>
              <a:gd name="connsiteX461" fmla="*/ 70504 w 244878"/>
              <a:gd name="connsiteY461" fmla="*/ 75981 h 331822"/>
              <a:gd name="connsiteX462" fmla="*/ 71666 w 244878"/>
              <a:gd name="connsiteY462" fmla="*/ 68694 h 331822"/>
              <a:gd name="connsiteX463" fmla="*/ 70799 w 244878"/>
              <a:gd name="connsiteY463" fmla="*/ 63579 h 331822"/>
              <a:gd name="connsiteX464" fmla="*/ 71390 w 244878"/>
              <a:gd name="connsiteY464" fmla="*/ 58607 h 331822"/>
              <a:gd name="connsiteX465" fmla="*/ 72657 w 244878"/>
              <a:gd name="connsiteY465" fmla="*/ 56016 h 331822"/>
              <a:gd name="connsiteX466" fmla="*/ 73819 w 244878"/>
              <a:gd name="connsiteY466" fmla="*/ 54368 h 331822"/>
              <a:gd name="connsiteX467" fmla="*/ 81267 w 244878"/>
              <a:gd name="connsiteY467" fmla="*/ 56150 h 331822"/>
              <a:gd name="connsiteX468" fmla="*/ 89497 w 244878"/>
              <a:gd name="connsiteY468" fmla="*/ 55235 h 331822"/>
              <a:gd name="connsiteX469" fmla="*/ 92612 w 244878"/>
              <a:gd name="connsiteY469" fmla="*/ 57159 h 331822"/>
              <a:gd name="connsiteX470" fmla="*/ 99651 w 244878"/>
              <a:gd name="connsiteY470" fmla="*/ 66751 h 331822"/>
              <a:gd name="connsiteX471" fmla="*/ 102003 w 244878"/>
              <a:gd name="connsiteY471" fmla="*/ 68323 h 331822"/>
              <a:gd name="connsiteX472" fmla="*/ 104965 w 244878"/>
              <a:gd name="connsiteY472" fmla="*/ 68818 h 331822"/>
              <a:gd name="connsiteX473" fmla="*/ 100879 w 244878"/>
              <a:gd name="connsiteY473" fmla="*/ 66770 h 331822"/>
              <a:gd name="connsiteX474" fmla="*/ 92345 w 244878"/>
              <a:gd name="connsiteY474" fmla="*/ 55093 h 331822"/>
              <a:gd name="connsiteX475" fmla="*/ 89792 w 244878"/>
              <a:gd name="connsiteY475" fmla="*/ 53645 h 331822"/>
              <a:gd name="connsiteX476" fmla="*/ 85868 w 244878"/>
              <a:gd name="connsiteY476" fmla="*/ 53207 h 331822"/>
              <a:gd name="connsiteX477" fmla="*/ 83420 w 244878"/>
              <a:gd name="connsiteY477" fmla="*/ 52064 h 331822"/>
              <a:gd name="connsiteX478" fmla="*/ 81877 w 244878"/>
              <a:gd name="connsiteY478" fmla="*/ 50292 h 331822"/>
              <a:gd name="connsiteX479" fmla="*/ 81429 w 244878"/>
              <a:gd name="connsiteY479" fmla="*/ 48701 h 331822"/>
              <a:gd name="connsiteX480" fmla="*/ 81515 w 244878"/>
              <a:gd name="connsiteY480" fmla="*/ 36843 h 331822"/>
              <a:gd name="connsiteX481" fmla="*/ 80048 w 244878"/>
              <a:gd name="connsiteY481" fmla="*/ 35071 h 331822"/>
              <a:gd name="connsiteX482" fmla="*/ 78143 w 244878"/>
              <a:gd name="connsiteY482" fmla="*/ 34461 h 331822"/>
              <a:gd name="connsiteX483" fmla="*/ 76952 w 244878"/>
              <a:gd name="connsiteY483" fmla="*/ 35271 h 331822"/>
              <a:gd name="connsiteX484" fmla="*/ 74514 w 244878"/>
              <a:gd name="connsiteY484" fmla="*/ 35280 h 331822"/>
              <a:gd name="connsiteX485" fmla="*/ 74000 w 244878"/>
              <a:gd name="connsiteY485" fmla="*/ 32585 h 331822"/>
              <a:gd name="connsiteX486" fmla="*/ 74600 w 244878"/>
              <a:gd name="connsiteY486" fmla="*/ 30585 h 331822"/>
              <a:gd name="connsiteX487" fmla="*/ 79495 w 244878"/>
              <a:gd name="connsiteY487" fmla="*/ 29213 h 331822"/>
              <a:gd name="connsiteX488" fmla="*/ 82725 w 244878"/>
              <a:gd name="connsiteY488" fmla="*/ 27375 h 331822"/>
              <a:gd name="connsiteX489" fmla="*/ 82867 w 244878"/>
              <a:gd name="connsiteY489" fmla="*/ 24127 h 331822"/>
              <a:gd name="connsiteX490" fmla="*/ 80829 w 244878"/>
              <a:gd name="connsiteY490" fmla="*/ 21564 h 331822"/>
              <a:gd name="connsiteX491" fmla="*/ 78391 w 244878"/>
              <a:gd name="connsiteY491" fmla="*/ 16859 h 331822"/>
              <a:gd name="connsiteX492" fmla="*/ 75524 w 244878"/>
              <a:gd name="connsiteY492" fmla="*/ 12430 h 331822"/>
              <a:gd name="connsiteX493" fmla="*/ 75200 w 244878"/>
              <a:gd name="connsiteY493" fmla="*/ 7268 h 331822"/>
              <a:gd name="connsiteX494" fmla="*/ 75209 w 244878"/>
              <a:gd name="connsiteY494" fmla="*/ 7268 h 331822"/>
              <a:gd name="connsiteX495" fmla="*/ 80200 w 244878"/>
              <a:gd name="connsiteY495" fmla="*/ 7363 h 331822"/>
              <a:gd name="connsiteX496" fmla="*/ 81420 w 244878"/>
              <a:gd name="connsiteY496" fmla="*/ 7563 h 331822"/>
              <a:gd name="connsiteX497" fmla="*/ 88982 w 244878"/>
              <a:gd name="connsiteY497" fmla="*/ 9982 h 331822"/>
              <a:gd name="connsiteX498" fmla="*/ 90830 w 244878"/>
              <a:gd name="connsiteY498" fmla="*/ 11677 h 331822"/>
              <a:gd name="connsiteX499" fmla="*/ 93154 w 244878"/>
              <a:gd name="connsiteY499" fmla="*/ 11754 h 331822"/>
              <a:gd name="connsiteX500" fmla="*/ 97346 w 244878"/>
              <a:gd name="connsiteY500" fmla="*/ 10173 h 331822"/>
              <a:gd name="connsiteX501" fmla="*/ 100479 w 244878"/>
              <a:gd name="connsiteY501" fmla="*/ 9477 h 331822"/>
              <a:gd name="connsiteX502" fmla="*/ 101689 w 244878"/>
              <a:gd name="connsiteY502" fmla="*/ 10458 h 331822"/>
              <a:gd name="connsiteX503" fmla="*/ 103394 w 244878"/>
              <a:gd name="connsiteY503" fmla="*/ 10868 h 331822"/>
              <a:gd name="connsiteX504" fmla="*/ 103775 w 244878"/>
              <a:gd name="connsiteY504" fmla="*/ 10868 h 331822"/>
              <a:gd name="connsiteX505" fmla="*/ 72980 w 244878"/>
              <a:gd name="connsiteY505" fmla="*/ 16059 h 331822"/>
              <a:gd name="connsiteX506" fmla="*/ 71942 w 244878"/>
              <a:gd name="connsiteY506" fmla="*/ 17193 h 331822"/>
              <a:gd name="connsiteX507" fmla="*/ 69390 w 244878"/>
              <a:gd name="connsiteY507" fmla="*/ 17059 h 331822"/>
              <a:gd name="connsiteX508" fmla="*/ 67961 w 244878"/>
              <a:gd name="connsiteY508" fmla="*/ 15992 h 331822"/>
              <a:gd name="connsiteX509" fmla="*/ 68428 w 244878"/>
              <a:gd name="connsiteY509" fmla="*/ 14859 h 331822"/>
              <a:gd name="connsiteX510" fmla="*/ 69780 w 244878"/>
              <a:gd name="connsiteY510" fmla="*/ 13992 h 331822"/>
              <a:gd name="connsiteX511" fmla="*/ 70904 w 244878"/>
              <a:gd name="connsiteY511" fmla="*/ 13859 h 331822"/>
              <a:gd name="connsiteX512" fmla="*/ 72599 w 244878"/>
              <a:gd name="connsiteY512" fmla="*/ 14392 h 331822"/>
              <a:gd name="connsiteX513" fmla="*/ 72980 w 244878"/>
              <a:gd name="connsiteY513" fmla="*/ 16059 h 331822"/>
              <a:gd name="connsiteX514" fmla="*/ 209883 w 244878"/>
              <a:gd name="connsiteY514" fmla="*/ 31223 h 331822"/>
              <a:gd name="connsiteX515" fmla="*/ 210550 w 244878"/>
              <a:gd name="connsiteY515" fmla="*/ 34299 h 331822"/>
              <a:gd name="connsiteX516" fmla="*/ 209836 w 244878"/>
              <a:gd name="connsiteY516" fmla="*/ 35871 h 331822"/>
              <a:gd name="connsiteX517" fmla="*/ 206835 w 244878"/>
              <a:gd name="connsiteY517" fmla="*/ 33261 h 331822"/>
              <a:gd name="connsiteX518" fmla="*/ 203816 w 244878"/>
              <a:gd name="connsiteY518" fmla="*/ 33299 h 331822"/>
              <a:gd name="connsiteX519" fmla="*/ 202016 w 244878"/>
              <a:gd name="connsiteY519" fmla="*/ 37309 h 331822"/>
              <a:gd name="connsiteX520" fmla="*/ 200672 w 244878"/>
              <a:gd name="connsiteY520" fmla="*/ 37481 h 331822"/>
              <a:gd name="connsiteX521" fmla="*/ 196015 w 244878"/>
              <a:gd name="connsiteY521" fmla="*/ 33833 h 331822"/>
              <a:gd name="connsiteX522" fmla="*/ 195262 w 244878"/>
              <a:gd name="connsiteY522" fmla="*/ 32052 h 331822"/>
              <a:gd name="connsiteX523" fmla="*/ 195110 w 244878"/>
              <a:gd name="connsiteY523" fmla="*/ 30566 h 331822"/>
              <a:gd name="connsiteX524" fmla="*/ 195777 w 244878"/>
              <a:gd name="connsiteY524" fmla="*/ 25422 h 331822"/>
              <a:gd name="connsiteX525" fmla="*/ 195653 w 244878"/>
              <a:gd name="connsiteY525" fmla="*/ 23803 h 331822"/>
              <a:gd name="connsiteX526" fmla="*/ 197120 w 244878"/>
              <a:gd name="connsiteY526" fmla="*/ 22031 h 331822"/>
              <a:gd name="connsiteX527" fmla="*/ 197348 w 244878"/>
              <a:gd name="connsiteY527" fmla="*/ 19460 h 331822"/>
              <a:gd name="connsiteX528" fmla="*/ 199930 w 244878"/>
              <a:gd name="connsiteY528" fmla="*/ 16755 h 331822"/>
              <a:gd name="connsiteX529" fmla="*/ 202234 w 244878"/>
              <a:gd name="connsiteY529" fmla="*/ 16650 h 331822"/>
              <a:gd name="connsiteX530" fmla="*/ 202959 w 244878"/>
              <a:gd name="connsiteY530" fmla="*/ 18945 h 331822"/>
              <a:gd name="connsiteX531" fmla="*/ 204063 w 244878"/>
              <a:gd name="connsiteY531" fmla="*/ 20526 h 331822"/>
              <a:gd name="connsiteX532" fmla="*/ 207931 w 244878"/>
              <a:gd name="connsiteY532" fmla="*/ 22298 h 331822"/>
              <a:gd name="connsiteX533" fmla="*/ 208512 w 244878"/>
              <a:gd name="connsiteY533" fmla="*/ 23098 h 331822"/>
              <a:gd name="connsiteX534" fmla="*/ 208864 w 244878"/>
              <a:gd name="connsiteY534" fmla="*/ 24212 h 331822"/>
              <a:gd name="connsiteX535" fmla="*/ 207064 w 244878"/>
              <a:gd name="connsiteY535" fmla="*/ 26384 h 331822"/>
              <a:gd name="connsiteX536" fmla="*/ 206455 w 244878"/>
              <a:gd name="connsiteY536" fmla="*/ 27499 h 331822"/>
              <a:gd name="connsiteX537" fmla="*/ 207026 w 244878"/>
              <a:gd name="connsiteY537" fmla="*/ 29280 h 331822"/>
              <a:gd name="connsiteX538" fmla="*/ 209883 w 244878"/>
              <a:gd name="connsiteY538" fmla="*/ 31223 h 331822"/>
              <a:gd name="connsiteX539" fmla="*/ 145027 w 244878"/>
              <a:gd name="connsiteY539" fmla="*/ 29613 h 331822"/>
              <a:gd name="connsiteX540" fmla="*/ 140922 w 244878"/>
              <a:gd name="connsiteY540" fmla="*/ 29699 h 331822"/>
              <a:gd name="connsiteX541" fmla="*/ 139351 w 244878"/>
              <a:gd name="connsiteY541" fmla="*/ 27870 h 331822"/>
              <a:gd name="connsiteX542" fmla="*/ 137779 w 244878"/>
              <a:gd name="connsiteY542" fmla="*/ 27403 h 331822"/>
              <a:gd name="connsiteX543" fmla="*/ 138627 w 244878"/>
              <a:gd name="connsiteY543" fmla="*/ 25146 h 331822"/>
              <a:gd name="connsiteX544" fmla="*/ 139732 w 244878"/>
              <a:gd name="connsiteY544" fmla="*/ 24317 h 331822"/>
              <a:gd name="connsiteX545" fmla="*/ 143704 w 244878"/>
              <a:gd name="connsiteY545" fmla="*/ 25793 h 331822"/>
              <a:gd name="connsiteX546" fmla="*/ 144951 w 244878"/>
              <a:gd name="connsiteY546" fmla="*/ 28680 h 331822"/>
              <a:gd name="connsiteX547" fmla="*/ 145027 w 244878"/>
              <a:gd name="connsiteY547" fmla="*/ 29613 h 331822"/>
              <a:gd name="connsiteX548" fmla="*/ 223304 w 244878"/>
              <a:gd name="connsiteY548" fmla="*/ 50920 h 331822"/>
              <a:gd name="connsiteX549" fmla="*/ 222952 w 244878"/>
              <a:gd name="connsiteY549" fmla="*/ 52340 h 331822"/>
              <a:gd name="connsiteX550" fmla="*/ 223361 w 244878"/>
              <a:gd name="connsiteY550" fmla="*/ 54521 h 331822"/>
              <a:gd name="connsiteX551" fmla="*/ 222256 w 244878"/>
              <a:gd name="connsiteY551" fmla="*/ 54359 h 331822"/>
              <a:gd name="connsiteX552" fmla="*/ 218942 w 244878"/>
              <a:gd name="connsiteY552" fmla="*/ 54873 h 331822"/>
              <a:gd name="connsiteX553" fmla="*/ 215665 w 244878"/>
              <a:gd name="connsiteY553" fmla="*/ 54150 h 331822"/>
              <a:gd name="connsiteX554" fmla="*/ 215037 w 244878"/>
              <a:gd name="connsiteY554" fmla="*/ 51435 h 331822"/>
              <a:gd name="connsiteX555" fmla="*/ 215560 w 244878"/>
              <a:gd name="connsiteY555" fmla="*/ 48825 h 331822"/>
              <a:gd name="connsiteX556" fmla="*/ 214246 w 244878"/>
              <a:gd name="connsiteY556" fmla="*/ 47025 h 331822"/>
              <a:gd name="connsiteX557" fmla="*/ 213036 w 244878"/>
              <a:gd name="connsiteY557" fmla="*/ 45968 h 331822"/>
              <a:gd name="connsiteX558" fmla="*/ 212855 w 244878"/>
              <a:gd name="connsiteY558" fmla="*/ 44463 h 331822"/>
              <a:gd name="connsiteX559" fmla="*/ 213055 w 244878"/>
              <a:gd name="connsiteY559" fmla="*/ 42891 h 331822"/>
              <a:gd name="connsiteX560" fmla="*/ 218703 w 244878"/>
              <a:gd name="connsiteY560" fmla="*/ 47101 h 331822"/>
              <a:gd name="connsiteX561" fmla="*/ 223304 w 244878"/>
              <a:gd name="connsiteY561" fmla="*/ 50920 h 331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</a:cxnLst>
            <a:rect l="l" t="t" r="r" b="b"/>
            <a:pathLst>
              <a:path w="244878" h="331822">
                <a:moveTo>
                  <a:pt x="65494" y="12620"/>
                </a:moveTo>
                <a:lnTo>
                  <a:pt x="64875" y="13535"/>
                </a:lnTo>
                <a:lnTo>
                  <a:pt x="65170" y="6991"/>
                </a:lnTo>
                <a:lnTo>
                  <a:pt x="68094" y="0"/>
                </a:lnTo>
                <a:lnTo>
                  <a:pt x="69332" y="162"/>
                </a:lnTo>
                <a:lnTo>
                  <a:pt x="68066" y="2057"/>
                </a:lnTo>
                <a:lnTo>
                  <a:pt x="67694" y="3381"/>
                </a:lnTo>
                <a:lnTo>
                  <a:pt x="67180" y="6020"/>
                </a:lnTo>
                <a:lnTo>
                  <a:pt x="67408" y="7391"/>
                </a:lnTo>
                <a:lnTo>
                  <a:pt x="74085" y="7772"/>
                </a:lnTo>
                <a:lnTo>
                  <a:pt x="73304" y="8992"/>
                </a:lnTo>
                <a:lnTo>
                  <a:pt x="66532" y="9811"/>
                </a:lnTo>
                <a:lnTo>
                  <a:pt x="65494" y="12620"/>
                </a:lnTo>
                <a:close/>
                <a:moveTo>
                  <a:pt x="103775" y="10839"/>
                </a:moveTo>
                <a:lnTo>
                  <a:pt x="103937" y="11687"/>
                </a:lnTo>
                <a:lnTo>
                  <a:pt x="107852" y="12916"/>
                </a:lnTo>
                <a:lnTo>
                  <a:pt x="109499" y="14878"/>
                </a:lnTo>
                <a:lnTo>
                  <a:pt x="111328" y="17850"/>
                </a:lnTo>
                <a:lnTo>
                  <a:pt x="111509" y="22117"/>
                </a:lnTo>
                <a:lnTo>
                  <a:pt x="109166" y="25184"/>
                </a:lnTo>
                <a:lnTo>
                  <a:pt x="107223" y="27127"/>
                </a:lnTo>
                <a:lnTo>
                  <a:pt x="114567" y="26394"/>
                </a:lnTo>
                <a:lnTo>
                  <a:pt x="115300" y="28146"/>
                </a:lnTo>
                <a:lnTo>
                  <a:pt x="116414" y="30042"/>
                </a:lnTo>
                <a:lnTo>
                  <a:pt x="120367" y="28689"/>
                </a:lnTo>
                <a:lnTo>
                  <a:pt x="130292" y="34280"/>
                </a:lnTo>
                <a:lnTo>
                  <a:pt x="136293" y="31556"/>
                </a:lnTo>
                <a:lnTo>
                  <a:pt x="137827" y="31394"/>
                </a:lnTo>
                <a:lnTo>
                  <a:pt x="139189" y="35909"/>
                </a:lnTo>
                <a:lnTo>
                  <a:pt x="137693" y="40443"/>
                </a:lnTo>
                <a:lnTo>
                  <a:pt x="132407" y="45263"/>
                </a:lnTo>
                <a:lnTo>
                  <a:pt x="133578" y="48235"/>
                </a:lnTo>
                <a:lnTo>
                  <a:pt x="135274" y="48892"/>
                </a:lnTo>
                <a:lnTo>
                  <a:pt x="140256" y="48263"/>
                </a:lnTo>
                <a:lnTo>
                  <a:pt x="148152" y="51187"/>
                </a:lnTo>
                <a:lnTo>
                  <a:pt x="149800" y="50273"/>
                </a:lnTo>
                <a:lnTo>
                  <a:pt x="156200" y="43520"/>
                </a:lnTo>
                <a:lnTo>
                  <a:pt x="158763" y="42062"/>
                </a:lnTo>
                <a:lnTo>
                  <a:pt x="167183" y="41024"/>
                </a:lnTo>
                <a:lnTo>
                  <a:pt x="168716" y="38395"/>
                </a:lnTo>
                <a:lnTo>
                  <a:pt x="172126" y="35757"/>
                </a:lnTo>
                <a:lnTo>
                  <a:pt x="174317" y="32871"/>
                </a:lnTo>
                <a:lnTo>
                  <a:pt x="179584" y="27356"/>
                </a:lnTo>
                <a:lnTo>
                  <a:pt x="185033" y="28346"/>
                </a:lnTo>
                <a:lnTo>
                  <a:pt x="188214" y="29404"/>
                </a:lnTo>
                <a:lnTo>
                  <a:pt x="191700" y="29937"/>
                </a:lnTo>
                <a:lnTo>
                  <a:pt x="194872" y="35814"/>
                </a:lnTo>
                <a:lnTo>
                  <a:pt x="202911" y="42281"/>
                </a:lnTo>
                <a:lnTo>
                  <a:pt x="210293" y="41720"/>
                </a:lnTo>
                <a:lnTo>
                  <a:pt x="212912" y="47825"/>
                </a:lnTo>
                <a:lnTo>
                  <a:pt x="214074" y="55331"/>
                </a:lnTo>
                <a:lnTo>
                  <a:pt x="216341" y="57683"/>
                </a:lnTo>
                <a:lnTo>
                  <a:pt x="218332" y="59217"/>
                </a:lnTo>
                <a:lnTo>
                  <a:pt x="224342" y="60817"/>
                </a:lnTo>
                <a:lnTo>
                  <a:pt x="224580" y="60912"/>
                </a:lnTo>
                <a:lnTo>
                  <a:pt x="224780" y="61922"/>
                </a:lnTo>
                <a:lnTo>
                  <a:pt x="225152" y="65637"/>
                </a:lnTo>
                <a:lnTo>
                  <a:pt x="225657" y="68704"/>
                </a:lnTo>
                <a:lnTo>
                  <a:pt x="228753" y="80915"/>
                </a:lnTo>
                <a:lnTo>
                  <a:pt x="228695" y="83886"/>
                </a:lnTo>
                <a:lnTo>
                  <a:pt x="228657" y="84677"/>
                </a:lnTo>
                <a:lnTo>
                  <a:pt x="227524" y="88840"/>
                </a:lnTo>
                <a:lnTo>
                  <a:pt x="225514" y="92335"/>
                </a:lnTo>
                <a:lnTo>
                  <a:pt x="222856" y="94307"/>
                </a:lnTo>
                <a:lnTo>
                  <a:pt x="221390" y="96498"/>
                </a:lnTo>
                <a:lnTo>
                  <a:pt x="221123" y="98908"/>
                </a:lnTo>
                <a:lnTo>
                  <a:pt x="224466" y="103127"/>
                </a:lnTo>
                <a:lnTo>
                  <a:pt x="231429" y="109156"/>
                </a:lnTo>
                <a:lnTo>
                  <a:pt x="234239" y="114300"/>
                </a:lnTo>
                <a:lnTo>
                  <a:pt x="232915" y="118567"/>
                </a:lnTo>
                <a:lnTo>
                  <a:pt x="232515" y="121691"/>
                </a:lnTo>
                <a:lnTo>
                  <a:pt x="233029" y="123672"/>
                </a:lnTo>
                <a:lnTo>
                  <a:pt x="234144" y="125263"/>
                </a:lnTo>
                <a:lnTo>
                  <a:pt x="235858" y="126463"/>
                </a:lnTo>
                <a:lnTo>
                  <a:pt x="236544" y="128311"/>
                </a:lnTo>
                <a:lnTo>
                  <a:pt x="236191" y="130807"/>
                </a:lnTo>
                <a:lnTo>
                  <a:pt x="236515" y="132540"/>
                </a:lnTo>
                <a:lnTo>
                  <a:pt x="237801" y="133769"/>
                </a:lnTo>
                <a:lnTo>
                  <a:pt x="237677" y="134245"/>
                </a:lnTo>
                <a:lnTo>
                  <a:pt x="237058" y="135979"/>
                </a:lnTo>
                <a:lnTo>
                  <a:pt x="236210" y="139132"/>
                </a:lnTo>
                <a:lnTo>
                  <a:pt x="235725" y="141437"/>
                </a:lnTo>
                <a:lnTo>
                  <a:pt x="233763" y="144561"/>
                </a:lnTo>
                <a:lnTo>
                  <a:pt x="234363" y="147218"/>
                </a:lnTo>
                <a:lnTo>
                  <a:pt x="235896" y="150343"/>
                </a:lnTo>
                <a:lnTo>
                  <a:pt x="237068" y="151914"/>
                </a:lnTo>
                <a:lnTo>
                  <a:pt x="237439" y="153400"/>
                </a:lnTo>
                <a:lnTo>
                  <a:pt x="236696" y="156924"/>
                </a:lnTo>
                <a:lnTo>
                  <a:pt x="237068" y="157829"/>
                </a:lnTo>
                <a:lnTo>
                  <a:pt x="241916" y="160420"/>
                </a:lnTo>
                <a:lnTo>
                  <a:pt x="242706" y="161610"/>
                </a:lnTo>
                <a:lnTo>
                  <a:pt x="243173" y="164097"/>
                </a:lnTo>
                <a:lnTo>
                  <a:pt x="244878" y="169402"/>
                </a:lnTo>
                <a:lnTo>
                  <a:pt x="243469" y="176108"/>
                </a:lnTo>
                <a:lnTo>
                  <a:pt x="242230" y="179775"/>
                </a:lnTo>
                <a:lnTo>
                  <a:pt x="239468" y="185576"/>
                </a:lnTo>
                <a:lnTo>
                  <a:pt x="239335" y="186109"/>
                </a:lnTo>
                <a:lnTo>
                  <a:pt x="239020" y="186814"/>
                </a:lnTo>
                <a:lnTo>
                  <a:pt x="238192" y="187823"/>
                </a:lnTo>
                <a:lnTo>
                  <a:pt x="237039" y="187976"/>
                </a:lnTo>
                <a:lnTo>
                  <a:pt x="235296" y="187223"/>
                </a:lnTo>
                <a:lnTo>
                  <a:pt x="234105" y="186252"/>
                </a:lnTo>
                <a:lnTo>
                  <a:pt x="234381" y="183756"/>
                </a:lnTo>
                <a:lnTo>
                  <a:pt x="233610" y="183585"/>
                </a:lnTo>
                <a:lnTo>
                  <a:pt x="232658" y="182051"/>
                </a:lnTo>
                <a:lnTo>
                  <a:pt x="232286" y="180404"/>
                </a:lnTo>
                <a:lnTo>
                  <a:pt x="231258" y="179727"/>
                </a:lnTo>
                <a:lnTo>
                  <a:pt x="227514" y="179032"/>
                </a:lnTo>
                <a:lnTo>
                  <a:pt x="226238" y="178546"/>
                </a:lnTo>
                <a:lnTo>
                  <a:pt x="225257" y="178898"/>
                </a:lnTo>
                <a:lnTo>
                  <a:pt x="224523" y="180070"/>
                </a:lnTo>
                <a:lnTo>
                  <a:pt x="224990" y="181127"/>
                </a:lnTo>
                <a:lnTo>
                  <a:pt x="225685" y="182156"/>
                </a:lnTo>
                <a:lnTo>
                  <a:pt x="227762" y="183785"/>
                </a:lnTo>
                <a:lnTo>
                  <a:pt x="227552" y="184433"/>
                </a:lnTo>
                <a:lnTo>
                  <a:pt x="223076" y="186023"/>
                </a:lnTo>
                <a:lnTo>
                  <a:pt x="220265" y="187642"/>
                </a:lnTo>
                <a:lnTo>
                  <a:pt x="217646" y="188557"/>
                </a:lnTo>
                <a:lnTo>
                  <a:pt x="214979" y="190233"/>
                </a:lnTo>
                <a:lnTo>
                  <a:pt x="209712" y="192119"/>
                </a:lnTo>
                <a:lnTo>
                  <a:pt x="205845" y="192614"/>
                </a:lnTo>
                <a:lnTo>
                  <a:pt x="205045" y="193110"/>
                </a:lnTo>
                <a:lnTo>
                  <a:pt x="203606" y="196301"/>
                </a:lnTo>
                <a:lnTo>
                  <a:pt x="202635" y="196967"/>
                </a:lnTo>
                <a:lnTo>
                  <a:pt x="201692" y="196625"/>
                </a:lnTo>
                <a:lnTo>
                  <a:pt x="200987" y="196101"/>
                </a:lnTo>
                <a:lnTo>
                  <a:pt x="200092" y="196529"/>
                </a:lnTo>
                <a:lnTo>
                  <a:pt x="199158" y="197586"/>
                </a:lnTo>
                <a:lnTo>
                  <a:pt x="198177" y="197996"/>
                </a:lnTo>
                <a:lnTo>
                  <a:pt x="197330" y="197986"/>
                </a:lnTo>
                <a:lnTo>
                  <a:pt x="195815" y="200768"/>
                </a:lnTo>
                <a:lnTo>
                  <a:pt x="191414" y="201606"/>
                </a:lnTo>
                <a:lnTo>
                  <a:pt x="190900" y="203044"/>
                </a:lnTo>
                <a:lnTo>
                  <a:pt x="190090" y="204711"/>
                </a:lnTo>
                <a:lnTo>
                  <a:pt x="189443" y="205121"/>
                </a:lnTo>
                <a:lnTo>
                  <a:pt x="187462" y="204464"/>
                </a:lnTo>
                <a:lnTo>
                  <a:pt x="184709" y="204092"/>
                </a:lnTo>
                <a:lnTo>
                  <a:pt x="183127" y="205006"/>
                </a:lnTo>
                <a:lnTo>
                  <a:pt x="181232" y="205511"/>
                </a:lnTo>
                <a:lnTo>
                  <a:pt x="178918" y="205664"/>
                </a:lnTo>
                <a:lnTo>
                  <a:pt x="176336" y="207483"/>
                </a:lnTo>
                <a:lnTo>
                  <a:pt x="173822" y="210674"/>
                </a:lnTo>
                <a:lnTo>
                  <a:pt x="172412" y="213493"/>
                </a:lnTo>
                <a:lnTo>
                  <a:pt x="171650" y="214503"/>
                </a:lnTo>
                <a:lnTo>
                  <a:pt x="170421" y="211855"/>
                </a:lnTo>
                <a:lnTo>
                  <a:pt x="168916" y="210045"/>
                </a:lnTo>
                <a:lnTo>
                  <a:pt x="167849" y="209102"/>
                </a:lnTo>
                <a:lnTo>
                  <a:pt x="166897" y="209102"/>
                </a:lnTo>
                <a:lnTo>
                  <a:pt x="166649" y="209493"/>
                </a:lnTo>
                <a:lnTo>
                  <a:pt x="166649" y="210874"/>
                </a:lnTo>
                <a:lnTo>
                  <a:pt x="167669" y="213170"/>
                </a:lnTo>
                <a:lnTo>
                  <a:pt x="168926" y="214741"/>
                </a:lnTo>
                <a:lnTo>
                  <a:pt x="169126" y="215903"/>
                </a:lnTo>
                <a:lnTo>
                  <a:pt x="169802" y="217999"/>
                </a:lnTo>
                <a:lnTo>
                  <a:pt x="171640" y="220294"/>
                </a:lnTo>
                <a:lnTo>
                  <a:pt x="174517" y="222104"/>
                </a:lnTo>
                <a:lnTo>
                  <a:pt x="176479" y="223894"/>
                </a:lnTo>
                <a:lnTo>
                  <a:pt x="177937" y="226371"/>
                </a:lnTo>
                <a:lnTo>
                  <a:pt x="177946" y="227133"/>
                </a:lnTo>
                <a:lnTo>
                  <a:pt x="177546" y="228143"/>
                </a:lnTo>
                <a:lnTo>
                  <a:pt x="176860" y="229095"/>
                </a:lnTo>
                <a:lnTo>
                  <a:pt x="176279" y="230333"/>
                </a:lnTo>
                <a:lnTo>
                  <a:pt x="174679" y="232829"/>
                </a:lnTo>
                <a:lnTo>
                  <a:pt x="175155" y="233924"/>
                </a:lnTo>
                <a:lnTo>
                  <a:pt x="176460" y="235296"/>
                </a:lnTo>
                <a:lnTo>
                  <a:pt x="177613" y="236944"/>
                </a:lnTo>
                <a:lnTo>
                  <a:pt x="179098" y="239611"/>
                </a:lnTo>
                <a:lnTo>
                  <a:pt x="181137" y="244278"/>
                </a:lnTo>
                <a:lnTo>
                  <a:pt x="182451" y="246193"/>
                </a:lnTo>
                <a:lnTo>
                  <a:pt x="184242" y="248174"/>
                </a:lnTo>
                <a:lnTo>
                  <a:pt x="185994" y="249679"/>
                </a:lnTo>
                <a:lnTo>
                  <a:pt x="188757" y="249631"/>
                </a:lnTo>
                <a:lnTo>
                  <a:pt x="191614" y="252508"/>
                </a:lnTo>
                <a:lnTo>
                  <a:pt x="194738" y="256661"/>
                </a:lnTo>
                <a:lnTo>
                  <a:pt x="197072" y="258556"/>
                </a:lnTo>
                <a:lnTo>
                  <a:pt x="198701" y="259137"/>
                </a:lnTo>
                <a:lnTo>
                  <a:pt x="200054" y="260633"/>
                </a:lnTo>
                <a:lnTo>
                  <a:pt x="201244" y="262776"/>
                </a:lnTo>
                <a:lnTo>
                  <a:pt x="201711" y="264014"/>
                </a:lnTo>
                <a:lnTo>
                  <a:pt x="202768" y="264909"/>
                </a:lnTo>
                <a:lnTo>
                  <a:pt x="205626" y="264738"/>
                </a:lnTo>
                <a:lnTo>
                  <a:pt x="209302" y="268110"/>
                </a:lnTo>
                <a:lnTo>
                  <a:pt x="211569" y="270567"/>
                </a:lnTo>
                <a:lnTo>
                  <a:pt x="212769" y="272548"/>
                </a:lnTo>
                <a:lnTo>
                  <a:pt x="212455" y="273339"/>
                </a:lnTo>
                <a:lnTo>
                  <a:pt x="212302" y="275806"/>
                </a:lnTo>
                <a:lnTo>
                  <a:pt x="212341" y="278416"/>
                </a:lnTo>
                <a:lnTo>
                  <a:pt x="211979" y="279797"/>
                </a:lnTo>
                <a:lnTo>
                  <a:pt x="210340" y="281616"/>
                </a:lnTo>
                <a:lnTo>
                  <a:pt x="209493" y="282007"/>
                </a:lnTo>
                <a:lnTo>
                  <a:pt x="209036" y="282397"/>
                </a:lnTo>
                <a:lnTo>
                  <a:pt x="203997" y="280025"/>
                </a:lnTo>
                <a:lnTo>
                  <a:pt x="203597" y="280425"/>
                </a:lnTo>
                <a:lnTo>
                  <a:pt x="203283" y="280721"/>
                </a:lnTo>
                <a:lnTo>
                  <a:pt x="201930" y="287569"/>
                </a:lnTo>
                <a:lnTo>
                  <a:pt x="201006" y="288884"/>
                </a:lnTo>
                <a:lnTo>
                  <a:pt x="199615" y="290093"/>
                </a:lnTo>
                <a:lnTo>
                  <a:pt x="196739" y="291274"/>
                </a:lnTo>
                <a:lnTo>
                  <a:pt x="194738" y="291751"/>
                </a:lnTo>
                <a:lnTo>
                  <a:pt x="193176" y="292351"/>
                </a:lnTo>
                <a:lnTo>
                  <a:pt x="188233" y="295208"/>
                </a:lnTo>
                <a:lnTo>
                  <a:pt x="186014" y="296923"/>
                </a:lnTo>
                <a:lnTo>
                  <a:pt x="184575" y="299075"/>
                </a:lnTo>
                <a:lnTo>
                  <a:pt x="184566" y="300314"/>
                </a:lnTo>
                <a:lnTo>
                  <a:pt x="186966" y="303943"/>
                </a:lnTo>
                <a:lnTo>
                  <a:pt x="189738" y="307695"/>
                </a:lnTo>
                <a:lnTo>
                  <a:pt x="189747" y="310982"/>
                </a:lnTo>
                <a:lnTo>
                  <a:pt x="188528" y="313439"/>
                </a:lnTo>
                <a:lnTo>
                  <a:pt x="188243" y="314382"/>
                </a:lnTo>
                <a:lnTo>
                  <a:pt x="189062" y="314744"/>
                </a:lnTo>
                <a:lnTo>
                  <a:pt x="190595" y="314877"/>
                </a:lnTo>
                <a:lnTo>
                  <a:pt x="191881" y="315296"/>
                </a:lnTo>
                <a:lnTo>
                  <a:pt x="192424" y="317030"/>
                </a:lnTo>
                <a:lnTo>
                  <a:pt x="192262" y="320030"/>
                </a:lnTo>
                <a:lnTo>
                  <a:pt x="191824" y="322840"/>
                </a:lnTo>
                <a:lnTo>
                  <a:pt x="191367" y="324022"/>
                </a:lnTo>
                <a:lnTo>
                  <a:pt x="190128" y="324117"/>
                </a:lnTo>
                <a:lnTo>
                  <a:pt x="187747" y="322907"/>
                </a:lnTo>
                <a:lnTo>
                  <a:pt x="185890" y="321497"/>
                </a:lnTo>
                <a:lnTo>
                  <a:pt x="185175" y="320630"/>
                </a:lnTo>
                <a:lnTo>
                  <a:pt x="185137" y="319592"/>
                </a:lnTo>
                <a:lnTo>
                  <a:pt x="185538" y="318935"/>
                </a:lnTo>
                <a:lnTo>
                  <a:pt x="184880" y="317659"/>
                </a:lnTo>
                <a:lnTo>
                  <a:pt x="182594" y="316468"/>
                </a:lnTo>
                <a:lnTo>
                  <a:pt x="180146" y="316982"/>
                </a:lnTo>
                <a:lnTo>
                  <a:pt x="178346" y="317773"/>
                </a:lnTo>
                <a:lnTo>
                  <a:pt x="177174" y="317725"/>
                </a:lnTo>
                <a:lnTo>
                  <a:pt x="175917" y="316582"/>
                </a:lnTo>
                <a:lnTo>
                  <a:pt x="173974" y="315706"/>
                </a:lnTo>
                <a:lnTo>
                  <a:pt x="171440" y="315125"/>
                </a:lnTo>
                <a:lnTo>
                  <a:pt x="169859" y="314515"/>
                </a:lnTo>
                <a:lnTo>
                  <a:pt x="169526" y="314877"/>
                </a:lnTo>
                <a:lnTo>
                  <a:pt x="169707" y="317344"/>
                </a:lnTo>
                <a:lnTo>
                  <a:pt x="169221" y="318421"/>
                </a:lnTo>
                <a:lnTo>
                  <a:pt x="156686" y="319849"/>
                </a:lnTo>
                <a:lnTo>
                  <a:pt x="152867" y="321183"/>
                </a:lnTo>
                <a:lnTo>
                  <a:pt x="150085" y="322907"/>
                </a:lnTo>
                <a:lnTo>
                  <a:pt x="148028" y="323650"/>
                </a:lnTo>
                <a:lnTo>
                  <a:pt x="147523" y="324707"/>
                </a:lnTo>
                <a:lnTo>
                  <a:pt x="145485" y="326098"/>
                </a:lnTo>
                <a:lnTo>
                  <a:pt x="143189" y="326536"/>
                </a:lnTo>
                <a:lnTo>
                  <a:pt x="142627" y="326088"/>
                </a:lnTo>
                <a:lnTo>
                  <a:pt x="141151" y="326727"/>
                </a:lnTo>
                <a:lnTo>
                  <a:pt x="138636" y="327346"/>
                </a:lnTo>
                <a:lnTo>
                  <a:pt x="137008" y="327145"/>
                </a:lnTo>
                <a:lnTo>
                  <a:pt x="136236" y="326022"/>
                </a:lnTo>
                <a:lnTo>
                  <a:pt x="134683" y="324298"/>
                </a:lnTo>
                <a:lnTo>
                  <a:pt x="134055" y="323107"/>
                </a:lnTo>
                <a:lnTo>
                  <a:pt x="134121" y="322336"/>
                </a:lnTo>
                <a:lnTo>
                  <a:pt x="130607" y="322183"/>
                </a:lnTo>
                <a:lnTo>
                  <a:pt x="128397" y="321269"/>
                </a:lnTo>
                <a:lnTo>
                  <a:pt x="123692" y="321478"/>
                </a:lnTo>
                <a:lnTo>
                  <a:pt x="122529" y="321088"/>
                </a:lnTo>
                <a:lnTo>
                  <a:pt x="122291" y="321497"/>
                </a:lnTo>
                <a:lnTo>
                  <a:pt x="121586" y="326393"/>
                </a:lnTo>
                <a:lnTo>
                  <a:pt x="120653" y="328393"/>
                </a:lnTo>
                <a:lnTo>
                  <a:pt x="119148" y="330460"/>
                </a:lnTo>
                <a:lnTo>
                  <a:pt x="117215" y="331613"/>
                </a:lnTo>
                <a:lnTo>
                  <a:pt x="115681" y="331822"/>
                </a:lnTo>
                <a:lnTo>
                  <a:pt x="115748" y="330317"/>
                </a:lnTo>
                <a:lnTo>
                  <a:pt x="116138" y="328498"/>
                </a:lnTo>
                <a:lnTo>
                  <a:pt x="115024" y="328070"/>
                </a:lnTo>
                <a:lnTo>
                  <a:pt x="113357" y="327870"/>
                </a:lnTo>
                <a:lnTo>
                  <a:pt x="112557" y="327327"/>
                </a:lnTo>
                <a:lnTo>
                  <a:pt x="112766" y="325936"/>
                </a:lnTo>
                <a:lnTo>
                  <a:pt x="112376" y="325126"/>
                </a:lnTo>
                <a:lnTo>
                  <a:pt x="111690" y="324155"/>
                </a:lnTo>
                <a:lnTo>
                  <a:pt x="110014" y="322907"/>
                </a:lnTo>
                <a:lnTo>
                  <a:pt x="106470" y="321059"/>
                </a:lnTo>
                <a:lnTo>
                  <a:pt x="104061" y="320135"/>
                </a:lnTo>
                <a:lnTo>
                  <a:pt x="103156" y="321116"/>
                </a:lnTo>
                <a:lnTo>
                  <a:pt x="101432" y="322097"/>
                </a:lnTo>
                <a:lnTo>
                  <a:pt x="98717" y="321773"/>
                </a:lnTo>
                <a:lnTo>
                  <a:pt x="98050" y="322164"/>
                </a:lnTo>
                <a:lnTo>
                  <a:pt x="93393" y="319211"/>
                </a:lnTo>
                <a:lnTo>
                  <a:pt x="88925" y="316373"/>
                </a:lnTo>
                <a:lnTo>
                  <a:pt x="87449" y="316373"/>
                </a:lnTo>
                <a:lnTo>
                  <a:pt x="80867" y="316944"/>
                </a:lnTo>
                <a:lnTo>
                  <a:pt x="80677" y="316697"/>
                </a:lnTo>
                <a:lnTo>
                  <a:pt x="79524" y="315077"/>
                </a:lnTo>
                <a:lnTo>
                  <a:pt x="78514" y="314563"/>
                </a:lnTo>
                <a:lnTo>
                  <a:pt x="77905" y="314830"/>
                </a:lnTo>
                <a:lnTo>
                  <a:pt x="77495" y="315296"/>
                </a:lnTo>
                <a:lnTo>
                  <a:pt x="76790" y="315220"/>
                </a:lnTo>
                <a:lnTo>
                  <a:pt x="73838" y="312610"/>
                </a:lnTo>
                <a:lnTo>
                  <a:pt x="72628" y="312230"/>
                </a:lnTo>
                <a:lnTo>
                  <a:pt x="70952" y="312582"/>
                </a:lnTo>
                <a:lnTo>
                  <a:pt x="68971" y="313992"/>
                </a:lnTo>
                <a:lnTo>
                  <a:pt x="68104" y="315716"/>
                </a:lnTo>
                <a:lnTo>
                  <a:pt x="68370" y="316706"/>
                </a:lnTo>
                <a:lnTo>
                  <a:pt x="69390" y="317135"/>
                </a:lnTo>
                <a:lnTo>
                  <a:pt x="72085" y="316849"/>
                </a:lnTo>
                <a:lnTo>
                  <a:pt x="72476" y="317135"/>
                </a:lnTo>
                <a:lnTo>
                  <a:pt x="72571" y="317697"/>
                </a:lnTo>
                <a:lnTo>
                  <a:pt x="72276" y="318240"/>
                </a:lnTo>
                <a:lnTo>
                  <a:pt x="70094" y="318687"/>
                </a:lnTo>
                <a:lnTo>
                  <a:pt x="69466" y="319344"/>
                </a:lnTo>
                <a:lnTo>
                  <a:pt x="68827" y="319507"/>
                </a:lnTo>
                <a:lnTo>
                  <a:pt x="68418" y="319611"/>
                </a:lnTo>
                <a:lnTo>
                  <a:pt x="66094" y="318926"/>
                </a:lnTo>
                <a:lnTo>
                  <a:pt x="62636" y="318926"/>
                </a:lnTo>
                <a:lnTo>
                  <a:pt x="59845" y="320135"/>
                </a:lnTo>
                <a:lnTo>
                  <a:pt x="55388" y="320621"/>
                </a:lnTo>
                <a:lnTo>
                  <a:pt x="49263" y="320383"/>
                </a:lnTo>
                <a:lnTo>
                  <a:pt x="47063" y="319478"/>
                </a:lnTo>
                <a:lnTo>
                  <a:pt x="45720" y="318935"/>
                </a:lnTo>
                <a:lnTo>
                  <a:pt x="44748" y="316268"/>
                </a:lnTo>
                <a:lnTo>
                  <a:pt x="44996" y="312315"/>
                </a:lnTo>
                <a:lnTo>
                  <a:pt x="46453" y="307067"/>
                </a:lnTo>
                <a:lnTo>
                  <a:pt x="46863" y="303209"/>
                </a:lnTo>
                <a:lnTo>
                  <a:pt x="46215" y="300752"/>
                </a:lnTo>
                <a:lnTo>
                  <a:pt x="47082" y="297056"/>
                </a:lnTo>
                <a:lnTo>
                  <a:pt x="49463" y="292122"/>
                </a:lnTo>
                <a:lnTo>
                  <a:pt x="51054" y="286912"/>
                </a:lnTo>
                <a:lnTo>
                  <a:pt x="51845" y="281407"/>
                </a:lnTo>
                <a:lnTo>
                  <a:pt x="52997" y="277816"/>
                </a:lnTo>
                <a:lnTo>
                  <a:pt x="55264" y="275291"/>
                </a:lnTo>
                <a:lnTo>
                  <a:pt x="60646" y="268224"/>
                </a:lnTo>
                <a:lnTo>
                  <a:pt x="61084" y="267691"/>
                </a:lnTo>
                <a:lnTo>
                  <a:pt x="60931" y="264157"/>
                </a:lnTo>
                <a:lnTo>
                  <a:pt x="59484" y="263652"/>
                </a:lnTo>
                <a:lnTo>
                  <a:pt x="57360" y="262633"/>
                </a:lnTo>
                <a:lnTo>
                  <a:pt x="51959" y="261375"/>
                </a:lnTo>
                <a:lnTo>
                  <a:pt x="46930" y="260566"/>
                </a:lnTo>
                <a:lnTo>
                  <a:pt x="44643" y="259566"/>
                </a:lnTo>
                <a:lnTo>
                  <a:pt x="42643" y="256889"/>
                </a:lnTo>
                <a:lnTo>
                  <a:pt x="41405" y="256851"/>
                </a:lnTo>
                <a:lnTo>
                  <a:pt x="38976" y="257813"/>
                </a:lnTo>
                <a:lnTo>
                  <a:pt x="35947" y="258461"/>
                </a:lnTo>
                <a:lnTo>
                  <a:pt x="33737" y="257899"/>
                </a:lnTo>
                <a:lnTo>
                  <a:pt x="32356" y="258004"/>
                </a:lnTo>
                <a:lnTo>
                  <a:pt x="31585" y="258499"/>
                </a:lnTo>
                <a:lnTo>
                  <a:pt x="31194" y="258061"/>
                </a:lnTo>
                <a:lnTo>
                  <a:pt x="30642" y="255765"/>
                </a:lnTo>
                <a:lnTo>
                  <a:pt x="29489" y="255165"/>
                </a:lnTo>
                <a:lnTo>
                  <a:pt x="27699" y="254632"/>
                </a:lnTo>
                <a:lnTo>
                  <a:pt x="26584" y="254860"/>
                </a:lnTo>
                <a:lnTo>
                  <a:pt x="25813" y="256003"/>
                </a:lnTo>
                <a:lnTo>
                  <a:pt x="24622" y="256804"/>
                </a:lnTo>
                <a:lnTo>
                  <a:pt x="23536" y="256546"/>
                </a:lnTo>
                <a:lnTo>
                  <a:pt x="20117" y="251231"/>
                </a:lnTo>
                <a:lnTo>
                  <a:pt x="19240" y="250050"/>
                </a:lnTo>
                <a:lnTo>
                  <a:pt x="19021" y="248964"/>
                </a:lnTo>
                <a:lnTo>
                  <a:pt x="18164" y="246983"/>
                </a:lnTo>
                <a:lnTo>
                  <a:pt x="16126" y="245002"/>
                </a:lnTo>
                <a:lnTo>
                  <a:pt x="14097" y="244373"/>
                </a:lnTo>
                <a:lnTo>
                  <a:pt x="13087" y="244592"/>
                </a:lnTo>
                <a:lnTo>
                  <a:pt x="13202" y="242135"/>
                </a:lnTo>
                <a:lnTo>
                  <a:pt x="13992" y="238563"/>
                </a:lnTo>
                <a:lnTo>
                  <a:pt x="14754" y="236696"/>
                </a:lnTo>
                <a:lnTo>
                  <a:pt x="15764" y="235172"/>
                </a:lnTo>
                <a:lnTo>
                  <a:pt x="16840" y="234105"/>
                </a:lnTo>
                <a:lnTo>
                  <a:pt x="17078" y="232181"/>
                </a:lnTo>
                <a:lnTo>
                  <a:pt x="16907" y="230362"/>
                </a:lnTo>
                <a:lnTo>
                  <a:pt x="15669" y="230076"/>
                </a:lnTo>
                <a:lnTo>
                  <a:pt x="12563" y="228733"/>
                </a:lnTo>
                <a:lnTo>
                  <a:pt x="10725" y="227314"/>
                </a:lnTo>
                <a:lnTo>
                  <a:pt x="9363" y="225533"/>
                </a:lnTo>
                <a:lnTo>
                  <a:pt x="7572" y="223085"/>
                </a:lnTo>
                <a:lnTo>
                  <a:pt x="6810" y="220589"/>
                </a:lnTo>
                <a:lnTo>
                  <a:pt x="6772" y="218103"/>
                </a:lnTo>
                <a:lnTo>
                  <a:pt x="6982" y="216989"/>
                </a:lnTo>
                <a:lnTo>
                  <a:pt x="7115" y="216217"/>
                </a:lnTo>
                <a:lnTo>
                  <a:pt x="8553" y="212331"/>
                </a:lnTo>
                <a:lnTo>
                  <a:pt x="13621" y="208845"/>
                </a:lnTo>
                <a:lnTo>
                  <a:pt x="13059" y="205330"/>
                </a:lnTo>
                <a:lnTo>
                  <a:pt x="12983" y="203168"/>
                </a:lnTo>
                <a:lnTo>
                  <a:pt x="11754" y="201758"/>
                </a:lnTo>
                <a:lnTo>
                  <a:pt x="9296" y="201187"/>
                </a:lnTo>
                <a:lnTo>
                  <a:pt x="8649" y="200206"/>
                </a:lnTo>
                <a:lnTo>
                  <a:pt x="8372" y="199244"/>
                </a:lnTo>
                <a:lnTo>
                  <a:pt x="10173" y="197082"/>
                </a:lnTo>
                <a:lnTo>
                  <a:pt x="7991" y="195377"/>
                </a:lnTo>
                <a:lnTo>
                  <a:pt x="7001" y="193691"/>
                </a:lnTo>
                <a:lnTo>
                  <a:pt x="3972" y="191462"/>
                </a:lnTo>
                <a:lnTo>
                  <a:pt x="3648" y="190690"/>
                </a:lnTo>
                <a:lnTo>
                  <a:pt x="5105" y="184166"/>
                </a:lnTo>
                <a:lnTo>
                  <a:pt x="3991" y="182261"/>
                </a:lnTo>
                <a:lnTo>
                  <a:pt x="2610" y="181289"/>
                </a:lnTo>
                <a:lnTo>
                  <a:pt x="1000" y="180813"/>
                </a:lnTo>
                <a:lnTo>
                  <a:pt x="257" y="179908"/>
                </a:lnTo>
                <a:lnTo>
                  <a:pt x="0" y="178870"/>
                </a:lnTo>
                <a:lnTo>
                  <a:pt x="286" y="178232"/>
                </a:lnTo>
                <a:lnTo>
                  <a:pt x="2181" y="178422"/>
                </a:lnTo>
                <a:lnTo>
                  <a:pt x="2772" y="177746"/>
                </a:lnTo>
                <a:lnTo>
                  <a:pt x="7286" y="173898"/>
                </a:lnTo>
                <a:lnTo>
                  <a:pt x="7477" y="173155"/>
                </a:lnTo>
                <a:lnTo>
                  <a:pt x="6848" y="172736"/>
                </a:lnTo>
                <a:lnTo>
                  <a:pt x="6029" y="172517"/>
                </a:lnTo>
                <a:lnTo>
                  <a:pt x="5820" y="171707"/>
                </a:lnTo>
                <a:lnTo>
                  <a:pt x="5848" y="170640"/>
                </a:lnTo>
                <a:lnTo>
                  <a:pt x="8258" y="165068"/>
                </a:lnTo>
                <a:lnTo>
                  <a:pt x="8972" y="162687"/>
                </a:lnTo>
                <a:lnTo>
                  <a:pt x="9134" y="161001"/>
                </a:lnTo>
                <a:lnTo>
                  <a:pt x="8982" y="159334"/>
                </a:lnTo>
                <a:lnTo>
                  <a:pt x="7591" y="156715"/>
                </a:lnTo>
                <a:lnTo>
                  <a:pt x="6248" y="154619"/>
                </a:lnTo>
                <a:lnTo>
                  <a:pt x="6201" y="152952"/>
                </a:lnTo>
                <a:lnTo>
                  <a:pt x="5220" y="152076"/>
                </a:lnTo>
                <a:lnTo>
                  <a:pt x="2438" y="147590"/>
                </a:lnTo>
                <a:lnTo>
                  <a:pt x="2438" y="145856"/>
                </a:lnTo>
                <a:lnTo>
                  <a:pt x="4010" y="144504"/>
                </a:lnTo>
                <a:lnTo>
                  <a:pt x="6210" y="143646"/>
                </a:lnTo>
                <a:lnTo>
                  <a:pt x="6944" y="142932"/>
                </a:lnTo>
                <a:lnTo>
                  <a:pt x="8258" y="142484"/>
                </a:lnTo>
                <a:lnTo>
                  <a:pt x="11754" y="143780"/>
                </a:lnTo>
                <a:lnTo>
                  <a:pt x="13316" y="144904"/>
                </a:lnTo>
                <a:lnTo>
                  <a:pt x="13754" y="144675"/>
                </a:lnTo>
                <a:lnTo>
                  <a:pt x="15164" y="143456"/>
                </a:lnTo>
                <a:lnTo>
                  <a:pt x="17640" y="143646"/>
                </a:lnTo>
                <a:lnTo>
                  <a:pt x="23631" y="141189"/>
                </a:lnTo>
                <a:lnTo>
                  <a:pt x="24527" y="140008"/>
                </a:lnTo>
                <a:lnTo>
                  <a:pt x="25194" y="138751"/>
                </a:lnTo>
                <a:lnTo>
                  <a:pt x="25251" y="138198"/>
                </a:lnTo>
                <a:lnTo>
                  <a:pt x="22927" y="135769"/>
                </a:lnTo>
                <a:lnTo>
                  <a:pt x="22860" y="134874"/>
                </a:lnTo>
                <a:lnTo>
                  <a:pt x="23165" y="133864"/>
                </a:lnTo>
                <a:lnTo>
                  <a:pt x="23822" y="133064"/>
                </a:lnTo>
                <a:lnTo>
                  <a:pt x="25194" y="132521"/>
                </a:lnTo>
                <a:lnTo>
                  <a:pt x="26651" y="131454"/>
                </a:lnTo>
                <a:lnTo>
                  <a:pt x="29918" y="128426"/>
                </a:lnTo>
                <a:lnTo>
                  <a:pt x="31051" y="125797"/>
                </a:lnTo>
                <a:lnTo>
                  <a:pt x="31404" y="122939"/>
                </a:lnTo>
                <a:lnTo>
                  <a:pt x="31470" y="120805"/>
                </a:lnTo>
                <a:lnTo>
                  <a:pt x="30575" y="119110"/>
                </a:lnTo>
                <a:lnTo>
                  <a:pt x="29670" y="118015"/>
                </a:lnTo>
                <a:lnTo>
                  <a:pt x="28442" y="118186"/>
                </a:lnTo>
                <a:lnTo>
                  <a:pt x="26051" y="118100"/>
                </a:lnTo>
                <a:lnTo>
                  <a:pt x="23813" y="117148"/>
                </a:lnTo>
                <a:lnTo>
                  <a:pt x="22584" y="115605"/>
                </a:lnTo>
                <a:lnTo>
                  <a:pt x="22279" y="114252"/>
                </a:lnTo>
                <a:lnTo>
                  <a:pt x="22841" y="113395"/>
                </a:lnTo>
                <a:lnTo>
                  <a:pt x="23012" y="112347"/>
                </a:lnTo>
                <a:lnTo>
                  <a:pt x="22650" y="111290"/>
                </a:lnTo>
                <a:lnTo>
                  <a:pt x="22793" y="110404"/>
                </a:lnTo>
                <a:lnTo>
                  <a:pt x="23803" y="109690"/>
                </a:lnTo>
                <a:lnTo>
                  <a:pt x="30880" y="109709"/>
                </a:lnTo>
                <a:lnTo>
                  <a:pt x="31413" y="108928"/>
                </a:lnTo>
                <a:lnTo>
                  <a:pt x="31890" y="104813"/>
                </a:lnTo>
                <a:lnTo>
                  <a:pt x="33661" y="98536"/>
                </a:lnTo>
                <a:lnTo>
                  <a:pt x="35328" y="95031"/>
                </a:lnTo>
                <a:lnTo>
                  <a:pt x="35605" y="93554"/>
                </a:lnTo>
                <a:lnTo>
                  <a:pt x="35576" y="85220"/>
                </a:lnTo>
                <a:lnTo>
                  <a:pt x="35805" y="80981"/>
                </a:lnTo>
                <a:lnTo>
                  <a:pt x="34595" y="78991"/>
                </a:lnTo>
                <a:lnTo>
                  <a:pt x="31956" y="76810"/>
                </a:lnTo>
                <a:lnTo>
                  <a:pt x="32518" y="72257"/>
                </a:lnTo>
                <a:lnTo>
                  <a:pt x="33394" y="68694"/>
                </a:lnTo>
                <a:lnTo>
                  <a:pt x="36052" y="64313"/>
                </a:lnTo>
                <a:lnTo>
                  <a:pt x="38157" y="63112"/>
                </a:lnTo>
                <a:lnTo>
                  <a:pt x="47349" y="62398"/>
                </a:lnTo>
                <a:lnTo>
                  <a:pt x="57502" y="62694"/>
                </a:lnTo>
                <a:lnTo>
                  <a:pt x="61722" y="69313"/>
                </a:lnTo>
                <a:lnTo>
                  <a:pt x="60160" y="72704"/>
                </a:lnTo>
                <a:lnTo>
                  <a:pt x="62627" y="74285"/>
                </a:lnTo>
                <a:lnTo>
                  <a:pt x="63817" y="73705"/>
                </a:lnTo>
                <a:lnTo>
                  <a:pt x="64722" y="70751"/>
                </a:lnTo>
                <a:lnTo>
                  <a:pt x="65322" y="67475"/>
                </a:lnTo>
                <a:lnTo>
                  <a:pt x="66189" y="66484"/>
                </a:lnTo>
                <a:lnTo>
                  <a:pt x="69332" y="68932"/>
                </a:lnTo>
                <a:lnTo>
                  <a:pt x="70437" y="70609"/>
                </a:lnTo>
                <a:lnTo>
                  <a:pt x="70504" y="75981"/>
                </a:lnTo>
                <a:lnTo>
                  <a:pt x="71666" y="68694"/>
                </a:lnTo>
                <a:lnTo>
                  <a:pt x="70799" y="63579"/>
                </a:lnTo>
                <a:lnTo>
                  <a:pt x="71390" y="58607"/>
                </a:lnTo>
                <a:lnTo>
                  <a:pt x="72657" y="56016"/>
                </a:lnTo>
                <a:lnTo>
                  <a:pt x="73819" y="54368"/>
                </a:lnTo>
                <a:lnTo>
                  <a:pt x="81267" y="56150"/>
                </a:lnTo>
                <a:lnTo>
                  <a:pt x="89497" y="55235"/>
                </a:lnTo>
                <a:lnTo>
                  <a:pt x="92612" y="57159"/>
                </a:lnTo>
                <a:lnTo>
                  <a:pt x="99651" y="66751"/>
                </a:lnTo>
                <a:lnTo>
                  <a:pt x="102003" y="68323"/>
                </a:lnTo>
                <a:lnTo>
                  <a:pt x="104965" y="68818"/>
                </a:lnTo>
                <a:lnTo>
                  <a:pt x="100879" y="66770"/>
                </a:lnTo>
                <a:lnTo>
                  <a:pt x="92345" y="55093"/>
                </a:lnTo>
                <a:lnTo>
                  <a:pt x="89792" y="53645"/>
                </a:lnTo>
                <a:lnTo>
                  <a:pt x="85868" y="53207"/>
                </a:lnTo>
                <a:lnTo>
                  <a:pt x="83420" y="52064"/>
                </a:lnTo>
                <a:lnTo>
                  <a:pt x="81877" y="50292"/>
                </a:lnTo>
                <a:lnTo>
                  <a:pt x="81429" y="48701"/>
                </a:lnTo>
                <a:lnTo>
                  <a:pt x="81515" y="36843"/>
                </a:lnTo>
                <a:lnTo>
                  <a:pt x="80048" y="35071"/>
                </a:lnTo>
                <a:lnTo>
                  <a:pt x="78143" y="34461"/>
                </a:lnTo>
                <a:lnTo>
                  <a:pt x="76952" y="35271"/>
                </a:lnTo>
                <a:lnTo>
                  <a:pt x="74514" y="35280"/>
                </a:lnTo>
                <a:lnTo>
                  <a:pt x="74000" y="32585"/>
                </a:lnTo>
                <a:lnTo>
                  <a:pt x="74600" y="30585"/>
                </a:lnTo>
                <a:lnTo>
                  <a:pt x="79495" y="29213"/>
                </a:lnTo>
                <a:lnTo>
                  <a:pt x="82725" y="27375"/>
                </a:lnTo>
                <a:lnTo>
                  <a:pt x="82867" y="24127"/>
                </a:lnTo>
                <a:lnTo>
                  <a:pt x="80829" y="21564"/>
                </a:lnTo>
                <a:lnTo>
                  <a:pt x="78391" y="16859"/>
                </a:lnTo>
                <a:lnTo>
                  <a:pt x="75524" y="12430"/>
                </a:lnTo>
                <a:lnTo>
                  <a:pt x="75200" y="7268"/>
                </a:lnTo>
                <a:lnTo>
                  <a:pt x="75209" y="7268"/>
                </a:lnTo>
                <a:lnTo>
                  <a:pt x="80200" y="7363"/>
                </a:lnTo>
                <a:lnTo>
                  <a:pt x="81420" y="7563"/>
                </a:lnTo>
                <a:lnTo>
                  <a:pt x="88982" y="9982"/>
                </a:lnTo>
                <a:lnTo>
                  <a:pt x="90830" y="11677"/>
                </a:lnTo>
                <a:lnTo>
                  <a:pt x="93154" y="11754"/>
                </a:lnTo>
                <a:lnTo>
                  <a:pt x="97346" y="10173"/>
                </a:lnTo>
                <a:lnTo>
                  <a:pt x="100479" y="9477"/>
                </a:lnTo>
                <a:lnTo>
                  <a:pt x="101689" y="10458"/>
                </a:lnTo>
                <a:lnTo>
                  <a:pt x="103394" y="10868"/>
                </a:lnTo>
                <a:lnTo>
                  <a:pt x="103775" y="10868"/>
                </a:lnTo>
                <a:close/>
                <a:moveTo>
                  <a:pt x="72980" y="16059"/>
                </a:moveTo>
                <a:lnTo>
                  <a:pt x="71942" y="17193"/>
                </a:lnTo>
                <a:lnTo>
                  <a:pt x="69390" y="17059"/>
                </a:lnTo>
                <a:lnTo>
                  <a:pt x="67961" y="15992"/>
                </a:lnTo>
                <a:lnTo>
                  <a:pt x="68428" y="14859"/>
                </a:lnTo>
                <a:lnTo>
                  <a:pt x="69780" y="13992"/>
                </a:lnTo>
                <a:lnTo>
                  <a:pt x="70904" y="13859"/>
                </a:lnTo>
                <a:lnTo>
                  <a:pt x="72599" y="14392"/>
                </a:lnTo>
                <a:lnTo>
                  <a:pt x="72980" y="16059"/>
                </a:lnTo>
                <a:close/>
                <a:moveTo>
                  <a:pt x="209883" y="31223"/>
                </a:moveTo>
                <a:lnTo>
                  <a:pt x="210550" y="34299"/>
                </a:lnTo>
                <a:lnTo>
                  <a:pt x="209836" y="35871"/>
                </a:lnTo>
                <a:lnTo>
                  <a:pt x="206835" y="33261"/>
                </a:lnTo>
                <a:lnTo>
                  <a:pt x="203816" y="33299"/>
                </a:lnTo>
                <a:lnTo>
                  <a:pt x="202016" y="37309"/>
                </a:lnTo>
                <a:lnTo>
                  <a:pt x="200672" y="37481"/>
                </a:lnTo>
                <a:lnTo>
                  <a:pt x="196015" y="33833"/>
                </a:lnTo>
                <a:lnTo>
                  <a:pt x="195262" y="32052"/>
                </a:lnTo>
                <a:lnTo>
                  <a:pt x="195110" y="30566"/>
                </a:lnTo>
                <a:lnTo>
                  <a:pt x="195777" y="25422"/>
                </a:lnTo>
                <a:lnTo>
                  <a:pt x="195653" y="23803"/>
                </a:lnTo>
                <a:lnTo>
                  <a:pt x="197120" y="22031"/>
                </a:lnTo>
                <a:lnTo>
                  <a:pt x="197348" y="19460"/>
                </a:lnTo>
                <a:lnTo>
                  <a:pt x="199930" y="16755"/>
                </a:lnTo>
                <a:lnTo>
                  <a:pt x="202234" y="16650"/>
                </a:lnTo>
                <a:lnTo>
                  <a:pt x="202959" y="18945"/>
                </a:lnTo>
                <a:lnTo>
                  <a:pt x="204063" y="20526"/>
                </a:lnTo>
                <a:lnTo>
                  <a:pt x="207931" y="22298"/>
                </a:lnTo>
                <a:lnTo>
                  <a:pt x="208512" y="23098"/>
                </a:lnTo>
                <a:lnTo>
                  <a:pt x="208864" y="24212"/>
                </a:lnTo>
                <a:lnTo>
                  <a:pt x="207064" y="26384"/>
                </a:lnTo>
                <a:lnTo>
                  <a:pt x="206455" y="27499"/>
                </a:lnTo>
                <a:lnTo>
                  <a:pt x="207026" y="29280"/>
                </a:lnTo>
                <a:lnTo>
                  <a:pt x="209883" y="31223"/>
                </a:lnTo>
                <a:close/>
                <a:moveTo>
                  <a:pt x="145027" y="29613"/>
                </a:moveTo>
                <a:lnTo>
                  <a:pt x="140922" y="29699"/>
                </a:lnTo>
                <a:lnTo>
                  <a:pt x="139351" y="27870"/>
                </a:lnTo>
                <a:lnTo>
                  <a:pt x="137779" y="27403"/>
                </a:lnTo>
                <a:lnTo>
                  <a:pt x="138627" y="25146"/>
                </a:lnTo>
                <a:lnTo>
                  <a:pt x="139732" y="24317"/>
                </a:lnTo>
                <a:lnTo>
                  <a:pt x="143704" y="25793"/>
                </a:lnTo>
                <a:lnTo>
                  <a:pt x="144951" y="28680"/>
                </a:lnTo>
                <a:lnTo>
                  <a:pt x="145027" y="29613"/>
                </a:lnTo>
                <a:close/>
                <a:moveTo>
                  <a:pt x="223304" y="50920"/>
                </a:moveTo>
                <a:lnTo>
                  <a:pt x="222952" y="52340"/>
                </a:lnTo>
                <a:lnTo>
                  <a:pt x="223361" y="54521"/>
                </a:lnTo>
                <a:lnTo>
                  <a:pt x="222256" y="54359"/>
                </a:lnTo>
                <a:lnTo>
                  <a:pt x="218942" y="54873"/>
                </a:lnTo>
                <a:lnTo>
                  <a:pt x="215665" y="54150"/>
                </a:lnTo>
                <a:lnTo>
                  <a:pt x="215037" y="51435"/>
                </a:lnTo>
                <a:lnTo>
                  <a:pt x="215560" y="48825"/>
                </a:lnTo>
                <a:lnTo>
                  <a:pt x="214246" y="47025"/>
                </a:lnTo>
                <a:lnTo>
                  <a:pt x="213036" y="45968"/>
                </a:lnTo>
                <a:lnTo>
                  <a:pt x="212855" y="44463"/>
                </a:lnTo>
                <a:lnTo>
                  <a:pt x="213055" y="42891"/>
                </a:lnTo>
                <a:lnTo>
                  <a:pt x="218703" y="47101"/>
                </a:lnTo>
                <a:lnTo>
                  <a:pt x="223304" y="50920"/>
                </a:ln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9" name="Rectangle : avec coins arrondis en haut 5">
            <a:extLst>
              <a:ext uri="{FF2B5EF4-FFF2-40B4-BE49-F238E27FC236}">
                <a16:creationId xmlns:a16="http://schemas.microsoft.com/office/drawing/2014/main" id="{0911E4D5-4FEE-3F33-AF00-EEF8E9E898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 rot="16200000">
            <a:off x="8310136" y="2192909"/>
            <a:ext cx="4448530" cy="3333248"/>
          </a:xfrm>
          <a:prstGeom prst="round2SameRect">
            <a:avLst>
              <a:gd name="adj1" fmla="val 7834"/>
              <a:gd name="adj2" fmla="val 0"/>
            </a:avLst>
          </a:prstGeom>
          <a:solidFill>
            <a:schemeClr val="bg1"/>
          </a:solidFill>
          <a:ln w="3175">
            <a:noFill/>
          </a:ln>
          <a:effectLst>
            <a:outerShdw blurRad="165100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EEEEE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" name="Espace réservé du texte 59">
            <a:extLst>
              <a:ext uri="{FF2B5EF4-FFF2-40B4-BE49-F238E27FC236}">
                <a16:creationId xmlns:a16="http://schemas.microsoft.com/office/drawing/2014/main" id="{EBF8C820-A52C-B1EA-602B-80488ABD104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3384" y="2006124"/>
            <a:ext cx="2746390" cy="83779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    les styles du texte           du masque:</a:t>
            </a:r>
          </a:p>
        </p:txBody>
      </p:sp>
      <p:cxnSp>
        <p:nvCxnSpPr>
          <p:cNvPr id="8" name="Straight Connector 2">
            <a:extLst>
              <a:ext uri="{FF2B5EF4-FFF2-40B4-BE49-F238E27FC236}">
                <a16:creationId xmlns:a16="http://schemas.microsoft.com/office/drawing/2014/main" id="{070773A7-A9C2-A0C1-4935-6D8F0A7F3F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43384" y="2820223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4DDF393B-39A3-40BF-FBA9-38D636894A6C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15" name="Titre 1">
            <a:extLst>
              <a:ext uri="{FF2B5EF4-FFF2-40B4-BE49-F238E27FC236}">
                <a16:creationId xmlns:a16="http://schemas.microsoft.com/office/drawing/2014/main" id="{54551F9F-0040-2D09-8E73-F206DB1C041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6162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4F783A1B-DF20-9377-9168-163C737F878B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6162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2" name="Espace réservé du texte 14">
            <a:extLst>
              <a:ext uri="{FF2B5EF4-FFF2-40B4-BE49-F238E27FC236}">
                <a16:creationId xmlns:a16="http://schemas.microsoft.com/office/drawing/2014/main" id="{0146E899-9E8A-FA85-3D32-5A0CF942F52C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9250015" y="2021408"/>
            <a:ext cx="2391124" cy="35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Key figur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09796EB-2B05-2BD8-F8F1-1279E108D44D}"/>
              </a:ext>
            </a:extLst>
          </p:cNvPr>
          <p:cNvCxnSpPr>
            <a:cxnSpLocks/>
          </p:cNvCxnSpPr>
          <p:nvPr userDrawn="1"/>
        </p:nvCxnSpPr>
        <p:spPr>
          <a:xfrm>
            <a:off x="9330528" y="2380500"/>
            <a:ext cx="248652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310">
            <a:extLst>
              <a:ext uri="{FF2B5EF4-FFF2-40B4-BE49-F238E27FC236}">
                <a16:creationId xmlns:a16="http://schemas.microsoft.com/office/drawing/2014/main" id="{D42508E0-970C-553E-86FC-524CC4C00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50014" y="2624914"/>
            <a:ext cx="2391124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gradFill flip="none" rotWithShape="1">
                  <a:gsLst>
                    <a:gs pos="0">
                      <a:schemeClr val="accent6"/>
                    </a:gs>
                    <a:gs pos="10000">
                      <a:schemeClr val="accent5"/>
                    </a:gs>
                    <a:gs pos="60000">
                      <a:schemeClr val="accent3"/>
                    </a:gs>
                    <a:gs pos="100000">
                      <a:schemeClr val="accent4"/>
                    </a:gs>
                  </a:gsLst>
                  <a:lin ang="18900000" scaled="1"/>
                  <a:tileRect/>
                </a:gra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19" name="Espace réservé du texte 310">
            <a:extLst>
              <a:ext uri="{FF2B5EF4-FFF2-40B4-BE49-F238E27FC236}">
                <a16:creationId xmlns:a16="http://schemas.microsoft.com/office/drawing/2014/main" id="{53FB0BA0-E874-49EE-EBF8-3D25ADBB3E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0014" y="3001619"/>
            <a:ext cx="2386039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en-GB" noProof="0"/>
              <a:t>Modify text</a:t>
            </a:r>
          </a:p>
        </p:txBody>
      </p:sp>
      <p:sp>
        <p:nvSpPr>
          <p:cNvPr id="71" name="Espace réservé du texte 310">
            <a:extLst>
              <a:ext uri="{FF2B5EF4-FFF2-40B4-BE49-F238E27FC236}">
                <a16:creationId xmlns:a16="http://schemas.microsoft.com/office/drawing/2014/main" id="{81757AEC-9B1C-001F-F9CB-179D02D756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50014" y="3456174"/>
            <a:ext cx="2364656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gradFill flip="none" rotWithShape="1">
                  <a:gsLst>
                    <a:gs pos="0">
                      <a:schemeClr val="accent6"/>
                    </a:gs>
                    <a:gs pos="10000">
                      <a:schemeClr val="accent5"/>
                    </a:gs>
                    <a:gs pos="60000">
                      <a:schemeClr val="accent3"/>
                    </a:gs>
                    <a:gs pos="100000">
                      <a:schemeClr val="accent4"/>
                    </a:gs>
                  </a:gsLst>
                  <a:lin ang="18900000" scaled="1"/>
                  <a:tileRect/>
                </a:gra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74" name="Espace réservé du texte 310">
            <a:extLst>
              <a:ext uri="{FF2B5EF4-FFF2-40B4-BE49-F238E27FC236}">
                <a16:creationId xmlns:a16="http://schemas.microsoft.com/office/drawing/2014/main" id="{FDF35283-E3DC-76E8-BCA0-680FD4DF04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50014" y="3813002"/>
            <a:ext cx="2364656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en-GB" noProof="0"/>
              <a:t>Modify text</a:t>
            </a:r>
          </a:p>
        </p:txBody>
      </p:sp>
      <p:sp>
        <p:nvSpPr>
          <p:cNvPr id="75" name="Espace réservé du texte 310">
            <a:extLst>
              <a:ext uri="{FF2B5EF4-FFF2-40B4-BE49-F238E27FC236}">
                <a16:creationId xmlns:a16="http://schemas.microsoft.com/office/drawing/2014/main" id="{30813007-9F9F-B517-E9C9-26C3B7710B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50014" y="4280906"/>
            <a:ext cx="2364541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gradFill flip="none" rotWithShape="1">
                  <a:gsLst>
                    <a:gs pos="0">
                      <a:schemeClr val="accent6"/>
                    </a:gs>
                    <a:gs pos="10000">
                      <a:schemeClr val="accent5"/>
                    </a:gs>
                    <a:gs pos="60000">
                      <a:schemeClr val="accent3"/>
                    </a:gs>
                    <a:gs pos="100000">
                      <a:schemeClr val="accent4"/>
                    </a:gs>
                  </a:gsLst>
                  <a:lin ang="18900000" scaled="1"/>
                  <a:tileRect/>
                </a:gra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82" name="Espace réservé du texte 310">
            <a:extLst>
              <a:ext uri="{FF2B5EF4-FFF2-40B4-BE49-F238E27FC236}">
                <a16:creationId xmlns:a16="http://schemas.microsoft.com/office/drawing/2014/main" id="{B861E7C9-609C-FA98-883B-0ADE731066A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50014" y="4637734"/>
            <a:ext cx="2361998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en-GB" noProof="0"/>
              <a:t>Modify text</a:t>
            </a:r>
          </a:p>
        </p:txBody>
      </p:sp>
      <p:sp>
        <p:nvSpPr>
          <p:cNvPr id="83" name="Espace réservé du texte 310">
            <a:extLst>
              <a:ext uri="{FF2B5EF4-FFF2-40B4-BE49-F238E27FC236}">
                <a16:creationId xmlns:a16="http://schemas.microsoft.com/office/drawing/2014/main" id="{4E46EFB7-E511-1197-10CB-8CF01971A4E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56453" y="5079966"/>
            <a:ext cx="2340616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gradFill flip="none" rotWithShape="1">
                  <a:gsLst>
                    <a:gs pos="0">
                      <a:schemeClr val="accent6"/>
                    </a:gs>
                    <a:gs pos="10000">
                      <a:schemeClr val="accent5"/>
                    </a:gs>
                    <a:gs pos="60000">
                      <a:schemeClr val="accent3"/>
                    </a:gs>
                    <a:gs pos="100000">
                      <a:schemeClr val="accent4"/>
                    </a:gs>
                  </a:gsLst>
                  <a:lin ang="18900000" scaled="1"/>
                  <a:tileRect/>
                </a:gra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84" name="Espace réservé du texte 310">
            <a:extLst>
              <a:ext uri="{FF2B5EF4-FFF2-40B4-BE49-F238E27FC236}">
                <a16:creationId xmlns:a16="http://schemas.microsoft.com/office/drawing/2014/main" id="{115C6D26-46C5-CF5C-910D-D51C308B6E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56453" y="5436792"/>
            <a:ext cx="2338073" cy="3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216000" indent="0">
              <a:buNone/>
              <a:defRPr sz="2000" b="1"/>
            </a:lvl2pPr>
            <a:lvl3pPr marL="434250" indent="0">
              <a:buNone/>
              <a:defRPr sz="2000" b="1"/>
            </a:lvl3pPr>
          </a:lstStyle>
          <a:p>
            <a:pPr lvl="0"/>
            <a:r>
              <a:rPr lang="en-GB" noProof="0"/>
              <a:t>Modify text</a:t>
            </a:r>
          </a:p>
        </p:txBody>
      </p:sp>
    </p:spTree>
    <p:extLst>
      <p:ext uri="{BB962C8B-B14F-4D97-AF65-F5344CB8AC3E}">
        <p14:creationId xmlns:p14="http://schemas.microsoft.com/office/powerpoint/2010/main" val="3195649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_Figu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2">
            <a:extLst>
              <a:ext uri="{FF2B5EF4-FFF2-40B4-BE49-F238E27FC236}">
                <a16:creationId xmlns:a16="http://schemas.microsoft.com/office/drawing/2014/main" id="{B466293A-BAD7-9B8C-E712-FD06306A32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550862" y="1628775"/>
            <a:ext cx="7052198" cy="410476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id="{BF868B47-9D86-A08B-4208-7D768662F5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230942" y="1646294"/>
            <a:ext cx="3410196" cy="1098494"/>
          </a:xfrm>
          <a:prstGeom prst="roundRect">
            <a:avLst/>
          </a:prstGeom>
          <a:solidFill>
            <a:schemeClr val="bg1"/>
          </a:solidFill>
          <a:ln w="3175">
            <a:noFill/>
          </a:ln>
          <a:effectLst>
            <a:outerShdw blurRad="50800" dist="38100" algn="l" rotWithShape="0">
              <a:srgbClr val="4D1D82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id="{C5044593-E35A-3547-15DC-50E3E67188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23765" y="1918542"/>
            <a:ext cx="3024551" cy="5539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+mn-lt"/>
              </a:defRPr>
            </a:lvl1pPr>
            <a:lvl2pPr>
              <a:defRPr b="1">
                <a:latin typeface="+mj-lt"/>
              </a:defRPr>
            </a:lvl2pPr>
            <a:lvl3pPr>
              <a:defRPr b="1">
                <a:latin typeface="+mj-lt"/>
              </a:defRPr>
            </a:lvl3pPr>
            <a:lvl4pPr>
              <a:defRPr b="1">
                <a:latin typeface="+mj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en-GB"/>
              <a:t>Click to change the mask text styles</a:t>
            </a:r>
            <a:endParaRPr lang="fr-FR"/>
          </a:p>
        </p:txBody>
      </p:sp>
      <p:sp>
        <p:nvSpPr>
          <p:cNvPr id="10" name="Rectangle : avec coins arrondis en haut 9">
            <a:extLst>
              <a:ext uri="{FF2B5EF4-FFF2-40B4-BE49-F238E27FC236}">
                <a16:creationId xmlns:a16="http://schemas.microsoft.com/office/drawing/2014/main" id="{B7226051-336A-A863-A260-B8141AE27C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 flipH="1">
            <a:off x="8560054" y="2652451"/>
            <a:ext cx="2783858" cy="3378309"/>
          </a:xfrm>
          <a:prstGeom prst="round2SameRect">
            <a:avLst>
              <a:gd name="adj1" fmla="val 7834"/>
              <a:gd name="adj2" fmla="val 8608"/>
            </a:avLst>
          </a:prstGeom>
          <a:solidFill>
            <a:schemeClr val="bg2"/>
          </a:solidFill>
          <a:ln w="3175">
            <a:noFill/>
          </a:ln>
          <a:effectLst>
            <a:outerShdw blurRad="165100" dist="38100" dir="2700000" algn="l" rotWithShape="0">
              <a:srgbClr val="4D1D82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EEEEE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38B7F872-4266-AA38-C22F-FFB2ED291B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01009" y="3238512"/>
            <a:ext cx="2901949" cy="923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fr-FR"/>
              <a:t>XX%</a:t>
            </a:r>
          </a:p>
        </p:txBody>
      </p:sp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A640299F-8AFC-13A0-1013-644CAAA24E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4214B10B-4CAA-8B30-9DF0-618CE3ED7E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62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B4DDC36E-8AF6-F7D0-69FA-AF9EB2EB66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162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3" name="Espace réservé du texte 14">
            <a:extLst>
              <a:ext uri="{FF2B5EF4-FFF2-40B4-BE49-F238E27FC236}">
                <a16:creationId xmlns:a16="http://schemas.microsoft.com/office/drawing/2014/main" id="{CC921ED3-3E5B-BC90-D335-71A654B0E7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712" y="2101066"/>
            <a:ext cx="6221825" cy="3714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6" name="Straight Connector 2">
            <a:extLst>
              <a:ext uri="{FF2B5EF4-FFF2-40B4-BE49-F238E27FC236}">
                <a16:creationId xmlns:a16="http://schemas.microsoft.com/office/drawing/2014/main" id="{D656082B-C799-D816-6BD6-1A5F352F445A}"/>
              </a:ext>
            </a:extLst>
          </p:cNvPr>
          <p:cNvCxnSpPr>
            <a:cxnSpLocks/>
          </p:cNvCxnSpPr>
          <p:nvPr userDrawn="1"/>
        </p:nvCxnSpPr>
        <p:spPr>
          <a:xfrm>
            <a:off x="955226" y="2460158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4">
            <a:extLst>
              <a:ext uri="{FF2B5EF4-FFF2-40B4-BE49-F238E27FC236}">
                <a16:creationId xmlns:a16="http://schemas.microsoft.com/office/drawing/2014/main" id="{1A8BB04B-540E-341F-0C2A-4A44BA80E4B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4713" y="2744788"/>
            <a:ext cx="6221826" cy="2484437"/>
          </a:xfrm>
        </p:spPr>
        <p:txBody>
          <a:bodyPr/>
          <a:lstStyle>
            <a:lvl1pPr>
              <a:defRPr sz="1600" b="1">
                <a:latin typeface="+mn-lt"/>
              </a:defRPr>
            </a:lvl1pPr>
            <a:lvl2pPr>
              <a:defRPr sz="1400" b="1">
                <a:latin typeface="+mn-lt"/>
              </a:defRPr>
            </a:lvl2pPr>
            <a:lvl3pPr>
              <a:defRPr sz="1200" b="1">
                <a:latin typeface="+mn-lt"/>
              </a:defRPr>
            </a:lvl3pPr>
            <a:lvl4pPr>
              <a:defRPr sz="1100" b="1">
                <a:latin typeface="+mn-lt"/>
              </a:defRPr>
            </a:lvl4pPr>
            <a:lvl5pPr>
              <a:defRPr b="1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5414482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_Fig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6545ACB-D79C-E675-3B36-21BB34ECCD8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61621" y="404813"/>
            <a:ext cx="7402443" cy="25923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rgbClr val="2A1449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en-GB" sz="3600" noProof="0">
                <a:ea typeface="+mn-ea"/>
                <a:cs typeface="+mn-cs"/>
              </a:rPr>
              <a:t>Edit the </a:t>
            </a:r>
            <a:r>
              <a:rPr lang="en-GB" sz="3600" noProof="0" err="1">
                <a:ea typeface="+mn-ea"/>
                <a:cs typeface="+mn-cs"/>
              </a:rPr>
              <a:t>higlight</a:t>
            </a:r>
            <a:r>
              <a:rPr lang="en-GB" sz="3600" noProof="0">
                <a:ea typeface="+mn-ea"/>
                <a:cs typeface="+mn-cs"/>
              </a:rPr>
              <a:t> text</a:t>
            </a:r>
            <a:b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b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GB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3600" noProof="0">
              <a:ea typeface="+mn-ea"/>
              <a:cs typeface="+mn-cs"/>
            </a:endParaRPr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D1A5E110-3E51-5E10-F8CC-117BDA0857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3860800"/>
            <a:ext cx="3495673" cy="23083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4" name="Espace réservé du texte 10">
            <a:extLst>
              <a:ext uri="{FF2B5EF4-FFF2-40B4-BE49-F238E27FC236}">
                <a16:creationId xmlns:a16="http://schemas.microsoft.com/office/drawing/2014/main" id="{9C3634DD-1F4B-4BDF-BECF-27E17353EC9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010650" y="4615497"/>
            <a:ext cx="1404939" cy="1477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fr-FR"/>
              <a:t>%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760CFE3D-836D-F4AB-A8D2-8B6E46528B5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0" y="4338498"/>
            <a:ext cx="5545138" cy="1830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CE32D70A-BAC9-9E5D-2C3D-7568BEC288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6610040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_Figur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8">
            <a:extLst>
              <a:ext uri="{FF2B5EF4-FFF2-40B4-BE49-F238E27FC236}">
                <a16:creationId xmlns:a16="http://schemas.microsoft.com/office/drawing/2014/main" id="{68577B89-000C-039D-8761-6E787397D4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76235"/>
            <a:ext cx="12192000" cy="6858000"/>
          </a:xfrm>
          <a:prstGeom prst="rect">
            <a:avLst/>
          </a:prstGeom>
        </p:spPr>
      </p:pic>
      <p:sp>
        <p:nvSpPr>
          <p:cNvPr id="7" name="Espace réservé du texte 5">
            <a:extLst>
              <a:ext uri="{FF2B5EF4-FFF2-40B4-BE49-F238E27FC236}">
                <a16:creationId xmlns:a16="http://schemas.microsoft.com/office/drawing/2014/main" id="{C7718B7A-D717-D00D-F362-A16ECDBB680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5152" y="823769"/>
            <a:ext cx="7402443" cy="16619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bg2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r-FR" sz="3600" noProof="0">
                <a:ea typeface="+mn-ea"/>
                <a:cs typeface="+mn-cs"/>
              </a:rPr>
              <a:t>Edit the </a:t>
            </a:r>
            <a:r>
              <a:rPr lang="fr-FR" sz="3600" noProof="0" err="1">
                <a:ea typeface="+mn-ea"/>
                <a:cs typeface="+mn-cs"/>
              </a:rPr>
              <a:t>higlight</a:t>
            </a:r>
            <a:r>
              <a:rPr lang="fr-FR" sz="3600" noProof="0">
                <a:ea typeface="+mn-ea"/>
                <a:cs typeface="+mn-cs"/>
              </a:rPr>
              <a:t> </a:t>
            </a:r>
            <a:r>
              <a:rPr lang="fr-FR" sz="3600" noProof="0" err="1">
                <a:ea typeface="+mn-ea"/>
                <a:cs typeface="+mn-cs"/>
              </a:rPr>
              <a:t>text</a:t>
            </a:r>
            <a:br>
              <a:rPr lang="en-US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dolor sit </a:t>
            </a:r>
            <a:r>
              <a:rPr lang="en-US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US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br>
              <a:rPr lang="en-US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US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US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US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3600" noProof="0">
              <a:ea typeface="+mn-ea"/>
              <a:cs typeface="+mn-cs"/>
            </a:endParaRPr>
          </a:p>
        </p:txBody>
      </p:sp>
      <p:sp>
        <p:nvSpPr>
          <p:cNvPr id="2" name="Espace réservé du texte 10">
            <a:extLst>
              <a:ext uri="{FF2B5EF4-FFF2-40B4-BE49-F238E27FC236}">
                <a16:creationId xmlns:a16="http://schemas.microsoft.com/office/drawing/2014/main" id="{26114B02-4952-8D77-C34F-E0E7E52127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5152" y="3565339"/>
            <a:ext cx="3495673" cy="23083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5" name="Espace réservé du texte 10">
            <a:extLst>
              <a:ext uri="{FF2B5EF4-FFF2-40B4-BE49-F238E27FC236}">
                <a16:creationId xmlns:a16="http://schemas.microsoft.com/office/drawing/2014/main" id="{5C659970-9249-3F04-E45D-76BB0EF6850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34939" y="4396335"/>
            <a:ext cx="1404939" cy="1477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/>
              <a:t>%</a:t>
            </a:r>
          </a:p>
        </p:txBody>
      </p:sp>
      <p:sp>
        <p:nvSpPr>
          <p:cNvPr id="6" name="Espace réservé du texte 14">
            <a:extLst>
              <a:ext uri="{FF2B5EF4-FFF2-40B4-BE49-F238E27FC236}">
                <a16:creationId xmlns:a16="http://schemas.microsoft.com/office/drawing/2014/main" id="{9772870A-7AAB-DB24-FE73-36923209A9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5206" y="4553943"/>
            <a:ext cx="5321642" cy="13197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bg2"/>
                </a:solidFill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2962912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_Figur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788A11DA-AB91-E352-91A3-0DB64C1A62C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61622" y="411636"/>
            <a:ext cx="7050776" cy="23331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rgbClr val="2A1449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en-GB" sz="3600" noProof="0">
                <a:ea typeface="+mn-ea"/>
                <a:cs typeface="+mn-cs"/>
              </a:rPr>
              <a:t>Edit the </a:t>
            </a:r>
            <a:r>
              <a:rPr lang="en-GB" sz="3600" noProof="0" err="1">
                <a:ea typeface="+mn-ea"/>
                <a:cs typeface="+mn-cs"/>
              </a:rPr>
              <a:t>higlight</a:t>
            </a:r>
            <a:r>
              <a:rPr lang="en-GB" sz="3600" noProof="0">
                <a:ea typeface="+mn-ea"/>
                <a:cs typeface="+mn-cs"/>
              </a:rPr>
              <a:t> text</a:t>
            </a:r>
            <a:b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</a:t>
            </a:r>
            <a:r>
              <a:rPr lang="en-GB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lor</a:t>
            </a: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it </a:t>
            </a:r>
            <a:r>
              <a:rPr lang="en-GB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b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GB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GB" sz="3600" kern="0" noProof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GB" sz="3600" kern="0" noProof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GB" sz="3600" noProof="0">
              <a:ea typeface="+mn-ea"/>
              <a:cs typeface="+mn-cs"/>
            </a:endParaRPr>
          </a:p>
        </p:txBody>
      </p:sp>
      <p:sp>
        <p:nvSpPr>
          <p:cNvPr id="7" name="Espace réservé du texte 10">
            <a:extLst>
              <a:ext uri="{FF2B5EF4-FFF2-40B4-BE49-F238E27FC236}">
                <a16:creationId xmlns:a16="http://schemas.microsoft.com/office/drawing/2014/main" id="{F661ECFA-1F3A-308A-6316-BDE046F5FD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76411" y="461244"/>
            <a:ext cx="3495673" cy="23083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8" name="Espace réservé du texte 10">
            <a:extLst>
              <a:ext uri="{FF2B5EF4-FFF2-40B4-BE49-F238E27FC236}">
                <a16:creationId xmlns:a16="http://schemas.microsoft.com/office/drawing/2014/main" id="{A1A6A4E0-BEEB-34AF-C62A-12B51D5E7E4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236198" y="1292240"/>
            <a:ext cx="1404939" cy="1477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fr-FR"/>
              <a:t>%</a:t>
            </a:r>
          </a:p>
        </p:txBody>
      </p:sp>
      <p:pic>
        <p:nvPicPr>
          <p:cNvPr id="4" name="Picture Placeholder 18">
            <a:extLst>
              <a:ext uri="{FF2B5EF4-FFF2-40B4-BE49-F238E27FC236}">
                <a16:creationId xmlns:a16="http://schemas.microsoft.com/office/drawing/2014/main" id="{68577B89-000C-039D-8761-6E787397D4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3033132"/>
            <a:ext cx="12192000" cy="3748632"/>
          </a:xfrm>
          <a:prstGeom prst="rect">
            <a:avLst/>
          </a:prstGeom>
        </p:spPr>
      </p:pic>
      <p:sp>
        <p:nvSpPr>
          <p:cNvPr id="2" name="Espace réservé du texte 10">
            <a:extLst>
              <a:ext uri="{FF2B5EF4-FFF2-40B4-BE49-F238E27FC236}">
                <a16:creationId xmlns:a16="http://schemas.microsoft.com/office/drawing/2014/main" id="{26114B02-4952-8D77-C34F-E0E7E52127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76412" y="3721410"/>
            <a:ext cx="3495673" cy="23083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5" name="Espace réservé du texte 10">
            <a:extLst>
              <a:ext uri="{FF2B5EF4-FFF2-40B4-BE49-F238E27FC236}">
                <a16:creationId xmlns:a16="http://schemas.microsoft.com/office/drawing/2014/main" id="{5C659970-9249-3F04-E45D-76BB0EF6850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36199" y="4552406"/>
            <a:ext cx="1404939" cy="1477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2380622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4AAE9AC5-365E-3BB6-C36B-8923BAAD92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50863" y="1628775"/>
            <a:ext cx="2773362" cy="3348038"/>
          </a:xfrm>
          <a:custGeom>
            <a:avLst/>
            <a:gdLst>
              <a:gd name="connsiteX0" fmla="*/ 285268 w 2773362"/>
              <a:gd name="connsiteY0" fmla="*/ 0 h 3348038"/>
              <a:gd name="connsiteX1" fmla="*/ 2488094 w 2773362"/>
              <a:gd name="connsiteY1" fmla="*/ 0 h 3348038"/>
              <a:gd name="connsiteX2" fmla="*/ 2773362 w 2773362"/>
              <a:gd name="connsiteY2" fmla="*/ 285268 h 3348038"/>
              <a:gd name="connsiteX3" fmla="*/ 2773362 w 2773362"/>
              <a:gd name="connsiteY3" fmla="*/ 3062770 h 3348038"/>
              <a:gd name="connsiteX4" fmla="*/ 2488094 w 2773362"/>
              <a:gd name="connsiteY4" fmla="*/ 3348038 h 3348038"/>
              <a:gd name="connsiteX5" fmla="*/ 285268 w 2773362"/>
              <a:gd name="connsiteY5" fmla="*/ 3348038 h 3348038"/>
              <a:gd name="connsiteX6" fmla="*/ 0 w 2773362"/>
              <a:gd name="connsiteY6" fmla="*/ 3062770 h 3348038"/>
              <a:gd name="connsiteX7" fmla="*/ 0 w 2773362"/>
              <a:gd name="connsiteY7" fmla="*/ 285268 h 3348038"/>
              <a:gd name="connsiteX8" fmla="*/ 285268 w 2773362"/>
              <a:gd name="connsiteY8" fmla="*/ 0 h 3348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73362" h="3348038">
                <a:moveTo>
                  <a:pt x="285268" y="0"/>
                </a:moveTo>
                <a:lnTo>
                  <a:pt x="2488094" y="0"/>
                </a:lnTo>
                <a:cubicBezTo>
                  <a:pt x="2645643" y="0"/>
                  <a:pt x="2773362" y="127719"/>
                  <a:pt x="2773362" y="285268"/>
                </a:cubicBezTo>
                <a:lnTo>
                  <a:pt x="2773362" y="3062770"/>
                </a:lnTo>
                <a:cubicBezTo>
                  <a:pt x="2773362" y="3220319"/>
                  <a:pt x="2645643" y="3348038"/>
                  <a:pt x="2488094" y="3348038"/>
                </a:cubicBezTo>
                <a:lnTo>
                  <a:pt x="285268" y="3348038"/>
                </a:lnTo>
                <a:cubicBezTo>
                  <a:pt x="127719" y="3348038"/>
                  <a:pt x="0" y="3220319"/>
                  <a:pt x="0" y="3062770"/>
                </a:cubicBezTo>
                <a:lnTo>
                  <a:pt x="0" y="285268"/>
                </a:lnTo>
                <a:cubicBezTo>
                  <a:pt x="0" y="127719"/>
                  <a:pt x="127719" y="0"/>
                  <a:pt x="285268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1338CD60-9460-B993-4A79-4789B1E3E4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621" y="5111750"/>
            <a:ext cx="2773362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2A1449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r>
              <a:rPr lang="en-US"/>
              <a:t>First &amp; Last name</a:t>
            </a:r>
          </a:p>
        </p:txBody>
      </p:sp>
      <p:sp>
        <p:nvSpPr>
          <p:cNvPr id="23" name="Espace réservé du texte 20">
            <a:extLst>
              <a:ext uri="{FF2B5EF4-FFF2-40B4-BE49-F238E27FC236}">
                <a16:creationId xmlns:a16="http://schemas.microsoft.com/office/drawing/2014/main" id="{D35A7DF0-4E68-D04B-5383-7D8A1630F9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1621" y="5465090"/>
            <a:ext cx="2773362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rgbClr val="2A1449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fr-FR"/>
              <a:t>Post</a:t>
            </a:r>
          </a:p>
        </p:txBody>
      </p:sp>
      <p:sp>
        <p:nvSpPr>
          <p:cNvPr id="8" name="TextBox 9">
            <a:extLst>
              <a:ext uri="{FF2B5EF4-FFF2-40B4-BE49-F238E27FC236}">
                <a16:creationId xmlns:a16="http://schemas.microsoft.com/office/drawing/2014/main" id="{1EC02190-115B-848F-549D-F86B05D095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3766087" y="1299277"/>
            <a:ext cx="589627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800" b="1" i="1">
                <a:gradFill flip="none" rotWithShape="1">
                  <a:gsLst>
                    <a:gs pos="0">
                      <a:schemeClr val="accent6"/>
                    </a:gs>
                    <a:gs pos="10000">
                      <a:schemeClr val="accent5"/>
                    </a:gs>
                    <a:gs pos="60000">
                      <a:schemeClr val="accent3"/>
                    </a:gs>
                    <a:gs pos="100000">
                      <a:schemeClr val="accent4"/>
                    </a:gs>
                  </a:gsLst>
                  <a:lin ang="18900000" scaled="1"/>
                  <a:tileRect/>
                </a:gradFill>
                <a:latin typeface="HurmeGeometricSans3 SemiBold" panose="020B0500020000000000" pitchFamily="34" charset="77"/>
                <a:cs typeface="Poppins" pitchFamily="2" charset="77"/>
              </a:rPr>
              <a:t>“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54C46B4-5E4C-182E-70E4-DF1A36F93B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10089" y="2167783"/>
            <a:ext cx="7131049" cy="37301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Referent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raesent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nclitis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ministro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arietes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timebantur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susurrasset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nclitis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in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nterdu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ut Marcio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ure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cciderat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imperator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ure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siquid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referent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deoqu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disceret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rcanoru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in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rcanoru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ostridi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ostridi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deoqu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referent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in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disceret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uxori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timebantur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rcanoru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arietes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ostridi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quonda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rcanoru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referent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siquid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nclitis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Marci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Referent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raesent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nclitis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ministro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arietes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timebantur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susurrasset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nclitis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in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nterdu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ut Marcio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ure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cciderat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imperator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ure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siquid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referent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deoqu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disceret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rcanoru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in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rcanoru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ostridi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ostridi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deoqu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referent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in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disceret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uxori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timebantur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rcanoru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arietes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postridi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quonda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arcanorum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referente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siquid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lang="fr-FR" b="0" i="1" err="1">
                <a:solidFill>
                  <a:schemeClr val="tx1"/>
                </a:solidFill>
                <a:effectLst/>
                <a:latin typeface="+mn-lt"/>
              </a:rPr>
              <a:t>inclitis</a:t>
            </a:r>
            <a:r>
              <a:rPr lang="fr-FR" b="0" i="1">
                <a:solidFill>
                  <a:schemeClr val="tx1"/>
                </a:solidFill>
                <a:effectLst/>
                <a:latin typeface="+mn-lt"/>
              </a:rPr>
              <a:t> Marcio.</a:t>
            </a: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603DCEC-7D8F-183A-F807-47DAFBB7D1FC}"/>
              </a:ext>
            </a:extLst>
          </p:cNvPr>
          <p:cNvSpPr txBox="1"/>
          <p:nvPr userDrawn="1"/>
        </p:nvSpPr>
        <p:spPr>
          <a:xfrm flipH="1">
            <a:off x="11050707" y="5174652"/>
            <a:ext cx="589627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8800" b="1" i="1">
                <a:gradFill flip="none" rotWithShape="1">
                  <a:gsLst>
                    <a:gs pos="0">
                      <a:schemeClr val="accent6"/>
                    </a:gs>
                    <a:gs pos="10000">
                      <a:schemeClr val="accent5"/>
                    </a:gs>
                    <a:gs pos="60000">
                      <a:schemeClr val="accent3"/>
                    </a:gs>
                    <a:gs pos="100000">
                      <a:schemeClr val="accent4"/>
                    </a:gs>
                  </a:gsLst>
                  <a:lin ang="18900000" scaled="1"/>
                  <a:tileRect/>
                </a:gradFill>
                <a:latin typeface="HurmeGeometricSans3 SemiBold" panose="020B0500020000000000" pitchFamily="34" charset="77"/>
                <a:cs typeface="Poppins" pitchFamily="2" charset="77"/>
              </a:defRPr>
            </a:lvl1pPr>
          </a:lstStyle>
          <a:p>
            <a:r>
              <a:rPr lang="en-GB"/>
              <a:t>”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FE052D67-3CC9-5346-61AB-49A62F42C9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3A2FF4BA-AF5C-CEB2-8150-EA80A478D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62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7" name="Espace réservé du texte 13">
            <a:extLst>
              <a:ext uri="{FF2B5EF4-FFF2-40B4-BE49-F238E27FC236}">
                <a16:creationId xmlns:a16="http://schemas.microsoft.com/office/drawing/2014/main" id="{57894E1C-8B34-EDB1-12C9-C5FC58C60B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162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2" name="Espace réservé du texte 14">
            <a:extLst>
              <a:ext uri="{FF2B5EF4-FFF2-40B4-BE49-F238E27FC236}">
                <a16:creationId xmlns:a16="http://schemas.microsoft.com/office/drawing/2014/main" id="{4203F7F4-2815-9E28-E468-D75F2992503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10089" y="1647248"/>
            <a:ext cx="6221825" cy="3714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CA67DDD-C6C7-FB29-DA0B-2ADFEDCEF384}"/>
              </a:ext>
            </a:extLst>
          </p:cNvPr>
          <p:cNvCxnSpPr>
            <a:cxnSpLocks/>
          </p:cNvCxnSpPr>
          <p:nvPr userDrawn="1"/>
        </p:nvCxnSpPr>
        <p:spPr>
          <a:xfrm>
            <a:off x="4590603" y="2006340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5307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ual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02C8B381-B0B2-4230-FB49-751235604E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fik 3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7E6D1CD5-C416-2C21-48FA-4C08A82A5D9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27605" y="182353"/>
            <a:ext cx="1751891" cy="5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019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09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8">
            <a:extLst>
              <a:ext uri="{FF2B5EF4-FFF2-40B4-BE49-F238E27FC236}">
                <a16:creationId xmlns:a16="http://schemas.microsoft.com/office/drawing/2014/main" id="{68577B89-000C-039D-8761-6E787397D4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76235"/>
            <a:ext cx="12192000" cy="6858000"/>
          </a:xfrm>
          <a:prstGeom prst="rect">
            <a:avLst/>
          </a:prstGeom>
        </p:spPr>
      </p:pic>
      <p:sp>
        <p:nvSpPr>
          <p:cNvPr id="8" name="ZoneTexte 7" descr="Citation">
            <a:extLst>
              <a:ext uri="{FF2B5EF4-FFF2-40B4-BE49-F238E27FC236}">
                <a16:creationId xmlns:a16="http://schemas.microsoft.com/office/drawing/2014/main" id="{6047BADD-22CC-9EAE-A47C-29C5FB26D74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308991" y="1431513"/>
            <a:ext cx="92402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GB" sz="8800">
                <a:ln>
                  <a:solidFill>
                    <a:schemeClr val="bg2"/>
                  </a:solidFill>
                </a:ln>
                <a:noFill/>
              </a:rPr>
              <a:t>“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ED85A19-9319-44E0-8DF2-E434588EE0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025196" y="1949672"/>
            <a:ext cx="6684962" cy="25853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i="1">
                <a:solidFill>
                  <a:schemeClr val="bg2"/>
                </a:solidFill>
                <a:latin typeface="+mj-lt"/>
              </a:defRPr>
            </a:lvl1pPr>
            <a:lvl2pPr marL="216000" indent="0">
              <a:buNone/>
              <a:defRPr i="1">
                <a:solidFill>
                  <a:schemeClr val="bg2"/>
                </a:solidFill>
                <a:latin typeface="+mj-lt"/>
              </a:defRPr>
            </a:lvl2pPr>
            <a:lvl3pPr marL="434250" indent="0">
              <a:buNone/>
              <a:defRPr i="1">
                <a:solidFill>
                  <a:schemeClr val="bg2"/>
                </a:solidFill>
                <a:latin typeface="+mj-lt"/>
              </a:defRPr>
            </a:lvl3pPr>
            <a:lvl4pPr marL="722250" indent="0">
              <a:buNone/>
              <a:defRPr i="1">
                <a:solidFill>
                  <a:schemeClr val="bg2"/>
                </a:solidFill>
                <a:latin typeface="+mj-lt"/>
              </a:defRPr>
            </a:lvl4pPr>
            <a:lvl5pPr marL="540000" indent="0">
              <a:buNone/>
              <a:defRPr i="1">
                <a:solidFill>
                  <a:schemeClr val="bg2"/>
                </a:solidFill>
                <a:latin typeface="+mj-lt"/>
              </a:defRPr>
            </a:lvl5pPr>
          </a:lstStyle>
          <a:p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Referente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praesente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inclitis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ministro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parietes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timebantur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susurrasset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inclitis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in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interdum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ut Marcio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aurem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acciderat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imperator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aurem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siquid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referente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ideoque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disceret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arcanorum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in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arcanorum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fr-FR" sz="2800" b="0" i="1" err="1">
                <a:solidFill>
                  <a:schemeClr val="bg2"/>
                </a:solidFill>
                <a:effectLst/>
                <a:latin typeface="+mn-lt"/>
              </a:rPr>
              <a:t>postridie</a:t>
            </a:r>
            <a:r>
              <a:rPr lang="fr-FR" sz="2800" b="0" i="1">
                <a:solidFill>
                  <a:schemeClr val="bg2"/>
                </a:solidFill>
                <a:effectLst/>
                <a:latin typeface="+mn-lt"/>
              </a:rPr>
              <a:t>.</a:t>
            </a:r>
          </a:p>
        </p:txBody>
      </p:sp>
      <p:sp>
        <p:nvSpPr>
          <p:cNvPr id="11" name="Espace réservé du texte 20">
            <a:extLst>
              <a:ext uri="{FF2B5EF4-FFF2-40B4-BE49-F238E27FC236}">
                <a16:creationId xmlns:a16="http://schemas.microsoft.com/office/drawing/2014/main" id="{41B3EF3F-7DC3-6E83-B614-4CC3898FAE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2166" y="4699814"/>
            <a:ext cx="2773362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en-GB" noProof="0"/>
              <a:t>First &amp; Last name</a:t>
            </a:r>
          </a:p>
        </p:txBody>
      </p:sp>
      <p:sp>
        <p:nvSpPr>
          <p:cNvPr id="12" name="Espace réservé du texte 20">
            <a:extLst>
              <a:ext uri="{FF2B5EF4-FFF2-40B4-BE49-F238E27FC236}">
                <a16:creationId xmlns:a16="http://schemas.microsoft.com/office/drawing/2014/main" id="{1A41FDE8-1E08-6AAC-0099-8FBF8864A5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2166" y="5053154"/>
            <a:ext cx="2773362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fr-FR"/>
              <a:t>Post</a:t>
            </a:r>
          </a:p>
        </p:txBody>
      </p:sp>
    </p:spTree>
    <p:extLst>
      <p:ext uri="{BB962C8B-B14F-4D97-AF65-F5344CB8AC3E}">
        <p14:creationId xmlns:p14="http://schemas.microsoft.com/office/powerpoint/2010/main" val="2977513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7107C986-8A2B-DA88-4516-C603299FF8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56904" y="1752496"/>
            <a:ext cx="3021960" cy="845097"/>
          </a:xfrm>
          <a:prstGeom prst="roundRect">
            <a:avLst/>
          </a:prstGeom>
          <a:gradFill flip="none" rotWithShape="1">
            <a:gsLst>
              <a:gs pos="0">
                <a:schemeClr val="accent6"/>
              </a:gs>
              <a:gs pos="10000">
                <a:schemeClr val="accent5"/>
              </a:gs>
              <a:gs pos="60000">
                <a:schemeClr val="accent3"/>
              </a:gs>
              <a:gs pos="100000">
                <a:schemeClr val="accent4"/>
              </a:gs>
            </a:gsLst>
            <a:lin ang="18900000" scaled="1"/>
            <a:tileRect/>
          </a:gra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6" name="Espace réservé pour une image  24">
            <a:extLst>
              <a:ext uri="{FF2B5EF4-FFF2-40B4-BE49-F238E27FC236}">
                <a16:creationId xmlns:a16="http://schemas.microsoft.com/office/drawing/2014/main" id="{E46AEAC8-88A4-F8D7-E6A5-442E45C32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96786" y="1581044"/>
            <a:ext cx="1188000" cy="1188000"/>
          </a:xfrm>
          <a:custGeom>
            <a:avLst/>
            <a:gdLst>
              <a:gd name="connsiteX0" fmla="*/ 1292225 w 2584450"/>
              <a:gd name="connsiteY0" fmla="*/ 0 h 2584450"/>
              <a:gd name="connsiteX1" fmla="*/ 2584450 w 2584450"/>
              <a:gd name="connsiteY1" fmla="*/ 1292225 h 2584450"/>
              <a:gd name="connsiteX2" fmla="*/ 1292225 w 2584450"/>
              <a:gd name="connsiteY2" fmla="*/ 2584450 h 2584450"/>
              <a:gd name="connsiteX3" fmla="*/ 0 w 2584450"/>
              <a:gd name="connsiteY3" fmla="*/ 1292225 h 2584450"/>
              <a:gd name="connsiteX4" fmla="*/ 1292225 w 2584450"/>
              <a:gd name="connsiteY4" fmla="*/ 0 h 258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4450" h="2584450">
                <a:moveTo>
                  <a:pt x="1292225" y="0"/>
                </a:moveTo>
                <a:cubicBezTo>
                  <a:pt x="2005901" y="0"/>
                  <a:pt x="2584450" y="578549"/>
                  <a:pt x="2584450" y="1292225"/>
                </a:cubicBezTo>
                <a:cubicBezTo>
                  <a:pt x="2584450" y="2005901"/>
                  <a:pt x="2005901" y="2584450"/>
                  <a:pt x="1292225" y="2584450"/>
                </a:cubicBezTo>
                <a:cubicBezTo>
                  <a:pt x="578549" y="2584450"/>
                  <a:pt x="0" y="2005901"/>
                  <a:pt x="0" y="1292225"/>
                </a:cubicBezTo>
                <a:cubicBezTo>
                  <a:pt x="0" y="578549"/>
                  <a:pt x="578549" y="0"/>
                  <a:pt x="129222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0" tIns="972000" rIns="0" bIns="0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r>
              <a:rPr lang="fr-FR"/>
              <a:t> </a:t>
            </a:r>
          </a:p>
        </p:txBody>
      </p:sp>
      <p:sp>
        <p:nvSpPr>
          <p:cNvPr id="17" name="Espace réservé du texte 20">
            <a:extLst>
              <a:ext uri="{FF2B5EF4-FFF2-40B4-BE49-F238E27FC236}">
                <a16:creationId xmlns:a16="http://schemas.microsoft.com/office/drawing/2014/main" id="{39FDFA1E-27EC-22EC-52A7-2BEB456959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32837" y="1865610"/>
            <a:ext cx="2097976" cy="3516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fr-FR"/>
              <a:t>First &amp; last Name</a:t>
            </a:r>
          </a:p>
        </p:txBody>
      </p:sp>
      <p:sp>
        <p:nvSpPr>
          <p:cNvPr id="18" name="Espace réservé du texte 20">
            <a:extLst>
              <a:ext uri="{FF2B5EF4-FFF2-40B4-BE49-F238E27FC236}">
                <a16:creationId xmlns:a16="http://schemas.microsoft.com/office/drawing/2014/main" id="{816FE9C3-EA48-3ACB-4FAC-747F176A74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32837" y="2218950"/>
            <a:ext cx="2097976" cy="3516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fr-FR"/>
              <a:t>Post</a:t>
            </a:r>
          </a:p>
        </p:txBody>
      </p:sp>
      <p:sp>
        <p:nvSpPr>
          <p:cNvPr id="14" name="Rounded Rectangle 12">
            <a:extLst>
              <a:ext uri="{FF2B5EF4-FFF2-40B4-BE49-F238E27FC236}">
                <a16:creationId xmlns:a16="http://schemas.microsoft.com/office/drawing/2014/main" id="{779E2FB5-82E9-4069-891B-6854BF7ACD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551280" y="2975301"/>
            <a:ext cx="3528000" cy="311752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19" name="Espace réservé du texte 25">
            <a:extLst>
              <a:ext uri="{FF2B5EF4-FFF2-40B4-BE49-F238E27FC236}">
                <a16:creationId xmlns:a16="http://schemas.microsoft.com/office/drawing/2014/main" id="{E3FA158C-98AD-E16B-22CF-82C4B86F451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4660" y="3124628"/>
            <a:ext cx="3200400" cy="2813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Rounded Rectangle 12">
            <a:extLst>
              <a:ext uri="{FF2B5EF4-FFF2-40B4-BE49-F238E27FC236}">
                <a16:creationId xmlns:a16="http://schemas.microsoft.com/office/drawing/2014/main" id="{858B5A28-12C3-96DC-B947-2DC2599EC9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4726380" y="1628775"/>
            <a:ext cx="6914758" cy="216000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6" name="Rounded Rectangle 12">
            <a:extLst>
              <a:ext uri="{FF2B5EF4-FFF2-40B4-BE49-F238E27FC236}">
                <a16:creationId xmlns:a16="http://schemas.microsoft.com/office/drawing/2014/main" id="{C1B42EEB-29D5-61A0-D020-4286FF6666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4726380" y="3932825"/>
            <a:ext cx="6914758" cy="2160000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4FEF771-638D-A8CB-6F0A-1624289C49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fr-FR"/>
              <a:t>Name of the Presentation</a:t>
            </a: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4AEBC0BA-2F30-EC36-35C0-C63AC9B98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62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20" name="Espace réservé du texte 13">
            <a:extLst>
              <a:ext uri="{FF2B5EF4-FFF2-40B4-BE49-F238E27FC236}">
                <a16:creationId xmlns:a16="http://schemas.microsoft.com/office/drawing/2014/main" id="{7F2B766C-D883-4546-5729-1803A4696E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162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7C2E927E-0D41-18A0-39D7-8F6D3B6313D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145816" y="1730948"/>
            <a:ext cx="2784513" cy="372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538AA68-1EF4-F8BE-0538-604DD91B957C}"/>
              </a:ext>
            </a:extLst>
          </p:cNvPr>
          <p:cNvCxnSpPr>
            <a:cxnSpLocks/>
          </p:cNvCxnSpPr>
          <p:nvPr userDrawn="1"/>
        </p:nvCxnSpPr>
        <p:spPr>
          <a:xfrm>
            <a:off x="5226330" y="2090040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6">
            <a:extLst>
              <a:ext uri="{FF2B5EF4-FFF2-40B4-BE49-F238E27FC236}">
                <a16:creationId xmlns:a16="http://schemas.microsoft.com/office/drawing/2014/main" id="{D0F1714E-1D84-AAEF-BBFF-821842E2B92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145816" y="2217284"/>
            <a:ext cx="4748212" cy="1483022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3" name="Espace réservé du texte 14">
            <a:extLst>
              <a:ext uri="{FF2B5EF4-FFF2-40B4-BE49-F238E27FC236}">
                <a16:creationId xmlns:a16="http://schemas.microsoft.com/office/drawing/2014/main" id="{7FEECCAD-B5C0-AD34-097B-7A89A0B2FFE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145816" y="4043521"/>
            <a:ext cx="2784513" cy="3590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FBD0A81-6DDD-F3BE-3646-C92AED09F727}"/>
              </a:ext>
            </a:extLst>
          </p:cNvPr>
          <p:cNvCxnSpPr>
            <a:cxnSpLocks/>
          </p:cNvCxnSpPr>
          <p:nvPr userDrawn="1"/>
        </p:nvCxnSpPr>
        <p:spPr>
          <a:xfrm>
            <a:off x="5226330" y="4402612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space réservé du texte 16">
            <a:extLst>
              <a:ext uri="{FF2B5EF4-FFF2-40B4-BE49-F238E27FC236}">
                <a16:creationId xmlns:a16="http://schemas.microsoft.com/office/drawing/2014/main" id="{716B8D42-7263-E951-C459-982B70C9F37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145816" y="4529856"/>
            <a:ext cx="4748212" cy="1483022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1086306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eo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D12F1825-F6D1-E9B4-0EF9-47D76CDD49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56904" y="1752496"/>
            <a:ext cx="3021960" cy="845097"/>
          </a:xfrm>
          <a:prstGeom prst="roundRect">
            <a:avLst/>
          </a:prstGeom>
          <a:gradFill flip="none" rotWithShape="1">
            <a:gsLst>
              <a:gs pos="0">
                <a:schemeClr val="accent6"/>
              </a:gs>
              <a:gs pos="10000">
                <a:schemeClr val="accent5"/>
              </a:gs>
              <a:gs pos="60000">
                <a:schemeClr val="accent3"/>
              </a:gs>
              <a:gs pos="100000">
                <a:schemeClr val="accent4"/>
              </a:gs>
            </a:gsLst>
            <a:lin ang="18900000" scaled="1"/>
            <a:tileRect/>
          </a:gra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5" name="Espace réservé pour une image  24">
            <a:extLst>
              <a:ext uri="{FF2B5EF4-FFF2-40B4-BE49-F238E27FC236}">
                <a16:creationId xmlns:a16="http://schemas.microsoft.com/office/drawing/2014/main" id="{46CE5396-186C-6260-5B8B-1CD052194D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96786" y="1581044"/>
            <a:ext cx="1188000" cy="1188000"/>
          </a:xfrm>
          <a:custGeom>
            <a:avLst/>
            <a:gdLst>
              <a:gd name="connsiteX0" fmla="*/ 1292225 w 2584450"/>
              <a:gd name="connsiteY0" fmla="*/ 0 h 2584450"/>
              <a:gd name="connsiteX1" fmla="*/ 2584450 w 2584450"/>
              <a:gd name="connsiteY1" fmla="*/ 1292225 h 2584450"/>
              <a:gd name="connsiteX2" fmla="*/ 1292225 w 2584450"/>
              <a:gd name="connsiteY2" fmla="*/ 2584450 h 2584450"/>
              <a:gd name="connsiteX3" fmla="*/ 0 w 2584450"/>
              <a:gd name="connsiteY3" fmla="*/ 1292225 h 2584450"/>
              <a:gd name="connsiteX4" fmla="*/ 1292225 w 2584450"/>
              <a:gd name="connsiteY4" fmla="*/ 0 h 258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4450" h="2584450">
                <a:moveTo>
                  <a:pt x="1292225" y="0"/>
                </a:moveTo>
                <a:cubicBezTo>
                  <a:pt x="2005901" y="0"/>
                  <a:pt x="2584450" y="578549"/>
                  <a:pt x="2584450" y="1292225"/>
                </a:cubicBezTo>
                <a:cubicBezTo>
                  <a:pt x="2584450" y="2005901"/>
                  <a:pt x="2005901" y="2584450"/>
                  <a:pt x="1292225" y="2584450"/>
                </a:cubicBezTo>
                <a:cubicBezTo>
                  <a:pt x="578549" y="2584450"/>
                  <a:pt x="0" y="2005901"/>
                  <a:pt x="0" y="1292225"/>
                </a:cubicBezTo>
                <a:cubicBezTo>
                  <a:pt x="0" y="578549"/>
                  <a:pt x="578549" y="0"/>
                  <a:pt x="129222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0" tIns="972000" rIns="0" bIns="0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r>
              <a:rPr lang="fr-FR"/>
              <a:t> </a:t>
            </a:r>
          </a:p>
        </p:txBody>
      </p:sp>
      <p:sp>
        <p:nvSpPr>
          <p:cNvPr id="10" name="Espace réservé du texte 20">
            <a:extLst>
              <a:ext uri="{FF2B5EF4-FFF2-40B4-BE49-F238E27FC236}">
                <a16:creationId xmlns:a16="http://schemas.microsoft.com/office/drawing/2014/main" id="{41BFC8F4-C6F1-042D-94A5-65F3E4EEA4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32837" y="1865610"/>
            <a:ext cx="2097976" cy="3533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fr-FR"/>
              <a:t>First &amp; last Name</a:t>
            </a:r>
          </a:p>
        </p:txBody>
      </p:sp>
      <p:sp>
        <p:nvSpPr>
          <p:cNvPr id="11" name="Espace réservé du texte 20">
            <a:extLst>
              <a:ext uri="{FF2B5EF4-FFF2-40B4-BE49-F238E27FC236}">
                <a16:creationId xmlns:a16="http://schemas.microsoft.com/office/drawing/2014/main" id="{7E3C375A-BBA7-FB38-5D47-DA7FBEFF80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32837" y="2218950"/>
            <a:ext cx="2097976" cy="3533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fr-FR"/>
              <a:t>Post</a:t>
            </a:r>
          </a:p>
        </p:txBody>
      </p:sp>
      <p:sp>
        <p:nvSpPr>
          <p:cNvPr id="15" name="Rounded Rectangle 12">
            <a:extLst>
              <a:ext uri="{FF2B5EF4-FFF2-40B4-BE49-F238E27FC236}">
                <a16:creationId xmlns:a16="http://schemas.microsoft.com/office/drawing/2014/main" id="{43082CF2-F706-1639-1D64-3090CBADCA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551280" y="2975301"/>
            <a:ext cx="3528000" cy="311752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35" name="Espace réservé du texte 25">
            <a:extLst>
              <a:ext uri="{FF2B5EF4-FFF2-40B4-BE49-F238E27FC236}">
                <a16:creationId xmlns:a16="http://schemas.microsoft.com/office/drawing/2014/main" id="{80F5E235-4F7A-BA17-2307-ED06D69EDCA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4660" y="3124628"/>
            <a:ext cx="3200400" cy="2813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D03CDE00-9E32-2B16-A674-2C8F642862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914897" y="1752496"/>
            <a:ext cx="2952923" cy="845097"/>
          </a:xfrm>
          <a:prstGeom prst="roundRect">
            <a:avLst/>
          </a:prstGeom>
          <a:gradFill flip="none" rotWithShape="1">
            <a:gsLst>
              <a:gs pos="0">
                <a:schemeClr val="accent6"/>
              </a:gs>
              <a:gs pos="10000">
                <a:schemeClr val="accent5"/>
              </a:gs>
              <a:gs pos="60000">
                <a:schemeClr val="accent3"/>
              </a:gs>
              <a:gs pos="100000">
                <a:schemeClr val="accent4"/>
              </a:gs>
            </a:gsLst>
            <a:lin ang="18900000" scaled="1"/>
            <a:tileRect/>
          </a:gra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3" name="Espace réservé pour une image  24">
            <a:extLst>
              <a:ext uri="{FF2B5EF4-FFF2-40B4-BE49-F238E27FC236}">
                <a16:creationId xmlns:a16="http://schemas.microsoft.com/office/drawing/2014/main" id="{09013338-FD59-ADA2-F77B-DB3A26BCC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285742" y="1581044"/>
            <a:ext cx="1188000" cy="1188000"/>
          </a:xfrm>
          <a:custGeom>
            <a:avLst/>
            <a:gdLst>
              <a:gd name="connsiteX0" fmla="*/ 1292225 w 2584450"/>
              <a:gd name="connsiteY0" fmla="*/ 0 h 2584450"/>
              <a:gd name="connsiteX1" fmla="*/ 2584450 w 2584450"/>
              <a:gd name="connsiteY1" fmla="*/ 1292225 h 2584450"/>
              <a:gd name="connsiteX2" fmla="*/ 1292225 w 2584450"/>
              <a:gd name="connsiteY2" fmla="*/ 2584450 h 2584450"/>
              <a:gd name="connsiteX3" fmla="*/ 0 w 2584450"/>
              <a:gd name="connsiteY3" fmla="*/ 1292225 h 2584450"/>
              <a:gd name="connsiteX4" fmla="*/ 1292225 w 2584450"/>
              <a:gd name="connsiteY4" fmla="*/ 0 h 258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4450" h="2584450">
                <a:moveTo>
                  <a:pt x="1292225" y="0"/>
                </a:moveTo>
                <a:cubicBezTo>
                  <a:pt x="2005901" y="0"/>
                  <a:pt x="2584450" y="578549"/>
                  <a:pt x="2584450" y="1292225"/>
                </a:cubicBezTo>
                <a:cubicBezTo>
                  <a:pt x="2584450" y="2005901"/>
                  <a:pt x="2005901" y="2584450"/>
                  <a:pt x="1292225" y="2584450"/>
                </a:cubicBezTo>
                <a:cubicBezTo>
                  <a:pt x="578549" y="2584450"/>
                  <a:pt x="0" y="2005901"/>
                  <a:pt x="0" y="1292225"/>
                </a:cubicBezTo>
                <a:cubicBezTo>
                  <a:pt x="0" y="578549"/>
                  <a:pt x="578549" y="0"/>
                  <a:pt x="129222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0" tIns="972000" rIns="0" bIns="0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r>
              <a:rPr lang="fr-FR"/>
              <a:t> </a:t>
            </a:r>
          </a:p>
        </p:txBody>
      </p:sp>
      <p:sp>
        <p:nvSpPr>
          <p:cNvPr id="14" name="Espace réservé du texte 20">
            <a:extLst>
              <a:ext uri="{FF2B5EF4-FFF2-40B4-BE49-F238E27FC236}">
                <a16:creationId xmlns:a16="http://schemas.microsoft.com/office/drawing/2014/main" id="{ABEF966C-C68A-7D8D-29B1-4F51E8729A7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21793" y="1865610"/>
            <a:ext cx="2097976" cy="3533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fr-FR"/>
              <a:t>First &amp; last Name</a:t>
            </a:r>
          </a:p>
        </p:txBody>
      </p:sp>
      <p:sp>
        <p:nvSpPr>
          <p:cNvPr id="18" name="Espace réservé du texte 20">
            <a:extLst>
              <a:ext uri="{FF2B5EF4-FFF2-40B4-BE49-F238E27FC236}">
                <a16:creationId xmlns:a16="http://schemas.microsoft.com/office/drawing/2014/main" id="{A5C9876F-CB22-AC39-9213-12E3A8CF478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621793" y="2218950"/>
            <a:ext cx="2097976" cy="3533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fr-FR"/>
              <a:t>Post</a:t>
            </a:r>
          </a:p>
        </p:txBody>
      </p:sp>
      <p:sp>
        <p:nvSpPr>
          <p:cNvPr id="16" name="Rounded Rectangle 12">
            <a:extLst>
              <a:ext uri="{FF2B5EF4-FFF2-40B4-BE49-F238E27FC236}">
                <a16:creationId xmlns:a16="http://schemas.microsoft.com/office/drawing/2014/main" id="{E3452FF7-33E9-CE41-AA01-6300D37BE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4332001" y="2975301"/>
            <a:ext cx="3528000" cy="311752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27" name="Espace réservé du texte 25">
            <a:extLst>
              <a:ext uri="{FF2B5EF4-FFF2-40B4-BE49-F238E27FC236}">
                <a16:creationId xmlns:a16="http://schemas.microsoft.com/office/drawing/2014/main" id="{6A84203A-07AB-0E7E-A4A2-C73FBF49C8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5800" y="3127537"/>
            <a:ext cx="3200400" cy="2813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3CEB2BD0-6C24-DD44-A9F9-D39D597179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668987" y="1752496"/>
            <a:ext cx="2987789" cy="845097"/>
          </a:xfrm>
          <a:prstGeom prst="roundRect">
            <a:avLst/>
          </a:prstGeom>
          <a:gradFill flip="none" rotWithShape="1">
            <a:gsLst>
              <a:gs pos="0">
                <a:schemeClr val="accent6"/>
              </a:gs>
              <a:gs pos="10000">
                <a:schemeClr val="accent5"/>
              </a:gs>
              <a:gs pos="60000">
                <a:schemeClr val="accent3"/>
              </a:gs>
              <a:gs pos="100000">
                <a:schemeClr val="accent4"/>
              </a:gs>
            </a:gsLst>
            <a:lin ang="18900000" scaled="1"/>
            <a:tileRect/>
          </a:gradFill>
          <a:ln w="3175">
            <a:noFill/>
          </a:ln>
          <a:effectLst>
            <a:outerShdw blurRad="165100" dist="38100" dir="2700000" algn="ctr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20" name="Espace réservé pour une image  24">
            <a:extLst>
              <a:ext uri="{FF2B5EF4-FFF2-40B4-BE49-F238E27FC236}">
                <a16:creationId xmlns:a16="http://schemas.microsoft.com/office/drawing/2014/main" id="{BABA9FBE-B1B1-0D43-B174-509499453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74698" y="1581044"/>
            <a:ext cx="1188000" cy="1188000"/>
          </a:xfrm>
          <a:custGeom>
            <a:avLst/>
            <a:gdLst>
              <a:gd name="connsiteX0" fmla="*/ 1292225 w 2584450"/>
              <a:gd name="connsiteY0" fmla="*/ 0 h 2584450"/>
              <a:gd name="connsiteX1" fmla="*/ 2584450 w 2584450"/>
              <a:gd name="connsiteY1" fmla="*/ 1292225 h 2584450"/>
              <a:gd name="connsiteX2" fmla="*/ 1292225 w 2584450"/>
              <a:gd name="connsiteY2" fmla="*/ 2584450 h 2584450"/>
              <a:gd name="connsiteX3" fmla="*/ 0 w 2584450"/>
              <a:gd name="connsiteY3" fmla="*/ 1292225 h 2584450"/>
              <a:gd name="connsiteX4" fmla="*/ 1292225 w 2584450"/>
              <a:gd name="connsiteY4" fmla="*/ 0 h 258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4450" h="2584450">
                <a:moveTo>
                  <a:pt x="1292225" y="0"/>
                </a:moveTo>
                <a:cubicBezTo>
                  <a:pt x="2005901" y="0"/>
                  <a:pt x="2584450" y="578549"/>
                  <a:pt x="2584450" y="1292225"/>
                </a:cubicBezTo>
                <a:cubicBezTo>
                  <a:pt x="2584450" y="2005901"/>
                  <a:pt x="2005901" y="2584450"/>
                  <a:pt x="1292225" y="2584450"/>
                </a:cubicBezTo>
                <a:cubicBezTo>
                  <a:pt x="578549" y="2584450"/>
                  <a:pt x="0" y="2005901"/>
                  <a:pt x="0" y="1292225"/>
                </a:cubicBezTo>
                <a:cubicBezTo>
                  <a:pt x="0" y="578549"/>
                  <a:pt x="578549" y="0"/>
                  <a:pt x="129222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0" tIns="972000" rIns="0" bIns="0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r>
              <a:rPr lang="fr-FR"/>
              <a:t>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80D2868A-2D75-FD62-D6CE-8FEF0E6D6D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410748" y="1865610"/>
            <a:ext cx="2066591" cy="3533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fr-FR"/>
              <a:t>First &amp; last Name</a:t>
            </a:r>
          </a:p>
        </p:txBody>
      </p:sp>
      <p:sp>
        <p:nvSpPr>
          <p:cNvPr id="22" name="Espace réservé du texte 20">
            <a:extLst>
              <a:ext uri="{FF2B5EF4-FFF2-40B4-BE49-F238E27FC236}">
                <a16:creationId xmlns:a16="http://schemas.microsoft.com/office/drawing/2014/main" id="{7F2A53CF-BA1E-459F-57E6-84CC6E19236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10749" y="2218950"/>
            <a:ext cx="2066591" cy="3533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  <a:lvl3pPr marL="434250" indent="0">
              <a:buNone/>
              <a:defRPr/>
            </a:lvl3pPr>
            <a:lvl4pPr marL="72225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fr-FR"/>
              <a:t>Post</a:t>
            </a:r>
          </a:p>
        </p:txBody>
      </p:sp>
      <p:sp>
        <p:nvSpPr>
          <p:cNvPr id="17" name="Rounded Rectangle 12">
            <a:extLst>
              <a:ext uri="{FF2B5EF4-FFF2-40B4-BE49-F238E27FC236}">
                <a16:creationId xmlns:a16="http://schemas.microsoft.com/office/drawing/2014/main" id="{A1885AF5-8CCB-5AFD-CC89-E9457933E1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13140" y="2975301"/>
            <a:ext cx="3528000" cy="3117523"/>
          </a:xfrm>
          <a:prstGeom prst="roundRect">
            <a:avLst>
              <a:gd name="adj" fmla="val 7353"/>
            </a:avLst>
          </a:prstGeom>
          <a:solidFill>
            <a:schemeClr val="bg2"/>
          </a:solidFill>
          <a:ln w="3175">
            <a:noFill/>
          </a:ln>
          <a:effectLst>
            <a:outerShdw blurRad="176518" dist="38100" dir="2700000" algn="tl" rotWithShape="0">
              <a:schemeClr val="accent6"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fr">
              <a:solidFill>
                <a:schemeClr val="bg1"/>
              </a:solidFill>
            </a:endParaRPr>
          </a:p>
        </p:txBody>
      </p:sp>
      <p:sp>
        <p:nvSpPr>
          <p:cNvPr id="28" name="Espace réservé du texte 25">
            <a:extLst>
              <a:ext uri="{FF2B5EF4-FFF2-40B4-BE49-F238E27FC236}">
                <a16:creationId xmlns:a16="http://schemas.microsoft.com/office/drawing/2014/main" id="{0A19D11F-4EA1-C136-BE88-443BF0682E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6940" y="3127537"/>
            <a:ext cx="3200400" cy="2813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6C71764-7A46-A774-D241-F75EB1C57F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7D2C9D40-9111-4A9E-C15F-F8B282C9CF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62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9" name="Espace réservé du texte 13">
            <a:extLst>
              <a:ext uri="{FF2B5EF4-FFF2-40B4-BE49-F238E27FC236}">
                <a16:creationId xmlns:a16="http://schemas.microsoft.com/office/drawing/2014/main" id="{AB1DE291-5CDA-6CCF-CAD5-DEA3AB7D01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162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28732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2FA25F1C-E796-1077-7E66-EBBEB3C4A92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7655" y="2079473"/>
            <a:ext cx="11090276" cy="861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edit Master text styles</a:t>
            </a:r>
            <a:r>
              <a:rPr lang="fr-FR"/>
              <a:t>. 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dolor sit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ec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i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Morbi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ecena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vall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o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in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nec sit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ccumsan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emper libero a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incidun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que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endParaRPr lang="fr-FR" sz="14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8" name="Straight Connector 2" descr="Tiret">
            <a:extLst>
              <a:ext uri="{FF2B5EF4-FFF2-40B4-BE49-F238E27FC236}">
                <a16:creationId xmlns:a16="http://schemas.microsoft.com/office/drawing/2014/main" id="{44EB18F3-EF86-4263-D756-6B4B595A80F0}"/>
              </a:ext>
            </a:extLst>
          </p:cNvPr>
          <p:cNvCxnSpPr>
            <a:cxnSpLocks/>
          </p:cNvCxnSpPr>
          <p:nvPr userDrawn="1"/>
        </p:nvCxnSpPr>
        <p:spPr>
          <a:xfrm>
            <a:off x="593725" y="3059211"/>
            <a:ext cx="11047413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14">
            <a:extLst>
              <a:ext uri="{FF2B5EF4-FFF2-40B4-BE49-F238E27FC236}">
                <a16:creationId xmlns:a16="http://schemas.microsoft.com/office/drawing/2014/main" id="{999EFF7A-8684-393B-6836-09318FF4F0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65949" y="3590582"/>
            <a:ext cx="11090276" cy="861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edit Master text styles</a:t>
            </a:r>
            <a:r>
              <a:rPr lang="fr-FR"/>
              <a:t>. 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dolor sit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ec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i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Morbi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ecena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vall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o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in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nec sit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ccumsan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emper libero a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incidun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que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endParaRPr lang="fr-FR" sz="14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6" name="Straight Connector 2" descr="Tiret">
            <a:extLst>
              <a:ext uri="{FF2B5EF4-FFF2-40B4-BE49-F238E27FC236}">
                <a16:creationId xmlns:a16="http://schemas.microsoft.com/office/drawing/2014/main" id="{021A158B-95D2-0E88-1497-C646A400E98A}"/>
              </a:ext>
            </a:extLst>
          </p:cNvPr>
          <p:cNvCxnSpPr>
            <a:cxnSpLocks/>
          </p:cNvCxnSpPr>
          <p:nvPr userDrawn="1"/>
        </p:nvCxnSpPr>
        <p:spPr>
          <a:xfrm>
            <a:off x="593725" y="4579542"/>
            <a:ext cx="11047413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14">
            <a:extLst>
              <a:ext uri="{FF2B5EF4-FFF2-40B4-BE49-F238E27FC236}">
                <a16:creationId xmlns:a16="http://schemas.microsoft.com/office/drawing/2014/main" id="{BC11C888-0C67-2AD6-2127-D48E561016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50862" y="5110913"/>
            <a:ext cx="11090276" cy="861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latin typeface="+mn-lt"/>
              </a:defRPr>
            </a:lvl1pPr>
            <a:lvl2pPr marL="216000" indent="0">
              <a:buNone/>
              <a:defRPr>
                <a:latin typeface="+mn-lt"/>
              </a:defRPr>
            </a:lvl2pPr>
            <a:lvl3pPr marL="434250" indent="0">
              <a:buNone/>
              <a:defRPr>
                <a:latin typeface="+mn-lt"/>
              </a:defRPr>
            </a:lvl3pPr>
            <a:lvl4pPr marL="72225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edit Master text styles</a:t>
            </a:r>
            <a:r>
              <a:rPr lang="fr-FR"/>
              <a:t>. 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rem ipsum dolor sit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sectetur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ec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i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Morbi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ie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on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bh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mentum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d.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ecena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trice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e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uctu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tt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ci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llu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ingilla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tpa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rtor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rp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valli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o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in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iquet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fr-FR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us</a:t>
            </a:r>
            <a:r>
              <a:rPr lang="fr-FR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nec sit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e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io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hicula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avida at vitae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o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sce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ccumsan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emper libero a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incidun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uris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que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kern="0" err="1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</a:t>
            </a:r>
            <a:r>
              <a:rPr lang="en-US" sz="1400" kern="0">
                <a:effectLst/>
                <a:latin typeface="Tahom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endParaRPr lang="fr-FR" sz="14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0" name="Straight Connector 2">
            <a:extLst>
              <a:ext uri="{FF2B5EF4-FFF2-40B4-BE49-F238E27FC236}">
                <a16:creationId xmlns:a16="http://schemas.microsoft.com/office/drawing/2014/main" id="{E6717887-94DD-2B5C-03CA-D37C949B4DA5}"/>
              </a:ext>
            </a:extLst>
          </p:cNvPr>
          <p:cNvCxnSpPr>
            <a:cxnSpLocks/>
          </p:cNvCxnSpPr>
          <p:nvPr userDrawn="1"/>
        </p:nvCxnSpPr>
        <p:spPr>
          <a:xfrm>
            <a:off x="619963" y="6099873"/>
            <a:ext cx="11047413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DB3F12F5-3052-9CEA-848F-510D766F3D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>
                <a:latin typeface="+mn-lt"/>
              </a:defRPr>
            </a:lvl1pPr>
          </a:lstStyle>
          <a:p>
            <a:pPr>
              <a:spcBef>
                <a:spcPts val="600"/>
              </a:spcBef>
            </a:pPr>
            <a:r>
              <a:rPr lang="en-GB"/>
              <a:t>Name of the Presentation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id="{EF129DEA-D2F9-DDD0-5B4A-03FEC468A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62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470C3D6D-2EA6-E7AF-B4F8-77FC366D65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162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2" name="Espace réservé du texte 14">
            <a:extLst>
              <a:ext uri="{FF2B5EF4-FFF2-40B4-BE49-F238E27FC236}">
                <a16:creationId xmlns:a16="http://schemas.microsoft.com/office/drawing/2014/main" id="{4AA29089-E90C-E322-4B5F-4FAC7F5840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7655" y="1644946"/>
            <a:ext cx="6221825" cy="3714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E10B4DE-84EF-0BCE-1825-DD97F89AB4E2}"/>
              </a:ext>
            </a:extLst>
          </p:cNvPr>
          <p:cNvCxnSpPr>
            <a:cxnSpLocks/>
          </p:cNvCxnSpPr>
          <p:nvPr userDrawn="1"/>
        </p:nvCxnSpPr>
        <p:spPr>
          <a:xfrm>
            <a:off x="638169" y="2004038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14">
            <a:extLst>
              <a:ext uri="{FF2B5EF4-FFF2-40B4-BE49-F238E27FC236}">
                <a16:creationId xmlns:a16="http://schemas.microsoft.com/office/drawing/2014/main" id="{4F57B27E-B792-C869-2915-82674081E13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7487" y="3186397"/>
            <a:ext cx="6221825" cy="3714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FFDD109-0A2F-DC86-14C8-4DD95EC67958}"/>
              </a:ext>
            </a:extLst>
          </p:cNvPr>
          <p:cNvCxnSpPr>
            <a:cxnSpLocks/>
          </p:cNvCxnSpPr>
          <p:nvPr userDrawn="1"/>
        </p:nvCxnSpPr>
        <p:spPr>
          <a:xfrm>
            <a:off x="648001" y="3545489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731DE766-237D-0B54-6ECF-835DD2984B5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7655" y="4694346"/>
            <a:ext cx="6221825" cy="3714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Modify tex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49C6BD9-3FA1-0674-3947-6531F04C309B}"/>
              </a:ext>
            </a:extLst>
          </p:cNvPr>
          <p:cNvCxnSpPr>
            <a:cxnSpLocks/>
          </p:cNvCxnSpPr>
          <p:nvPr userDrawn="1"/>
        </p:nvCxnSpPr>
        <p:spPr>
          <a:xfrm>
            <a:off x="638169" y="5053438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32382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926A85D2-D44E-923F-F03C-74D478BD4B6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7587" y="1644591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7C9113B1-3CCE-0CEB-7755-364B174652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87587" y="1899722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43">
            <a:extLst>
              <a:ext uri="{FF2B5EF4-FFF2-40B4-BE49-F238E27FC236}">
                <a16:creationId xmlns:a16="http://schemas.microsoft.com/office/drawing/2014/main" id="{FD60A20D-659C-B85D-F81D-5C3DB91FA6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7587" y="1970187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B22B469B-FC87-BC4D-AC35-E9E18BE48E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87587" y="2743742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edit key master</a:t>
            </a:r>
            <a:endParaRPr lang="fr-FR"/>
          </a:p>
          <a:p>
            <a:pPr lvl="0"/>
            <a:endParaRPr lang="fr-FR"/>
          </a:p>
        </p:txBody>
      </p:sp>
      <p:cxnSp>
        <p:nvCxnSpPr>
          <p:cNvPr id="15" name="Straight Connector 2">
            <a:extLst>
              <a:ext uri="{FF2B5EF4-FFF2-40B4-BE49-F238E27FC236}">
                <a16:creationId xmlns:a16="http://schemas.microsoft.com/office/drawing/2014/main" id="{0A052E04-1A7C-4BA5-277C-DD0D7F0416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87587" y="2998873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texte 43">
            <a:extLst>
              <a:ext uri="{FF2B5EF4-FFF2-40B4-BE49-F238E27FC236}">
                <a16:creationId xmlns:a16="http://schemas.microsoft.com/office/drawing/2014/main" id="{E0F1F235-0903-FC86-3BDB-2AD92AEB7AD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7587" y="3069338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Espace réservé du texte 14">
            <a:extLst>
              <a:ext uri="{FF2B5EF4-FFF2-40B4-BE49-F238E27FC236}">
                <a16:creationId xmlns:a16="http://schemas.microsoft.com/office/drawing/2014/main" id="{FB28550D-46F7-7429-0000-B90366F43BC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7587" y="3888344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20" name="Straight Connector 2">
            <a:extLst>
              <a:ext uri="{FF2B5EF4-FFF2-40B4-BE49-F238E27FC236}">
                <a16:creationId xmlns:a16="http://schemas.microsoft.com/office/drawing/2014/main" id="{89D905B6-347A-2784-DE74-CF9BD5370D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87587" y="4143475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43">
            <a:extLst>
              <a:ext uri="{FF2B5EF4-FFF2-40B4-BE49-F238E27FC236}">
                <a16:creationId xmlns:a16="http://schemas.microsoft.com/office/drawing/2014/main" id="{42B53B44-DA53-1015-7B54-49148DC572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87587" y="4213940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Espace réservé du texte 14">
            <a:extLst>
              <a:ext uri="{FF2B5EF4-FFF2-40B4-BE49-F238E27FC236}">
                <a16:creationId xmlns:a16="http://schemas.microsoft.com/office/drawing/2014/main" id="{F14A4469-3E33-1099-7291-043E8B6562E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7587" y="4987495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23" name="Straight Connector 2">
            <a:extLst>
              <a:ext uri="{FF2B5EF4-FFF2-40B4-BE49-F238E27FC236}">
                <a16:creationId xmlns:a16="http://schemas.microsoft.com/office/drawing/2014/main" id="{99DC2101-068D-BE2B-3A78-B01671A46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87587" y="5242626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space réservé du texte 43">
            <a:extLst>
              <a:ext uri="{FF2B5EF4-FFF2-40B4-BE49-F238E27FC236}">
                <a16:creationId xmlns:a16="http://schemas.microsoft.com/office/drawing/2014/main" id="{715795BA-E8C5-2E6D-0015-193DE0661C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7587" y="5313091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74D0E513-4AF4-DD89-7676-B584E83CAB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82151" y="1636751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26" name="Straight Connector 2">
            <a:extLst>
              <a:ext uri="{FF2B5EF4-FFF2-40B4-BE49-F238E27FC236}">
                <a16:creationId xmlns:a16="http://schemas.microsoft.com/office/drawing/2014/main" id="{F6BD295C-7C4C-417B-1C3A-F54001CE07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282151" y="1891882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space réservé du texte 43">
            <a:extLst>
              <a:ext uri="{FF2B5EF4-FFF2-40B4-BE49-F238E27FC236}">
                <a16:creationId xmlns:a16="http://schemas.microsoft.com/office/drawing/2014/main" id="{2E48BC58-DCB7-E10E-C3E7-83A3626BD65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82151" y="1962347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719D6FCB-416C-6DF5-986B-7D43AB55320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82151" y="2735902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30" name="Straight Connector 2">
            <a:extLst>
              <a:ext uri="{FF2B5EF4-FFF2-40B4-BE49-F238E27FC236}">
                <a16:creationId xmlns:a16="http://schemas.microsoft.com/office/drawing/2014/main" id="{DF05F474-3D9C-BBFB-93FA-BC7189F573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282151" y="2991033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43">
            <a:extLst>
              <a:ext uri="{FF2B5EF4-FFF2-40B4-BE49-F238E27FC236}">
                <a16:creationId xmlns:a16="http://schemas.microsoft.com/office/drawing/2014/main" id="{8360316A-6C04-421B-4038-9D7B2E4AB2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282151" y="3061498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9B44AA61-FEAD-1CE5-8E33-9403FCFFF6D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82151" y="3880504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33" name="Straight Connector 2">
            <a:extLst>
              <a:ext uri="{FF2B5EF4-FFF2-40B4-BE49-F238E27FC236}">
                <a16:creationId xmlns:a16="http://schemas.microsoft.com/office/drawing/2014/main" id="{EB504B8D-58F8-552F-76F8-CEE7E63FAA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282151" y="4135635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Espace réservé du texte 43">
            <a:extLst>
              <a:ext uri="{FF2B5EF4-FFF2-40B4-BE49-F238E27FC236}">
                <a16:creationId xmlns:a16="http://schemas.microsoft.com/office/drawing/2014/main" id="{ED00DAA3-D6F6-E696-9C30-E32452660FF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282151" y="4206100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8765A51F-A400-2A3A-C0E2-3EF77B1F3EC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2151" y="4979655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36" name="Straight Connector 2">
            <a:extLst>
              <a:ext uri="{FF2B5EF4-FFF2-40B4-BE49-F238E27FC236}">
                <a16:creationId xmlns:a16="http://schemas.microsoft.com/office/drawing/2014/main" id="{F1AF65DD-8F08-3B33-B3D6-2CA3832A76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282151" y="5234786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space réservé du texte 43">
            <a:extLst>
              <a:ext uri="{FF2B5EF4-FFF2-40B4-BE49-F238E27FC236}">
                <a16:creationId xmlns:a16="http://schemas.microsoft.com/office/drawing/2014/main" id="{A8FF5BA3-3442-CB94-650C-5B73096DBAD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82151" y="5305251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Espace réservé du texte 14">
            <a:extLst>
              <a:ext uri="{FF2B5EF4-FFF2-40B4-BE49-F238E27FC236}">
                <a16:creationId xmlns:a16="http://schemas.microsoft.com/office/drawing/2014/main" id="{859ED34A-D0ED-4E71-5382-8198F245BE7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76715" y="1651706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40" name="Straight Connector 2">
            <a:extLst>
              <a:ext uri="{FF2B5EF4-FFF2-40B4-BE49-F238E27FC236}">
                <a16:creationId xmlns:a16="http://schemas.microsoft.com/office/drawing/2014/main" id="{3EB32C93-36E8-D7FC-12D0-594EB43F0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176715" y="1906837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Espace réservé du texte 43">
            <a:extLst>
              <a:ext uri="{FF2B5EF4-FFF2-40B4-BE49-F238E27FC236}">
                <a16:creationId xmlns:a16="http://schemas.microsoft.com/office/drawing/2014/main" id="{77DFA86E-754A-9768-25A3-092EC26F5BB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176715" y="1977302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Espace réservé du texte 14">
            <a:extLst>
              <a:ext uri="{FF2B5EF4-FFF2-40B4-BE49-F238E27FC236}">
                <a16:creationId xmlns:a16="http://schemas.microsoft.com/office/drawing/2014/main" id="{68353791-EA3F-0A3C-FFF0-8B20253DC0B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176715" y="2750857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43" name="Straight Connector 2">
            <a:extLst>
              <a:ext uri="{FF2B5EF4-FFF2-40B4-BE49-F238E27FC236}">
                <a16:creationId xmlns:a16="http://schemas.microsoft.com/office/drawing/2014/main" id="{3BCC2FB1-25A9-CA36-751A-2665C460AA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176715" y="3005988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texte 43">
            <a:extLst>
              <a:ext uri="{FF2B5EF4-FFF2-40B4-BE49-F238E27FC236}">
                <a16:creationId xmlns:a16="http://schemas.microsoft.com/office/drawing/2014/main" id="{0E38C3B3-7F03-733A-BDE3-5DFC6F45D2E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176715" y="3076453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Espace réservé du texte 14">
            <a:extLst>
              <a:ext uri="{FF2B5EF4-FFF2-40B4-BE49-F238E27FC236}">
                <a16:creationId xmlns:a16="http://schemas.microsoft.com/office/drawing/2014/main" id="{67621439-99D7-687B-1CB5-BFF49108D52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76715" y="3895459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46" name="Straight Connector 2">
            <a:extLst>
              <a:ext uri="{FF2B5EF4-FFF2-40B4-BE49-F238E27FC236}">
                <a16:creationId xmlns:a16="http://schemas.microsoft.com/office/drawing/2014/main" id="{204E2300-CADC-12C8-E92A-D062732D75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176715" y="4150590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Espace réservé du texte 43">
            <a:extLst>
              <a:ext uri="{FF2B5EF4-FFF2-40B4-BE49-F238E27FC236}">
                <a16:creationId xmlns:a16="http://schemas.microsoft.com/office/drawing/2014/main" id="{6D177AC4-CDA3-5621-7360-7DF7D85E91A9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176715" y="4221055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0" name="Espace réservé du texte 14">
            <a:extLst>
              <a:ext uri="{FF2B5EF4-FFF2-40B4-BE49-F238E27FC236}">
                <a16:creationId xmlns:a16="http://schemas.microsoft.com/office/drawing/2014/main" id="{308C3703-F48F-C055-0975-A02CC4DCEB6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76715" y="4994610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2518B9A4-6BE9-600B-B494-E9EDF65E70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176715" y="5249741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Espace réservé du texte 43">
            <a:extLst>
              <a:ext uri="{FF2B5EF4-FFF2-40B4-BE49-F238E27FC236}">
                <a16:creationId xmlns:a16="http://schemas.microsoft.com/office/drawing/2014/main" id="{1E67966D-62CB-E193-B022-EED7FEBC2CE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176715" y="5320206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3" name="Espace réservé du texte 14">
            <a:extLst>
              <a:ext uri="{FF2B5EF4-FFF2-40B4-BE49-F238E27FC236}">
                <a16:creationId xmlns:a16="http://schemas.microsoft.com/office/drawing/2014/main" id="{8B53F049-AEE8-E705-94E0-B5E96202BFB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071279" y="1643866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52" name="Straight Connector 2">
            <a:extLst>
              <a:ext uri="{FF2B5EF4-FFF2-40B4-BE49-F238E27FC236}">
                <a16:creationId xmlns:a16="http://schemas.microsoft.com/office/drawing/2014/main" id="{B4A990C2-77C4-CACC-81D6-B3BFBC21C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9071279" y="1898997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Espace réservé du texte 43">
            <a:extLst>
              <a:ext uri="{FF2B5EF4-FFF2-40B4-BE49-F238E27FC236}">
                <a16:creationId xmlns:a16="http://schemas.microsoft.com/office/drawing/2014/main" id="{AD9E99A1-B461-BC20-4612-FEFE3654C1F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071279" y="1969462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6" name="Espace réservé du texte 14">
            <a:extLst>
              <a:ext uri="{FF2B5EF4-FFF2-40B4-BE49-F238E27FC236}">
                <a16:creationId xmlns:a16="http://schemas.microsoft.com/office/drawing/2014/main" id="{E8837C54-BE83-3EA4-4824-12D656CBF03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071279" y="2743017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55" name="Straight Connector 2">
            <a:extLst>
              <a:ext uri="{FF2B5EF4-FFF2-40B4-BE49-F238E27FC236}">
                <a16:creationId xmlns:a16="http://schemas.microsoft.com/office/drawing/2014/main" id="{1F15174D-CDD3-4F1E-938E-90C58B9D83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9071279" y="2998148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space réservé du texte 43">
            <a:extLst>
              <a:ext uri="{FF2B5EF4-FFF2-40B4-BE49-F238E27FC236}">
                <a16:creationId xmlns:a16="http://schemas.microsoft.com/office/drawing/2014/main" id="{09244A19-32AD-1E8D-6A40-1196673AF055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9071279" y="3068613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9" name="Espace réservé du texte 14">
            <a:extLst>
              <a:ext uri="{FF2B5EF4-FFF2-40B4-BE49-F238E27FC236}">
                <a16:creationId xmlns:a16="http://schemas.microsoft.com/office/drawing/2014/main" id="{8FF89BCA-4F59-0C9E-95FE-9BB494D8AB6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071279" y="3887619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58" name="Straight Connector 2">
            <a:extLst>
              <a:ext uri="{FF2B5EF4-FFF2-40B4-BE49-F238E27FC236}">
                <a16:creationId xmlns:a16="http://schemas.microsoft.com/office/drawing/2014/main" id="{41B4B2CE-4ABD-5642-2F72-5D5DCA8B41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9071279" y="4142750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texte 43">
            <a:extLst>
              <a:ext uri="{FF2B5EF4-FFF2-40B4-BE49-F238E27FC236}">
                <a16:creationId xmlns:a16="http://schemas.microsoft.com/office/drawing/2014/main" id="{1E15C39E-EE6A-4633-3370-29FAAFAE8B0D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071279" y="4213215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2" name="Espace réservé du texte 14">
            <a:extLst>
              <a:ext uri="{FF2B5EF4-FFF2-40B4-BE49-F238E27FC236}">
                <a16:creationId xmlns:a16="http://schemas.microsoft.com/office/drawing/2014/main" id="{8C822968-E403-9FB9-CDDD-1B0D59E972A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71279" y="4986770"/>
            <a:ext cx="2730500" cy="2622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key master</a:t>
            </a:r>
            <a:endParaRPr lang="fr-FR"/>
          </a:p>
        </p:txBody>
      </p:sp>
      <p:cxnSp>
        <p:nvCxnSpPr>
          <p:cNvPr id="61" name="Straight Connector 2">
            <a:extLst>
              <a:ext uri="{FF2B5EF4-FFF2-40B4-BE49-F238E27FC236}">
                <a16:creationId xmlns:a16="http://schemas.microsoft.com/office/drawing/2014/main" id="{16B7A9AD-4347-7FF4-96CE-CA77F62E7C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9071279" y="5241901"/>
            <a:ext cx="289560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10000">
                  <a:schemeClr val="accent5"/>
                </a:gs>
                <a:gs pos="60000">
                  <a:schemeClr val="accent3"/>
                </a:gs>
                <a:gs pos="100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Espace réservé du texte 43">
            <a:extLst>
              <a:ext uri="{FF2B5EF4-FFF2-40B4-BE49-F238E27FC236}">
                <a16:creationId xmlns:a16="http://schemas.microsoft.com/office/drawing/2014/main" id="{A9A66EB8-6BCB-BD5F-BA7F-6141AF20D86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071279" y="5312366"/>
            <a:ext cx="2746375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4pPr marL="7222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83BAAE36-0786-67F7-001E-8FE5D5D13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A27FF40-BD68-CD35-84A2-3353DB2C0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62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10" name="Espace réservé du texte 13">
            <a:extLst>
              <a:ext uri="{FF2B5EF4-FFF2-40B4-BE49-F238E27FC236}">
                <a16:creationId xmlns:a16="http://schemas.microsoft.com/office/drawing/2014/main" id="{656BB92D-328F-FDE0-CBE2-274C315B00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162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r>
              <a:rPr lang="en-GB" noProof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679851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8">
            <a:extLst>
              <a:ext uri="{FF2B5EF4-FFF2-40B4-BE49-F238E27FC236}">
                <a16:creationId xmlns:a16="http://schemas.microsoft.com/office/drawing/2014/main" id="{46E9822A-34FC-C196-9728-1DAB8F7CCA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76235"/>
            <a:ext cx="12192000" cy="6858000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1CE3756-AEB1-BB12-3216-E89A7B058E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29008" y="2766304"/>
            <a:ext cx="6172200" cy="30777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0" b="0">
                <a:ln w="19050">
                  <a:solidFill>
                    <a:schemeClr val="bg1"/>
                  </a:solidFill>
                </a:ln>
                <a:solidFill>
                  <a:schemeClr val="bg2">
                    <a:alpha val="50478"/>
                  </a:schemeClr>
                </a:solidFill>
                <a:latin typeface="+mj-lt"/>
              </a:defRPr>
            </a:lvl1pPr>
          </a:lstStyle>
          <a:p>
            <a:pPr lvl="0"/>
            <a:r>
              <a:rPr lang="fr-FR"/>
              <a:t>Q&amp;A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9C321AD-2BD3-D925-7945-DDDAD7885F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874713" y="6372428"/>
            <a:ext cx="1397876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</a:pPr>
            <a:fld id="{323B8015-F47E-466A-9ABA-BA5A994CBF96}" type="slidenum">
              <a:rPr lang="fr-FR" sz="800" b="1" smtClean="0">
                <a:solidFill>
                  <a:schemeClr val="bg2"/>
                </a:solidFill>
              </a:rPr>
              <a:t>‹#›</a:t>
            </a:fld>
            <a:endParaRPr lang="fr-FR" sz="800" b="1">
              <a:solidFill>
                <a:schemeClr val="bg2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33AB816-3393-15C5-8C5E-5F3C17EBC9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229008" y="6368235"/>
            <a:ext cx="0" cy="131499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73775ED-6AB9-9010-8DAF-7552E8112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pic>
        <p:nvPicPr>
          <p:cNvPr id="2" name="Grafik 1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A9EE2DA8-1FDF-5634-6D95-9A983C0B7CA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13279" y="6211716"/>
            <a:ext cx="1751891" cy="5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9874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_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8" descr="A colorful background with a blurry image&#10;&#10;Description automatically generated">
            <a:extLst>
              <a:ext uri="{FF2B5EF4-FFF2-40B4-BE49-F238E27FC236}">
                <a16:creationId xmlns:a16="http://schemas.microsoft.com/office/drawing/2014/main" id="{46E9822A-34FC-C196-9728-1DAB8F7CCA3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36697"/>
            <a:ext cx="12192000" cy="6858000"/>
          </a:xfrm>
          <a:prstGeom prst="rect">
            <a:avLst/>
          </a:prstGeom>
        </p:spPr>
      </p:pic>
      <p:sp>
        <p:nvSpPr>
          <p:cNvPr id="22" name="Titre 1">
            <a:extLst>
              <a:ext uri="{FF2B5EF4-FFF2-40B4-BE49-F238E27FC236}">
                <a16:creationId xmlns:a16="http://schemas.microsoft.com/office/drawing/2014/main" id="{3101C225-7D7A-E737-5490-92225E075F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2379" y="403557"/>
            <a:ext cx="10442574" cy="47089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dit master title</a:t>
            </a:r>
            <a:endParaRPr lang="fr-FR"/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6BC2EB78-5EEC-9D7F-F134-1993B070FB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76263" y="2541743"/>
            <a:ext cx="4088789" cy="0"/>
          </a:xfrm>
          <a:prstGeom prst="line">
            <a:avLst/>
          </a:prstGeom>
          <a:ln w="254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B00C3648-2DF8-A0A3-5C78-09FB4C21185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65505" y="2770188"/>
            <a:ext cx="4122164" cy="16256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defRPr sz="1800" b="0">
                <a:solidFill>
                  <a:schemeClr val="bg2"/>
                </a:solidFill>
                <a:latin typeface="+mn-lt"/>
              </a:defRPr>
            </a:lvl1pPr>
            <a:lvl2pPr>
              <a:defRPr sz="1800">
                <a:solidFill>
                  <a:schemeClr val="bg2"/>
                </a:solidFill>
                <a:latin typeface="+mj-lt"/>
              </a:defRPr>
            </a:lvl2pPr>
            <a:lvl3pPr>
              <a:defRPr sz="1800">
                <a:solidFill>
                  <a:schemeClr val="bg2"/>
                </a:solidFill>
                <a:latin typeface="+mj-lt"/>
              </a:defRPr>
            </a:lvl3pPr>
            <a:lvl4pPr>
              <a:defRPr sz="1800">
                <a:solidFill>
                  <a:schemeClr val="bg2"/>
                </a:solidFill>
                <a:latin typeface="+mj-lt"/>
              </a:defRPr>
            </a:lvl4pPr>
            <a:lvl5pP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9C321AD-2BD3-D925-7945-DDDAD7885F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874713" y="6372428"/>
            <a:ext cx="1397876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</a:pPr>
            <a:fld id="{323B8015-F47E-466A-9ABA-BA5A994CBF96}" type="slidenum">
              <a:rPr lang="fr-FR" sz="800" b="1" smtClean="0">
                <a:solidFill>
                  <a:schemeClr val="bg2"/>
                </a:solidFill>
              </a:rPr>
              <a:t>‹#›</a:t>
            </a:fld>
            <a:endParaRPr lang="fr-FR" sz="800" b="1">
              <a:solidFill>
                <a:schemeClr val="bg2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33AB816-3393-15C5-8C5E-5F3C17EBC9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229008" y="6368235"/>
            <a:ext cx="0" cy="131499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73775ED-6AB9-9010-8DAF-7552E8112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pic>
        <p:nvPicPr>
          <p:cNvPr id="7" name="Graphic 112">
            <a:extLst>
              <a:ext uri="{FF2B5EF4-FFF2-40B4-BE49-F238E27FC236}">
                <a16:creationId xmlns:a16="http://schemas.microsoft.com/office/drawing/2014/main" id="{124807A4-A5E4-88B1-0E45-472B240005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14417" y="3079800"/>
            <a:ext cx="160030" cy="160030"/>
          </a:xfrm>
          <a:prstGeom prst="rect">
            <a:avLst/>
          </a:prstGeom>
        </p:spPr>
      </p:pic>
      <p:pic>
        <p:nvPicPr>
          <p:cNvPr id="2" name="Grafik 1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982DDA4-A326-474F-0EA0-CF3B51C6527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813279" y="6211716"/>
            <a:ext cx="1751891" cy="5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99620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_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>
            <a:extLst>
              <a:ext uri="{FF2B5EF4-FFF2-40B4-BE49-F238E27FC236}">
                <a16:creationId xmlns:a16="http://schemas.microsoft.com/office/drawing/2014/main" id="{C52DF0EA-6D3E-A43D-8DC8-4B0474DDC49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9730" y="-74692"/>
            <a:ext cx="12193372" cy="5959984"/>
          </a:xfrm>
          <a:prstGeom prst="rect">
            <a:avLst/>
          </a:prstGeom>
          <a:solidFill>
            <a:schemeClr val="bg1"/>
          </a:solidFill>
        </p:spPr>
        <p:txBody>
          <a:bodyPr lIns="360000" tIns="3240000" rIns="360000"/>
          <a:lstStyle>
            <a:lvl1pPr algn="ctr">
              <a:buNone/>
              <a:defRPr sz="1400"/>
            </a:lvl1pPr>
          </a:lstStyle>
          <a:p>
            <a:r>
              <a:rPr lang="fr-FR"/>
              <a:t>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B89846-109F-6846-926B-860C6957F67B}"/>
              </a:ext>
            </a:extLst>
          </p:cNvPr>
          <p:cNvSpPr/>
          <p:nvPr userDrawn="1"/>
        </p:nvSpPr>
        <p:spPr>
          <a:xfrm rot="5400000">
            <a:off x="6041958" y="-181704"/>
            <a:ext cx="90000" cy="12193374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D12527-FA7F-ECD5-2632-7FCCDABC7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50863" y="2516343"/>
            <a:ext cx="4088789" cy="0"/>
          </a:xfrm>
          <a:prstGeom prst="line">
            <a:avLst/>
          </a:prstGeom>
          <a:ln w="25400" cap="rnd">
            <a:solidFill>
              <a:schemeClr val="bg2"/>
            </a:solidFill>
          </a:ln>
          <a:effectLst>
            <a:outerShdw blurRad="50800" dist="12700" dir="2700000" algn="tl" rotWithShape="0">
              <a:srgbClr val="4C1F82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F748ABC2-CA58-06B6-6294-0E28F9D79FA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61621" y="2744788"/>
            <a:ext cx="4122164" cy="16256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defRPr sz="1800" b="0">
                <a:solidFill>
                  <a:schemeClr val="bg2"/>
                </a:solidFill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  <a:latin typeface="+mn-lt"/>
              </a:defRPr>
            </a:lvl1pPr>
            <a:lvl2pPr>
              <a:defRPr sz="1800">
                <a:solidFill>
                  <a:schemeClr val="bg2"/>
                </a:solidFill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  <a:latin typeface="+mj-lt"/>
              </a:defRPr>
            </a:lvl2pPr>
            <a:lvl3pPr>
              <a:defRPr sz="1800">
                <a:solidFill>
                  <a:schemeClr val="bg2"/>
                </a:solidFill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  <a:latin typeface="+mj-lt"/>
              </a:defRPr>
            </a:lvl3pPr>
            <a:lvl4pPr>
              <a:defRPr sz="1800">
                <a:solidFill>
                  <a:schemeClr val="bg2"/>
                </a:solidFill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  <a:latin typeface="+mj-lt"/>
              </a:defRPr>
            </a:lvl4pPr>
            <a:lvl5pP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AE92CC0-3E68-7D34-4BA2-3663683E54E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61621" y="404813"/>
            <a:ext cx="10585450" cy="470898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defRPr>
                <a:solidFill>
                  <a:schemeClr val="bg2"/>
                </a:solidFill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</a:defRPr>
            </a:lvl1pPr>
          </a:lstStyle>
          <a:p>
            <a:r>
              <a:rPr lang="en-GB" noProof="0"/>
              <a:t>Click to edit master title</a:t>
            </a:r>
          </a:p>
        </p:txBody>
      </p:sp>
      <p:sp>
        <p:nvSpPr>
          <p:cNvPr id="3" name="Espace réservé du texte 13">
            <a:extLst>
              <a:ext uri="{FF2B5EF4-FFF2-40B4-BE49-F238E27FC236}">
                <a16:creationId xmlns:a16="http://schemas.microsoft.com/office/drawing/2014/main" id="{7DF5B1BB-C0A7-1EA9-3B9D-7029939291D3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61621" y="980880"/>
            <a:ext cx="10585450" cy="36933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2"/>
                </a:solidFill>
                <a:effectLst>
                  <a:outerShdw blurRad="50800" dist="38100" dir="2700000" algn="tl" rotWithShape="0">
                    <a:schemeClr val="accent6">
                      <a:alpha val="40000"/>
                    </a:schemeClr>
                  </a:outerShdw>
                </a:effectLst>
              </a:defRPr>
            </a:lvl1pPr>
          </a:lstStyle>
          <a:p>
            <a:r>
              <a:rPr lang="en-GB" noProof="0"/>
              <a:t>Click to edit subtitle</a:t>
            </a:r>
          </a:p>
        </p:txBody>
      </p:sp>
      <p:pic>
        <p:nvPicPr>
          <p:cNvPr id="9" name="Grafik 8" descr="Ein Bild, das Grafiken, Screenshot, Schrift, Grafikdesign enthält.&#10;&#10;Automatisch generierte Beschreibung">
            <a:extLst>
              <a:ext uri="{FF2B5EF4-FFF2-40B4-BE49-F238E27FC236}">
                <a16:creationId xmlns:a16="http://schemas.microsoft.com/office/drawing/2014/main" id="{D06B578B-499C-960F-E191-768AAD4158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6050" y="6151629"/>
            <a:ext cx="1761016" cy="52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289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9137" y="1744980"/>
            <a:ext cx="10751504" cy="438912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60000"/>
              <a:buFontTx/>
              <a:buNone/>
              <a:tabLst/>
              <a:defRPr>
                <a:solidFill>
                  <a:schemeClr val="tx1"/>
                </a:solidFill>
              </a:defRPr>
            </a:lvl1pPr>
            <a:lvl2pPr marL="630238" indent="-274638">
              <a:defRPr>
                <a:solidFill>
                  <a:schemeClr val="tx1"/>
                </a:solidFill>
              </a:defRPr>
            </a:lvl2pPr>
            <a:lvl3pPr marL="720725" indent="0">
              <a:defRPr>
                <a:solidFill>
                  <a:schemeClr val="tx1"/>
                </a:solidFill>
              </a:defRPr>
            </a:lvl3pPr>
            <a:lvl4pPr marL="893763" indent="0"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Text einfügen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" y="-374907"/>
            <a:ext cx="252000" cy="25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97" noProof="0"/>
          </a:p>
        </p:txBody>
      </p:sp>
      <p:sp>
        <p:nvSpPr>
          <p:cNvPr id="11" name="ZoneTexte 10"/>
          <p:cNvSpPr txBox="1"/>
          <p:nvPr userDrawn="1"/>
        </p:nvSpPr>
        <p:spPr>
          <a:xfrm>
            <a:off x="545702" y="-384054"/>
            <a:ext cx="40802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noProof="0"/>
              <a:t>Textfarbe</a:t>
            </a:r>
            <a:endParaRPr lang="en-GB" sz="1200" noProof="0"/>
          </a:p>
        </p:txBody>
      </p:sp>
      <p:sp>
        <p:nvSpPr>
          <p:cNvPr id="12" name="Rectangle 11"/>
          <p:cNvSpPr/>
          <p:nvPr userDrawn="1"/>
        </p:nvSpPr>
        <p:spPr>
          <a:xfrm>
            <a:off x="293702" y="-374907"/>
            <a:ext cx="252000" cy="25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97" noProof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A3DB4B53-525D-494B-81B7-D3D6DB4A234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137" y="981120"/>
            <a:ext cx="10751504" cy="360000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60000"/>
              <a:buFontTx/>
              <a:buNone/>
              <a:tabLst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 noProof="0"/>
              <a:t>Untertitel hinzufügen</a:t>
            </a:r>
          </a:p>
        </p:txBody>
      </p:sp>
      <p:sp>
        <p:nvSpPr>
          <p:cNvPr id="17" name="Titre 6">
            <a:extLst>
              <a:ext uri="{FF2B5EF4-FFF2-40B4-BE49-F238E27FC236}">
                <a16:creationId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137" y="30480"/>
            <a:ext cx="10751503" cy="936000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de-DE" noProof="0"/>
              <a:t>Titel hinzufügen</a:t>
            </a:r>
            <a:endParaRPr lang="en-GB" noProof="0"/>
          </a:p>
        </p:txBody>
      </p:sp>
      <p:sp>
        <p:nvSpPr>
          <p:cNvPr id="10" name="FooterDate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 </a:t>
            </a:r>
            <a:endParaRPr lang="en-GB" noProof="0"/>
          </a:p>
        </p:txBody>
      </p:sp>
      <p:sp>
        <p:nvSpPr>
          <p:cNvPr id="13" name="FooterTitle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Name of the Presentatio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719138" y="6206139"/>
            <a:ext cx="779462" cy="138499"/>
          </a:xfrm>
        </p:spPr>
        <p:txBody>
          <a:bodyPr wrap="none" anchor="ctr" anchorCtr="0">
            <a:spAutoFit/>
          </a:bodyPr>
          <a:lstStyle>
            <a:lvl1pPr marL="0" indent="0">
              <a:buNone/>
              <a:defRPr sz="900" b="0"/>
            </a:lvl1pPr>
          </a:lstStyle>
          <a:p>
            <a:pPr lvl="0"/>
            <a:r>
              <a:rPr lang="de-DE" sz="900" b="0"/>
              <a:t>Quelle/Fußno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1130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nua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2F2CD2B1-D19B-102C-65F3-B7702F0BB4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  <a:endParaRPr lang="en-GB" noProof="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7A8A949-4F0C-E5E7-468A-683A249B6F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414" y="0"/>
            <a:ext cx="12181172" cy="6858000"/>
          </a:xfrm>
          <a:prstGeom prst="rect">
            <a:avLst/>
          </a:prstGeom>
        </p:spPr>
      </p:pic>
      <p:pic>
        <p:nvPicPr>
          <p:cNvPr id="4" name="Grafik 3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76047C67-7543-A202-CAE2-0DF3FF5EDD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27605" y="182353"/>
            <a:ext cx="1751891" cy="5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920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ual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2C3537D-80BB-6F90-223D-37034D63E2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fik 3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7564E34C-BBE3-36E3-35B8-53FC221A76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27605" y="182353"/>
            <a:ext cx="1751891" cy="5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330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09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>
            <a:extLst>
              <a:ext uri="{FF2B5EF4-FFF2-40B4-BE49-F238E27FC236}">
                <a16:creationId xmlns:a16="http://schemas.microsoft.com/office/drawing/2014/main" id="{CEC8FCF2-3DA2-359D-ECFD-20531A2C6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000710"/>
            <a:ext cx="12192000" cy="5857290"/>
          </a:xfrm>
          <a:prstGeom prst="rect">
            <a:avLst/>
          </a:prstGeom>
          <a:solidFill>
            <a:schemeClr val="bg1"/>
          </a:solidFill>
        </p:spPr>
        <p:txBody>
          <a:bodyPr lIns="360000" tIns="3240000" rIns="360000"/>
          <a:lstStyle>
            <a:lvl1pPr algn="ctr">
              <a:buNone/>
              <a:defRPr sz="14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92DD4A-9561-6A5E-02F8-EB02727734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6041995" y="-5089166"/>
            <a:ext cx="108000" cy="12191998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 dirty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F1FF5E27-7CC6-7EC1-B5CA-54DBA661AD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3469" y="3298785"/>
            <a:ext cx="5517669" cy="1107996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 dirty="0"/>
              <a:t>Click to edit presentation’s title </a:t>
            </a:r>
            <a:endParaRPr lang="fr-FR" noProof="0" dirty="0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58D45078-3D01-0E05-6E1E-2857E80BBE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129949" y="4580925"/>
            <a:ext cx="5511189" cy="0"/>
          </a:xfrm>
          <a:prstGeom prst="line">
            <a:avLst/>
          </a:prstGeom>
          <a:ln w="25400" cap="rnd">
            <a:solidFill>
              <a:schemeClr val="bg2"/>
            </a:solidFill>
          </a:ln>
          <a:effectLst>
            <a:outerShdw blurRad="63500" dist="38100" dir="2700000" algn="tl" rotWithShape="0">
              <a:srgbClr val="4C1F82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ous-titre 2">
            <a:extLst>
              <a:ext uri="{FF2B5EF4-FFF2-40B4-BE49-F238E27FC236}">
                <a16:creationId xmlns:a16="http://schemas.microsoft.com/office/drawing/2014/main" id="{D10EBE52-655C-611D-03F2-F6BBD6FA91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0493" y="4761404"/>
            <a:ext cx="5511189" cy="27597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800" b="0" cap="none" baseline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presentation subtitle</a:t>
            </a:r>
          </a:p>
        </p:txBody>
      </p:sp>
      <p:pic>
        <p:nvPicPr>
          <p:cNvPr id="2" name="Image 13" descr="The world is how we shape it&#10;traduction: le monde est tel que nous le façonons">
            <a:extLst>
              <a:ext uri="{FF2B5EF4-FFF2-40B4-BE49-F238E27FC236}">
                <a16:creationId xmlns:a16="http://schemas.microsoft.com/office/drawing/2014/main" id="{00F667FF-CF10-1D8A-31B7-9C718597BE5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418076"/>
            <a:ext cx="2773363" cy="241603"/>
          </a:xfrm>
          <a:prstGeom prst="rect">
            <a:avLst/>
          </a:prstGeom>
        </p:spPr>
      </p:pic>
      <p:pic>
        <p:nvPicPr>
          <p:cNvPr id="3" name="Grafik 2" descr="Ein Bild, das Grafiken, Screenshot, Schrift, Grafikdesign enthält.&#10;&#10;Automatisch generierte Beschreibung">
            <a:extLst>
              <a:ext uri="{FF2B5EF4-FFF2-40B4-BE49-F238E27FC236}">
                <a16:creationId xmlns:a16="http://schemas.microsoft.com/office/drawing/2014/main" id="{5AD7DA38-CD36-3448-0372-BADA321C94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20332" y="201523"/>
            <a:ext cx="1761016" cy="52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6952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>
            <a:extLst>
              <a:ext uri="{FF2B5EF4-FFF2-40B4-BE49-F238E27FC236}">
                <a16:creationId xmlns:a16="http://schemas.microsoft.com/office/drawing/2014/main" id="{C52DF0EA-6D3E-A43D-8DC8-4B0474DDC4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9730" y="-74692"/>
            <a:ext cx="12193372" cy="5959984"/>
          </a:xfrm>
          <a:prstGeom prst="rect">
            <a:avLst/>
          </a:prstGeom>
          <a:solidFill>
            <a:schemeClr val="bg1"/>
          </a:solidFill>
        </p:spPr>
        <p:txBody>
          <a:bodyPr lIns="360000" tIns="3240000" rIns="360000"/>
          <a:lstStyle>
            <a:lvl1pPr algn="ctr">
              <a:buNone/>
              <a:defRPr sz="1400"/>
            </a:lvl1pPr>
          </a:lstStyle>
          <a:p>
            <a:r>
              <a:rPr lang="fr-FR"/>
              <a:t> </a:t>
            </a:r>
            <a:endParaRPr lang="fr-FR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B89846-109F-6846-926B-860C6957F6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6041958" y="-181704"/>
            <a:ext cx="90000" cy="12193374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 dirty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BEFD6E5-FA3B-DFBD-ADBE-B0384A52E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3469" y="3298785"/>
            <a:ext cx="5517669" cy="1107996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 dirty="0"/>
              <a:t>Click to edit presentation’s title</a:t>
            </a:r>
            <a:endParaRPr lang="fr-FR" noProof="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AC5477F5-6EC4-F4A0-F5AD-1799FDE48D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0493" y="4761404"/>
            <a:ext cx="5511189" cy="27597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800" b="0" cap="none" baseline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presentation subtitle</a:t>
            </a:r>
          </a:p>
        </p:txBody>
      </p:sp>
      <p:pic>
        <p:nvPicPr>
          <p:cNvPr id="5" name="Image 13" descr="The world is how we shape it&#10;traduction: le monde est tel que nous le façonons">
            <a:extLst>
              <a:ext uri="{FF2B5EF4-FFF2-40B4-BE49-F238E27FC236}">
                <a16:creationId xmlns:a16="http://schemas.microsoft.com/office/drawing/2014/main" id="{85EAAE51-4141-A25F-FE72-7AC1178E488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3" y="6332930"/>
            <a:ext cx="2773363" cy="241603"/>
          </a:xfrm>
          <a:prstGeom prst="rect">
            <a:avLst/>
          </a:prstGeom>
        </p:spPr>
      </p:pic>
      <p:pic>
        <p:nvPicPr>
          <p:cNvPr id="6" name="Grafik 5" descr="Ein Bild, das Grafiken, Screenshot, Schrift, Grafikdesign enthält.&#10;&#10;Automatisch generierte Beschreibung">
            <a:extLst>
              <a:ext uri="{FF2B5EF4-FFF2-40B4-BE49-F238E27FC236}">
                <a16:creationId xmlns:a16="http://schemas.microsoft.com/office/drawing/2014/main" id="{C9442272-0C33-2A02-C130-490A956394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56050" y="6151629"/>
            <a:ext cx="1761016" cy="52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676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">
            <a:extLst>
              <a:ext uri="{FF2B5EF4-FFF2-40B4-BE49-F238E27FC236}">
                <a16:creationId xmlns:a16="http://schemas.microsoft.com/office/drawing/2014/main" id="{91347879-2DDB-35E1-4507-70A11EDF6F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372" y="0"/>
            <a:ext cx="12193372" cy="583650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3B89846-109F-6846-926B-860C6957F6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6051687" y="-260185"/>
            <a:ext cx="90000" cy="12193374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 dirty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4FECB32B-D734-38E4-E954-1C7BEDF41E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3469" y="3298785"/>
            <a:ext cx="5517669" cy="1107996"/>
          </a:xfrm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presentation’s title 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8C588CD-BDA6-6A60-8E8E-2486D5BD54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129949" y="4580925"/>
            <a:ext cx="5511189" cy="0"/>
          </a:xfrm>
          <a:prstGeom prst="line">
            <a:avLst/>
          </a:prstGeom>
          <a:ln w="254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ous-titre 2">
            <a:extLst>
              <a:ext uri="{FF2B5EF4-FFF2-40B4-BE49-F238E27FC236}">
                <a16:creationId xmlns:a16="http://schemas.microsoft.com/office/drawing/2014/main" id="{6890AE2F-0967-D44C-0FFD-6A9C68C772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9949" y="4761404"/>
            <a:ext cx="5511189" cy="27597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800" b="0" cap="none" baseline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presentation subtitle</a:t>
            </a:r>
          </a:p>
        </p:txBody>
      </p:sp>
      <p:pic>
        <p:nvPicPr>
          <p:cNvPr id="5" name="Image 13" descr="The world is how we shape it&#10;traduction: le monde est tel que nous le façonons">
            <a:extLst>
              <a:ext uri="{FF2B5EF4-FFF2-40B4-BE49-F238E27FC236}">
                <a16:creationId xmlns:a16="http://schemas.microsoft.com/office/drawing/2014/main" id="{75ABDE77-0536-4275-89A0-58187EAD95D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3" y="6332930"/>
            <a:ext cx="2773363" cy="241603"/>
          </a:xfrm>
          <a:prstGeom prst="rect">
            <a:avLst/>
          </a:prstGeom>
        </p:spPr>
      </p:pic>
      <p:pic>
        <p:nvPicPr>
          <p:cNvPr id="6" name="Grafik 5" descr="Ein Bild, das Grafiken, Screenshot, Schrift, Grafikdesign enthält.&#10;&#10;Automatisch generierte Beschreibung">
            <a:extLst>
              <a:ext uri="{FF2B5EF4-FFF2-40B4-BE49-F238E27FC236}">
                <a16:creationId xmlns:a16="http://schemas.microsoft.com/office/drawing/2014/main" id="{53286D3A-FBD1-3C39-3111-D6A840AAC19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56050" y="6151629"/>
            <a:ext cx="1761016" cy="52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7301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>
            <a:extLst>
              <a:ext uri="{FF2B5EF4-FFF2-40B4-BE49-F238E27FC236}">
                <a16:creationId xmlns:a16="http://schemas.microsoft.com/office/drawing/2014/main" id="{C52DF0EA-6D3E-A43D-8DC8-4B0474DDC49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9732" y="0"/>
            <a:ext cx="12193372" cy="6932692"/>
          </a:xfrm>
          <a:prstGeom prst="rect">
            <a:avLst/>
          </a:prstGeom>
          <a:solidFill>
            <a:schemeClr val="bg1"/>
          </a:solidFill>
        </p:spPr>
        <p:txBody>
          <a:bodyPr lIns="360000" tIns="3240000" rIns="360000"/>
          <a:lstStyle>
            <a:lvl1pPr algn="ctr">
              <a:buNone/>
              <a:defRPr sz="1400"/>
            </a:lvl1pPr>
          </a:lstStyle>
          <a:p>
            <a:r>
              <a:rPr lang="fr-FR" dirty="0"/>
              <a:t> z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B89846-109F-6846-926B-860C6957F6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6041547" y="772506"/>
            <a:ext cx="126999" cy="12193374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 dirty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429BCF3E-818E-5B05-A160-79C131A780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5727" y="3762410"/>
            <a:ext cx="5364161" cy="1107996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 dirty="0"/>
              <a:t>Click to edit presentation’s title </a:t>
            </a:r>
            <a:endParaRPr lang="fr-FR" noProof="0" dirty="0"/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3EEF34DA-5FB5-27D4-44A6-63F24D518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5999" y="5038125"/>
            <a:ext cx="5545139" cy="0"/>
          </a:xfrm>
          <a:prstGeom prst="line">
            <a:avLst/>
          </a:prstGeom>
          <a:ln w="25400" cap="rnd">
            <a:solidFill>
              <a:schemeClr val="bg2"/>
            </a:solidFill>
          </a:ln>
          <a:effectLst>
            <a:outerShdw blurRad="76200" dist="38100" dir="2700000" algn="tl" rotWithShape="0">
              <a:srgbClr val="4C1F82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ous-titre 2">
            <a:extLst>
              <a:ext uri="{FF2B5EF4-FFF2-40B4-BE49-F238E27FC236}">
                <a16:creationId xmlns:a16="http://schemas.microsoft.com/office/drawing/2014/main" id="{F4A50020-2840-6AD5-EAEC-05F8CF137DB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99" y="5205845"/>
            <a:ext cx="5364162" cy="36830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800" b="0" cap="none" baseline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presentation subtitle</a:t>
            </a:r>
          </a:p>
        </p:txBody>
      </p:sp>
      <p:pic>
        <p:nvPicPr>
          <p:cNvPr id="3" name="Image 13" descr="The world is how we shape it&#10;traduction: le monde est tel que nous le façonons">
            <a:extLst>
              <a:ext uri="{FF2B5EF4-FFF2-40B4-BE49-F238E27FC236}">
                <a16:creationId xmlns:a16="http://schemas.microsoft.com/office/drawing/2014/main" id="{F86EC993-6306-A531-C169-647087E330F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2" y="418076"/>
            <a:ext cx="2773363" cy="241603"/>
          </a:xfrm>
          <a:prstGeom prst="rect">
            <a:avLst/>
          </a:prstGeom>
        </p:spPr>
      </p:pic>
      <p:pic>
        <p:nvPicPr>
          <p:cNvPr id="5" name="Grafik 4" descr="Ein Bild, das Grafiken, Screenshot, Schrift, Grafikdesign enthält.&#10;&#10;Automatisch generierte Beschreibung">
            <a:extLst>
              <a:ext uri="{FF2B5EF4-FFF2-40B4-BE49-F238E27FC236}">
                <a16:creationId xmlns:a16="http://schemas.microsoft.com/office/drawing/2014/main" id="{31BABEED-F659-CB1E-69BF-FAED4C8D7B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20332" y="201523"/>
            <a:ext cx="1761016" cy="52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3838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Caractère coloré, orange, Ambré, Magenta&#10;&#10;Description générée automatiquement">
            <a:extLst>
              <a:ext uri="{FF2B5EF4-FFF2-40B4-BE49-F238E27FC236}">
                <a16:creationId xmlns:a16="http://schemas.microsoft.com/office/drawing/2014/main" id="{B8C673FE-BB8F-6FAA-D2C5-6044101C62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Image 27" descr="The world is how we shape it&#10;traduction: le monde est tel que nous le façonons">
            <a:extLst>
              <a:ext uri="{FF2B5EF4-FFF2-40B4-BE49-F238E27FC236}">
                <a16:creationId xmlns:a16="http://schemas.microsoft.com/office/drawing/2014/main" id="{18E24780-E738-E905-B1BC-8382A25D79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63" y="311062"/>
            <a:ext cx="2773362" cy="24160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3B89846-109F-6846-926B-860C6957F6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6023453" y="697814"/>
            <a:ext cx="126999" cy="12193374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 dirty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79984163-A662-7C4C-0448-F0B80E2A2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3469" y="3939155"/>
            <a:ext cx="5517669" cy="1107996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 dirty="0"/>
              <a:t>Click to edit presentation’s title </a:t>
            </a:r>
            <a:endParaRPr lang="fr-FR" noProof="0" dirty="0"/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650F2601-6D3F-4020-B499-45ECD3499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129949" y="5221295"/>
            <a:ext cx="5511189" cy="0"/>
          </a:xfrm>
          <a:prstGeom prst="line">
            <a:avLst/>
          </a:prstGeom>
          <a:ln w="254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ous-titre 2">
            <a:extLst>
              <a:ext uri="{FF2B5EF4-FFF2-40B4-BE49-F238E27FC236}">
                <a16:creationId xmlns:a16="http://schemas.microsoft.com/office/drawing/2014/main" id="{E818C06D-0678-D4EE-2137-25BB7B8C83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9949" y="5401774"/>
            <a:ext cx="5511189" cy="27597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800" b="0" cap="none" baseline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presentation subtitle</a:t>
            </a:r>
          </a:p>
        </p:txBody>
      </p:sp>
      <p:pic>
        <p:nvPicPr>
          <p:cNvPr id="2" name="Grafik 1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567DE43-33F7-A461-58A2-CFC6BE80E35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27086" y="193823"/>
            <a:ext cx="1751891" cy="5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5610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Digitized: Service Offer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221801F7-F378-2B4F-B9D3-CD53D50B1B9B}"/>
              </a:ext>
            </a:extLst>
          </p:cNvPr>
          <p:cNvSpPr/>
          <p:nvPr userDrawn="1"/>
        </p:nvSpPr>
        <p:spPr>
          <a:xfrm>
            <a:off x="6960096" y="0"/>
            <a:ext cx="5231904" cy="2348880"/>
          </a:xfrm>
          <a:prstGeom prst="rect">
            <a:avLst/>
          </a:prstGeom>
          <a:gradFill flip="none" rotWithShape="1">
            <a:gsLst>
              <a:gs pos="54000">
                <a:srgbClr val="00000A">
                  <a:alpha val="0"/>
                </a:srgbClr>
              </a:gs>
              <a:gs pos="100000">
                <a:srgbClr val="00000A"/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 i="0" dirty="0">
              <a:latin typeface="Roboto Light" panose="02000000000000000000" pitchFamily="2" charset="0"/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D982975E-1203-394A-8D25-6CCE744AC7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24392" y="277692"/>
            <a:ext cx="2264935" cy="703036"/>
          </a:xfrm>
          <a:prstGeom prst="rect">
            <a:avLst/>
          </a:prstGeom>
          <a:effectLst>
            <a:outerShdw blurRad="711200" dir="5400000" algn="ctr" rotWithShape="0">
              <a:srgbClr val="000000"/>
            </a:outerShdw>
          </a:effectLst>
        </p:spPr>
      </p:pic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E8D13827-2454-FB42-AC10-A76996C70AB1}"/>
              </a:ext>
            </a:extLst>
          </p:cNvPr>
          <p:cNvCxnSpPr/>
          <p:nvPr userDrawn="1"/>
        </p:nvCxnSpPr>
        <p:spPr>
          <a:xfrm>
            <a:off x="4151784" y="3645024"/>
            <a:ext cx="3888432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DE4A507-0E00-6846-9687-1734D9D57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4823" y="277813"/>
            <a:ext cx="2263776" cy="703262"/>
          </a:xfrm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lient logo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85F059B-B46B-CE43-A415-34CED95F59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2709728"/>
            <a:ext cx="11553967" cy="749812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anchor="b" anchorCtr="0">
            <a:spAutoFit/>
          </a:bodyPr>
          <a:lstStyle>
            <a:lvl1pPr marL="0" indent="0" algn="ctr">
              <a:spcBef>
                <a:spcPts val="300"/>
              </a:spcBef>
              <a:buNone/>
              <a:defRPr sz="4400" b="0" i="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le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presentation</a:t>
            </a:r>
            <a:endParaRPr lang="de-DE" noProof="0" dirty="0"/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1623B906-99E6-FE4A-9C58-4DFC2F1BC7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823" y="3830509"/>
            <a:ext cx="11553966" cy="503590"/>
          </a:xfrm>
        </p:spPr>
        <p:txBody>
          <a:bodyPr>
            <a:spAutoFit/>
          </a:bodyPr>
          <a:lstStyle>
            <a:lvl1pPr marL="0" indent="0" algn="ctr">
              <a:buNone/>
              <a:defRPr sz="28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52ADC21-9638-114C-84AF-4D2456EEF05E}"/>
              </a:ext>
            </a:extLst>
          </p:cNvPr>
          <p:cNvSpPr txBox="1"/>
          <p:nvPr userDrawn="1"/>
        </p:nvSpPr>
        <p:spPr>
          <a:xfrm>
            <a:off x="335360" y="6525344"/>
            <a:ext cx="1296144" cy="21676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000" b="0" i="0" dirty="0">
                <a:solidFill>
                  <a:schemeClr val="bg1"/>
                </a:solidFill>
                <a:latin typeface="Roboto Light" panose="02000000000000000000" pitchFamily="2" charset="0"/>
              </a:rPr>
              <a:t>© it-economics </a:t>
            </a:r>
            <a:fld id="{14D8EA65-2BF2-9C4E-B2A2-2F64505E2F06}" type="datetimeyyyy">
              <a:rPr lang="de-DE" sz="1000" b="0" i="0" smtClean="0">
                <a:solidFill>
                  <a:schemeClr val="bg1"/>
                </a:solidFill>
                <a:latin typeface="Roboto Light" panose="02000000000000000000" pitchFamily="2" charset="0"/>
              </a:rPr>
              <a:t>2025</a:t>
            </a:fld>
            <a:endParaRPr lang="de-DE" sz="1000" b="0" i="0" dirty="0">
              <a:solidFill>
                <a:schemeClr val="bg1"/>
              </a:solidFill>
              <a:latin typeface="Roboto Light" panose="02000000000000000000" pitchFamily="2" charset="0"/>
            </a:endParaRP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114A851F-D9DC-8C43-A755-6A2844AAB8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31812" y="6520432"/>
            <a:ext cx="4536504" cy="226591"/>
          </a:xfrm>
        </p:spPr>
        <p:txBody>
          <a:bodyPr wrap="square">
            <a:spAutoFit/>
          </a:bodyPr>
          <a:lstStyle>
            <a:lvl1pPr marL="86400" indent="-86400">
              <a:buClrTx/>
              <a:buFont typeface="Systemschrift Normal"/>
              <a:buChar char="·"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05748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 Standardtext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1">
            <a:extLst>
              <a:ext uri="{FF2B5EF4-FFF2-40B4-BE49-F238E27FC236}">
                <a16:creationId xmlns:a16="http://schemas.microsoft.com/office/drawing/2014/main" id="{F7CB2C61-3E1A-0149-9BAA-69BDF7EBDEAA}"/>
              </a:ext>
            </a:extLst>
          </p:cNvPr>
          <p:cNvGrpSpPr/>
          <p:nvPr userDrawn="1"/>
        </p:nvGrpSpPr>
        <p:grpSpPr>
          <a:xfrm>
            <a:off x="-30182" y="-2862"/>
            <a:ext cx="12222182" cy="1487647"/>
            <a:chOff x="-30182" y="-2862"/>
            <a:chExt cx="12222182" cy="1487647"/>
          </a:xfrm>
        </p:grpSpPr>
        <p:sp>
          <p:nvSpPr>
            <p:cNvPr id="8" name="Rechteck 8">
              <a:extLst>
                <a:ext uri="{FF2B5EF4-FFF2-40B4-BE49-F238E27FC236}">
                  <a16:creationId xmlns:a16="http://schemas.microsoft.com/office/drawing/2014/main" id="{6A5094DB-1335-6640-866E-C3DBD9017E63}"/>
                </a:ext>
              </a:extLst>
            </p:cNvPr>
            <p:cNvSpPr/>
            <p:nvPr userDrawn="1"/>
          </p:nvSpPr>
          <p:spPr>
            <a:xfrm>
              <a:off x="0" y="0"/>
              <a:ext cx="12192000" cy="1484783"/>
            </a:xfrm>
            <a:prstGeom prst="rect">
              <a:avLst/>
            </a:prstGeom>
            <a:solidFill>
              <a:srgbClr val="0003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0" i="0" dirty="0">
                <a:latin typeface="Roboto Light" panose="02000000000000000000" pitchFamily="2" charset="0"/>
              </a:endParaRPr>
            </a:p>
          </p:txBody>
        </p:sp>
        <p:pic>
          <p:nvPicPr>
            <p:cNvPr id="9" name="Grafik 9">
              <a:extLst>
                <a:ext uri="{FF2B5EF4-FFF2-40B4-BE49-F238E27FC236}">
                  <a16:creationId xmlns:a16="http://schemas.microsoft.com/office/drawing/2014/main" id="{75004DB0-4580-EA42-A3A4-AEC88770B07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b="78350"/>
            <a:stretch/>
          </p:blipFill>
          <p:spPr>
            <a:xfrm>
              <a:off x="-30180" y="1"/>
              <a:ext cx="12222178" cy="1484784"/>
            </a:xfrm>
            <a:prstGeom prst="rect">
              <a:avLst/>
            </a:prstGeom>
          </p:spPr>
        </p:pic>
        <p:pic>
          <p:nvPicPr>
            <p:cNvPr id="10" name="Grafik 10">
              <a:extLst>
                <a:ext uri="{FF2B5EF4-FFF2-40B4-BE49-F238E27FC236}">
                  <a16:creationId xmlns:a16="http://schemas.microsoft.com/office/drawing/2014/main" id="{0FC3106E-7AD3-9644-9E3A-A62ED7DF419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b="78350"/>
            <a:stretch/>
          </p:blipFill>
          <p:spPr>
            <a:xfrm>
              <a:off x="-30182" y="-2862"/>
              <a:ext cx="12222178" cy="1484784"/>
            </a:xfrm>
            <a:prstGeom prst="rect">
              <a:avLst/>
            </a:prstGeom>
          </p:spPr>
        </p:pic>
      </p:grp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5" y="1710000"/>
            <a:ext cx="11533772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1" y="468000"/>
            <a:ext cx="1152128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6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#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58522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8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48F9DB4D-8D80-4D44-A1F9-CBEE866D47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04F4F452-713C-4548-A737-DEE6292318D4}"/>
              </a:ext>
            </a:extLst>
          </p:cNvPr>
          <p:cNvSpPr/>
          <p:nvPr userDrawn="1"/>
        </p:nvSpPr>
        <p:spPr>
          <a:xfrm>
            <a:off x="1531812" y="-1"/>
            <a:ext cx="10660189" cy="4221076"/>
          </a:xfrm>
          <a:prstGeom prst="rect">
            <a:avLst/>
          </a:prstGeom>
          <a:gradFill flip="none" rotWithShape="1">
            <a:gsLst>
              <a:gs pos="54000">
                <a:srgbClr val="00000A">
                  <a:alpha val="0"/>
                </a:srgbClr>
              </a:gs>
              <a:gs pos="100000">
                <a:srgbClr val="00000A"/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 i="0" dirty="0">
              <a:latin typeface="Roboto Light" panose="02000000000000000000" pitchFamily="2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B796D3CE-9AB1-9E44-92DC-FF2932C6DB24}"/>
              </a:ext>
            </a:extLst>
          </p:cNvPr>
          <p:cNvSpPr/>
          <p:nvPr userDrawn="1"/>
        </p:nvSpPr>
        <p:spPr>
          <a:xfrm>
            <a:off x="-27684" y="0"/>
            <a:ext cx="12192000" cy="6858000"/>
          </a:xfrm>
          <a:prstGeom prst="rect">
            <a:avLst/>
          </a:prstGeom>
          <a:gradFill>
            <a:gsLst>
              <a:gs pos="45000">
                <a:srgbClr val="00000A">
                  <a:alpha val="27000"/>
                </a:srgbClr>
              </a:gs>
              <a:gs pos="7000">
                <a:srgbClr val="00000A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 i="0" dirty="0">
              <a:latin typeface="Roboto Light" panose="02000000000000000000" pitchFamily="2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AD8C577-5FBB-C743-BAB9-EB1196CE29CD}"/>
              </a:ext>
            </a:extLst>
          </p:cNvPr>
          <p:cNvSpPr txBox="1"/>
          <p:nvPr userDrawn="1"/>
        </p:nvSpPr>
        <p:spPr>
          <a:xfrm>
            <a:off x="334820" y="3827013"/>
            <a:ext cx="11553968" cy="576000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marL="0" indent="0" algn="ctr">
              <a:buFontTx/>
              <a:buNone/>
            </a:pPr>
            <a:r>
              <a:rPr lang="en-GB" sz="2800" b="0" i="0" noProof="0" dirty="0">
                <a:solidFill>
                  <a:schemeClr val="bg1"/>
                </a:solidFill>
                <a:latin typeface="+mn-lt"/>
              </a:rPr>
              <a:t>herald the digital futur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38FCEB5-6EAF-3F41-9174-E2A83F6E581A}"/>
              </a:ext>
            </a:extLst>
          </p:cNvPr>
          <p:cNvSpPr txBox="1"/>
          <p:nvPr userDrawn="1"/>
        </p:nvSpPr>
        <p:spPr>
          <a:xfrm>
            <a:off x="334820" y="2555840"/>
            <a:ext cx="11553968" cy="9146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 algn="ctr">
              <a:buFontTx/>
              <a:buNone/>
            </a:pPr>
            <a:r>
              <a:rPr lang="en-GB" sz="4400" b="0" i="0" noProof="0" dirty="0">
                <a:solidFill>
                  <a:schemeClr val="bg1"/>
                </a:solidFill>
                <a:latin typeface="+mj-lt"/>
              </a:rPr>
              <a:t>Contact</a:t>
            </a:r>
          </a:p>
        </p:txBody>
      </p:sp>
      <p:pic>
        <p:nvPicPr>
          <p:cNvPr id="16" name="Grafik 8">
            <a:extLst>
              <a:ext uri="{FF2B5EF4-FFF2-40B4-BE49-F238E27FC236}">
                <a16:creationId xmlns:a16="http://schemas.microsoft.com/office/drawing/2014/main" id="{AFE96102-753D-2045-94CC-AEEE0E0BB22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24392" y="277692"/>
            <a:ext cx="2264935" cy="703036"/>
          </a:xfrm>
          <a:prstGeom prst="rect">
            <a:avLst/>
          </a:prstGeom>
          <a:effectLst>
            <a:outerShdw blurRad="711200" dir="5400000" algn="ctr" rotWithShape="0">
              <a:srgbClr val="000000"/>
            </a:outerShdw>
          </a:effectLst>
        </p:spPr>
      </p:pic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F9A584E9-A328-D341-AD84-8A082D62E018}"/>
              </a:ext>
            </a:extLst>
          </p:cNvPr>
          <p:cNvCxnSpPr/>
          <p:nvPr userDrawn="1"/>
        </p:nvCxnSpPr>
        <p:spPr>
          <a:xfrm>
            <a:off x="4151784" y="3645024"/>
            <a:ext cx="3888432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66384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82" imgH="282" progId="TCLayout.ActiveDocument.1">
                  <p:embed/>
                </p:oleObj>
              </mc:Choice>
              <mc:Fallback>
                <p:oleObj name="think-cell Folie" r:id="rId5" imgW="282" imgH="28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feld 20">
            <a:extLst>
              <a:ext uri="{FF2B5EF4-FFF2-40B4-BE49-F238E27FC236}">
                <a16:creationId xmlns:a16="http://schemas.microsoft.com/office/drawing/2014/main" id="{ACF5A5A9-9B7F-3144-8EE7-0B4EE381DB21}"/>
              </a:ext>
            </a:extLst>
          </p:cNvPr>
          <p:cNvSpPr txBox="1"/>
          <p:nvPr userDrawn="1"/>
        </p:nvSpPr>
        <p:spPr>
          <a:xfrm>
            <a:off x="334820" y="4755722"/>
            <a:ext cx="11553968" cy="182458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 algn="l">
              <a:lnSpc>
                <a:spcPct val="114000"/>
              </a:lnSpc>
              <a:buFontTx/>
              <a:buNone/>
            </a:pPr>
            <a:r>
              <a:rPr lang="en-GB" sz="1800" b="0" i="0" noProof="0" dirty="0">
                <a:solidFill>
                  <a:schemeClr val="bg1"/>
                </a:solidFill>
                <a:latin typeface="Roboto Light" panose="02000000000000000000" pitchFamily="2" charset="0"/>
              </a:rPr>
              <a:t>it-economics GmbH</a:t>
            </a:r>
          </a:p>
          <a:p>
            <a:pPr marL="0" indent="0" algn="l">
              <a:lnSpc>
                <a:spcPct val="114000"/>
              </a:lnSpc>
              <a:buFontTx/>
              <a:buNone/>
            </a:pPr>
            <a:r>
              <a:rPr lang="en-GB" sz="1800" b="0" i="0" noProof="0" dirty="0">
                <a:solidFill>
                  <a:schemeClr val="bg1"/>
                </a:solidFill>
                <a:latin typeface="Roboto Light" panose="02000000000000000000" pitchFamily="2" charset="0"/>
              </a:rPr>
              <a:t>Bothestr. 11</a:t>
            </a:r>
          </a:p>
          <a:p>
            <a:pPr marL="0" indent="0" algn="l">
              <a:lnSpc>
                <a:spcPct val="114000"/>
              </a:lnSpc>
              <a:buFontTx/>
              <a:buNone/>
            </a:pPr>
            <a:r>
              <a:rPr lang="en-GB" sz="1800" b="0" i="0" noProof="0" dirty="0">
                <a:solidFill>
                  <a:schemeClr val="bg1"/>
                </a:solidFill>
                <a:latin typeface="Roboto Light" panose="02000000000000000000" pitchFamily="2" charset="0"/>
              </a:rPr>
              <a:t>81675 Munich</a:t>
            </a:r>
          </a:p>
          <a:p>
            <a:pPr marL="0" indent="0" algn="l">
              <a:lnSpc>
                <a:spcPct val="114000"/>
              </a:lnSpc>
              <a:buFontTx/>
              <a:buNone/>
            </a:pPr>
            <a:r>
              <a:rPr lang="en-GB" sz="1800" b="0" i="0" noProof="0" dirty="0">
                <a:solidFill>
                  <a:schemeClr val="bg1"/>
                </a:solidFill>
                <a:latin typeface="Roboto Light" panose="02000000000000000000" pitchFamily="2" charset="0"/>
              </a:rPr>
              <a:t>www.it-economics.com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79065DD-D1D2-C244-B407-F00697F441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12159" y="4755722"/>
            <a:ext cx="8576629" cy="926023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114000"/>
              </a:lnSpc>
              <a:spcBef>
                <a:spcPts val="0"/>
              </a:spcBef>
              <a:buNone/>
              <a:defRPr sz="1800" b="0" i="0">
                <a:solidFill>
                  <a:schemeClr val="bg1"/>
                </a:solidFill>
                <a:latin typeface="Roboto Light" panose="02000000000000000000" pitchFamily="2" charset="0"/>
              </a:defRPr>
            </a:lvl1pPr>
          </a:lstStyle>
          <a:p>
            <a:pPr lvl="0"/>
            <a:r>
              <a:rPr lang="en-GB" noProof="0" dirty="0"/>
              <a:t>Name Surname</a:t>
            </a:r>
          </a:p>
          <a:p>
            <a:pPr lvl="0"/>
            <a:r>
              <a:rPr lang="en-GB" noProof="0" dirty="0"/>
              <a:t>Email address</a:t>
            </a:r>
          </a:p>
          <a:p>
            <a:pPr lvl="0"/>
            <a:r>
              <a:rPr lang="en-GB" noProof="0" dirty="0"/>
              <a:t>Phone numb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873BDCC-5120-994F-8ED9-758A35ECB9CB}"/>
              </a:ext>
            </a:extLst>
          </p:cNvPr>
          <p:cNvSpPr txBox="1"/>
          <p:nvPr userDrawn="1"/>
        </p:nvSpPr>
        <p:spPr>
          <a:xfrm>
            <a:off x="335360" y="6525344"/>
            <a:ext cx="1296144" cy="21676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000" b="0" i="0" dirty="0">
                <a:solidFill>
                  <a:schemeClr val="bg1"/>
                </a:solidFill>
                <a:latin typeface="Roboto Light" panose="02000000000000000000" pitchFamily="2" charset="0"/>
              </a:rPr>
              <a:t>© it-economics </a:t>
            </a:r>
            <a:fld id="{14D8EA65-2BF2-9C4E-B2A2-2F64505E2F06}" type="datetimeyyyy">
              <a:rPr lang="de-DE" sz="1000" b="0" i="0" smtClean="0">
                <a:solidFill>
                  <a:schemeClr val="bg1"/>
                </a:solidFill>
                <a:latin typeface="Roboto Light" panose="02000000000000000000" pitchFamily="2" charset="0"/>
              </a:rPr>
              <a:t>2025</a:t>
            </a:fld>
            <a:endParaRPr lang="de-DE" sz="1000" b="0" i="0" dirty="0">
              <a:solidFill>
                <a:schemeClr val="bg1"/>
              </a:solidFill>
              <a:latin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68148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ual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6">
            <a:extLst>
              <a:ext uri="{FF2B5EF4-FFF2-40B4-BE49-F238E27FC236}">
                <a16:creationId xmlns:a16="http://schemas.microsoft.com/office/drawing/2014/main" id="{2F2CD2B1-D19B-102C-65F3-B7702F0BB4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pic>
        <p:nvPicPr>
          <p:cNvPr id="3" name="Image 2" descr="Une image contenant texte, carte de visite, capture d’écran, Police&#10;&#10;Description générée automatiquement">
            <a:extLst>
              <a:ext uri="{FF2B5EF4-FFF2-40B4-BE49-F238E27FC236}">
                <a16:creationId xmlns:a16="http://schemas.microsoft.com/office/drawing/2014/main" id="{835DBF57-7F0C-3F07-3B04-04D025D06F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0175" y="1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837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>
            <a:extLst>
              <a:ext uri="{FF2B5EF4-FFF2-40B4-BE49-F238E27FC236}">
                <a16:creationId xmlns:a16="http://schemas.microsoft.com/office/drawing/2014/main" id="{CEC8FCF2-3DA2-359D-ECFD-20531A2C6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000710"/>
            <a:ext cx="12192000" cy="5857290"/>
          </a:xfrm>
          <a:prstGeom prst="rect">
            <a:avLst/>
          </a:prstGeom>
          <a:solidFill>
            <a:schemeClr val="bg1"/>
          </a:solidFill>
        </p:spPr>
        <p:txBody>
          <a:bodyPr lIns="360000" tIns="3240000" rIns="360000"/>
          <a:lstStyle>
            <a:lvl1pPr algn="ctr">
              <a:buNone/>
              <a:defRPr sz="1400"/>
            </a:lvl1pPr>
          </a:lstStyle>
          <a:p>
            <a:r>
              <a:rPr lang="fr-FR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92DD4A-9561-6A5E-02F8-EB02727734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6041995" y="-5089166"/>
            <a:ext cx="108000" cy="12191998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F1FF5E27-7CC6-7EC1-B5CA-54DBA661AD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3469" y="3298785"/>
            <a:ext cx="5517669" cy="1107996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presentation’s title </a:t>
            </a:r>
            <a:endParaRPr lang="fr-FR" noProof="0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58D45078-3D01-0E05-6E1E-2857E80BBE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129949" y="4580925"/>
            <a:ext cx="5511189" cy="0"/>
          </a:xfrm>
          <a:prstGeom prst="line">
            <a:avLst/>
          </a:prstGeom>
          <a:ln w="25400" cap="rnd">
            <a:solidFill>
              <a:schemeClr val="bg2"/>
            </a:solidFill>
          </a:ln>
          <a:effectLst>
            <a:outerShdw blurRad="63500" dist="38100" dir="2700000" algn="tl" rotWithShape="0">
              <a:srgbClr val="4C1F82">
                <a:alpha val="5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ous-titre 2">
            <a:extLst>
              <a:ext uri="{FF2B5EF4-FFF2-40B4-BE49-F238E27FC236}">
                <a16:creationId xmlns:a16="http://schemas.microsoft.com/office/drawing/2014/main" id="{D10EBE52-655C-611D-03F2-F6BBD6FA91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0493" y="4761404"/>
            <a:ext cx="5511189" cy="27597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800" b="0" cap="none" baseline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presentation subtitle</a:t>
            </a:r>
          </a:p>
        </p:txBody>
      </p:sp>
      <p:pic>
        <p:nvPicPr>
          <p:cNvPr id="2" name="Image 13">
            <a:extLst>
              <a:ext uri="{FF2B5EF4-FFF2-40B4-BE49-F238E27FC236}">
                <a16:creationId xmlns:a16="http://schemas.microsoft.com/office/drawing/2014/main" id="{00F667FF-CF10-1D8A-31B7-9C718597BE5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81208" y="418076"/>
            <a:ext cx="2512671" cy="241603"/>
          </a:xfrm>
          <a:prstGeom prst="rect">
            <a:avLst/>
          </a:prstGeom>
        </p:spPr>
      </p:pic>
      <p:pic>
        <p:nvPicPr>
          <p:cNvPr id="3" name="Grafik 2" descr="Ein Bild, das Grafiken, Screenshot, Schrift, Grafikdesign enthält.&#10;&#10;Automatisch generierte Beschreibung">
            <a:extLst>
              <a:ext uri="{FF2B5EF4-FFF2-40B4-BE49-F238E27FC236}">
                <a16:creationId xmlns:a16="http://schemas.microsoft.com/office/drawing/2014/main" id="{5AD7DA38-CD36-3448-0372-BADA321C94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20332" y="201523"/>
            <a:ext cx="1761016" cy="52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990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>
            <a:extLst>
              <a:ext uri="{FF2B5EF4-FFF2-40B4-BE49-F238E27FC236}">
                <a16:creationId xmlns:a16="http://schemas.microsoft.com/office/drawing/2014/main" id="{C52DF0EA-6D3E-A43D-8DC8-4B0474DDC4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9730" y="-74692"/>
            <a:ext cx="12193372" cy="5959984"/>
          </a:xfrm>
          <a:prstGeom prst="rect">
            <a:avLst/>
          </a:prstGeom>
          <a:solidFill>
            <a:schemeClr val="bg1"/>
          </a:solidFill>
        </p:spPr>
        <p:txBody>
          <a:bodyPr lIns="360000" tIns="3240000" rIns="360000"/>
          <a:lstStyle>
            <a:lvl1pPr algn="ctr">
              <a:buNone/>
              <a:defRPr sz="1400"/>
            </a:lvl1pPr>
          </a:lstStyle>
          <a:p>
            <a:r>
              <a:rPr lang="fr-FR"/>
              <a:t>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B89846-109F-6846-926B-860C6957F6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6041958" y="-181704"/>
            <a:ext cx="90000" cy="12193374"/>
          </a:xfrm>
          <a:prstGeom prst="rect">
            <a:avLst/>
          </a:prstGeom>
          <a:gradFill flip="none" rotWithShape="1">
            <a:gsLst>
              <a:gs pos="11000">
                <a:srgbClr val="8B1D82"/>
              </a:gs>
              <a:gs pos="0">
                <a:srgbClr val="4D1D82"/>
              </a:gs>
              <a:gs pos="50000">
                <a:srgbClr val="CF022B"/>
              </a:gs>
              <a:gs pos="100000">
                <a:srgbClr val="EF7D00"/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b="1" i="0" noProof="0">
              <a:solidFill>
                <a:schemeClr val="tx1"/>
              </a:solidFill>
              <a:latin typeface="Tahoma" panose="020B060403050404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BEFD6E5-FA3B-DFBD-ADBE-B0384A52E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3469" y="3298785"/>
            <a:ext cx="5517669" cy="1107996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presentation’s title</a:t>
            </a:r>
            <a:endParaRPr lang="fr-FR" noProof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AC5477F5-6EC4-F4A0-F5AD-1799FDE48D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0493" y="4761404"/>
            <a:ext cx="5511189" cy="27597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 sz="1800" b="0" cap="none" baseline="0">
                <a:solidFill>
                  <a:schemeClr val="bg2"/>
                </a:solidFill>
                <a:effectLst>
                  <a:outerShdw blurRad="50800" dist="38100" dir="2700000" algn="tl" rotWithShape="0">
                    <a:srgbClr val="2A1449">
                      <a:alpha val="40000"/>
                    </a:srgbClr>
                  </a:outerShdw>
                </a:effectLst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presentation subtitle</a:t>
            </a:r>
          </a:p>
        </p:txBody>
      </p:sp>
      <p:pic>
        <p:nvPicPr>
          <p:cNvPr id="6" name="Grafik 5" descr="Ein Bild, das Grafiken, Screenshot, Schrift, Grafikdesign enthält.&#10;&#10;Automatisch generierte Beschreibung">
            <a:extLst>
              <a:ext uri="{FF2B5EF4-FFF2-40B4-BE49-F238E27FC236}">
                <a16:creationId xmlns:a16="http://schemas.microsoft.com/office/drawing/2014/main" id="{C9442272-0C33-2A02-C130-490A956394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56050" y="6151629"/>
            <a:ext cx="1761016" cy="528539"/>
          </a:xfrm>
          <a:prstGeom prst="rect">
            <a:avLst/>
          </a:prstGeom>
        </p:spPr>
      </p:pic>
      <p:pic>
        <p:nvPicPr>
          <p:cNvPr id="10" name="Image 13" descr="The world is how we shape it&#10;traduction: le monde est tel que nous le façonons">
            <a:extLst>
              <a:ext uri="{FF2B5EF4-FFF2-40B4-BE49-F238E27FC236}">
                <a16:creationId xmlns:a16="http://schemas.microsoft.com/office/drawing/2014/main" id="{EA421AE7-1354-CCFD-90E3-828934A9A5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4923" b="-6662"/>
          <a:stretch/>
        </p:blipFill>
        <p:spPr>
          <a:xfrm>
            <a:off x="550863" y="6332930"/>
            <a:ext cx="2636837" cy="25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683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F798E53-107F-468D-A86A-B9E27C8FBA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591" y="403557"/>
            <a:ext cx="10442574" cy="4708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/>
              <a:t>Click to edit master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DB9AE21-8DC6-E9FC-B186-C000B8A0D3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0591" y="16287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D0052448-619C-9B32-3BED-16F7F40D505D}"/>
              </a:ext>
            </a:extLst>
          </p:cNvPr>
          <p:cNvSpPr txBox="1"/>
          <p:nvPr userDrawn="1"/>
        </p:nvSpPr>
        <p:spPr>
          <a:xfrm>
            <a:off x="874713" y="6372428"/>
            <a:ext cx="1397876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</a:pPr>
            <a:fld id="{323B8015-F47E-466A-9ABA-BA5A994CBF96}" type="slidenum">
              <a:rPr lang="en-GB" sz="800" b="1" noProof="0" smtClean="0">
                <a:solidFill>
                  <a:srgbClr val="2A1449"/>
                </a:solidFill>
              </a:rPr>
              <a:t>‹#›</a:t>
            </a:fld>
            <a:endParaRPr lang="en-GB" sz="800" b="1" noProof="0">
              <a:solidFill>
                <a:srgbClr val="2A1449"/>
              </a:solidFill>
            </a:endParaRPr>
          </a:p>
        </p:txBody>
      </p:sp>
      <p:cxnSp>
        <p:nvCxnSpPr>
          <p:cNvPr id="6" name="Straight Connector 5" descr="Tiret">
            <a:extLst>
              <a:ext uri="{FF2B5EF4-FFF2-40B4-BE49-F238E27FC236}">
                <a16:creationId xmlns:a16="http://schemas.microsoft.com/office/drawing/2014/main" id="{46ED0B88-945A-A073-D606-E11AA065A4BF}"/>
              </a:ext>
            </a:extLst>
          </p:cNvPr>
          <p:cNvCxnSpPr>
            <a:cxnSpLocks/>
          </p:cNvCxnSpPr>
          <p:nvPr userDrawn="1"/>
        </p:nvCxnSpPr>
        <p:spPr>
          <a:xfrm>
            <a:off x="1229008" y="6368235"/>
            <a:ext cx="0" cy="13149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20EC2D35-294D-B930-0A44-96708A706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19225" y="6372428"/>
            <a:ext cx="349567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fr-FR" sz="800" b="1" dirty="0"/>
            </a:lvl1pPr>
          </a:lstStyle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BABC64-CACE-854F-A758-87546FE6E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2000" y="6774943"/>
            <a:ext cx="12204000" cy="108000"/>
          </a:xfrm>
          <a:prstGeom prst="rect">
            <a:avLst/>
          </a:prstGeom>
          <a:gradFill>
            <a:gsLst>
              <a:gs pos="12000">
                <a:srgbClr val="8B1D82"/>
              </a:gs>
              <a:gs pos="0">
                <a:srgbClr val="4D1D82"/>
              </a:gs>
              <a:gs pos="29000">
                <a:srgbClr val="CF022B"/>
              </a:gs>
              <a:gs pos="100000">
                <a:srgbClr val="F07D00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b="1" i="0">
              <a:latin typeface="Tahoma" panose="020B0604030504040204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68299354-9536-941E-5D86-5C3F755647CC}"/>
              </a:ext>
            </a:extLst>
          </p:cNvPr>
          <p:cNvGrpSpPr/>
          <p:nvPr userDrawn="1"/>
        </p:nvGrpSpPr>
        <p:grpSpPr>
          <a:xfrm>
            <a:off x="12440480" y="-252249"/>
            <a:ext cx="2036816" cy="7115664"/>
            <a:chOff x="12440480" y="-252249"/>
            <a:chExt cx="2036816" cy="7115664"/>
          </a:xfrm>
        </p:grpSpPr>
        <p:sp>
          <p:nvSpPr>
            <p:cNvPr id="70" name="Colours&#10;Colours&#10;COLOURS">
              <a:extLst>
                <a:ext uri="{FF2B5EF4-FFF2-40B4-BE49-F238E27FC236}">
                  <a16:creationId xmlns:a16="http://schemas.microsoft.com/office/drawing/2014/main" id="{BD5B21FA-6D26-344B-AEB2-5AFE419B47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2440480" y="-252249"/>
              <a:ext cx="581891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GB" sz="1200" b="1" noProof="0"/>
                <a:t>Colours</a:t>
              </a:r>
            </a:p>
          </p:txBody>
        </p:sp>
        <p:sp>
          <p:nvSpPr>
            <p:cNvPr id="71" name="GRADIENT">
              <a:extLst>
                <a:ext uri="{FF2B5EF4-FFF2-40B4-BE49-F238E27FC236}">
                  <a16:creationId xmlns:a16="http://schemas.microsoft.com/office/drawing/2014/main" id="{175A428E-A7D3-D1C5-F4DF-4E9E19CBCD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2440480" y="152606"/>
              <a:ext cx="670055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GB" sz="1200" b="1" noProof="0"/>
                <a:t>Gradient</a:t>
              </a:r>
            </a:p>
          </p:txBody>
        </p:sp>
        <p:sp>
          <p:nvSpPr>
            <p:cNvPr id="72" name="Ellipse 1">
              <a:extLst>
                <a:ext uri="{FF2B5EF4-FFF2-40B4-BE49-F238E27FC236}">
                  <a16:creationId xmlns:a16="http://schemas.microsoft.com/office/drawing/2014/main" id="{709C11EC-174F-0F57-2C9E-F13E641A3E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40480" y="424075"/>
              <a:ext cx="950503" cy="209557"/>
            </a:xfrm>
            <a:prstGeom prst="roundRect">
              <a:avLst/>
            </a:prstGeom>
            <a:gradFill flip="none" rotWithShape="1">
              <a:gsLst>
                <a:gs pos="14000">
                  <a:srgbClr val="8B1D82"/>
                </a:gs>
                <a:gs pos="0">
                  <a:srgbClr val="4D1D82"/>
                </a:gs>
                <a:gs pos="50000">
                  <a:srgbClr val="CF022B"/>
                </a:gs>
                <a:gs pos="100000">
                  <a:srgbClr val="F07D00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73" name="PURPULE DARK">
              <a:extLst>
                <a:ext uri="{FF2B5EF4-FFF2-40B4-BE49-F238E27FC236}">
                  <a16:creationId xmlns:a16="http://schemas.microsoft.com/office/drawing/2014/main" id="{EA77E83D-1FA4-2FB5-1D1C-A4A6B43555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523665" y="154503"/>
              <a:ext cx="913712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GB" sz="1200" b="1" noProof="0"/>
                <a:t>Purple Dark</a:t>
              </a:r>
            </a:p>
          </p:txBody>
        </p:sp>
        <p:sp>
          <p:nvSpPr>
            <p:cNvPr id="74" name="Ellipse 2">
              <a:extLst>
                <a:ext uri="{FF2B5EF4-FFF2-40B4-BE49-F238E27FC236}">
                  <a16:creationId xmlns:a16="http://schemas.microsoft.com/office/drawing/2014/main" id="{51C9AE34-B6AC-C079-E10A-9CD7472545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3523665" y="425972"/>
              <a:ext cx="950503" cy="209557"/>
            </a:xfrm>
            <a:prstGeom prst="roundRect">
              <a:avLst/>
            </a:prstGeom>
            <a:solidFill>
              <a:srgbClr val="2A14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75" name="BLACK">
              <a:extLst>
                <a:ext uri="{FF2B5EF4-FFF2-40B4-BE49-F238E27FC236}">
                  <a16:creationId xmlns:a16="http://schemas.microsoft.com/office/drawing/2014/main" id="{094EFD35-5EBF-6EE5-52CF-3ED86758DF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2443608" y="730250"/>
              <a:ext cx="41838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GB" sz="1200" b="1" noProof="0"/>
                <a:t>Black</a:t>
              </a:r>
            </a:p>
          </p:txBody>
        </p:sp>
        <p:sp>
          <p:nvSpPr>
            <p:cNvPr id="76" name="Ellipse 3">
              <a:extLst>
                <a:ext uri="{FF2B5EF4-FFF2-40B4-BE49-F238E27FC236}">
                  <a16:creationId xmlns:a16="http://schemas.microsoft.com/office/drawing/2014/main" id="{2413DD25-3F15-AD31-DD5F-4A03C6F098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43608" y="1001719"/>
              <a:ext cx="950503" cy="209557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77" name="WHITE">
              <a:extLst>
                <a:ext uri="{FF2B5EF4-FFF2-40B4-BE49-F238E27FC236}">
                  <a16:creationId xmlns:a16="http://schemas.microsoft.com/office/drawing/2014/main" id="{B595CE2C-AAA9-357E-DDF2-A93634A099D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526793" y="732147"/>
              <a:ext cx="458459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GB" sz="1200" b="1" noProof="0"/>
                <a:t>White</a:t>
              </a:r>
            </a:p>
          </p:txBody>
        </p:sp>
        <p:sp>
          <p:nvSpPr>
            <p:cNvPr id="78" name="ELLIPSE_WHITE">
              <a:extLst>
                <a:ext uri="{FF2B5EF4-FFF2-40B4-BE49-F238E27FC236}">
                  <a16:creationId xmlns:a16="http://schemas.microsoft.com/office/drawing/2014/main" id="{9F403E53-EE9D-FCBC-DB41-E292CF0652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3526793" y="1003616"/>
              <a:ext cx="950503" cy="209557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79" name="PURPULE">
              <a:extLst>
                <a:ext uri="{FF2B5EF4-FFF2-40B4-BE49-F238E27FC236}">
                  <a16:creationId xmlns:a16="http://schemas.microsoft.com/office/drawing/2014/main" id="{6B1142B1-079F-545A-CA19-2D8AB1F611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2456354" y="1342855"/>
              <a:ext cx="500137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GB" sz="1200" b="1" noProof="0" dirty="0"/>
                <a:t>Purple</a:t>
              </a:r>
            </a:p>
          </p:txBody>
        </p:sp>
        <p:sp>
          <p:nvSpPr>
            <p:cNvPr id="80" name="Ellipse_4_100%">
              <a:extLst>
                <a:ext uri="{FF2B5EF4-FFF2-40B4-BE49-F238E27FC236}">
                  <a16:creationId xmlns:a16="http://schemas.microsoft.com/office/drawing/2014/main" id="{0F492D80-B2B8-C7B1-A554-B7431C8DFB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1614324"/>
              <a:ext cx="950503" cy="209557"/>
            </a:xfrm>
            <a:prstGeom prst="roundRect">
              <a:avLst/>
            </a:prstGeom>
            <a:solidFill>
              <a:srgbClr val="4D1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81" name="100%">
              <a:extLst>
                <a:ext uri="{FF2B5EF4-FFF2-40B4-BE49-F238E27FC236}">
                  <a16:creationId xmlns:a16="http://schemas.microsoft.com/office/drawing/2014/main" id="{2D6B0BD9-9927-BFCB-F4A7-E3C1CC9126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1677687"/>
              <a:ext cx="359073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100%</a:t>
              </a:r>
            </a:p>
          </p:txBody>
        </p:sp>
        <p:sp>
          <p:nvSpPr>
            <p:cNvPr id="82" name="Ellipse_4_80%">
              <a:extLst>
                <a:ext uri="{FF2B5EF4-FFF2-40B4-BE49-F238E27FC236}">
                  <a16:creationId xmlns:a16="http://schemas.microsoft.com/office/drawing/2014/main" id="{9C1AC89A-0B3C-0C7C-2C4F-B1BAEB54F3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1858786"/>
              <a:ext cx="950503" cy="180000"/>
            </a:xfrm>
            <a:prstGeom prst="roundRect">
              <a:avLst/>
            </a:prstGeom>
            <a:solidFill>
              <a:srgbClr val="6C4D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83" name="80%">
              <a:extLst>
                <a:ext uri="{FF2B5EF4-FFF2-40B4-BE49-F238E27FC236}">
                  <a16:creationId xmlns:a16="http://schemas.microsoft.com/office/drawing/2014/main" id="{3E3316E6-13B8-CEDE-39E1-4A2129C44C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1892592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80%</a:t>
              </a:r>
            </a:p>
          </p:txBody>
        </p:sp>
        <p:sp>
          <p:nvSpPr>
            <p:cNvPr id="84" name="Ellipse_4_60%">
              <a:extLst>
                <a:ext uri="{FF2B5EF4-FFF2-40B4-BE49-F238E27FC236}">
                  <a16:creationId xmlns:a16="http://schemas.microsoft.com/office/drawing/2014/main" id="{99D5A60A-3A28-341A-B24E-22B929CC3A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2073691"/>
              <a:ext cx="950503" cy="144000"/>
            </a:xfrm>
            <a:prstGeom prst="roundRect">
              <a:avLst/>
            </a:prstGeom>
            <a:solidFill>
              <a:srgbClr val="9179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85" name="60%">
              <a:extLst>
                <a:ext uri="{FF2B5EF4-FFF2-40B4-BE49-F238E27FC236}">
                  <a16:creationId xmlns:a16="http://schemas.microsoft.com/office/drawing/2014/main" id="{2DB02C8B-B873-2FFD-E592-5E53D0B5AD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2071497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60%</a:t>
              </a:r>
            </a:p>
          </p:txBody>
        </p:sp>
        <p:sp>
          <p:nvSpPr>
            <p:cNvPr id="86" name="Ellipse_4_40%">
              <a:extLst>
                <a:ext uri="{FF2B5EF4-FFF2-40B4-BE49-F238E27FC236}">
                  <a16:creationId xmlns:a16="http://schemas.microsoft.com/office/drawing/2014/main" id="{16A0338E-CAFD-B5E6-62D6-BF9052E539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2252596"/>
              <a:ext cx="950503" cy="108000"/>
            </a:xfrm>
            <a:prstGeom prst="roundRect">
              <a:avLst/>
            </a:prstGeom>
            <a:solidFill>
              <a:srgbClr val="B5A6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87" name="40%">
              <a:extLst>
                <a:ext uri="{FF2B5EF4-FFF2-40B4-BE49-F238E27FC236}">
                  <a16:creationId xmlns:a16="http://schemas.microsoft.com/office/drawing/2014/main" id="{8EEA98A0-A554-7EC6-3026-B75EAF67764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2214402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40%</a:t>
              </a:r>
            </a:p>
          </p:txBody>
        </p:sp>
        <p:sp>
          <p:nvSpPr>
            <p:cNvPr id="88" name="Ellipse_4_20%">
              <a:extLst>
                <a:ext uri="{FF2B5EF4-FFF2-40B4-BE49-F238E27FC236}">
                  <a16:creationId xmlns:a16="http://schemas.microsoft.com/office/drawing/2014/main" id="{8886DF96-FC5C-3B9F-4B4D-598F3E9D757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2393666"/>
              <a:ext cx="950503" cy="90000"/>
            </a:xfrm>
            <a:prstGeom prst="roundRect">
              <a:avLst/>
            </a:prstGeom>
            <a:solidFill>
              <a:srgbClr val="DAD2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89" name="20%">
              <a:extLst>
                <a:ext uri="{FF2B5EF4-FFF2-40B4-BE49-F238E27FC236}">
                  <a16:creationId xmlns:a16="http://schemas.microsoft.com/office/drawing/2014/main" id="{A4B57884-29BF-3C43-EA1B-F8083B3E5DA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2369416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20%</a:t>
              </a:r>
            </a:p>
          </p:txBody>
        </p:sp>
        <p:sp>
          <p:nvSpPr>
            <p:cNvPr id="90" name="Ellipse_4_15%">
              <a:extLst>
                <a:ext uri="{FF2B5EF4-FFF2-40B4-BE49-F238E27FC236}">
                  <a16:creationId xmlns:a16="http://schemas.microsoft.com/office/drawing/2014/main" id="{61B23905-F215-A23A-7B51-E644DAC683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2525411"/>
              <a:ext cx="950503" cy="72000"/>
            </a:xfrm>
            <a:prstGeom prst="roundRect">
              <a:avLst/>
            </a:prstGeom>
            <a:solidFill>
              <a:srgbClr val="E3DE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91" name="15%">
              <a:extLst>
                <a:ext uri="{FF2B5EF4-FFF2-40B4-BE49-F238E27FC236}">
                  <a16:creationId xmlns:a16="http://schemas.microsoft.com/office/drawing/2014/main" id="{3744FA73-DBA8-C335-A711-98D4609658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2492161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15%</a:t>
              </a:r>
            </a:p>
          </p:txBody>
        </p:sp>
        <p:sp>
          <p:nvSpPr>
            <p:cNvPr id="92" name="CLEAR PURPLE">
              <a:extLst>
                <a:ext uri="{FF2B5EF4-FFF2-40B4-BE49-F238E27FC236}">
                  <a16:creationId xmlns:a16="http://schemas.microsoft.com/office/drawing/2014/main" id="{A3BDF8BE-8519-A325-B6CD-B2F0F461FD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2456354" y="2751758"/>
              <a:ext cx="937757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GB" sz="1200" b="1" noProof="0"/>
                <a:t>Clear Purple</a:t>
              </a:r>
            </a:p>
          </p:txBody>
        </p:sp>
        <p:sp>
          <p:nvSpPr>
            <p:cNvPr id="93" name="Ellipse_5_100%">
              <a:extLst>
                <a:ext uri="{FF2B5EF4-FFF2-40B4-BE49-F238E27FC236}">
                  <a16:creationId xmlns:a16="http://schemas.microsoft.com/office/drawing/2014/main" id="{C4DD4CD6-1CDC-9EFC-A661-76B2B02055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3023227"/>
              <a:ext cx="950503" cy="209557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94" name="100%">
              <a:extLst>
                <a:ext uri="{FF2B5EF4-FFF2-40B4-BE49-F238E27FC236}">
                  <a16:creationId xmlns:a16="http://schemas.microsoft.com/office/drawing/2014/main" id="{49C60DEA-8105-A10D-90C5-C38D04E745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3086590"/>
              <a:ext cx="359073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100%</a:t>
              </a:r>
            </a:p>
          </p:txBody>
        </p:sp>
        <p:sp>
          <p:nvSpPr>
            <p:cNvPr id="95" name="Ellipse_5_80%">
              <a:extLst>
                <a:ext uri="{FF2B5EF4-FFF2-40B4-BE49-F238E27FC236}">
                  <a16:creationId xmlns:a16="http://schemas.microsoft.com/office/drawing/2014/main" id="{A37EEE5D-261B-BA7C-F80E-0714B0D96C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3267689"/>
              <a:ext cx="950503" cy="180000"/>
            </a:xfrm>
            <a:prstGeom prst="roundRect">
              <a:avLst/>
            </a:prstGeom>
            <a:solidFill>
              <a:srgbClr val="A24A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96" name="80%">
              <a:extLst>
                <a:ext uri="{FF2B5EF4-FFF2-40B4-BE49-F238E27FC236}">
                  <a16:creationId xmlns:a16="http://schemas.microsoft.com/office/drawing/2014/main" id="{5148B638-DE92-C85D-F6DB-D41A4EA6A7B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3301495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80%</a:t>
              </a:r>
            </a:p>
          </p:txBody>
        </p:sp>
        <p:sp>
          <p:nvSpPr>
            <p:cNvPr id="97" name="Ellipse_5_60%">
              <a:extLst>
                <a:ext uri="{FF2B5EF4-FFF2-40B4-BE49-F238E27FC236}">
                  <a16:creationId xmlns:a16="http://schemas.microsoft.com/office/drawing/2014/main" id="{5E550B48-93F6-C7FD-7EE7-B5C170F38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3482594"/>
              <a:ext cx="950503" cy="144000"/>
            </a:xfrm>
            <a:prstGeom prst="roundRect">
              <a:avLst/>
            </a:prstGeom>
            <a:solidFill>
              <a:srgbClr val="B977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98" name="60%">
              <a:extLst>
                <a:ext uri="{FF2B5EF4-FFF2-40B4-BE49-F238E27FC236}">
                  <a16:creationId xmlns:a16="http://schemas.microsoft.com/office/drawing/2014/main" id="{963E38C3-A3BC-E3AB-35ED-B3801678E6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3480400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60%</a:t>
              </a:r>
            </a:p>
          </p:txBody>
        </p:sp>
        <p:sp>
          <p:nvSpPr>
            <p:cNvPr id="99" name="Ellipse_5_40%">
              <a:extLst>
                <a:ext uri="{FF2B5EF4-FFF2-40B4-BE49-F238E27FC236}">
                  <a16:creationId xmlns:a16="http://schemas.microsoft.com/office/drawing/2014/main" id="{B6DCF398-0EA9-3CF8-4A77-CBAD4B1AED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3661499"/>
              <a:ext cx="950503" cy="108000"/>
            </a:xfrm>
            <a:prstGeom prst="roundRect">
              <a:avLst/>
            </a:prstGeom>
            <a:solidFill>
              <a:srgbClr val="D1A5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00" name="40%">
              <a:extLst>
                <a:ext uri="{FF2B5EF4-FFF2-40B4-BE49-F238E27FC236}">
                  <a16:creationId xmlns:a16="http://schemas.microsoft.com/office/drawing/2014/main" id="{E9B844A1-E9FE-7155-41DA-C4DFAB6F60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3623305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40%</a:t>
              </a:r>
            </a:p>
          </p:txBody>
        </p:sp>
        <p:sp>
          <p:nvSpPr>
            <p:cNvPr id="101" name="Ellipse_5_20%">
              <a:extLst>
                <a:ext uri="{FF2B5EF4-FFF2-40B4-BE49-F238E27FC236}">
                  <a16:creationId xmlns:a16="http://schemas.microsoft.com/office/drawing/2014/main" id="{9807FBA6-BA32-5485-A453-C804BDF2AD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3802569"/>
              <a:ext cx="950503" cy="90000"/>
            </a:xfrm>
            <a:prstGeom prst="roundRect">
              <a:avLst/>
            </a:prstGeom>
            <a:solidFill>
              <a:srgbClr val="E8D2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02" name="20%">
              <a:extLst>
                <a:ext uri="{FF2B5EF4-FFF2-40B4-BE49-F238E27FC236}">
                  <a16:creationId xmlns:a16="http://schemas.microsoft.com/office/drawing/2014/main" id="{139A5B8F-00E0-D6E2-D133-4587C74B606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3778319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20%</a:t>
              </a:r>
            </a:p>
          </p:txBody>
        </p:sp>
        <p:sp>
          <p:nvSpPr>
            <p:cNvPr id="103" name="Ellipse_5_15%">
              <a:extLst>
                <a:ext uri="{FF2B5EF4-FFF2-40B4-BE49-F238E27FC236}">
                  <a16:creationId xmlns:a16="http://schemas.microsoft.com/office/drawing/2014/main" id="{8D1671C3-B620-1675-3077-137CE3825E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6354" y="3934314"/>
              <a:ext cx="950503" cy="72000"/>
            </a:xfrm>
            <a:prstGeom prst="roundRect">
              <a:avLst/>
            </a:prstGeom>
            <a:solidFill>
              <a:srgbClr val="EEDD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04" name="15%">
              <a:extLst>
                <a:ext uri="{FF2B5EF4-FFF2-40B4-BE49-F238E27FC236}">
                  <a16:creationId xmlns:a16="http://schemas.microsoft.com/office/drawing/2014/main" id="{762F7BBC-4FD4-B8A7-379B-5A427E9E309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6337" y="3901064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15%</a:t>
              </a:r>
            </a:p>
          </p:txBody>
        </p:sp>
        <p:sp>
          <p:nvSpPr>
            <p:cNvPr id="105" name="RED">
              <a:extLst>
                <a:ext uri="{FF2B5EF4-FFF2-40B4-BE49-F238E27FC236}">
                  <a16:creationId xmlns:a16="http://schemas.microsoft.com/office/drawing/2014/main" id="{4CCEFFCD-D7A6-0BFF-4FB6-A1E2E22403D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2453226" y="4166707"/>
              <a:ext cx="299762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GB" sz="1200" b="1" noProof="0"/>
                <a:t>Red</a:t>
              </a:r>
            </a:p>
          </p:txBody>
        </p:sp>
        <p:sp>
          <p:nvSpPr>
            <p:cNvPr id="106" name="Ellipse_6_100%">
              <a:extLst>
                <a:ext uri="{FF2B5EF4-FFF2-40B4-BE49-F238E27FC236}">
                  <a16:creationId xmlns:a16="http://schemas.microsoft.com/office/drawing/2014/main" id="{320A6751-D592-A0CD-4744-D68EAEE058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4438176"/>
              <a:ext cx="950503" cy="209557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07" name="100%">
              <a:extLst>
                <a:ext uri="{FF2B5EF4-FFF2-40B4-BE49-F238E27FC236}">
                  <a16:creationId xmlns:a16="http://schemas.microsoft.com/office/drawing/2014/main" id="{A6EC090C-417A-D88B-E436-2B9D46C487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4501539"/>
              <a:ext cx="359073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100%</a:t>
              </a:r>
            </a:p>
          </p:txBody>
        </p:sp>
        <p:sp>
          <p:nvSpPr>
            <p:cNvPr id="108" name="Ellipse_6_80%">
              <a:extLst>
                <a:ext uri="{FF2B5EF4-FFF2-40B4-BE49-F238E27FC236}">
                  <a16:creationId xmlns:a16="http://schemas.microsoft.com/office/drawing/2014/main" id="{A1E83632-DC62-2042-E321-700C40FEC9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4682638"/>
              <a:ext cx="950503" cy="180000"/>
            </a:xfrm>
            <a:prstGeom prst="roundRect">
              <a:avLst/>
            </a:prstGeom>
            <a:solidFill>
              <a:srgbClr val="D935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09" name="80%">
              <a:extLst>
                <a:ext uri="{FF2B5EF4-FFF2-40B4-BE49-F238E27FC236}">
                  <a16:creationId xmlns:a16="http://schemas.microsoft.com/office/drawing/2014/main" id="{FC177082-A08D-5B39-AB40-B1F29D4E8F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4716444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80%</a:t>
              </a:r>
            </a:p>
          </p:txBody>
        </p:sp>
        <p:sp>
          <p:nvSpPr>
            <p:cNvPr id="110" name="Ellipse_6_60%">
              <a:extLst>
                <a:ext uri="{FF2B5EF4-FFF2-40B4-BE49-F238E27FC236}">
                  <a16:creationId xmlns:a16="http://schemas.microsoft.com/office/drawing/2014/main" id="{6AF79785-587D-6BC6-B361-A69A20D9EF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4897543"/>
              <a:ext cx="950503" cy="144000"/>
            </a:xfrm>
            <a:prstGeom prst="roundRect">
              <a:avLst/>
            </a:prstGeom>
            <a:solidFill>
              <a:srgbClr val="E267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11" name="60%">
              <a:extLst>
                <a:ext uri="{FF2B5EF4-FFF2-40B4-BE49-F238E27FC236}">
                  <a16:creationId xmlns:a16="http://schemas.microsoft.com/office/drawing/2014/main" id="{DA96244B-F560-E768-C642-818BC017FB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4895349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60%</a:t>
              </a:r>
            </a:p>
          </p:txBody>
        </p:sp>
        <p:sp>
          <p:nvSpPr>
            <p:cNvPr id="112" name="Ellipse_6_40%">
              <a:extLst>
                <a:ext uri="{FF2B5EF4-FFF2-40B4-BE49-F238E27FC236}">
                  <a16:creationId xmlns:a16="http://schemas.microsoft.com/office/drawing/2014/main" id="{D02F5998-272E-C0C1-B07A-4A9155B529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5076448"/>
              <a:ext cx="950503" cy="108000"/>
            </a:xfrm>
            <a:prstGeom prst="roundRect">
              <a:avLst/>
            </a:prstGeom>
            <a:solidFill>
              <a:srgbClr val="EC9A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13" name="40%">
              <a:extLst>
                <a:ext uri="{FF2B5EF4-FFF2-40B4-BE49-F238E27FC236}">
                  <a16:creationId xmlns:a16="http://schemas.microsoft.com/office/drawing/2014/main" id="{F3432473-EA88-DBCA-D918-4FDC659F76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5038254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40%</a:t>
              </a:r>
            </a:p>
          </p:txBody>
        </p:sp>
        <p:sp>
          <p:nvSpPr>
            <p:cNvPr id="114" name="Ellipse_6_20%">
              <a:extLst>
                <a:ext uri="{FF2B5EF4-FFF2-40B4-BE49-F238E27FC236}">
                  <a16:creationId xmlns:a16="http://schemas.microsoft.com/office/drawing/2014/main" id="{D092B922-447D-E9C5-937B-94E66F3AF9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5217518"/>
              <a:ext cx="950503" cy="90000"/>
            </a:xfrm>
            <a:prstGeom prst="roundRect">
              <a:avLst/>
            </a:prstGeom>
            <a:solidFill>
              <a:srgbClr val="F5CC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15" name="Ellipse_6_20%">
              <a:extLst>
                <a:ext uri="{FF2B5EF4-FFF2-40B4-BE49-F238E27FC236}">
                  <a16:creationId xmlns:a16="http://schemas.microsoft.com/office/drawing/2014/main" id="{66385D16-30BC-2B24-6226-12A158DB13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5193268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20%</a:t>
              </a:r>
            </a:p>
          </p:txBody>
        </p:sp>
        <p:sp>
          <p:nvSpPr>
            <p:cNvPr id="116" name="Ellipse_6_15%">
              <a:extLst>
                <a:ext uri="{FF2B5EF4-FFF2-40B4-BE49-F238E27FC236}">
                  <a16:creationId xmlns:a16="http://schemas.microsoft.com/office/drawing/2014/main" id="{EB75F65E-527B-63B8-CCBC-E0940193CA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5349263"/>
              <a:ext cx="950503" cy="72000"/>
            </a:xfrm>
            <a:prstGeom prst="roundRect">
              <a:avLst/>
            </a:prstGeom>
            <a:solidFill>
              <a:srgbClr val="F8D9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17" name="15%">
              <a:extLst>
                <a:ext uri="{FF2B5EF4-FFF2-40B4-BE49-F238E27FC236}">
                  <a16:creationId xmlns:a16="http://schemas.microsoft.com/office/drawing/2014/main" id="{0339A27D-6A89-8DFE-E371-6AE8AF0C7F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5316013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15%</a:t>
              </a:r>
            </a:p>
          </p:txBody>
        </p:sp>
        <p:sp>
          <p:nvSpPr>
            <p:cNvPr id="118" name="ORANGE">
              <a:extLst>
                <a:ext uri="{FF2B5EF4-FFF2-40B4-BE49-F238E27FC236}">
                  <a16:creationId xmlns:a16="http://schemas.microsoft.com/office/drawing/2014/main" id="{3951297A-BC7F-EAC7-96B5-F3B3845DC4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2453226" y="5575610"/>
              <a:ext cx="562655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GB" sz="1200" b="1" noProof="0"/>
                <a:t>Orange</a:t>
              </a:r>
            </a:p>
          </p:txBody>
        </p:sp>
        <p:sp>
          <p:nvSpPr>
            <p:cNvPr id="119" name="Ellipse_7_100%">
              <a:extLst>
                <a:ext uri="{FF2B5EF4-FFF2-40B4-BE49-F238E27FC236}">
                  <a16:creationId xmlns:a16="http://schemas.microsoft.com/office/drawing/2014/main" id="{6F0268EA-6025-B514-2E5D-06256BB297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5847079"/>
              <a:ext cx="950503" cy="209557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20" name="100%">
              <a:extLst>
                <a:ext uri="{FF2B5EF4-FFF2-40B4-BE49-F238E27FC236}">
                  <a16:creationId xmlns:a16="http://schemas.microsoft.com/office/drawing/2014/main" id="{E94151DA-F953-99B6-683B-01C15F676C8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5910442"/>
              <a:ext cx="359073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100%</a:t>
              </a:r>
            </a:p>
          </p:txBody>
        </p:sp>
        <p:sp>
          <p:nvSpPr>
            <p:cNvPr id="121" name="Ellipse_7_80%">
              <a:extLst>
                <a:ext uri="{FF2B5EF4-FFF2-40B4-BE49-F238E27FC236}">
                  <a16:creationId xmlns:a16="http://schemas.microsoft.com/office/drawing/2014/main" id="{98D1C617-C550-A641-864A-D9FE6D7E239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6091541"/>
              <a:ext cx="950503" cy="180000"/>
            </a:xfrm>
            <a:prstGeom prst="roundRect">
              <a:avLst/>
            </a:prstGeom>
            <a:solidFill>
              <a:srgbClr val="F297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22" name="80%">
              <a:extLst>
                <a:ext uri="{FF2B5EF4-FFF2-40B4-BE49-F238E27FC236}">
                  <a16:creationId xmlns:a16="http://schemas.microsoft.com/office/drawing/2014/main" id="{211AFF3A-00C3-1364-423B-6B8AD5908F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6125347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80%</a:t>
              </a:r>
            </a:p>
          </p:txBody>
        </p:sp>
        <p:sp>
          <p:nvSpPr>
            <p:cNvPr id="123" name="Ellipse_7_60%">
              <a:extLst>
                <a:ext uri="{FF2B5EF4-FFF2-40B4-BE49-F238E27FC236}">
                  <a16:creationId xmlns:a16="http://schemas.microsoft.com/office/drawing/2014/main" id="{C2041C30-F741-77C0-B3A0-F9BBEBE8FC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6306446"/>
              <a:ext cx="950503" cy="144000"/>
            </a:xfrm>
            <a:prstGeom prst="roundRect">
              <a:avLst/>
            </a:prstGeom>
            <a:solidFill>
              <a:srgbClr val="F5B1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24" name="60%">
              <a:extLst>
                <a:ext uri="{FF2B5EF4-FFF2-40B4-BE49-F238E27FC236}">
                  <a16:creationId xmlns:a16="http://schemas.microsoft.com/office/drawing/2014/main" id="{CE9E2977-A256-2071-0665-A907EF8304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6304252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60%</a:t>
              </a:r>
            </a:p>
          </p:txBody>
        </p:sp>
        <p:sp>
          <p:nvSpPr>
            <p:cNvPr id="125" name="Ellipse_7_40%">
              <a:extLst>
                <a:ext uri="{FF2B5EF4-FFF2-40B4-BE49-F238E27FC236}">
                  <a16:creationId xmlns:a16="http://schemas.microsoft.com/office/drawing/2014/main" id="{71C3900D-B7DA-E513-25C4-8D79B0B631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6485351"/>
              <a:ext cx="950503" cy="108000"/>
            </a:xfrm>
            <a:prstGeom prst="roundRect">
              <a:avLst/>
            </a:prstGeom>
            <a:solidFill>
              <a:srgbClr val="F9CB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26" name="40%">
              <a:extLst>
                <a:ext uri="{FF2B5EF4-FFF2-40B4-BE49-F238E27FC236}">
                  <a16:creationId xmlns:a16="http://schemas.microsoft.com/office/drawing/2014/main" id="{6D573B38-4856-0BB7-D52E-B3C74B2733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6447157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40%</a:t>
              </a:r>
            </a:p>
          </p:txBody>
        </p:sp>
        <p:sp>
          <p:nvSpPr>
            <p:cNvPr id="127" name="Ellipse_7_20%">
              <a:extLst>
                <a:ext uri="{FF2B5EF4-FFF2-40B4-BE49-F238E27FC236}">
                  <a16:creationId xmlns:a16="http://schemas.microsoft.com/office/drawing/2014/main" id="{F213BCD4-23EA-E5AC-9EF8-A6DC12D2EB6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6626421"/>
              <a:ext cx="950503" cy="90000"/>
            </a:xfrm>
            <a:prstGeom prst="roundRect">
              <a:avLst/>
            </a:prstGeom>
            <a:solidFill>
              <a:srgbClr val="FCE5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28" name="20%">
              <a:extLst>
                <a:ext uri="{FF2B5EF4-FFF2-40B4-BE49-F238E27FC236}">
                  <a16:creationId xmlns:a16="http://schemas.microsoft.com/office/drawing/2014/main" id="{12BCFAB3-8C60-DD4D-AD2E-F293225646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6602171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20%</a:t>
              </a:r>
            </a:p>
          </p:txBody>
        </p:sp>
        <p:sp>
          <p:nvSpPr>
            <p:cNvPr id="129" name="Ellipse_7_15%">
              <a:extLst>
                <a:ext uri="{FF2B5EF4-FFF2-40B4-BE49-F238E27FC236}">
                  <a16:creationId xmlns:a16="http://schemas.microsoft.com/office/drawing/2014/main" id="{49C78F10-0B04-21FF-9148-8C6BE4C628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12453226" y="6758166"/>
              <a:ext cx="950503" cy="72000"/>
            </a:xfrm>
            <a:prstGeom prst="roundRect">
              <a:avLst/>
            </a:prstGeom>
            <a:solidFill>
              <a:srgbClr val="FDF2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fr-FR" b="1" i="0">
                <a:latin typeface="Tahoma" panose="020B0604030504040204" pitchFamily="34" charset="0"/>
              </a:endParaRPr>
            </a:p>
          </p:txBody>
        </p:sp>
        <p:sp>
          <p:nvSpPr>
            <p:cNvPr id="130" name="15%">
              <a:extLst>
                <a:ext uri="{FF2B5EF4-FFF2-40B4-BE49-F238E27FC236}">
                  <a16:creationId xmlns:a16="http://schemas.microsoft.com/office/drawing/2014/main" id="{DE271F65-10DC-D67E-0B1C-511D708DC6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 userDrawn="1"/>
          </p:nvSpPr>
          <p:spPr>
            <a:xfrm>
              <a:off x="13473209" y="6724916"/>
              <a:ext cx="28533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fr-FR" sz="900" b="1"/>
                <a:t>15%</a:t>
              </a:r>
            </a:p>
          </p:txBody>
        </p:sp>
      </p:grpSp>
      <p:pic>
        <p:nvPicPr>
          <p:cNvPr id="3" name="Grafik 2" descr="Ein Bild, das Grafiken, Screenshot, Schrift, Grafikdesign enthält.&#10;&#10;Automatisch generierte Beschreibung">
            <a:extLst>
              <a:ext uri="{FF2B5EF4-FFF2-40B4-BE49-F238E27FC236}">
                <a16:creationId xmlns:a16="http://schemas.microsoft.com/office/drawing/2014/main" id="{B50EABA8-EDC0-AC45-E09F-E1868FE95038}"/>
              </a:ext>
            </a:extLst>
          </p:cNvPr>
          <p:cNvPicPr>
            <a:picLocks noChangeAspect="1"/>
          </p:cNvPicPr>
          <p:nvPr userDrawn="1"/>
        </p:nvPicPr>
        <p:blipFill>
          <a:blip r:embed="rId69"/>
          <a:stretch>
            <a:fillRect/>
          </a:stretch>
        </p:blipFill>
        <p:spPr>
          <a:xfrm>
            <a:off x="9956050" y="6151629"/>
            <a:ext cx="1761016" cy="5285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962051E-F140-357A-A297-6C0C17A626D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30288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900">
                <a:solidFill>
                  <a:srgbClr val="CF022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2 - Restricted use </a:t>
            </a:r>
          </a:p>
        </p:txBody>
      </p:sp>
    </p:spTree>
    <p:extLst>
      <p:ext uri="{BB962C8B-B14F-4D97-AF65-F5344CB8AC3E}">
        <p14:creationId xmlns:p14="http://schemas.microsoft.com/office/powerpoint/2010/main" val="1861472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59" r:id="rId17"/>
    <p:sldLayoutId id="2147483960" r:id="rId18"/>
    <p:sldLayoutId id="2147483961" r:id="rId19"/>
    <p:sldLayoutId id="2147483962" r:id="rId20"/>
    <p:sldLayoutId id="2147483963" r:id="rId21"/>
    <p:sldLayoutId id="2147483964" r:id="rId22"/>
    <p:sldLayoutId id="2147483965" r:id="rId23"/>
    <p:sldLayoutId id="2147483966" r:id="rId24"/>
    <p:sldLayoutId id="2147483967" r:id="rId25"/>
    <p:sldLayoutId id="2147483968" r:id="rId26"/>
    <p:sldLayoutId id="2147483969" r:id="rId27"/>
    <p:sldLayoutId id="2147483970" r:id="rId28"/>
    <p:sldLayoutId id="2147483971" r:id="rId29"/>
    <p:sldLayoutId id="2147483972" r:id="rId30"/>
    <p:sldLayoutId id="2147483973" r:id="rId31"/>
    <p:sldLayoutId id="2147483974" r:id="rId32"/>
    <p:sldLayoutId id="2147483975" r:id="rId33"/>
    <p:sldLayoutId id="2147483976" r:id="rId34"/>
    <p:sldLayoutId id="2147483977" r:id="rId35"/>
    <p:sldLayoutId id="2147483978" r:id="rId36"/>
    <p:sldLayoutId id="2147483979" r:id="rId37"/>
    <p:sldLayoutId id="2147483980" r:id="rId38"/>
    <p:sldLayoutId id="2147483981" r:id="rId39"/>
    <p:sldLayoutId id="2147483982" r:id="rId40"/>
    <p:sldLayoutId id="2147483983" r:id="rId41"/>
    <p:sldLayoutId id="2147483984" r:id="rId42"/>
    <p:sldLayoutId id="2147483985" r:id="rId43"/>
    <p:sldLayoutId id="2147483986" r:id="rId44"/>
    <p:sldLayoutId id="2147483987" r:id="rId45"/>
    <p:sldLayoutId id="2147483988" r:id="rId46"/>
    <p:sldLayoutId id="2147483989" r:id="rId47"/>
    <p:sldLayoutId id="2147483990" r:id="rId48"/>
    <p:sldLayoutId id="2147483991" r:id="rId49"/>
    <p:sldLayoutId id="2147483992" r:id="rId50"/>
    <p:sldLayoutId id="2147483993" r:id="rId51"/>
    <p:sldLayoutId id="2147483994" r:id="rId52"/>
    <p:sldLayoutId id="2147483995" r:id="rId53"/>
    <p:sldLayoutId id="2147483996" r:id="rId54"/>
    <p:sldLayoutId id="2147483997" r:id="rId55"/>
    <p:sldLayoutId id="2147483998" r:id="rId56"/>
    <p:sldLayoutId id="2147483999" r:id="rId57"/>
    <p:sldLayoutId id="2147484000" r:id="rId58"/>
    <p:sldLayoutId id="2147484001" r:id="rId59"/>
    <p:sldLayoutId id="2147484008" r:id="rId60"/>
    <p:sldLayoutId id="2147484009" r:id="rId61"/>
    <p:sldLayoutId id="2147484010" r:id="rId62"/>
    <p:sldLayoutId id="2147484011" r:id="rId63"/>
    <p:sldLayoutId id="2147484012" r:id="rId64"/>
    <p:sldLayoutId id="2147484059" r:id="rId65"/>
    <p:sldLayoutId id="2147484060" r:id="rId66"/>
    <p:sldLayoutId id="2147484061" r:id="rId6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400" b="0" i="0" kern="1200">
          <a:solidFill>
            <a:srgbClr val="2A1449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fr-FR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285750" algn="l" defTabSz="914400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Clr>
          <a:schemeClr val="tx1"/>
        </a:buClr>
        <a:buFont typeface="Arial" panose="020B0604020202020204" pitchFamily="34" charset="0"/>
        <a:buChar char="•"/>
        <a:defRPr lang="fr-FR" sz="14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85750" algn="l" defTabSz="261938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Clr>
          <a:schemeClr val="tx1"/>
        </a:buClr>
        <a:buFont typeface="Arial" panose="020B0604020202020204" pitchFamily="34" charset="0"/>
        <a:buChar char="•"/>
        <a:tabLst>
          <a:tab pos="2601913" algn="l"/>
        </a:tabLst>
        <a:defRPr lang="fr-FR" sz="12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1450" indent="-1714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lang="fr-FR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432">
          <p15:clr>
            <a:srgbClr val="F26B43"/>
          </p15:clr>
        </p15:guide>
        <p15:guide id="4" pos="347">
          <p15:clr>
            <a:srgbClr val="F26B43"/>
          </p15:clr>
        </p15:guide>
        <p15:guide id="8" orient="horz" pos="1026">
          <p15:clr>
            <a:srgbClr val="F26B43"/>
          </p15:clr>
        </p15:guide>
        <p15:guide id="10" orient="horz" pos="4088">
          <p15:clr>
            <a:srgbClr val="F26B43"/>
          </p15:clr>
        </p15:guide>
        <p15:guide id="12" orient="horz" pos="595">
          <p15:clr>
            <a:srgbClr val="F26B43"/>
          </p15:clr>
        </p15:guide>
        <p15:guide id="13" orient="horz" pos="3838">
          <p15:clr>
            <a:srgbClr val="F26B43"/>
          </p15:clr>
        </p15:guide>
        <p15:guide id="14" orient="horz" pos="255">
          <p15:clr>
            <a:srgbClr val="F26B43"/>
          </p15:clr>
        </p15:guide>
        <p15:guide id="15" pos="3840">
          <p15:clr>
            <a:srgbClr val="F26B43"/>
          </p15:clr>
        </p15:guide>
        <p15:guide id="16" pos="2094">
          <p15:clr>
            <a:srgbClr val="F26B43"/>
          </p15:clr>
        </p15:guide>
        <p15:guide id="17" pos="5586">
          <p15:clr>
            <a:srgbClr val="F26B43"/>
          </p15:clr>
        </p15:guide>
        <p15:guide id="18" orient="horz" pos="3135">
          <p15:clr>
            <a:srgbClr val="F26B43"/>
          </p15:clr>
        </p15:guide>
        <p15:guide id="19" orient="horz" pos="172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6.xml"/></Relationships>
</file>

<file path=ppt/slides/_rels/slide24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2A4_E18715B1.xml"/><Relationship Id="rId1" Type="http://schemas.openxmlformats.org/officeDocument/2006/relationships/slideLayout" Target="../slideLayouts/slideLayout6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hyperlink" Target="https://chrome.google.com/webstore/detail/react-developer-tools/fmkadmapgofadopljbjfkapdkoienihi?hl=en" TargetMode="External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6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6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6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6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6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code.visualstudio.com/download" TargetMode="External"/><Relationship Id="rId3" Type="http://schemas.openxmlformats.org/officeDocument/2006/relationships/image" Target="../media/image42.png"/><Relationship Id="rId7" Type="http://schemas.openxmlformats.org/officeDocument/2006/relationships/hyperlink" Target="https://nodejs.org/en/download/" TargetMode="Externa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Relationship Id="rId9" Type="http://schemas.openxmlformats.org/officeDocument/2006/relationships/hyperlink" Target="https://marketplace.visualstudio.com/items?itemName=nrwl.angular-console" TargetMode="Externa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47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6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6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66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66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6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6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6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66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hyperlink" Target="https://chrome.google.com/webstore/detail/redux-devtools/lmhkpmbekcpmknklioeibfkpmmfibljd" TargetMode="External"/><Relationship Id="rId1" Type="http://schemas.openxmlformats.org/officeDocument/2006/relationships/slideLayout" Target="../slideLayouts/slideLayout66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id="{04F2DAFD-36F3-AEAD-1E62-7A369914C16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React Bootcamp</a:t>
            </a:r>
          </a:p>
        </p:txBody>
      </p:sp>
      <p:sp>
        <p:nvSpPr>
          <p:cNvPr id="15" name="Untertitel 14">
            <a:extLst>
              <a:ext uri="{FF2B5EF4-FFF2-40B4-BE49-F238E27FC236}">
                <a16:creationId xmlns:a16="http://schemas.microsoft.com/office/drawing/2014/main" id="{F1AFA65F-E77D-C5A0-8015-0409176CB2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Alexander </a:t>
            </a:r>
            <a:r>
              <a:rPr lang="de-DE" dirty="0" err="1"/>
              <a:t>Kucksdorf</a:t>
            </a:r>
            <a:r>
              <a:rPr lang="de-DE" dirty="0"/>
              <a:t>, Michel Frenken &amp; Christian Noll</a:t>
            </a:r>
          </a:p>
        </p:txBody>
      </p:sp>
    </p:spTree>
    <p:extLst>
      <p:ext uri="{BB962C8B-B14F-4D97-AF65-F5344CB8AC3E}">
        <p14:creationId xmlns:p14="http://schemas.microsoft.com/office/powerpoint/2010/main" val="610830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A3BE5C8-A435-5345-A2F8-1BE32D778579}"/>
              </a:ext>
            </a:extLst>
          </p:cNvPr>
          <p:cNvSpPr txBox="1"/>
          <p:nvPr/>
        </p:nvSpPr>
        <p:spPr>
          <a:xfrm>
            <a:off x="12430125" y="-13716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3"/>
              </a:buBlip>
            </a:pPr>
            <a:endParaRPr lang="en-DE" sz="160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B27510C-5457-E142-A32C-C0DBBA4E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Everywhere Components</a:t>
            </a:r>
          </a:p>
          <a:p>
            <a:pPr lvl="1"/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6EC52E3-FD87-FC46-BE0B-0254F30955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246" y="1484784"/>
            <a:ext cx="8365129" cy="54006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E247717A-3404-C23F-14F6-FC0DA03D6126}"/>
              </a:ext>
            </a:extLst>
          </p:cNvPr>
          <p:cNvGrpSpPr/>
          <p:nvPr/>
        </p:nvGrpSpPr>
        <p:grpSpPr>
          <a:xfrm>
            <a:off x="8616280" y="2276872"/>
            <a:ext cx="3418815" cy="3744416"/>
            <a:chOff x="8616280" y="2276872"/>
            <a:chExt cx="3418815" cy="3744416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B35F3C8B-D748-CA43-8CBB-AB00947B2A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143" t="53609" r="59857" b="12462"/>
            <a:stretch/>
          </p:blipFill>
          <p:spPr>
            <a:xfrm>
              <a:off x="8616280" y="2276872"/>
              <a:ext cx="3418815" cy="3744416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998DD71-D91F-FA49-B475-CE05EEB08A03}"/>
                </a:ext>
              </a:extLst>
            </p:cNvPr>
            <p:cNvSpPr/>
            <p:nvPr/>
          </p:nvSpPr>
          <p:spPr>
            <a:xfrm>
              <a:off x="8866742" y="2492896"/>
              <a:ext cx="2880320" cy="61206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7C88415-10C6-3D46-AD78-177E280709B1}"/>
                </a:ext>
              </a:extLst>
            </p:cNvPr>
            <p:cNvSpPr/>
            <p:nvPr/>
          </p:nvSpPr>
          <p:spPr>
            <a:xfrm>
              <a:off x="8866742" y="3212976"/>
              <a:ext cx="2880320" cy="2088232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ACB85DC-5099-FA45-B429-F039EBE23980}"/>
                </a:ext>
              </a:extLst>
            </p:cNvPr>
            <p:cNvSpPr/>
            <p:nvPr/>
          </p:nvSpPr>
          <p:spPr>
            <a:xfrm>
              <a:off x="8794734" y="5373216"/>
              <a:ext cx="3024336" cy="504056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A0DC116-37AC-F742-AC83-314B49117B0A}"/>
                </a:ext>
              </a:extLst>
            </p:cNvPr>
            <p:cNvSpPr/>
            <p:nvPr/>
          </p:nvSpPr>
          <p:spPr>
            <a:xfrm>
              <a:off x="8722726" y="2348880"/>
              <a:ext cx="3168352" cy="36004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DF37ACF-3641-DE4E-8D30-D7F6AC8937CA}"/>
                </a:ext>
              </a:extLst>
            </p:cNvPr>
            <p:cNvSpPr/>
            <p:nvPr/>
          </p:nvSpPr>
          <p:spPr>
            <a:xfrm>
              <a:off x="8846203" y="5445224"/>
              <a:ext cx="380579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907DA12-0E92-D943-8978-1BF2F99536F8}"/>
                </a:ext>
              </a:extLst>
            </p:cNvPr>
            <p:cNvSpPr/>
            <p:nvPr/>
          </p:nvSpPr>
          <p:spPr>
            <a:xfrm>
              <a:off x="9373862" y="5445193"/>
              <a:ext cx="380579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BEE8E25-AFB8-3049-88B0-9864799B6B6D}"/>
                </a:ext>
              </a:extLst>
            </p:cNvPr>
            <p:cNvSpPr/>
            <p:nvPr/>
          </p:nvSpPr>
          <p:spPr>
            <a:xfrm>
              <a:off x="9901521" y="5427222"/>
              <a:ext cx="380579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07BFA2C-D56E-F74B-BE64-2F46C19CAB76}"/>
                </a:ext>
              </a:extLst>
            </p:cNvPr>
            <p:cNvSpPr/>
            <p:nvPr/>
          </p:nvSpPr>
          <p:spPr>
            <a:xfrm>
              <a:off x="10479716" y="5432446"/>
              <a:ext cx="380579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1D3D118-0B19-624F-AE50-5BF7AE5E8ACF}"/>
                </a:ext>
              </a:extLst>
            </p:cNvPr>
            <p:cNvSpPr/>
            <p:nvPr/>
          </p:nvSpPr>
          <p:spPr>
            <a:xfrm>
              <a:off x="10959103" y="5427222"/>
              <a:ext cx="380579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BC86F38-A6C9-FB4B-95FE-8C06E8347896}"/>
                </a:ext>
              </a:extLst>
            </p:cNvPr>
            <p:cNvSpPr/>
            <p:nvPr/>
          </p:nvSpPr>
          <p:spPr>
            <a:xfrm>
              <a:off x="8909947" y="4437112"/>
              <a:ext cx="316835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7E86B5C-5748-E048-A35E-7C782ECF3065}"/>
                </a:ext>
              </a:extLst>
            </p:cNvPr>
            <p:cNvSpPr/>
            <p:nvPr/>
          </p:nvSpPr>
          <p:spPr>
            <a:xfrm>
              <a:off x="8909946" y="3842750"/>
              <a:ext cx="316835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D024F1D-D9F7-BC47-9EF1-C9A57B13D6E3}"/>
                </a:ext>
              </a:extLst>
            </p:cNvPr>
            <p:cNvSpPr/>
            <p:nvPr/>
          </p:nvSpPr>
          <p:spPr>
            <a:xfrm>
              <a:off x="8909946" y="3248980"/>
              <a:ext cx="316835" cy="396044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E983AD50-6A79-C79A-29D2-4C49323B2357}"/>
                </a:ext>
              </a:extLst>
            </p:cNvPr>
            <p:cNvSpPr/>
            <p:nvPr/>
          </p:nvSpPr>
          <p:spPr>
            <a:xfrm>
              <a:off x="9282188" y="3266982"/>
              <a:ext cx="2358428" cy="57576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FE0EEE1-7A4A-6DB5-8FA1-8D734672D79D}"/>
                </a:ext>
              </a:extLst>
            </p:cNvPr>
            <p:cNvSpPr/>
            <p:nvPr/>
          </p:nvSpPr>
          <p:spPr>
            <a:xfrm>
              <a:off x="9282188" y="3896756"/>
              <a:ext cx="2358428" cy="57576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4D0BAD7-DC45-2BA5-E5BA-1A04A6B0333C}"/>
                </a:ext>
              </a:extLst>
            </p:cNvPr>
            <p:cNvSpPr/>
            <p:nvPr/>
          </p:nvSpPr>
          <p:spPr>
            <a:xfrm>
              <a:off x="9271283" y="4526530"/>
              <a:ext cx="2358428" cy="702670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2637910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837A3D7-FA9C-9C48-A456-2AF297996D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Let’s jump right in</a:t>
            </a:r>
            <a:endParaRPr lang="de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09196C-BDAB-3847-8198-DFD9BB0F90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72" b="30973"/>
          <a:stretch/>
        </p:blipFill>
        <p:spPr>
          <a:xfrm>
            <a:off x="0" y="1128159"/>
            <a:ext cx="12183362" cy="5760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9171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Create React App</a:t>
            </a: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A427DE-F598-8940-B0CC-410238B15675}"/>
              </a:ext>
            </a:extLst>
          </p:cNvPr>
          <p:cNvSpPr txBox="1"/>
          <p:nvPr/>
        </p:nvSpPr>
        <p:spPr>
          <a:xfrm>
            <a:off x="1146176" y="2322913"/>
            <a:ext cx="9903811" cy="756207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x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create-react-app react-training-app --template typescrip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26C150-032E-B14F-9F6E-18E5504557F0}"/>
              </a:ext>
            </a:extLst>
          </p:cNvPr>
          <p:cNvSpPr txBox="1"/>
          <p:nvPr/>
        </p:nvSpPr>
        <p:spPr>
          <a:xfrm>
            <a:off x="1146176" y="4582348"/>
            <a:ext cx="4951907" cy="108012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cd react-training-app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m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i</a:t>
            </a:r>
            <a:endParaRPr lang="en-GB" sz="20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m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start</a:t>
            </a:r>
          </a:p>
          <a:p>
            <a:endParaRPr lang="en-GB" sz="2000" dirty="0">
              <a:solidFill>
                <a:srgbClr val="ABB2BF"/>
              </a:solidFill>
              <a:latin typeface="Fira Code" panose="020B0809050000020004" pitchFamily="49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40B2A58-0D76-AA4F-A96A-642BD83AC3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87" b="6121"/>
          <a:stretch/>
        </p:blipFill>
        <p:spPr>
          <a:xfrm>
            <a:off x="6888088" y="3786845"/>
            <a:ext cx="3791276" cy="267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146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Folder </a:t>
            </a:r>
            <a:r>
              <a:rPr lang="en-US" dirty="0"/>
              <a:t>Stru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68A099-E8DC-014E-8D15-B3BAF64C6D29}"/>
              </a:ext>
            </a:extLst>
          </p:cNvPr>
          <p:cNvSpPr txBox="1"/>
          <p:nvPr/>
        </p:nvSpPr>
        <p:spPr>
          <a:xfrm>
            <a:off x="11322" y="1484785"/>
            <a:ext cx="12349373" cy="5373215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-training-app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de_modules</a:t>
            </a:r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ckage.json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sconfig.json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public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dex.html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vicon.ico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.css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.tsx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.test.tsx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dex.css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dex.tsx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o.svg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b="1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b="1" dirty="0">
                <a:solidFill>
                  <a:srgbClr val="7A889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s/</a:t>
            </a:r>
            <a:endParaRPr lang="en-US" dirty="0">
              <a:solidFill>
                <a:srgbClr val="880000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b="1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b="1" dirty="0">
                <a:solidFill>
                  <a:srgbClr val="7A889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els/</a:t>
            </a:r>
            <a:r>
              <a:rPr lang="en-US" dirty="0">
                <a:solidFill>
                  <a:srgbClr val="88000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8219C814-C72C-834A-8562-0509FE21AF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8088153"/>
              </p:ext>
            </p:extLst>
          </p:nvPr>
        </p:nvGraphicFramePr>
        <p:xfrm>
          <a:off x="3725260" y="2348630"/>
          <a:ext cx="8128000" cy="360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7089">
                  <a:extLst>
                    <a:ext uri="{9D8B030D-6E8A-4147-A177-3AD203B41FA5}">
                      <a16:colId xmlns:a16="http://schemas.microsoft.com/office/drawing/2014/main" val="703259332"/>
                    </a:ext>
                  </a:extLst>
                </a:gridCol>
                <a:gridCol w="6160911">
                  <a:extLst>
                    <a:ext uri="{9D8B030D-6E8A-4147-A177-3AD203B41FA5}">
                      <a16:colId xmlns:a16="http://schemas.microsoft.com/office/drawing/2014/main" val="3889091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1"/>
                          </a:solidFill>
                        </a:rPr>
                        <a:t>node_modules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/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All dependenc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7519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package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Project information and dependenc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6627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tsconfig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>
                          <a:solidFill>
                            <a:schemeClr val="bg1"/>
                          </a:solidFill>
                        </a:rPr>
                        <a:t>Typescript compiler configuration</a:t>
                      </a:r>
                      <a:endParaRPr lang="en-US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0003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index.html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Entry point for the brows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30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App.tsx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Root Componen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1096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index.cs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Global styl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3015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index.tsx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bg1"/>
                          </a:solidFill>
                        </a:rPr>
                        <a:t>Bootstraps the application (render root component)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4271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mponents/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Directory for componen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314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odels/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Directory for data models (interfaces only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805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81466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Scrip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26FC83-349D-5F42-A23C-5CAA38BB30A7}"/>
              </a:ext>
            </a:extLst>
          </p:cNvPr>
          <p:cNvSpPr txBox="1"/>
          <p:nvPr/>
        </p:nvSpPr>
        <p:spPr>
          <a:xfrm>
            <a:off x="3060018" y="2651057"/>
            <a:ext cx="6071964" cy="1964767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"scripts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: {</a:t>
            </a:r>
          </a:p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  "start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: </a:t>
            </a:r>
            <a:r>
              <a:rPr lang="en-GB" dirty="0">
                <a:solidFill>
                  <a:srgbClr val="98C379"/>
                </a:solidFill>
                <a:latin typeface="Fira Code" panose="020B0809050000020004" pitchFamily="49" charset="0"/>
              </a:rPr>
              <a:t>"react-scripts start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,</a:t>
            </a:r>
          </a:p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  "build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: </a:t>
            </a:r>
            <a:r>
              <a:rPr lang="en-GB" dirty="0">
                <a:solidFill>
                  <a:srgbClr val="98C379"/>
                </a:solidFill>
                <a:latin typeface="Fira Code" panose="020B0809050000020004" pitchFamily="49" charset="0"/>
              </a:rPr>
              <a:t>"react-scripts build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,</a:t>
            </a:r>
          </a:p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  "test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: </a:t>
            </a:r>
            <a:r>
              <a:rPr lang="en-GB" dirty="0">
                <a:solidFill>
                  <a:srgbClr val="98C379"/>
                </a:solidFill>
                <a:latin typeface="Fira Code" panose="020B0809050000020004" pitchFamily="49" charset="0"/>
              </a:rPr>
              <a:t>"react-scripts test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,</a:t>
            </a:r>
          </a:p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  "eject"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: </a:t>
            </a:r>
            <a:r>
              <a:rPr lang="en-GB" dirty="0">
                <a:solidFill>
                  <a:srgbClr val="98C379"/>
                </a:solidFill>
                <a:latin typeface="Fira Code" panose="020B0809050000020004" pitchFamily="49" charset="0"/>
              </a:rPr>
              <a:t>"react-scripts eject"</a:t>
            </a:r>
            <a:endParaRPr lang="en-GB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},</a:t>
            </a:r>
          </a:p>
          <a:p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E019E5-062D-F84A-B243-F17E22EC9387}"/>
              </a:ext>
            </a:extLst>
          </p:cNvPr>
          <p:cNvSpPr txBox="1"/>
          <p:nvPr/>
        </p:nvSpPr>
        <p:spPr>
          <a:xfrm>
            <a:off x="2675620" y="6508540"/>
            <a:ext cx="6840760" cy="28803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https://</a:t>
            </a:r>
            <a:r>
              <a:rPr lang="en-GB" dirty="0" err="1">
                <a:solidFill>
                  <a:srgbClr val="E06C75"/>
                </a:solidFill>
                <a:latin typeface="Fira Code" panose="020B0809050000020004" pitchFamily="49" charset="0"/>
              </a:rPr>
              <a:t>www.npmjs.com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/package/react-app-rewired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94C22F1-F461-5141-B630-3371D83C40D3}"/>
              </a:ext>
            </a:extLst>
          </p:cNvPr>
          <p:cNvSpPr txBox="1"/>
          <p:nvPr/>
        </p:nvSpPr>
        <p:spPr>
          <a:xfrm>
            <a:off x="4655840" y="6109585"/>
            <a:ext cx="288032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dirty="0"/>
              <a:t>Override webpack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0252146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NX</a:t>
            </a: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A427DE-F598-8940-B0CC-410238B15675}"/>
              </a:ext>
            </a:extLst>
          </p:cNvPr>
          <p:cNvSpPr txBox="1"/>
          <p:nvPr/>
        </p:nvSpPr>
        <p:spPr>
          <a:xfrm>
            <a:off x="1797683" y="1812626"/>
            <a:ext cx="8596633" cy="341657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1600" b="1" dirty="0" err="1">
                <a:solidFill>
                  <a:srgbClr val="FFFFFF"/>
                </a:solidFill>
                <a:latin typeface="Fira Code" panose="020B0809050000020004" pitchFamily="49" charset="0"/>
              </a:rPr>
              <a:t>npx</a:t>
            </a:r>
            <a:r>
              <a:rPr lang="en-GB" sz="1600" b="1" dirty="0">
                <a:solidFill>
                  <a:srgbClr val="FFFFFF"/>
                </a:solidFill>
                <a:latin typeface="Fira Code" panose="020B0809050000020004" pitchFamily="49" charset="0"/>
              </a:rPr>
              <a:t> </a:t>
            </a:r>
            <a:r>
              <a:rPr lang="en-GB" sz="1600" b="1" dirty="0" err="1">
                <a:solidFill>
                  <a:srgbClr val="FFFFFF"/>
                </a:solidFill>
                <a:latin typeface="Fira Code" panose="020B0809050000020004" pitchFamily="49" charset="0"/>
              </a:rPr>
              <a:t>create-nx-workspace@latest</a:t>
            </a:r>
            <a:endParaRPr lang="en-GB" sz="1600" b="1" dirty="0">
              <a:solidFill>
                <a:srgbClr val="FFFFFF"/>
              </a:solidFill>
              <a:latin typeface="Fira Code" panose="020B0809050000020004" pitchFamily="49" charset="0"/>
            </a:endParaRPr>
          </a:p>
          <a:p>
            <a:endParaRPr lang="en-GB" sz="16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here would you like to create your workspace? · </a:t>
            </a:r>
            <a:r>
              <a:rPr lang="en-GB" sz="1600" b="1" dirty="0">
                <a:solidFill>
                  <a:srgbClr val="ABB2BF"/>
                </a:solidFill>
                <a:latin typeface="Fira Code" panose="020B0809050000020004" pitchFamily="49" charset="0"/>
              </a:rPr>
              <a:t>react-training-app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hich stack do you want to use? · </a:t>
            </a:r>
            <a:r>
              <a:rPr lang="en-GB" sz="1600" b="1" dirty="0">
                <a:solidFill>
                  <a:srgbClr val="ABB2BF"/>
                </a:solidFill>
                <a:latin typeface="Fira Code" panose="020B0809050000020004" pitchFamily="49" charset="0"/>
              </a:rPr>
              <a:t>react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hat framework would you like to use? · </a:t>
            </a:r>
            <a:r>
              <a:rPr lang="en-GB" sz="1600" b="1" dirty="0">
                <a:solidFill>
                  <a:srgbClr val="ABB2BF"/>
                </a:solidFill>
                <a:latin typeface="Fira Code" panose="020B0809050000020004" pitchFamily="49" charset="0"/>
              </a:rPr>
              <a:t>none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Application name · </a:t>
            </a:r>
            <a:r>
              <a:rPr lang="en-GB" sz="1600" b="1" dirty="0">
                <a:solidFill>
                  <a:srgbClr val="ABB2BF"/>
                </a:solidFill>
                <a:latin typeface="Fira Code" panose="020B0809050000020004" pitchFamily="49" charset="0"/>
              </a:rPr>
              <a:t>react-training-app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ould you like to use React Router for server-side rendering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	[https://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reactrouter.com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/]? · </a:t>
            </a:r>
            <a:r>
              <a:rPr lang="en-GB" sz="1600" b="1" dirty="0">
                <a:solidFill>
                  <a:srgbClr val="ABB2BF"/>
                </a:solidFill>
                <a:latin typeface="Fira Code" panose="020B0809050000020004" pitchFamily="49" charset="0"/>
              </a:rPr>
              <a:t>No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hich unit test runner would you like to use? · </a:t>
            </a:r>
            <a:r>
              <a:rPr lang="en-GB" sz="1600" b="1" dirty="0" err="1">
                <a:solidFill>
                  <a:srgbClr val="ABB2BF"/>
                </a:solidFill>
                <a:latin typeface="Fira Code" panose="020B0809050000020004" pitchFamily="49" charset="0"/>
              </a:rPr>
              <a:t>vitest</a:t>
            </a:r>
            <a:endParaRPr lang="en-GB" sz="1600" b="1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Test runner to use for end to end (E2E) tests · </a:t>
            </a:r>
            <a:r>
              <a:rPr lang="en-GB" sz="1600" b="1" dirty="0">
                <a:solidFill>
                  <a:srgbClr val="ABB2BF"/>
                </a:solidFill>
                <a:latin typeface="Fira Code" panose="020B0809050000020004" pitchFamily="49" charset="0"/>
              </a:rPr>
              <a:t>cypress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Default stylesheet format · </a:t>
            </a:r>
            <a:r>
              <a:rPr lang="en-GB" sz="1600" b="1" dirty="0" err="1">
                <a:solidFill>
                  <a:srgbClr val="ABB2BF"/>
                </a:solidFill>
                <a:latin typeface="Fira Code" panose="020B0809050000020004" pitchFamily="49" charset="0"/>
              </a:rPr>
              <a:t>css</a:t>
            </a:r>
            <a:endParaRPr lang="en-GB" sz="1600" b="1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ould you like to use 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ESLin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? · </a:t>
            </a:r>
            <a:r>
              <a:rPr lang="en-GB" sz="1600" b="1" dirty="0">
                <a:solidFill>
                  <a:srgbClr val="ABB2BF"/>
                </a:solidFill>
                <a:latin typeface="Fira Code" panose="020B0809050000020004" pitchFamily="49" charset="0"/>
              </a:rPr>
              <a:t>Yes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ould you like to use Prettier for code formatting? · </a:t>
            </a:r>
            <a:r>
              <a:rPr lang="en-GB" sz="1600" b="1" dirty="0">
                <a:solidFill>
                  <a:srgbClr val="ABB2BF"/>
                </a:solidFill>
                <a:latin typeface="Fira Code" panose="020B0809050000020004" pitchFamily="49" charset="0"/>
              </a:rPr>
              <a:t>Yes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✔ Which CI provider would you like to use? · </a:t>
            </a:r>
            <a:r>
              <a:rPr lang="en-GB" sz="1600" b="1" dirty="0" err="1">
                <a:solidFill>
                  <a:srgbClr val="ABB2BF"/>
                </a:solidFill>
                <a:latin typeface="Fira Code" panose="020B0809050000020004" pitchFamily="49" charset="0"/>
              </a:rPr>
              <a:t>github</a:t>
            </a:r>
            <a:endParaRPr lang="en-GB" sz="1600" b="1" dirty="0">
              <a:solidFill>
                <a:srgbClr val="ABB2BF"/>
              </a:solidFill>
              <a:latin typeface="Fira Code" panose="020B0809050000020004" pitchFamily="49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B45ECA-849B-A446-9A00-D2BBA5795E62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726C150-032E-B14F-9F6E-18E5504557F0}"/>
              </a:ext>
            </a:extLst>
          </p:cNvPr>
          <p:cNvSpPr txBox="1"/>
          <p:nvPr/>
        </p:nvSpPr>
        <p:spPr>
          <a:xfrm>
            <a:off x="1797683" y="5474686"/>
            <a:ext cx="4087808" cy="108012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cd react-training-app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m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start</a:t>
            </a:r>
          </a:p>
          <a:p>
            <a:endParaRPr lang="en-GB" sz="2000" dirty="0">
              <a:solidFill>
                <a:srgbClr val="ABB2BF"/>
              </a:solidFill>
              <a:latin typeface="Fira Code" panose="020B0809050000020004" pitchFamily="49" charset="0"/>
            </a:endParaRPr>
          </a:p>
        </p:txBody>
      </p:sp>
      <p:pic>
        <p:nvPicPr>
          <p:cNvPr id="4" name="Picture 3" descr="A blue and white card with a yellow hand and a white letter n&#10;&#10;Description automatically generated">
            <a:extLst>
              <a:ext uri="{FF2B5EF4-FFF2-40B4-BE49-F238E27FC236}">
                <a16:creationId xmlns:a16="http://schemas.microsoft.com/office/drawing/2014/main" id="{FCCF5A38-29D6-D5B8-05DB-CA8D3AA186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5373216"/>
            <a:ext cx="2609988" cy="1283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8099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Folder </a:t>
            </a:r>
            <a:r>
              <a:rPr lang="en-US" dirty="0"/>
              <a:t>Stru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68A099-E8DC-014E-8D15-B3BAF64C6D29}"/>
              </a:ext>
            </a:extLst>
          </p:cNvPr>
          <p:cNvSpPr txBox="1"/>
          <p:nvPr/>
        </p:nvSpPr>
        <p:spPr>
          <a:xfrm>
            <a:off x="11322" y="1484785"/>
            <a:ext cx="12349373" cy="5373215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-training-app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de_modules</a:t>
            </a:r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ckage.json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sconfig.json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dex.html</a:t>
            </a:r>
            <a:endParaRPr lang="en-US" dirty="0">
              <a:solidFill>
                <a:schemeClr val="bg1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in.tsx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vicon.ico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DE" dirty="0">
                <a:solidFill>
                  <a:schemeClr val="bg1"/>
                </a:solidFill>
                <a:latin typeface="Menlo" panose="020B0609030804020204" pitchFamily="49" charset="0"/>
                <a:cs typeface="Times New Roman" panose="02020603050405020304" pitchFamily="18" charset="0"/>
              </a:rPr>
              <a:t>    app/</a:t>
            </a:r>
            <a:endParaRPr lang="en-DE" sz="2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.tsx</a:t>
            </a:r>
            <a:endParaRPr lang="en-US" dirty="0">
              <a:solidFill>
                <a:schemeClr val="bg1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assets/</a:t>
            </a: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environments/</a:t>
            </a: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x.json</a:t>
            </a:r>
            <a:endParaRPr lang="en-US" dirty="0">
              <a:solidFill>
                <a:schemeClr val="bg1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ject.json</a:t>
            </a:r>
            <a:endParaRPr lang="en-US" dirty="0">
              <a:solidFill>
                <a:schemeClr val="bg1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solidFill>
                  <a:schemeClr val="bg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bpack.config.js</a:t>
            </a:r>
            <a:endParaRPr lang="en-US" dirty="0">
              <a:solidFill>
                <a:schemeClr val="bg1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8219C814-C72C-834A-8562-0509FE21AF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0628573"/>
              </p:ext>
            </p:extLst>
          </p:nvPr>
        </p:nvGraphicFramePr>
        <p:xfrm>
          <a:off x="3725260" y="2348630"/>
          <a:ext cx="8128000" cy="424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7089">
                  <a:extLst>
                    <a:ext uri="{9D8B030D-6E8A-4147-A177-3AD203B41FA5}">
                      <a16:colId xmlns:a16="http://schemas.microsoft.com/office/drawing/2014/main" val="703259332"/>
                    </a:ext>
                  </a:extLst>
                </a:gridCol>
                <a:gridCol w="6160911">
                  <a:extLst>
                    <a:ext uri="{9D8B030D-6E8A-4147-A177-3AD203B41FA5}">
                      <a16:colId xmlns:a16="http://schemas.microsoft.com/office/drawing/2014/main" val="3889091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bg1"/>
                          </a:solidFill>
                        </a:rPr>
                        <a:t>node_modules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/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All dependenc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7519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package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Project information and dependenci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6627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tsconfig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dirty="0">
                          <a:solidFill>
                            <a:schemeClr val="bg1"/>
                          </a:solidFill>
                        </a:rPr>
                        <a:t>Typescript compiler configuration</a:t>
                      </a:r>
                      <a:endParaRPr lang="en-US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0003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index.html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Entry point for the brows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30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app.tsx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Root Componen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1096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tyles.cs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Global styl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3015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main.tsx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bg1"/>
                          </a:solidFill>
                        </a:rPr>
                        <a:t>Bootstraps the application (render root component)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4271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nx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Workspace configur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314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project.json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Project configur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805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webpack.config.j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Webpack configur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30695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04548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Scrip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26FC83-349D-5F42-A23C-5CAA38BB30A7}"/>
              </a:ext>
            </a:extLst>
          </p:cNvPr>
          <p:cNvSpPr txBox="1"/>
          <p:nvPr/>
        </p:nvSpPr>
        <p:spPr>
          <a:xfrm>
            <a:off x="3060018" y="2651057"/>
            <a:ext cx="6071964" cy="1964767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"scripts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"start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nx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serve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"build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nx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build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"test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nx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test"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,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6804D0-3D7E-0236-646E-3FE0248EA403}"/>
              </a:ext>
            </a:extLst>
          </p:cNvPr>
          <p:cNvSpPr txBox="1"/>
          <p:nvPr/>
        </p:nvSpPr>
        <p:spPr>
          <a:xfrm>
            <a:off x="692508" y="5085184"/>
            <a:ext cx="10806983" cy="144016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npx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nx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generate @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nx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/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react:component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--name=an-example --directory=app/components --export=false</a:t>
            </a:r>
          </a:p>
          <a:p>
            <a:endParaRPr lang="en-GB" sz="14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In VS Code</a:t>
            </a:r>
          </a:p>
          <a:p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Cmd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/Ctrl + Shift + P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NX: generate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component</a:t>
            </a:r>
          </a:p>
          <a:p>
            <a:endParaRPr lang="en-GB" sz="1400" dirty="0">
              <a:solidFill>
                <a:srgbClr val="ABB2BF"/>
              </a:solidFill>
              <a:latin typeface="Fira Code" panose="020B08090500000200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40171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First </a:t>
            </a:r>
            <a:r>
              <a:rPr lang="en-US" dirty="0"/>
              <a:t>look</a:t>
            </a:r>
            <a:r>
              <a:rPr lang="de-DE" dirty="0"/>
              <a:t> at JSX (</a:t>
            </a:r>
            <a:r>
              <a:rPr lang="de-DE" b="1" dirty="0"/>
              <a:t>J</a:t>
            </a:r>
            <a:r>
              <a:rPr lang="de-DE" dirty="0"/>
              <a:t>ava</a:t>
            </a:r>
            <a:r>
              <a:rPr lang="de-DE" b="1" dirty="0"/>
              <a:t>S</a:t>
            </a:r>
            <a:r>
              <a:rPr lang="de-DE" dirty="0"/>
              <a:t>cript </a:t>
            </a:r>
            <a:r>
              <a:rPr lang="de-DE" dirty="0" err="1"/>
              <a:t>e</a:t>
            </a:r>
            <a:r>
              <a:rPr lang="de-DE" b="1" dirty="0" err="1"/>
              <a:t>X</a:t>
            </a:r>
            <a:r>
              <a:rPr lang="de-DE" dirty="0" err="1"/>
              <a:t>tension</a:t>
            </a:r>
            <a:r>
              <a:rPr lang="de-DE" dirty="0"/>
              <a:t>)</a:t>
            </a:r>
            <a:endParaRPr lang="en-GB" dirty="0"/>
          </a:p>
          <a:p>
            <a:pPr lvl="1"/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CD6B4-9DBC-3245-B8D7-E446760D18E7}"/>
              </a:ext>
            </a:extLst>
          </p:cNvPr>
          <p:cNvSpPr txBox="1"/>
          <p:nvPr/>
        </p:nvSpPr>
        <p:spPr>
          <a:xfrm>
            <a:off x="2877795" y="2636912"/>
            <a:ext cx="6436409" cy="266429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2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Hello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2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2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2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31D827-2F5B-184E-82E9-BC7B1FF68988}"/>
              </a:ext>
            </a:extLst>
          </p:cNvPr>
          <p:cNvSpPr txBox="1"/>
          <p:nvPr/>
        </p:nvSpPr>
        <p:spPr>
          <a:xfrm>
            <a:off x="3480047" y="5733256"/>
            <a:ext cx="5231904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b="1" dirty="0"/>
              <a:t>JavaScript </a:t>
            </a:r>
            <a:r>
              <a:rPr lang="en-US" sz="1600" i="1" dirty="0"/>
              <a:t>inside</a:t>
            </a:r>
            <a:r>
              <a:rPr lang="en-US" sz="1600" b="1" dirty="0"/>
              <a:t> HTML </a:t>
            </a:r>
            <a:r>
              <a:rPr lang="en-US" sz="1600" i="1" dirty="0"/>
              <a:t>inside</a:t>
            </a:r>
            <a:r>
              <a:rPr lang="en-US" sz="1600" b="1" dirty="0"/>
              <a:t> JavaScript </a:t>
            </a:r>
            <a:r>
              <a:rPr lang="en-US" sz="1600" i="1" dirty="0"/>
              <a:t>inside </a:t>
            </a:r>
            <a:r>
              <a:rPr lang="en-US" sz="1600" b="1" dirty="0"/>
              <a:t>HTML </a:t>
            </a:r>
            <a:r>
              <a:rPr lang="en-US" sz="1600" i="1" dirty="0"/>
              <a:t>inside </a:t>
            </a:r>
            <a:r>
              <a:rPr lang="en-US" sz="1600" b="1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6801035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JSX &amp; JS </a:t>
            </a:r>
            <a:r>
              <a:rPr lang="de-DE" dirty="0" err="1"/>
              <a:t>Component</a:t>
            </a:r>
            <a:endParaRPr lang="en-GB" dirty="0"/>
          </a:p>
          <a:p>
            <a:pPr lvl="1"/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30449F-6A06-FE49-9A71-F7E89D74AF0F}"/>
              </a:ext>
            </a:extLst>
          </p:cNvPr>
          <p:cNvSpPr txBox="1"/>
          <p:nvPr/>
        </p:nvSpPr>
        <p:spPr>
          <a:xfrm>
            <a:off x="-34280" y="2760377"/>
            <a:ext cx="6071964" cy="333291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2000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000" spc="-15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2000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Hello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2000" spc="-15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2000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.name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2000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FF2FC0-9B53-3840-9366-D37B04715C06}"/>
              </a:ext>
            </a:extLst>
          </p:cNvPr>
          <p:cNvSpPr txBox="1"/>
          <p:nvPr/>
        </p:nvSpPr>
        <p:spPr>
          <a:xfrm>
            <a:off x="6146676" y="2760377"/>
            <a:ext cx="6071964" cy="333291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2000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000" spc="-15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2000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spc="-15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Element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iv"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ull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Hello "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2000" spc="-15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2000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.name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US" sz="2000" spc="-150" dirty="0">
              <a:solidFill>
                <a:srgbClr val="FFFFFF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DE" sz="2000" spc="-15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</a:t>
            </a:r>
            <a:r>
              <a:rPr lang="en-US" sz="2000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!"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z="2000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88FC33-374B-6349-A5CD-8EACDA1C3D54}"/>
              </a:ext>
            </a:extLst>
          </p:cNvPr>
          <p:cNvSpPr txBox="1"/>
          <p:nvPr/>
        </p:nvSpPr>
        <p:spPr>
          <a:xfrm>
            <a:off x="5368043" y="5635063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JSX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EBC68E-37FE-4046-AD43-095475EE96B9}"/>
              </a:ext>
            </a:extLst>
          </p:cNvPr>
          <p:cNvSpPr txBox="1"/>
          <p:nvPr/>
        </p:nvSpPr>
        <p:spPr>
          <a:xfrm>
            <a:off x="11532605" y="5635063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JS</a:t>
            </a:r>
          </a:p>
        </p:txBody>
      </p:sp>
    </p:spTree>
    <p:extLst>
      <p:ext uri="{BB962C8B-B14F-4D97-AF65-F5344CB8AC3E}">
        <p14:creationId xmlns:p14="http://schemas.microsoft.com/office/powerpoint/2010/main" val="19486550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859549F0-64A3-7143-971F-38BA85A1F5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React</a:t>
            </a:r>
            <a:r>
              <a:rPr lang="de-DE" dirty="0"/>
              <a:t> </a:t>
            </a:r>
            <a:r>
              <a:rPr lang="de-DE" dirty="0" err="1"/>
              <a:t>Bootcamp</a:t>
            </a:r>
            <a:r>
              <a:rPr lang="de-DE" dirty="0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15D3644-CCD3-D041-988B-1AD6158A17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Vladimir </a:t>
            </a:r>
            <a:r>
              <a:rPr lang="de-DE" dirty="0" err="1"/>
              <a:t>Daskalov</a:t>
            </a:r>
            <a:r>
              <a:rPr lang="de-DE" dirty="0"/>
              <a:t> &amp; Alexander </a:t>
            </a:r>
            <a:r>
              <a:rPr lang="de-DE" dirty="0" err="1"/>
              <a:t>Kucksdor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56333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nder a Component (</a:t>
            </a:r>
            <a:r>
              <a:rPr lang="de-DE" dirty="0" err="1"/>
              <a:t>ReactDOM</a:t>
            </a:r>
            <a:r>
              <a:rPr lang="en-US" dirty="0"/>
              <a:t>)</a:t>
            </a:r>
            <a:endParaRPr lang="en-GB" dirty="0"/>
          </a:p>
          <a:p>
            <a:pPr lvl="1"/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30449F-6A06-FE49-9A71-F7E89D74AF0F}"/>
              </a:ext>
            </a:extLst>
          </p:cNvPr>
          <p:cNvSpPr txBox="1"/>
          <p:nvPr/>
        </p:nvSpPr>
        <p:spPr>
          <a:xfrm>
            <a:off x="-34280" y="4272545"/>
            <a:ext cx="6071964" cy="2180791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DOM</a:t>
            </a:r>
            <a:r>
              <a:rPr lang="en-US" sz="20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20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20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ylor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20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,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cument</a:t>
            </a:r>
            <a:r>
              <a:rPr lang="de-DE" sz="20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sz="20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ElementById</a:t>
            </a:r>
            <a:r>
              <a:rPr lang="de-DE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de-DE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sz="2000" dirty="0" err="1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oot</a:t>
            </a:r>
            <a:r>
              <a:rPr lang="de-DE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FF2FC0-9B53-3840-9366-D37B04715C06}"/>
              </a:ext>
            </a:extLst>
          </p:cNvPr>
          <p:cNvSpPr txBox="1"/>
          <p:nvPr/>
        </p:nvSpPr>
        <p:spPr>
          <a:xfrm>
            <a:off x="6146676" y="4272545"/>
            <a:ext cx="6071964" cy="2180791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DOM</a:t>
            </a:r>
            <a:r>
              <a:rPr lang="en-US" sz="20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20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Element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US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name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Taylor"</a:t>
            </a: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),</a:t>
            </a: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cument</a:t>
            </a:r>
            <a:r>
              <a:rPr lang="en-US" sz="20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ElementById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sz="2000" dirty="0" err="1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oot</a:t>
            </a:r>
            <a:r>
              <a:rPr lang="en-US" sz="20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20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7386F5-3634-A44D-8B19-A5EB7AC43119}"/>
              </a:ext>
            </a:extLst>
          </p:cNvPr>
          <p:cNvSpPr txBox="1"/>
          <p:nvPr/>
        </p:nvSpPr>
        <p:spPr>
          <a:xfrm>
            <a:off x="5368043" y="5995103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JS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3AD2D5-6BE1-4440-BDD9-6D9345C11758}"/>
              </a:ext>
            </a:extLst>
          </p:cNvPr>
          <p:cNvSpPr txBox="1"/>
          <p:nvPr/>
        </p:nvSpPr>
        <p:spPr>
          <a:xfrm>
            <a:off x="11532605" y="5995103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J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839BEB-6C45-1443-9BBA-3CA3EAD48131}"/>
              </a:ext>
            </a:extLst>
          </p:cNvPr>
          <p:cNvSpPr txBox="1"/>
          <p:nvPr/>
        </p:nvSpPr>
        <p:spPr>
          <a:xfrm>
            <a:off x="3445395" y="1593057"/>
            <a:ext cx="5402561" cy="242749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!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DOCTYPE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2000" dirty="0">
                <a:solidFill>
                  <a:srgbClr val="D19A66"/>
                </a:solidFill>
                <a:latin typeface="Fira Code" panose="020B0809050000020004" pitchFamily="49" charset="0"/>
              </a:rPr>
              <a:t>html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html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2000" dirty="0">
                <a:solidFill>
                  <a:srgbClr val="D19A66"/>
                </a:solidFill>
                <a:latin typeface="Fira Code" panose="020B0809050000020004" pitchFamily="49" charset="0"/>
              </a:rPr>
              <a:t>lang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=</a:t>
            </a:r>
            <a:r>
              <a:rPr lang="en-GB" sz="2000" dirty="0">
                <a:solidFill>
                  <a:srgbClr val="98C379"/>
                </a:solidFill>
                <a:latin typeface="Fira Code" panose="020B0809050000020004" pitchFamily="49" charset="0"/>
              </a:rPr>
              <a:t>"</a:t>
            </a:r>
            <a:r>
              <a:rPr lang="en-GB" sz="2000" dirty="0" err="1">
                <a:solidFill>
                  <a:srgbClr val="98C379"/>
                </a:solidFill>
                <a:latin typeface="Fira Code" panose="020B0809050000020004" pitchFamily="49" charset="0"/>
              </a:rPr>
              <a:t>en</a:t>
            </a:r>
            <a:r>
              <a:rPr lang="en-GB" sz="2000" dirty="0">
                <a:solidFill>
                  <a:srgbClr val="98C379"/>
                </a:solidFill>
                <a:latin typeface="Fira Code" panose="020B0809050000020004" pitchFamily="49" charset="0"/>
              </a:rPr>
              <a:t>"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head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meta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2000" dirty="0">
                <a:solidFill>
                  <a:srgbClr val="D19A66"/>
                </a:solidFill>
                <a:latin typeface="Fira Code" panose="020B0809050000020004" pitchFamily="49" charset="0"/>
              </a:rPr>
              <a:t>charset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=</a:t>
            </a:r>
            <a:r>
              <a:rPr lang="en-GB" sz="2000" dirty="0">
                <a:solidFill>
                  <a:srgbClr val="98C379"/>
                </a:solidFill>
                <a:latin typeface="Fira Code" panose="020B0809050000020004" pitchFamily="49" charset="0"/>
              </a:rPr>
              <a:t>"utf-8"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/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title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React App&lt;/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title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/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head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body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&lt;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2000" dirty="0">
                <a:solidFill>
                  <a:srgbClr val="D19A66"/>
                </a:solidFill>
                <a:latin typeface="Fira Code" panose="020B0809050000020004" pitchFamily="49" charset="0"/>
              </a:rPr>
              <a:t>id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=</a:t>
            </a:r>
            <a:r>
              <a:rPr lang="en-GB" sz="2000" dirty="0">
                <a:solidFill>
                  <a:srgbClr val="98C379"/>
                </a:solidFill>
                <a:latin typeface="Fira Code" panose="020B0809050000020004" pitchFamily="49" charset="0"/>
              </a:rPr>
              <a:t>"root"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&lt;/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&lt;/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body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lt;/</a:t>
            </a:r>
            <a:r>
              <a:rPr lang="en-GB" sz="2000" dirty="0">
                <a:solidFill>
                  <a:srgbClr val="E06C75"/>
                </a:solidFill>
                <a:latin typeface="Fira Code" panose="020B0809050000020004" pitchFamily="49" charset="0"/>
              </a:rPr>
              <a:t>html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75B9EA-BD46-FB4C-8964-8F3A782E99BB}"/>
              </a:ext>
            </a:extLst>
          </p:cNvPr>
          <p:cNvSpPr txBox="1"/>
          <p:nvPr/>
        </p:nvSpPr>
        <p:spPr>
          <a:xfrm>
            <a:off x="6888088" y="1602490"/>
            <a:ext cx="1872208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GB" sz="3200" b="1" dirty="0" err="1">
                <a:solidFill>
                  <a:schemeClr val="bg1"/>
                </a:solidFill>
              </a:rPr>
              <a:t>i</a:t>
            </a:r>
            <a:r>
              <a:rPr lang="en-DE" sz="3200" b="1" dirty="0">
                <a:solidFill>
                  <a:schemeClr val="bg1"/>
                </a:solidFill>
              </a:rPr>
              <a:t>ndex.html</a:t>
            </a:r>
          </a:p>
        </p:txBody>
      </p:sp>
    </p:spTree>
    <p:extLst>
      <p:ext uri="{BB962C8B-B14F-4D97-AF65-F5344CB8AC3E}">
        <p14:creationId xmlns:p14="http://schemas.microsoft.com/office/powerpoint/2010/main" val="6456340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JSX &amp; TSX Components</a:t>
            </a:r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30449F-6A06-FE49-9A71-F7E89D74AF0F}"/>
              </a:ext>
            </a:extLst>
          </p:cNvPr>
          <p:cNvSpPr txBox="1"/>
          <p:nvPr/>
        </p:nvSpPr>
        <p:spPr>
          <a:xfrm>
            <a:off x="11323" y="1484785"/>
            <a:ext cx="6071964" cy="5373215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pc="-15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Hello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pc="-15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DOM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pc="-15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ylo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,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cument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ElementById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spc="-150" dirty="0" err="1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oot</a:t>
            </a:r>
            <a:r>
              <a:rPr lang="en-US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Type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Type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ing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isRequired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;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pc="-15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FF2FC0-9B53-3840-9366-D37B04715C06}"/>
              </a:ext>
            </a:extLst>
          </p:cNvPr>
          <p:cNvSpPr txBox="1"/>
          <p:nvPr/>
        </p:nvSpPr>
        <p:spPr>
          <a:xfrm>
            <a:off x="5951984" y="1484785"/>
            <a:ext cx="6264696" cy="5373215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erface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tring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c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Hello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pc="-15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DOM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pc="-15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ylor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pc="-15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,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cument</a:t>
            </a:r>
            <a:r>
              <a:rPr lang="de-DE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spc="-15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ElementById</a:t>
            </a:r>
            <a:r>
              <a:rPr lang="de-DE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de-DE" spc="-15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root'</a:t>
            </a:r>
            <a:r>
              <a:rPr lang="de-DE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pc="-15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pc="-1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7386F5-3634-A44D-8B19-A5EB7AC43119}"/>
              </a:ext>
            </a:extLst>
          </p:cNvPr>
          <p:cNvSpPr txBox="1"/>
          <p:nvPr/>
        </p:nvSpPr>
        <p:spPr>
          <a:xfrm>
            <a:off x="4583832" y="6309320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JS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3AD2D5-6BE1-4440-BDD9-6D9345C11758}"/>
              </a:ext>
            </a:extLst>
          </p:cNvPr>
          <p:cNvSpPr txBox="1"/>
          <p:nvPr/>
        </p:nvSpPr>
        <p:spPr>
          <a:xfrm>
            <a:off x="11532605" y="6309320"/>
            <a:ext cx="648072" cy="458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DE" sz="3200" b="1" dirty="0">
                <a:solidFill>
                  <a:schemeClr val="bg1"/>
                </a:solidFill>
              </a:rPr>
              <a:t>TSX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02895A-41A1-044C-A128-A4B0913C60D5}"/>
              </a:ext>
            </a:extLst>
          </p:cNvPr>
          <p:cNvSpPr txBox="1"/>
          <p:nvPr/>
        </p:nvSpPr>
        <p:spPr>
          <a:xfrm>
            <a:off x="8159551" y="976689"/>
            <a:ext cx="4032448" cy="4362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Component naming convention: Pascal case</a:t>
            </a:r>
          </a:p>
        </p:txBody>
      </p:sp>
    </p:spTree>
    <p:extLst>
      <p:ext uri="{BB962C8B-B14F-4D97-AF65-F5344CB8AC3E}">
        <p14:creationId xmlns:p14="http://schemas.microsoft.com/office/powerpoint/2010/main" val="16967664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State Manage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0F9126-1E56-BE45-8018-226B9C0A7212}"/>
              </a:ext>
            </a:extLst>
          </p:cNvPr>
          <p:cNvSpPr txBox="1"/>
          <p:nvPr/>
        </p:nvSpPr>
        <p:spPr>
          <a:xfrm>
            <a:off x="11322" y="1484785"/>
            <a:ext cx="12180677" cy="5373215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interfac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IStat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counter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numb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class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HelloMessag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extends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E5C07B"/>
                </a:solidFill>
                <a:latin typeface="Fira Code" panose="020B0809050000020004" pitchFamily="49" charset="0"/>
              </a:rPr>
              <a:t>Componen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1600" dirty="0">
                <a:solidFill>
                  <a:srgbClr val="E5C07B"/>
                </a:solidFill>
                <a:latin typeface="Fira Code" panose="020B0809050000020004" pitchFamily="49" charset="0"/>
              </a:rPr>
              <a:t>any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, 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IStat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constructo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props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E5C07B"/>
                </a:solidFill>
                <a:latin typeface="Fira Code" panose="020B0809050000020004" pitchFamily="49" charset="0"/>
              </a:rPr>
              <a:t>any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 {</a:t>
            </a:r>
          </a:p>
          <a:p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    sup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props);</a:t>
            </a:r>
          </a:p>
          <a:p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   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stat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 counter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0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};</a:t>
            </a:r>
          </a:p>
          <a:p>
            <a:r>
              <a:rPr lang="en-GB" sz="1600" i="1" dirty="0">
                <a:solidFill>
                  <a:srgbClr val="5C6370"/>
                </a:solidFill>
                <a:latin typeface="Fira Code" panose="020B0809050000020004" pitchFamily="49" charset="0"/>
              </a:rPr>
              <a:t>    // don't use </a:t>
            </a:r>
            <a:r>
              <a:rPr lang="en-GB" sz="1600" i="1" dirty="0" err="1">
                <a:solidFill>
                  <a:srgbClr val="5C6370"/>
                </a:solidFill>
                <a:latin typeface="Fira Code" panose="020B0809050000020004" pitchFamily="49" charset="0"/>
              </a:rPr>
              <a:t>this.setState</a:t>
            </a:r>
            <a:r>
              <a:rPr lang="en-GB" sz="1600" i="1" dirty="0">
                <a:solidFill>
                  <a:srgbClr val="5C6370"/>
                </a:solidFill>
                <a:latin typeface="Fira Code" panose="020B0809050000020004" pitchFamily="49" charset="0"/>
              </a:rPr>
              <a:t>(...) in the constructor</a:t>
            </a:r>
            <a:endParaRPr lang="en-GB" sz="16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}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public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61AFEF"/>
                </a:solidFill>
                <a:latin typeface="Fira Code" panose="020B0809050000020004" pitchFamily="49" charset="0"/>
              </a:rPr>
              <a:t>rend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)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  retur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  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{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state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counter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}</a:t>
            </a:r>
            <a:endParaRPr lang="en-GB" sz="16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endParaRPr lang="en-GB" sz="16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          </a:t>
            </a:r>
            <a:r>
              <a:rPr lang="en-GB" sz="1600" dirty="0" err="1">
                <a:solidFill>
                  <a:srgbClr val="D19A66"/>
                </a:solidFill>
                <a:latin typeface="Fira Code" panose="020B0809050000020004" pitchFamily="49" charset="0"/>
              </a:rPr>
              <a:t>onClick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={()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           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setStat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{ counter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state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count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+ 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1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})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    }}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  &gt; click 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)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}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5925321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React</a:t>
            </a:r>
            <a:r>
              <a:rPr lang="de-DE" dirty="0"/>
              <a:t> Class-</a:t>
            </a:r>
            <a:r>
              <a:rPr lang="de-DE" dirty="0" err="1"/>
              <a:t>Component</a:t>
            </a:r>
            <a:r>
              <a:rPr lang="de-DE" dirty="0"/>
              <a:t> Lifecycle-Metho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34EED7-BBAD-2A4B-9D22-C8942CCB6F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5270" y="1491959"/>
            <a:ext cx="8961460" cy="50152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0FDB527-844E-1E40-92D2-DB38FC94636D}"/>
              </a:ext>
            </a:extLst>
          </p:cNvPr>
          <p:cNvSpPr txBox="1"/>
          <p:nvPr/>
        </p:nvSpPr>
        <p:spPr>
          <a:xfrm>
            <a:off x="47328" y="6597352"/>
            <a:ext cx="5544616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>
                <a:solidFill>
                  <a:schemeClr val="bg1"/>
                </a:solidFill>
                <a:highlight>
                  <a:srgbClr val="282C32"/>
                </a:highlight>
              </a:rPr>
              <a:t>https://</a:t>
            </a:r>
            <a:r>
              <a:rPr lang="en-GB" sz="1600" dirty="0" err="1">
                <a:solidFill>
                  <a:schemeClr val="bg1"/>
                </a:solidFill>
                <a:highlight>
                  <a:srgbClr val="282C32"/>
                </a:highlight>
              </a:rPr>
              <a:t>projects.wojtekmaj.pl</a:t>
            </a:r>
            <a:r>
              <a:rPr lang="en-GB" sz="1600" dirty="0">
                <a:solidFill>
                  <a:schemeClr val="bg1"/>
                </a:solidFill>
                <a:highlight>
                  <a:srgbClr val="282C32"/>
                </a:highlight>
              </a:rPr>
              <a:t>/react-lifecycle-methods-diagram/</a:t>
            </a:r>
          </a:p>
        </p:txBody>
      </p:sp>
    </p:spTree>
    <p:extLst>
      <p:ext uri="{BB962C8B-B14F-4D97-AF65-F5344CB8AC3E}">
        <p14:creationId xmlns:p14="http://schemas.microsoft.com/office/powerpoint/2010/main" val="4117428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Subscrib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Eve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DF0DF4-F458-9A4D-B44D-6675797BE0F6}"/>
              </a:ext>
            </a:extLst>
          </p:cNvPr>
          <p:cNvSpPr txBox="1"/>
          <p:nvPr/>
        </p:nvSpPr>
        <p:spPr>
          <a:xfrm>
            <a:off x="1361473" y="1484784"/>
            <a:ext cx="9469053" cy="530009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US" sz="1600" dirty="0">
              <a:solidFill>
                <a:srgbClr val="C5A5C5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rop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State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vat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Objec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TMLDivEleme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ructor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rop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DidMou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ull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==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re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rent.addEventListener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1600" dirty="0" err="1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agenter</a:t>
            </a:r>
            <a:r>
              <a:rPr lang="en-US" sz="1600" dirty="0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.onDragEnter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WillUnmount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i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ull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==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re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rent.removeEventListener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1600" dirty="0" err="1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agenter</a:t>
            </a:r>
            <a:r>
              <a:rPr lang="en-US" sz="1600" dirty="0">
                <a:solidFill>
                  <a:srgbClr val="92D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.onDragEnter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DragEnter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...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...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72651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Component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556ADD-88D4-CA4D-B8D3-5E9078C24EDE}"/>
              </a:ext>
            </a:extLst>
          </p:cNvPr>
          <p:cNvSpPr txBox="1"/>
          <p:nvPr/>
        </p:nvSpPr>
        <p:spPr>
          <a:xfrm>
            <a:off x="1442482" y="2348881"/>
            <a:ext cx="9307035" cy="237626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US" sz="1600" dirty="0">
              <a:solidFill>
                <a:srgbClr val="C5A5C5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erfac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rop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name?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tring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.FC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rop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=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{name = </a:t>
            </a:r>
            <a:r>
              <a:rPr lang="en-GB" sz="1600" dirty="0">
                <a:solidFill>
                  <a:srgbClr val="98C379"/>
                </a:solidFill>
                <a:latin typeface="Fira Code" panose="020B0809050000020004" pitchFamily="49" charset="0"/>
              </a:rPr>
              <a:t>'Guest user'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=&gt; 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Hello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    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16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98478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Component</a:t>
            </a:r>
            <a:r>
              <a:rPr lang="de-DE" dirty="0"/>
              <a:t> State (</a:t>
            </a:r>
            <a:r>
              <a:rPr lang="de-DE" dirty="0" err="1"/>
              <a:t>useState</a:t>
            </a:r>
            <a:r>
              <a:rPr lang="de-DE" dirty="0"/>
              <a:t> hook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8C48E6-73FF-E24A-AADB-FF138500E9D8}"/>
              </a:ext>
            </a:extLst>
          </p:cNvPr>
          <p:cNvSpPr txBox="1"/>
          <p:nvPr/>
        </p:nvSpPr>
        <p:spPr>
          <a:xfrm>
            <a:off x="2261573" y="2357849"/>
            <a:ext cx="7668854" cy="2952327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61AFEF"/>
                </a:solidFill>
                <a:latin typeface="Fira Code" panose="020B0809050000020004" pitchFamily="49" charset="0"/>
              </a:rPr>
              <a:t>Counter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props)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</a:t>
            </a:r>
            <a:r>
              <a:rPr lang="en-GB" sz="160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[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count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, </a:t>
            </a:r>
            <a:r>
              <a:rPr lang="en-GB" sz="1600" dirty="0" err="1">
                <a:solidFill>
                  <a:srgbClr val="D19A66"/>
                </a:solidFill>
                <a:latin typeface="Fira Code" panose="020B0809050000020004" pitchFamily="49" charset="0"/>
              </a:rPr>
              <a:t>setCount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]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useStat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0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;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Counter: 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{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counter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}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!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D19A66"/>
                </a:solidFill>
                <a:latin typeface="Fira Code" panose="020B0809050000020004" pitchFamily="49" charset="0"/>
              </a:rPr>
              <a:t>onClick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={()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61AFEF"/>
                </a:solidFill>
                <a:latin typeface="Fira Code" panose="020B0809050000020004" pitchFamily="49" charset="0"/>
              </a:rPr>
              <a:t>        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setCounter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counter + 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1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}}&gt;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increaas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)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9828547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Component</a:t>
            </a:r>
            <a:r>
              <a:rPr lang="de-DE" dirty="0"/>
              <a:t> Lifecycle (</a:t>
            </a:r>
            <a:r>
              <a:rPr lang="de-DE" dirty="0" err="1"/>
              <a:t>useEffect</a:t>
            </a:r>
            <a:r>
              <a:rPr lang="de-DE" dirty="0"/>
              <a:t> hook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EC2C47-E700-B348-B3FB-CE35C8AC37B8}"/>
              </a:ext>
            </a:extLst>
          </p:cNvPr>
          <p:cNvSpPr txBox="1"/>
          <p:nvPr/>
        </p:nvSpPr>
        <p:spPr>
          <a:xfrm>
            <a:off x="1577498" y="1844824"/>
            <a:ext cx="9037004" cy="48965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spc="-15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spc="-150" dirty="0">
                <a:solidFill>
                  <a:srgbClr val="61AFEF"/>
                </a:solidFill>
                <a:latin typeface="Fira Code" panose="020B0809050000020004" pitchFamily="49" charset="0"/>
              </a:rPr>
              <a:t>Subscription</a:t>
            </a:r>
            <a:r>
              <a:rPr lang="en-GB" sz="1600" spc="-15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spc="-15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600" spc="-15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spc="-150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spc="-15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(props) </a:t>
            </a:r>
            <a:r>
              <a:rPr lang="en-GB" sz="1600" spc="-15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endParaRPr lang="en-GB" sz="1600" spc="-150" dirty="0">
              <a:solidFill>
                <a:srgbClr val="C678DD"/>
              </a:solidFill>
              <a:latin typeface="Fira Code" panose="020B0809050000020004" pitchFamily="49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</a:t>
            </a:r>
            <a:r>
              <a:rPr lang="en-GB" sz="1600" spc="-150" dirty="0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US" sz="1600" spc="-15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useEffect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)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&gt;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en-US" sz="1600" spc="-15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const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subscription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props</a:t>
            </a:r>
            <a:r>
              <a:rPr lang="en-US" sz="1600" spc="-15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en-US" sz="1600" spc="-15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source</a:t>
            </a:r>
            <a:r>
              <a:rPr lang="en-US" sz="1600" spc="-15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en-US" sz="1600" spc="-15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subscribe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);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en-US" sz="1600" spc="-15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turn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)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&gt;</a:t>
            </a: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</a:t>
            </a:r>
            <a:r>
              <a:rPr lang="en-US" sz="1600" spc="-15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subscription</a:t>
            </a:r>
            <a:r>
              <a:rPr lang="en-US" sz="1600" spc="-15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en-US" sz="1600" spc="-15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unsubscribe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);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;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US" sz="1600" spc="-15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</a:t>
            </a:r>
            <a:r>
              <a:rPr lang="en-US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</a:t>
            </a:r>
            <a:r>
              <a:rPr lang="en-DE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,</a:t>
            </a:r>
          </a:p>
          <a:p>
            <a:r>
              <a:rPr lang="en-DE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  [] </a:t>
            </a:r>
            <a:r>
              <a:rPr lang="en-GB" sz="1600" i="1" spc="-150" dirty="0">
                <a:solidFill>
                  <a:srgbClr val="5C6370"/>
                </a:solidFill>
                <a:latin typeface="Fira Code" panose="020B0809050000020004" pitchFamily="49" charset="0"/>
              </a:rPr>
              <a:t>// list of dependencies </a:t>
            </a:r>
            <a:endParaRPr lang="en-GB" sz="1600" spc="-15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i="1" spc="-150" dirty="0">
                <a:solidFill>
                  <a:srgbClr val="5C6370"/>
                </a:solidFill>
                <a:latin typeface="Fira Code" panose="020B0809050000020004" pitchFamily="49" charset="0"/>
              </a:rPr>
              <a:t>      // if not present - runs at every render</a:t>
            </a:r>
            <a:endParaRPr lang="en-GB" sz="1600" spc="-15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i="1" spc="-150" dirty="0">
                <a:solidFill>
                  <a:srgbClr val="5C6370"/>
                </a:solidFill>
                <a:latin typeface="Fira Code" panose="020B0809050000020004" pitchFamily="49" charset="0"/>
              </a:rPr>
              <a:t>      // if present but empty - run only once at the first render</a:t>
            </a:r>
            <a:endParaRPr lang="en-GB" sz="1600" spc="-15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i="1" spc="-150" dirty="0">
                <a:solidFill>
                  <a:srgbClr val="5C6370"/>
                </a:solidFill>
                <a:latin typeface="Fira Code" panose="020B0809050000020004" pitchFamily="49" charset="0"/>
              </a:rPr>
              <a:t>      // if present and dependencies listed - executes when any dependency changes</a:t>
            </a:r>
            <a:endParaRPr lang="en-GB" sz="1600" spc="-15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de-DE" sz="1600" spc="-15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);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600" spc="-150" dirty="0"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  <a:endParaRPr lang="en-DE" sz="1600" spc="-1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GB" sz="1600" spc="-150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( </a:t>
            </a:r>
          </a:p>
          <a:p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   &lt;</a:t>
            </a:r>
            <a:r>
              <a:rPr lang="en-GB" sz="1600" spc="-15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</a:p>
          <a:p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     Hi!</a:t>
            </a:r>
          </a:p>
          <a:p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   &lt;/</a:t>
            </a:r>
            <a:r>
              <a:rPr lang="en-GB" sz="1600" spc="-15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</a:p>
          <a:p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  );</a:t>
            </a:r>
          </a:p>
          <a:p>
            <a:r>
              <a:rPr lang="en-GB" sz="1600" spc="-15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2271980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Hooks</a:t>
            </a:r>
          </a:p>
        </p:txBody>
      </p:sp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CD125A24-DD7E-984C-A23C-EDE1D2D754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4285168"/>
              </p:ext>
            </p:extLst>
          </p:nvPr>
        </p:nvGraphicFramePr>
        <p:xfrm>
          <a:off x="839416" y="2708920"/>
          <a:ext cx="10801200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8192">
                  <a:extLst>
                    <a:ext uri="{9D8B030D-6E8A-4147-A177-3AD203B41FA5}">
                      <a16:colId xmlns:a16="http://schemas.microsoft.com/office/drawing/2014/main" val="703259332"/>
                    </a:ext>
                  </a:extLst>
                </a:gridCol>
                <a:gridCol w="9073008">
                  <a:extLst>
                    <a:ext uri="{9D8B030D-6E8A-4147-A177-3AD203B41FA5}">
                      <a16:colId xmlns:a16="http://schemas.microsoft.com/office/drawing/2014/main" val="3889091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State</a:t>
                      </a:r>
                      <a:endParaRPr lang="en-GB" sz="1800" b="1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llows you to store state in function componen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4384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Effect</a:t>
                      </a:r>
                      <a:endParaRPr lang="en-GB" sz="1800" b="1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llows you to perform side effects in function componen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7519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Memo</a:t>
                      </a:r>
                      <a:endParaRPr lang="en-GB" sz="1800" b="1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Memorizes some expensive to recompute values and recomputes when any dependency chang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0003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tx1"/>
                          </a:solidFill>
                        </a:rPr>
                        <a:t>useRef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Returns a mutable ref object to access the DO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30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use(Context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 the current context value for that context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31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…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nd mor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04182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Custom hoo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Write your own hoo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4611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45856DC-5D57-8744-9DB9-3E91405E6E44}"/>
              </a:ext>
            </a:extLst>
          </p:cNvPr>
          <p:cNvSpPr txBox="1"/>
          <p:nvPr/>
        </p:nvSpPr>
        <p:spPr>
          <a:xfrm>
            <a:off x="863576" y="6390000"/>
            <a:ext cx="4104456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dirty="0"/>
              <a:t>https://</a:t>
            </a:r>
            <a:r>
              <a:rPr lang="en-US" sz="1600" dirty="0" err="1"/>
              <a:t>react.dev</a:t>
            </a:r>
            <a:r>
              <a:rPr lang="en-US" sz="1600" dirty="0"/>
              <a:t>/reference/react</a:t>
            </a:r>
          </a:p>
        </p:txBody>
      </p:sp>
    </p:spTree>
    <p:extLst>
      <p:ext uri="{BB962C8B-B14F-4D97-AF65-F5344CB8AC3E}">
        <p14:creationId xmlns:p14="http://schemas.microsoft.com/office/powerpoint/2010/main" val="3385311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fs</a:t>
            </a:r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662361-48B7-C648-B487-1C2C7A1ECE93}"/>
              </a:ext>
            </a:extLst>
          </p:cNvPr>
          <p:cNvSpPr txBox="1"/>
          <p:nvPr/>
        </p:nvSpPr>
        <p:spPr>
          <a:xfrm>
            <a:off x="0" y="1484784"/>
            <a:ext cx="6120680" cy="537321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vate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Objec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TMLDivEleme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ructor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Prop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DidMou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ull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==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rent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1600" dirty="0">
                <a:solidFill>
                  <a:srgbClr val="00B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Do something with the native node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6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 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6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sz="16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Ref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Hello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16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6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!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16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6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6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27A989-56BF-F242-B89D-D3E9B371A6A0}"/>
              </a:ext>
            </a:extLst>
          </p:cNvPr>
          <p:cNvSpPr txBox="1"/>
          <p:nvPr/>
        </p:nvSpPr>
        <p:spPr>
          <a:xfrm>
            <a:off x="6128692" y="1484784"/>
            <a:ext cx="6120680" cy="537321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HelloMessage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props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any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</a:t>
            </a:r>
            <a:r>
              <a:rPr lang="en-GB" sz="160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ref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useRef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lt;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HTMLDivElemen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(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null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;</a:t>
            </a:r>
          </a:p>
          <a:p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  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useEffec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(()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  if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ref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curren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 {</a:t>
            </a:r>
          </a:p>
          <a:p>
            <a:r>
              <a:rPr lang="en-GB" sz="1600" i="1" dirty="0">
                <a:solidFill>
                  <a:srgbClr val="5C6370"/>
                </a:solidFill>
                <a:latin typeface="Fira Code" panose="020B0809050000020004" pitchFamily="49" charset="0"/>
              </a:rPr>
              <a:t>      </a:t>
            </a:r>
            <a:r>
              <a:rPr lang="en-US" sz="1600" dirty="0">
                <a:solidFill>
                  <a:srgbClr val="00B05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Do something with the native node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}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});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D19A66"/>
                </a:solidFill>
                <a:latin typeface="Fira Code" panose="020B0809050000020004" pitchFamily="49" charset="0"/>
              </a:rPr>
              <a:t>ref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={ref}&gt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Hello {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prop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nam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!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)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1694736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Timetable</a:t>
            </a:r>
            <a:endParaRPr lang="de-DE" dirty="0"/>
          </a:p>
        </p:txBody>
      </p:sp>
      <p:sp>
        <p:nvSpPr>
          <p:cNvPr id="8" name="Textfeld 3">
            <a:extLst>
              <a:ext uri="{FF2B5EF4-FFF2-40B4-BE49-F238E27FC236}">
                <a16:creationId xmlns:a16="http://schemas.microsoft.com/office/drawing/2014/main" id="{9429A0EC-2DB6-C645-8C40-9F7DF1378DD4}"/>
              </a:ext>
            </a:extLst>
          </p:cNvPr>
          <p:cNvSpPr txBox="1"/>
          <p:nvPr/>
        </p:nvSpPr>
        <p:spPr>
          <a:xfrm>
            <a:off x="1703512" y="3104280"/>
            <a:ext cx="4392488" cy="21616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de-DE" sz="2400" b="1" dirty="0"/>
              <a:t>Start: 09:00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de-DE" sz="2400" i="1" dirty="0"/>
              <a:t>15 min </a:t>
            </a:r>
            <a:r>
              <a:rPr lang="de-DE" sz="2400" i="1" dirty="0" err="1"/>
              <a:t>coffee</a:t>
            </a:r>
            <a:r>
              <a:rPr lang="de-DE" sz="2400" i="1" dirty="0"/>
              <a:t> break @ ~11:00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de-DE" sz="2400" i="1" dirty="0"/>
              <a:t>Lunch: 12:15-13:15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de-DE" sz="2400" i="1" dirty="0"/>
              <a:t>15 min </a:t>
            </a:r>
            <a:r>
              <a:rPr lang="de-DE" sz="2400" i="1" dirty="0" err="1"/>
              <a:t>coffee</a:t>
            </a:r>
            <a:r>
              <a:rPr lang="de-DE" sz="2400" i="1" dirty="0"/>
              <a:t> break @ ~15:30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de-DE" sz="2400" b="1" dirty="0"/>
              <a:t>End: 17:0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41C7E1-B6C4-4B49-A6E7-55AB8AC5F3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59" t="38450" r="18341" b="9233"/>
          <a:stretch/>
        </p:blipFill>
        <p:spPr>
          <a:xfrm>
            <a:off x="6579701" y="1484785"/>
            <a:ext cx="5636979" cy="54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5010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React.Fragment</a:t>
            </a:r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DCEF86-B094-014C-B20E-3AD730650C10}"/>
              </a:ext>
            </a:extLst>
          </p:cNvPr>
          <p:cNvSpPr txBox="1"/>
          <p:nvPr/>
        </p:nvSpPr>
        <p:spPr>
          <a:xfrm>
            <a:off x="2708343" y="1556792"/>
            <a:ext cx="6775313" cy="511256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61AFEF"/>
                </a:solidFill>
                <a:latin typeface="Fira Code" panose="020B0809050000020004" pitchFamily="49" charset="0"/>
              </a:rPr>
              <a:t>List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(props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any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) </a:t>
            </a:r>
            <a:r>
              <a:rPr lang="en-GB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&lt;</a:t>
            </a:r>
            <a:r>
              <a:rPr lang="en-GB" dirty="0" err="1">
                <a:solidFill>
                  <a:srgbClr val="E5C07B"/>
                </a:solidFill>
                <a:latin typeface="Fira Code" panose="020B0809050000020004" pitchFamily="49" charset="0"/>
              </a:rPr>
              <a:t>React.Fragment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one&lt;/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two&lt;/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&lt;/</a:t>
            </a:r>
            <a:r>
              <a:rPr lang="en-GB" dirty="0" err="1">
                <a:solidFill>
                  <a:srgbClr val="E5C07B"/>
                </a:solidFill>
                <a:latin typeface="Fira Code" panose="020B0809050000020004" pitchFamily="49" charset="0"/>
              </a:rPr>
              <a:t>React.Fragment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)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};</a:t>
            </a:r>
          </a:p>
          <a:p>
            <a:endParaRPr lang="en-GB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61AFEF"/>
                </a:solidFill>
                <a:latin typeface="Fira Code" panose="020B0809050000020004" pitchFamily="49" charset="0"/>
              </a:rPr>
              <a:t>List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(props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any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) </a:t>
            </a:r>
            <a:r>
              <a:rPr lang="en-GB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&lt;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one&lt;/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two&lt;/</a:t>
            </a:r>
            <a:r>
              <a:rPr lang="en-GB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  &lt;/&gt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 );</a:t>
            </a:r>
          </a:p>
          <a:p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};</a:t>
            </a:r>
          </a:p>
          <a:p>
            <a:endParaRPr lang="en-GB" dirty="0">
              <a:solidFill>
                <a:srgbClr val="ABB2BF"/>
              </a:solidFill>
              <a:latin typeface="Fira Code" panose="020B08090500000200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97E974-719F-F944-A2EA-31B7337BC956}"/>
              </a:ext>
            </a:extLst>
          </p:cNvPr>
          <p:cNvSpPr txBox="1"/>
          <p:nvPr/>
        </p:nvSpPr>
        <p:spPr>
          <a:xfrm>
            <a:off x="8711299" y="1197048"/>
            <a:ext cx="3481064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Component must return a single element</a:t>
            </a:r>
          </a:p>
        </p:txBody>
      </p:sp>
    </p:spTree>
    <p:extLst>
      <p:ext uri="{BB962C8B-B14F-4D97-AF65-F5344CB8AC3E}">
        <p14:creationId xmlns:p14="http://schemas.microsoft.com/office/powerpoint/2010/main" val="41982094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props.children</a:t>
            </a:r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DCEF86-B094-014C-B20E-3AD730650C10}"/>
              </a:ext>
            </a:extLst>
          </p:cNvPr>
          <p:cNvSpPr txBox="1"/>
          <p:nvPr/>
        </p:nvSpPr>
        <p:spPr>
          <a:xfrm>
            <a:off x="2708343" y="1556792"/>
            <a:ext cx="6775313" cy="511256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de-DE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ture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de-DE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</a:t>
            </a:r>
            <a:r>
              <a:rPr lang="de-DE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g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/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BE504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de-DE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ildren</a:t>
            </a:r>
            <a:r>
              <a:rPr lang="de-DE" dirty="0">
                <a:solidFill>
                  <a:srgbClr val="BE504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/</a:t>
            </a:r>
            <a:r>
              <a:rPr lang="de-DE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de-DE" sz="2400" dirty="0">
              <a:solidFill>
                <a:srgbClr val="BBBBBB"/>
              </a:solidFill>
              <a:latin typeface="Menlo" panose="020B060903080402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2400" dirty="0">
                <a:solidFill>
                  <a:srgbClr val="BBBBBB"/>
                </a:solidFill>
                <a:latin typeface="Menlo" panose="020B060903080402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…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</a:t>
            </a:r>
            <a:r>
              <a:rPr lang="de-DE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ture </a:t>
            </a:r>
            <a:r>
              <a:rPr lang="de-DE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...}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</a:t>
            </a:r>
            <a:r>
              <a:rPr lang="de-DE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me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ext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/</a:t>
            </a:r>
            <a:r>
              <a:rPr lang="de-DE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/</a:t>
            </a:r>
            <a:r>
              <a:rPr lang="de-DE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ture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2808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Conditional</a:t>
            </a:r>
            <a:r>
              <a:rPr lang="de-DE" dirty="0"/>
              <a:t> Render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7C0EF9-0A81-5C4D-998F-CA94286D82BA}"/>
              </a:ext>
            </a:extLst>
          </p:cNvPr>
          <p:cNvSpPr txBox="1"/>
          <p:nvPr/>
        </p:nvSpPr>
        <p:spPr>
          <a:xfrm>
            <a:off x="3035660" y="2780928"/>
            <a:ext cx="6120680" cy="236729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600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61AFEF"/>
                </a:solidFill>
                <a:latin typeface="Fira Code" panose="020B0809050000020004" pitchFamily="49" charset="0"/>
              </a:rPr>
              <a:t>HelloMessage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5C07B"/>
                </a:solidFill>
                <a:latin typeface="Fira Code" panose="020B0809050000020004" pitchFamily="49" charset="0"/>
              </a:rPr>
              <a:t>FC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props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any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) </a:t>
            </a:r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600" dirty="0">
                <a:solidFill>
                  <a:srgbClr val="C678DD"/>
                </a:solidFill>
                <a:latin typeface="Fira Code" panose="020B0809050000020004" pitchFamily="49" charset="0"/>
              </a:rPr>
              <a:t>  return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(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&gt;</a:t>
            </a:r>
          </a:p>
          <a:p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      {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!!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prop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name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600" dirty="0">
                <a:solidFill>
                  <a:srgbClr val="56B6C2"/>
                </a:solidFill>
                <a:latin typeface="Fira Code" panose="020B0809050000020004" pitchFamily="49" charset="0"/>
              </a:rPr>
              <a:t>&amp;&amp;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    &lt;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Hello 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{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props</a:t>
            </a:r>
            <a:r>
              <a:rPr lang="en-GB" sz="16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600" dirty="0" err="1">
                <a:solidFill>
                  <a:srgbClr val="E06C75"/>
                </a:solidFill>
                <a:latin typeface="Fira Code" panose="020B0809050000020004" pitchFamily="49" charset="0"/>
              </a:rPr>
              <a:t>name</a:t>
            </a:r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}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!&lt;/</a:t>
            </a:r>
            <a:r>
              <a:rPr lang="en-GB" sz="16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600" dirty="0">
                <a:solidFill>
                  <a:srgbClr val="BE5046"/>
                </a:solidFill>
                <a:latin typeface="Fira Code" panose="020B0809050000020004" pitchFamily="49" charset="0"/>
              </a:rPr>
              <a:t>      }</a:t>
            </a:r>
            <a:endParaRPr lang="en-GB" sz="16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  &lt;/&gt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  );</a:t>
            </a:r>
          </a:p>
          <a:p>
            <a:r>
              <a:rPr lang="en-GB" sz="1600" dirty="0">
                <a:solidFill>
                  <a:srgbClr val="ABB2BF"/>
                </a:solidFill>
                <a:latin typeface="Fira Code" panose="020B0809050000020004" pitchFamily="49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15233511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Show a </a:t>
            </a:r>
            <a:r>
              <a:rPr lang="de-DE" dirty="0" err="1"/>
              <a:t>lis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tems</a:t>
            </a:r>
            <a:r>
              <a:rPr lang="de-DE" dirty="0"/>
              <a:t> (Loops </a:t>
            </a:r>
            <a:r>
              <a:rPr lang="de-DE" dirty="0" err="1"/>
              <a:t>inside</a:t>
            </a:r>
            <a:r>
              <a:rPr lang="de-DE" dirty="0"/>
              <a:t> </a:t>
            </a:r>
            <a:r>
              <a:rPr lang="de-DE" dirty="0" err="1"/>
              <a:t>tsx</a:t>
            </a:r>
            <a:r>
              <a:rPr lang="de-DE" dirty="0"/>
              <a:t>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7E2A1CB-4BE6-E846-BE83-15D5B73B54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152" y="2132856"/>
            <a:ext cx="3086968" cy="17399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8ED0644-8AAF-A842-8805-25E3122068C0}"/>
              </a:ext>
            </a:extLst>
          </p:cNvPr>
          <p:cNvSpPr txBox="1"/>
          <p:nvPr/>
        </p:nvSpPr>
        <p:spPr>
          <a:xfrm>
            <a:off x="312789" y="1916832"/>
            <a:ext cx="5783211" cy="432048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350"/>
              </a:lnSpc>
            </a:pPr>
            <a:endParaRPr lang="en-US" dirty="0">
              <a:solidFill>
                <a:srgbClr val="C678DD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ems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[</a:t>
            </a:r>
            <a:r>
              <a:rPr lang="en-US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Coffee'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Tea'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Milk'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]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de-DE" dirty="0">
              <a:solidFill>
                <a:srgbClr val="88C6BE"/>
              </a:solidFill>
              <a:latin typeface="Menlo" panose="020B06090308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l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em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p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(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em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key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em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em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l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1213FE-1F2A-DB4B-A897-0AB487246FA1}"/>
              </a:ext>
            </a:extLst>
          </p:cNvPr>
          <p:cNvSpPr txBox="1"/>
          <p:nvPr/>
        </p:nvSpPr>
        <p:spPr>
          <a:xfrm>
            <a:off x="6312024" y="4142490"/>
            <a:ext cx="5879976" cy="104411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key prop – needed for reconciliation (</a:t>
            </a:r>
            <a:r>
              <a:rPr lang="en-US" sz="1400" dirty="0" err="1"/>
              <a:t>VirtualDOM</a:t>
            </a:r>
            <a:r>
              <a:rPr lang="en-US" sz="1400" dirty="0"/>
              <a:t> - DO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eware using </a:t>
            </a:r>
            <a:r>
              <a:rPr lang="en-US" sz="1400" dirty="0" err="1"/>
              <a:t>idx</a:t>
            </a:r>
            <a:r>
              <a:rPr lang="en-US" sz="1400" dirty="0"/>
              <a:t> as a key – might lead to problems if order changes</a:t>
            </a:r>
          </a:p>
        </p:txBody>
      </p:sp>
    </p:spTree>
    <p:extLst>
      <p:ext uri="{BB962C8B-B14F-4D97-AF65-F5344CB8AC3E}">
        <p14:creationId xmlns:p14="http://schemas.microsoft.com/office/powerpoint/2010/main" val="27009772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Composition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Inheritance</a:t>
            </a:r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231440-6F90-244D-AAFC-9D9986F21771}"/>
              </a:ext>
            </a:extLst>
          </p:cNvPr>
          <p:cNvSpPr txBox="1"/>
          <p:nvPr/>
        </p:nvSpPr>
        <p:spPr>
          <a:xfrm>
            <a:off x="7896200" y="3645024"/>
            <a:ext cx="3108300" cy="1143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impler to argue abou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are only about props and st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tate drive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7E0784-4B3C-9A4B-8020-92C76860C417}"/>
              </a:ext>
            </a:extLst>
          </p:cNvPr>
          <p:cNvSpPr txBox="1"/>
          <p:nvPr/>
        </p:nvSpPr>
        <p:spPr>
          <a:xfrm>
            <a:off x="1041252" y="1556792"/>
            <a:ext cx="5907937" cy="518457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alog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ncyBorder</a:t>
            </a:r>
            <a:r>
              <a:rPr lang="en-US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or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lu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1 </a:t>
            </a:r>
            <a:r>
              <a:rPr lang="en-US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Nam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”</a:t>
            </a:r>
            <a:r>
              <a:rPr lang="en-US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alog-titl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tl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1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Nam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“</a:t>
            </a:r>
            <a:r>
              <a:rPr lang="de-DE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alog-messag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ssag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ncyBorder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lcomeDialog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alog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tl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lcom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ssage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ank you for visiting!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2385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act Dev Tools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671421A-BA55-0345-9D7B-3C8CC1A86BB6}"/>
              </a:ext>
            </a:extLst>
          </p:cNvPr>
          <p:cNvSpPr txBox="1"/>
          <p:nvPr/>
        </p:nvSpPr>
        <p:spPr>
          <a:xfrm>
            <a:off x="551384" y="5877272"/>
            <a:ext cx="5544616" cy="2246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dirty="0">
                <a:hlinkClick r:id="rId2"/>
              </a:rPr>
              <a:t>https://</a:t>
            </a:r>
            <a:r>
              <a:rPr lang="de-DE" dirty="0" err="1">
                <a:hlinkClick r:id="rId2"/>
              </a:rPr>
              <a:t>chrome.google.com</a:t>
            </a:r>
            <a:r>
              <a:rPr lang="de-DE" dirty="0">
                <a:hlinkClick r:id="rId2"/>
              </a:rPr>
              <a:t>/</a:t>
            </a:r>
            <a:r>
              <a:rPr lang="de-DE" dirty="0" err="1">
                <a:hlinkClick r:id="rId2"/>
              </a:rPr>
              <a:t>webstore</a:t>
            </a:r>
            <a:r>
              <a:rPr lang="de-DE" dirty="0">
                <a:hlinkClick r:id="rId2"/>
              </a:rPr>
              <a:t>/</a:t>
            </a:r>
            <a:r>
              <a:rPr lang="de-DE" dirty="0" err="1">
                <a:hlinkClick r:id="rId2"/>
              </a:rPr>
              <a:t>detail</a:t>
            </a:r>
            <a:r>
              <a:rPr lang="de-DE" dirty="0">
                <a:hlinkClick r:id="rId2"/>
              </a:rPr>
              <a:t>/</a:t>
            </a:r>
            <a:r>
              <a:rPr lang="de-DE" dirty="0" err="1">
                <a:hlinkClick r:id="rId2"/>
              </a:rPr>
              <a:t>react</a:t>
            </a:r>
            <a:r>
              <a:rPr lang="de-DE" dirty="0">
                <a:hlinkClick r:id="rId2"/>
              </a:rPr>
              <a:t>-</a:t>
            </a:r>
            <a:r>
              <a:rPr lang="de-DE" dirty="0" err="1">
                <a:hlinkClick r:id="rId2"/>
              </a:rPr>
              <a:t>developer</a:t>
            </a:r>
            <a:r>
              <a:rPr lang="de-DE" dirty="0">
                <a:hlinkClick r:id="rId2"/>
              </a:rPr>
              <a:t>-tools/</a:t>
            </a:r>
            <a:r>
              <a:rPr lang="de-DE" dirty="0" err="1">
                <a:hlinkClick r:id="rId2"/>
              </a:rPr>
              <a:t>fmkadmapgofadopljbjfkapdkoienihi?hl</a:t>
            </a:r>
            <a:r>
              <a:rPr lang="de-DE" dirty="0">
                <a:hlinkClick r:id="rId2"/>
              </a:rPr>
              <a:t>=en</a:t>
            </a:r>
            <a:endParaRPr lang="en-GB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D11BA2-B4BB-524C-9B8F-22C0540C1F54}"/>
              </a:ext>
            </a:extLst>
          </p:cNvPr>
          <p:cNvSpPr txBox="1"/>
          <p:nvPr/>
        </p:nvSpPr>
        <p:spPr>
          <a:xfrm>
            <a:off x="11704320" y="43891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3"/>
              </a:buBlip>
            </a:pP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1548D8-0DB3-158D-F1BD-093D28F47F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938" y="2231453"/>
            <a:ext cx="5401960" cy="3537156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03C528DE-BBA2-8583-6D51-349079F5B8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2164" y="2216089"/>
            <a:ext cx="5401960" cy="3552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8408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Virtual D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F41EC0-4DE5-AB42-AC97-7BA062AE25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1" t="31601" r="56451" b="21088"/>
          <a:stretch/>
        </p:blipFill>
        <p:spPr>
          <a:xfrm>
            <a:off x="3863751" y="3429000"/>
            <a:ext cx="1440161" cy="129614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D321225-3A3C-6C4E-8ABE-6CC1DED610D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30" t="28119" r="50322" b="19011"/>
          <a:stretch/>
        </p:blipFill>
        <p:spPr>
          <a:xfrm>
            <a:off x="1703512" y="3429000"/>
            <a:ext cx="1624498" cy="1299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462E8F2-FC83-9340-8891-B8DD0EED693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0" t="34169" r="15829" b="18520"/>
          <a:stretch/>
        </p:blipFill>
        <p:spPr>
          <a:xfrm>
            <a:off x="5735960" y="3429000"/>
            <a:ext cx="1512168" cy="129614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5F88331-6CE1-AF49-BC05-9B8999AAF4AB}"/>
              </a:ext>
            </a:extLst>
          </p:cNvPr>
          <p:cNvSpPr txBox="1"/>
          <p:nvPr/>
        </p:nvSpPr>
        <p:spPr>
          <a:xfrm>
            <a:off x="4403810" y="3140968"/>
            <a:ext cx="360041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dir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7CC3BD-DA38-574D-AB12-649D4F468B95}"/>
              </a:ext>
            </a:extLst>
          </p:cNvPr>
          <p:cNvSpPr txBox="1"/>
          <p:nvPr/>
        </p:nvSpPr>
        <p:spPr>
          <a:xfrm>
            <a:off x="2287960" y="3140968"/>
            <a:ext cx="72008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 err="1"/>
              <a:t>setState</a:t>
            </a:r>
            <a:endParaRPr lang="en-GB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8140EE-599B-154C-BFAC-6106EEC6D15F}"/>
              </a:ext>
            </a:extLst>
          </p:cNvPr>
          <p:cNvSpPr txBox="1"/>
          <p:nvPr/>
        </p:nvSpPr>
        <p:spPr>
          <a:xfrm>
            <a:off x="6159620" y="3140968"/>
            <a:ext cx="1088507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re-rendered</a:t>
            </a:r>
          </a:p>
        </p:txBody>
      </p:sp>
      <p:sp>
        <p:nvSpPr>
          <p:cNvPr id="14" name="Textfeld 3">
            <a:extLst>
              <a:ext uri="{FF2B5EF4-FFF2-40B4-BE49-F238E27FC236}">
                <a16:creationId xmlns:a16="http://schemas.microsoft.com/office/drawing/2014/main" id="{A5D65DAD-E2F5-7842-9D6B-20B9FFCDF86E}"/>
              </a:ext>
            </a:extLst>
          </p:cNvPr>
          <p:cNvSpPr txBox="1"/>
          <p:nvPr/>
        </p:nvSpPr>
        <p:spPr>
          <a:xfrm>
            <a:off x="335361" y="1700808"/>
            <a:ext cx="4608511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dirty="0"/>
              <a:t>In-memory </a:t>
            </a:r>
            <a:r>
              <a:rPr lang="de-DE" dirty="0" err="1"/>
              <a:t>represent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OM</a:t>
            </a:r>
          </a:p>
        </p:txBody>
      </p:sp>
    </p:spTree>
    <p:extLst>
      <p:ext uri="{BB962C8B-B14F-4D97-AF65-F5344CB8AC3E}">
        <p14:creationId xmlns:p14="http://schemas.microsoft.com/office/powerpoint/2010/main" val="367061328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Virtual DOM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2F9289A-1923-1243-83B2-4E9C7F95AE9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0" t="34169" r="15829" b="18520"/>
          <a:stretch/>
        </p:blipFill>
        <p:spPr>
          <a:xfrm>
            <a:off x="8275471" y="3429000"/>
            <a:ext cx="1512168" cy="129614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1B61C5C-D7BC-F641-8AA8-873E328700C7}"/>
              </a:ext>
            </a:extLst>
          </p:cNvPr>
          <p:cNvSpPr txBox="1"/>
          <p:nvPr/>
        </p:nvSpPr>
        <p:spPr>
          <a:xfrm>
            <a:off x="8671515" y="3140968"/>
            <a:ext cx="72008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GB" sz="1600" dirty="0"/>
              <a:t>DOM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8FD812-A19F-9B4F-9F98-E9CFF1B72D8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1" t="31601" r="56451" b="21088"/>
          <a:stretch/>
        </p:blipFill>
        <p:spPr>
          <a:xfrm>
            <a:off x="3863751" y="3429000"/>
            <a:ext cx="1440161" cy="129614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187A5AC-5A64-9D49-88A4-5543CB7DFAC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30" t="28119" r="50322" b="19011"/>
          <a:stretch/>
        </p:blipFill>
        <p:spPr>
          <a:xfrm>
            <a:off x="1703512" y="3429000"/>
            <a:ext cx="1620178" cy="129614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2CCAD6F-5313-2E4F-BBDB-E12915DA5D9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0" t="34169" r="15829" b="18520"/>
          <a:stretch/>
        </p:blipFill>
        <p:spPr>
          <a:xfrm>
            <a:off x="5735960" y="3429000"/>
            <a:ext cx="1512168" cy="1296144"/>
          </a:xfrm>
          <a:prstGeom prst="rect">
            <a:avLst/>
          </a:prstGeom>
        </p:spPr>
      </p:pic>
      <p:sp>
        <p:nvSpPr>
          <p:cNvPr id="12" name="Textfeld 3">
            <a:extLst>
              <a:ext uri="{FF2B5EF4-FFF2-40B4-BE49-F238E27FC236}">
                <a16:creationId xmlns:a16="http://schemas.microsoft.com/office/drawing/2014/main" id="{4DD78C4B-2503-0C44-BD08-17662285EF32}"/>
              </a:ext>
            </a:extLst>
          </p:cNvPr>
          <p:cNvSpPr txBox="1"/>
          <p:nvPr/>
        </p:nvSpPr>
        <p:spPr>
          <a:xfrm>
            <a:off x="7371974" y="4885680"/>
            <a:ext cx="1080120" cy="2549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SzPct val="100000"/>
            </a:pPr>
            <a:r>
              <a:rPr lang="de-DE" dirty="0" err="1"/>
              <a:t>reconcile</a:t>
            </a:r>
            <a:endParaRPr lang="de-DE" dirty="0"/>
          </a:p>
        </p:txBody>
      </p:sp>
      <p:sp>
        <p:nvSpPr>
          <p:cNvPr id="4" name="Right Arrow 3">
            <a:extLst>
              <a:ext uri="{FF2B5EF4-FFF2-40B4-BE49-F238E27FC236}">
                <a16:creationId xmlns:a16="http://schemas.microsoft.com/office/drawing/2014/main" id="{A56C7B51-F814-C94C-A9FA-4C8C863C20AF}"/>
              </a:ext>
            </a:extLst>
          </p:cNvPr>
          <p:cNvSpPr/>
          <p:nvPr/>
        </p:nvSpPr>
        <p:spPr>
          <a:xfrm>
            <a:off x="7548598" y="3897052"/>
            <a:ext cx="726873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965097-B6F5-0548-AEB8-A9429A067832}"/>
              </a:ext>
            </a:extLst>
          </p:cNvPr>
          <p:cNvSpPr txBox="1"/>
          <p:nvPr/>
        </p:nvSpPr>
        <p:spPr>
          <a:xfrm>
            <a:off x="4403810" y="3140968"/>
            <a:ext cx="360041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dir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3B6648-859E-8B4A-8D28-636DDB83BD78}"/>
              </a:ext>
            </a:extLst>
          </p:cNvPr>
          <p:cNvSpPr txBox="1"/>
          <p:nvPr/>
        </p:nvSpPr>
        <p:spPr>
          <a:xfrm>
            <a:off x="2287960" y="3140968"/>
            <a:ext cx="72008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 err="1"/>
              <a:t>setState</a:t>
            </a:r>
            <a:endParaRPr lang="en-GB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7F0E152-2E56-6D47-ABA1-5E9AD76171FE}"/>
              </a:ext>
            </a:extLst>
          </p:cNvPr>
          <p:cNvSpPr txBox="1"/>
          <p:nvPr/>
        </p:nvSpPr>
        <p:spPr>
          <a:xfrm>
            <a:off x="6159620" y="3140968"/>
            <a:ext cx="1088507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re-rendered</a:t>
            </a:r>
          </a:p>
        </p:txBody>
      </p:sp>
    </p:spTree>
    <p:extLst>
      <p:ext uri="{BB962C8B-B14F-4D97-AF65-F5344CB8AC3E}">
        <p14:creationId xmlns:p14="http://schemas.microsoft.com/office/powerpoint/2010/main" val="29331367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Data Flo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4BD51D-AD95-364C-8CE2-664BF940BA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56" y="2060848"/>
            <a:ext cx="8000888" cy="36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1655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Data Flow</a:t>
            </a:r>
          </a:p>
        </p:txBody>
      </p:sp>
      <p:sp>
        <p:nvSpPr>
          <p:cNvPr id="6" name="Textfeld 3">
            <a:extLst>
              <a:ext uri="{FF2B5EF4-FFF2-40B4-BE49-F238E27FC236}">
                <a16:creationId xmlns:a16="http://schemas.microsoft.com/office/drawing/2014/main" id="{BDCC4FC3-D47D-2A4A-85A1-97C68C733BE1}"/>
              </a:ext>
            </a:extLst>
          </p:cNvPr>
          <p:cNvSpPr txBox="1"/>
          <p:nvPr/>
        </p:nvSpPr>
        <p:spPr>
          <a:xfrm>
            <a:off x="3134327" y="1903014"/>
            <a:ext cx="4617857" cy="3869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dirty="0" err="1"/>
              <a:t>Own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ent</a:t>
            </a:r>
            <a:r>
              <a:rPr lang="de-DE" dirty="0"/>
              <a:t> </a:t>
            </a:r>
            <a:r>
              <a:rPr lang="de-DE" dirty="0" err="1"/>
              <a:t>component</a:t>
            </a:r>
            <a:endParaRPr lang="de-DE" dirty="0"/>
          </a:p>
        </p:txBody>
      </p:sp>
      <p:sp>
        <p:nvSpPr>
          <p:cNvPr id="7" name="Textfeld 3">
            <a:extLst>
              <a:ext uri="{FF2B5EF4-FFF2-40B4-BE49-F238E27FC236}">
                <a16:creationId xmlns:a16="http://schemas.microsoft.com/office/drawing/2014/main" id="{6909AFE9-A3F4-C546-9B79-F4FD3634FEDB}"/>
              </a:ext>
            </a:extLst>
          </p:cNvPr>
          <p:cNvSpPr txBox="1"/>
          <p:nvPr/>
        </p:nvSpPr>
        <p:spPr>
          <a:xfrm>
            <a:off x="3130550" y="4005064"/>
            <a:ext cx="3685530" cy="3996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dirty="0" err="1"/>
              <a:t>Own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ponent</a:t>
            </a:r>
            <a:endParaRPr lang="de-DE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061E6AE-C3AD-EC47-A71C-223C83139502}"/>
              </a:ext>
            </a:extLst>
          </p:cNvPr>
          <p:cNvCxnSpPr/>
          <p:nvPr/>
        </p:nvCxnSpPr>
        <p:spPr>
          <a:xfrm>
            <a:off x="2351584" y="3573016"/>
            <a:ext cx="7560840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486DEF7-5355-E945-8691-DE77293F4A57}"/>
              </a:ext>
            </a:extLst>
          </p:cNvPr>
          <p:cNvSpPr txBox="1"/>
          <p:nvPr/>
        </p:nvSpPr>
        <p:spPr>
          <a:xfrm>
            <a:off x="2705062" y="2354385"/>
            <a:ext cx="6781873" cy="38697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pc="-15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pc="-15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pc="-15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endParaRPr lang="en-DE" spc="-1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9335F3-BAC1-9941-B7C1-1EDC60AE2107}"/>
              </a:ext>
            </a:extLst>
          </p:cNvPr>
          <p:cNvSpPr txBox="1"/>
          <p:nvPr/>
        </p:nvSpPr>
        <p:spPr>
          <a:xfrm>
            <a:off x="2705063" y="4453225"/>
            <a:ext cx="6781873" cy="223224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loMessag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faultProps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John'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setState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{ counter: 1 });</a:t>
            </a: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US" dirty="0">
              <a:solidFill>
                <a:srgbClr val="FFFFFF"/>
              </a:solidFill>
              <a:latin typeface="Menlo" panose="020B060903080402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dirty="0" err="1">
                <a:solidFill>
                  <a:srgbClr val="C678DD"/>
                </a:solidFill>
                <a:latin typeface="Fira Code" panose="020B0809050000020004" pitchFamily="49" charset="0"/>
              </a:rPr>
              <a:t>const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[</a:t>
            </a:r>
            <a:r>
              <a:rPr lang="en-GB" dirty="0">
                <a:solidFill>
                  <a:srgbClr val="D19A66"/>
                </a:solidFill>
                <a:latin typeface="Fira Code" panose="020B0809050000020004" pitchFamily="49" charset="0"/>
              </a:rPr>
              <a:t>counter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, </a:t>
            </a:r>
            <a:r>
              <a:rPr lang="en-GB" dirty="0" err="1">
                <a:solidFill>
                  <a:srgbClr val="D19A66"/>
                </a:solidFill>
                <a:latin typeface="Fira Code" panose="020B0809050000020004" pitchFamily="49" charset="0"/>
              </a:rPr>
              <a:t>setCounter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] </a:t>
            </a:r>
            <a:r>
              <a:rPr lang="en-GB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dirty="0" err="1">
                <a:solidFill>
                  <a:srgbClr val="E06C75"/>
                </a:solidFill>
                <a:latin typeface="Fira Code" panose="020B0809050000020004" pitchFamily="49" charset="0"/>
              </a:rPr>
              <a:t>React</a:t>
            </a:r>
            <a:r>
              <a:rPr lang="en-GB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dirty="0" err="1">
                <a:solidFill>
                  <a:srgbClr val="61AFEF"/>
                </a:solidFill>
                <a:latin typeface="Fira Code" panose="020B0809050000020004" pitchFamily="49" charset="0"/>
              </a:rPr>
              <a:t>useState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(</a:t>
            </a:r>
            <a:r>
              <a:rPr lang="en-GB" dirty="0">
                <a:solidFill>
                  <a:srgbClr val="D19A66"/>
                </a:solidFill>
                <a:latin typeface="Fira Code" panose="020B0809050000020004" pitchFamily="49" charset="0"/>
              </a:rPr>
              <a:t>0</a:t>
            </a:r>
            <a:r>
              <a:rPr lang="en-GB" dirty="0">
                <a:solidFill>
                  <a:srgbClr val="ABB2BF"/>
                </a:solidFill>
                <a:latin typeface="Fira Code" panose="020B08090500000200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37867154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React Bootcamp Overview</a:t>
            </a:r>
          </a:p>
          <a:p>
            <a:pPr lvl="1"/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488995" y="2132856"/>
            <a:ext cx="3348372" cy="3744416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>
              <a:buSzPct val="100000"/>
            </a:pPr>
            <a:r>
              <a:rPr lang="de-DE" b="1" dirty="0"/>
              <a:t>Day 1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Introduction</a:t>
            </a:r>
            <a:r>
              <a:rPr lang="de-DE" dirty="0"/>
              <a:t> Round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Setup Environment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Typescript</a:t>
            </a:r>
            <a:r>
              <a:rPr lang="de-DE" dirty="0"/>
              <a:t> Refresher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Ecosystem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act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First </a:t>
            </a:r>
            <a:r>
              <a:rPr lang="de-DE" dirty="0" err="1"/>
              <a:t>look</a:t>
            </a:r>
            <a:r>
              <a:rPr lang="de-DE" dirty="0"/>
              <a:t> at *.</a:t>
            </a:r>
            <a:r>
              <a:rPr lang="de-DE" dirty="0" err="1"/>
              <a:t>jsx</a:t>
            </a:r>
            <a:r>
              <a:rPr lang="de-DE" dirty="0"/>
              <a:t> &amp; *.</a:t>
            </a:r>
            <a:r>
              <a:rPr lang="de-DE" dirty="0" err="1"/>
              <a:t>tsx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Set </a:t>
            </a:r>
            <a:r>
              <a:rPr lang="de-DE" dirty="0" err="1"/>
              <a:t>up</a:t>
            </a:r>
            <a:r>
              <a:rPr lang="de-DE" dirty="0"/>
              <a:t> a </a:t>
            </a:r>
            <a:r>
              <a:rPr lang="de-DE" dirty="0" err="1"/>
              <a:t>Typescript</a:t>
            </a:r>
            <a:r>
              <a:rPr lang="de-DE" dirty="0"/>
              <a:t> </a:t>
            </a:r>
            <a:r>
              <a:rPr lang="de-DE" dirty="0" err="1"/>
              <a:t>React</a:t>
            </a:r>
            <a:r>
              <a:rPr lang="de-DE" dirty="0"/>
              <a:t> App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React</a:t>
            </a:r>
            <a:r>
              <a:rPr lang="de-DE" dirty="0"/>
              <a:t> </a:t>
            </a:r>
            <a:r>
              <a:rPr lang="de-DE" dirty="0" err="1"/>
              <a:t>Component</a:t>
            </a:r>
            <a:r>
              <a:rPr lang="de-DE" dirty="0"/>
              <a:t> </a:t>
            </a:r>
            <a:r>
              <a:rPr lang="de-DE" dirty="0" err="1"/>
              <a:t>Types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State-Driven UI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Component</a:t>
            </a:r>
            <a:r>
              <a:rPr lang="de-DE" dirty="0"/>
              <a:t> </a:t>
            </a:r>
            <a:r>
              <a:rPr lang="de-DE" dirty="0" err="1"/>
              <a:t>Lyfecycle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Theme</a:t>
            </a:r>
            <a:r>
              <a:rPr lang="de-DE" dirty="0"/>
              <a:t> &amp; Styling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Material-UI</a:t>
            </a:r>
          </a:p>
        </p:txBody>
      </p:sp>
      <p:sp>
        <p:nvSpPr>
          <p:cNvPr id="2" name="Textfeld 3">
            <a:extLst>
              <a:ext uri="{FF2B5EF4-FFF2-40B4-BE49-F238E27FC236}">
                <a16:creationId xmlns:a16="http://schemas.microsoft.com/office/drawing/2014/main" id="{DA1B2E41-A473-23DB-34C1-5C8E68D43C15}"/>
              </a:ext>
            </a:extLst>
          </p:cNvPr>
          <p:cNvSpPr txBox="1"/>
          <p:nvPr/>
        </p:nvSpPr>
        <p:spPr>
          <a:xfrm>
            <a:off x="4421814" y="2132856"/>
            <a:ext cx="3348372" cy="3744416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>
              <a:buSzPct val="100000"/>
            </a:pPr>
            <a:r>
              <a:rPr lang="de-DE" b="1" dirty="0"/>
              <a:t>Day 2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Data-Modeling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List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Hook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Refs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Subscrib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Event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Context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Routing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Testing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Redux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MUI </a:t>
            </a:r>
            <a:r>
              <a:rPr lang="de-DE" dirty="0" err="1"/>
              <a:t>DataGrid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IssueTracker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Textfeld 3">
            <a:extLst>
              <a:ext uri="{FF2B5EF4-FFF2-40B4-BE49-F238E27FC236}">
                <a16:creationId xmlns:a16="http://schemas.microsoft.com/office/drawing/2014/main" id="{50DE794B-AA7B-14C9-7E50-6619F485C807}"/>
              </a:ext>
            </a:extLst>
          </p:cNvPr>
          <p:cNvSpPr txBox="1"/>
          <p:nvPr/>
        </p:nvSpPr>
        <p:spPr>
          <a:xfrm>
            <a:off x="8354633" y="2132856"/>
            <a:ext cx="3348372" cy="3744416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>
              <a:buSzPct val="100000"/>
            </a:pPr>
            <a:r>
              <a:rPr lang="de-DE" b="1" dirty="0"/>
              <a:t>Day 3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Internationalization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Notes App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React</a:t>
            </a:r>
            <a:r>
              <a:rPr lang="de-DE" dirty="0"/>
              <a:t>-Query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SzPct val="100000"/>
            </a:pPr>
            <a:endParaRPr lang="de-DE" dirty="0"/>
          </a:p>
          <a:p>
            <a:pPr>
              <a:buSzPct val="100000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255457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Data Flow</a:t>
            </a:r>
          </a:p>
        </p:txBody>
      </p:sp>
      <p:sp>
        <p:nvSpPr>
          <p:cNvPr id="7" name="Textfeld 3">
            <a:extLst>
              <a:ext uri="{FF2B5EF4-FFF2-40B4-BE49-F238E27FC236}">
                <a16:creationId xmlns:a16="http://schemas.microsoft.com/office/drawing/2014/main" id="{6909AFE9-A3F4-C546-9B79-F4FD3634FEDB}"/>
              </a:ext>
            </a:extLst>
          </p:cNvPr>
          <p:cNvSpPr txBox="1"/>
          <p:nvPr/>
        </p:nvSpPr>
        <p:spPr>
          <a:xfrm>
            <a:off x="3461147" y="1794418"/>
            <a:ext cx="5269706" cy="5544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SzPct val="100000"/>
            </a:pPr>
            <a:r>
              <a:rPr lang="de-DE" dirty="0"/>
              <a:t>State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as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hild</a:t>
            </a:r>
            <a:r>
              <a:rPr lang="de-DE" dirty="0"/>
              <a:t> </a:t>
            </a:r>
            <a:r>
              <a:rPr lang="de-DE" dirty="0" err="1"/>
              <a:t>component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props</a:t>
            </a:r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552899-67DA-E645-BD71-F7F3173C778A}"/>
              </a:ext>
            </a:extLst>
          </p:cNvPr>
          <p:cNvSpPr txBox="1"/>
          <p:nvPr/>
        </p:nvSpPr>
        <p:spPr>
          <a:xfrm>
            <a:off x="2531604" y="2348880"/>
            <a:ext cx="7128792" cy="439248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entComponent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..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c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ildComponent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ildComponent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..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c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248027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Data Flo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D44A38-D310-BC4D-ACA0-93351A3E507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1" t="17723" r="7662" b="18133"/>
          <a:stretch/>
        </p:blipFill>
        <p:spPr>
          <a:xfrm>
            <a:off x="3287687" y="2661918"/>
            <a:ext cx="5616624" cy="41960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766E898-86E7-6F4D-8A83-7E482F9E32DB}"/>
              </a:ext>
            </a:extLst>
          </p:cNvPr>
          <p:cNvSpPr txBox="1"/>
          <p:nvPr/>
        </p:nvSpPr>
        <p:spPr>
          <a:xfrm>
            <a:off x="2705063" y="1916832"/>
            <a:ext cx="6781873" cy="57150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de-DE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ERROR'</a:t>
            </a:r>
            <a:r>
              <a:rPr lang="de-DE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88C6BE"/>
                </a:solidFill>
                <a:highlight>
                  <a:srgbClr val="FF0000"/>
                </a:highlight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-----------------------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57536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Data Flow</a:t>
            </a:r>
          </a:p>
        </p:txBody>
      </p:sp>
      <p:sp>
        <p:nvSpPr>
          <p:cNvPr id="7" name="Textfeld 3">
            <a:extLst>
              <a:ext uri="{FF2B5EF4-FFF2-40B4-BE49-F238E27FC236}">
                <a16:creationId xmlns:a16="http://schemas.microsoft.com/office/drawing/2014/main" id="{6909AFE9-A3F4-C546-9B79-F4FD3634FEDB}"/>
              </a:ext>
            </a:extLst>
          </p:cNvPr>
          <p:cNvSpPr txBox="1"/>
          <p:nvPr/>
        </p:nvSpPr>
        <p:spPr>
          <a:xfrm>
            <a:off x="3461147" y="1567741"/>
            <a:ext cx="5269706" cy="5544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SzPct val="100000"/>
            </a:pPr>
            <a:r>
              <a:rPr lang="de-DE" dirty="0"/>
              <a:t>Update </a:t>
            </a:r>
            <a:r>
              <a:rPr lang="de-DE" dirty="0" err="1"/>
              <a:t>state</a:t>
            </a:r>
            <a:r>
              <a:rPr lang="de-DE" dirty="0"/>
              <a:t> in </a:t>
            </a:r>
            <a:r>
              <a:rPr lang="de-DE" dirty="0" err="1"/>
              <a:t>parent</a:t>
            </a:r>
            <a:r>
              <a:rPr lang="de-DE" dirty="0"/>
              <a:t> (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allbacks</a:t>
            </a:r>
            <a:r>
              <a:rPr lang="de-DE" dirty="0"/>
              <a:t>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552899-67DA-E645-BD71-F7F3173C778A}"/>
              </a:ext>
            </a:extLst>
          </p:cNvPr>
          <p:cNvSpPr txBox="1"/>
          <p:nvPr/>
        </p:nvSpPr>
        <p:spPr>
          <a:xfrm>
            <a:off x="1613502" y="1973536"/>
            <a:ext cx="8964996" cy="48965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class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ParentComponent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extends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Component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  constructor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(props</a:t>
            </a:r>
            <a:r>
              <a:rPr lang="en-GB" sz="14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IProps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) {</a:t>
            </a:r>
          </a:p>
          <a:p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    super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(props);</a:t>
            </a:r>
          </a:p>
          <a:p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    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stat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>
                <a:solidFill>
                  <a:srgbClr val="56B6C2"/>
                </a:solidFill>
                <a:latin typeface="Fira Code" panose="020B0809050000020004" pitchFamily="49" charset="0"/>
              </a:rPr>
              <a:t>=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{ name</a:t>
            </a:r>
            <a:r>
              <a:rPr lang="en-GB" sz="1400" dirty="0">
                <a:solidFill>
                  <a:srgbClr val="56B6C2"/>
                </a:solidFill>
                <a:latin typeface="Fira Code" panose="020B0809050000020004" pitchFamily="49" charset="0"/>
              </a:rPr>
              <a:t>: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>
                <a:solidFill>
                  <a:srgbClr val="98C379"/>
                </a:solidFill>
                <a:latin typeface="Fira Code" panose="020B0809050000020004" pitchFamily="49" charset="0"/>
              </a:rPr>
              <a:t>"Default”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};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}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…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&lt;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ChildComponent</a:t>
            </a:r>
            <a:endParaRPr lang="en-GB" sz="14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400" dirty="0">
                <a:solidFill>
                  <a:srgbClr val="D19A66"/>
                </a:solidFill>
                <a:latin typeface="Fira Code" panose="020B0809050000020004" pitchFamily="49" charset="0"/>
              </a:rPr>
              <a:t>    nam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={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state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nam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  <a:p>
            <a:r>
              <a:rPr lang="en-GB" sz="1400" dirty="0">
                <a:solidFill>
                  <a:srgbClr val="D19A66"/>
                </a:solidFill>
                <a:latin typeface="Fira Code" panose="020B0809050000020004" pitchFamily="49" charset="0"/>
              </a:rPr>
              <a:t>    </a:t>
            </a:r>
            <a:r>
              <a:rPr lang="en-GB" sz="1400" dirty="0" err="1">
                <a:solidFill>
                  <a:srgbClr val="D19A66"/>
                </a:solidFill>
                <a:latin typeface="Fira Code" panose="020B0809050000020004" pitchFamily="49" charset="0"/>
              </a:rPr>
              <a:t>updateNam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={(name: </a:t>
            </a:r>
            <a:r>
              <a:rPr lang="en-GB" sz="1400" dirty="0">
                <a:solidFill>
                  <a:srgbClr val="56B6C2"/>
                </a:solidFill>
                <a:latin typeface="Fira Code" panose="020B0809050000020004" pitchFamily="49" charset="0"/>
              </a:rPr>
              <a:t>string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) </a:t>
            </a:r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61AFEF"/>
                </a:solidFill>
                <a:latin typeface="Fira Code" panose="020B0809050000020004" pitchFamily="49" charset="0"/>
              </a:rPr>
              <a:t>setStat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({ name }); }}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/&gt;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…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  <a:p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class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ChildComponent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extends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98C379"/>
                </a:solidFill>
                <a:latin typeface="Fira Code" panose="020B0809050000020004" pitchFamily="49" charset="0"/>
              </a:rPr>
              <a:t>React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5C07B"/>
                </a:solidFill>
                <a:latin typeface="Fira Code" panose="020B0809050000020004" pitchFamily="49" charset="0"/>
              </a:rPr>
              <a:t>Component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{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… </a:t>
            </a:r>
          </a:p>
          <a:p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  public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>
                <a:solidFill>
                  <a:srgbClr val="61AFEF"/>
                </a:solidFill>
                <a:latin typeface="Fira Code" panose="020B0809050000020004" pitchFamily="49" charset="0"/>
              </a:rPr>
              <a:t>render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() {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  &lt;</a:t>
            </a:r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400" dirty="0">
                <a:solidFill>
                  <a:srgbClr val="BE5046"/>
                </a:solidFill>
                <a:latin typeface="Fira Code" panose="020B0809050000020004" pitchFamily="49" charset="0"/>
              </a:rPr>
              <a:t>      {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prop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name</a:t>
            </a:r>
            <a:r>
              <a:rPr lang="en-GB" sz="1400" dirty="0">
                <a:solidFill>
                  <a:srgbClr val="BE5046"/>
                </a:solidFill>
                <a:latin typeface="Fira Code" panose="020B0809050000020004" pitchFamily="49" charset="0"/>
              </a:rPr>
              <a:t>}</a:t>
            </a:r>
            <a:endParaRPr lang="en-GB" sz="14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    &lt;</a:t>
            </a:r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</a:t>
            </a:r>
            <a:r>
              <a:rPr lang="en-GB" sz="1400" dirty="0" err="1">
                <a:solidFill>
                  <a:srgbClr val="D19A66"/>
                </a:solidFill>
                <a:latin typeface="Fira Code" panose="020B0809050000020004" pitchFamily="49" charset="0"/>
              </a:rPr>
              <a:t>onClick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={() </a:t>
            </a:r>
            <a:r>
              <a:rPr lang="en-GB" sz="1400" dirty="0">
                <a:solidFill>
                  <a:srgbClr val="C678DD"/>
                </a:solidFill>
                <a:latin typeface="Fira Code" panose="020B0809050000020004" pitchFamily="49" charset="0"/>
              </a:rPr>
              <a:t>=&gt;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{ 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thi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E06C75"/>
                </a:solidFill>
                <a:latin typeface="Fira Code" panose="020B0809050000020004" pitchFamily="49" charset="0"/>
              </a:rPr>
              <a:t>props</a:t>
            </a:r>
            <a:r>
              <a:rPr lang="en-GB" sz="1400" dirty="0" err="1">
                <a:solidFill>
                  <a:srgbClr val="ABB2BF"/>
                </a:solidFill>
                <a:latin typeface="Fira Code" panose="020B0809050000020004" pitchFamily="49" charset="0"/>
              </a:rPr>
              <a:t>.</a:t>
            </a:r>
            <a:r>
              <a:rPr lang="en-GB" sz="1400" dirty="0" err="1">
                <a:solidFill>
                  <a:srgbClr val="61AFEF"/>
                </a:solidFill>
                <a:latin typeface="Fira Code" panose="020B0809050000020004" pitchFamily="49" charset="0"/>
              </a:rPr>
              <a:t>updateName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(</a:t>
            </a:r>
            <a:r>
              <a:rPr lang="en-GB" sz="1400" dirty="0">
                <a:solidFill>
                  <a:srgbClr val="98C379"/>
                </a:solidFill>
                <a:latin typeface="Fira Code" panose="020B0809050000020004" pitchFamily="49" charset="0"/>
              </a:rPr>
              <a:t>""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); }}&gt;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      clear name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    &lt;/</a:t>
            </a:r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button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&gt;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  &lt;/</a:t>
            </a:r>
            <a:r>
              <a:rPr lang="en-GB" sz="1400" dirty="0">
                <a:solidFill>
                  <a:srgbClr val="E06C75"/>
                </a:solidFill>
                <a:latin typeface="Fira Code" panose="020B0809050000020004" pitchFamily="49" charset="0"/>
              </a:rPr>
              <a:t>div</a:t>
            </a:r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&gt;;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  }</a:t>
            </a:r>
          </a:p>
          <a:p>
            <a:r>
              <a:rPr lang="en-GB" sz="1400" dirty="0">
                <a:solidFill>
                  <a:srgbClr val="ABB2BF"/>
                </a:solidFill>
                <a:latin typeface="Fira Code" panose="020B08090500000200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1309370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Flux</a:t>
            </a:r>
            <a:r>
              <a:rPr lang="de-DE" dirty="0"/>
              <a:t> (</a:t>
            </a:r>
            <a:r>
              <a:rPr lang="de-DE" dirty="0" err="1"/>
              <a:t>pattern</a:t>
            </a:r>
            <a:r>
              <a:rPr lang="de-DE" dirty="0"/>
              <a:t>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316B69-1A32-BC41-B774-F52E2F105678}"/>
              </a:ext>
            </a:extLst>
          </p:cNvPr>
          <p:cNvSpPr txBox="1"/>
          <p:nvPr/>
        </p:nvSpPr>
        <p:spPr>
          <a:xfrm>
            <a:off x="119336" y="6511776"/>
            <a:ext cx="2880320" cy="3600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dirty="0"/>
              <a:t>https://</a:t>
            </a:r>
            <a:r>
              <a:rPr lang="en-US" sz="1600" dirty="0" err="1"/>
              <a:t>github.com</a:t>
            </a:r>
            <a:r>
              <a:rPr lang="en-US" sz="1600" dirty="0"/>
              <a:t>/</a:t>
            </a:r>
            <a:r>
              <a:rPr lang="en-US" sz="1600" dirty="0" err="1"/>
              <a:t>facebook</a:t>
            </a:r>
            <a:r>
              <a:rPr lang="en-US" sz="1600" dirty="0"/>
              <a:t>/flux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1F74ADB-7419-D248-818D-D623C9828D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26558" y="2132856"/>
            <a:ext cx="2351584" cy="936871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D6667000-3DAD-7B4A-8698-10DC3BBFB5AE}"/>
              </a:ext>
            </a:extLst>
          </p:cNvPr>
          <p:cNvGrpSpPr/>
          <p:nvPr/>
        </p:nvGrpSpPr>
        <p:grpSpPr>
          <a:xfrm>
            <a:off x="1163452" y="3887291"/>
            <a:ext cx="9865096" cy="798438"/>
            <a:chOff x="1055440" y="3638674"/>
            <a:chExt cx="9865096" cy="798438"/>
          </a:xfrm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F2DBA592-977B-D048-A0F6-5AE1C46A43B0}"/>
                </a:ext>
              </a:extLst>
            </p:cNvPr>
            <p:cNvSpPr/>
            <p:nvPr/>
          </p:nvSpPr>
          <p:spPr>
            <a:xfrm>
              <a:off x="1055440" y="3645024"/>
              <a:ext cx="2088232" cy="792088"/>
            </a:xfrm>
            <a:prstGeom prst="roundRect">
              <a:avLst/>
            </a:prstGeom>
            <a:solidFill>
              <a:srgbClr val="44B84A"/>
            </a:solidFill>
            <a:ln w="28575">
              <a:solidFill>
                <a:srgbClr val="44B8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Action</a:t>
              </a: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2AD329A1-AA9E-5E44-BAC7-B1D58EA52982}"/>
                </a:ext>
              </a:extLst>
            </p:cNvPr>
            <p:cNvSpPr/>
            <p:nvPr/>
          </p:nvSpPr>
          <p:spPr>
            <a:xfrm>
              <a:off x="3647728" y="3645024"/>
              <a:ext cx="2088232" cy="792088"/>
            </a:xfrm>
            <a:prstGeom prst="roundRect">
              <a:avLst/>
            </a:prstGeom>
            <a:solidFill>
              <a:srgbClr val="44B84A"/>
            </a:solidFill>
            <a:ln w="28575">
              <a:solidFill>
                <a:srgbClr val="44B8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Dispatcher</a:t>
              </a:r>
            </a:p>
          </p:txBody>
        </p: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F550C454-BEF7-2A42-B214-77CD1C504D09}"/>
                </a:ext>
              </a:extLst>
            </p:cNvPr>
            <p:cNvSpPr/>
            <p:nvPr/>
          </p:nvSpPr>
          <p:spPr>
            <a:xfrm>
              <a:off x="6240016" y="3645024"/>
              <a:ext cx="2088232" cy="792088"/>
            </a:xfrm>
            <a:prstGeom prst="roundRect">
              <a:avLst/>
            </a:prstGeom>
            <a:solidFill>
              <a:srgbClr val="44B84A"/>
            </a:solidFill>
            <a:ln w="28575">
              <a:solidFill>
                <a:srgbClr val="44B8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Store</a:t>
              </a:r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08CE3E3A-8B6E-9645-BAF3-404CC8911264}"/>
                </a:ext>
              </a:extLst>
            </p:cNvPr>
            <p:cNvSpPr/>
            <p:nvPr/>
          </p:nvSpPr>
          <p:spPr>
            <a:xfrm>
              <a:off x="8832304" y="3645024"/>
              <a:ext cx="2088232" cy="792088"/>
            </a:xfrm>
            <a:prstGeom prst="roundRect">
              <a:avLst/>
            </a:prstGeom>
            <a:noFill/>
            <a:ln w="28575">
              <a:solidFill>
                <a:srgbClr val="44B8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44B84A"/>
                  </a:solidFill>
                </a:rPr>
                <a:t>View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A6F7A47B-FE26-6046-8356-D7FBE564688F}"/>
                </a:ext>
              </a:extLst>
            </p:cNvPr>
            <p:cNvCxnSpPr>
              <a:stCxn id="7" idx="3"/>
              <a:endCxn id="8" idx="1"/>
            </p:cNvCxnSpPr>
            <p:nvPr/>
          </p:nvCxnSpPr>
          <p:spPr>
            <a:xfrm>
              <a:off x="3143672" y="4041068"/>
              <a:ext cx="504056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705C0333-FE45-F24C-8D4C-23CAF31AEB21}"/>
                </a:ext>
              </a:extLst>
            </p:cNvPr>
            <p:cNvCxnSpPr>
              <a:cxnSpLocks/>
              <a:stCxn id="8" idx="3"/>
              <a:endCxn id="9" idx="1"/>
            </p:cNvCxnSpPr>
            <p:nvPr/>
          </p:nvCxnSpPr>
          <p:spPr>
            <a:xfrm>
              <a:off x="5735960" y="4041068"/>
              <a:ext cx="504056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C0686FA5-1F04-4D47-AF94-DD75E9F20B3F}"/>
                </a:ext>
              </a:extLst>
            </p:cNvPr>
            <p:cNvCxnSpPr>
              <a:cxnSpLocks/>
              <a:stCxn id="9" idx="3"/>
              <a:endCxn id="10" idx="1"/>
            </p:cNvCxnSpPr>
            <p:nvPr/>
          </p:nvCxnSpPr>
          <p:spPr>
            <a:xfrm>
              <a:off x="8328248" y="4041068"/>
              <a:ext cx="504056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Elbow Connector 19">
              <a:extLst>
                <a:ext uri="{FF2B5EF4-FFF2-40B4-BE49-F238E27FC236}">
                  <a16:creationId xmlns:a16="http://schemas.microsoft.com/office/drawing/2014/main" id="{F19C3203-29A3-734E-AC1D-829984490F8C}"/>
                </a:ext>
              </a:extLst>
            </p:cNvPr>
            <p:cNvCxnSpPr>
              <a:cxnSpLocks/>
              <a:stCxn id="10" idx="0"/>
              <a:endCxn id="7" idx="0"/>
            </p:cNvCxnSpPr>
            <p:nvPr/>
          </p:nvCxnSpPr>
          <p:spPr>
            <a:xfrm rot="16200000" flipV="1">
              <a:off x="5987988" y="-243408"/>
              <a:ext cx="12700" cy="7776864"/>
            </a:xfrm>
            <a:prstGeom prst="bentConnector3">
              <a:avLst>
                <a:gd name="adj1" fmla="val 4000000"/>
              </a:avLst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Table 7">
            <a:extLst>
              <a:ext uri="{FF2B5EF4-FFF2-40B4-BE49-F238E27FC236}">
                <a16:creationId xmlns:a16="http://schemas.microsoft.com/office/drawing/2014/main" id="{6A3745A1-F6A1-FC43-BCC7-7C830C043F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0465948"/>
              </p:ext>
            </p:extLst>
          </p:nvPr>
        </p:nvGraphicFramePr>
        <p:xfrm>
          <a:off x="1487488" y="4873597"/>
          <a:ext cx="921702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3299">
                  <a:extLst>
                    <a:ext uri="{9D8B030D-6E8A-4147-A177-3AD203B41FA5}">
                      <a16:colId xmlns:a16="http://schemas.microsoft.com/office/drawing/2014/main" val="703259332"/>
                    </a:ext>
                  </a:extLst>
                </a:gridCol>
                <a:gridCol w="7903725">
                  <a:extLst>
                    <a:ext uri="{9D8B030D-6E8A-4147-A177-3AD203B41FA5}">
                      <a16:colId xmlns:a16="http://schemas.microsoft.com/office/drawing/2014/main" val="3889091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c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Action is an object containing type property and an optional payloa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7519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Dispatch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akes a single action at a time and delivers it to the stor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6627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Stor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Stores the state and modifies the state based on actions from the dispatch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0003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View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eact components listening to changes in stores (over props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305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24972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Context</a:t>
            </a:r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07BB71-B753-4E4E-95A3-3FD60F1C6741}"/>
              </a:ext>
            </a:extLst>
          </p:cNvPr>
          <p:cNvSpPr txBox="1"/>
          <p:nvPr/>
        </p:nvSpPr>
        <p:spPr>
          <a:xfrm>
            <a:off x="1613502" y="1700808"/>
            <a:ext cx="8964996" cy="48965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ge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 which renders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&lt;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geLayout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// ... </a:t>
            </a:r>
            <a:r>
              <a:rPr lang="de-DE" sz="1400" dirty="0" err="1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ich</a:t>
            </a: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s</a:t>
            </a: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vigationBar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// ... </a:t>
            </a:r>
            <a:r>
              <a:rPr lang="de-DE" sz="1400" dirty="0" err="1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ich</a:t>
            </a: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s</a:t>
            </a:r>
            <a:r>
              <a:rPr lang="de-DE" sz="1400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nk </a:t>
            </a:r>
            <a:r>
              <a:rPr lang="de-DE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ef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malink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 </a:t>
            </a:r>
            <a:r>
              <a:rPr lang="de-DE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ze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/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nk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dirty="0">
                <a:solidFill>
                  <a:srgbClr val="B2B2B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// ... 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sz="1400" dirty="0">
              <a:solidFill>
                <a:srgbClr val="ABB2BF"/>
              </a:solidFill>
              <a:latin typeface="Fira Code" panose="020B08090500000200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9672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Context</a:t>
            </a:r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D356D5-AB5A-1046-AECD-45C2959ADF34}"/>
              </a:ext>
            </a:extLst>
          </p:cNvPr>
          <p:cNvSpPr txBox="1"/>
          <p:nvPr/>
        </p:nvSpPr>
        <p:spPr>
          <a:xfrm>
            <a:off x="2783632" y="1308324"/>
            <a:ext cx="6624736" cy="554461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Context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Context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100px'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Context.Provid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0px'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g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user} 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/</a:t>
            </a:r>
            <a:r>
              <a:rPr lang="en-US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Context.Provid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 which renders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g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user} 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 which renders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geLayout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user} 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 which renders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vigationBar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 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 </a:t>
            </a:r>
            <a:r>
              <a:rPr lang="de-DE" sz="1400" i="1" dirty="0" err="1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ich</a:t>
            </a:r>
            <a:r>
              <a:rPr lang="de-DE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i="1" dirty="0" err="1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s</a:t>
            </a:r>
            <a:r>
              <a:rPr lang="de-DE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nk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ef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nk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&lt;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user} 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nk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ic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textTyp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atarSizeContext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&lt;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g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yl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{width</a:t>
            </a:r>
            <a:r>
              <a:rPr lang="en-US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text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} </a:t>
            </a:r>
            <a:r>
              <a:rPr lang="en-US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rc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..."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5CFBDAC-1D2F-B54B-B8C5-740EFF508496}"/>
              </a:ext>
            </a:extLst>
          </p:cNvPr>
          <p:cNvSpPr txBox="1"/>
          <p:nvPr/>
        </p:nvSpPr>
        <p:spPr>
          <a:xfrm>
            <a:off x="1473200" y="2946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2"/>
              </a:buBlip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10582143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Styl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6F3408-4E3F-094B-9935-87B23C06F586}"/>
              </a:ext>
            </a:extLst>
          </p:cNvPr>
          <p:cNvSpPr txBox="1"/>
          <p:nvPr/>
        </p:nvSpPr>
        <p:spPr>
          <a:xfrm>
            <a:off x="1325470" y="2385648"/>
            <a:ext cx="4626514" cy="423979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ort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yles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 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./</a:t>
            </a:r>
            <a:r>
              <a:rPr lang="en-US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ample.module.css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..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c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Nam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yles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ampl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       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Hello {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</a:p>
          <a:p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sz="1400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C528A9-41D6-0741-8B17-D1730B78BF2C}"/>
              </a:ext>
            </a:extLst>
          </p:cNvPr>
          <p:cNvSpPr txBox="1"/>
          <p:nvPr/>
        </p:nvSpPr>
        <p:spPr>
          <a:xfrm>
            <a:off x="6961834" y="2385648"/>
            <a:ext cx="3906434" cy="423979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Style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height</a:t>
            </a:r>
            <a:r>
              <a:rPr lang="en-US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100%'</a:t>
            </a:r>
            <a:r>
              <a:rPr lang="en-US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 err="1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dth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100%'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 err="1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dding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 err="1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xtAlign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nter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&amp;:</a:t>
            </a:r>
            <a:r>
              <a:rPr lang="de-DE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ver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de-DE" dirty="0" err="1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rsor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de-DE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inter</a:t>
            </a:r>
            <a:r>
              <a:rPr lang="de-DE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x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</a:t>
            </a:r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de-DE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yle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de-DE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Style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...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/</a:t>
            </a:r>
            <a:r>
              <a:rPr lang="de-DE" dirty="0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v</a:t>
            </a:r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45002E-110D-7542-9AC4-0C96321DE8A7}"/>
              </a:ext>
            </a:extLst>
          </p:cNvPr>
          <p:cNvSpPr txBox="1"/>
          <p:nvPr/>
        </p:nvSpPr>
        <p:spPr>
          <a:xfrm>
            <a:off x="2639616" y="1916832"/>
            <a:ext cx="108012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600" b="1" dirty="0"/>
              <a:t>Separate fi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ECF8A5-A71D-0945-9E42-80565C2F9B0E}"/>
              </a:ext>
            </a:extLst>
          </p:cNvPr>
          <p:cNvSpPr txBox="1"/>
          <p:nvPr/>
        </p:nvSpPr>
        <p:spPr>
          <a:xfrm>
            <a:off x="8472266" y="1941364"/>
            <a:ext cx="108012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600" b="1" dirty="0"/>
              <a:t>Inline</a:t>
            </a:r>
          </a:p>
        </p:txBody>
      </p:sp>
    </p:spTree>
    <p:extLst>
      <p:ext uri="{BB962C8B-B14F-4D97-AF65-F5344CB8AC3E}">
        <p14:creationId xmlns:p14="http://schemas.microsoft.com/office/powerpoint/2010/main" val="89992071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/>
              <a:t>Controlled Compon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76684C-C072-AB4F-8174-8977BFE6F1F9}"/>
              </a:ext>
            </a:extLst>
          </p:cNvPr>
          <p:cNvSpPr txBox="1"/>
          <p:nvPr/>
        </p:nvSpPr>
        <p:spPr>
          <a:xfrm>
            <a:off x="1559496" y="1313384"/>
            <a:ext cx="9073007" cy="554461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Form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ends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ct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AC863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ructo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p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s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'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Change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Change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nd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Submit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Submit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nd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Chang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ven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Stat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{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vent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rget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 err="1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Submi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ven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ler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A name was submitted: '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D7DEEA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+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>
                <a:solidFill>
                  <a:srgbClr val="79B6F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nder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m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Submi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Submi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Name: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put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z="14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Chang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{</a:t>
            </a:r>
            <a:r>
              <a:rPr lang="en-US" sz="1400" dirty="0" err="1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400" dirty="0" err="1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 err="1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ndleChang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bel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put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z="14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bmi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C5A5C5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</a:t>
            </a:r>
            <a:r>
              <a:rPr lang="en-US" sz="1400" dirty="0">
                <a:solidFill>
                  <a:srgbClr val="8DC891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bmit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de-DE" sz="1400" dirty="0">
                <a:solidFill>
                  <a:srgbClr val="FC929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m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de-DE" sz="1400" dirty="0">
                <a:solidFill>
                  <a:srgbClr val="88C6BE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62146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Jest</a:t>
            </a:r>
            <a:endParaRPr lang="de-DE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8D7911-648C-2948-9331-22BCC428958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076684C-C072-AB4F-8174-8977BFE6F1F9}"/>
              </a:ext>
            </a:extLst>
          </p:cNvPr>
          <p:cNvSpPr txBox="1"/>
          <p:nvPr/>
        </p:nvSpPr>
        <p:spPr>
          <a:xfrm>
            <a:off x="1559496" y="3429000"/>
            <a:ext cx="9073007" cy="100811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"scripts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"test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nx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test --watch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"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test:ci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nx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test --ci"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,</a:t>
            </a:r>
          </a:p>
        </p:txBody>
      </p:sp>
      <p:sp>
        <p:nvSpPr>
          <p:cNvPr id="2" name="Textfeld 3">
            <a:extLst>
              <a:ext uri="{FF2B5EF4-FFF2-40B4-BE49-F238E27FC236}">
                <a16:creationId xmlns:a16="http://schemas.microsoft.com/office/drawing/2014/main" id="{50EEA576-1060-DD24-C2C7-5A70884A5B9D}"/>
              </a:ext>
            </a:extLst>
          </p:cNvPr>
          <p:cNvSpPr txBox="1"/>
          <p:nvPr/>
        </p:nvSpPr>
        <p:spPr>
          <a:xfrm>
            <a:off x="551384" y="5877272"/>
            <a:ext cx="6832376" cy="3597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dirty="0"/>
              <a:t>https://</a:t>
            </a:r>
            <a:r>
              <a:rPr lang="de-DE" dirty="0" err="1"/>
              <a:t>jestjs.io</a:t>
            </a:r>
            <a:r>
              <a:rPr lang="de-DE" dirty="0"/>
              <a:t>/</a:t>
            </a:r>
            <a:r>
              <a:rPr lang="de-DE" dirty="0" err="1"/>
              <a:t>docs</a:t>
            </a:r>
            <a:r>
              <a:rPr lang="de-DE" dirty="0"/>
              <a:t>/</a:t>
            </a:r>
            <a:r>
              <a:rPr lang="de-DE" dirty="0" err="1"/>
              <a:t>getting-start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177825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Jest</a:t>
            </a:r>
            <a:r>
              <a:rPr lang="de-DE" b="1" dirty="0"/>
              <a:t> - </a:t>
            </a:r>
            <a:r>
              <a:rPr lang="de-DE" b="1" dirty="0" err="1"/>
              <a:t>Testing</a:t>
            </a:r>
            <a:endParaRPr lang="de-DE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76684C-C072-AB4F-8174-8977BFE6F1F9}"/>
              </a:ext>
            </a:extLst>
          </p:cNvPr>
          <p:cNvSpPr txBox="1"/>
          <p:nvPr/>
        </p:nvSpPr>
        <p:spPr>
          <a:xfrm>
            <a:off x="1559496" y="2204864"/>
            <a:ext cx="9073007" cy="403244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describ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Hello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i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should show name when clicked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async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  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expectedNa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test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    rend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Hello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nam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expectedNam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);</a:t>
            </a:r>
          </a:p>
          <a:p>
            <a:r>
              <a:rPr lang="en-US" b="0" i="1" dirty="0">
                <a:solidFill>
                  <a:srgbClr val="7F848E"/>
                </a:solidFill>
                <a:effectLst/>
                <a:latin typeface="Fira Code" panose="020B0809050000020004" pitchFamily="34" charset="0"/>
              </a:rPr>
              <a:t>    // query returns null if not found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    expec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creen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queryByTex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expectedNa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)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toBeNull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creen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getByRol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button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  awai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userEven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clic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  <a:p>
            <a:r>
              <a:rPr lang="en-US" b="0" i="1" dirty="0">
                <a:solidFill>
                  <a:srgbClr val="7F848E"/>
                </a:solidFill>
                <a:effectLst/>
                <a:latin typeface="Fira Code" panose="020B0809050000020004" pitchFamily="34" charset="0"/>
              </a:rPr>
              <a:t>    // get throws if not found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creen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getByTex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`Hello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${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expectedNam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`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)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);</a:t>
            </a:r>
          </a:p>
        </p:txBody>
      </p:sp>
    </p:spTree>
    <p:extLst>
      <p:ext uri="{BB962C8B-B14F-4D97-AF65-F5344CB8AC3E}">
        <p14:creationId xmlns:p14="http://schemas.microsoft.com/office/powerpoint/2010/main" val="51870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Say Hi </a:t>
            </a:r>
            <a:endParaRPr lang="de-DE" dirty="0"/>
          </a:p>
        </p:txBody>
      </p:sp>
      <p:sp>
        <p:nvSpPr>
          <p:cNvPr id="8" name="Textfeld 3">
            <a:extLst>
              <a:ext uri="{FF2B5EF4-FFF2-40B4-BE49-F238E27FC236}">
                <a16:creationId xmlns:a16="http://schemas.microsoft.com/office/drawing/2014/main" id="{9429A0EC-2DB6-C645-8C40-9F7DF1378DD4}"/>
              </a:ext>
            </a:extLst>
          </p:cNvPr>
          <p:cNvSpPr txBox="1"/>
          <p:nvPr/>
        </p:nvSpPr>
        <p:spPr>
          <a:xfrm>
            <a:off x="623392" y="3426718"/>
            <a:ext cx="5112568" cy="13328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US" sz="2400" dirty="0"/>
              <a:t>What is your background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US" sz="2400" dirty="0"/>
              <a:t>Expectations for the training</a:t>
            </a:r>
          </a:p>
        </p:txBody>
      </p:sp>
      <p:pic>
        <p:nvPicPr>
          <p:cNvPr id="5" name="Picture 4" descr="A person with a blue shirt and black hair holding up his hand&#10;&#10;Description automatically generated">
            <a:extLst>
              <a:ext uri="{FF2B5EF4-FFF2-40B4-BE49-F238E27FC236}">
                <a16:creationId xmlns:a16="http://schemas.microsoft.com/office/drawing/2014/main" id="{05B3728C-AD18-C2EE-BF7E-A59DF1AA94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858" y="1484783"/>
            <a:ext cx="7192142" cy="5370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42779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Jest</a:t>
            </a:r>
            <a:r>
              <a:rPr lang="de-DE" b="1" dirty="0"/>
              <a:t> - Moc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76684C-C072-AB4F-8174-8977BFE6F1F9}"/>
              </a:ext>
            </a:extLst>
          </p:cNvPr>
          <p:cNvSpPr txBox="1"/>
          <p:nvPr/>
        </p:nvSpPr>
        <p:spPr>
          <a:xfrm>
            <a:off x="1559496" y="2204864"/>
            <a:ext cx="9073007" cy="403244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describ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LoginForm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le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inMoc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jes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Moc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beforeEac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inMoc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jes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f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mockReturnValu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romise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resolv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);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jes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spy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au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useAuth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mockReturnValu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  log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inMoc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isAuthenticate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fals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  regis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jes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f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,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  logou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jes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f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})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);</a:t>
            </a:r>
          </a:p>
          <a:p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 . . </a:t>
            </a:r>
          </a:p>
        </p:txBody>
      </p:sp>
    </p:spTree>
    <p:extLst>
      <p:ext uri="{BB962C8B-B14F-4D97-AF65-F5344CB8AC3E}">
        <p14:creationId xmlns:p14="http://schemas.microsoft.com/office/powerpoint/2010/main" val="75580280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MUI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C790E37-A834-BB4D-89EE-8E2D5E4F0ED1}"/>
              </a:ext>
            </a:extLst>
          </p:cNvPr>
          <p:cNvSpPr txBox="1"/>
          <p:nvPr/>
        </p:nvSpPr>
        <p:spPr>
          <a:xfrm>
            <a:off x="2207568" y="2741588"/>
            <a:ext cx="5400599" cy="22322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endParaRPr lang="de-DE" dirty="0"/>
          </a:p>
          <a:p>
            <a:pPr>
              <a:buSzPct val="100000"/>
            </a:pPr>
            <a:endParaRPr lang="de-DE" dirty="0"/>
          </a:p>
          <a:p>
            <a:pPr marL="285750" indent="-285750">
              <a:buSzPct val="100000"/>
              <a:buFontTx/>
              <a:buChar char="-"/>
            </a:pPr>
            <a:r>
              <a:rPr lang="de-DE" dirty="0"/>
              <a:t>Material Design </a:t>
            </a:r>
            <a:r>
              <a:rPr lang="de-DE" dirty="0" err="1"/>
              <a:t>is</a:t>
            </a:r>
            <a:r>
              <a:rPr lang="de-DE" dirty="0"/>
              <a:t> a Design System;</a:t>
            </a:r>
          </a:p>
          <a:p>
            <a:pPr marL="285750" indent="-285750">
              <a:buSzPct val="100000"/>
              <a:buFontTx/>
              <a:buChar char="-"/>
            </a:pPr>
            <a:r>
              <a:rPr lang="de-DE" dirty="0"/>
              <a:t>MUI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React</a:t>
            </a:r>
            <a:r>
              <a:rPr lang="de-DE" dirty="0"/>
              <a:t> Implement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esign System;</a:t>
            </a:r>
          </a:p>
          <a:p>
            <a:pPr marL="285750" indent="-285750">
              <a:buSzPct val="100000"/>
              <a:buFontTx/>
              <a:buChar char="-"/>
            </a:pPr>
            <a:endParaRPr lang="de-DE" dirty="0"/>
          </a:p>
          <a:p>
            <a:pPr marL="285750" indent="-285750">
              <a:buSzPct val="100000"/>
              <a:buFontTx/>
              <a:buChar char="-"/>
            </a:pPr>
            <a:endParaRPr lang="de-DE" dirty="0"/>
          </a:p>
          <a:p>
            <a:pPr marL="285750" indent="-285750">
              <a:buSzPct val="100000"/>
              <a:buFontTx/>
              <a:buChar char="-"/>
            </a:pP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49D4FB-D2BA-1B46-92EC-0272AFB512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4720762"/>
            <a:ext cx="1425600" cy="11314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F41F55B-3F6B-164D-A49B-3520C6C7B9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2204864"/>
            <a:ext cx="1422400" cy="1422400"/>
          </a:xfrm>
          <a:prstGeom prst="rect">
            <a:avLst/>
          </a:prstGeom>
        </p:spPr>
      </p:pic>
      <p:sp>
        <p:nvSpPr>
          <p:cNvPr id="9" name="Textfeld 3">
            <a:extLst>
              <a:ext uri="{FF2B5EF4-FFF2-40B4-BE49-F238E27FC236}">
                <a16:creationId xmlns:a16="http://schemas.microsoft.com/office/drawing/2014/main" id="{F1F2BAF9-98CD-924A-8B06-7EEEB7ADD7BE}"/>
              </a:ext>
            </a:extLst>
          </p:cNvPr>
          <p:cNvSpPr txBox="1"/>
          <p:nvPr/>
        </p:nvSpPr>
        <p:spPr>
          <a:xfrm>
            <a:off x="623392" y="5564159"/>
            <a:ext cx="6832376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dirty="0"/>
              <a:t>https://material.io/design/</a:t>
            </a:r>
          </a:p>
          <a:p>
            <a:pPr>
              <a:buSzPct val="100000"/>
            </a:pPr>
            <a:r>
              <a:rPr lang="de-DE" dirty="0"/>
              <a:t>https://mui.com/material-ui/getting-started/</a:t>
            </a:r>
          </a:p>
        </p:txBody>
      </p:sp>
    </p:spTree>
    <p:extLst>
      <p:ext uri="{BB962C8B-B14F-4D97-AF65-F5344CB8AC3E}">
        <p14:creationId xmlns:p14="http://schemas.microsoft.com/office/powerpoint/2010/main" val="420876999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MUI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0B2845-494B-9448-B2E9-A9BCE512102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C3F0558-D9CB-3939-4B14-86FA075D2635}"/>
              </a:ext>
            </a:extLst>
          </p:cNvPr>
          <p:cNvSpPr txBox="1"/>
          <p:nvPr/>
        </p:nvSpPr>
        <p:spPr>
          <a:xfrm>
            <a:off x="1144094" y="2875956"/>
            <a:ext cx="9903811" cy="1106087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m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install @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mui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/material @emotion/react @emotion/styled</a:t>
            </a:r>
            <a:b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</a:br>
            <a:endParaRPr lang="en-GB" sz="2000" dirty="0">
              <a:solidFill>
                <a:srgbClr val="ABB2BF"/>
              </a:solidFill>
              <a:latin typeface="Fira Code" panose="020B0809050000020004" pitchFamily="49" charset="0"/>
            </a:endParaRP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npm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 install @</a:t>
            </a:r>
            <a:r>
              <a:rPr lang="en-GB" sz="2000" dirty="0" err="1">
                <a:solidFill>
                  <a:srgbClr val="ABB2BF"/>
                </a:solidFill>
                <a:latin typeface="Fira Code" panose="020B0809050000020004" pitchFamily="49" charset="0"/>
              </a:rPr>
              <a:t>mui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/icons-material</a:t>
            </a:r>
          </a:p>
        </p:txBody>
      </p:sp>
    </p:spTree>
    <p:extLst>
      <p:ext uri="{BB962C8B-B14F-4D97-AF65-F5344CB8AC3E}">
        <p14:creationId xmlns:p14="http://schemas.microsoft.com/office/powerpoint/2010/main" val="32392540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Theme</a:t>
            </a:r>
            <a:r>
              <a:rPr lang="de-DE" dirty="0"/>
              <a:t> &amp; Styl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7F739B-67E3-4CF7-C601-956B5D8A62F1}"/>
              </a:ext>
            </a:extLst>
          </p:cNvPr>
          <p:cNvSpPr txBox="1"/>
          <p:nvPr/>
        </p:nvSpPr>
        <p:spPr>
          <a:xfrm>
            <a:off x="227348" y="1772816"/>
            <a:ext cx="11737303" cy="47251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CustomThemeProvider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C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ropsWithChildre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 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{ </a:t>
            </a:r>
            <a:r>
              <a:rPr lang="en-US" sz="2000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) 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const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heme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Memo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() 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  retur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createTheme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</a:t>
            </a:r>
          </a:p>
          <a:p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palette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  primary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    mai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#6E9C9F’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  },</a:t>
            </a:r>
          </a:p>
          <a:p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  secondary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    mai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#91DD98’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  },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},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})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 []);</a:t>
            </a:r>
          </a:p>
          <a:p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retur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&lt;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hemeProvider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hem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heme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hemeProvider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223917461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Using</a:t>
            </a:r>
            <a:r>
              <a:rPr lang="de-DE" dirty="0"/>
              <a:t> MUI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B02000-8B0D-80C7-06A1-70BB10000664}"/>
              </a:ext>
            </a:extLst>
          </p:cNvPr>
          <p:cNvSpPr txBox="1"/>
          <p:nvPr/>
        </p:nvSpPr>
        <p:spPr>
          <a:xfrm>
            <a:off x="1685510" y="1772816"/>
            <a:ext cx="8820980" cy="47251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aper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sz="20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sx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width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80%"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padding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2rem"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}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ack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spacing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3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h1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Login&lt;/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h1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extField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label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Email"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yp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email”</a:t>
            </a:r>
            <a:endParaRPr lang="en-US" sz="20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valu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mail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onChang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onEmailChange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0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/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extField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label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Password"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yp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password”</a:t>
            </a:r>
            <a:endParaRPr lang="en-US" sz="20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valu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password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onChang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onPasswordChange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</a:p>
          <a:p>
            <a:r>
              <a:rPr lang="en-US" sz="2000" dirty="0">
                <a:solidFill>
                  <a:srgbClr val="C678DD"/>
                </a:solidFill>
                <a:latin typeface="Fira Code" panose="020B0809050000020004" pitchFamily="34" charset="0"/>
              </a:rPr>
              <a:t>    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/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ype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submit"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Login&lt;/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/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ack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aper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16863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Use Ic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CF7158-1650-A4D0-C46C-13B5A5EE098F}"/>
              </a:ext>
            </a:extLst>
          </p:cNvPr>
          <p:cNvSpPr txBox="1"/>
          <p:nvPr/>
        </p:nvSpPr>
        <p:spPr>
          <a:xfrm>
            <a:off x="1685510" y="1772816"/>
            <a:ext cx="8820980" cy="417646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SaveIco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@</a:t>
            </a:r>
            <a:r>
              <a:rPr lang="en-US" sz="2000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mui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/icons-material/Save'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variant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contained"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sz="20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startIcon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0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aveIco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sz="20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onClick</a:t>
            </a:r>
            <a:r>
              <a:rPr lang="en-US" sz="20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 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. . . 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</a:t>
            </a:r>
            <a:r>
              <a:rPr lang="en-US" sz="20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0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Save</a:t>
            </a:r>
          </a:p>
          <a:p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sz="20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sz="20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46995774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Formik</a:t>
            </a:r>
            <a:endParaRPr lang="de-DE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AC6211-6D92-904B-9BE8-BB4DDD651EC6}"/>
              </a:ext>
            </a:extLst>
          </p:cNvPr>
          <p:cNvSpPr txBox="1"/>
          <p:nvPr/>
        </p:nvSpPr>
        <p:spPr>
          <a:xfrm>
            <a:off x="839416" y="5877272"/>
            <a:ext cx="468052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https://</a:t>
            </a:r>
            <a:r>
              <a:rPr lang="en-GB" sz="1600" dirty="0" err="1"/>
              <a:t>formik.org</a:t>
            </a:r>
            <a:r>
              <a:rPr lang="en-GB" sz="1600" dirty="0"/>
              <a:t>/docs/overvie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8B6016-28B1-6048-9791-BA9660B940F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C53CADE-AD79-8A4C-B9E4-1AA9EFB69A10}"/>
              </a:ext>
            </a:extLst>
          </p:cNvPr>
          <p:cNvSpPr txBox="1"/>
          <p:nvPr/>
        </p:nvSpPr>
        <p:spPr>
          <a:xfrm>
            <a:off x="1559496" y="3633060"/>
            <a:ext cx="9073007" cy="54709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mik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yup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92226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Formik</a:t>
            </a:r>
            <a:endParaRPr lang="de-DE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76EEC7-D09A-5445-8127-41238237EBE0}"/>
              </a:ext>
            </a:extLst>
          </p:cNvPr>
          <p:cNvSpPr txBox="1"/>
          <p:nvPr/>
        </p:nvSpPr>
        <p:spPr>
          <a:xfrm>
            <a:off x="360017" y="1700808"/>
            <a:ext cx="11377262" cy="504056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ormik</a:t>
            </a:r>
            <a:endParaRPr lang="en-US" sz="2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sz="24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initialValues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initialValues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4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sz="2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sz="2400" b="0" i="1" dirty="0" err="1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onSubmit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values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 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login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values</a:t>
            </a:r>
            <a:r>
              <a:rPr lang="en-US" sz="2400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sz="24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mail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sz="2400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values</a:t>
            </a:r>
            <a:r>
              <a:rPr lang="en-US" sz="2400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sz="24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passwor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}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</a:t>
            </a:r>
            <a:r>
              <a:rPr lang="en-US" sz="24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orm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sz="24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iel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name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email"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    {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 </a:t>
            </a:r>
            <a:r>
              <a:rPr lang="en-US" sz="2400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fiel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sz="2400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form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: 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ieldProps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2400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ng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) 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</a:t>
            </a: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  &lt;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extField</a:t>
            </a:r>
            <a:endParaRPr lang="en-US" sz="2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        {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..</a:t>
            </a:r>
            <a:r>
              <a:rPr lang="en-US" sz="24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field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sz="2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        label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Email"</a:t>
            </a:r>
            <a:endParaRPr lang="en-US" sz="2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sz="2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        type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email”</a:t>
            </a: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   /&gt;</a:t>
            </a:r>
          </a:p>
          <a:p>
            <a:r>
              <a:rPr lang="en-US" sz="2400" dirty="0">
                <a:solidFill>
                  <a:srgbClr val="ABB2BF"/>
                </a:solidFill>
                <a:latin typeface="Fira Code" panose="020B0809050000020004" pitchFamily="34" charset="0"/>
              </a:rPr>
              <a:t>      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}</a:t>
            </a:r>
          </a:p>
        </p:txBody>
      </p:sp>
    </p:spTree>
    <p:extLst>
      <p:ext uri="{BB962C8B-B14F-4D97-AF65-F5344CB8AC3E}">
        <p14:creationId xmlns:p14="http://schemas.microsoft.com/office/powerpoint/2010/main" val="67171216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Formik</a:t>
            </a:r>
            <a:r>
              <a:rPr lang="de-DE" b="1" dirty="0"/>
              <a:t> - Valid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76EEC7-D09A-5445-8127-41238237EBE0}"/>
              </a:ext>
            </a:extLst>
          </p:cNvPr>
          <p:cNvSpPr txBox="1"/>
          <p:nvPr/>
        </p:nvSpPr>
        <p:spPr>
          <a:xfrm>
            <a:off x="8200" y="2564904"/>
            <a:ext cx="12183800" cy="288032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*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as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Yup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yup'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b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inSchema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Yup</a:t>
            </a:r>
            <a:r>
              <a:rPr lang="en-US" sz="2400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sz="2400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object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.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shape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</a:t>
            </a:r>
          </a:p>
          <a:p>
            <a:r>
              <a:rPr lang="en-US" sz="24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email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Yup</a:t>
            </a:r>
            <a:r>
              <a:rPr lang="en-US" sz="2400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sz="2400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string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.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email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Invalid email'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.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require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Required’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,</a:t>
            </a:r>
          </a:p>
          <a:p>
            <a:r>
              <a:rPr lang="en-US" sz="2400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passwor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sz="2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Yup</a:t>
            </a:r>
            <a:r>
              <a:rPr lang="en-US" sz="2400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sz="2400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string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.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min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8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Too Short!'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.</a:t>
            </a:r>
            <a:r>
              <a:rPr lang="en-US" sz="2400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required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sz="2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Required'</a:t>
            </a:r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,</a:t>
            </a:r>
          </a:p>
          <a:p>
            <a:r>
              <a:rPr lang="en-US" sz="2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);</a:t>
            </a:r>
          </a:p>
        </p:txBody>
      </p:sp>
    </p:spTree>
    <p:extLst>
      <p:ext uri="{BB962C8B-B14F-4D97-AF65-F5344CB8AC3E}">
        <p14:creationId xmlns:p14="http://schemas.microsoft.com/office/powerpoint/2010/main" val="399385395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Form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FECE93-6DC5-3049-81A2-774AAA11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pic>
        <p:nvPicPr>
          <p:cNvPr id="12" name="Picture 11" descr="A screenshot of a login screen&#10;&#10;Description automatically generated">
            <a:extLst>
              <a:ext uri="{FF2B5EF4-FFF2-40B4-BE49-F238E27FC236}">
                <a16:creationId xmlns:a16="http://schemas.microsoft.com/office/drawing/2014/main" id="{B1880A52-B7E3-5D8D-A478-5CDAEEFDF3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2366601"/>
            <a:ext cx="4895414" cy="3307712"/>
          </a:xfrm>
          <a:prstGeom prst="rect">
            <a:avLst/>
          </a:prstGeom>
        </p:spPr>
      </p:pic>
      <p:pic>
        <p:nvPicPr>
          <p:cNvPr id="14" name="Picture 13" descr="A screenshot of a login form&#10;&#10;Description automatically generated">
            <a:extLst>
              <a:ext uri="{FF2B5EF4-FFF2-40B4-BE49-F238E27FC236}">
                <a16:creationId xmlns:a16="http://schemas.microsoft.com/office/drawing/2014/main" id="{99460F03-2DC4-42BD-91B6-78EAAB4ED3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114" y="2366601"/>
            <a:ext cx="4895414" cy="3560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08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5E9E2B5-E64F-9643-8EC7-014576C9EFE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9833" y="874224"/>
            <a:ext cx="5072334" cy="5072334"/>
          </a:xfrm>
          <a:prstGeom prst="rect">
            <a:avLst/>
          </a:prstGeom>
          <a:noFill/>
        </p:spPr>
      </p:pic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Setup Environment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953CDE-13C1-504F-95C8-6F44DB5D52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14" y="2063056"/>
            <a:ext cx="2185339" cy="21853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B2AC185-DE57-FD4D-A0E4-0809718DE7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13" y="3410391"/>
            <a:ext cx="2185339" cy="218533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B334589-578B-5440-B007-7C70D8ADA3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7832" y="3148199"/>
            <a:ext cx="1279197" cy="127919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DF33DF-093A-FA4E-86D6-74C1B835E210}"/>
              </a:ext>
            </a:extLst>
          </p:cNvPr>
          <p:cNvSpPr txBox="1"/>
          <p:nvPr/>
        </p:nvSpPr>
        <p:spPr>
          <a:xfrm>
            <a:off x="1199456" y="616530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6"/>
              </a:buBlip>
            </a:pPr>
            <a:endParaRPr lang="en-GB" sz="1600" dirty="0"/>
          </a:p>
        </p:txBody>
      </p:sp>
      <p:sp>
        <p:nvSpPr>
          <p:cNvPr id="12" name="Textfeld 3">
            <a:extLst>
              <a:ext uri="{FF2B5EF4-FFF2-40B4-BE49-F238E27FC236}">
                <a16:creationId xmlns:a16="http://schemas.microsoft.com/office/drawing/2014/main" id="{C855EEAE-2648-2F44-8BDF-50046B8E2442}"/>
              </a:ext>
            </a:extLst>
          </p:cNvPr>
          <p:cNvSpPr txBox="1"/>
          <p:nvPr/>
        </p:nvSpPr>
        <p:spPr>
          <a:xfrm>
            <a:off x="2222260" y="5181953"/>
            <a:ext cx="7500547" cy="14568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de-DE" sz="1600" dirty="0">
                <a:hlinkClick r:id="rId7"/>
              </a:rPr>
              <a:t>https://nodejs.org/en/download/</a:t>
            </a:r>
            <a:endParaRPr lang="de-DE" sz="1600" dirty="0"/>
          </a:p>
          <a:p>
            <a:pPr>
              <a:buSzPct val="100000"/>
            </a:pPr>
            <a:r>
              <a:rPr lang="de-DE" sz="1600" dirty="0">
                <a:hlinkClick r:id="rId8"/>
              </a:rPr>
              <a:t>https://code.visualstudio.com/download</a:t>
            </a:r>
            <a:endParaRPr lang="de-DE" sz="1600" dirty="0"/>
          </a:p>
          <a:p>
            <a:pPr>
              <a:buSzPct val="100000"/>
            </a:pPr>
            <a:r>
              <a:rPr lang="de-DE" sz="1600" dirty="0">
                <a:hlinkClick r:id="rId9"/>
              </a:rPr>
              <a:t>https://marketplace.visualstudio.com/items?itemName=nrwl.angular-console</a:t>
            </a:r>
            <a:endParaRPr lang="de-DE" sz="1600" dirty="0"/>
          </a:p>
          <a:p>
            <a:pPr>
              <a:buSzPct val="100000"/>
            </a:pPr>
            <a:r>
              <a:rPr lang="de-DE" sz="1600" dirty="0">
                <a:hlinkClick r:id="rId7"/>
              </a:rPr>
              <a:t>https://marketplace.visualstudio.com/items?itemName=usernamehw.errorlens</a:t>
            </a:r>
          </a:p>
          <a:p>
            <a:pPr>
              <a:buSzPct val="100000"/>
            </a:pPr>
            <a:r>
              <a:rPr lang="de-DE" sz="1600" dirty="0">
                <a:hlinkClick r:id="rId7"/>
              </a:rPr>
              <a:t>https://marketplace.visualstudio.com/items?itemName=esbenp.prettier-vscode</a:t>
            </a:r>
          </a:p>
          <a:p>
            <a:pPr>
              <a:buSzPct val="100000"/>
            </a:pPr>
            <a:endParaRPr lang="de-DE" sz="1600" dirty="0">
              <a:hlinkClick r:id="rId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5F68E2-A84B-FB49-92DF-6FB121083EE7}"/>
              </a:ext>
            </a:extLst>
          </p:cNvPr>
          <p:cNvSpPr/>
          <p:nvPr/>
        </p:nvSpPr>
        <p:spPr>
          <a:xfrm>
            <a:off x="4583832" y="2063056"/>
            <a:ext cx="3024336" cy="2086024"/>
          </a:xfrm>
          <a:prstGeom prst="rect">
            <a:avLst/>
          </a:prstGeom>
          <a:solidFill>
            <a:srgbClr val="7A8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6600" b="1" dirty="0"/>
              <a:t>SETU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89D67B-F8FD-1E44-9F6E-9752B5CCFB7C}"/>
              </a:ext>
            </a:extLst>
          </p:cNvPr>
          <p:cNvSpPr txBox="1"/>
          <p:nvPr/>
        </p:nvSpPr>
        <p:spPr>
          <a:xfrm>
            <a:off x="4223792" y="3645024"/>
            <a:ext cx="3744416" cy="648072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3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&gt; node </a:t>
            </a:r>
            <a:r>
              <a:rPr lang="en-GB" sz="2000" dirty="0">
                <a:solidFill>
                  <a:srgbClr val="56B6C2"/>
                </a:solidFill>
                <a:latin typeface="Fira Code" panose="020B0809050000020004" pitchFamily="49" charset="0"/>
              </a:rPr>
              <a:t>–</a:t>
            </a:r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v</a:t>
            </a:r>
          </a:p>
          <a:p>
            <a:r>
              <a:rPr lang="en-GB" sz="2000" dirty="0">
                <a:solidFill>
                  <a:srgbClr val="ABB2BF"/>
                </a:solidFill>
                <a:latin typeface="Fira Code" panose="020B0809050000020004" pitchFamily="49" charset="0"/>
              </a:rPr>
              <a:t>v22.X.X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EAD1FF9-75AE-1649-BCBD-E90C75CFAFA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12312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Async</a:t>
            </a:r>
            <a:r>
              <a:rPr lang="de-DE" dirty="0"/>
              <a:t> </a:t>
            </a:r>
            <a:r>
              <a:rPr lang="de-DE" dirty="0" err="1"/>
              <a:t>calls</a:t>
            </a:r>
            <a:r>
              <a:rPr lang="de-DE" dirty="0"/>
              <a:t> AXIO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15D370-D4FE-AB45-AA7D-D6A26366D275}"/>
              </a:ext>
            </a:extLst>
          </p:cNvPr>
          <p:cNvSpPr txBox="1"/>
          <p:nvPr/>
        </p:nvSpPr>
        <p:spPr>
          <a:xfrm>
            <a:off x="1055440" y="1729168"/>
            <a:ext cx="2664296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dirty="0" err="1"/>
              <a:t>Promise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HTTP </a:t>
            </a:r>
            <a:r>
              <a:rPr lang="de-DE" dirty="0" err="1"/>
              <a:t>client</a:t>
            </a:r>
            <a:endParaRPr lang="en-GB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7AB7120-2E96-B044-862E-B997F431E593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B265554-414F-EF40-81D3-77B755E10561}"/>
              </a:ext>
            </a:extLst>
          </p:cNvPr>
          <p:cNvSpPr txBox="1"/>
          <p:nvPr/>
        </p:nvSpPr>
        <p:spPr>
          <a:xfrm>
            <a:off x="2783632" y="2693337"/>
            <a:ext cx="6624736" cy="544523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xios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6C3F0A-0EAE-AD48-826C-17C64DA68DA8}"/>
              </a:ext>
            </a:extLst>
          </p:cNvPr>
          <p:cNvSpPr txBox="1"/>
          <p:nvPr/>
        </p:nvSpPr>
        <p:spPr>
          <a:xfrm>
            <a:off x="2783260" y="4210545"/>
            <a:ext cx="6624736" cy="1465043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350"/>
              </a:lnSpc>
            </a:pPr>
            <a:r>
              <a:rPr lang="en-US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xios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method</a:t>
            </a:r>
            <a:r>
              <a:rPr lang="en-US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get'</a:t>
            </a:r>
            <a:r>
              <a:rPr lang="en-US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dirty="0" err="1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rl</a:t>
            </a:r>
            <a:r>
              <a:rPr lang="en-US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https://</a:t>
            </a:r>
            <a:r>
              <a:rPr lang="en-US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.com</a:t>
            </a:r>
            <a:r>
              <a:rPr lang="en-US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n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spons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de-DE" sz="1400" i="1" dirty="0">
                <a:solidFill>
                  <a:srgbClr val="5C6370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TODO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350"/>
              </a:lnSpc>
            </a:pP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;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29889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AXIOS </a:t>
            </a:r>
            <a:r>
              <a:rPr lang="de-DE" dirty="0" err="1"/>
              <a:t>interceptors</a:t>
            </a: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8B3200-C903-AB4A-A473-20D064E8C247}"/>
              </a:ext>
            </a:extLst>
          </p:cNvPr>
          <p:cNvSpPr txBox="1"/>
          <p:nvPr/>
        </p:nvSpPr>
        <p:spPr>
          <a:xfrm>
            <a:off x="2711438" y="2564904"/>
            <a:ext cx="6769124" cy="3096343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axios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interceptors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quest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us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functio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config</a:t>
            </a:r>
            <a:r>
              <a:rPr lang="de-DE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: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any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tur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new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Promis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solv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,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ject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&gt;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const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D19A66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toke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localStorage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getItem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'</a:t>
            </a:r>
            <a:r>
              <a:rPr lang="de-DE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token</a:t>
            </a:r>
            <a:r>
              <a:rPr lang="de-DE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'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if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token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      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config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headers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E06C75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authorizatio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=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`</a:t>
            </a:r>
            <a:r>
              <a:rPr lang="de-DE" sz="1400" dirty="0" err="1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Bearer</a:t>
            </a:r>
            <a:r>
              <a:rPr lang="de-DE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${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token</a:t>
            </a:r>
            <a:r>
              <a:rPr lang="de-DE" sz="1400" dirty="0">
                <a:solidFill>
                  <a:srgbClr val="98C379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`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    </a:t>
            </a:r>
            <a:r>
              <a:rPr lang="de-DE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solve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config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)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,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functio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error</a:t>
            </a:r>
            <a:r>
              <a:rPr lang="de-DE" sz="1400" dirty="0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: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56B6C2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any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{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    </a:t>
            </a:r>
            <a:r>
              <a:rPr lang="de-DE" sz="1400" dirty="0" err="1">
                <a:solidFill>
                  <a:srgbClr val="C678DD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turn</a:t>
            </a:r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</a:t>
            </a:r>
            <a:r>
              <a:rPr lang="de-DE" sz="1400" dirty="0" err="1">
                <a:solidFill>
                  <a:srgbClr val="E5C07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Promise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.</a:t>
            </a:r>
            <a:r>
              <a:rPr lang="de-DE" sz="1400" dirty="0" err="1">
                <a:solidFill>
                  <a:srgbClr val="61AFE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reject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(</a:t>
            </a:r>
            <a:r>
              <a:rPr lang="de-DE" sz="1400" dirty="0" err="1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error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BBBBBB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  </a:t>
            </a:r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}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solidFill>
                  <a:srgbClr val="ABB2BF"/>
                </a:solidFill>
                <a:latin typeface="Menlo" panose="020B0609030804020204" pitchFamily="49" charset="0"/>
                <a:ea typeface="Times New Roman" panose="02020603050405020304" pitchFamily="18" charset="0"/>
              </a:rPr>
              <a:t>);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de-DE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  <a:endParaRPr lang="en-DE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805082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React</a:t>
            </a:r>
            <a:r>
              <a:rPr lang="de-DE" dirty="0"/>
              <a:t>-Que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FECE93-6DC5-3049-81A2-774AAA11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50B87D2-6D9C-10EB-9BAD-4F5069CC8A56}"/>
              </a:ext>
            </a:extLst>
          </p:cNvPr>
          <p:cNvSpPr txBox="1"/>
          <p:nvPr/>
        </p:nvSpPr>
        <p:spPr>
          <a:xfrm>
            <a:off x="2783632" y="2693337"/>
            <a:ext cx="6624736" cy="544523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@</a:t>
            </a:r>
            <a:r>
              <a:rPr lang="en-US" sz="1400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nstack</a:t>
            </a:r>
            <a:r>
              <a:rPr lang="en-US" sz="1400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react-query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F38AD9-FBB0-9561-D844-074CD449B0A2}"/>
              </a:ext>
            </a:extLst>
          </p:cNvPr>
          <p:cNvSpPr txBox="1"/>
          <p:nvPr/>
        </p:nvSpPr>
        <p:spPr>
          <a:xfrm>
            <a:off x="335361" y="6041399"/>
            <a:ext cx="4608512" cy="2967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https://</a:t>
            </a:r>
            <a:r>
              <a:rPr lang="en-GB" sz="1600" dirty="0" err="1"/>
              <a:t>tanstack.com</a:t>
            </a:r>
            <a:r>
              <a:rPr lang="en-GB" sz="1600" dirty="0"/>
              <a:t>/query/v4/docs/react/installation</a:t>
            </a:r>
          </a:p>
        </p:txBody>
      </p:sp>
    </p:spTree>
    <p:extLst>
      <p:ext uri="{BB962C8B-B14F-4D97-AF65-F5344CB8AC3E}">
        <p14:creationId xmlns:p14="http://schemas.microsoft.com/office/powerpoint/2010/main" val="13807054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React</a:t>
            </a:r>
            <a:r>
              <a:rPr lang="de-DE" dirty="0"/>
              <a:t>-Quer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50B87D2-6D9C-10EB-9BAD-4F5069CC8A56}"/>
              </a:ext>
            </a:extLst>
          </p:cNvPr>
          <p:cNvSpPr txBox="1"/>
          <p:nvPr/>
        </p:nvSpPr>
        <p:spPr>
          <a:xfrm>
            <a:off x="2063552" y="2564904"/>
            <a:ext cx="8064896" cy="2535863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sz="14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QueryClientProvider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sz="1400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QueryClient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@</a:t>
            </a:r>
            <a:r>
              <a:rPr lang="en-US" sz="1400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tanstack</a:t>
            </a:r>
            <a:r>
              <a:rPr lang="en-US" sz="1400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/react-query'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b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queryClient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new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QueryClient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</a:t>
            </a:r>
          </a:p>
          <a:p>
            <a:endParaRPr lang="en-US" sz="14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endParaRPr lang="en-US" sz="1400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sz="1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QueryClientProvider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sz="1400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client</a:t>
            </a:r>
            <a:r>
              <a:rPr lang="en-US" sz="1400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sz="1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queryClient</a:t>
            </a:r>
            <a:r>
              <a:rPr lang="en-US" sz="1400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. . . </a:t>
            </a:r>
          </a:p>
          <a:p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sz="1400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QueryClientProvider</a:t>
            </a:r>
            <a:r>
              <a:rPr lang="en-US" sz="1400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endParaRPr lang="en-US" sz="1400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814402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- react-router-</a:t>
            </a:r>
            <a:r>
              <a:rPr lang="en-US" dirty="0" err="1"/>
              <a:t>dom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3A51CD-983C-8E48-BA1E-06FF8F57D8A4}"/>
              </a:ext>
            </a:extLst>
          </p:cNvPr>
          <p:cNvSpPr txBox="1"/>
          <p:nvPr/>
        </p:nvSpPr>
        <p:spPr>
          <a:xfrm>
            <a:off x="186035" y="6477596"/>
            <a:ext cx="4608512" cy="2967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/>
              <a:t>https://</a:t>
            </a:r>
            <a:r>
              <a:rPr lang="en-GB" sz="1600" dirty="0" err="1"/>
              <a:t>reactrouter.com</a:t>
            </a:r>
            <a:r>
              <a:rPr lang="en-GB" sz="1600" dirty="0"/>
              <a:t>/</a:t>
            </a:r>
            <a:r>
              <a:rPr lang="en-GB" sz="1600" dirty="0" err="1"/>
              <a:t>en</a:t>
            </a:r>
            <a:r>
              <a:rPr lang="en-GB" sz="1600" dirty="0"/>
              <a:t>/mai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34384F-E35C-2F4A-AB98-088E1741ED1A}"/>
              </a:ext>
            </a:extLst>
          </p:cNvPr>
          <p:cNvSpPr txBox="1"/>
          <p:nvPr/>
        </p:nvSpPr>
        <p:spPr>
          <a:xfrm>
            <a:off x="2636335" y="3227450"/>
            <a:ext cx="6919330" cy="87306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react-router-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m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-D @types/react-router-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m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54457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– Wildcard path</a:t>
            </a:r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FBE48A-6019-B64F-A2FD-3569D3018620}"/>
              </a:ext>
            </a:extLst>
          </p:cNvPr>
          <p:cNvSpPr txBox="1"/>
          <p:nvPr/>
        </p:nvSpPr>
        <p:spPr>
          <a:xfrm>
            <a:off x="1546466" y="1700808"/>
            <a:ext cx="9073007" cy="335247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reateBrowser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react-router-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dom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Ho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./pages/home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NotFoun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./pages/not-found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createBrowser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[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pa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‘/home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lemen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Ho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pa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‘*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elemen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otFoun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]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5AEF0B-0575-F079-EA10-A57D589B41A2}"/>
              </a:ext>
            </a:extLst>
          </p:cNvPr>
          <p:cNvSpPr txBox="1"/>
          <p:nvPr/>
        </p:nvSpPr>
        <p:spPr>
          <a:xfrm>
            <a:off x="1559496" y="5301208"/>
            <a:ext cx="9073007" cy="12961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o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rend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ctMod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Provid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/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ctMod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360168213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– Lazy Loading</a:t>
            </a:r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FBE48A-6019-B64F-A2FD-3569D3018620}"/>
              </a:ext>
            </a:extLst>
          </p:cNvPr>
          <p:cNvSpPr txBox="1"/>
          <p:nvPr/>
        </p:nvSpPr>
        <p:spPr>
          <a:xfrm>
            <a:off x="1546466" y="1484784"/>
            <a:ext cx="9073007" cy="335247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reateBrowser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react-router-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dom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Ho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./pages/home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otFoun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lazy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./pages/not-found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createBrowser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[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pa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‘/home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lemen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Ho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pa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‘*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elemen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otFoun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]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5AEF0B-0575-F079-EA10-A57D589B41A2}"/>
              </a:ext>
            </a:extLst>
          </p:cNvPr>
          <p:cNvSpPr txBox="1"/>
          <p:nvPr/>
        </p:nvSpPr>
        <p:spPr>
          <a:xfrm>
            <a:off x="1559496" y="4941168"/>
            <a:ext cx="9073007" cy="187220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ot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rend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ctMod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uspens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fallback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div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Loading...&lt;/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div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Provid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&lt;/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uspens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&lt;/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ctMod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43448844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– URL Parameters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C2DB2A7-0E26-AD06-57B8-1687B7F7AAE4}"/>
              </a:ext>
            </a:extLst>
          </p:cNvPr>
          <p:cNvSpPr txBox="1"/>
          <p:nvPr/>
        </p:nvSpPr>
        <p:spPr>
          <a:xfrm>
            <a:off x="1559496" y="2492896"/>
            <a:ext cx="9073007" cy="3352479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createBrowserRoute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[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pa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‘/item/:id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lemen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&lt;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Ite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]);</a:t>
            </a:r>
          </a:p>
          <a:p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Ite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i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Params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retur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&lt;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div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id: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id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div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;</a:t>
            </a:r>
          </a:p>
          <a:p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23465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– Menu Navigation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BBE510-5EF2-F733-5BEE-DD306B5E8AE5}"/>
              </a:ext>
            </a:extLst>
          </p:cNvPr>
          <p:cNvSpPr txBox="1"/>
          <p:nvPr/>
        </p:nvSpPr>
        <p:spPr>
          <a:xfrm>
            <a:off x="2243572" y="1556792"/>
            <a:ext cx="7704856" cy="525628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// Navigate to another route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ink</a:t>
            </a:r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i="1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o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item/1”</a:t>
            </a:r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i="1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stat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{ </a:t>
            </a:r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so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value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/&gt;</a:t>
            </a:r>
          </a:p>
          <a:p>
            <a:endParaRPr lang="en-US" b="0" dirty="0">
              <a:solidFill>
                <a:srgbClr val="C678DD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state }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Locati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 // get state</a:t>
            </a:r>
          </a:p>
          <a:p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// Navigate to another route 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//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and get feedback if the “to” target route is active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avLink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to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/home"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  styl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 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isActive</a:t>
            </a:r>
            <a:r>
              <a:rPr lang="en-US" i="1" dirty="0">
                <a:solidFill>
                  <a:srgbClr val="ABB2BF"/>
                </a:solidFill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fontWeigh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isActiv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bold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: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’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color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isActiv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red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: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black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})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Home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avLink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31416768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- Navigation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B4EA4E-102B-B107-674C-0717E6BD589B}"/>
              </a:ext>
            </a:extLst>
          </p:cNvPr>
          <p:cNvSpPr txBox="1"/>
          <p:nvPr/>
        </p:nvSpPr>
        <p:spPr>
          <a:xfrm>
            <a:off x="1883532" y="3149936"/>
            <a:ext cx="8424936" cy="1224136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Redirec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C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retur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avigat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o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/login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replac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ru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25668343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Typescript Refresher</a:t>
            </a:r>
            <a:endParaRPr lang="de-DE" dirty="0"/>
          </a:p>
        </p:txBody>
      </p:sp>
      <p:sp>
        <p:nvSpPr>
          <p:cNvPr id="13" name="Textfeld 3">
            <a:extLst>
              <a:ext uri="{FF2B5EF4-FFF2-40B4-BE49-F238E27FC236}">
                <a16:creationId xmlns:a16="http://schemas.microsoft.com/office/drawing/2014/main" id="{498DA2B5-3634-7343-BE92-F8403FBDC90D}"/>
              </a:ext>
            </a:extLst>
          </p:cNvPr>
          <p:cNvSpPr txBox="1"/>
          <p:nvPr/>
        </p:nvSpPr>
        <p:spPr>
          <a:xfrm>
            <a:off x="1289466" y="1399258"/>
            <a:ext cx="9613068" cy="40594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endParaRPr lang="en-GB" dirty="0"/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dirty="0"/>
              <a:t>Superset of JavaScript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dirty="0"/>
              <a:t>Compiles to JavaScript (cannot be directly executed in Browser or NodeJS; runs in </a:t>
            </a:r>
            <a:r>
              <a:rPr lang="en-GB" dirty="0" err="1"/>
              <a:t>Deno</a:t>
            </a:r>
            <a:r>
              <a:rPr lang="en-GB" dirty="0"/>
              <a:t>)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dirty="0"/>
              <a:t>Static typing (on demand e.g. </a:t>
            </a:r>
            <a:r>
              <a:rPr lang="en-GB" dirty="0" err="1">
                <a:solidFill>
                  <a:schemeClr val="bg1"/>
                </a:solidFill>
                <a:highlight>
                  <a:srgbClr val="282C32"/>
                </a:highlight>
                <a:latin typeface="SourceCodePro"/>
              </a:rPr>
              <a:t>boolean</a:t>
            </a:r>
            <a:r>
              <a:rPr lang="en-GB" dirty="0">
                <a:solidFill>
                  <a:schemeClr val="bg1"/>
                </a:solidFill>
                <a:highlight>
                  <a:srgbClr val="282C32"/>
                </a:highlight>
                <a:latin typeface="SourceCodePro"/>
              </a:rPr>
              <a:t>, number, string, any, interfaces</a:t>
            </a:r>
            <a:r>
              <a:rPr lang="en-GB" dirty="0"/>
              <a:t>)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dirty="0"/>
              <a:t>Compile time type safety e.g. avoid the classic  </a:t>
            </a:r>
            <a:r>
              <a:rPr lang="en-GB" dirty="0">
                <a:solidFill>
                  <a:schemeClr val="bg1"/>
                </a:solidFill>
                <a:highlight>
                  <a:srgbClr val="282C32"/>
                </a:highlight>
                <a:latin typeface="SourceCodePro"/>
              </a:rPr>
              <a:t>'undefined' is not a function.</a:t>
            </a:r>
            <a:r>
              <a:rPr lang="en-GB" dirty="0">
                <a:solidFill>
                  <a:srgbClr val="000000"/>
                </a:solidFill>
                <a:highlight>
                  <a:srgbClr val="C0C0C0"/>
                </a:highlight>
                <a:latin typeface="SourceCodePro"/>
              </a:rPr>
              <a:t> </a:t>
            </a:r>
            <a:endParaRPr lang="en-GB" dirty="0">
              <a:highlight>
                <a:srgbClr val="C0C0C0"/>
              </a:highlight>
            </a:endParaRP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dirty="0"/>
              <a:t>.</a:t>
            </a:r>
            <a:r>
              <a:rPr lang="en-GB" dirty="0" err="1"/>
              <a:t>ts</a:t>
            </a:r>
            <a:r>
              <a:rPr lang="en-GB" dirty="0"/>
              <a:t> file extension instead of .</a:t>
            </a:r>
            <a:r>
              <a:rPr lang="en-GB" dirty="0" err="1"/>
              <a:t>js</a:t>
            </a:r>
            <a:endParaRPr lang="en-GB" dirty="0"/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dirty="0"/>
              <a:t>Created and maintained by Microsoft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GB" dirty="0"/>
              <a:t>“Safety at Scale”</a:t>
            </a:r>
          </a:p>
          <a:p>
            <a:pPr>
              <a:buSzPct val="100000"/>
            </a:pPr>
            <a:r>
              <a:rPr lang="en-GB" dirty="0"/>
              <a:t>https://</a:t>
            </a:r>
            <a:r>
              <a:rPr lang="en-GB" dirty="0" err="1"/>
              <a:t>www.typescriptlang.org</a:t>
            </a:r>
            <a:endParaRPr lang="en-GB" dirty="0"/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A11814-2A8B-F848-B606-1189D1DA5E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168" y="3035008"/>
            <a:ext cx="1163264" cy="116326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EF4ACEA-BDC9-B945-B194-73D983B4C7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2510" y="4260219"/>
            <a:ext cx="9066980" cy="251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17374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- </a:t>
            </a:r>
            <a:r>
              <a:rPr lang="en-US" dirty="0" err="1"/>
              <a:t>AuthGuard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B4EA4E-102B-B107-674C-0717E6BD589B}"/>
              </a:ext>
            </a:extLst>
          </p:cNvPr>
          <p:cNvSpPr txBox="1"/>
          <p:nvPr/>
        </p:nvSpPr>
        <p:spPr>
          <a:xfrm>
            <a:off x="1883532" y="2276872"/>
            <a:ext cx="8424936" cy="324036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AuthGuar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C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ropsWith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 </a:t>
            </a:r>
            <a:r>
              <a:rPr lang="en-US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ged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Au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retur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&lt;&gt;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</a:p>
          <a:p>
            <a:r>
              <a:rPr lang="en-US" dirty="0">
                <a:solidFill>
                  <a:srgbClr val="C678DD"/>
                </a:solidFill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ged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i="1" dirty="0">
                <a:solidFill>
                  <a:srgbClr val="ABB2BF"/>
                </a:solidFill>
                <a:latin typeface="Fira Code" panose="020B0809050000020004" pitchFamily="34" charset="0"/>
              </a:rPr>
              <a:t>      </a:t>
            </a:r>
            <a:r>
              <a:rPr lang="en-US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: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   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avigat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o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/login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replac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ru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&gt;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137098066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outing - </a:t>
            </a:r>
            <a:r>
              <a:rPr lang="en-US" dirty="0" err="1"/>
              <a:t>DeepLinks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B4EA4E-102B-B107-674C-0717E6BD589B}"/>
              </a:ext>
            </a:extLst>
          </p:cNvPr>
          <p:cNvSpPr txBox="1"/>
          <p:nvPr/>
        </p:nvSpPr>
        <p:spPr>
          <a:xfrm>
            <a:off x="1883532" y="2133004"/>
            <a:ext cx="8424936" cy="417646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AuthGuard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FC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PropsWith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 </a:t>
            </a:r>
            <a:r>
              <a:rPr lang="en-US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ged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Auth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);</a:t>
            </a:r>
          </a:p>
          <a:p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if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!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ged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 {</a:t>
            </a:r>
          </a:p>
          <a:p>
            <a:r>
              <a:rPr lang="en-US" b="0" i="1" dirty="0">
                <a:solidFill>
                  <a:srgbClr val="7F848E"/>
                </a:solidFill>
                <a:effectLst/>
                <a:latin typeface="Fira Code" panose="020B0809050000020004" pitchFamily="34" charset="0"/>
              </a:rPr>
              <a:t>    // store the current location and redirect after login</a:t>
            </a: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calStorage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setIte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deepLink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window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location</a:t>
            </a:r>
            <a:r>
              <a:rPr lang="en-US" b="0" dirty="0" err="1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href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retur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&lt;&gt;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</a:p>
          <a:p>
            <a:r>
              <a:rPr lang="en-US" dirty="0">
                <a:solidFill>
                  <a:srgbClr val="C678DD"/>
                </a:solidFill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loggedI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i="1" dirty="0">
                <a:solidFill>
                  <a:srgbClr val="ABB2BF"/>
                </a:solidFill>
                <a:latin typeface="Fira Code" panose="020B0809050000020004" pitchFamily="34" charset="0"/>
              </a:rPr>
              <a:t>      </a:t>
            </a:r>
            <a:r>
              <a:rPr lang="en-US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hildre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: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   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Navigat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o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"/login"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i="1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replace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{</a:t>
            </a:r>
            <a:r>
              <a:rPr lang="en-US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tru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/&gt;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 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&gt;;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240977055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Internationalization</a:t>
            </a: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C3A8CB-3CAD-BF05-3180-DCE7428BF5C4}"/>
              </a:ext>
            </a:extLst>
          </p:cNvPr>
          <p:cNvSpPr txBox="1"/>
          <p:nvPr/>
        </p:nvSpPr>
        <p:spPr>
          <a:xfrm>
            <a:off x="839416" y="5877272"/>
            <a:ext cx="4608512" cy="3209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SzPct val="100000"/>
            </a:pPr>
            <a:r>
              <a:rPr lang="de-DE" sz="1600" dirty="0"/>
              <a:t>https://react.i18next.com/</a:t>
            </a:r>
            <a:r>
              <a:rPr lang="de-DE" sz="1600" dirty="0" err="1"/>
              <a:t>getting-started</a:t>
            </a:r>
            <a:endParaRPr lang="de-DE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4FFC4C-640F-CEAD-B582-08CDBF65C274}"/>
              </a:ext>
            </a:extLst>
          </p:cNvPr>
          <p:cNvSpPr txBox="1"/>
          <p:nvPr/>
        </p:nvSpPr>
        <p:spPr>
          <a:xfrm>
            <a:off x="2636335" y="3227450"/>
            <a:ext cx="6919330" cy="63359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react-i18next i18next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71914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Internationalization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805B8E-BF7A-DB44-C6A0-73DDA1343F1D}"/>
              </a:ext>
            </a:extLst>
          </p:cNvPr>
          <p:cNvSpPr txBox="1"/>
          <p:nvPr/>
        </p:nvSpPr>
        <p:spPr>
          <a:xfrm>
            <a:off x="1397478" y="1700808"/>
            <a:ext cx="9397044" cy="4896544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im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nComponents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from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./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en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/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components.json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initI18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  i18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initReactI18nex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.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ini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resources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dirty="0">
                <a:solidFill>
                  <a:srgbClr val="E06C75"/>
                </a:solidFill>
                <a:latin typeface="Fira Code" panose="020B0809050000020004" pitchFamily="34" charset="0"/>
              </a:rPr>
              <a:t>      </a:t>
            </a:r>
            <a:r>
              <a:rPr lang="en-US" dirty="0" err="1">
                <a:solidFill>
                  <a:srgbClr val="E06C75"/>
                </a:solidFill>
                <a:latin typeface="Fira Code" panose="020B0809050000020004" pitchFamily="34" charset="0"/>
              </a:rPr>
              <a:t>e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{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    components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enComponents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  },</a:t>
            </a: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  },</a:t>
            </a:r>
          </a:p>
          <a:p>
            <a:r>
              <a:rPr lang="en-US" b="0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lng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en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fallbackLng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en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  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});</a:t>
            </a:r>
          </a:p>
          <a:p>
            <a:b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</a:b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expor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ComponentsTranslati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(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omponentName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string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=&gt;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 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Translati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</a:p>
          <a:p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    'components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,</a:t>
            </a:r>
          </a:p>
          <a:p>
            <a:r>
              <a:rPr lang="en-US" b="0" i="1" dirty="0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    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omponentNa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?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keyPrefix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: </a:t>
            </a:r>
            <a:r>
              <a:rPr lang="en-US" b="0" i="1" dirty="0" err="1">
                <a:solidFill>
                  <a:srgbClr val="E06C75"/>
                </a:solidFill>
                <a:effectLst/>
                <a:latin typeface="Fira Code" panose="020B0809050000020004" pitchFamily="34" charset="0"/>
              </a:rPr>
              <a:t>componentName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: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>
                <a:solidFill>
                  <a:srgbClr val="D19A66"/>
                </a:solidFill>
                <a:effectLst/>
                <a:latin typeface="Fira Code" panose="020B0809050000020004" pitchFamily="34" charset="0"/>
              </a:rPr>
              <a:t>undefined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 );</a:t>
            </a:r>
          </a:p>
        </p:txBody>
      </p:sp>
    </p:spTree>
    <p:extLst>
      <p:ext uri="{BB962C8B-B14F-4D97-AF65-F5344CB8AC3E}">
        <p14:creationId xmlns:p14="http://schemas.microsoft.com/office/powerpoint/2010/main" val="263706363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Internationalization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805B8E-BF7A-DB44-C6A0-73DDA1343F1D}"/>
              </a:ext>
            </a:extLst>
          </p:cNvPr>
          <p:cNvSpPr txBox="1"/>
          <p:nvPr/>
        </p:nvSpPr>
        <p:spPr>
          <a:xfrm>
            <a:off x="1397478" y="2780928"/>
            <a:ext cx="9397044" cy="2160240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cons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{ 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} </a:t>
            </a:r>
            <a:r>
              <a:rPr lang="en-US" b="0" dirty="0">
                <a:solidFill>
                  <a:srgbClr val="56B6C2"/>
                </a:solidFill>
                <a:effectLst/>
                <a:latin typeface="Fira Code" panose="020B0809050000020004" pitchFamily="34" charset="0"/>
              </a:rPr>
              <a:t>=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 </a:t>
            </a:r>
            <a:r>
              <a:rPr lang="en-US" b="0" dirty="0" err="1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useComponentsTranslati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</a:t>
            </a:r>
            <a:r>
              <a:rPr lang="en-US" b="0" dirty="0" err="1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AppContainer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’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;</a:t>
            </a:r>
          </a:p>
          <a:p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dirty="0">
                <a:solidFill>
                  <a:srgbClr val="ABB2BF"/>
                </a:solidFill>
                <a:latin typeface="Fira Code" panose="020B0809050000020004" pitchFamily="34" charset="0"/>
              </a:rPr>
              <a:t>…</a:t>
            </a:r>
          </a:p>
          <a:p>
            <a:endParaRPr lang="en-US" dirty="0">
              <a:solidFill>
                <a:srgbClr val="ABB2BF"/>
              </a:solidFill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  {</a:t>
            </a:r>
            <a:r>
              <a:rPr lang="en-US" b="0" dirty="0">
                <a:solidFill>
                  <a:srgbClr val="61AFEF"/>
                </a:solidFill>
                <a:effectLst/>
                <a:latin typeface="Fira Code" panose="020B0809050000020004" pitchFamily="34" charset="0"/>
              </a:rPr>
              <a:t>t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(</a:t>
            </a:r>
            <a:r>
              <a:rPr lang="en-US" b="0" dirty="0">
                <a:solidFill>
                  <a:srgbClr val="98C379"/>
                </a:solidFill>
                <a:effectLst/>
                <a:latin typeface="Fira Code" panose="020B0809050000020004" pitchFamily="34" charset="0"/>
              </a:rPr>
              <a:t>'home'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)</a:t>
            </a:r>
            <a:r>
              <a:rPr lang="en-US" b="0" dirty="0">
                <a:solidFill>
                  <a:srgbClr val="C678DD"/>
                </a:solidFill>
                <a:effectLst/>
                <a:latin typeface="Fira Code" panose="020B0809050000020004" pitchFamily="34" charset="0"/>
              </a:rPr>
              <a:t>}</a:t>
            </a:r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  <a:p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lt;/</a:t>
            </a:r>
            <a:r>
              <a:rPr lang="en-US" b="0" dirty="0">
                <a:solidFill>
                  <a:srgbClr val="E5C07B"/>
                </a:solidFill>
                <a:effectLst/>
                <a:latin typeface="Fira Code" panose="020B0809050000020004" pitchFamily="34" charset="0"/>
              </a:rPr>
              <a:t>Button</a:t>
            </a:r>
            <a:r>
              <a:rPr lang="en-US" b="0" dirty="0">
                <a:solidFill>
                  <a:srgbClr val="ABB2BF"/>
                </a:solidFill>
                <a:effectLst/>
                <a:latin typeface="Fira Code" panose="020B0809050000020004" pitchFamily="34" charset="0"/>
              </a:rPr>
              <a:t>&gt;</a:t>
            </a:r>
          </a:p>
          <a:p>
            <a:endParaRPr lang="en-US" b="0" dirty="0">
              <a:solidFill>
                <a:srgbClr val="ABB2BF"/>
              </a:solidFill>
              <a:effectLst/>
              <a:latin typeface="Fira Code" panose="020B0809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409733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Create a </a:t>
            </a:r>
            <a:r>
              <a:rPr lang="de-DE" dirty="0" err="1"/>
              <a:t>note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5ACD56-0FC8-C749-B34C-D836AEAE6F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71" t="18611" r="20826" b="44208"/>
          <a:stretch/>
        </p:blipFill>
        <p:spPr>
          <a:xfrm>
            <a:off x="4223792" y="1709480"/>
            <a:ext cx="3744416" cy="46805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66D8DA-C4DB-EE47-B989-00378E22DB2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23366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APP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056F4F-6D6D-F24E-B49B-5A17C857F37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8BF63E35-4A8C-252B-5F6E-882C41CB93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1628800"/>
            <a:ext cx="7772400" cy="4208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795766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dux</a:t>
            </a:r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7C1E23-2FC4-824B-B12C-61A389DDC1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852936"/>
            <a:ext cx="2520280" cy="2278944"/>
          </a:xfrm>
          <a:prstGeom prst="rect">
            <a:avLst/>
          </a:prstGeom>
        </p:spPr>
      </p:pic>
      <p:sp>
        <p:nvSpPr>
          <p:cNvPr id="9" name="Textfeld 3">
            <a:extLst>
              <a:ext uri="{FF2B5EF4-FFF2-40B4-BE49-F238E27FC236}">
                <a16:creationId xmlns:a16="http://schemas.microsoft.com/office/drawing/2014/main" id="{A1BD817D-5613-054D-80A9-E0C09686646F}"/>
              </a:ext>
            </a:extLst>
          </p:cNvPr>
          <p:cNvSpPr txBox="1"/>
          <p:nvPr/>
        </p:nvSpPr>
        <p:spPr>
          <a:xfrm>
            <a:off x="2207568" y="2741588"/>
            <a:ext cx="5400599" cy="22322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Centralized</a:t>
            </a:r>
            <a:r>
              <a:rPr lang="de-DE" dirty="0"/>
              <a:t>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container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Flexible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Predictable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Debuggable</a:t>
            </a:r>
            <a:endParaRPr lang="de-DE" dirty="0"/>
          </a:p>
          <a:p>
            <a:pPr>
              <a:buSzPct val="100000"/>
            </a:pPr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9CA609-A805-3AF8-0963-C48748F9EC04}"/>
              </a:ext>
            </a:extLst>
          </p:cNvPr>
          <p:cNvSpPr txBox="1"/>
          <p:nvPr/>
        </p:nvSpPr>
        <p:spPr>
          <a:xfrm>
            <a:off x="839416" y="5661248"/>
            <a:ext cx="4608512" cy="6089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SzPct val="100000"/>
            </a:pPr>
            <a:r>
              <a:rPr lang="de-DE" sz="1600" dirty="0"/>
              <a:t>https://</a:t>
            </a:r>
            <a:r>
              <a:rPr lang="de-DE" sz="1600" dirty="0" err="1"/>
              <a:t>redux.js.org</a:t>
            </a:r>
            <a:r>
              <a:rPr lang="de-DE" sz="1600" dirty="0"/>
              <a:t>/</a:t>
            </a:r>
          </a:p>
          <a:p>
            <a:pPr>
              <a:buSzPct val="100000"/>
            </a:pPr>
            <a:r>
              <a:rPr lang="de-DE" sz="1600" dirty="0"/>
              <a:t>https://</a:t>
            </a:r>
            <a:r>
              <a:rPr lang="de-DE" sz="1600" dirty="0" err="1"/>
              <a:t>redux-toolkit.js.org</a:t>
            </a:r>
            <a:r>
              <a:rPr lang="de-DE" sz="1600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19286286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dux store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349BBA-BC28-C949-8199-A481CEF044E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" t="1848" r="1805" b="3052"/>
          <a:stretch/>
        </p:blipFill>
        <p:spPr>
          <a:xfrm>
            <a:off x="2191160" y="1700808"/>
            <a:ext cx="7809679" cy="453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819758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dux Data Flow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CBCD34-94A9-974A-8CE4-0C9E9BB32D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720" y="1916832"/>
            <a:ext cx="5040560" cy="416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1434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Install React</a:t>
            </a:r>
          </a:p>
          <a:p>
            <a:pPr lvl="1"/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2398664" y="2265374"/>
            <a:ext cx="4896543" cy="37062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JS </a:t>
            </a:r>
            <a:r>
              <a:rPr lang="de-DE" dirty="0" err="1"/>
              <a:t>librar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uilding</a:t>
            </a:r>
            <a:r>
              <a:rPr lang="de-DE" dirty="0"/>
              <a:t> UIs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Not a Framework!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Component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Development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 err="1"/>
              <a:t>Declarative</a:t>
            </a:r>
            <a:r>
              <a:rPr lang="de-DE" dirty="0"/>
              <a:t> (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scribe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UI)</a:t>
            </a:r>
          </a:p>
          <a:p>
            <a:pPr>
              <a:buSzPct val="100000"/>
            </a:pP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State-Driven UI (UI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)</a:t>
            </a:r>
          </a:p>
          <a:p>
            <a:pPr>
              <a:buSzPct val="100000"/>
            </a:pP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dirty="0"/>
              <a:t>Virtual DOM</a:t>
            </a:r>
          </a:p>
          <a:p>
            <a:pPr>
              <a:buSzPct val="100000"/>
            </a:pPr>
            <a:endParaRPr lang="de-DE" dirty="0"/>
          </a:p>
          <a:p>
            <a:pPr>
              <a:buSzPct val="100000"/>
            </a:pPr>
            <a:r>
              <a:rPr lang="de-DE" dirty="0"/>
              <a:t>https://</a:t>
            </a:r>
            <a:r>
              <a:rPr lang="de-DE" dirty="0" err="1"/>
              <a:t>react.dev</a:t>
            </a:r>
            <a:r>
              <a:rPr lang="de-DE" dirty="0"/>
              <a:t>/</a:t>
            </a:r>
            <a:r>
              <a:rPr lang="de-DE" dirty="0" err="1"/>
              <a:t>learn</a:t>
            </a:r>
            <a:r>
              <a:rPr lang="de-DE" dirty="0"/>
              <a:t>/</a:t>
            </a:r>
            <a:r>
              <a:rPr lang="de-DE" dirty="0" err="1"/>
              <a:t>installation</a:t>
            </a:r>
            <a:endParaRPr lang="de-DE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AA94CA-3794-7540-9BD6-3D7E007211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2136" y="2492896"/>
            <a:ext cx="3251200" cy="32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35823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Setup Redux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45C2F5-E59B-424B-ADEB-FB4E06528BA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592" y="1439935"/>
            <a:ext cx="873064" cy="87306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D9A3666-A8AC-F041-8942-413220A1C4B1}"/>
              </a:ext>
            </a:extLst>
          </p:cNvPr>
          <p:cNvSpPr txBox="1"/>
          <p:nvPr/>
        </p:nvSpPr>
        <p:spPr>
          <a:xfrm>
            <a:off x="2636335" y="2708920"/>
            <a:ext cx="6919330" cy="2433798"/>
          </a:xfrm>
          <a:prstGeom prst="rect">
            <a:avLst/>
          </a:prstGeom>
          <a:solidFill>
            <a:srgbClr val="282C33"/>
          </a:solidFill>
          <a:ln w="76200">
            <a:solidFill>
              <a:srgbClr val="282C32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z="2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react-redux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@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duxjs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toolkit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redux-logger</a:t>
            </a:r>
            <a:endParaRPr lang="en-DE" sz="2400" dirty="0">
              <a:solidFill>
                <a:srgbClr val="FFFFFF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00"/>
              </a:lnSpc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dirty="0" err="1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pm</a:t>
            </a:r>
            <a:r>
              <a:rPr lang="en-US" dirty="0">
                <a:solidFill>
                  <a:srgbClr val="FFFFFF"/>
                </a:solidFill>
                <a:latin typeface="Menlo" panose="020B06090308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tall -D @types/redux-logger</a:t>
            </a:r>
            <a:endParaRPr lang="en-DE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73618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dux Logger</a:t>
            </a:r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BD99CF8-79F0-2646-942C-7ED301874A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5122" y="1994790"/>
            <a:ext cx="8301755" cy="4863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70796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dux </a:t>
            </a:r>
            <a:r>
              <a:rPr lang="en-US" dirty="0" err="1"/>
              <a:t>DevTools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B5522B-FF71-9744-ABEA-5D69C95E95FF}"/>
              </a:ext>
            </a:extLst>
          </p:cNvPr>
          <p:cNvSpPr txBox="1"/>
          <p:nvPr/>
        </p:nvSpPr>
        <p:spPr>
          <a:xfrm>
            <a:off x="1415480" y="6001201"/>
            <a:ext cx="7128792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600" dirty="0">
                <a:hlinkClick r:id="rId2"/>
              </a:rPr>
              <a:t>https://</a:t>
            </a:r>
            <a:r>
              <a:rPr lang="en-GB" sz="1600" dirty="0" err="1">
                <a:hlinkClick r:id="rId2"/>
              </a:rPr>
              <a:t>chrome.google.com</a:t>
            </a:r>
            <a:r>
              <a:rPr lang="en-GB" sz="1600" dirty="0">
                <a:hlinkClick r:id="rId2"/>
              </a:rPr>
              <a:t>/webstore/detail/redux-</a:t>
            </a:r>
            <a:r>
              <a:rPr lang="en-GB" sz="1600" dirty="0" err="1">
                <a:hlinkClick r:id="rId2"/>
              </a:rPr>
              <a:t>devtools</a:t>
            </a:r>
            <a:r>
              <a:rPr lang="en-GB" sz="1600" dirty="0">
                <a:hlinkClick r:id="rId2"/>
              </a:rPr>
              <a:t>/</a:t>
            </a:r>
            <a:r>
              <a:rPr lang="en-GB" sz="1600" dirty="0" err="1">
                <a:hlinkClick r:id="rId2"/>
              </a:rPr>
              <a:t>lmhkpmbekcpmknklioeibfkpmmfibljd</a:t>
            </a:r>
            <a:endParaRPr lang="en-GB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78AE7F-2AA2-C947-BE8F-6520262BE0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1604" y="1630062"/>
            <a:ext cx="7128792" cy="4349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940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el 53">
            <a:extLst>
              <a:ext uri="{FF2B5EF4-FFF2-40B4-BE49-F238E27FC236}">
                <a16:creationId xmlns:a16="http://schemas.microsoft.com/office/drawing/2014/main" id="{01E226C0-5642-41C1-7F40-F1DAD3B57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</a:t>
            </a:r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D17D6838-2A2B-6CAD-9EBF-80DC49CCC61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65504" y="2770188"/>
            <a:ext cx="4954431" cy="1625600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Sopra Steria Custom Software Solutions GmbH</a:t>
            </a:r>
            <a:br>
              <a:rPr lang="de-DE" dirty="0"/>
            </a:br>
            <a:r>
              <a:rPr lang="de-DE" dirty="0" err="1"/>
              <a:t>Bothestr</a:t>
            </a:r>
            <a:r>
              <a:rPr lang="de-DE" dirty="0"/>
              <a:t>. 11</a:t>
            </a:r>
            <a:br>
              <a:rPr lang="de-DE" dirty="0"/>
            </a:br>
            <a:r>
              <a:rPr lang="de-DE" dirty="0"/>
              <a:t>81675 Munich</a:t>
            </a:r>
            <a:br>
              <a:rPr lang="de-DE" dirty="0"/>
            </a:br>
            <a:r>
              <a:rPr lang="de-DE" dirty="0" err="1"/>
              <a:t>css.soprasteria.d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474AE5C-9E5D-F22B-044E-92FB08F7C1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GB" noProof="0"/>
              <a:t>Name of the presentation</a:t>
            </a:r>
            <a:endParaRPr lang="en-GB" noProof="0" dirty="0"/>
          </a:p>
        </p:txBody>
      </p:sp>
      <p:sp>
        <p:nvSpPr>
          <p:cNvPr id="56" name="Textplatzhalter 54">
            <a:extLst>
              <a:ext uri="{FF2B5EF4-FFF2-40B4-BE49-F238E27FC236}">
                <a16:creationId xmlns:a16="http://schemas.microsoft.com/office/drawing/2014/main" id="{B03FCC59-B1AA-0AAD-1D49-0748BE60F503}"/>
              </a:ext>
            </a:extLst>
          </p:cNvPr>
          <p:cNvSpPr txBox="1">
            <a:spLocks/>
          </p:cNvSpPr>
          <p:nvPr/>
        </p:nvSpPr>
        <p:spPr>
          <a:xfrm>
            <a:off x="5793666" y="2770188"/>
            <a:ext cx="5537122" cy="2963068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fr-FR" sz="1800" b="0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72000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fr-FR" sz="1800" b="0" i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1008000" indent="-285750" algn="l" defTabSz="261938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2601913" algn="l"/>
              </a:tabLst>
              <a:defRPr lang="fr-FR" sz="1800" b="0" i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1450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fr-FR"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Alexander </a:t>
            </a:r>
            <a:r>
              <a:rPr lang="de-DE" dirty="0" err="1"/>
              <a:t>Kucksdorf</a:t>
            </a:r>
            <a:br>
              <a:rPr lang="de-DE" dirty="0"/>
            </a:br>
            <a:r>
              <a:rPr lang="de-DE" dirty="0"/>
              <a:t>E-Mail: </a:t>
            </a:r>
            <a:r>
              <a:rPr lang="de-DE" dirty="0" err="1"/>
              <a:t>alexander.kucksdorf@soprasteria.com</a:t>
            </a:r>
            <a:br>
              <a:rPr lang="de-DE" dirty="0"/>
            </a:br>
            <a:r>
              <a:rPr lang="de-DE" dirty="0"/>
              <a:t>Phone: +49 151 4023 0063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dirty="0"/>
              <a:t>Michel Frenken</a:t>
            </a:r>
            <a:br>
              <a:rPr lang="de-DE" dirty="0"/>
            </a:br>
            <a:r>
              <a:rPr lang="de-DE" dirty="0"/>
              <a:t>E-Mail: </a:t>
            </a:r>
            <a:r>
              <a:rPr lang="de-DE" dirty="0" err="1"/>
              <a:t>michel.frenken@soprasteria.com</a:t>
            </a:r>
            <a:br>
              <a:rPr lang="de-DE" dirty="0"/>
            </a:br>
            <a:r>
              <a:rPr lang="de-DE" dirty="0"/>
              <a:t>Phone: +49 151 4023 0117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dirty="0"/>
              <a:t>Christian Noll</a:t>
            </a:r>
            <a:br>
              <a:rPr lang="de-DE" dirty="0"/>
            </a:br>
            <a:r>
              <a:rPr lang="de-DE" dirty="0"/>
              <a:t>E-Mail: </a:t>
            </a:r>
            <a:r>
              <a:rPr lang="de-DE" dirty="0" err="1"/>
              <a:t>christian.noll@soprasteria.com</a:t>
            </a:r>
            <a:br>
              <a:rPr lang="de-DE" dirty="0"/>
            </a:br>
            <a:r>
              <a:rPr lang="de-DE" dirty="0"/>
              <a:t>Phone: +49 151 4023 0082</a:t>
            </a:r>
          </a:p>
        </p:txBody>
      </p:sp>
    </p:spTree>
    <p:extLst>
      <p:ext uri="{BB962C8B-B14F-4D97-AF65-F5344CB8AC3E}">
        <p14:creationId xmlns:p14="http://schemas.microsoft.com/office/powerpoint/2010/main" val="79480873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1D9E884-D503-D74A-B068-F62C31BE20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52184" y="5013176"/>
            <a:ext cx="4224001" cy="926023"/>
          </a:xfrm>
        </p:spPr>
        <p:txBody>
          <a:bodyPr/>
          <a:lstStyle/>
          <a:p>
            <a:r>
              <a:rPr lang="en-GB" b="1" dirty="0"/>
              <a:t>Vladimir </a:t>
            </a:r>
            <a:r>
              <a:rPr lang="en-GB" b="1" dirty="0" err="1"/>
              <a:t>Daskalov</a:t>
            </a:r>
            <a:endParaRPr lang="en-GB" b="1" dirty="0"/>
          </a:p>
          <a:p>
            <a:r>
              <a:rPr lang="en-GB" b="1" dirty="0"/>
              <a:t>E-Mail: </a:t>
            </a:r>
            <a:r>
              <a:rPr lang="en-GB" b="1" dirty="0" err="1"/>
              <a:t>vdaskalov@it-economics.de</a:t>
            </a:r>
            <a:endParaRPr lang="en-GB" b="1" dirty="0"/>
          </a:p>
          <a:p>
            <a:r>
              <a:rPr lang="en-GB" b="1" dirty="0"/>
              <a:t>Phone: +49 151 4020 1811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DAEFC1A4-B030-9D56-6777-CB677FA60A69}"/>
              </a:ext>
            </a:extLst>
          </p:cNvPr>
          <p:cNvSpPr txBox="1">
            <a:spLocks/>
          </p:cNvSpPr>
          <p:nvPr/>
        </p:nvSpPr>
        <p:spPr>
          <a:xfrm>
            <a:off x="3359696" y="5013176"/>
            <a:ext cx="4224002" cy="9260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  <a:defRPr sz="1800" b="0" i="0" kern="1200">
                <a:solidFill>
                  <a:schemeClr val="bg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Alexander </a:t>
            </a:r>
            <a:r>
              <a:rPr lang="en-GB" b="1" dirty="0" err="1"/>
              <a:t>Kucksdorf</a:t>
            </a:r>
            <a:endParaRPr lang="en-GB" b="1" dirty="0"/>
          </a:p>
          <a:p>
            <a:r>
              <a:rPr lang="en-GB" b="1" dirty="0"/>
              <a:t>E-Mail: </a:t>
            </a:r>
            <a:r>
              <a:rPr lang="en-GB" b="1" dirty="0" err="1"/>
              <a:t>akucksdorf@it-economics.de</a:t>
            </a:r>
            <a:endParaRPr lang="en-GB" b="1" dirty="0"/>
          </a:p>
          <a:p>
            <a:r>
              <a:rPr lang="en-GB" b="1" dirty="0"/>
              <a:t>Phone: +49 151 4023 0063</a:t>
            </a:r>
          </a:p>
        </p:txBody>
      </p:sp>
    </p:spTree>
    <p:extLst>
      <p:ext uri="{BB962C8B-B14F-4D97-AF65-F5344CB8AC3E}">
        <p14:creationId xmlns:p14="http://schemas.microsoft.com/office/powerpoint/2010/main" val="2597860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3">
            <a:extLst>
              <a:ext uri="{FF2B5EF4-FFF2-40B4-BE49-F238E27FC236}">
                <a16:creationId xmlns:a16="http://schemas.microsoft.com/office/drawing/2014/main" id="{E0E97CE3-411D-4440-93B1-BD3FEECB1AC8}"/>
              </a:ext>
            </a:extLst>
          </p:cNvPr>
          <p:cNvSpPr txBox="1"/>
          <p:nvPr/>
        </p:nvSpPr>
        <p:spPr>
          <a:xfrm>
            <a:off x="3935760" y="2609876"/>
            <a:ext cx="4320480" cy="2520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en-GB" sz="2000" b="1" dirty="0"/>
              <a:t>React doesn‘t provide guidelines for:</a:t>
            </a:r>
          </a:p>
          <a:p>
            <a:pPr>
              <a:buSzPct val="100000"/>
            </a:pPr>
            <a:endParaRPr lang="en-GB" sz="2000" dirty="0"/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Routing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Styling 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Network communication 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Async tasks handling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Internationalisation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en-GB" sz="2000" dirty="0"/>
              <a:t>etc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B27510C-5457-E142-A32C-C0DBBA4E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Not a Framework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4515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Sopra Steria Group">
  <a:themeElements>
    <a:clrScheme name="Personnalisé 67">
      <a:dk1>
        <a:srgbClr val="000000"/>
      </a:dk1>
      <a:lt1>
        <a:srgbClr val="EEEEED"/>
      </a:lt1>
      <a:dk2>
        <a:srgbClr val="000000"/>
      </a:dk2>
      <a:lt2>
        <a:srgbClr val="FFFFFF"/>
      </a:lt2>
      <a:accent1>
        <a:srgbClr val="CF022B"/>
      </a:accent1>
      <a:accent2>
        <a:srgbClr val="F07D00"/>
      </a:accent2>
      <a:accent3>
        <a:srgbClr val="CF022B"/>
      </a:accent3>
      <a:accent4>
        <a:srgbClr val="F07D00"/>
      </a:accent4>
      <a:accent5>
        <a:srgbClr val="8C1D82"/>
      </a:accent5>
      <a:accent6>
        <a:srgbClr val="4C1F82"/>
      </a:accent6>
      <a:hlink>
        <a:srgbClr val="8C1D82"/>
      </a:hlink>
      <a:folHlink>
        <a:srgbClr val="EA5599"/>
      </a:folHlink>
    </a:clrScheme>
    <a:fontScheme name="Personnalisé 35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31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spcBef>
            <a:spcPts val="600"/>
          </a:spcBef>
          <a:defRPr sz="8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S Template 2025.potm" id="{3E25FAD0-974D-460F-B85E-43099857340C}" vid="{BE0DE975-96AC-4037-A280-DA56D31702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63F5C01381B56409B79CCBBF1CD6638" ma:contentTypeVersion="10" ma:contentTypeDescription="Ein neues Dokument erstellen." ma:contentTypeScope="" ma:versionID="5b2e3515d9ddc2db59a89c3bb2127668">
  <xsd:schema xmlns:xsd="http://www.w3.org/2001/XMLSchema" xmlns:xs="http://www.w3.org/2001/XMLSchema" xmlns:p="http://schemas.microsoft.com/office/2006/metadata/properties" xmlns:ns2="ab24cf61-d0ba-4a2f-b997-e69195b56576" xmlns:ns3="82bf4a60-6352-403d-8037-4287a1db143f" targetNamespace="http://schemas.microsoft.com/office/2006/metadata/properties" ma:root="true" ma:fieldsID="33eca122f4249ac2952858664eac3aa0" ns2:_="" ns3:_="">
    <xsd:import namespace="ab24cf61-d0ba-4a2f-b997-e69195b56576"/>
    <xsd:import namespace="82bf4a60-6352-403d-8037-4287a1db14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24cf61-d0ba-4a2f-b997-e69195b565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bf4a60-6352-403d-8037-4287a1db143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2C5FA24-8524-40B9-8AED-98A9724D41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BC05F5-4039-4874-97ED-6D7E73027E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24cf61-d0ba-4a2f-b997-e69195b56576"/>
    <ds:schemaRef ds:uri="82bf4a60-6352-403d-8037-4287a1db14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DB7759-4306-4B89-B2D4-FE4FA1E87EDF}">
  <ds:schemaRefs>
    <ds:schemaRef ds:uri="http://purl.org/dc/terms/"/>
    <ds:schemaRef ds:uri="ab24cf61-d0ba-4a2f-b997-e69195b56576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elements/1.1/"/>
    <ds:schemaRef ds:uri="http://schemas.openxmlformats.org/package/2006/metadata/core-properties"/>
    <ds:schemaRef ds:uri="82bf4a60-6352-403d-8037-4287a1db143f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5017</Words>
  <Application>Microsoft Macintosh PowerPoint</Application>
  <PresentationFormat>Widescreen</PresentationFormat>
  <Paragraphs>1058</Paragraphs>
  <Slides>84</Slides>
  <Notes>19</Notes>
  <HiddenSlides>4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4</vt:i4>
      </vt:variant>
    </vt:vector>
  </HeadingPairs>
  <TitlesOfParts>
    <vt:vector size="98" baseType="lpstr">
      <vt:lpstr>Aptos</vt:lpstr>
      <vt:lpstr>Arial</vt:lpstr>
      <vt:lpstr>Calibri</vt:lpstr>
      <vt:lpstr>Fira Code</vt:lpstr>
      <vt:lpstr>HurmeGeometricSans3 SemiBold</vt:lpstr>
      <vt:lpstr>Menlo</vt:lpstr>
      <vt:lpstr>Roboto Light</vt:lpstr>
      <vt:lpstr>SourceCodePro</vt:lpstr>
      <vt:lpstr>Systemschrift Normal</vt:lpstr>
      <vt:lpstr>Tahoma</vt:lpstr>
      <vt:lpstr>Times New Roman</vt:lpstr>
      <vt:lpstr>Univers LT Std 47 Cn Lt</vt:lpstr>
      <vt:lpstr>2_Sopra Steria Group</vt:lpstr>
      <vt:lpstr>think-cell Folie</vt:lpstr>
      <vt:lpstr>React Bootcam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act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Vladimir Daskalov</dc:creator>
  <cp:keywords/>
  <dc:description/>
  <cp:lastModifiedBy>Kucksdorf, Alexander</cp:lastModifiedBy>
  <cp:revision>428</cp:revision>
  <dcterms:created xsi:type="dcterms:W3CDTF">2022-02-22T21:47:43Z</dcterms:created>
  <dcterms:modified xsi:type="dcterms:W3CDTF">2025-04-01T16:29:2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3F5C01381B56409B79CCBBF1CD6638</vt:lpwstr>
  </property>
</Properties>
</file>